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slideLayouts/slideLayout26.xml" ContentType="application/vnd.openxmlformats-officedocument.presentationml.slideLayout+xml"/>
  <Override PartName="/ppt/theme/theme4.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5.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9.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10.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7.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8.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9.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10.xml" ContentType="application/vnd.openxmlformats-officedocument.them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26.xml" ContentType="application/vnd.openxmlformats-officedocument.presentationml.tags+xml"/>
  <Override PartName="/ppt/tags/tag27.xml" ContentType="application/vnd.openxmlformats-officedocument.presentationml.tags+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11.xml" ContentType="application/vnd.openxmlformats-officedocument.theme+xml"/>
  <Override PartName="/ppt/tags/tag28.xml" ContentType="application/vnd.openxmlformats-officedocument.presentationml.tag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12.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13.xml" ContentType="application/vnd.openxmlformats-officedocument.theme+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14.xml" ContentType="application/vnd.openxmlformats-officedocument.theme+xml"/>
  <Override PartName="/ppt/tags/tag44.xml" ContentType="application/vnd.openxmlformats-officedocument.presentationml.tags+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45.xml" ContentType="application/vnd.openxmlformats-officedocument.presentationml.tags+xml"/>
  <Override PartName="/ppt/tags/tag46.xml" ContentType="application/vnd.openxmlformats-officedocument.presentationml.tags+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15.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heme/theme16.xml" ContentType="application/vnd.openxmlformats-officedocument.theme+xml"/>
  <Override PartName="/ppt/notesSlides/notesSlide1.xml" ContentType="application/vnd.openxmlformats-officedocument.presentationml.notesSlide+xml"/>
  <Override PartName="/ppt/tags/tag50.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6892" r:id="rId5"/>
    <p:sldMasterId id="2147487341" r:id="rId6"/>
    <p:sldMasterId id="2147487344" r:id="rId7"/>
    <p:sldMasterId id="2147487438" r:id="rId8"/>
    <p:sldMasterId id="2147487440" r:id="rId9"/>
    <p:sldMasterId id="2147487486" r:id="rId10"/>
    <p:sldMasterId id="2147487539" r:id="rId11"/>
    <p:sldMasterId id="2147487578" r:id="rId12"/>
    <p:sldMasterId id="2147487585" r:id="rId13"/>
    <p:sldMasterId id="2147487620" r:id="rId14"/>
    <p:sldMasterId id="2147487667" r:id="rId15"/>
    <p:sldMasterId id="2147483676" r:id="rId16"/>
    <p:sldMasterId id="2147487687" r:id="rId17"/>
    <p:sldMasterId id="2147487739" r:id="rId18"/>
    <p:sldMasterId id="2147487760" r:id="rId19"/>
  </p:sldMasterIdLst>
  <p:notesMasterIdLst>
    <p:notesMasterId r:id="rId30"/>
  </p:notesMasterIdLst>
  <p:sldIdLst>
    <p:sldId id="262" r:id="rId20"/>
    <p:sldId id="294" r:id="rId21"/>
    <p:sldId id="296" r:id="rId22"/>
    <p:sldId id="2147481880" r:id="rId23"/>
    <p:sldId id="2147481869" r:id="rId24"/>
    <p:sldId id="2147481870" r:id="rId25"/>
    <p:sldId id="2147481872" r:id="rId26"/>
    <p:sldId id="2147481875" r:id="rId27"/>
    <p:sldId id="2147481876" r:id="rId28"/>
    <p:sldId id="2147481878" r:id="rId29"/>
  </p:sldIdLst>
  <p:sldSz cx="12192000" cy="6858000"/>
  <p:notesSz cx="6858000" cy="9144000"/>
  <p:defaultTextStyle>
    <a:defPPr>
      <a:defRPr lang="en-US"/>
    </a:defPPr>
    <a:lvl1pPr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5447300-361B-BC9E-7192-9BAE504094CA}" name="Martin POVH (ACER)" initials="MP" userId="S::Martin.POVH@acer.europa.eu::b625b410-6343-4e0c-ae2b-c023ec4b259b" providerId="AD"/>
  <p188:author id="{B1D4F738-9F4A-9065-B5DB-DB1EC50EA196}" name="Taryn Ann Galloway" initials="TG" userId="S::taga@nve.no::ad4e1475-25df-4be5-97f8-16db78b54f52" providerId="AD"/>
  <p188:author id="{3CAB6896-DE0E-DDB2-2803-326111CBAD9E}" name="Tiril Henriksen Norvoll" initials="TN" userId="S::tihn@nve.no::76f50e50-ff3b-4f25-bf35-22d2d501e016" providerId="AD"/>
  <p188:author id="{A7EF94AD-690C-C97C-ED5C-12837735B601}" name="Patrick LUICKX (ACER)" initials="PL" userId="S::Patrick.LUICKX@acer.europa.eu::7df0f2b3-3471-41fa-b4c7-3b5a39b36ec8" providerId="AD"/>
  <p188:author id="{3B7F01AE-430C-F7AA-CD37-7DA295DCF120}" name="Martin VIEHHAUSER (ACER)" initials="MV" userId="S::Martin.VIEHHAUSER@acer.europa.eu::30378385-643d-4fcf-9a08-4483d869e09b" providerId="AD"/>
  <p188:author id="{0A8A47C3-355C-C816-9F39-B2DDA7B03788}" name="Kristin Kolseth" initials="KK" userId="S::krk@nve.no::22f8d202-98fd-4e23-8ed3-eab7b5d33978" providerId="AD"/>
  <p188:author id="{1F1E34C7-7AA5-2F44-E506-84B2AC474200}" name="ZV (ACER)" initials="ZV (ACER)" userId="ZV (ACER)"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athieu FRANSEN (ACER)" initials="MF" lastIdx="3" clrIdx="0">
    <p:extLst>
      <p:ext uri="{19B8F6BF-5375-455C-9EA6-DF929625EA0E}">
        <p15:presenceInfo xmlns:p15="http://schemas.microsoft.com/office/powerpoint/2012/main" userId="8f2ab1b9d60c3b55" providerId="Windows Live"/>
      </p:ext>
    </p:extLst>
  </p:cmAuthor>
  <p:cmAuthor id="2" name="Thomas KAWAM (ACER)" initials="TK(" lastIdx="1" clrIdx="3">
    <p:extLst>
      <p:ext uri="{19B8F6BF-5375-455C-9EA6-DF929625EA0E}">
        <p15:presenceInfo xmlns:p15="http://schemas.microsoft.com/office/powerpoint/2012/main" userId="S-1-5-21-2095169090-3124838536-772759387-9403" providerId="AD"/>
      </p:ext>
    </p:extLst>
  </p:cmAuthor>
  <p:cmAuthor id="3" name="Martin VIEHHAUSER (ACER)" initials="MV(" lastIdx="8" clrIdx="2">
    <p:extLst>
      <p:ext uri="{19B8F6BF-5375-455C-9EA6-DF929625EA0E}">
        <p15:presenceInfo xmlns:p15="http://schemas.microsoft.com/office/powerpoint/2012/main" userId="S-1-5-21-2095169090-3124838536-772759387-711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D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719" autoAdjust="0"/>
    <p:restoredTop sz="80350" autoAdjust="0"/>
  </p:normalViewPr>
  <p:slideViewPr>
    <p:cSldViewPr snapToGrid="0" snapToObjects="1">
      <p:cViewPr varScale="1">
        <p:scale>
          <a:sx n="91" d="100"/>
          <a:sy n="91" d="100"/>
        </p:scale>
        <p:origin x="1182" y="96"/>
      </p:cViewPr>
      <p:guideLst>
        <p:guide orient="horz" pos="2160"/>
        <p:guide pos="3840"/>
      </p:guideLst>
    </p:cSldViewPr>
  </p:slideViewPr>
  <p:outlineViewPr>
    <p:cViewPr>
      <p:scale>
        <a:sx n="33" d="100"/>
        <a:sy n="33" d="100"/>
      </p:scale>
      <p:origin x="0" y="-9936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9.xml"/><Relationship Id="rId18" Type="http://schemas.openxmlformats.org/officeDocument/2006/relationships/slideMaster" Target="slideMasters/slideMaster14.xml"/><Relationship Id="rId26" Type="http://schemas.openxmlformats.org/officeDocument/2006/relationships/slide" Target="slides/slide7.xml"/><Relationship Id="rId3" Type="http://schemas.openxmlformats.org/officeDocument/2006/relationships/customXml" Target="../customXml/item3.xml"/><Relationship Id="rId21" Type="http://schemas.openxmlformats.org/officeDocument/2006/relationships/slide" Target="slides/slide2.xml"/><Relationship Id="rId34" Type="http://schemas.openxmlformats.org/officeDocument/2006/relationships/theme" Target="theme/theme1.xml"/><Relationship Id="rId7" Type="http://schemas.openxmlformats.org/officeDocument/2006/relationships/slideMaster" Target="slideMasters/slideMaster3.xml"/><Relationship Id="rId12" Type="http://schemas.openxmlformats.org/officeDocument/2006/relationships/slideMaster" Target="slideMasters/slideMaster8.xml"/><Relationship Id="rId17" Type="http://schemas.openxmlformats.org/officeDocument/2006/relationships/slideMaster" Target="slideMasters/slideMaster13.xml"/><Relationship Id="rId25" Type="http://schemas.openxmlformats.org/officeDocument/2006/relationships/slide" Target="slides/slide6.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Master" Target="slideMasters/slideMaster12.xml"/><Relationship Id="rId20" Type="http://schemas.openxmlformats.org/officeDocument/2006/relationships/slide" Target="slides/slide1.xml"/><Relationship Id="rId29" Type="http://schemas.openxmlformats.org/officeDocument/2006/relationships/slide" Target="slides/slide10.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5.xml"/><Relationship Id="rId32"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Master" Target="slideMasters/slideMaster11.xml"/><Relationship Id="rId23" Type="http://schemas.openxmlformats.org/officeDocument/2006/relationships/slide" Target="slides/slide4.xml"/><Relationship Id="rId28" Type="http://schemas.openxmlformats.org/officeDocument/2006/relationships/slide" Target="slides/slide9.xml"/><Relationship Id="rId36" Type="http://schemas.microsoft.com/office/2018/10/relationships/authors" Target="authors.xml"/><Relationship Id="rId10" Type="http://schemas.openxmlformats.org/officeDocument/2006/relationships/slideMaster" Target="slideMasters/slideMaster6.xml"/><Relationship Id="rId19" Type="http://schemas.openxmlformats.org/officeDocument/2006/relationships/slideMaster" Target="slideMasters/slideMaster15.xml"/><Relationship Id="rId31"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Master" Target="slideMasters/slideMaster10.xml"/><Relationship Id="rId22" Type="http://schemas.openxmlformats.org/officeDocument/2006/relationships/slide" Target="slides/slide3.xml"/><Relationship Id="rId27" Type="http://schemas.openxmlformats.org/officeDocument/2006/relationships/slide" Target="slides/slide8.xml"/><Relationship Id="rId30" Type="http://schemas.openxmlformats.org/officeDocument/2006/relationships/notesMaster" Target="notesMasters/notesMaster1.xml"/><Relationship Id="rId35" Type="http://schemas.openxmlformats.org/officeDocument/2006/relationships/tableStyles" Target="tableStyles.xml"/><Relationship Id="rId8" Type="http://schemas.openxmlformats.org/officeDocument/2006/relationships/slideMaster" Target="slideMasters/slideMaster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Title </a:t>
            </a:r>
            <a:r>
              <a:rPr lang="de-DE" err="1"/>
              <a:t>of</a:t>
            </a:r>
            <a:r>
              <a:rPr lang="de-DE"/>
              <a:t> </a:t>
            </a:r>
            <a:r>
              <a:rPr lang="de-DE" err="1"/>
              <a:t>chart</a:t>
            </a:r>
            <a:endParaRPr lang="de-DE"/>
          </a:p>
        </c:rich>
      </c:tx>
      <c:overlay val="0"/>
      <c:spPr>
        <a:noFill/>
        <a:ln>
          <a:noFill/>
        </a:ln>
        <a:effectLst/>
      </c:spPr>
      <c:txPr>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de-DE"/>
        </a:p>
      </c:txPr>
    </c:title>
    <c:autoTitleDeleted val="0"/>
    <c:plotArea>
      <c:layout/>
      <c:barChart>
        <c:barDir val="col"/>
        <c:grouping val="stacked"/>
        <c:varyColors val="0"/>
        <c:ser>
          <c:idx val="0"/>
          <c:order val="0"/>
          <c:tx>
            <c:strRef>
              <c:f>Tabelle1!$B$1</c:f>
              <c:strCache>
                <c:ptCount val="1"/>
                <c:pt idx="0">
                  <c:v>Data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B$2:$B$5</c:f>
              <c:numCache>
                <c:formatCode>General</c:formatCode>
                <c:ptCount val="4"/>
                <c:pt idx="0">
                  <c:v>4.3</c:v>
                </c:pt>
                <c:pt idx="1">
                  <c:v>1.5</c:v>
                </c:pt>
                <c:pt idx="2">
                  <c:v>3.5</c:v>
                </c:pt>
                <c:pt idx="3">
                  <c:v>4.5</c:v>
                </c:pt>
              </c:numCache>
            </c:numRef>
          </c:val>
          <c:extLst>
            <c:ext xmlns:c16="http://schemas.microsoft.com/office/drawing/2014/chart" uri="{C3380CC4-5D6E-409C-BE32-E72D297353CC}">
              <c16:uniqueId val="{00000000-59B1-5B48-8B9E-0F434E37979F}"/>
            </c:ext>
          </c:extLst>
        </c:ser>
        <c:ser>
          <c:idx val="1"/>
          <c:order val="1"/>
          <c:tx>
            <c:strRef>
              <c:f>Tabelle1!$C$1</c:f>
              <c:strCache>
                <c:ptCount val="1"/>
                <c:pt idx="0">
                  <c:v>Data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C$2:$C$5</c:f>
              <c:numCache>
                <c:formatCode>General</c:formatCode>
                <c:ptCount val="4"/>
                <c:pt idx="0">
                  <c:v>2.4</c:v>
                </c:pt>
                <c:pt idx="1">
                  <c:v>2.4</c:v>
                </c:pt>
                <c:pt idx="2">
                  <c:v>1.8</c:v>
                </c:pt>
                <c:pt idx="3">
                  <c:v>2.8</c:v>
                </c:pt>
              </c:numCache>
            </c:numRef>
          </c:val>
          <c:extLst>
            <c:ext xmlns:c16="http://schemas.microsoft.com/office/drawing/2014/chart" uri="{C3380CC4-5D6E-409C-BE32-E72D297353CC}">
              <c16:uniqueId val="{00000001-59B1-5B48-8B9E-0F434E37979F}"/>
            </c:ext>
          </c:extLst>
        </c:ser>
        <c:ser>
          <c:idx val="2"/>
          <c:order val="2"/>
          <c:tx>
            <c:strRef>
              <c:f>Tabelle1!$D$1</c:f>
              <c:strCache>
                <c:ptCount val="1"/>
                <c:pt idx="0">
                  <c:v>Data 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59B1-5B48-8B9E-0F434E37979F}"/>
            </c:ext>
          </c:extLst>
        </c:ser>
        <c:dLbls>
          <c:showLegendKey val="0"/>
          <c:showVal val="0"/>
          <c:showCatName val="0"/>
          <c:showSerName val="0"/>
          <c:showPercent val="0"/>
          <c:showBubbleSize val="0"/>
        </c:dLbls>
        <c:gapWidth val="79"/>
        <c:overlap val="100"/>
        <c:axId val="112657952"/>
        <c:axId val="-79949744"/>
      </c:barChart>
      <c:catAx>
        <c:axId val="11265795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79949744"/>
        <c:crosses val="autoZero"/>
        <c:auto val="1"/>
        <c:lblAlgn val="ctr"/>
        <c:lblOffset val="100"/>
        <c:noMultiLvlLbl val="0"/>
      </c:catAx>
      <c:valAx>
        <c:axId val="-79949744"/>
        <c:scaling>
          <c:orientation val="minMax"/>
        </c:scaling>
        <c:delete val="1"/>
        <c:axPos val="l"/>
        <c:numFmt formatCode="General" sourceLinked="1"/>
        <c:majorTickMark val="none"/>
        <c:minorTickMark val="none"/>
        <c:tickLblPos val="nextTo"/>
        <c:crossAx val="1126579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Title </a:t>
            </a:r>
            <a:r>
              <a:rPr lang="de-DE" err="1"/>
              <a:t>of</a:t>
            </a:r>
            <a:r>
              <a:rPr lang="de-DE"/>
              <a:t> </a:t>
            </a:r>
            <a:r>
              <a:rPr lang="de-DE" err="1"/>
              <a:t>chart</a:t>
            </a:r>
            <a:endParaRPr lang="de-DE"/>
          </a:p>
        </c:rich>
      </c:tx>
      <c:overlay val="0"/>
      <c:spPr>
        <a:noFill/>
        <a:ln>
          <a:noFill/>
        </a:ln>
        <a:effectLst/>
      </c:spPr>
      <c:txPr>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de-DE"/>
        </a:p>
      </c:txPr>
    </c:title>
    <c:autoTitleDeleted val="0"/>
    <c:plotArea>
      <c:layout/>
      <c:barChart>
        <c:barDir val="col"/>
        <c:grouping val="stacked"/>
        <c:varyColors val="0"/>
        <c:ser>
          <c:idx val="0"/>
          <c:order val="0"/>
          <c:tx>
            <c:strRef>
              <c:f>Tabelle1!$B$1</c:f>
              <c:strCache>
                <c:ptCount val="1"/>
                <c:pt idx="0">
                  <c:v>Data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B$2:$B$5</c:f>
              <c:numCache>
                <c:formatCode>General</c:formatCode>
                <c:ptCount val="4"/>
                <c:pt idx="0">
                  <c:v>4.3</c:v>
                </c:pt>
                <c:pt idx="1">
                  <c:v>1.5</c:v>
                </c:pt>
                <c:pt idx="2">
                  <c:v>3.5</c:v>
                </c:pt>
                <c:pt idx="3">
                  <c:v>4.5</c:v>
                </c:pt>
              </c:numCache>
            </c:numRef>
          </c:val>
          <c:extLst>
            <c:ext xmlns:c16="http://schemas.microsoft.com/office/drawing/2014/chart" uri="{C3380CC4-5D6E-409C-BE32-E72D297353CC}">
              <c16:uniqueId val="{00000000-59B1-5B48-8B9E-0F434E37979F}"/>
            </c:ext>
          </c:extLst>
        </c:ser>
        <c:ser>
          <c:idx val="1"/>
          <c:order val="1"/>
          <c:tx>
            <c:strRef>
              <c:f>Tabelle1!$C$1</c:f>
              <c:strCache>
                <c:ptCount val="1"/>
                <c:pt idx="0">
                  <c:v>Data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C$2:$C$5</c:f>
              <c:numCache>
                <c:formatCode>General</c:formatCode>
                <c:ptCount val="4"/>
                <c:pt idx="0">
                  <c:v>2.4</c:v>
                </c:pt>
                <c:pt idx="1">
                  <c:v>2.4</c:v>
                </c:pt>
                <c:pt idx="2">
                  <c:v>1.8</c:v>
                </c:pt>
                <c:pt idx="3">
                  <c:v>2.8</c:v>
                </c:pt>
              </c:numCache>
            </c:numRef>
          </c:val>
          <c:extLst>
            <c:ext xmlns:c16="http://schemas.microsoft.com/office/drawing/2014/chart" uri="{C3380CC4-5D6E-409C-BE32-E72D297353CC}">
              <c16:uniqueId val="{00000001-59B1-5B48-8B9E-0F434E37979F}"/>
            </c:ext>
          </c:extLst>
        </c:ser>
        <c:ser>
          <c:idx val="2"/>
          <c:order val="2"/>
          <c:tx>
            <c:strRef>
              <c:f>Tabelle1!$D$1</c:f>
              <c:strCache>
                <c:ptCount val="1"/>
                <c:pt idx="0">
                  <c:v>Data 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59B1-5B48-8B9E-0F434E37979F}"/>
            </c:ext>
          </c:extLst>
        </c:ser>
        <c:dLbls>
          <c:showLegendKey val="0"/>
          <c:showVal val="0"/>
          <c:showCatName val="0"/>
          <c:showSerName val="0"/>
          <c:showPercent val="0"/>
          <c:showBubbleSize val="0"/>
        </c:dLbls>
        <c:gapWidth val="79"/>
        <c:overlap val="100"/>
        <c:axId val="112657952"/>
        <c:axId val="-79949744"/>
      </c:barChart>
      <c:catAx>
        <c:axId val="11265795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79949744"/>
        <c:crosses val="autoZero"/>
        <c:auto val="1"/>
        <c:lblAlgn val="ctr"/>
        <c:lblOffset val="100"/>
        <c:noMultiLvlLbl val="0"/>
      </c:catAx>
      <c:valAx>
        <c:axId val="-79949744"/>
        <c:scaling>
          <c:orientation val="minMax"/>
        </c:scaling>
        <c:delete val="1"/>
        <c:axPos val="l"/>
        <c:numFmt formatCode="General" sourceLinked="1"/>
        <c:majorTickMark val="none"/>
        <c:minorTickMark val="none"/>
        <c:tickLblPos val="nextTo"/>
        <c:crossAx val="1126579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r>
              <a:rPr lang="de-DE"/>
              <a:t>Title </a:t>
            </a:r>
            <a:r>
              <a:rPr lang="de-DE" err="1"/>
              <a:t>of</a:t>
            </a:r>
            <a:r>
              <a:rPr lang="de-DE"/>
              <a:t> </a:t>
            </a:r>
            <a:r>
              <a:rPr lang="de-DE" err="1"/>
              <a:t>chart</a:t>
            </a:r>
            <a:r>
              <a:rPr lang="de-DE"/>
              <a:t>; </a:t>
            </a:r>
            <a:r>
              <a:rPr lang="de-DE" err="1"/>
              <a:t>edit</a:t>
            </a:r>
            <a:r>
              <a:rPr lang="de-DE"/>
              <a:t> </a:t>
            </a:r>
            <a:r>
              <a:rPr lang="de-DE" err="1"/>
              <a:t>data</a:t>
            </a:r>
            <a:r>
              <a:rPr lang="de-DE"/>
              <a:t> /</a:t>
            </a:r>
            <a:r>
              <a:rPr lang="de-DE" err="1"/>
              <a:t>colours</a:t>
            </a:r>
            <a:r>
              <a:rPr lang="de-DE"/>
              <a:t> </a:t>
            </a:r>
            <a:r>
              <a:rPr lang="de-DE" err="1"/>
              <a:t>by</a:t>
            </a:r>
            <a:r>
              <a:rPr lang="de-DE"/>
              <a:t> </a:t>
            </a:r>
            <a:r>
              <a:rPr lang="de-DE" err="1"/>
              <a:t>using</a:t>
            </a:r>
            <a:r>
              <a:rPr lang="de-DE"/>
              <a:t> </a:t>
            </a:r>
            <a:r>
              <a:rPr lang="de-DE" err="1"/>
              <a:t>the</a:t>
            </a:r>
            <a:r>
              <a:rPr lang="de-DE"/>
              <a:t> </a:t>
            </a:r>
            <a:r>
              <a:rPr lang="de-DE" err="1"/>
              <a:t>icons</a:t>
            </a:r>
            <a:r>
              <a:rPr lang="de-DE"/>
              <a:t> </a:t>
            </a:r>
            <a:r>
              <a:rPr lang="de-DE" err="1"/>
              <a:t>which</a:t>
            </a:r>
            <a:r>
              <a:rPr lang="de-DE"/>
              <a:t> </a:t>
            </a:r>
            <a:r>
              <a:rPr lang="de-DE" err="1"/>
              <a:t>appear</a:t>
            </a:r>
            <a:r>
              <a:rPr lang="de-DE"/>
              <a:t> on </a:t>
            </a:r>
            <a:r>
              <a:rPr lang="de-DE" err="1"/>
              <a:t>the</a:t>
            </a:r>
            <a:r>
              <a:rPr lang="de-DE"/>
              <a:t> </a:t>
            </a:r>
            <a:r>
              <a:rPr lang="de-DE" err="1"/>
              <a:t>right</a:t>
            </a:r>
            <a:r>
              <a:rPr lang="de-DE"/>
              <a:t> </a:t>
            </a:r>
            <a:r>
              <a:rPr lang="de-DE" err="1"/>
              <a:t>side</a:t>
            </a:r>
            <a:r>
              <a:rPr lang="de-DE"/>
              <a:t> </a:t>
            </a:r>
            <a:r>
              <a:rPr lang="de-DE" err="1"/>
              <a:t>if</a:t>
            </a:r>
            <a:r>
              <a:rPr lang="de-DE"/>
              <a:t> </a:t>
            </a:r>
            <a:r>
              <a:rPr lang="de-DE" err="1"/>
              <a:t>you</a:t>
            </a:r>
            <a:r>
              <a:rPr lang="de-DE"/>
              <a:t> </a:t>
            </a:r>
            <a:r>
              <a:rPr lang="de-DE" err="1"/>
              <a:t>click</a:t>
            </a:r>
            <a:r>
              <a:rPr lang="de-DE"/>
              <a:t>   </a:t>
            </a:r>
          </a:p>
        </c:rich>
      </c:tx>
      <c:overlay val="0"/>
      <c:spPr>
        <a:noFill/>
        <a:ln>
          <a:noFill/>
        </a:ln>
        <a:effectLst/>
      </c:spPr>
      <c:txPr>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endParaRPr lang="en-US"/>
        </a:p>
      </c:txPr>
    </c:title>
    <c:autoTitleDeleted val="0"/>
    <c:plotArea>
      <c:layout/>
      <c:areaChart>
        <c:grouping val="standard"/>
        <c:varyColors val="0"/>
        <c:ser>
          <c:idx val="0"/>
          <c:order val="0"/>
          <c:tx>
            <c:strRef>
              <c:f>Tabelle1!$B$1</c:f>
              <c:strCache>
                <c:ptCount val="1"/>
                <c:pt idx="0">
                  <c:v>Data 1</c:v>
                </c:pt>
              </c:strCache>
            </c:strRef>
          </c:tx>
          <c:spPr>
            <a:solidFill>
              <a:schemeClr val="accent1"/>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A135-0840-AE9B-B74998F1490A}"/>
            </c:ext>
          </c:extLst>
        </c:ser>
        <c:ser>
          <c:idx val="1"/>
          <c:order val="1"/>
          <c:tx>
            <c:strRef>
              <c:f>Tabelle1!$C$1</c:f>
              <c:strCache>
                <c:ptCount val="1"/>
                <c:pt idx="0">
                  <c:v>Data 2</c:v>
                </c:pt>
              </c:strCache>
            </c:strRef>
          </c:tx>
          <c:spPr>
            <a:solidFill>
              <a:schemeClr val="accent3"/>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A135-0840-AE9B-B74998F1490A}"/>
            </c:ext>
          </c:extLst>
        </c:ser>
        <c:ser>
          <c:idx val="2"/>
          <c:order val="2"/>
          <c:tx>
            <c:strRef>
              <c:f>Tabelle1!$D$1</c:f>
              <c:strCache>
                <c:ptCount val="1"/>
                <c:pt idx="0">
                  <c:v>Column 1</c:v>
                </c:pt>
              </c:strCache>
            </c:strRef>
          </c:tx>
          <c:spPr>
            <a:solidFill>
              <a:schemeClr val="accent5"/>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D$2:$D$6</c:f>
              <c:numCache>
                <c:formatCode>General</c:formatCode>
                <c:ptCount val="5"/>
              </c:numCache>
            </c:numRef>
          </c:val>
          <c:extLst>
            <c:ext xmlns:c16="http://schemas.microsoft.com/office/drawing/2014/chart" uri="{C3380CC4-5D6E-409C-BE32-E72D297353CC}">
              <c16:uniqueId val="{00000002-A135-0840-AE9B-B74998F1490A}"/>
            </c:ext>
          </c:extLst>
        </c:ser>
        <c:ser>
          <c:idx val="3"/>
          <c:order val="3"/>
          <c:tx>
            <c:strRef>
              <c:f>Tabelle1!$E$1</c:f>
              <c:strCache>
                <c:ptCount val="1"/>
                <c:pt idx="0">
                  <c:v>Column 2</c:v>
                </c:pt>
              </c:strCache>
            </c:strRef>
          </c:tx>
          <c:spPr>
            <a:solidFill>
              <a:schemeClr val="accent1">
                <a:lumMod val="60000"/>
              </a:schemeClr>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E$2:$E$6</c:f>
              <c:numCache>
                <c:formatCode>General</c:formatCode>
                <c:ptCount val="5"/>
              </c:numCache>
            </c:numRef>
          </c:val>
          <c:extLst>
            <c:ext xmlns:c16="http://schemas.microsoft.com/office/drawing/2014/chart" uri="{C3380CC4-5D6E-409C-BE32-E72D297353CC}">
              <c16:uniqueId val="{00000003-A135-0840-AE9B-B74998F1490A}"/>
            </c:ext>
          </c:extLst>
        </c:ser>
        <c:dLbls>
          <c:showLegendKey val="0"/>
          <c:showVal val="0"/>
          <c:showCatName val="0"/>
          <c:showSerName val="0"/>
          <c:showPercent val="0"/>
          <c:showBubbleSize val="0"/>
        </c:dLbls>
        <c:axId val="5862096"/>
        <c:axId val="90308880"/>
      </c:areaChart>
      <c:dateAx>
        <c:axId val="5862096"/>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90308880"/>
        <c:crosses val="autoZero"/>
        <c:auto val="1"/>
        <c:lblOffset val="100"/>
        <c:baseTimeUnit val="months"/>
      </c:dateAx>
      <c:valAx>
        <c:axId val="903088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5862096"/>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legend>
    <c:plotVisOnly val="1"/>
    <c:dispBlanksAs val="zero"/>
    <c:showDLblsOverMax val="0"/>
  </c:chart>
  <c:spPr>
    <a:noFill/>
    <a:ln>
      <a:noFill/>
    </a:ln>
    <a:effectLst/>
  </c:spPr>
  <c:txPr>
    <a:bodyPr/>
    <a:lstStyle/>
    <a:p>
      <a:pPr>
        <a:defRPr>
          <a:solidFill>
            <a:srgbClr val="313131"/>
          </a:solidFill>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Edit title of pie chart here</a:t>
            </a:r>
            <a:endParaRPr lang="en-US"/>
          </a:p>
        </c:rich>
      </c:tx>
      <c:layout>
        <c:manualLayout>
          <c:xMode val="edge"/>
          <c:yMode val="edge"/>
          <c:x val="0.171984797852507"/>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pieChart>
        <c:varyColors val="1"/>
        <c:ser>
          <c:idx val="0"/>
          <c:order val="0"/>
          <c:tx>
            <c:strRef>
              <c:f>Tabelle1!$B$1</c:f>
              <c:strCache>
                <c:ptCount val="1"/>
                <c:pt idx="0">
                  <c:v>Verkauf</c:v>
                </c:pt>
              </c:strCache>
            </c:strRef>
          </c:tx>
          <c:explosion val="1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723-114E-9886-4C74289445E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723-114E-9886-4C74289445EE}"/>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723-114E-9886-4C74289445EE}"/>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723-114E-9886-4C74289445EE}"/>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4723-114E-9886-4C74289445EE}"/>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4723-114E-9886-4C74289445EE}"/>
              </c:ext>
            </c:extLst>
          </c:dPt>
          <c:cat>
            <c:strRef>
              <c:f>Tabelle1!$A$2:$A$7</c:f>
              <c:strCache>
                <c:ptCount val="6"/>
                <c:pt idx="0">
                  <c:v>1. Lorem</c:v>
                </c:pt>
                <c:pt idx="1">
                  <c:v>2. Lorem</c:v>
                </c:pt>
                <c:pt idx="2">
                  <c:v>3. Lorem</c:v>
                </c:pt>
                <c:pt idx="3">
                  <c:v>4. Lorem</c:v>
                </c:pt>
                <c:pt idx="4">
                  <c:v>5. Lorem</c:v>
                </c:pt>
                <c:pt idx="5">
                  <c:v>6.Lorem</c:v>
                </c:pt>
              </c:strCache>
            </c:strRef>
          </c:cat>
          <c:val>
            <c:numRef>
              <c:f>Tabelle1!$B$2:$B$7</c:f>
              <c:numCache>
                <c:formatCode>General</c:formatCode>
                <c:ptCount val="6"/>
                <c:pt idx="0">
                  <c:v>40</c:v>
                </c:pt>
                <c:pt idx="1">
                  <c:v>20</c:v>
                </c:pt>
                <c:pt idx="2">
                  <c:v>5</c:v>
                </c:pt>
                <c:pt idx="3">
                  <c:v>5</c:v>
                </c:pt>
                <c:pt idx="4">
                  <c:v>10</c:v>
                </c:pt>
                <c:pt idx="5">
                  <c:v>10</c:v>
                </c:pt>
              </c:numCache>
            </c:numRef>
          </c:val>
          <c:extLst>
            <c:ext xmlns:c16="http://schemas.microsoft.com/office/drawing/2014/chart" uri="{C3380CC4-5D6E-409C-BE32-E72D297353CC}">
              <c16:uniqueId val="{0000000C-4723-114E-9886-4C74289445EE}"/>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Title </a:t>
            </a:r>
            <a:r>
              <a:rPr lang="de-DE" err="1"/>
              <a:t>of</a:t>
            </a:r>
            <a:r>
              <a:rPr lang="de-DE"/>
              <a:t> </a:t>
            </a:r>
            <a:r>
              <a:rPr lang="de-DE" err="1"/>
              <a:t>chart</a:t>
            </a:r>
            <a:endParaRPr lang="de-DE"/>
          </a:p>
        </c:rich>
      </c:tx>
      <c:overlay val="0"/>
      <c:spPr>
        <a:noFill/>
        <a:ln>
          <a:noFill/>
        </a:ln>
        <a:effectLst/>
      </c:spPr>
      <c:txPr>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de-DE"/>
        </a:p>
      </c:txPr>
    </c:title>
    <c:autoTitleDeleted val="0"/>
    <c:plotArea>
      <c:layout/>
      <c:barChart>
        <c:barDir val="col"/>
        <c:grouping val="stacked"/>
        <c:varyColors val="0"/>
        <c:ser>
          <c:idx val="0"/>
          <c:order val="0"/>
          <c:tx>
            <c:strRef>
              <c:f>Tabelle1!$B$1</c:f>
              <c:strCache>
                <c:ptCount val="1"/>
                <c:pt idx="0">
                  <c:v>Data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B$2:$B$5</c:f>
              <c:numCache>
                <c:formatCode>General</c:formatCode>
                <c:ptCount val="4"/>
                <c:pt idx="0">
                  <c:v>4.3</c:v>
                </c:pt>
                <c:pt idx="1">
                  <c:v>1.5</c:v>
                </c:pt>
                <c:pt idx="2">
                  <c:v>3.5</c:v>
                </c:pt>
                <c:pt idx="3">
                  <c:v>4.5</c:v>
                </c:pt>
              </c:numCache>
            </c:numRef>
          </c:val>
          <c:extLst>
            <c:ext xmlns:c16="http://schemas.microsoft.com/office/drawing/2014/chart" uri="{C3380CC4-5D6E-409C-BE32-E72D297353CC}">
              <c16:uniqueId val="{00000000-59B1-5B48-8B9E-0F434E37979F}"/>
            </c:ext>
          </c:extLst>
        </c:ser>
        <c:ser>
          <c:idx val="1"/>
          <c:order val="1"/>
          <c:tx>
            <c:strRef>
              <c:f>Tabelle1!$C$1</c:f>
              <c:strCache>
                <c:ptCount val="1"/>
                <c:pt idx="0">
                  <c:v>Data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C$2:$C$5</c:f>
              <c:numCache>
                <c:formatCode>General</c:formatCode>
                <c:ptCount val="4"/>
                <c:pt idx="0">
                  <c:v>2.4</c:v>
                </c:pt>
                <c:pt idx="1">
                  <c:v>2.4</c:v>
                </c:pt>
                <c:pt idx="2">
                  <c:v>1.8</c:v>
                </c:pt>
                <c:pt idx="3">
                  <c:v>2.8</c:v>
                </c:pt>
              </c:numCache>
            </c:numRef>
          </c:val>
          <c:extLst>
            <c:ext xmlns:c16="http://schemas.microsoft.com/office/drawing/2014/chart" uri="{C3380CC4-5D6E-409C-BE32-E72D297353CC}">
              <c16:uniqueId val="{00000001-59B1-5B48-8B9E-0F434E37979F}"/>
            </c:ext>
          </c:extLst>
        </c:ser>
        <c:ser>
          <c:idx val="2"/>
          <c:order val="2"/>
          <c:tx>
            <c:strRef>
              <c:f>Tabelle1!$D$1</c:f>
              <c:strCache>
                <c:ptCount val="1"/>
                <c:pt idx="0">
                  <c:v>Data 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59B1-5B48-8B9E-0F434E37979F}"/>
            </c:ext>
          </c:extLst>
        </c:ser>
        <c:dLbls>
          <c:showLegendKey val="0"/>
          <c:showVal val="0"/>
          <c:showCatName val="0"/>
          <c:showSerName val="0"/>
          <c:showPercent val="0"/>
          <c:showBubbleSize val="0"/>
        </c:dLbls>
        <c:gapWidth val="79"/>
        <c:overlap val="100"/>
        <c:axId val="112657952"/>
        <c:axId val="-79949744"/>
      </c:barChart>
      <c:catAx>
        <c:axId val="11265795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79949744"/>
        <c:crosses val="autoZero"/>
        <c:auto val="1"/>
        <c:lblAlgn val="ctr"/>
        <c:lblOffset val="100"/>
        <c:noMultiLvlLbl val="0"/>
      </c:catAx>
      <c:valAx>
        <c:axId val="-79949744"/>
        <c:scaling>
          <c:orientation val="minMax"/>
        </c:scaling>
        <c:delete val="1"/>
        <c:axPos val="l"/>
        <c:numFmt formatCode="General" sourceLinked="1"/>
        <c:majorTickMark val="none"/>
        <c:minorTickMark val="none"/>
        <c:tickLblPos val="nextTo"/>
        <c:crossAx val="1126579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r>
              <a:rPr lang="de-DE"/>
              <a:t>Title </a:t>
            </a:r>
            <a:r>
              <a:rPr lang="de-DE" err="1"/>
              <a:t>of</a:t>
            </a:r>
            <a:r>
              <a:rPr lang="de-DE"/>
              <a:t> </a:t>
            </a:r>
            <a:r>
              <a:rPr lang="de-DE" err="1"/>
              <a:t>chart</a:t>
            </a:r>
            <a:r>
              <a:rPr lang="de-DE"/>
              <a:t>; </a:t>
            </a:r>
            <a:r>
              <a:rPr lang="de-DE" err="1"/>
              <a:t>edit</a:t>
            </a:r>
            <a:r>
              <a:rPr lang="de-DE"/>
              <a:t> </a:t>
            </a:r>
            <a:r>
              <a:rPr lang="de-DE" err="1"/>
              <a:t>data</a:t>
            </a:r>
            <a:r>
              <a:rPr lang="de-DE"/>
              <a:t> /</a:t>
            </a:r>
            <a:r>
              <a:rPr lang="de-DE" err="1"/>
              <a:t>colours</a:t>
            </a:r>
            <a:r>
              <a:rPr lang="de-DE"/>
              <a:t> </a:t>
            </a:r>
            <a:r>
              <a:rPr lang="de-DE" err="1"/>
              <a:t>by</a:t>
            </a:r>
            <a:r>
              <a:rPr lang="de-DE"/>
              <a:t> </a:t>
            </a:r>
            <a:r>
              <a:rPr lang="de-DE" err="1"/>
              <a:t>using</a:t>
            </a:r>
            <a:r>
              <a:rPr lang="de-DE"/>
              <a:t> </a:t>
            </a:r>
            <a:r>
              <a:rPr lang="de-DE" err="1"/>
              <a:t>the</a:t>
            </a:r>
            <a:r>
              <a:rPr lang="de-DE"/>
              <a:t> </a:t>
            </a:r>
            <a:r>
              <a:rPr lang="de-DE" err="1"/>
              <a:t>icons</a:t>
            </a:r>
            <a:r>
              <a:rPr lang="de-DE"/>
              <a:t> </a:t>
            </a:r>
            <a:r>
              <a:rPr lang="de-DE" err="1"/>
              <a:t>which</a:t>
            </a:r>
            <a:r>
              <a:rPr lang="de-DE"/>
              <a:t> </a:t>
            </a:r>
            <a:r>
              <a:rPr lang="de-DE" err="1"/>
              <a:t>appear</a:t>
            </a:r>
            <a:r>
              <a:rPr lang="de-DE"/>
              <a:t> on </a:t>
            </a:r>
            <a:r>
              <a:rPr lang="de-DE" err="1"/>
              <a:t>the</a:t>
            </a:r>
            <a:r>
              <a:rPr lang="de-DE"/>
              <a:t> </a:t>
            </a:r>
            <a:r>
              <a:rPr lang="de-DE" err="1"/>
              <a:t>right</a:t>
            </a:r>
            <a:r>
              <a:rPr lang="de-DE"/>
              <a:t> </a:t>
            </a:r>
            <a:r>
              <a:rPr lang="de-DE" err="1"/>
              <a:t>side</a:t>
            </a:r>
            <a:r>
              <a:rPr lang="de-DE"/>
              <a:t> </a:t>
            </a:r>
            <a:r>
              <a:rPr lang="de-DE" err="1"/>
              <a:t>if</a:t>
            </a:r>
            <a:r>
              <a:rPr lang="de-DE"/>
              <a:t> </a:t>
            </a:r>
            <a:r>
              <a:rPr lang="de-DE" err="1"/>
              <a:t>you</a:t>
            </a:r>
            <a:r>
              <a:rPr lang="de-DE"/>
              <a:t> </a:t>
            </a:r>
            <a:r>
              <a:rPr lang="de-DE" err="1"/>
              <a:t>click</a:t>
            </a:r>
            <a:r>
              <a:rPr lang="de-DE"/>
              <a:t>   </a:t>
            </a:r>
          </a:p>
        </c:rich>
      </c:tx>
      <c:overlay val="0"/>
      <c:spPr>
        <a:noFill/>
        <a:ln>
          <a:noFill/>
        </a:ln>
        <a:effectLst/>
      </c:spPr>
      <c:txPr>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endParaRPr lang="en-US"/>
        </a:p>
      </c:txPr>
    </c:title>
    <c:autoTitleDeleted val="0"/>
    <c:plotArea>
      <c:layout/>
      <c:areaChart>
        <c:grouping val="standard"/>
        <c:varyColors val="0"/>
        <c:ser>
          <c:idx val="0"/>
          <c:order val="0"/>
          <c:tx>
            <c:strRef>
              <c:f>Tabelle1!$B$1</c:f>
              <c:strCache>
                <c:ptCount val="1"/>
                <c:pt idx="0">
                  <c:v>Data 1</c:v>
                </c:pt>
              </c:strCache>
            </c:strRef>
          </c:tx>
          <c:spPr>
            <a:solidFill>
              <a:schemeClr val="accent1"/>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A135-0840-AE9B-B74998F1490A}"/>
            </c:ext>
          </c:extLst>
        </c:ser>
        <c:ser>
          <c:idx val="1"/>
          <c:order val="1"/>
          <c:tx>
            <c:strRef>
              <c:f>Tabelle1!$C$1</c:f>
              <c:strCache>
                <c:ptCount val="1"/>
                <c:pt idx="0">
                  <c:v>Data 2</c:v>
                </c:pt>
              </c:strCache>
            </c:strRef>
          </c:tx>
          <c:spPr>
            <a:solidFill>
              <a:schemeClr val="accent3"/>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A135-0840-AE9B-B74998F1490A}"/>
            </c:ext>
          </c:extLst>
        </c:ser>
        <c:ser>
          <c:idx val="2"/>
          <c:order val="2"/>
          <c:tx>
            <c:strRef>
              <c:f>Tabelle1!$D$1</c:f>
              <c:strCache>
                <c:ptCount val="1"/>
                <c:pt idx="0">
                  <c:v>Column 1</c:v>
                </c:pt>
              </c:strCache>
            </c:strRef>
          </c:tx>
          <c:spPr>
            <a:solidFill>
              <a:schemeClr val="accent5"/>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D$2:$D$6</c:f>
              <c:numCache>
                <c:formatCode>General</c:formatCode>
                <c:ptCount val="5"/>
              </c:numCache>
            </c:numRef>
          </c:val>
          <c:extLst>
            <c:ext xmlns:c16="http://schemas.microsoft.com/office/drawing/2014/chart" uri="{C3380CC4-5D6E-409C-BE32-E72D297353CC}">
              <c16:uniqueId val="{00000002-A135-0840-AE9B-B74998F1490A}"/>
            </c:ext>
          </c:extLst>
        </c:ser>
        <c:ser>
          <c:idx val="3"/>
          <c:order val="3"/>
          <c:tx>
            <c:strRef>
              <c:f>Tabelle1!$E$1</c:f>
              <c:strCache>
                <c:ptCount val="1"/>
                <c:pt idx="0">
                  <c:v>Column 2</c:v>
                </c:pt>
              </c:strCache>
            </c:strRef>
          </c:tx>
          <c:spPr>
            <a:solidFill>
              <a:schemeClr val="accent1">
                <a:lumMod val="60000"/>
              </a:schemeClr>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E$2:$E$6</c:f>
              <c:numCache>
                <c:formatCode>General</c:formatCode>
                <c:ptCount val="5"/>
              </c:numCache>
            </c:numRef>
          </c:val>
          <c:extLst>
            <c:ext xmlns:c16="http://schemas.microsoft.com/office/drawing/2014/chart" uri="{C3380CC4-5D6E-409C-BE32-E72D297353CC}">
              <c16:uniqueId val="{00000003-A135-0840-AE9B-B74998F1490A}"/>
            </c:ext>
          </c:extLst>
        </c:ser>
        <c:dLbls>
          <c:showLegendKey val="0"/>
          <c:showVal val="0"/>
          <c:showCatName val="0"/>
          <c:showSerName val="0"/>
          <c:showPercent val="0"/>
          <c:showBubbleSize val="0"/>
        </c:dLbls>
        <c:axId val="5862096"/>
        <c:axId val="90308880"/>
      </c:areaChart>
      <c:dateAx>
        <c:axId val="5862096"/>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90308880"/>
        <c:crosses val="autoZero"/>
        <c:auto val="1"/>
        <c:lblOffset val="100"/>
        <c:baseTimeUnit val="months"/>
      </c:dateAx>
      <c:valAx>
        <c:axId val="903088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5862096"/>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legend>
    <c:plotVisOnly val="1"/>
    <c:dispBlanksAs val="zero"/>
    <c:showDLblsOverMax val="0"/>
  </c:chart>
  <c:spPr>
    <a:noFill/>
    <a:ln>
      <a:noFill/>
    </a:ln>
    <a:effectLst/>
  </c:spPr>
  <c:txPr>
    <a:bodyPr/>
    <a:lstStyle/>
    <a:p>
      <a:pPr>
        <a:defRPr>
          <a:solidFill>
            <a:srgbClr val="313131"/>
          </a:solidFill>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Edit title of pie chart here</a:t>
            </a:r>
            <a:endParaRPr lang="en-US"/>
          </a:p>
        </c:rich>
      </c:tx>
      <c:layout>
        <c:manualLayout>
          <c:xMode val="edge"/>
          <c:yMode val="edge"/>
          <c:x val="0.171984797852507"/>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pieChart>
        <c:varyColors val="1"/>
        <c:ser>
          <c:idx val="0"/>
          <c:order val="0"/>
          <c:tx>
            <c:strRef>
              <c:f>Tabelle1!$B$1</c:f>
              <c:strCache>
                <c:ptCount val="1"/>
                <c:pt idx="0">
                  <c:v>Verkauf</c:v>
                </c:pt>
              </c:strCache>
            </c:strRef>
          </c:tx>
          <c:explosion val="1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723-114E-9886-4C74289445E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723-114E-9886-4C74289445EE}"/>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723-114E-9886-4C74289445EE}"/>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723-114E-9886-4C74289445EE}"/>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4723-114E-9886-4C74289445EE}"/>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4723-114E-9886-4C74289445EE}"/>
              </c:ext>
            </c:extLst>
          </c:dPt>
          <c:cat>
            <c:strRef>
              <c:f>Tabelle1!$A$2:$A$7</c:f>
              <c:strCache>
                <c:ptCount val="6"/>
                <c:pt idx="0">
                  <c:v>1. Lorem</c:v>
                </c:pt>
                <c:pt idx="1">
                  <c:v>2. Lorem</c:v>
                </c:pt>
                <c:pt idx="2">
                  <c:v>3. Lorem</c:v>
                </c:pt>
                <c:pt idx="3">
                  <c:v>4. Lorem</c:v>
                </c:pt>
                <c:pt idx="4">
                  <c:v>5. Lorem</c:v>
                </c:pt>
                <c:pt idx="5">
                  <c:v>6.Lorem</c:v>
                </c:pt>
              </c:strCache>
            </c:strRef>
          </c:cat>
          <c:val>
            <c:numRef>
              <c:f>Tabelle1!$B$2:$B$7</c:f>
              <c:numCache>
                <c:formatCode>General</c:formatCode>
                <c:ptCount val="6"/>
                <c:pt idx="0">
                  <c:v>40</c:v>
                </c:pt>
                <c:pt idx="1">
                  <c:v>20</c:v>
                </c:pt>
                <c:pt idx="2">
                  <c:v>5</c:v>
                </c:pt>
                <c:pt idx="3">
                  <c:v>5</c:v>
                </c:pt>
                <c:pt idx="4">
                  <c:v>10</c:v>
                </c:pt>
                <c:pt idx="5">
                  <c:v>10</c:v>
                </c:pt>
              </c:numCache>
            </c:numRef>
          </c:val>
          <c:extLst>
            <c:ext xmlns:c16="http://schemas.microsoft.com/office/drawing/2014/chart" uri="{C3380CC4-5D6E-409C-BE32-E72D297353CC}">
              <c16:uniqueId val="{0000000C-4723-114E-9886-4C74289445EE}"/>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r>
              <a:rPr lang="de-DE"/>
              <a:t>Title </a:t>
            </a:r>
            <a:r>
              <a:rPr lang="de-DE" err="1"/>
              <a:t>of</a:t>
            </a:r>
            <a:r>
              <a:rPr lang="de-DE"/>
              <a:t> </a:t>
            </a:r>
            <a:r>
              <a:rPr lang="de-DE" err="1"/>
              <a:t>chart</a:t>
            </a:r>
            <a:r>
              <a:rPr lang="de-DE"/>
              <a:t>; </a:t>
            </a:r>
            <a:r>
              <a:rPr lang="de-DE" err="1"/>
              <a:t>edit</a:t>
            </a:r>
            <a:r>
              <a:rPr lang="de-DE"/>
              <a:t> </a:t>
            </a:r>
            <a:r>
              <a:rPr lang="de-DE" err="1"/>
              <a:t>data</a:t>
            </a:r>
            <a:r>
              <a:rPr lang="de-DE"/>
              <a:t> /</a:t>
            </a:r>
            <a:r>
              <a:rPr lang="de-DE" err="1"/>
              <a:t>colours</a:t>
            </a:r>
            <a:r>
              <a:rPr lang="de-DE"/>
              <a:t> </a:t>
            </a:r>
            <a:r>
              <a:rPr lang="de-DE" err="1"/>
              <a:t>by</a:t>
            </a:r>
            <a:r>
              <a:rPr lang="de-DE"/>
              <a:t> </a:t>
            </a:r>
            <a:r>
              <a:rPr lang="de-DE" err="1"/>
              <a:t>using</a:t>
            </a:r>
            <a:r>
              <a:rPr lang="de-DE"/>
              <a:t> </a:t>
            </a:r>
            <a:r>
              <a:rPr lang="de-DE" err="1"/>
              <a:t>the</a:t>
            </a:r>
            <a:r>
              <a:rPr lang="de-DE"/>
              <a:t> </a:t>
            </a:r>
            <a:r>
              <a:rPr lang="de-DE" err="1"/>
              <a:t>icons</a:t>
            </a:r>
            <a:r>
              <a:rPr lang="de-DE"/>
              <a:t> </a:t>
            </a:r>
            <a:r>
              <a:rPr lang="de-DE" err="1"/>
              <a:t>which</a:t>
            </a:r>
            <a:r>
              <a:rPr lang="de-DE"/>
              <a:t> </a:t>
            </a:r>
            <a:r>
              <a:rPr lang="de-DE" err="1"/>
              <a:t>appear</a:t>
            </a:r>
            <a:r>
              <a:rPr lang="de-DE"/>
              <a:t> on </a:t>
            </a:r>
            <a:r>
              <a:rPr lang="de-DE" err="1"/>
              <a:t>the</a:t>
            </a:r>
            <a:r>
              <a:rPr lang="de-DE"/>
              <a:t> </a:t>
            </a:r>
            <a:r>
              <a:rPr lang="de-DE" err="1"/>
              <a:t>right</a:t>
            </a:r>
            <a:r>
              <a:rPr lang="de-DE"/>
              <a:t> </a:t>
            </a:r>
            <a:r>
              <a:rPr lang="de-DE" err="1"/>
              <a:t>side</a:t>
            </a:r>
            <a:r>
              <a:rPr lang="de-DE"/>
              <a:t> </a:t>
            </a:r>
            <a:r>
              <a:rPr lang="de-DE" err="1"/>
              <a:t>if</a:t>
            </a:r>
            <a:r>
              <a:rPr lang="de-DE"/>
              <a:t> </a:t>
            </a:r>
            <a:r>
              <a:rPr lang="de-DE" err="1"/>
              <a:t>you</a:t>
            </a:r>
            <a:r>
              <a:rPr lang="de-DE"/>
              <a:t> </a:t>
            </a:r>
            <a:r>
              <a:rPr lang="de-DE" err="1"/>
              <a:t>click</a:t>
            </a:r>
            <a:r>
              <a:rPr lang="de-DE"/>
              <a:t>   </a:t>
            </a:r>
          </a:p>
        </c:rich>
      </c:tx>
      <c:overlay val="0"/>
      <c:spPr>
        <a:noFill/>
        <a:ln>
          <a:noFill/>
        </a:ln>
        <a:effectLst/>
      </c:spPr>
      <c:txPr>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endParaRPr lang="en-US"/>
        </a:p>
      </c:txPr>
    </c:title>
    <c:autoTitleDeleted val="0"/>
    <c:plotArea>
      <c:layout/>
      <c:areaChart>
        <c:grouping val="standard"/>
        <c:varyColors val="0"/>
        <c:ser>
          <c:idx val="0"/>
          <c:order val="0"/>
          <c:tx>
            <c:strRef>
              <c:f>Tabelle1!$B$1</c:f>
              <c:strCache>
                <c:ptCount val="1"/>
                <c:pt idx="0">
                  <c:v>Data 1</c:v>
                </c:pt>
              </c:strCache>
            </c:strRef>
          </c:tx>
          <c:spPr>
            <a:solidFill>
              <a:schemeClr val="accent1"/>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A135-0840-AE9B-B74998F1490A}"/>
            </c:ext>
          </c:extLst>
        </c:ser>
        <c:ser>
          <c:idx val="1"/>
          <c:order val="1"/>
          <c:tx>
            <c:strRef>
              <c:f>Tabelle1!$C$1</c:f>
              <c:strCache>
                <c:ptCount val="1"/>
                <c:pt idx="0">
                  <c:v>Data 2</c:v>
                </c:pt>
              </c:strCache>
            </c:strRef>
          </c:tx>
          <c:spPr>
            <a:solidFill>
              <a:schemeClr val="accent3"/>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A135-0840-AE9B-B74998F1490A}"/>
            </c:ext>
          </c:extLst>
        </c:ser>
        <c:ser>
          <c:idx val="2"/>
          <c:order val="2"/>
          <c:tx>
            <c:strRef>
              <c:f>Tabelle1!$D$1</c:f>
              <c:strCache>
                <c:ptCount val="1"/>
                <c:pt idx="0">
                  <c:v>Column 1</c:v>
                </c:pt>
              </c:strCache>
            </c:strRef>
          </c:tx>
          <c:spPr>
            <a:solidFill>
              <a:schemeClr val="accent5"/>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D$2:$D$6</c:f>
              <c:numCache>
                <c:formatCode>General</c:formatCode>
                <c:ptCount val="5"/>
              </c:numCache>
            </c:numRef>
          </c:val>
          <c:extLst>
            <c:ext xmlns:c16="http://schemas.microsoft.com/office/drawing/2014/chart" uri="{C3380CC4-5D6E-409C-BE32-E72D297353CC}">
              <c16:uniqueId val="{00000002-A135-0840-AE9B-B74998F1490A}"/>
            </c:ext>
          </c:extLst>
        </c:ser>
        <c:ser>
          <c:idx val="3"/>
          <c:order val="3"/>
          <c:tx>
            <c:strRef>
              <c:f>Tabelle1!$E$1</c:f>
              <c:strCache>
                <c:ptCount val="1"/>
                <c:pt idx="0">
                  <c:v>Column 2</c:v>
                </c:pt>
              </c:strCache>
            </c:strRef>
          </c:tx>
          <c:spPr>
            <a:solidFill>
              <a:schemeClr val="accent1">
                <a:lumMod val="60000"/>
              </a:schemeClr>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E$2:$E$6</c:f>
              <c:numCache>
                <c:formatCode>General</c:formatCode>
                <c:ptCount val="5"/>
              </c:numCache>
            </c:numRef>
          </c:val>
          <c:extLst>
            <c:ext xmlns:c16="http://schemas.microsoft.com/office/drawing/2014/chart" uri="{C3380CC4-5D6E-409C-BE32-E72D297353CC}">
              <c16:uniqueId val="{00000003-A135-0840-AE9B-B74998F1490A}"/>
            </c:ext>
          </c:extLst>
        </c:ser>
        <c:dLbls>
          <c:showLegendKey val="0"/>
          <c:showVal val="0"/>
          <c:showCatName val="0"/>
          <c:showSerName val="0"/>
          <c:showPercent val="0"/>
          <c:showBubbleSize val="0"/>
        </c:dLbls>
        <c:axId val="5862096"/>
        <c:axId val="90308880"/>
      </c:areaChart>
      <c:dateAx>
        <c:axId val="5862096"/>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90308880"/>
        <c:crosses val="autoZero"/>
        <c:auto val="1"/>
        <c:lblOffset val="100"/>
        <c:baseTimeUnit val="months"/>
      </c:dateAx>
      <c:valAx>
        <c:axId val="903088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5862096"/>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legend>
    <c:plotVisOnly val="1"/>
    <c:dispBlanksAs val="zero"/>
    <c:showDLblsOverMax val="0"/>
  </c:chart>
  <c:spPr>
    <a:noFill/>
    <a:ln>
      <a:noFill/>
    </a:ln>
    <a:effectLst/>
  </c:spPr>
  <c:txPr>
    <a:bodyPr/>
    <a:lstStyle/>
    <a:p>
      <a:pPr>
        <a:defRPr>
          <a:solidFill>
            <a:srgbClr val="313131"/>
          </a:solidFill>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Edit title of pie chart here</a:t>
            </a:r>
            <a:endParaRPr lang="en-US"/>
          </a:p>
        </c:rich>
      </c:tx>
      <c:layout>
        <c:manualLayout>
          <c:xMode val="edge"/>
          <c:yMode val="edge"/>
          <c:x val="0.171984797852507"/>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pieChart>
        <c:varyColors val="1"/>
        <c:ser>
          <c:idx val="0"/>
          <c:order val="0"/>
          <c:tx>
            <c:strRef>
              <c:f>Tabelle1!$B$1</c:f>
              <c:strCache>
                <c:ptCount val="1"/>
                <c:pt idx="0">
                  <c:v>Verkauf</c:v>
                </c:pt>
              </c:strCache>
            </c:strRef>
          </c:tx>
          <c:explosion val="1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723-114E-9886-4C74289445E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723-114E-9886-4C74289445EE}"/>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723-114E-9886-4C74289445EE}"/>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723-114E-9886-4C74289445EE}"/>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4723-114E-9886-4C74289445EE}"/>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4723-114E-9886-4C74289445EE}"/>
              </c:ext>
            </c:extLst>
          </c:dPt>
          <c:cat>
            <c:strRef>
              <c:f>Tabelle1!$A$2:$A$7</c:f>
              <c:strCache>
                <c:ptCount val="6"/>
                <c:pt idx="0">
                  <c:v>1. Lorem</c:v>
                </c:pt>
                <c:pt idx="1">
                  <c:v>2. Lorem</c:v>
                </c:pt>
                <c:pt idx="2">
                  <c:v>3. Lorem</c:v>
                </c:pt>
                <c:pt idx="3">
                  <c:v>4. Lorem</c:v>
                </c:pt>
                <c:pt idx="4">
                  <c:v>5. Lorem</c:v>
                </c:pt>
                <c:pt idx="5">
                  <c:v>6.Lorem</c:v>
                </c:pt>
              </c:strCache>
            </c:strRef>
          </c:cat>
          <c:val>
            <c:numRef>
              <c:f>Tabelle1!$B$2:$B$7</c:f>
              <c:numCache>
                <c:formatCode>General</c:formatCode>
                <c:ptCount val="6"/>
                <c:pt idx="0">
                  <c:v>40</c:v>
                </c:pt>
                <c:pt idx="1">
                  <c:v>20</c:v>
                </c:pt>
                <c:pt idx="2">
                  <c:v>5</c:v>
                </c:pt>
                <c:pt idx="3">
                  <c:v>5</c:v>
                </c:pt>
                <c:pt idx="4">
                  <c:v>10</c:v>
                </c:pt>
                <c:pt idx="5">
                  <c:v>10</c:v>
                </c:pt>
              </c:numCache>
            </c:numRef>
          </c:val>
          <c:extLst>
            <c:ext xmlns:c16="http://schemas.microsoft.com/office/drawing/2014/chart" uri="{C3380CC4-5D6E-409C-BE32-E72D297353CC}">
              <c16:uniqueId val="{0000000C-4723-114E-9886-4C74289445EE}"/>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Title </a:t>
            </a:r>
            <a:r>
              <a:rPr lang="de-DE" err="1"/>
              <a:t>of</a:t>
            </a:r>
            <a:r>
              <a:rPr lang="de-DE"/>
              <a:t> </a:t>
            </a:r>
            <a:r>
              <a:rPr lang="de-DE" err="1"/>
              <a:t>chart</a:t>
            </a:r>
            <a:endParaRPr lang="de-DE"/>
          </a:p>
        </c:rich>
      </c:tx>
      <c:overlay val="0"/>
      <c:spPr>
        <a:noFill/>
        <a:ln>
          <a:noFill/>
        </a:ln>
        <a:effectLst/>
      </c:spPr>
      <c:txPr>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de-DE"/>
        </a:p>
      </c:txPr>
    </c:title>
    <c:autoTitleDeleted val="0"/>
    <c:plotArea>
      <c:layout/>
      <c:barChart>
        <c:barDir val="col"/>
        <c:grouping val="stacked"/>
        <c:varyColors val="0"/>
        <c:ser>
          <c:idx val="0"/>
          <c:order val="0"/>
          <c:tx>
            <c:strRef>
              <c:f>Tabelle1!$B$1</c:f>
              <c:strCache>
                <c:ptCount val="1"/>
                <c:pt idx="0">
                  <c:v>Data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B$2:$B$5</c:f>
              <c:numCache>
                <c:formatCode>General</c:formatCode>
                <c:ptCount val="4"/>
                <c:pt idx="0">
                  <c:v>4.3</c:v>
                </c:pt>
                <c:pt idx="1">
                  <c:v>1.5</c:v>
                </c:pt>
                <c:pt idx="2">
                  <c:v>3.5</c:v>
                </c:pt>
                <c:pt idx="3">
                  <c:v>4.5</c:v>
                </c:pt>
              </c:numCache>
            </c:numRef>
          </c:val>
          <c:extLst>
            <c:ext xmlns:c16="http://schemas.microsoft.com/office/drawing/2014/chart" uri="{C3380CC4-5D6E-409C-BE32-E72D297353CC}">
              <c16:uniqueId val="{00000000-59B1-5B48-8B9E-0F434E37979F}"/>
            </c:ext>
          </c:extLst>
        </c:ser>
        <c:ser>
          <c:idx val="1"/>
          <c:order val="1"/>
          <c:tx>
            <c:strRef>
              <c:f>Tabelle1!$C$1</c:f>
              <c:strCache>
                <c:ptCount val="1"/>
                <c:pt idx="0">
                  <c:v>Data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C$2:$C$5</c:f>
              <c:numCache>
                <c:formatCode>General</c:formatCode>
                <c:ptCount val="4"/>
                <c:pt idx="0">
                  <c:v>2.4</c:v>
                </c:pt>
                <c:pt idx="1">
                  <c:v>2.4</c:v>
                </c:pt>
                <c:pt idx="2">
                  <c:v>1.8</c:v>
                </c:pt>
                <c:pt idx="3">
                  <c:v>2.8</c:v>
                </c:pt>
              </c:numCache>
            </c:numRef>
          </c:val>
          <c:extLst>
            <c:ext xmlns:c16="http://schemas.microsoft.com/office/drawing/2014/chart" uri="{C3380CC4-5D6E-409C-BE32-E72D297353CC}">
              <c16:uniqueId val="{00000001-59B1-5B48-8B9E-0F434E37979F}"/>
            </c:ext>
          </c:extLst>
        </c:ser>
        <c:ser>
          <c:idx val="2"/>
          <c:order val="2"/>
          <c:tx>
            <c:strRef>
              <c:f>Tabelle1!$D$1</c:f>
              <c:strCache>
                <c:ptCount val="1"/>
                <c:pt idx="0">
                  <c:v>Data 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59B1-5B48-8B9E-0F434E37979F}"/>
            </c:ext>
          </c:extLst>
        </c:ser>
        <c:dLbls>
          <c:showLegendKey val="0"/>
          <c:showVal val="0"/>
          <c:showCatName val="0"/>
          <c:showSerName val="0"/>
          <c:showPercent val="0"/>
          <c:showBubbleSize val="0"/>
        </c:dLbls>
        <c:gapWidth val="79"/>
        <c:overlap val="100"/>
        <c:axId val="112657952"/>
        <c:axId val="-79949744"/>
      </c:barChart>
      <c:catAx>
        <c:axId val="11265795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fr-FR"/>
          </a:p>
        </c:txPr>
        <c:crossAx val="-79949744"/>
        <c:crosses val="autoZero"/>
        <c:auto val="1"/>
        <c:lblAlgn val="ctr"/>
        <c:lblOffset val="100"/>
        <c:noMultiLvlLbl val="0"/>
      </c:catAx>
      <c:valAx>
        <c:axId val="-79949744"/>
        <c:scaling>
          <c:orientation val="minMax"/>
        </c:scaling>
        <c:delete val="1"/>
        <c:axPos val="l"/>
        <c:numFmt formatCode="General" sourceLinked="1"/>
        <c:majorTickMark val="none"/>
        <c:minorTickMark val="none"/>
        <c:tickLblPos val="nextTo"/>
        <c:crossAx val="1126579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fr-FR"/>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fr-F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r>
              <a:rPr lang="de-DE"/>
              <a:t>Title </a:t>
            </a:r>
            <a:r>
              <a:rPr lang="de-DE" err="1"/>
              <a:t>of</a:t>
            </a:r>
            <a:r>
              <a:rPr lang="de-DE"/>
              <a:t> </a:t>
            </a:r>
            <a:r>
              <a:rPr lang="de-DE" err="1"/>
              <a:t>chart</a:t>
            </a:r>
            <a:r>
              <a:rPr lang="de-DE"/>
              <a:t>; </a:t>
            </a:r>
            <a:r>
              <a:rPr lang="de-DE" err="1"/>
              <a:t>edit</a:t>
            </a:r>
            <a:r>
              <a:rPr lang="de-DE"/>
              <a:t> </a:t>
            </a:r>
            <a:r>
              <a:rPr lang="de-DE" err="1"/>
              <a:t>data</a:t>
            </a:r>
            <a:r>
              <a:rPr lang="de-DE"/>
              <a:t> /</a:t>
            </a:r>
            <a:r>
              <a:rPr lang="de-DE" err="1"/>
              <a:t>colours</a:t>
            </a:r>
            <a:r>
              <a:rPr lang="de-DE"/>
              <a:t> </a:t>
            </a:r>
            <a:r>
              <a:rPr lang="de-DE" err="1"/>
              <a:t>by</a:t>
            </a:r>
            <a:r>
              <a:rPr lang="de-DE"/>
              <a:t> </a:t>
            </a:r>
            <a:r>
              <a:rPr lang="de-DE" err="1"/>
              <a:t>using</a:t>
            </a:r>
            <a:r>
              <a:rPr lang="de-DE"/>
              <a:t> </a:t>
            </a:r>
            <a:r>
              <a:rPr lang="de-DE" err="1"/>
              <a:t>the</a:t>
            </a:r>
            <a:r>
              <a:rPr lang="de-DE"/>
              <a:t> </a:t>
            </a:r>
            <a:r>
              <a:rPr lang="de-DE" err="1"/>
              <a:t>icons</a:t>
            </a:r>
            <a:r>
              <a:rPr lang="de-DE"/>
              <a:t> </a:t>
            </a:r>
            <a:r>
              <a:rPr lang="de-DE" err="1"/>
              <a:t>which</a:t>
            </a:r>
            <a:r>
              <a:rPr lang="de-DE"/>
              <a:t> </a:t>
            </a:r>
            <a:r>
              <a:rPr lang="de-DE" err="1"/>
              <a:t>appear</a:t>
            </a:r>
            <a:r>
              <a:rPr lang="de-DE"/>
              <a:t> on </a:t>
            </a:r>
            <a:r>
              <a:rPr lang="de-DE" err="1"/>
              <a:t>the</a:t>
            </a:r>
            <a:r>
              <a:rPr lang="de-DE"/>
              <a:t> </a:t>
            </a:r>
            <a:r>
              <a:rPr lang="de-DE" err="1"/>
              <a:t>right</a:t>
            </a:r>
            <a:r>
              <a:rPr lang="de-DE"/>
              <a:t> </a:t>
            </a:r>
            <a:r>
              <a:rPr lang="de-DE" err="1"/>
              <a:t>side</a:t>
            </a:r>
            <a:r>
              <a:rPr lang="de-DE"/>
              <a:t> </a:t>
            </a:r>
            <a:r>
              <a:rPr lang="de-DE" err="1"/>
              <a:t>if</a:t>
            </a:r>
            <a:r>
              <a:rPr lang="de-DE"/>
              <a:t> </a:t>
            </a:r>
            <a:r>
              <a:rPr lang="de-DE" err="1"/>
              <a:t>you</a:t>
            </a:r>
            <a:r>
              <a:rPr lang="de-DE"/>
              <a:t> </a:t>
            </a:r>
            <a:r>
              <a:rPr lang="de-DE" err="1"/>
              <a:t>click</a:t>
            </a:r>
            <a:r>
              <a:rPr lang="de-DE"/>
              <a:t>   </a:t>
            </a:r>
          </a:p>
        </c:rich>
      </c:tx>
      <c:overlay val="0"/>
      <c:spPr>
        <a:noFill/>
        <a:ln>
          <a:noFill/>
        </a:ln>
        <a:effectLst/>
      </c:spPr>
      <c:txPr>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endParaRPr lang="fr-FR"/>
        </a:p>
      </c:txPr>
    </c:title>
    <c:autoTitleDeleted val="0"/>
    <c:plotArea>
      <c:layout/>
      <c:areaChart>
        <c:grouping val="standard"/>
        <c:varyColors val="0"/>
        <c:ser>
          <c:idx val="0"/>
          <c:order val="0"/>
          <c:tx>
            <c:strRef>
              <c:f>Tabelle1!$B$1</c:f>
              <c:strCache>
                <c:ptCount val="1"/>
                <c:pt idx="0">
                  <c:v>Data 1</c:v>
                </c:pt>
              </c:strCache>
            </c:strRef>
          </c:tx>
          <c:spPr>
            <a:solidFill>
              <a:schemeClr val="accent1"/>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A135-0840-AE9B-B74998F1490A}"/>
            </c:ext>
          </c:extLst>
        </c:ser>
        <c:ser>
          <c:idx val="1"/>
          <c:order val="1"/>
          <c:tx>
            <c:strRef>
              <c:f>Tabelle1!$C$1</c:f>
              <c:strCache>
                <c:ptCount val="1"/>
                <c:pt idx="0">
                  <c:v>Data 2</c:v>
                </c:pt>
              </c:strCache>
            </c:strRef>
          </c:tx>
          <c:spPr>
            <a:solidFill>
              <a:schemeClr val="accent3"/>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A135-0840-AE9B-B74998F1490A}"/>
            </c:ext>
          </c:extLst>
        </c:ser>
        <c:ser>
          <c:idx val="2"/>
          <c:order val="2"/>
          <c:tx>
            <c:strRef>
              <c:f>Tabelle1!$D$1</c:f>
              <c:strCache>
                <c:ptCount val="1"/>
                <c:pt idx="0">
                  <c:v>Column 1</c:v>
                </c:pt>
              </c:strCache>
            </c:strRef>
          </c:tx>
          <c:spPr>
            <a:solidFill>
              <a:schemeClr val="accent5"/>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D$2:$D$6</c:f>
              <c:numCache>
                <c:formatCode>General</c:formatCode>
                <c:ptCount val="5"/>
              </c:numCache>
            </c:numRef>
          </c:val>
          <c:extLst>
            <c:ext xmlns:c16="http://schemas.microsoft.com/office/drawing/2014/chart" uri="{C3380CC4-5D6E-409C-BE32-E72D297353CC}">
              <c16:uniqueId val="{00000002-A135-0840-AE9B-B74998F1490A}"/>
            </c:ext>
          </c:extLst>
        </c:ser>
        <c:ser>
          <c:idx val="3"/>
          <c:order val="3"/>
          <c:tx>
            <c:strRef>
              <c:f>Tabelle1!$E$1</c:f>
              <c:strCache>
                <c:ptCount val="1"/>
                <c:pt idx="0">
                  <c:v>Column 2</c:v>
                </c:pt>
              </c:strCache>
            </c:strRef>
          </c:tx>
          <c:spPr>
            <a:solidFill>
              <a:schemeClr val="accent1">
                <a:lumMod val="60000"/>
              </a:schemeClr>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E$2:$E$6</c:f>
              <c:numCache>
                <c:formatCode>General</c:formatCode>
                <c:ptCount val="5"/>
              </c:numCache>
            </c:numRef>
          </c:val>
          <c:extLst>
            <c:ext xmlns:c16="http://schemas.microsoft.com/office/drawing/2014/chart" uri="{C3380CC4-5D6E-409C-BE32-E72D297353CC}">
              <c16:uniqueId val="{00000003-A135-0840-AE9B-B74998F1490A}"/>
            </c:ext>
          </c:extLst>
        </c:ser>
        <c:dLbls>
          <c:showLegendKey val="0"/>
          <c:showVal val="0"/>
          <c:showCatName val="0"/>
          <c:showSerName val="0"/>
          <c:showPercent val="0"/>
          <c:showBubbleSize val="0"/>
        </c:dLbls>
        <c:axId val="5862096"/>
        <c:axId val="90308880"/>
      </c:areaChart>
      <c:dateAx>
        <c:axId val="5862096"/>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fr-FR"/>
          </a:p>
        </c:txPr>
        <c:crossAx val="90308880"/>
        <c:crosses val="autoZero"/>
        <c:auto val="1"/>
        <c:lblOffset val="100"/>
        <c:baseTimeUnit val="months"/>
      </c:dateAx>
      <c:valAx>
        <c:axId val="903088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fr-FR"/>
          </a:p>
        </c:txPr>
        <c:crossAx val="5862096"/>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fr-FR"/>
        </a:p>
      </c:txPr>
    </c:legend>
    <c:plotVisOnly val="1"/>
    <c:dispBlanksAs val="zero"/>
    <c:showDLblsOverMax val="0"/>
  </c:chart>
  <c:spPr>
    <a:noFill/>
    <a:ln>
      <a:noFill/>
    </a:ln>
    <a:effectLst/>
  </c:spPr>
  <c:txPr>
    <a:bodyPr/>
    <a:lstStyle/>
    <a:p>
      <a:pPr>
        <a:defRPr>
          <a:solidFill>
            <a:srgbClr val="313131"/>
          </a:solidFill>
          <a:latin typeface="Calibri" panose="020F0502020204030204" pitchFamily="34" charset="0"/>
          <a:cs typeface="Calibri" panose="020F0502020204030204" pitchFamily="34" charset="0"/>
        </a:defRPr>
      </a:pPr>
      <a:endParaRPr lang="fr-F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Edit title of pie chart here</a:t>
            </a:r>
            <a:endParaRPr lang="en-US"/>
          </a:p>
        </c:rich>
      </c:tx>
      <c:layout>
        <c:manualLayout>
          <c:xMode val="edge"/>
          <c:yMode val="edge"/>
          <c:x val="0.171984797852507"/>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pieChart>
        <c:varyColors val="1"/>
        <c:ser>
          <c:idx val="0"/>
          <c:order val="0"/>
          <c:tx>
            <c:strRef>
              <c:f>Tabelle1!$B$1</c:f>
              <c:strCache>
                <c:ptCount val="1"/>
                <c:pt idx="0">
                  <c:v>Verkauf</c:v>
                </c:pt>
              </c:strCache>
            </c:strRef>
          </c:tx>
          <c:explosion val="1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723-114E-9886-4C74289445E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723-114E-9886-4C74289445EE}"/>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723-114E-9886-4C74289445EE}"/>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723-114E-9886-4C74289445EE}"/>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4723-114E-9886-4C74289445EE}"/>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4723-114E-9886-4C74289445EE}"/>
              </c:ext>
            </c:extLst>
          </c:dPt>
          <c:cat>
            <c:strRef>
              <c:f>Tabelle1!$A$2:$A$7</c:f>
              <c:strCache>
                <c:ptCount val="6"/>
                <c:pt idx="0">
                  <c:v>1. Lorem</c:v>
                </c:pt>
                <c:pt idx="1">
                  <c:v>2. Lorem</c:v>
                </c:pt>
                <c:pt idx="2">
                  <c:v>3. Lorem</c:v>
                </c:pt>
                <c:pt idx="3">
                  <c:v>4. Lorem</c:v>
                </c:pt>
                <c:pt idx="4">
                  <c:v>5. Lorem</c:v>
                </c:pt>
                <c:pt idx="5">
                  <c:v>6.Lorem</c:v>
                </c:pt>
              </c:strCache>
            </c:strRef>
          </c:cat>
          <c:val>
            <c:numRef>
              <c:f>Tabelle1!$B$2:$B$7</c:f>
              <c:numCache>
                <c:formatCode>General</c:formatCode>
                <c:ptCount val="6"/>
                <c:pt idx="0">
                  <c:v>40</c:v>
                </c:pt>
                <c:pt idx="1">
                  <c:v>20</c:v>
                </c:pt>
                <c:pt idx="2">
                  <c:v>5</c:v>
                </c:pt>
                <c:pt idx="3">
                  <c:v>5</c:v>
                </c:pt>
                <c:pt idx="4">
                  <c:v>10</c:v>
                </c:pt>
                <c:pt idx="5">
                  <c:v>10</c:v>
                </c:pt>
              </c:numCache>
            </c:numRef>
          </c:val>
          <c:extLst>
            <c:ext xmlns:c16="http://schemas.microsoft.com/office/drawing/2014/chart" uri="{C3380CC4-5D6E-409C-BE32-E72D297353CC}">
              <c16:uniqueId val="{0000000C-4723-114E-9886-4C74289445EE}"/>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fr-FR"/>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fr-FR"/>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Title </a:t>
            </a:r>
            <a:r>
              <a:rPr lang="de-DE" err="1"/>
              <a:t>of</a:t>
            </a:r>
            <a:r>
              <a:rPr lang="de-DE"/>
              <a:t> </a:t>
            </a:r>
            <a:r>
              <a:rPr lang="de-DE" err="1"/>
              <a:t>chart</a:t>
            </a:r>
            <a:endParaRPr lang="de-DE"/>
          </a:p>
        </c:rich>
      </c:tx>
      <c:overlay val="0"/>
      <c:spPr>
        <a:noFill/>
        <a:ln>
          <a:noFill/>
        </a:ln>
        <a:effectLst/>
      </c:spPr>
      <c:txPr>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de-DE"/>
        </a:p>
      </c:txPr>
    </c:title>
    <c:autoTitleDeleted val="0"/>
    <c:plotArea>
      <c:layout/>
      <c:barChart>
        <c:barDir val="col"/>
        <c:grouping val="stacked"/>
        <c:varyColors val="0"/>
        <c:ser>
          <c:idx val="0"/>
          <c:order val="0"/>
          <c:tx>
            <c:strRef>
              <c:f>Tabelle1!$B$1</c:f>
              <c:strCache>
                <c:ptCount val="1"/>
                <c:pt idx="0">
                  <c:v>Data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B$2:$B$5</c:f>
              <c:numCache>
                <c:formatCode>General</c:formatCode>
                <c:ptCount val="4"/>
                <c:pt idx="0">
                  <c:v>4.3</c:v>
                </c:pt>
                <c:pt idx="1">
                  <c:v>1.5</c:v>
                </c:pt>
                <c:pt idx="2">
                  <c:v>3.5</c:v>
                </c:pt>
                <c:pt idx="3">
                  <c:v>4.5</c:v>
                </c:pt>
              </c:numCache>
            </c:numRef>
          </c:val>
          <c:extLst>
            <c:ext xmlns:c16="http://schemas.microsoft.com/office/drawing/2014/chart" uri="{C3380CC4-5D6E-409C-BE32-E72D297353CC}">
              <c16:uniqueId val="{00000000-59B1-5B48-8B9E-0F434E37979F}"/>
            </c:ext>
          </c:extLst>
        </c:ser>
        <c:ser>
          <c:idx val="1"/>
          <c:order val="1"/>
          <c:tx>
            <c:strRef>
              <c:f>Tabelle1!$C$1</c:f>
              <c:strCache>
                <c:ptCount val="1"/>
                <c:pt idx="0">
                  <c:v>Data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C$2:$C$5</c:f>
              <c:numCache>
                <c:formatCode>General</c:formatCode>
                <c:ptCount val="4"/>
                <c:pt idx="0">
                  <c:v>2.4</c:v>
                </c:pt>
                <c:pt idx="1">
                  <c:v>2.4</c:v>
                </c:pt>
                <c:pt idx="2">
                  <c:v>1.8</c:v>
                </c:pt>
                <c:pt idx="3">
                  <c:v>2.8</c:v>
                </c:pt>
              </c:numCache>
            </c:numRef>
          </c:val>
          <c:extLst>
            <c:ext xmlns:c16="http://schemas.microsoft.com/office/drawing/2014/chart" uri="{C3380CC4-5D6E-409C-BE32-E72D297353CC}">
              <c16:uniqueId val="{00000001-59B1-5B48-8B9E-0F434E37979F}"/>
            </c:ext>
          </c:extLst>
        </c:ser>
        <c:ser>
          <c:idx val="2"/>
          <c:order val="2"/>
          <c:tx>
            <c:strRef>
              <c:f>Tabelle1!$D$1</c:f>
              <c:strCache>
                <c:ptCount val="1"/>
                <c:pt idx="0">
                  <c:v>Data 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59B1-5B48-8B9E-0F434E37979F}"/>
            </c:ext>
          </c:extLst>
        </c:ser>
        <c:dLbls>
          <c:showLegendKey val="0"/>
          <c:showVal val="0"/>
          <c:showCatName val="0"/>
          <c:showSerName val="0"/>
          <c:showPercent val="0"/>
          <c:showBubbleSize val="0"/>
        </c:dLbls>
        <c:gapWidth val="79"/>
        <c:overlap val="100"/>
        <c:axId val="112657952"/>
        <c:axId val="-79949744"/>
      </c:barChart>
      <c:catAx>
        <c:axId val="11265795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79949744"/>
        <c:crosses val="autoZero"/>
        <c:auto val="1"/>
        <c:lblAlgn val="ctr"/>
        <c:lblOffset val="100"/>
        <c:noMultiLvlLbl val="0"/>
      </c:catAx>
      <c:valAx>
        <c:axId val="-79949744"/>
        <c:scaling>
          <c:orientation val="minMax"/>
        </c:scaling>
        <c:delete val="1"/>
        <c:axPos val="l"/>
        <c:numFmt formatCode="General" sourceLinked="1"/>
        <c:majorTickMark val="none"/>
        <c:minorTickMark val="none"/>
        <c:tickLblPos val="nextTo"/>
        <c:crossAx val="1126579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r>
              <a:rPr lang="de-DE"/>
              <a:t>Title </a:t>
            </a:r>
            <a:r>
              <a:rPr lang="de-DE" err="1"/>
              <a:t>of</a:t>
            </a:r>
            <a:r>
              <a:rPr lang="de-DE"/>
              <a:t> </a:t>
            </a:r>
            <a:r>
              <a:rPr lang="de-DE" err="1"/>
              <a:t>chart</a:t>
            </a:r>
            <a:r>
              <a:rPr lang="de-DE"/>
              <a:t>; </a:t>
            </a:r>
            <a:r>
              <a:rPr lang="de-DE" err="1"/>
              <a:t>edit</a:t>
            </a:r>
            <a:r>
              <a:rPr lang="de-DE"/>
              <a:t> </a:t>
            </a:r>
            <a:r>
              <a:rPr lang="de-DE" err="1"/>
              <a:t>data</a:t>
            </a:r>
            <a:r>
              <a:rPr lang="de-DE"/>
              <a:t> /</a:t>
            </a:r>
            <a:r>
              <a:rPr lang="de-DE" err="1"/>
              <a:t>colours</a:t>
            </a:r>
            <a:r>
              <a:rPr lang="de-DE"/>
              <a:t> </a:t>
            </a:r>
            <a:r>
              <a:rPr lang="de-DE" err="1"/>
              <a:t>by</a:t>
            </a:r>
            <a:r>
              <a:rPr lang="de-DE"/>
              <a:t> </a:t>
            </a:r>
            <a:r>
              <a:rPr lang="de-DE" err="1"/>
              <a:t>using</a:t>
            </a:r>
            <a:r>
              <a:rPr lang="de-DE"/>
              <a:t> </a:t>
            </a:r>
            <a:r>
              <a:rPr lang="de-DE" err="1"/>
              <a:t>the</a:t>
            </a:r>
            <a:r>
              <a:rPr lang="de-DE"/>
              <a:t> </a:t>
            </a:r>
            <a:r>
              <a:rPr lang="de-DE" err="1"/>
              <a:t>icons</a:t>
            </a:r>
            <a:r>
              <a:rPr lang="de-DE"/>
              <a:t> </a:t>
            </a:r>
            <a:r>
              <a:rPr lang="de-DE" err="1"/>
              <a:t>which</a:t>
            </a:r>
            <a:r>
              <a:rPr lang="de-DE"/>
              <a:t> </a:t>
            </a:r>
            <a:r>
              <a:rPr lang="de-DE" err="1"/>
              <a:t>appear</a:t>
            </a:r>
            <a:r>
              <a:rPr lang="de-DE"/>
              <a:t> on </a:t>
            </a:r>
            <a:r>
              <a:rPr lang="de-DE" err="1"/>
              <a:t>the</a:t>
            </a:r>
            <a:r>
              <a:rPr lang="de-DE"/>
              <a:t> </a:t>
            </a:r>
            <a:r>
              <a:rPr lang="de-DE" err="1"/>
              <a:t>right</a:t>
            </a:r>
            <a:r>
              <a:rPr lang="de-DE"/>
              <a:t> </a:t>
            </a:r>
            <a:r>
              <a:rPr lang="de-DE" err="1"/>
              <a:t>side</a:t>
            </a:r>
            <a:r>
              <a:rPr lang="de-DE"/>
              <a:t> </a:t>
            </a:r>
            <a:r>
              <a:rPr lang="de-DE" err="1"/>
              <a:t>if</a:t>
            </a:r>
            <a:r>
              <a:rPr lang="de-DE"/>
              <a:t> </a:t>
            </a:r>
            <a:r>
              <a:rPr lang="de-DE" err="1"/>
              <a:t>you</a:t>
            </a:r>
            <a:r>
              <a:rPr lang="de-DE"/>
              <a:t> </a:t>
            </a:r>
            <a:r>
              <a:rPr lang="de-DE" err="1"/>
              <a:t>click</a:t>
            </a:r>
            <a:r>
              <a:rPr lang="de-DE"/>
              <a:t>   </a:t>
            </a:r>
          </a:p>
        </c:rich>
      </c:tx>
      <c:overlay val="0"/>
      <c:spPr>
        <a:noFill/>
        <a:ln>
          <a:noFill/>
        </a:ln>
        <a:effectLst/>
      </c:spPr>
      <c:txPr>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endParaRPr lang="en-US"/>
        </a:p>
      </c:txPr>
    </c:title>
    <c:autoTitleDeleted val="0"/>
    <c:plotArea>
      <c:layout/>
      <c:areaChart>
        <c:grouping val="standard"/>
        <c:varyColors val="0"/>
        <c:ser>
          <c:idx val="0"/>
          <c:order val="0"/>
          <c:tx>
            <c:strRef>
              <c:f>Tabelle1!$B$1</c:f>
              <c:strCache>
                <c:ptCount val="1"/>
                <c:pt idx="0">
                  <c:v>Data 1</c:v>
                </c:pt>
              </c:strCache>
            </c:strRef>
          </c:tx>
          <c:spPr>
            <a:solidFill>
              <a:schemeClr val="accent1"/>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A135-0840-AE9B-B74998F1490A}"/>
            </c:ext>
          </c:extLst>
        </c:ser>
        <c:ser>
          <c:idx val="1"/>
          <c:order val="1"/>
          <c:tx>
            <c:strRef>
              <c:f>Tabelle1!$C$1</c:f>
              <c:strCache>
                <c:ptCount val="1"/>
                <c:pt idx="0">
                  <c:v>Data 2</c:v>
                </c:pt>
              </c:strCache>
            </c:strRef>
          </c:tx>
          <c:spPr>
            <a:solidFill>
              <a:schemeClr val="accent3"/>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A135-0840-AE9B-B74998F1490A}"/>
            </c:ext>
          </c:extLst>
        </c:ser>
        <c:ser>
          <c:idx val="2"/>
          <c:order val="2"/>
          <c:tx>
            <c:strRef>
              <c:f>Tabelle1!$D$1</c:f>
              <c:strCache>
                <c:ptCount val="1"/>
                <c:pt idx="0">
                  <c:v>Column 1</c:v>
                </c:pt>
              </c:strCache>
            </c:strRef>
          </c:tx>
          <c:spPr>
            <a:solidFill>
              <a:schemeClr val="accent5"/>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D$2:$D$6</c:f>
              <c:numCache>
                <c:formatCode>General</c:formatCode>
                <c:ptCount val="5"/>
              </c:numCache>
            </c:numRef>
          </c:val>
          <c:extLst>
            <c:ext xmlns:c16="http://schemas.microsoft.com/office/drawing/2014/chart" uri="{C3380CC4-5D6E-409C-BE32-E72D297353CC}">
              <c16:uniqueId val="{00000002-A135-0840-AE9B-B74998F1490A}"/>
            </c:ext>
          </c:extLst>
        </c:ser>
        <c:ser>
          <c:idx val="3"/>
          <c:order val="3"/>
          <c:tx>
            <c:strRef>
              <c:f>Tabelle1!$E$1</c:f>
              <c:strCache>
                <c:ptCount val="1"/>
                <c:pt idx="0">
                  <c:v>Column 2</c:v>
                </c:pt>
              </c:strCache>
            </c:strRef>
          </c:tx>
          <c:spPr>
            <a:solidFill>
              <a:schemeClr val="accent1">
                <a:lumMod val="60000"/>
              </a:schemeClr>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E$2:$E$6</c:f>
              <c:numCache>
                <c:formatCode>General</c:formatCode>
                <c:ptCount val="5"/>
              </c:numCache>
            </c:numRef>
          </c:val>
          <c:extLst>
            <c:ext xmlns:c16="http://schemas.microsoft.com/office/drawing/2014/chart" uri="{C3380CC4-5D6E-409C-BE32-E72D297353CC}">
              <c16:uniqueId val="{00000003-A135-0840-AE9B-B74998F1490A}"/>
            </c:ext>
          </c:extLst>
        </c:ser>
        <c:dLbls>
          <c:showLegendKey val="0"/>
          <c:showVal val="0"/>
          <c:showCatName val="0"/>
          <c:showSerName val="0"/>
          <c:showPercent val="0"/>
          <c:showBubbleSize val="0"/>
        </c:dLbls>
        <c:axId val="5862096"/>
        <c:axId val="90308880"/>
      </c:areaChart>
      <c:dateAx>
        <c:axId val="5862096"/>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90308880"/>
        <c:crosses val="autoZero"/>
        <c:auto val="1"/>
        <c:lblOffset val="100"/>
        <c:baseTimeUnit val="months"/>
      </c:dateAx>
      <c:valAx>
        <c:axId val="903088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5862096"/>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legend>
    <c:plotVisOnly val="1"/>
    <c:dispBlanksAs val="zero"/>
    <c:showDLblsOverMax val="0"/>
  </c:chart>
  <c:spPr>
    <a:noFill/>
    <a:ln>
      <a:noFill/>
    </a:ln>
    <a:effectLst/>
  </c:spPr>
  <c:txPr>
    <a:bodyPr/>
    <a:lstStyle/>
    <a:p>
      <a:pPr>
        <a:defRPr>
          <a:solidFill>
            <a:srgbClr val="313131"/>
          </a:solidFill>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Edit title of pie chart here</a:t>
            </a:r>
            <a:endParaRPr lang="en-US"/>
          </a:p>
        </c:rich>
      </c:tx>
      <c:layout>
        <c:manualLayout>
          <c:xMode val="edge"/>
          <c:yMode val="edge"/>
          <c:x val="0.171984797852507"/>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pieChart>
        <c:varyColors val="1"/>
        <c:ser>
          <c:idx val="0"/>
          <c:order val="0"/>
          <c:tx>
            <c:strRef>
              <c:f>Tabelle1!$B$1</c:f>
              <c:strCache>
                <c:ptCount val="1"/>
                <c:pt idx="0">
                  <c:v>Verkauf</c:v>
                </c:pt>
              </c:strCache>
            </c:strRef>
          </c:tx>
          <c:explosion val="1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723-114E-9886-4C74289445E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723-114E-9886-4C74289445EE}"/>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723-114E-9886-4C74289445EE}"/>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723-114E-9886-4C74289445EE}"/>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4723-114E-9886-4C74289445EE}"/>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4723-114E-9886-4C74289445EE}"/>
              </c:ext>
            </c:extLst>
          </c:dPt>
          <c:cat>
            <c:strRef>
              <c:f>Tabelle1!$A$2:$A$7</c:f>
              <c:strCache>
                <c:ptCount val="6"/>
                <c:pt idx="0">
                  <c:v>1. Lorem</c:v>
                </c:pt>
                <c:pt idx="1">
                  <c:v>2. Lorem</c:v>
                </c:pt>
                <c:pt idx="2">
                  <c:v>3. Lorem</c:v>
                </c:pt>
                <c:pt idx="3">
                  <c:v>4. Lorem</c:v>
                </c:pt>
                <c:pt idx="4">
                  <c:v>5. Lorem</c:v>
                </c:pt>
                <c:pt idx="5">
                  <c:v>6.Lorem</c:v>
                </c:pt>
              </c:strCache>
            </c:strRef>
          </c:cat>
          <c:val>
            <c:numRef>
              <c:f>Tabelle1!$B$2:$B$7</c:f>
              <c:numCache>
                <c:formatCode>General</c:formatCode>
                <c:ptCount val="6"/>
                <c:pt idx="0">
                  <c:v>40</c:v>
                </c:pt>
                <c:pt idx="1">
                  <c:v>20</c:v>
                </c:pt>
                <c:pt idx="2">
                  <c:v>5</c:v>
                </c:pt>
                <c:pt idx="3">
                  <c:v>5</c:v>
                </c:pt>
                <c:pt idx="4">
                  <c:v>10</c:v>
                </c:pt>
                <c:pt idx="5">
                  <c:v>10</c:v>
                </c:pt>
              </c:numCache>
            </c:numRef>
          </c:val>
          <c:extLst>
            <c:ext xmlns:c16="http://schemas.microsoft.com/office/drawing/2014/chart" uri="{C3380CC4-5D6E-409C-BE32-E72D297353CC}">
              <c16:uniqueId val="{0000000C-4723-114E-9886-4C74289445EE}"/>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10.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1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14.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8.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F372191-0C9C-40E7-8E87-45CA8E3AA4CF}" type="doc">
      <dgm:prSet loTypeId="urn:microsoft.com/office/officeart/2005/8/layout/hList6" loCatId="list" qsTypeId="urn:microsoft.com/office/officeart/2005/8/quickstyle/simple2" qsCatId="simple" csTypeId="urn:microsoft.com/office/officeart/2005/8/colors/accent1_5" csCatId="accent1" phldr="1"/>
      <dgm:spPr/>
      <dgm:t>
        <a:bodyPr/>
        <a:lstStyle/>
        <a:p>
          <a:endParaRPr lang="de-DE"/>
        </a:p>
      </dgm:t>
    </dgm:pt>
    <dgm:pt modelId="{41D35DD2-60D8-418D-85EC-2DDDB1333EEC}">
      <dgm:prSet phldrT="[Text]" custT="1"/>
      <dgm:spPr/>
      <dgm:t>
        <a:bodyPr lIns="108000" rIns="108000" anchor="t" anchorCtr="0"/>
        <a:lstStyle/>
        <a:p>
          <a:endParaRPr lang="de-DE" sz="1800" b="0">
            <a:latin typeface="Calibri" panose="020F0502020204030204" pitchFamily="34" charset="0"/>
            <a:cs typeface="Calibri" panose="020F0502020204030204" pitchFamily="34" charset="0"/>
          </a:endParaRPr>
        </a:p>
        <a:p>
          <a:r>
            <a:rPr lang="de-DE" sz="1800" b="0">
              <a:latin typeface="Calibri" panose="020F0502020204030204" pitchFamily="34" charset="0"/>
              <a:cs typeface="Calibri" panose="020F0502020204030204" pitchFamily="34" charset="0"/>
            </a:rPr>
            <a:t>Text Phase 1</a:t>
          </a:r>
          <a:br>
            <a:rPr lang="de-DE" sz="1800" b="0">
              <a:latin typeface="Calibri" panose="020F0502020204030204" pitchFamily="34" charset="0"/>
              <a:cs typeface="Calibri" panose="020F0502020204030204" pitchFamily="34" charset="0"/>
            </a:rPr>
          </a:br>
          <a:endParaRPr lang="de-DE" sz="1800" b="0">
            <a:latin typeface="Calibri" panose="020F0502020204030204" pitchFamily="34" charset="0"/>
            <a:cs typeface="Calibri" panose="020F0502020204030204" pitchFamily="34" charset="0"/>
          </a:endParaRPr>
        </a:p>
      </dgm:t>
    </dgm:pt>
    <dgm:pt modelId="{617E6F74-656E-4031-B0C9-6840FFD898DE}" type="parTrans" cxnId="{FCEA10CF-153D-4DF2-9E7A-CBFE2382D518}">
      <dgm:prSet/>
      <dgm:spPr/>
      <dgm:t>
        <a:bodyPr/>
        <a:lstStyle/>
        <a:p>
          <a:endParaRPr lang="de-DE"/>
        </a:p>
      </dgm:t>
    </dgm:pt>
    <dgm:pt modelId="{F616E22F-A0A4-400D-A2EF-AB771AFFDA0D}" type="sibTrans" cxnId="{FCEA10CF-153D-4DF2-9E7A-CBFE2382D518}">
      <dgm:prSet/>
      <dgm:spPr/>
      <dgm:t>
        <a:bodyPr/>
        <a:lstStyle/>
        <a:p>
          <a:endParaRPr lang="de-DE"/>
        </a:p>
      </dgm:t>
    </dgm:pt>
    <dgm:pt modelId="{F1327EE5-B19C-44E8-BECC-3DD8D56DEB1B}">
      <dgm:prSet phldrT="[Text]" custT="1"/>
      <dgm:spPr/>
      <dgm:t>
        <a:bodyPr lIns="108000" rIns="108000" anchor="t" anchorCtr="0"/>
        <a:lstStyle/>
        <a:p>
          <a:r>
            <a:rPr lang="de-DE" sz="1800">
              <a:latin typeface="Calibri" panose="020F0502020204030204" pitchFamily="34" charset="0"/>
              <a:cs typeface="Calibri" panose="020F0502020204030204" pitchFamily="34" charset="0"/>
            </a:rPr>
            <a:t>Bullet 2</a:t>
          </a:r>
        </a:p>
      </dgm:t>
    </dgm:pt>
    <dgm:pt modelId="{BE1CEAA6-FF0C-48B7-A410-4A9AB2DEB41D}" type="parTrans" cxnId="{ED2B1FDF-C923-403B-912F-9EADBAEA238D}">
      <dgm:prSet/>
      <dgm:spPr/>
      <dgm:t>
        <a:bodyPr/>
        <a:lstStyle/>
        <a:p>
          <a:endParaRPr lang="de-DE"/>
        </a:p>
      </dgm:t>
    </dgm:pt>
    <dgm:pt modelId="{9D20CA89-5A5B-4A1B-8F03-45934064D1D7}" type="sibTrans" cxnId="{ED2B1FDF-C923-403B-912F-9EADBAEA238D}">
      <dgm:prSet/>
      <dgm:spPr/>
      <dgm:t>
        <a:bodyPr/>
        <a:lstStyle/>
        <a:p>
          <a:endParaRPr lang="de-DE"/>
        </a:p>
      </dgm:t>
    </dgm:pt>
    <dgm:pt modelId="{EE8AF158-0E30-4505-B8A3-A23D841EE20A}">
      <dgm:prSet phldrT="[Text]" custT="1"/>
      <dgm:spPr/>
      <dgm:t>
        <a:bodyPr lIns="108000" rIns="108000" anchor="t" anchorCtr="0"/>
        <a:lstStyle/>
        <a:p>
          <a:pPr marL="0" lvl="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de-DE" sz="1800" b="0" kern="1200">
              <a:latin typeface="Calibri" panose="020F0502020204030204" pitchFamily="34" charset="0"/>
              <a:cs typeface="Calibri" panose="020F0502020204030204" pitchFamily="34" charset="0"/>
            </a:rPr>
            <a:t>Text Phase 2</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de-DE" sz="1800" kern="1200" err="1">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gm:t>
    </dgm:pt>
    <dgm:pt modelId="{63AD07C9-E0D7-47A1-9B0E-8B9AD0943242}" type="parTrans" cxnId="{42B4191B-AA71-43DD-B7AB-E77E73091A3D}">
      <dgm:prSet/>
      <dgm:spPr/>
      <dgm:t>
        <a:bodyPr/>
        <a:lstStyle/>
        <a:p>
          <a:endParaRPr lang="de-DE"/>
        </a:p>
      </dgm:t>
    </dgm:pt>
    <dgm:pt modelId="{9441BC0C-AF0E-4D63-8062-EC704073BDAE}" type="sibTrans" cxnId="{42B4191B-AA71-43DD-B7AB-E77E73091A3D}">
      <dgm:prSet/>
      <dgm:spPr/>
      <dgm:t>
        <a:bodyPr/>
        <a:lstStyle/>
        <a:p>
          <a:endParaRPr lang="de-DE"/>
        </a:p>
      </dgm:t>
    </dgm:pt>
    <dgm:pt modelId="{60165A43-387F-48C1-9A6D-CDB9DC2B8430}">
      <dgm:prSet phldrT="[Text]" custT="1"/>
      <dgm:spPr/>
      <dgm:t>
        <a:bodyPr lIns="108000" rIns="108000" anchor="t" anchorCtr="0"/>
        <a:lstStyle/>
        <a:p>
          <a:pPr algn="ctr"/>
          <a:endParaRPr lang="de-DE" sz="1800" kern="1200">
            <a:latin typeface="Calibri" panose="020F0502020204030204" pitchFamily="34" charset="0"/>
            <a:cs typeface="Calibri" panose="020F0502020204030204" pitchFamily="34" charset="0"/>
          </a:endParaRPr>
        </a:p>
        <a:p>
          <a:pPr algn="l"/>
          <a:r>
            <a:rPr lang="de-DE" sz="1800" b="0" kern="1200">
              <a:latin typeface="Calibri" panose="020F0502020204030204" pitchFamily="34" charset="0"/>
              <a:cs typeface="Calibri" panose="020F0502020204030204" pitchFamily="34" charset="0"/>
            </a:rPr>
            <a:t>Text Phase 3</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algn="l"/>
          <a:r>
            <a:rPr lang="en-US" sz="1800" kern="1200">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gm:t>
    </dgm:pt>
    <dgm:pt modelId="{7B818567-8CD9-4F41-BB00-176963A304E0}" type="parTrans" cxnId="{326793B2-D1DB-41A0-9B7A-91690CBD1914}">
      <dgm:prSet/>
      <dgm:spPr/>
      <dgm:t>
        <a:bodyPr/>
        <a:lstStyle/>
        <a:p>
          <a:endParaRPr lang="de-DE"/>
        </a:p>
      </dgm:t>
    </dgm:pt>
    <dgm:pt modelId="{A20C13DE-89C7-41E8-A4A2-44CE8C7F3A82}" type="sibTrans" cxnId="{326793B2-D1DB-41A0-9B7A-91690CBD1914}">
      <dgm:prSet/>
      <dgm:spPr/>
      <dgm:t>
        <a:bodyPr/>
        <a:lstStyle/>
        <a:p>
          <a:endParaRPr lang="de-DE"/>
        </a:p>
      </dgm:t>
    </dgm:pt>
    <dgm:pt modelId="{C84332FE-BA2D-4E3A-B596-1F7D570FDBDC}">
      <dgm:prSet phldrT="[Text]" custT="1"/>
      <dgm:spPr/>
      <dgm:t>
        <a:bodyPr lIns="108000" rIns="108000" anchor="t" anchorCtr="0"/>
        <a:lstStyle/>
        <a:p>
          <a:pPr marL="0" lvl="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4</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en-US" sz="1800" kern="1200">
              <a:latin typeface="Calibri" panose="020F0502020204030204" pitchFamily="34" charset="0"/>
              <a:cs typeface="Calibri" panose="020F0502020204030204" pitchFamily="34" charset="0"/>
            </a:rPr>
            <a:t>Dummy text</a:t>
          </a:r>
          <a:endParaRPr lang="de-DE" sz="1800" kern="1200">
            <a:latin typeface="Calibri" panose="020F0502020204030204" pitchFamily="34" charset="0"/>
            <a:cs typeface="Calibri" panose="020F0502020204030204" pitchFamily="34" charset="0"/>
          </a:endParaRPr>
        </a:p>
      </dgm:t>
    </dgm:pt>
    <dgm:pt modelId="{1CF4CA44-FE56-4CE3-B513-6B0AA8660336}" type="parTrans" cxnId="{9E7CF060-AB35-4E5B-A20E-8260A214D4EB}">
      <dgm:prSet/>
      <dgm:spPr/>
      <dgm:t>
        <a:bodyPr/>
        <a:lstStyle/>
        <a:p>
          <a:endParaRPr lang="de-DE"/>
        </a:p>
      </dgm:t>
    </dgm:pt>
    <dgm:pt modelId="{56AEA3D6-0921-4F14-A536-6639BB6C77B0}" type="sibTrans" cxnId="{9E7CF060-AB35-4E5B-A20E-8260A214D4EB}">
      <dgm:prSet/>
      <dgm:spPr/>
      <dgm:t>
        <a:bodyPr/>
        <a:lstStyle/>
        <a:p>
          <a:endParaRPr lang="de-DE"/>
        </a:p>
      </dgm:t>
    </dgm:pt>
    <dgm:pt modelId="{6739F360-3A3D-4D48-9318-6DD1CAAAB06B}">
      <dgm:prSet phldrT="[Text]" custT="1"/>
      <dgm:spPr/>
      <dgm:t>
        <a:bodyPr lIns="108000" rIns="108000" anchor="t" anchorCtr="0"/>
        <a:lstStyle/>
        <a:p>
          <a:r>
            <a:rPr lang="en-US" sz="1800">
              <a:latin typeface="Calibri" panose="020F0502020204030204" pitchFamily="34" charset="0"/>
              <a:cs typeface="Calibri" panose="020F0502020204030204" pitchFamily="34" charset="0"/>
            </a:rPr>
            <a:t>Bullet 1</a:t>
          </a:r>
          <a:endParaRPr lang="de-DE" sz="1800">
            <a:latin typeface="Calibri" panose="020F0502020204030204" pitchFamily="34" charset="0"/>
            <a:cs typeface="Calibri" panose="020F0502020204030204" pitchFamily="34" charset="0"/>
          </a:endParaRPr>
        </a:p>
      </dgm:t>
    </dgm:pt>
    <dgm:pt modelId="{4E5F70DF-B890-47C8-8BEA-DC8FC9CF5083}" type="sibTrans" cxnId="{6F8514AC-6131-4A35-90AD-D7289116BB05}">
      <dgm:prSet/>
      <dgm:spPr/>
      <dgm:t>
        <a:bodyPr/>
        <a:lstStyle/>
        <a:p>
          <a:endParaRPr lang="de-DE"/>
        </a:p>
      </dgm:t>
    </dgm:pt>
    <dgm:pt modelId="{0EFD0371-0338-466E-9D6C-1A23492C1D5A}" type="parTrans" cxnId="{6F8514AC-6131-4A35-90AD-D7289116BB05}">
      <dgm:prSet/>
      <dgm:spPr/>
      <dgm:t>
        <a:bodyPr/>
        <a:lstStyle/>
        <a:p>
          <a:endParaRPr lang="de-DE"/>
        </a:p>
      </dgm:t>
    </dgm:pt>
    <dgm:pt modelId="{27E9E500-62EC-46C2-B7C8-3723367EE8E7}" type="pres">
      <dgm:prSet presAssocID="{BF372191-0C9C-40E7-8E87-45CA8E3AA4CF}" presName="Name0" presStyleCnt="0">
        <dgm:presLayoutVars>
          <dgm:dir/>
          <dgm:resizeHandles val="exact"/>
        </dgm:presLayoutVars>
      </dgm:prSet>
      <dgm:spPr/>
    </dgm:pt>
    <dgm:pt modelId="{32E9553A-2CF3-4DEA-AB3F-F65A55D7581E}" type="pres">
      <dgm:prSet presAssocID="{41D35DD2-60D8-418D-85EC-2DDDB1333EEC}" presName="node" presStyleLbl="node1" presStyleIdx="0" presStyleCnt="4" custScaleX="2000000">
        <dgm:presLayoutVars>
          <dgm:bulletEnabled val="1"/>
        </dgm:presLayoutVars>
      </dgm:prSet>
      <dgm:spPr/>
    </dgm:pt>
    <dgm:pt modelId="{354721F1-31E2-437B-87FF-1DCD623A0331}" type="pres">
      <dgm:prSet presAssocID="{F616E22F-A0A4-400D-A2EF-AB771AFFDA0D}" presName="sibTrans" presStyleCnt="0"/>
      <dgm:spPr/>
    </dgm:pt>
    <dgm:pt modelId="{32C5A92E-6BF7-4147-8D3B-45A0624571ED}" type="pres">
      <dgm:prSet presAssocID="{EE8AF158-0E30-4505-B8A3-A23D841EE20A}" presName="node" presStyleLbl="node1" presStyleIdx="1" presStyleCnt="4" custScaleX="2000000" custLinFactX="-722" custLinFactNeighborX="-100000">
        <dgm:presLayoutVars>
          <dgm:bulletEnabled val="1"/>
        </dgm:presLayoutVars>
      </dgm:prSet>
      <dgm:spPr/>
    </dgm:pt>
    <dgm:pt modelId="{F98F8A01-25FC-4155-B2B1-DB023B1A6F31}" type="pres">
      <dgm:prSet presAssocID="{9441BC0C-AF0E-4D63-8062-EC704073BDAE}" presName="sibTrans" presStyleCnt="0"/>
      <dgm:spPr/>
    </dgm:pt>
    <dgm:pt modelId="{0D7987FC-DBC8-4B03-95AC-7CE716B69BC3}" type="pres">
      <dgm:prSet presAssocID="{60165A43-387F-48C1-9A6D-CDB9DC2B8430}" presName="node" presStyleLbl="node1" presStyleIdx="2" presStyleCnt="4" custScaleX="2000000" custLinFactX="-8852" custLinFactNeighborX="-100000">
        <dgm:presLayoutVars>
          <dgm:bulletEnabled val="1"/>
        </dgm:presLayoutVars>
      </dgm:prSet>
      <dgm:spPr/>
    </dgm:pt>
    <dgm:pt modelId="{CAC38D8F-F77B-418F-9A56-E69D8EFBDE3E}" type="pres">
      <dgm:prSet presAssocID="{A20C13DE-89C7-41E8-A4A2-44CE8C7F3A82}" presName="sibTrans" presStyleCnt="0"/>
      <dgm:spPr/>
    </dgm:pt>
    <dgm:pt modelId="{64FECA9A-90D8-40C5-9C04-32EF5BF4A107}" type="pres">
      <dgm:prSet presAssocID="{C84332FE-BA2D-4E3A-B596-1F7D570FDBDC}" presName="node" presStyleLbl="node1" presStyleIdx="3" presStyleCnt="4" custScaleX="2000000" custLinFactX="-17611" custLinFactNeighborX="-100000">
        <dgm:presLayoutVars>
          <dgm:bulletEnabled val="1"/>
        </dgm:presLayoutVars>
      </dgm:prSet>
      <dgm:spPr/>
    </dgm:pt>
  </dgm:ptLst>
  <dgm:cxnLst>
    <dgm:cxn modelId="{42B4191B-AA71-43DD-B7AB-E77E73091A3D}" srcId="{BF372191-0C9C-40E7-8E87-45CA8E3AA4CF}" destId="{EE8AF158-0E30-4505-B8A3-A23D841EE20A}" srcOrd="1" destOrd="0" parTransId="{63AD07C9-E0D7-47A1-9B0E-8B9AD0943242}" sibTransId="{9441BC0C-AF0E-4D63-8062-EC704073BDAE}"/>
    <dgm:cxn modelId="{9E7CF060-AB35-4E5B-A20E-8260A214D4EB}" srcId="{BF372191-0C9C-40E7-8E87-45CA8E3AA4CF}" destId="{C84332FE-BA2D-4E3A-B596-1F7D570FDBDC}" srcOrd="3" destOrd="0" parTransId="{1CF4CA44-FE56-4CE3-B513-6B0AA8660336}" sibTransId="{56AEA3D6-0921-4F14-A536-6639BB6C77B0}"/>
    <dgm:cxn modelId="{42341C4E-0DB5-48CE-B829-9A8ACA39153C}" type="presOf" srcId="{60165A43-387F-48C1-9A6D-CDB9DC2B8430}" destId="{0D7987FC-DBC8-4B03-95AC-7CE716B69BC3}" srcOrd="0" destOrd="0" presId="urn:microsoft.com/office/officeart/2005/8/layout/hList6"/>
    <dgm:cxn modelId="{89641750-0E14-4BD0-9FCF-BA00DD5DD845}" type="presOf" srcId="{F1327EE5-B19C-44E8-BECC-3DD8D56DEB1B}" destId="{32E9553A-2CF3-4DEA-AB3F-F65A55D7581E}" srcOrd="0" destOrd="2" presId="urn:microsoft.com/office/officeart/2005/8/layout/hList6"/>
    <dgm:cxn modelId="{EE65E686-8852-4148-9116-50CC671776BE}" type="presOf" srcId="{C84332FE-BA2D-4E3A-B596-1F7D570FDBDC}" destId="{64FECA9A-90D8-40C5-9C04-32EF5BF4A107}" srcOrd="0" destOrd="0" presId="urn:microsoft.com/office/officeart/2005/8/layout/hList6"/>
    <dgm:cxn modelId="{542B9995-5998-4C5C-B379-1D415980D7C4}" type="presOf" srcId="{6739F360-3A3D-4D48-9318-6DD1CAAAB06B}" destId="{32E9553A-2CF3-4DEA-AB3F-F65A55D7581E}" srcOrd="0" destOrd="1" presId="urn:microsoft.com/office/officeart/2005/8/layout/hList6"/>
    <dgm:cxn modelId="{6F8514AC-6131-4A35-90AD-D7289116BB05}" srcId="{41D35DD2-60D8-418D-85EC-2DDDB1333EEC}" destId="{6739F360-3A3D-4D48-9318-6DD1CAAAB06B}" srcOrd="0" destOrd="0" parTransId="{0EFD0371-0338-466E-9D6C-1A23492C1D5A}" sibTransId="{4E5F70DF-B890-47C8-8BEA-DC8FC9CF5083}"/>
    <dgm:cxn modelId="{95B80FAF-C2D0-4DDB-A7AC-5497C7950D4A}" type="presOf" srcId="{EE8AF158-0E30-4505-B8A3-A23D841EE20A}" destId="{32C5A92E-6BF7-4147-8D3B-45A0624571ED}" srcOrd="0" destOrd="0" presId="urn:microsoft.com/office/officeart/2005/8/layout/hList6"/>
    <dgm:cxn modelId="{326793B2-D1DB-41A0-9B7A-91690CBD1914}" srcId="{BF372191-0C9C-40E7-8E87-45CA8E3AA4CF}" destId="{60165A43-387F-48C1-9A6D-CDB9DC2B8430}" srcOrd="2" destOrd="0" parTransId="{7B818567-8CD9-4F41-BB00-176963A304E0}" sibTransId="{A20C13DE-89C7-41E8-A4A2-44CE8C7F3A82}"/>
    <dgm:cxn modelId="{FCEA10CF-153D-4DF2-9E7A-CBFE2382D518}" srcId="{BF372191-0C9C-40E7-8E87-45CA8E3AA4CF}" destId="{41D35DD2-60D8-418D-85EC-2DDDB1333EEC}" srcOrd="0" destOrd="0" parTransId="{617E6F74-656E-4031-B0C9-6840FFD898DE}" sibTransId="{F616E22F-A0A4-400D-A2EF-AB771AFFDA0D}"/>
    <dgm:cxn modelId="{76213BD7-296A-436C-A49B-23941C6A30F7}" type="presOf" srcId="{BF372191-0C9C-40E7-8E87-45CA8E3AA4CF}" destId="{27E9E500-62EC-46C2-B7C8-3723367EE8E7}" srcOrd="0" destOrd="0" presId="urn:microsoft.com/office/officeart/2005/8/layout/hList6"/>
    <dgm:cxn modelId="{ED2B1FDF-C923-403B-912F-9EADBAEA238D}" srcId="{41D35DD2-60D8-418D-85EC-2DDDB1333EEC}" destId="{F1327EE5-B19C-44E8-BECC-3DD8D56DEB1B}" srcOrd="1" destOrd="0" parTransId="{BE1CEAA6-FF0C-48B7-A410-4A9AB2DEB41D}" sibTransId="{9D20CA89-5A5B-4A1B-8F03-45934064D1D7}"/>
    <dgm:cxn modelId="{80DD3DE9-85C5-46CF-8081-029E3F2E455A}" type="presOf" srcId="{41D35DD2-60D8-418D-85EC-2DDDB1333EEC}" destId="{32E9553A-2CF3-4DEA-AB3F-F65A55D7581E}" srcOrd="0" destOrd="0" presId="urn:microsoft.com/office/officeart/2005/8/layout/hList6"/>
    <dgm:cxn modelId="{21DBEA06-4A0F-4380-B799-A445590166B9}" type="presParOf" srcId="{27E9E500-62EC-46C2-B7C8-3723367EE8E7}" destId="{32E9553A-2CF3-4DEA-AB3F-F65A55D7581E}" srcOrd="0" destOrd="0" presId="urn:microsoft.com/office/officeart/2005/8/layout/hList6"/>
    <dgm:cxn modelId="{2809CFB1-CB12-4958-A710-357B61F07CCF}" type="presParOf" srcId="{27E9E500-62EC-46C2-B7C8-3723367EE8E7}" destId="{354721F1-31E2-437B-87FF-1DCD623A0331}" srcOrd="1" destOrd="0" presId="urn:microsoft.com/office/officeart/2005/8/layout/hList6"/>
    <dgm:cxn modelId="{D219A034-DBA9-4926-8904-723EA6DCD6FA}" type="presParOf" srcId="{27E9E500-62EC-46C2-B7C8-3723367EE8E7}" destId="{32C5A92E-6BF7-4147-8D3B-45A0624571ED}" srcOrd="2" destOrd="0" presId="urn:microsoft.com/office/officeart/2005/8/layout/hList6"/>
    <dgm:cxn modelId="{440649F8-F7DE-4A05-8721-07A47041511D}" type="presParOf" srcId="{27E9E500-62EC-46C2-B7C8-3723367EE8E7}" destId="{F98F8A01-25FC-4155-B2B1-DB023B1A6F31}" srcOrd="3" destOrd="0" presId="urn:microsoft.com/office/officeart/2005/8/layout/hList6"/>
    <dgm:cxn modelId="{9F49BF33-FF4D-4960-8284-A158ED87A694}" type="presParOf" srcId="{27E9E500-62EC-46C2-B7C8-3723367EE8E7}" destId="{0D7987FC-DBC8-4B03-95AC-7CE716B69BC3}" srcOrd="4" destOrd="0" presId="urn:microsoft.com/office/officeart/2005/8/layout/hList6"/>
    <dgm:cxn modelId="{64DF3763-3B95-4946-BE04-FD418C428C9E}" type="presParOf" srcId="{27E9E500-62EC-46C2-B7C8-3723367EE8E7}" destId="{CAC38D8F-F77B-418F-9A56-E69D8EFBDE3E}" srcOrd="5" destOrd="0" presId="urn:microsoft.com/office/officeart/2005/8/layout/hList6"/>
    <dgm:cxn modelId="{00BDA26C-7818-41DC-8CE8-703463AACF55}" type="presParOf" srcId="{27E9E500-62EC-46C2-B7C8-3723367EE8E7}" destId="{64FECA9A-90D8-40C5-9C04-32EF5BF4A107}" srcOrd="6" destOrd="0" presId="urn:microsoft.com/office/officeart/2005/8/layout/hList6"/>
  </dgm:cxnLst>
  <dgm:bg>
    <a:effect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F372191-0C9C-40E7-8E87-45CA8E3AA4CF}" type="doc">
      <dgm:prSet loTypeId="urn:microsoft.com/office/officeart/2005/8/layout/hList6" loCatId="list" qsTypeId="urn:microsoft.com/office/officeart/2005/8/quickstyle/simple2" qsCatId="simple" csTypeId="urn:microsoft.com/office/officeart/2005/8/colors/accent1_5" csCatId="accent1" phldr="1"/>
      <dgm:spPr/>
      <dgm:t>
        <a:bodyPr/>
        <a:lstStyle/>
        <a:p>
          <a:endParaRPr lang="de-DE"/>
        </a:p>
      </dgm:t>
    </dgm:pt>
    <dgm:pt modelId="{41D35DD2-60D8-418D-85EC-2DDDB1333EEC}">
      <dgm:prSet phldrT="[Text]" custT="1"/>
      <dgm:spPr/>
      <dgm:t>
        <a:bodyPr lIns="108000" rIns="108000" anchor="t" anchorCtr="0"/>
        <a:lstStyle/>
        <a:p>
          <a:pPr rtl="0"/>
          <a:endParaRPr lang="en-IE" sz="1800" b="0">
            <a:latin typeface="Calibri" panose="020F0502020204030204" pitchFamily="34" charset="0"/>
            <a:cs typeface="Calibri" panose="020F0502020204030204" pitchFamily="34" charset="0"/>
          </a:endParaRPr>
        </a:p>
        <a:p>
          <a:pPr rtl="0"/>
          <a:r>
            <a:rPr lang="en-IE" sz="1800" b="0">
              <a:latin typeface="Calibri" panose="020F0502020204030204" pitchFamily="34" charset="0"/>
              <a:cs typeface="Calibri" panose="020F0502020204030204" pitchFamily="34" charset="0"/>
            </a:rPr>
            <a:t>Text Phase 1</a:t>
          </a:r>
          <a:br>
            <a:rPr lang="en-IE" sz="1800" b="0">
              <a:latin typeface="Calibri" panose="020F0502020204030204" pitchFamily="34" charset="0"/>
              <a:cs typeface="Calibri" panose="020F0502020204030204" pitchFamily="34" charset="0"/>
            </a:rPr>
          </a:br>
          <a:endParaRPr lang="en-IE" sz="1800" b="0">
            <a:latin typeface="Calibri" panose="020F0502020204030204" pitchFamily="34" charset="0"/>
            <a:cs typeface="Calibri" panose="020F0502020204030204" pitchFamily="34" charset="0"/>
          </a:endParaRPr>
        </a:p>
      </dgm:t>
    </dgm:pt>
    <dgm:pt modelId="{617E6F74-656E-4031-B0C9-6840FFD898DE}" type="parTrans" cxnId="{FCEA10CF-153D-4DF2-9E7A-CBFE2382D518}">
      <dgm:prSet/>
      <dgm:spPr/>
      <dgm:t>
        <a:bodyPr/>
        <a:lstStyle/>
        <a:p>
          <a:endParaRPr lang="de-DE"/>
        </a:p>
      </dgm:t>
    </dgm:pt>
    <dgm:pt modelId="{F616E22F-A0A4-400D-A2EF-AB771AFFDA0D}" type="sibTrans" cxnId="{FCEA10CF-153D-4DF2-9E7A-CBFE2382D518}">
      <dgm:prSet/>
      <dgm:spPr/>
      <dgm:t>
        <a:bodyPr/>
        <a:lstStyle/>
        <a:p>
          <a:endParaRPr lang="de-DE"/>
        </a:p>
      </dgm:t>
    </dgm:pt>
    <dgm:pt modelId="{F1327EE5-B19C-44E8-BECC-3DD8D56DEB1B}">
      <dgm:prSet phldrT="[Text]" custT="1"/>
      <dgm:spPr/>
      <dgm:t>
        <a:bodyPr lIns="108000" rIns="108000" anchor="t" anchorCtr="0"/>
        <a:lstStyle/>
        <a:p>
          <a:pPr rtl="0"/>
          <a:r>
            <a:rPr lang="en-IE" sz="1800">
              <a:latin typeface="Calibri" panose="020F0502020204030204" pitchFamily="34" charset="0"/>
              <a:cs typeface="Calibri" panose="020F0502020204030204" pitchFamily="34" charset="0"/>
            </a:rPr>
            <a:t>Bullet 2</a:t>
          </a:r>
        </a:p>
      </dgm:t>
    </dgm:pt>
    <dgm:pt modelId="{BE1CEAA6-FF0C-48B7-A410-4A9AB2DEB41D}" type="parTrans" cxnId="{ED2B1FDF-C923-403B-912F-9EADBAEA238D}">
      <dgm:prSet/>
      <dgm:spPr/>
      <dgm:t>
        <a:bodyPr/>
        <a:lstStyle/>
        <a:p>
          <a:endParaRPr lang="de-DE"/>
        </a:p>
      </dgm:t>
    </dgm:pt>
    <dgm:pt modelId="{9D20CA89-5A5B-4A1B-8F03-45934064D1D7}" type="sibTrans" cxnId="{ED2B1FDF-C923-403B-912F-9EADBAEA238D}">
      <dgm:prSet/>
      <dgm:spPr/>
      <dgm:t>
        <a:bodyPr/>
        <a:lstStyle/>
        <a:p>
          <a:endParaRPr lang="de-DE"/>
        </a:p>
      </dgm:t>
    </dgm:pt>
    <dgm:pt modelId="{EE8AF158-0E30-4505-B8A3-A23D841EE20A}">
      <dgm:prSet phldrT="[Text]" custT="1"/>
      <dgm:spPr/>
      <dgm:t>
        <a:bodyPr lIns="108000" rIns="108000" anchor="t" anchorCtr="0"/>
        <a:lstStyle/>
        <a:p>
          <a:pPr marL="0" lvl="0" algn="l" defTabSz="800100" rtl="0">
            <a:lnSpc>
              <a:spcPct val="90000"/>
            </a:lnSpc>
            <a:spcBef>
              <a:spcPct val="0"/>
            </a:spcBef>
            <a:spcAft>
              <a:spcPct val="35000"/>
            </a:spcAft>
            <a:buNone/>
          </a:pPr>
          <a:endParaRPr lang="en-IE" sz="1800" b="0" kern="1200">
            <a:latin typeface="Calibri" panose="020F0502020204030204" pitchFamily="34" charset="0"/>
            <a:cs typeface="Calibri" panose="020F0502020204030204" pitchFamily="34" charset="0"/>
          </a:endParaRPr>
        </a:p>
        <a:p>
          <a:pPr marL="0" lvl="0" algn="l" defTabSz="800100" rtl="0">
            <a:lnSpc>
              <a:spcPct val="90000"/>
            </a:lnSpc>
            <a:spcBef>
              <a:spcPct val="0"/>
            </a:spcBef>
            <a:spcAft>
              <a:spcPct val="35000"/>
            </a:spcAft>
          </a:pPr>
          <a:r>
            <a:rPr lang="en-IE" sz="1800" b="0" kern="1200">
              <a:latin typeface="Calibri" panose="020F0502020204030204" pitchFamily="34" charset="0"/>
              <a:cs typeface="Calibri" panose="020F0502020204030204" pitchFamily="34" charset="0"/>
            </a:rPr>
            <a:t>Text Phase 2</a:t>
          </a:r>
          <a:br>
            <a:rPr lang="en-IE" sz="1800" b="0" kern="1200">
              <a:latin typeface="Calibri" panose="020F0502020204030204" pitchFamily="34" charset="0"/>
              <a:cs typeface="Calibri" panose="020F0502020204030204" pitchFamily="34" charset="0"/>
            </a:rPr>
          </a:br>
          <a:endParaRPr lang="en-IE" sz="1800" b="0" kern="1200">
            <a:latin typeface="Calibri" panose="020F0502020204030204" pitchFamily="34" charset="0"/>
            <a:cs typeface="Calibri" panose="020F0502020204030204" pitchFamily="34" charset="0"/>
          </a:endParaRPr>
        </a:p>
        <a:p>
          <a:pPr marL="0" lvl="0" algn="l" defTabSz="800100" rtl="0">
            <a:lnSpc>
              <a:spcPct val="90000"/>
            </a:lnSpc>
            <a:spcBef>
              <a:spcPct val="0"/>
            </a:spcBef>
            <a:spcAft>
              <a:spcPct val="35000"/>
            </a:spcAft>
          </a:pPr>
          <a:r>
            <a:rPr lang="en-IE" sz="1800" kern="1200">
              <a:latin typeface="Calibri" panose="020F0502020204030204" pitchFamily="34" charset="0"/>
              <a:cs typeface="Calibri" panose="020F0502020204030204" pitchFamily="34" charset="0"/>
            </a:rPr>
            <a:t>text</a:t>
          </a:r>
        </a:p>
      </dgm:t>
    </dgm:pt>
    <dgm:pt modelId="{63AD07C9-E0D7-47A1-9B0E-8B9AD0943242}" type="parTrans" cxnId="{42B4191B-AA71-43DD-B7AB-E77E73091A3D}">
      <dgm:prSet/>
      <dgm:spPr/>
      <dgm:t>
        <a:bodyPr/>
        <a:lstStyle/>
        <a:p>
          <a:endParaRPr lang="de-DE"/>
        </a:p>
      </dgm:t>
    </dgm:pt>
    <dgm:pt modelId="{9441BC0C-AF0E-4D63-8062-EC704073BDAE}" type="sibTrans" cxnId="{42B4191B-AA71-43DD-B7AB-E77E73091A3D}">
      <dgm:prSet/>
      <dgm:spPr/>
      <dgm:t>
        <a:bodyPr/>
        <a:lstStyle/>
        <a:p>
          <a:endParaRPr lang="de-DE"/>
        </a:p>
      </dgm:t>
    </dgm:pt>
    <dgm:pt modelId="{60165A43-387F-48C1-9A6D-CDB9DC2B8430}">
      <dgm:prSet phldrT="[Text]" custT="1"/>
      <dgm:spPr/>
      <dgm:t>
        <a:bodyPr lIns="108000" rIns="108000" anchor="t" anchorCtr="0"/>
        <a:lstStyle/>
        <a:p>
          <a:pPr algn="ctr" rtl="0"/>
          <a:endParaRPr lang="en-IE" sz="1800" kern="1200">
            <a:latin typeface="Calibri" panose="020F0502020204030204" pitchFamily="34" charset="0"/>
            <a:cs typeface="Calibri" panose="020F0502020204030204" pitchFamily="34" charset="0"/>
          </a:endParaRPr>
        </a:p>
        <a:p>
          <a:pPr algn="l" rtl="0"/>
          <a:r>
            <a:rPr lang="en-IE" sz="1800" b="0" kern="1200">
              <a:latin typeface="Calibri" panose="020F0502020204030204" pitchFamily="34" charset="0"/>
              <a:cs typeface="Calibri" panose="020F0502020204030204" pitchFamily="34" charset="0"/>
            </a:rPr>
            <a:t>Text Phase 3</a:t>
          </a:r>
          <a:br>
            <a:rPr lang="en-IE" sz="1800" b="0" kern="1200">
              <a:latin typeface="Calibri" panose="020F0502020204030204" pitchFamily="34" charset="0"/>
              <a:cs typeface="Calibri" panose="020F0502020204030204" pitchFamily="34" charset="0"/>
            </a:rPr>
          </a:br>
          <a:endParaRPr lang="en-IE" sz="1800" b="0" kern="1200">
            <a:latin typeface="Calibri" panose="020F0502020204030204" pitchFamily="34" charset="0"/>
            <a:cs typeface="Calibri" panose="020F0502020204030204" pitchFamily="34" charset="0"/>
          </a:endParaRPr>
        </a:p>
        <a:p>
          <a:pPr algn="l" rtl="0"/>
          <a:r>
            <a:rPr lang="en-IE" sz="1800" kern="1200">
              <a:latin typeface="Calibri" panose="020F0502020204030204" pitchFamily="34" charset="0"/>
              <a:cs typeface="Calibri" panose="020F0502020204030204" pitchFamily="34" charset="0"/>
            </a:rPr>
            <a:t>text</a:t>
          </a:r>
        </a:p>
      </dgm:t>
    </dgm:pt>
    <dgm:pt modelId="{7B818567-8CD9-4F41-BB00-176963A304E0}" type="parTrans" cxnId="{326793B2-D1DB-41A0-9B7A-91690CBD1914}">
      <dgm:prSet/>
      <dgm:spPr/>
      <dgm:t>
        <a:bodyPr/>
        <a:lstStyle/>
        <a:p>
          <a:endParaRPr lang="de-DE"/>
        </a:p>
      </dgm:t>
    </dgm:pt>
    <dgm:pt modelId="{A20C13DE-89C7-41E8-A4A2-44CE8C7F3A82}" type="sibTrans" cxnId="{326793B2-D1DB-41A0-9B7A-91690CBD1914}">
      <dgm:prSet/>
      <dgm:spPr/>
      <dgm:t>
        <a:bodyPr/>
        <a:lstStyle/>
        <a:p>
          <a:endParaRPr lang="de-DE"/>
        </a:p>
      </dgm:t>
    </dgm:pt>
    <dgm:pt modelId="{C84332FE-BA2D-4E3A-B596-1F7D570FDBDC}">
      <dgm:prSet phldrT="[Text]" custT="1"/>
      <dgm:spPr/>
      <dgm:t>
        <a:bodyPr lIns="108000" rIns="108000" anchor="t" anchorCtr="0"/>
        <a:lstStyle/>
        <a:p>
          <a:pPr marL="0" lvl="0" algn="l" defTabSz="800100" rtl="0">
            <a:lnSpc>
              <a:spcPct val="90000"/>
            </a:lnSpc>
            <a:spcBef>
              <a:spcPct val="0"/>
            </a:spcBef>
            <a:spcAft>
              <a:spcPct val="35000"/>
            </a:spcAft>
            <a:buNone/>
          </a:pPr>
          <a:endParaRPr lang="en-IE" sz="1800" b="0" kern="1200">
            <a:latin typeface="Calibri" panose="020F0502020204030204" pitchFamily="34" charset="0"/>
            <a:cs typeface="Calibri" panose="020F0502020204030204" pitchFamily="34" charset="0"/>
          </a:endParaRPr>
        </a:p>
        <a:p>
          <a:pPr marL="0" lvl="0" algn="l" defTabSz="800100" rtl="0">
            <a:lnSpc>
              <a:spcPct val="90000"/>
            </a:lnSpc>
            <a:spcBef>
              <a:spcPct val="0"/>
            </a:spcBef>
            <a:spcAft>
              <a:spcPct val="35000"/>
            </a:spcAft>
            <a:buNone/>
          </a:pPr>
          <a:r>
            <a:rPr lang="en-IE" sz="1800" b="0" kern="1200">
              <a:latin typeface="Calibri" panose="020F0502020204030204" pitchFamily="34" charset="0"/>
              <a:cs typeface="Calibri" panose="020F0502020204030204" pitchFamily="34" charset="0"/>
            </a:rPr>
            <a:t>Text Phase 4</a:t>
          </a:r>
          <a:br>
            <a:rPr lang="en-IE" sz="1800" b="0" kern="1200">
              <a:latin typeface="Calibri" panose="020F0502020204030204" pitchFamily="34" charset="0"/>
              <a:cs typeface="Calibri" panose="020F0502020204030204" pitchFamily="34" charset="0"/>
            </a:rPr>
          </a:br>
          <a:endParaRPr lang="en-IE" sz="1800" b="0" kern="1200">
            <a:latin typeface="Calibri" panose="020F0502020204030204" pitchFamily="34" charset="0"/>
            <a:cs typeface="Calibri" panose="020F0502020204030204" pitchFamily="34" charset="0"/>
          </a:endParaRPr>
        </a:p>
        <a:p>
          <a:pPr marL="0" lvl="0" algn="l" defTabSz="800100" rtl="0">
            <a:lnSpc>
              <a:spcPct val="90000"/>
            </a:lnSpc>
            <a:spcBef>
              <a:spcPct val="0"/>
            </a:spcBef>
            <a:spcAft>
              <a:spcPct val="35000"/>
            </a:spcAft>
          </a:pPr>
          <a:r>
            <a:rPr lang="en-IE" sz="1800" kern="1200">
              <a:latin typeface="Calibri" panose="020F0502020204030204" pitchFamily="34" charset="0"/>
              <a:cs typeface="Calibri" panose="020F0502020204030204" pitchFamily="34" charset="0"/>
            </a:rPr>
            <a:t>Dummy text</a:t>
          </a:r>
        </a:p>
      </dgm:t>
    </dgm:pt>
    <dgm:pt modelId="{1CF4CA44-FE56-4CE3-B513-6B0AA8660336}" type="parTrans" cxnId="{9E7CF060-AB35-4E5B-A20E-8260A214D4EB}">
      <dgm:prSet/>
      <dgm:spPr/>
      <dgm:t>
        <a:bodyPr/>
        <a:lstStyle/>
        <a:p>
          <a:endParaRPr lang="de-DE"/>
        </a:p>
      </dgm:t>
    </dgm:pt>
    <dgm:pt modelId="{56AEA3D6-0921-4F14-A536-6639BB6C77B0}" type="sibTrans" cxnId="{9E7CF060-AB35-4E5B-A20E-8260A214D4EB}">
      <dgm:prSet/>
      <dgm:spPr/>
      <dgm:t>
        <a:bodyPr/>
        <a:lstStyle/>
        <a:p>
          <a:endParaRPr lang="de-DE"/>
        </a:p>
      </dgm:t>
    </dgm:pt>
    <dgm:pt modelId="{6739F360-3A3D-4D48-9318-6DD1CAAAB06B}">
      <dgm:prSet phldrT="[Text]" custT="1"/>
      <dgm:spPr/>
      <dgm:t>
        <a:bodyPr lIns="108000" rIns="108000" anchor="t" anchorCtr="0"/>
        <a:lstStyle/>
        <a:p>
          <a:pPr rtl="0"/>
          <a:r>
            <a:rPr lang="en-IE" sz="1800">
              <a:latin typeface="Calibri" panose="020F0502020204030204" pitchFamily="34" charset="0"/>
              <a:cs typeface="Calibri" panose="020F0502020204030204" pitchFamily="34" charset="0"/>
            </a:rPr>
            <a:t>Bullet 1</a:t>
          </a:r>
        </a:p>
      </dgm:t>
    </dgm:pt>
    <dgm:pt modelId="{4E5F70DF-B890-47C8-8BEA-DC8FC9CF5083}" type="sibTrans" cxnId="{6F8514AC-6131-4A35-90AD-D7289116BB05}">
      <dgm:prSet/>
      <dgm:spPr/>
      <dgm:t>
        <a:bodyPr/>
        <a:lstStyle/>
        <a:p>
          <a:endParaRPr lang="de-DE"/>
        </a:p>
      </dgm:t>
    </dgm:pt>
    <dgm:pt modelId="{0EFD0371-0338-466E-9D6C-1A23492C1D5A}" type="parTrans" cxnId="{6F8514AC-6131-4A35-90AD-D7289116BB05}">
      <dgm:prSet/>
      <dgm:spPr/>
      <dgm:t>
        <a:bodyPr/>
        <a:lstStyle/>
        <a:p>
          <a:endParaRPr lang="de-DE"/>
        </a:p>
      </dgm:t>
    </dgm:pt>
    <dgm:pt modelId="{27E9E500-62EC-46C2-B7C8-3723367EE8E7}" type="pres">
      <dgm:prSet presAssocID="{BF372191-0C9C-40E7-8E87-45CA8E3AA4CF}" presName="Name0" presStyleCnt="0">
        <dgm:presLayoutVars>
          <dgm:dir/>
          <dgm:resizeHandles val="exact"/>
        </dgm:presLayoutVars>
      </dgm:prSet>
      <dgm:spPr/>
    </dgm:pt>
    <dgm:pt modelId="{32E9553A-2CF3-4DEA-AB3F-F65A55D7581E}" type="pres">
      <dgm:prSet presAssocID="{41D35DD2-60D8-418D-85EC-2DDDB1333EEC}" presName="node" presStyleLbl="node1" presStyleIdx="0" presStyleCnt="4" custScaleX="2000000">
        <dgm:presLayoutVars>
          <dgm:bulletEnabled val="1"/>
        </dgm:presLayoutVars>
      </dgm:prSet>
      <dgm:spPr/>
    </dgm:pt>
    <dgm:pt modelId="{354721F1-31E2-437B-87FF-1DCD623A0331}" type="pres">
      <dgm:prSet presAssocID="{F616E22F-A0A4-400D-A2EF-AB771AFFDA0D}" presName="sibTrans" presStyleCnt="0"/>
      <dgm:spPr/>
    </dgm:pt>
    <dgm:pt modelId="{32C5A92E-6BF7-4147-8D3B-45A0624571ED}" type="pres">
      <dgm:prSet presAssocID="{EE8AF158-0E30-4505-B8A3-A23D841EE20A}" presName="node" presStyleLbl="node1" presStyleIdx="1" presStyleCnt="4" custScaleX="2000000" custLinFactX="-722" custLinFactNeighborX="-100000">
        <dgm:presLayoutVars>
          <dgm:bulletEnabled val="1"/>
        </dgm:presLayoutVars>
      </dgm:prSet>
      <dgm:spPr/>
    </dgm:pt>
    <dgm:pt modelId="{F98F8A01-25FC-4155-B2B1-DB023B1A6F31}" type="pres">
      <dgm:prSet presAssocID="{9441BC0C-AF0E-4D63-8062-EC704073BDAE}" presName="sibTrans" presStyleCnt="0"/>
      <dgm:spPr/>
    </dgm:pt>
    <dgm:pt modelId="{0D7987FC-DBC8-4B03-95AC-7CE716B69BC3}" type="pres">
      <dgm:prSet presAssocID="{60165A43-387F-48C1-9A6D-CDB9DC2B8430}" presName="node" presStyleLbl="node1" presStyleIdx="2" presStyleCnt="4" custScaleX="2000000" custLinFactX="-8852" custLinFactNeighborX="-100000">
        <dgm:presLayoutVars>
          <dgm:bulletEnabled val="1"/>
        </dgm:presLayoutVars>
      </dgm:prSet>
      <dgm:spPr/>
    </dgm:pt>
    <dgm:pt modelId="{CAC38D8F-F77B-418F-9A56-E69D8EFBDE3E}" type="pres">
      <dgm:prSet presAssocID="{A20C13DE-89C7-41E8-A4A2-44CE8C7F3A82}" presName="sibTrans" presStyleCnt="0"/>
      <dgm:spPr/>
    </dgm:pt>
    <dgm:pt modelId="{64FECA9A-90D8-40C5-9C04-32EF5BF4A107}" type="pres">
      <dgm:prSet presAssocID="{C84332FE-BA2D-4E3A-B596-1F7D570FDBDC}" presName="node" presStyleLbl="node1" presStyleIdx="3" presStyleCnt="4" custScaleX="2000000" custLinFactX="-17611" custLinFactNeighborX="-100000">
        <dgm:presLayoutVars>
          <dgm:bulletEnabled val="1"/>
        </dgm:presLayoutVars>
      </dgm:prSet>
      <dgm:spPr/>
    </dgm:pt>
  </dgm:ptLst>
  <dgm:cxnLst>
    <dgm:cxn modelId="{42B4191B-AA71-43DD-B7AB-E77E73091A3D}" srcId="{BF372191-0C9C-40E7-8E87-45CA8E3AA4CF}" destId="{EE8AF158-0E30-4505-B8A3-A23D841EE20A}" srcOrd="1" destOrd="0" parTransId="{63AD07C9-E0D7-47A1-9B0E-8B9AD0943242}" sibTransId="{9441BC0C-AF0E-4D63-8062-EC704073BDAE}"/>
    <dgm:cxn modelId="{9E7CF060-AB35-4E5B-A20E-8260A214D4EB}" srcId="{BF372191-0C9C-40E7-8E87-45CA8E3AA4CF}" destId="{C84332FE-BA2D-4E3A-B596-1F7D570FDBDC}" srcOrd="3" destOrd="0" parTransId="{1CF4CA44-FE56-4CE3-B513-6B0AA8660336}" sibTransId="{56AEA3D6-0921-4F14-A536-6639BB6C77B0}"/>
    <dgm:cxn modelId="{42341C4E-0DB5-48CE-B829-9A8ACA39153C}" type="presOf" srcId="{60165A43-387F-48C1-9A6D-CDB9DC2B8430}" destId="{0D7987FC-DBC8-4B03-95AC-7CE716B69BC3}" srcOrd="0" destOrd="0" presId="urn:microsoft.com/office/officeart/2005/8/layout/hList6"/>
    <dgm:cxn modelId="{89641750-0E14-4BD0-9FCF-BA00DD5DD845}" type="presOf" srcId="{F1327EE5-B19C-44E8-BECC-3DD8D56DEB1B}" destId="{32E9553A-2CF3-4DEA-AB3F-F65A55D7581E}" srcOrd="0" destOrd="2" presId="urn:microsoft.com/office/officeart/2005/8/layout/hList6"/>
    <dgm:cxn modelId="{EE65E686-8852-4148-9116-50CC671776BE}" type="presOf" srcId="{C84332FE-BA2D-4E3A-B596-1F7D570FDBDC}" destId="{64FECA9A-90D8-40C5-9C04-32EF5BF4A107}" srcOrd="0" destOrd="0" presId="urn:microsoft.com/office/officeart/2005/8/layout/hList6"/>
    <dgm:cxn modelId="{542B9995-5998-4C5C-B379-1D415980D7C4}" type="presOf" srcId="{6739F360-3A3D-4D48-9318-6DD1CAAAB06B}" destId="{32E9553A-2CF3-4DEA-AB3F-F65A55D7581E}" srcOrd="0" destOrd="1" presId="urn:microsoft.com/office/officeart/2005/8/layout/hList6"/>
    <dgm:cxn modelId="{6F8514AC-6131-4A35-90AD-D7289116BB05}" srcId="{41D35DD2-60D8-418D-85EC-2DDDB1333EEC}" destId="{6739F360-3A3D-4D48-9318-6DD1CAAAB06B}" srcOrd="0" destOrd="0" parTransId="{0EFD0371-0338-466E-9D6C-1A23492C1D5A}" sibTransId="{4E5F70DF-B890-47C8-8BEA-DC8FC9CF5083}"/>
    <dgm:cxn modelId="{95B80FAF-C2D0-4DDB-A7AC-5497C7950D4A}" type="presOf" srcId="{EE8AF158-0E30-4505-B8A3-A23D841EE20A}" destId="{32C5A92E-6BF7-4147-8D3B-45A0624571ED}" srcOrd="0" destOrd="0" presId="urn:microsoft.com/office/officeart/2005/8/layout/hList6"/>
    <dgm:cxn modelId="{326793B2-D1DB-41A0-9B7A-91690CBD1914}" srcId="{BF372191-0C9C-40E7-8E87-45CA8E3AA4CF}" destId="{60165A43-387F-48C1-9A6D-CDB9DC2B8430}" srcOrd="2" destOrd="0" parTransId="{7B818567-8CD9-4F41-BB00-176963A304E0}" sibTransId="{A20C13DE-89C7-41E8-A4A2-44CE8C7F3A82}"/>
    <dgm:cxn modelId="{FCEA10CF-153D-4DF2-9E7A-CBFE2382D518}" srcId="{BF372191-0C9C-40E7-8E87-45CA8E3AA4CF}" destId="{41D35DD2-60D8-418D-85EC-2DDDB1333EEC}" srcOrd="0" destOrd="0" parTransId="{617E6F74-656E-4031-B0C9-6840FFD898DE}" sibTransId="{F616E22F-A0A4-400D-A2EF-AB771AFFDA0D}"/>
    <dgm:cxn modelId="{76213BD7-296A-436C-A49B-23941C6A30F7}" type="presOf" srcId="{BF372191-0C9C-40E7-8E87-45CA8E3AA4CF}" destId="{27E9E500-62EC-46C2-B7C8-3723367EE8E7}" srcOrd="0" destOrd="0" presId="urn:microsoft.com/office/officeart/2005/8/layout/hList6"/>
    <dgm:cxn modelId="{ED2B1FDF-C923-403B-912F-9EADBAEA238D}" srcId="{41D35DD2-60D8-418D-85EC-2DDDB1333EEC}" destId="{F1327EE5-B19C-44E8-BECC-3DD8D56DEB1B}" srcOrd="1" destOrd="0" parTransId="{BE1CEAA6-FF0C-48B7-A410-4A9AB2DEB41D}" sibTransId="{9D20CA89-5A5B-4A1B-8F03-45934064D1D7}"/>
    <dgm:cxn modelId="{80DD3DE9-85C5-46CF-8081-029E3F2E455A}" type="presOf" srcId="{41D35DD2-60D8-418D-85EC-2DDDB1333EEC}" destId="{32E9553A-2CF3-4DEA-AB3F-F65A55D7581E}" srcOrd="0" destOrd="0" presId="urn:microsoft.com/office/officeart/2005/8/layout/hList6"/>
    <dgm:cxn modelId="{21DBEA06-4A0F-4380-B799-A445590166B9}" type="presParOf" srcId="{27E9E500-62EC-46C2-B7C8-3723367EE8E7}" destId="{32E9553A-2CF3-4DEA-AB3F-F65A55D7581E}" srcOrd="0" destOrd="0" presId="urn:microsoft.com/office/officeart/2005/8/layout/hList6"/>
    <dgm:cxn modelId="{2809CFB1-CB12-4958-A710-357B61F07CCF}" type="presParOf" srcId="{27E9E500-62EC-46C2-B7C8-3723367EE8E7}" destId="{354721F1-31E2-437B-87FF-1DCD623A0331}" srcOrd="1" destOrd="0" presId="urn:microsoft.com/office/officeart/2005/8/layout/hList6"/>
    <dgm:cxn modelId="{D219A034-DBA9-4926-8904-723EA6DCD6FA}" type="presParOf" srcId="{27E9E500-62EC-46C2-B7C8-3723367EE8E7}" destId="{32C5A92E-6BF7-4147-8D3B-45A0624571ED}" srcOrd="2" destOrd="0" presId="urn:microsoft.com/office/officeart/2005/8/layout/hList6"/>
    <dgm:cxn modelId="{440649F8-F7DE-4A05-8721-07A47041511D}" type="presParOf" srcId="{27E9E500-62EC-46C2-B7C8-3723367EE8E7}" destId="{F98F8A01-25FC-4155-B2B1-DB023B1A6F31}" srcOrd="3" destOrd="0" presId="urn:microsoft.com/office/officeart/2005/8/layout/hList6"/>
    <dgm:cxn modelId="{9F49BF33-FF4D-4960-8284-A158ED87A694}" type="presParOf" srcId="{27E9E500-62EC-46C2-B7C8-3723367EE8E7}" destId="{0D7987FC-DBC8-4B03-95AC-7CE716B69BC3}" srcOrd="4" destOrd="0" presId="urn:microsoft.com/office/officeart/2005/8/layout/hList6"/>
    <dgm:cxn modelId="{64DF3763-3B95-4946-BE04-FD418C428C9E}" type="presParOf" srcId="{27E9E500-62EC-46C2-B7C8-3723367EE8E7}" destId="{CAC38D8F-F77B-418F-9A56-E69D8EFBDE3E}" srcOrd="5" destOrd="0" presId="urn:microsoft.com/office/officeart/2005/8/layout/hList6"/>
    <dgm:cxn modelId="{00BDA26C-7818-41DC-8CE8-703463AACF55}" type="presParOf" srcId="{27E9E500-62EC-46C2-B7C8-3723367EE8E7}" destId="{64FECA9A-90D8-40C5-9C04-32EF5BF4A107}" srcOrd="6" destOrd="0" presId="urn:microsoft.com/office/officeart/2005/8/layout/hList6"/>
  </dgm:cxnLst>
  <dgm:bg>
    <a:effectLst/>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F372191-0C9C-40E7-8E87-45CA8E3AA4CF}" type="doc">
      <dgm:prSet loTypeId="urn:microsoft.com/office/officeart/2005/8/layout/hList6" loCatId="list" qsTypeId="urn:microsoft.com/office/officeart/2005/8/quickstyle/simple2" qsCatId="simple" csTypeId="urn:microsoft.com/office/officeart/2005/8/colors/accent1_5" csCatId="accent1" phldr="1"/>
      <dgm:spPr/>
      <dgm:t>
        <a:bodyPr/>
        <a:lstStyle/>
        <a:p>
          <a:endParaRPr lang="de-DE"/>
        </a:p>
      </dgm:t>
    </dgm:pt>
    <dgm:pt modelId="{41D35DD2-60D8-418D-85EC-2DDDB1333EEC}">
      <dgm:prSet phldrT="[Text]" custT="1"/>
      <dgm:spPr/>
      <dgm:t>
        <a:bodyPr lIns="108000" rIns="108000" anchor="t" anchorCtr="0"/>
        <a:lstStyle/>
        <a:p>
          <a:endParaRPr lang="de-DE" sz="1800" b="0">
            <a:latin typeface="Calibri" panose="020F0502020204030204" pitchFamily="34" charset="0"/>
            <a:cs typeface="Calibri" panose="020F0502020204030204" pitchFamily="34" charset="0"/>
          </a:endParaRPr>
        </a:p>
        <a:p>
          <a:r>
            <a:rPr lang="de-DE" sz="1800" b="0">
              <a:latin typeface="Calibri" panose="020F0502020204030204" pitchFamily="34" charset="0"/>
              <a:cs typeface="Calibri" panose="020F0502020204030204" pitchFamily="34" charset="0"/>
            </a:rPr>
            <a:t>Text Phase 1</a:t>
          </a:r>
          <a:br>
            <a:rPr lang="de-DE" sz="1800" b="0">
              <a:latin typeface="Calibri" panose="020F0502020204030204" pitchFamily="34" charset="0"/>
              <a:cs typeface="Calibri" panose="020F0502020204030204" pitchFamily="34" charset="0"/>
            </a:rPr>
          </a:br>
          <a:endParaRPr lang="de-DE" sz="1800" b="0">
            <a:latin typeface="Calibri" panose="020F0502020204030204" pitchFamily="34" charset="0"/>
            <a:cs typeface="Calibri" panose="020F0502020204030204" pitchFamily="34" charset="0"/>
          </a:endParaRPr>
        </a:p>
      </dgm:t>
    </dgm:pt>
    <dgm:pt modelId="{617E6F74-656E-4031-B0C9-6840FFD898DE}" type="parTrans" cxnId="{FCEA10CF-153D-4DF2-9E7A-CBFE2382D518}">
      <dgm:prSet/>
      <dgm:spPr/>
      <dgm:t>
        <a:bodyPr/>
        <a:lstStyle/>
        <a:p>
          <a:endParaRPr lang="de-DE"/>
        </a:p>
      </dgm:t>
    </dgm:pt>
    <dgm:pt modelId="{F616E22F-A0A4-400D-A2EF-AB771AFFDA0D}" type="sibTrans" cxnId="{FCEA10CF-153D-4DF2-9E7A-CBFE2382D518}">
      <dgm:prSet/>
      <dgm:spPr/>
      <dgm:t>
        <a:bodyPr/>
        <a:lstStyle/>
        <a:p>
          <a:endParaRPr lang="de-DE"/>
        </a:p>
      </dgm:t>
    </dgm:pt>
    <dgm:pt modelId="{F1327EE5-B19C-44E8-BECC-3DD8D56DEB1B}">
      <dgm:prSet phldrT="[Text]" custT="1"/>
      <dgm:spPr/>
      <dgm:t>
        <a:bodyPr lIns="108000" rIns="108000" anchor="t" anchorCtr="0"/>
        <a:lstStyle/>
        <a:p>
          <a:r>
            <a:rPr lang="de-DE" sz="1800">
              <a:latin typeface="Calibri" panose="020F0502020204030204" pitchFamily="34" charset="0"/>
              <a:cs typeface="Calibri" panose="020F0502020204030204" pitchFamily="34" charset="0"/>
            </a:rPr>
            <a:t>Bullet 2</a:t>
          </a:r>
        </a:p>
      </dgm:t>
    </dgm:pt>
    <dgm:pt modelId="{BE1CEAA6-FF0C-48B7-A410-4A9AB2DEB41D}" type="parTrans" cxnId="{ED2B1FDF-C923-403B-912F-9EADBAEA238D}">
      <dgm:prSet/>
      <dgm:spPr/>
      <dgm:t>
        <a:bodyPr/>
        <a:lstStyle/>
        <a:p>
          <a:endParaRPr lang="de-DE"/>
        </a:p>
      </dgm:t>
    </dgm:pt>
    <dgm:pt modelId="{9D20CA89-5A5B-4A1B-8F03-45934064D1D7}" type="sibTrans" cxnId="{ED2B1FDF-C923-403B-912F-9EADBAEA238D}">
      <dgm:prSet/>
      <dgm:spPr/>
      <dgm:t>
        <a:bodyPr/>
        <a:lstStyle/>
        <a:p>
          <a:endParaRPr lang="de-DE"/>
        </a:p>
      </dgm:t>
    </dgm:pt>
    <dgm:pt modelId="{EE8AF158-0E30-4505-B8A3-A23D841EE20A}">
      <dgm:prSet phldrT="[Text]" custT="1"/>
      <dgm:spPr/>
      <dgm:t>
        <a:bodyPr lIns="108000" rIns="108000" anchor="t" anchorCtr="0"/>
        <a:lstStyle/>
        <a:p>
          <a:pPr marL="0" lvl="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de-DE" sz="1800" b="0" kern="1200">
              <a:latin typeface="Calibri" panose="020F0502020204030204" pitchFamily="34" charset="0"/>
              <a:cs typeface="Calibri" panose="020F0502020204030204" pitchFamily="34" charset="0"/>
            </a:rPr>
            <a:t>Text Phase 2</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de-DE" sz="1800" kern="1200" err="1">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gm:t>
    </dgm:pt>
    <dgm:pt modelId="{63AD07C9-E0D7-47A1-9B0E-8B9AD0943242}" type="parTrans" cxnId="{42B4191B-AA71-43DD-B7AB-E77E73091A3D}">
      <dgm:prSet/>
      <dgm:spPr/>
      <dgm:t>
        <a:bodyPr/>
        <a:lstStyle/>
        <a:p>
          <a:endParaRPr lang="de-DE"/>
        </a:p>
      </dgm:t>
    </dgm:pt>
    <dgm:pt modelId="{9441BC0C-AF0E-4D63-8062-EC704073BDAE}" type="sibTrans" cxnId="{42B4191B-AA71-43DD-B7AB-E77E73091A3D}">
      <dgm:prSet/>
      <dgm:spPr/>
      <dgm:t>
        <a:bodyPr/>
        <a:lstStyle/>
        <a:p>
          <a:endParaRPr lang="de-DE"/>
        </a:p>
      </dgm:t>
    </dgm:pt>
    <dgm:pt modelId="{60165A43-387F-48C1-9A6D-CDB9DC2B8430}">
      <dgm:prSet phldrT="[Text]" custT="1"/>
      <dgm:spPr/>
      <dgm:t>
        <a:bodyPr lIns="108000" rIns="108000" anchor="t" anchorCtr="0"/>
        <a:lstStyle/>
        <a:p>
          <a:pPr algn="ctr"/>
          <a:endParaRPr lang="de-DE" sz="1800" kern="1200">
            <a:latin typeface="Calibri" panose="020F0502020204030204" pitchFamily="34" charset="0"/>
            <a:cs typeface="Calibri" panose="020F0502020204030204" pitchFamily="34" charset="0"/>
          </a:endParaRPr>
        </a:p>
        <a:p>
          <a:pPr algn="l"/>
          <a:r>
            <a:rPr lang="de-DE" sz="1800" b="0" kern="1200">
              <a:latin typeface="Calibri" panose="020F0502020204030204" pitchFamily="34" charset="0"/>
              <a:cs typeface="Calibri" panose="020F0502020204030204" pitchFamily="34" charset="0"/>
            </a:rPr>
            <a:t>Text Phase 3</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algn="l"/>
          <a:r>
            <a:rPr lang="en-US" sz="1800" kern="1200">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gm:t>
    </dgm:pt>
    <dgm:pt modelId="{7B818567-8CD9-4F41-BB00-176963A304E0}" type="parTrans" cxnId="{326793B2-D1DB-41A0-9B7A-91690CBD1914}">
      <dgm:prSet/>
      <dgm:spPr/>
      <dgm:t>
        <a:bodyPr/>
        <a:lstStyle/>
        <a:p>
          <a:endParaRPr lang="de-DE"/>
        </a:p>
      </dgm:t>
    </dgm:pt>
    <dgm:pt modelId="{A20C13DE-89C7-41E8-A4A2-44CE8C7F3A82}" type="sibTrans" cxnId="{326793B2-D1DB-41A0-9B7A-91690CBD1914}">
      <dgm:prSet/>
      <dgm:spPr/>
      <dgm:t>
        <a:bodyPr/>
        <a:lstStyle/>
        <a:p>
          <a:endParaRPr lang="de-DE"/>
        </a:p>
      </dgm:t>
    </dgm:pt>
    <dgm:pt modelId="{C84332FE-BA2D-4E3A-B596-1F7D570FDBDC}">
      <dgm:prSet phldrT="[Text]" custT="1"/>
      <dgm:spPr/>
      <dgm:t>
        <a:bodyPr lIns="108000" rIns="108000" anchor="t" anchorCtr="0"/>
        <a:lstStyle/>
        <a:p>
          <a:pPr marL="0" lvl="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4</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en-US" sz="1800" kern="1200">
              <a:latin typeface="Calibri" panose="020F0502020204030204" pitchFamily="34" charset="0"/>
              <a:cs typeface="Calibri" panose="020F0502020204030204" pitchFamily="34" charset="0"/>
            </a:rPr>
            <a:t>Dummy text</a:t>
          </a:r>
          <a:endParaRPr lang="de-DE" sz="1800" kern="1200">
            <a:latin typeface="Calibri" panose="020F0502020204030204" pitchFamily="34" charset="0"/>
            <a:cs typeface="Calibri" panose="020F0502020204030204" pitchFamily="34" charset="0"/>
          </a:endParaRPr>
        </a:p>
      </dgm:t>
    </dgm:pt>
    <dgm:pt modelId="{1CF4CA44-FE56-4CE3-B513-6B0AA8660336}" type="parTrans" cxnId="{9E7CF060-AB35-4E5B-A20E-8260A214D4EB}">
      <dgm:prSet/>
      <dgm:spPr/>
      <dgm:t>
        <a:bodyPr/>
        <a:lstStyle/>
        <a:p>
          <a:endParaRPr lang="de-DE"/>
        </a:p>
      </dgm:t>
    </dgm:pt>
    <dgm:pt modelId="{56AEA3D6-0921-4F14-A536-6639BB6C77B0}" type="sibTrans" cxnId="{9E7CF060-AB35-4E5B-A20E-8260A214D4EB}">
      <dgm:prSet/>
      <dgm:spPr/>
      <dgm:t>
        <a:bodyPr/>
        <a:lstStyle/>
        <a:p>
          <a:endParaRPr lang="de-DE"/>
        </a:p>
      </dgm:t>
    </dgm:pt>
    <dgm:pt modelId="{6739F360-3A3D-4D48-9318-6DD1CAAAB06B}">
      <dgm:prSet phldrT="[Text]" custT="1"/>
      <dgm:spPr/>
      <dgm:t>
        <a:bodyPr lIns="108000" rIns="108000" anchor="t" anchorCtr="0"/>
        <a:lstStyle/>
        <a:p>
          <a:r>
            <a:rPr lang="en-US" sz="1800">
              <a:latin typeface="Calibri" panose="020F0502020204030204" pitchFamily="34" charset="0"/>
              <a:cs typeface="Calibri" panose="020F0502020204030204" pitchFamily="34" charset="0"/>
            </a:rPr>
            <a:t>Bullet 1</a:t>
          </a:r>
          <a:endParaRPr lang="de-DE" sz="1800">
            <a:latin typeface="Calibri" panose="020F0502020204030204" pitchFamily="34" charset="0"/>
            <a:cs typeface="Calibri" panose="020F0502020204030204" pitchFamily="34" charset="0"/>
          </a:endParaRPr>
        </a:p>
      </dgm:t>
    </dgm:pt>
    <dgm:pt modelId="{4E5F70DF-B890-47C8-8BEA-DC8FC9CF5083}" type="sibTrans" cxnId="{6F8514AC-6131-4A35-90AD-D7289116BB05}">
      <dgm:prSet/>
      <dgm:spPr/>
      <dgm:t>
        <a:bodyPr/>
        <a:lstStyle/>
        <a:p>
          <a:endParaRPr lang="de-DE"/>
        </a:p>
      </dgm:t>
    </dgm:pt>
    <dgm:pt modelId="{0EFD0371-0338-466E-9D6C-1A23492C1D5A}" type="parTrans" cxnId="{6F8514AC-6131-4A35-90AD-D7289116BB05}">
      <dgm:prSet/>
      <dgm:spPr/>
      <dgm:t>
        <a:bodyPr/>
        <a:lstStyle/>
        <a:p>
          <a:endParaRPr lang="de-DE"/>
        </a:p>
      </dgm:t>
    </dgm:pt>
    <dgm:pt modelId="{27E9E500-62EC-46C2-B7C8-3723367EE8E7}" type="pres">
      <dgm:prSet presAssocID="{BF372191-0C9C-40E7-8E87-45CA8E3AA4CF}" presName="Name0" presStyleCnt="0">
        <dgm:presLayoutVars>
          <dgm:dir/>
          <dgm:resizeHandles val="exact"/>
        </dgm:presLayoutVars>
      </dgm:prSet>
      <dgm:spPr/>
    </dgm:pt>
    <dgm:pt modelId="{32E9553A-2CF3-4DEA-AB3F-F65A55D7581E}" type="pres">
      <dgm:prSet presAssocID="{41D35DD2-60D8-418D-85EC-2DDDB1333EEC}" presName="node" presStyleLbl="node1" presStyleIdx="0" presStyleCnt="4" custScaleX="2000000">
        <dgm:presLayoutVars>
          <dgm:bulletEnabled val="1"/>
        </dgm:presLayoutVars>
      </dgm:prSet>
      <dgm:spPr/>
    </dgm:pt>
    <dgm:pt modelId="{354721F1-31E2-437B-87FF-1DCD623A0331}" type="pres">
      <dgm:prSet presAssocID="{F616E22F-A0A4-400D-A2EF-AB771AFFDA0D}" presName="sibTrans" presStyleCnt="0"/>
      <dgm:spPr/>
    </dgm:pt>
    <dgm:pt modelId="{32C5A92E-6BF7-4147-8D3B-45A0624571ED}" type="pres">
      <dgm:prSet presAssocID="{EE8AF158-0E30-4505-B8A3-A23D841EE20A}" presName="node" presStyleLbl="node1" presStyleIdx="1" presStyleCnt="4" custScaleX="2000000" custLinFactX="-722" custLinFactNeighborX="-100000">
        <dgm:presLayoutVars>
          <dgm:bulletEnabled val="1"/>
        </dgm:presLayoutVars>
      </dgm:prSet>
      <dgm:spPr/>
    </dgm:pt>
    <dgm:pt modelId="{F98F8A01-25FC-4155-B2B1-DB023B1A6F31}" type="pres">
      <dgm:prSet presAssocID="{9441BC0C-AF0E-4D63-8062-EC704073BDAE}" presName="sibTrans" presStyleCnt="0"/>
      <dgm:spPr/>
    </dgm:pt>
    <dgm:pt modelId="{0D7987FC-DBC8-4B03-95AC-7CE716B69BC3}" type="pres">
      <dgm:prSet presAssocID="{60165A43-387F-48C1-9A6D-CDB9DC2B8430}" presName="node" presStyleLbl="node1" presStyleIdx="2" presStyleCnt="4" custScaleX="2000000" custLinFactX="-8852" custLinFactNeighborX="-100000">
        <dgm:presLayoutVars>
          <dgm:bulletEnabled val="1"/>
        </dgm:presLayoutVars>
      </dgm:prSet>
      <dgm:spPr/>
    </dgm:pt>
    <dgm:pt modelId="{CAC38D8F-F77B-418F-9A56-E69D8EFBDE3E}" type="pres">
      <dgm:prSet presAssocID="{A20C13DE-89C7-41E8-A4A2-44CE8C7F3A82}" presName="sibTrans" presStyleCnt="0"/>
      <dgm:spPr/>
    </dgm:pt>
    <dgm:pt modelId="{64FECA9A-90D8-40C5-9C04-32EF5BF4A107}" type="pres">
      <dgm:prSet presAssocID="{C84332FE-BA2D-4E3A-B596-1F7D570FDBDC}" presName="node" presStyleLbl="node1" presStyleIdx="3" presStyleCnt="4" custScaleX="2000000" custLinFactX="-17611" custLinFactNeighborX="-100000">
        <dgm:presLayoutVars>
          <dgm:bulletEnabled val="1"/>
        </dgm:presLayoutVars>
      </dgm:prSet>
      <dgm:spPr/>
    </dgm:pt>
  </dgm:ptLst>
  <dgm:cxnLst>
    <dgm:cxn modelId="{42B4191B-AA71-43DD-B7AB-E77E73091A3D}" srcId="{BF372191-0C9C-40E7-8E87-45CA8E3AA4CF}" destId="{EE8AF158-0E30-4505-B8A3-A23D841EE20A}" srcOrd="1" destOrd="0" parTransId="{63AD07C9-E0D7-47A1-9B0E-8B9AD0943242}" sibTransId="{9441BC0C-AF0E-4D63-8062-EC704073BDAE}"/>
    <dgm:cxn modelId="{9E7CF060-AB35-4E5B-A20E-8260A214D4EB}" srcId="{BF372191-0C9C-40E7-8E87-45CA8E3AA4CF}" destId="{C84332FE-BA2D-4E3A-B596-1F7D570FDBDC}" srcOrd="3" destOrd="0" parTransId="{1CF4CA44-FE56-4CE3-B513-6B0AA8660336}" sibTransId="{56AEA3D6-0921-4F14-A536-6639BB6C77B0}"/>
    <dgm:cxn modelId="{42341C4E-0DB5-48CE-B829-9A8ACA39153C}" type="presOf" srcId="{60165A43-387F-48C1-9A6D-CDB9DC2B8430}" destId="{0D7987FC-DBC8-4B03-95AC-7CE716B69BC3}" srcOrd="0" destOrd="0" presId="urn:microsoft.com/office/officeart/2005/8/layout/hList6"/>
    <dgm:cxn modelId="{89641750-0E14-4BD0-9FCF-BA00DD5DD845}" type="presOf" srcId="{F1327EE5-B19C-44E8-BECC-3DD8D56DEB1B}" destId="{32E9553A-2CF3-4DEA-AB3F-F65A55D7581E}" srcOrd="0" destOrd="2" presId="urn:microsoft.com/office/officeart/2005/8/layout/hList6"/>
    <dgm:cxn modelId="{EE65E686-8852-4148-9116-50CC671776BE}" type="presOf" srcId="{C84332FE-BA2D-4E3A-B596-1F7D570FDBDC}" destId="{64FECA9A-90D8-40C5-9C04-32EF5BF4A107}" srcOrd="0" destOrd="0" presId="urn:microsoft.com/office/officeart/2005/8/layout/hList6"/>
    <dgm:cxn modelId="{542B9995-5998-4C5C-B379-1D415980D7C4}" type="presOf" srcId="{6739F360-3A3D-4D48-9318-6DD1CAAAB06B}" destId="{32E9553A-2CF3-4DEA-AB3F-F65A55D7581E}" srcOrd="0" destOrd="1" presId="urn:microsoft.com/office/officeart/2005/8/layout/hList6"/>
    <dgm:cxn modelId="{6F8514AC-6131-4A35-90AD-D7289116BB05}" srcId="{41D35DD2-60D8-418D-85EC-2DDDB1333EEC}" destId="{6739F360-3A3D-4D48-9318-6DD1CAAAB06B}" srcOrd="0" destOrd="0" parTransId="{0EFD0371-0338-466E-9D6C-1A23492C1D5A}" sibTransId="{4E5F70DF-B890-47C8-8BEA-DC8FC9CF5083}"/>
    <dgm:cxn modelId="{95B80FAF-C2D0-4DDB-A7AC-5497C7950D4A}" type="presOf" srcId="{EE8AF158-0E30-4505-B8A3-A23D841EE20A}" destId="{32C5A92E-6BF7-4147-8D3B-45A0624571ED}" srcOrd="0" destOrd="0" presId="urn:microsoft.com/office/officeart/2005/8/layout/hList6"/>
    <dgm:cxn modelId="{326793B2-D1DB-41A0-9B7A-91690CBD1914}" srcId="{BF372191-0C9C-40E7-8E87-45CA8E3AA4CF}" destId="{60165A43-387F-48C1-9A6D-CDB9DC2B8430}" srcOrd="2" destOrd="0" parTransId="{7B818567-8CD9-4F41-BB00-176963A304E0}" sibTransId="{A20C13DE-89C7-41E8-A4A2-44CE8C7F3A82}"/>
    <dgm:cxn modelId="{FCEA10CF-153D-4DF2-9E7A-CBFE2382D518}" srcId="{BF372191-0C9C-40E7-8E87-45CA8E3AA4CF}" destId="{41D35DD2-60D8-418D-85EC-2DDDB1333EEC}" srcOrd="0" destOrd="0" parTransId="{617E6F74-656E-4031-B0C9-6840FFD898DE}" sibTransId="{F616E22F-A0A4-400D-A2EF-AB771AFFDA0D}"/>
    <dgm:cxn modelId="{76213BD7-296A-436C-A49B-23941C6A30F7}" type="presOf" srcId="{BF372191-0C9C-40E7-8E87-45CA8E3AA4CF}" destId="{27E9E500-62EC-46C2-B7C8-3723367EE8E7}" srcOrd="0" destOrd="0" presId="urn:microsoft.com/office/officeart/2005/8/layout/hList6"/>
    <dgm:cxn modelId="{ED2B1FDF-C923-403B-912F-9EADBAEA238D}" srcId="{41D35DD2-60D8-418D-85EC-2DDDB1333EEC}" destId="{F1327EE5-B19C-44E8-BECC-3DD8D56DEB1B}" srcOrd="1" destOrd="0" parTransId="{BE1CEAA6-FF0C-48B7-A410-4A9AB2DEB41D}" sibTransId="{9D20CA89-5A5B-4A1B-8F03-45934064D1D7}"/>
    <dgm:cxn modelId="{80DD3DE9-85C5-46CF-8081-029E3F2E455A}" type="presOf" srcId="{41D35DD2-60D8-418D-85EC-2DDDB1333EEC}" destId="{32E9553A-2CF3-4DEA-AB3F-F65A55D7581E}" srcOrd="0" destOrd="0" presId="urn:microsoft.com/office/officeart/2005/8/layout/hList6"/>
    <dgm:cxn modelId="{21DBEA06-4A0F-4380-B799-A445590166B9}" type="presParOf" srcId="{27E9E500-62EC-46C2-B7C8-3723367EE8E7}" destId="{32E9553A-2CF3-4DEA-AB3F-F65A55D7581E}" srcOrd="0" destOrd="0" presId="urn:microsoft.com/office/officeart/2005/8/layout/hList6"/>
    <dgm:cxn modelId="{2809CFB1-CB12-4958-A710-357B61F07CCF}" type="presParOf" srcId="{27E9E500-62EC-46C2-B7C8-3723367EE8E7}" destId="{354721F1-31E2-437B-87FF-1DCD623A0331}" srcOrd="1" destOrd="0" presId="urn:microsoft.com/office/officeart/2005/8/layout/hList6"/>
    <dgm:cxn modelId="{D219A034-DBA9-4926-8904-723EA6DCD6FA}" type="presParOf" srcId="{27E9E500-62EC-46C2-B7C8-3723367EE8E7}" destId="{32C5A92E-6BF7-4147-8D3B-45A0624571ED}" srcOrd="2" destOrd="0" presId="urn:microsoft.com/office/officeart/2005/8/layout/hList6"/>
    <dgm:cxn modelId="{440649F8-F7DE-4A05-8721-07A47041511D}" type="presParOf" srcId="{27E9E500-62EC-46C2-B7C8-3723367EE8E7}" destId="{F98F8A01-25FC-4155-B2B1-DB023B1A6F31}" srcOrd="3" destOrd="0" presId="urn:microsoft.com/office/officeart/2005/8/layout/hList6"/>
    <dgm:cxn modelId="{9F49BF33-FF4D-4960-8284-A158ED87A694}" type="presParOf" srcId="{27E9E500-62EC-46C2-B7C8-3723367EE8E7}" destId="{0D7987FC-DBC8-4B03-95AC-7CE716B69BC3}" srcOrd="4" destOrd="0" presId="urn:microsoft.com/office/officeart/2005/8/layout/hList6"/>
    <dgm:cxn modelId="{64DF3763-3B95-4946-BE04-FD418C428C9E}" type="presParOf" srcId="{27E9E500-62EC-46C2-B7C8-3723367EE8E7}" destId="{CAC38D8F-F77B-418F-9A56-E69D8EFBDE3E}" srcOrd="5" destOrd="0" presId="urn:microsoft.com/office/officeart/2005/8/layout/hList6"/>
    <dgm:cxn modelId="{00BDA26C-7818-41DC-8CE8-703463AACF55}" type="presParOf" srcId="{27E9E500-62EC-46C2-B7C8-3723367EE8E7}" destId="{64FECA9A-90D8-40C5-9C04-32EF5BF4A107}" srcOrd="6" destOrd="0" presId="urn:microsoft.com/office/officeart/2005/8/layout/hList6"/>
  </dgm:cxnLst>
  <dgm:bg>
    <a:effect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F372191-0C9C-40E7-8E87-45CA8E3AA4CF}" type="doc">
      <dgm:prSet loTypeId="urn:microsoft.com/office/officeart/2005/8/layout/hList6" loCatId="list" qsTypeId="urn:microsoft.com/office/officeart/2005/8/quickstyle/simple2" qsCatId="simple" csTypeId="urn:microsoft.com/office/officeart/2005/8/colors/accent1_5" csCatId="accent1" phldr="1"/>
      <dgm:spPr/>
      <dgm:t>
        <a:bodyPr/>
        <a:lstStyle/>
        <a:p>
          <a:endParaRPr lang="de-DE"/>
        </a:p>
      </dgm:t>
    </dgm:pt>
    <dgm:pt modelId="{41D35DD2-60D8-418D-85EC-2DDDB1333EEC}">
      <dgm:prSet phldrT="[Text]" custT="1"/>
      <dgm:spPr/>
      <dgm:t>
        <a:bodyPr lIns="108000" rIns="108000" anchor="t" anchorCtr="0"/>
        <a:lstStyle/>
        <a:p>
          <a:endParaRPr lang="de-DE" sz="1800" b="0">
            <a:latin typeface="Calibri" panose="020F0502020204030204" pitchFamily="34" charset="0"/>
            <a:cs typeface="Calibri" panose="020F0502020204030204" pitchFamily="34" charset="0"/>
          </a:endParaRPr>
        </a:p>
        <a:p>
          <a:r>
            <a:rPr lang="de-DE" sz="1800" b="0">
              <a:latin typeface="Calibri" panose="020F0502020204030204" pitchFamily="34" charset="0"/>
              <a:cs typeface="Calibri" panose="020F0502020204030204" pitchFamily="34" charset="0"/>
            </a:rPr>
            <a:t>Text Phase 1</a:t>
          </a:r>
          <a:br>
            <a:rPr lang="de-DE" sz="1800" b="0">
              <a:latin typeface="Calibri" panose="020F0502020204030204" pitchFamily="34" charset="0"/>
              <a:cs typeface="Calibri" panose="020F0502020204030204" pitchFamily="34" charset="0"/>
            </a:rPr>
          </a:br>
          <a:endParaRPr lang="de-DE" sz="1800" b="0">
            <a:latin typeface="Calibri" panose="020F0502020204030204" pitchFamily="34" charset="0"/>
            <a:cs typeface="Calibri" panose="020F0502020204030204" pitchFamily="34" charset="0"/>
          </a:endParaRPr>
        </a:p>
      </dgm:t>
    </dgm:pt>
    <dgm:pt modelId="{617E6F74-656E-4031-B0C9-6840FFD898DE}" type="parTrans" cxnId="{FCEA10CF-153D-4DF2-9E7A-CBFE2382D518}">
      <dgm:prSet/>
      <dgm:spPr/>
      <dgm:t>
        <a:bodyPr/>
        <a:lstStyle/>
        <a:p>
          <a:endParaRPr lang="de-DE"/>
        </a:p>
      </dgm:t>
    </dgm:pt>
    <dgm:pt modelId="{F616E22F-A0A4-400D-A2EF-AB771AFFDA0D}" type="sibTrans" cxnId="{FCEA10CF-153D-4DF2-9E7A-CBFE2382D518}">
      <dgm:prSet/>
      <dgm:spPr/>
      <dgm:t>
        <a:bodyPr/>
        <a:lstStyle/>
        <a:p>
          <a:endParaRPr lang="de-DE"/>
        </a:p>
      </dgm:t>
    </dgm:pt>
    <dgm:pt modelId="{F1327EE5-B19C-44E8-BECC-3DD8D56DEB1B}">
      <dgm:prSet phldrT="[Text]" custT="1"/>
      <dgm:spPr/>
      <dgm:t>
        <a:bodyPr lIns="108000" rIns="108000" anchor="t" anchorCtr="0"/>
        <a:lstStyle/>
        <a:p>
          <a:r>
            <a:rPr lang="de-DE" sz="1800">
              <a:latin typeface="Calibri" panose="020F0502020204030204" pitchFamily="34" charset="0"/>
              <a:cs typeface="Calibri" panose="020F0502020204030204" pitchFamily="34" charset="0"/>
            </a:rPr>
            <a:t>Bullet 2</a:t>
          </a:r>
        </a:p>
      </dgm:t>
    </dgm:pt>
    <dgm:pt modelId="{BE1CEAA6-FF0C-48B7-A410-4A9AB2DEB41D}" type="parTrans" cxnId="{ED2B1FDF-C923-403B-912F-9EADBAEA238D}">
      <dgm:prSet/>
      <dgm:spPr/>
      <dgm:t>
        <a:bodyPr/>
        <a:lstStyle/>
        <a:p>
          <a:endParaRPr lang="de-DE"/>
        </a:p>
      </dgm:t>
    </dgm:pt>
    <dgm:pt modelId="{9D20CA89-5A5B-4A1B-8F03-45934064D1D7}" type="sibTrans" cxnId="{ED2B1FDF-C923-403B-912F-9EADBAEA238D}">
      <dgm:prSet/>
      <dgm:spPr/>
      <dgm:t>
        <a:bodyPr/>
        <a:lstStyle/>
        <a:p>
          <a:endParaRPr lang="de-DE"/>
        </a:p>
      </dgm:t>
    </dgm:pt>
    <dgm:pt modelId="{EE8AF158-0E30-4505-B8A3-A23D841EE20A}">
      <dgm:prSet phldrT="[Text]" custT="1"/>
      <dgm:spPr/>
      <dgm:t>
        <a:bodyPr lIns="108000" rIns="108000" anchor="t" anchorCtr="0"/>
        <a:lstStyle/>
        <a:p>
          <a:pPr marL="0" lvl="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de-DE" sz="1800" b="0" kern="1200">
              <a:latin typeface="Calibri" panose="020F0502020204030204" pitchFamily="34" charset="0"/>
              <a:cs typeface="Calibri" panose="020F0502020204030204" pitchFamily="34" charset="0"/>
            </a:rPr>
            <a:t>Text Phase 2</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de-DE" sz="1800" kern="1200" err="1">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gm:t>
    </dgm:pt>
    <dgm:pt modelId="{63AD07C9-E0D7-47A1-9B0E-8B9AD0943242}" type="parTrans" cxnId="{42B4191B-AA71-43DD-B7AB-E77E73091A3D}">
      <dgm:prSet/>
      <dgm:spPr/>
      <dgm:t>
        <a:bodyPr/>
        <a:lstStyle/>
        <a:p>
          <a:endParaRPr lang="de-DE"/>
        </a:p>
      </dgm:t>
    </dgm:pt>
    <dgm:pt modelId="{9441BC0C-AF0E-4D63-8062-EC704073BDAE}" type="sibTrans" cxnId="{42B4191B-AA71-43DD-B7AB-E77E73091A3D}">
      <dgm:prSet/>
      <dgm:spPr/>
      <dgm:t>
        <a:bodyPr/>
        <a:lstStyle/>
        <a:p>
          <a:endParaRPr lang="de-DE"/>
        </a:p>
      </dgm:t>
    </dgm:pt>
    <dgm:pt modelId="{60165A43-387F-48C1-9A6D-CDB9DC2B8430}">
      <dgm:prSet phldrT="[Text]" custT="1"/>
      <dgm:spPr/>
      <dgm:t>
        <a:bodyPr lIns="108000" rIns="108000" anchor="t" anchorCtr="0"/>
        <a:lstStyle/>
        <a:p>
          <a:pPr algn="ctr"/>
          <a:endParaRPr lang="de-DE" sz="1800" kern="1200">
            <a:latin typeface="Calibri" panose="020F0502020204030204" pitchFamily="34" charset="0"/>
            <a:cs typeface="Calibri" panose="020F0502020204030204" pitchFamily="34" charset="0"/>
          </a:endParaRPr>
        </a:p>
        <a:p>
          <a:pPr algn="l"/>
          <a:r>
            <a:rPr lang="de-DE" sz="1800" b="0" kern="1200">
              <a:latin typeface="Calibri" panose="020F0502020204030204" pitchFamily="34" charset="0"/>
              <a:cs typeface="Calibri" panose="020F0502020204030204" pitchFamily="34" charset="0"/>
            </a:rPr>
            <a:t>Text Phase 3</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algn="l"/>
          <a:r>
            <a:rPr lang="en-US" sz="1800" kern="1200">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gm:t>
    </dgm:pt>
    <dgm:pt modelId="{7B818567-8CD9-4F41-BB00-176963A304E0}" type="parTrans" cxnId="{326793B2-D1DB-41A0-9B7A-91690CBD1914}">
      <dgm:prSet/>
      <dgm:spPr/>
      <dgm:t>
        <a:bodyPr/>
        <a:lstStyle/>
        <a:p>
          <a:endParaRPr lang="de-DE"/>
        </a:p>
      </dgm:t>
    </dgm:pt>
    <dgm:pt modelId="{A20C13DE-89C7-41E8-A4A2-44CE8C7F3A82}" type="sibTrans" cxnId="{326793B2-D1DB-41A0-9B7A-91690CBD1914}">
      <dgm:prSet/>
      <dgm:spPr/>
      <dgm:t>
        <a:bodyPr/>
        <a:lstStyle/>
        <a:p>
          <a:endParaRPr lang="de-DE"/>
        </a:p>
      </dgm:t>
    </dgm:pt>
    <dgm:pt modelId="{C84332FE-BA2D-4E3A-B596-1F7D570FDBDC}">
      <dgm:prSet phldrT="[Text]" custT="1"/>
      <dgm:spPr/>
      <dgm:t>
        <a:bodyPr lIns="108000" rIns="108000" anchor="t" anchorCtr="0"/>
        <a:lstStyle/>
        <a:p>
          <a:pPr marL="0" lvl="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4</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en-US" sz="1800" kern="1200">
              <a:latin typeface="Calibri" panose="020F0502020204030204" pitchFamily="34" charset="0"/>
              <a:cs typeface="Calibri" panose="020F0502020204030204" pitchFamily="34" charset="0"/>
            </a:rPr>
            <a:t>Dummy text</a:t>
          </a:r>
          <a:endParaRPr lang="de-DE" sz="1800" kern="1200">
            <a:latin typeface="Calibri" panose="020F0502020204030204" pitchFamily="34" charset="0"/>
            <a:cs typeface="Calibri" panose="020F0502020204030204" pitchFamily="34" charset="0"/>
          </a:endParaRPr>
        </a:p>
      </dgm:t>
    </dgm:pt>
    <dgm:pt modelId="{1CF4CA44-FE56-4CE3-B513-6B0AA8660336}" type="parTrans" cxnId="{9E7CF060-AB35-4E5B-A20E-8260A214D4EB}">
      <dgm:prSet/>
      <dgm:spPr/>
      <dgm:t>
        <a:bodyPr/>
        <a:lstStyle/>
        <a:p>
          <a:endParaRPr lang="de-DE"/>
        </a:p>
      </dgm:t>
    </dgm:pt>
    <dgm:pt modelId="{56AEA3D6-0921-4F14-A536-6639BB6C77B0}" type="sibTrans" cxnId="{9E7CF060-AB35-4E5B-A20E-8260A214D4EB}">
      <dgm:prSet/>
      <dgm:spPr/>
      <dgm:t>
        <a:bodyPr/>
        <a:lstStyle/>
        <a:p>
          <a:endParaRPr lang="de-DE"/>
        </a:p>
      </dgm:t>
    </dgm:pt>
    <dgm:pt modelId="{6739F360-3A3D-4D48-9318-6DD1CAAAB06B}">
      <dgm:prSet phldrT="[Text]" custT="1"/>
      <dgm:spPr/>
      <dgm:t>
        <a:bodyPr lIns="108000" rIns="108000" anchor="t" anchorCtr="0"/>
        <a:lstStyle/>
        <a:p>
          <a:r>
            <a:rPr lang="en-US" sz="1800">
              <a:latin typeface="Calibri" panose="020F0502020204030204" pitchFamily="34" charset="0"/>
              <a:cs typeface="Calibri" panose="020F0502020204030204" pitchFamily="34" charset="0"/>
            </a:rPr>
            <a:t>Bullet 1</a:t>
          </a:r>
          <a:endParaRPr lang="de-DE" sz="1800">
            <a:latin typeface="Calibri" panose="020F0502020204030204" pitchFamily="34" charset="0"/>
            <a:cs typeface="Calibri" panose="020F0502020204030204" pitchFamily="34" charset="0"/>
          </a:endParaRPr>
        </a:p>
      </dgm:t>
    </dgm:pt>
    <dgm:pt modelId="{4E5F70DF-B890-47C8-8BEA-DC8FC9CF5083}" type="sibTrans" cxnId="{6F8514AC-6131-4A35-90AD-D7289116BB05}">
      <dgm:prSet/>
      <dgm:spPr/>
      <dgm:t>
        <a:bodyPr/>
        <a:lstStyle/>
        <a:p>
          <a:endParaRPr lang="de-DE"/>
        </a:p>
      </dgm:t>
    </dgm:pt>
    <dgm:pt modelId="{0EFD0371-0338-466E-9D6C-1A23492C1D5A}" type="parTrans" cxnId="{6F8514AC-6131-4A35-90AD-D7289116BB05}">
      <dgm:prSet/>
      <dgm:spPr/>
      <dgm:t>
        <a:bodyPr/>
        <a:lstStyle/>
        <a:p>
          <a:endParaRPr lang="de-DE"/>
        </a:p>
      </dgm:t>
    </dgm:pt>
    <dgm:pt modelId="{27E9E500-62EC-46C2-B7C8-3723367EE8E7}" type="pres">
      <dgm:prSet presAssocID="{BF372191-0C9C-40E7-8E87-45CA8E3AA4CF}" presName="Name0" presStyleCnt="0">
        <dgm:presLayoutVars>
          <dgm:dir/>
          <dgm:resizeHandles val="exact"/>
        </dgm:presLayoutVars>
      </dgm:prSet>
      <dgm:spPr/>
    </dgm:pt>
    <dgm:pt modelId="{32E9553A-2CF3-4DEA-AB3F-F65A55D7581E}" type="pres">
      <dgm:prSet presAssocID="{41D35DD2-60D8-418D-85EC-2DDDB1333EEC}" presName="node" presStyleLbl="node1" presStyleIdx="0" presStyleCnt="4" custScaleX="2000000">
        <dgm:presLayoutVars>
          <dgm:bulletEnabled val="1"/>
        </dgm:presLayoutVars>
      </dgm:prSet>
      <dgm:spPr/>
    </dgm:pt>
    <dgm:pt modelId="{354721F1-31E2-437B-87FF-1DCD623A0331}" type="pres">
      <dgm:prSet presAssocID="{F616E22F-A0A4-400D-A2EF-AB771AFFDA0D}" presName="sibTrans" presStyleCnt="0"/>
      <dgm:spPr/>
    </dgm:pt>
    <dgm:pt modelId="{32C5A92E-6BF7-4147-8D3B-45A0624571ED}" type="pres">
      <dgm:prSet presAssocID="{EE8AF158-0E30-4505-B8A3-A23D841EE20A}" presName="node" presStyleLbl="node1" presStyleIdx="1" presStyleCnt="4" custScaleX="2000000" custLinFactX="-722" custLinFactNeighborX="-100000">
        <dgm:presLayoutVars>
          <dgm:bulletEnabled val="1"/>
        </dgm:presLayoutVars>
      </dgm:prSet>
      <dgm:spPr/>
    </dgm:pt>
    <dgm:pt modelId="{F98F8A01-25FC-4155-B2B1-DB023B1A6F31}" type="pres">
      <dgm:prSet presAssocID="{9441BC0C-AF0E-4D63-8062-EC704073BDAE}" presName="sibTrans" presStyleCnt="0"/>
      <dgm:spPr/>
    </dgm:pt>
    <dgm:pt modelId="{0D7987FC-DBC8-4B03-95AC-7CE716B69BC3}" type="pres">
      <dgm:prSet presAssocID="{60165A43-387F-48C1-9A6D-CDB9DC2B8430}" presName="node" presStyleLbl="node1" presStyleIdx="2" presStyleCnt="4" custScaleX="2000000" custLinFactX="-8852" custLinFactNeighborX="-100000">
        <dgm:presLayoutVars>
          <dgm:bulletEnabled val="1"/>
        </dgm:presLayoutVars>
      </dgm:prSet>
      <dgm:spPr/>
    </dgm:pt>
    <dgm:pt modelId="{CAC38D8F-F77B-418F-9A56-E69D8EFBDE3E}" type="pres">
      <dgm:prSet presAssocID="{A20C13DE-89C7-41E8-A4A2-44CE8C7F3A82}" presName="sibTrans" presStyleCnt="0"/>
      <dgm:spPr/>
    </dgm:pt>
    <dgm:pt modelId="{64FECA9A-90D8-40C5-9C04-32EF5BF4A107}" type="pres">
      <dgm:prSet presAssocID="{C84332FE-BA2D-4E3A-B596-1F7D570FDBDC}" presName="node" presStyleLbl="node1" presStyleIdx="3" presStyleCnt="4" custScaleX="2000000" custLinFactX="-17611" custLinFactNeighborX="-100000">
        <dgm:presLayoutVars>
          <dgm:bulletEnabled val="1"/>
        </dgm:presLayoutVars>
      </dgm:prSet>
      <dgm:spPr/>
    </dgm:pt>
  </dgm:ptLst>
  <dgm:cxnLst>
    <dgm:cxn modelId="{42B4191B-AA71-43DD-B7AB-E77E73091A3D}" srcId="{BF372191-0C9C-40E7-8E87-45CA8E3AA4CF}" destId="{EE8AF158-0E30-4505-B8A3-A23D841EE20A}" srcOrd="1" destOrd="0" parTransId="{63AD07C9-E0D7-47A1-9B0E-8B9AD0943242}" sibTransId="{9441BC0C-AF0E-4D63-8062-EC704073BDAE}"/>
    <dgm:cxn modelId="{9E7CF060-AB35-4E5B-A20E-8260A214D4EB}" srcId="{BF372191-0C9C-40E7-8E87-45CA8E3AA4CF}" destId="{C84332FE-BA2D-4E3A-B596-1F7D570FDBDC}" srcOrd="3" destOrd="0" parTransId="{1CF4CA44-FE56-4CE3-B513-6B0AA8660336}" sibTransId="{56AEA3D6-0921-4F14-A536-6639BB6C77B0}"/>
    <dgm:cxn modelId="{42341C4E-0DB5-48CE-B829-9A8ACA39153C}" type="presOf" srcId="{60165A43-387F-48C1-9A6D-CDB9DC2B8430}" destId="{0D7987FC-DBC8-4B03-95AC-7CE716B69BC3}" srcOrd="0" destOrd="0" presId="urn:microsoft.com/office/officeart/2005/8/layout/hList6"/>
    <dgm:cxn modelId="{89641750-0E14-4BD0-9FCF-BA00DD5DD845}" type="presOf" srcId="{F1327EE5-B19C-44E8-BECC-3DD8D56DEB1B}" destId="{32E9553A-2CF3-4DEA-AB3F-F65A55D7581E}" srcOrd="0" destOrd="2" presId="urn:microsoft.com/office/officeart/2005/8/layout/hList6"/>
    <dgm:cxn modelId="{EE65E686-8852-4148-9116-50CC671776BE}" type="presOf" srcId="{C84332FE-BA2D-4E3A-B596-1F7D570FDBDC}" destId="{64FECA9A-90D8-40C5-9C04-32EF5BF4A107}" srcOrd="0" destOrd="0" presId="urn:microsoft.com/office/officeart/2005/8/layout/hList6"/>
    <dgm:cxn modelId="{542B9995-5998-4C5C-B379-1D415980D7C4}" type="presOf" srcId="{6739F360-3A3D-4D48-9318-6DD1CAAAB06B}" destId="{32E9553A-2CF3-4DEA-AB3F-F65A55D7581E}" srcOrd="0" destOrd="1" presId="urn:microsoft.com/office/officeart/2005/8/layout/hList6"/>
    <dgm:cxn modelId="{6F8514AC-6131-4A35-90AD-D7289116BB05}" srcId="{41D35DD2-60D8-418D-85EC-2DDDB1333EEC}" destId="{6739F360-3A3D-4D48-9318-6DD1CAAAB06B}" srcOrd="0" destOrd="0" parTransId="{0EFD0371-0338-466E-9D6C-1A23492C1D5A}" sibTransId="{4E5F70DF-B890-47C8-8BEA-DC8FC9CF5083}"/>
    <dgm:cxn modelId="{95B80FAF-C2D0-4DDB-A7AC-5497C7950D4A}" type="presOf" srcId="{EE8AF158-0E30-4505-B8A3-A23D841EE20A}" destId="{32C5A92E-6BF7-4147-8D3B-45A0624571ED}" srcOrd="0" destOrd="0" presId="urn:microsoft.com/office/officeart/2005/8/layout/hList6"/>
    <dgm:cxn modelId="{326793B2-D1DB-41A0-9B7A-91690CBD1914}" srcId="{BF372191-0C9C-40E7-8E87-45CA8E3AA4CF}" destId="{60165A43-387F-48C1-9A6D-CDB9DC2B8430}" srcOrd="2" destOrd="0" parTransId="{7B818567-8CD9-4F41-BB00-176963A304E0}" sibTransId="{A20C13DE-89C7-41E8-A4A2-44CE8C7F3A82}"/>
    <dgm:cxn modelId="{FCEA10CF-153D-4DF2-9E7A-CBFE2382D518}" srcId="{BF372191-0C9C-40E7-8E87-45CA8E3AA4CF}" destId="{41D35DD2-60D8-418D-85EC-2DDDB1333EEC}" srcOrd="0" destOrd="0" parTransId="{617E6F74-656E-4031-B0C9-6840FFD898DE}" sibTransId="{F616E22F-A0A4-400D-A2EF-AB771AFFDA0D}"/>
    <dgm:cxn modelId="{76213BD7-296A-436C-A49B-23941C6A30F7}" type="presOf" srcId="{BF372191-0C9C-40E7-8E87-45CA8E3AA4CF}" destId="{27E9E500-62EC-46C2-B7C8-3723367EE8E7}" srcOrd="0" destOrd="0" presId="urn:microsoft.com/office/officeart/2005/8/layout/hList6"/>
    <dgm:cxn modelId="{ED2B1FDF-C923-403B-912F-9EADBAEA238D}" srcId="{41D35DD2-60D8-418D-85EC-2DDDB1333EEC}" destId="{F1327EE5-B19C-44E8-BECC-3DD8D56DEB1B}" srcOrd="1" destOrd="0" parTransId="{BE1CEAA6-FF0C-48B7-A410-4A9AB2DEB41D}" sibTransId="{9D20CA89-5A5B-4A1B-8F03-45934064D1D7}"/>
    <dgm:cxn modelId="{80DD3DE9-85C5-46CF-8081-029E3F2E455A}" type="presOf" srcId="{41D35DD2-60D8-418D-85EC-2DDDB1333EEC}" destId="{32E9553A-2CF3-4DEA-AB3F-F65A55D7581E}" srcOrd="0" destOrd="0" presId="urn:microsoft.com/office/officeart/2005/8/layout/hList6"/>
    <dgm:cxn modelId="{21DBEA06-4A0F-4380-B799-A445590166B9}" type="presParOf" srcId="{27E9E500-62EC-46C2-B7C8-3723367EE8E7}" destId="{32E9553A-2CF3-4DEA-AB3F-F65A55D7581E}" srcOrd="0" destOrd="0" presId="urn:microsoft.com/office/officeart/2005/8/layout/hList6"/>
    <dgm:cxn modelId="{2809CFB1-CB12-4958-A710-357B61F07CCF}" type="presParOf" srcId="{27E9E500-62EC-46C2-B7C8-3723367EE8E7}" destId="{354721F1-31E2-437B-87FF-1DCD623A0331}" srcOrd="1" destOrd="0" presId="urn:microsoft.com/office/officeart/2005/8/layout/hList6"/>
    <dgm:cxn modelId="{D219A034-DBA9-4926-8904-723EA6DCD6FA}" type="presParOf" srcId="{27E9E500-62EC-46C2-B7C8-3723367EE8E7}" destId="{32C5A92E-6BF7-4147-8D3B-45A0624571ED}" srcOrd="2" destOrd="0" presId="urn:microsoft.com/office/officeart/2005/8/layout/hList6"/>
    <dgm:cxn modelId="{440649F8-F7DE-4A05-8721-07A47041511D}" type="presParOf" srcId="{27E9E500-62EC-46C2-B7C8-3723367EE8E7}" destId="{F98F8A01-25FC-4155-B2B1-DB023B1A6F31}" srcOrd="3" destOrd="0" presId="urn:microsoft.com/office/officeart/2005/8/layout/hList6"/>
    <dgm:cxn modelId="{9F49BF33-FF4D-4960-8284-A158ED87A694}" type="presParOf" srcId="{27E9E500-62EC-46C2-B7C8-3723367EE8E7}" destId="{0D7987FC-DBC8-4B03-95AC-7CE716B69BC3}" srcOrd="4" destOrd="0" presId="urn:microsoft.com/office/officeart/2005/8/layout/hList6"/>
    <dgm:cxn modelId="{64DF3763-3B95-4946-BE04-FD418C428C9E}" type="presParOf" srcId="{27E9E500-62EC-46C2-B7C8-3723367EE8E7}" destId="{CAC38D8F-F77B-418F-9A56-E69D8EFBDE3E}" srcOrd="5" destOrd="0" presId="urn:microsoft.com/office/officeart/2005/8/layout/hList6"/>
    <dgm:cxn modelId="{00BDA26C-7818-41DC-8CE8-703463AACF55}" type="presParOf" srcId="{27E9E500-62EC-46C2-B7C8-3723367EE8E7}" destId="{64FECA9A-90D8-40C5-9C04-32EF5BF4A107}" srcOrd="6" destOrd="0" presId="urn:microsoft.com/office/officeart/2005/8/layout/hList6"/>
  </dgm:cxnLst>
  <dgm:bg>
    <a:effect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F372191-0C9C-40E7-8E87-45CA8E3AA4CF}" type="doc">
      <dgm:prSet loTypeId="urn:microsoft.com/office/officeart/2005/8/layout/hList6" loCatId="list" qsTypeId="urn:microsoft.com/office/officeart/2005/8/quickstyle/simple2" qsCatId="simple" csTypeId="urn:microsoft.com/office/officeart/2005/8/colors/accent1_5" csCatId="accent1" phldr="1"/>
      <dgm:spPr/>
      <dgm:t>
        <a:bodyPr/>
        <a:lstStyle/>
        <a:p>
          <a:endParaRPr lang="de-DE"/>
        </a:p>
      </dgm:t>
    </dgm:pt>
    <dgm:pt modelId="{41D35DD2-60D8-418D-85EC-2DDDB1333EEC}">
      <dgm:prSet phldrT="[Text]" custT="1"/>
      <dgm:spPr/>
      <dgm:t>
        <a:bodyPr lIns="108000" rIns="108000" anchor="t" anchorCtr="0"/>
        <a:lstStyle/>
        <a:p>
          <a:endParaRPr lang="de-DE" sz="1800" b="0">
            <a:latin typeface="Calibri" panose="020F0502020204030204" pitchFamily="34" charset="0"/>
            <a:cs typeface="Calibri" panose="020F0502020204030204" pitchFamily="34" charset="0"/>
          </a:endParaRPr>
        </a:p>
        <a:p>
          <a:r>
            <a:rPr lang="de-DE" sz="1800" b="0">
              <a:latin typeface="Calibri" panose="020F0502020204030204" pitchFamily="34" charset="0"/>
              <a:cs typeface="Calibri" panose="020F0502020204030204" pitchFamily="34" charset="0"/>
            </a:rPr>
            <a:t>Text Phase 1</a:t>
          </a:r>
          <a:br>
            <a:rPr lang="de-DE" sz="1800" b="0">
              <a:latin typeface="Calibri" panose="020F0502020204030204" pitchFamily="34" charset="0"/>
              <a:cs typeface="Calibri" panose="020F0502020204030204" pitchFamily="34" charset="0"/>
            </a:rPr>
          </a:br>
          <a:endParaRPr lang="de-DE" sz="1800" b="0">
            <a:latin typeface="Calibri" panose="020F0502020204030204" pitchFamily="34" charset="0"/>
            <a:cs typeface="Calibri" panose="020F0502020204030204" pitchFamily="34" charset="0"/>
          </a:endParaRPr>
        </a:p>
      </dgm:t>
    </dgm:pt>
    <dgm:pt modelId="{617E6F74-656E-4031-B0C9-6840FFD898DE}" type="parTrans" cxnId="{FCEA10CF-153D-4DF2-9E7A-CBFE2382D518}">
      <dgm:prSet/>
      <dgm:spPr/>
      <dgm:t>
        <a:bodyPr/>
        <a:lstStyle/>
        <a:p>
          <a:endParaRPr lang="de-DE"/>
        </a:p>
      </dgm:t>
    </dgm:pt>
    <dgm:pt modelId="{F616E22F-A0A4-400D-A2EF-AB771AFFDA0D}" type="sibTrans" cxnId="{FCEA10CF-153D-4DF2-9E7A-CBFE2382D518}">
      <dgm:prSet/>
      <dgm:spPr/>
      <dgm:t>
        <a:bodyPr/>
        <a:lstStyle/>
        <a:p>
          <a:endParaRPr lang="de-DE"/>
        </a:p>
      </dgm:t>
    </dgm:pt>
    <dgm:pt modelId="{F1327EE5-B19C-44E8-BECC-3DD8D56DEB1B}">
      <dgm:prSet phldrT="[Text]" custT="1"/>
      <dgm:spPr/>
      <dgm:t>
        <a:bodyPr lIns="108000" rIns="108000" anchor="t" anchorCtr="0"/>
        <a:lstStyle/>
        <a:p>
          <a:r>
            <a:rPr lang="de-DE" sz="1800">
              <a:latin typeface="Calibri" panose="020F0502020204030204" pitchFamily="34" charset="0"/>
              <a:cs typeface="Calibri" panose="020F0502020204030204" pitchFamily="34" charset="0"/>
            </a:rPr>
            <a:t>Bullet 2</a:t>
          </a:r>
        </a:p>
      </dgm:t>
    </dgm:pt>
    <dgm:pt modelId="{BE1CEAA6-FF0C-48B7-A410-4A9AB2DEB41D}" type="parTrans" cxnId="{ED2B1FDF-C923-403B-912F-9EADBAEA238D}">
      <dgm:prSet/>
      <dgm:spPr/>
      <dgm:t>
        <a:bodyPr/>
        <a:lstStyle/>
        <a:p>
          <a:endParaRPr lang="de-DE"/>
        </a:p>
      </dgm:t>
    </dgm:pt>
    <dgm:pt modelId="{9D20CA89-5A5B-4A1B-8F03-45934064D1D7}" type="sibTrans" cxnId="{ED2B1FDF-C923-403B-912F-9EADBAEA238D}">
      <dgm:prSet/>
      <dgm:spPr/>
      <dgm:t>
        <a:bodyPr/>
        <a:lstStyle/>
        <a:p>
          <a:endParaRPr lang="de-DE"/>
        </a:p>
      </dgm:t>
    </dgm:pt>
    <dgm:pt modelId="{EE8AF158-0E30-4505-B8A3-A23D841EE20A}">
      <dgm:prSet phldrT="[Text]" custT="1"/>
      <dgm:spPr/>
      <dgm:t>
        <a:bodyPr lIns="108000" rIns="108000" anchor="t" anchorCtr="0"/>
        <a:lstStyle/>
        <a:p>
          <a:pPr marL="0" lvl="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de-DE" sz="1800" b="0" kern="1200">
              <a:latin typeface="Calibri" panose="020F0502020204030204" pitchFamily="34" charset="0"/>
              <a:cs typeface="Calibri" panose="020F0502020204030204" pitchFamily="34" charset="0"/>
            </a:rPr>
            <a:t>Text Phase 2</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de-DE" sz="1800" kern="1200" err="1">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gm:t>
    </dgm:pt>
    <dgm:pt modelId="{63AD07C9-E0D7-47A1-9B0E-8B9AD0943242}" type="parTrans" cxnId="{42B4191B-AA71-43DD-B7AB-E77E73091A3D}">
      <dgm:prSet/>
      <dgm:spPr/>
      <dgm:t>
        <a:bodyPr/>
        <a:lstStyle/>
        <a:p>
          <a:endParaRPr lang="de-DE"/>
        </a:p>
      </dgm:t>
    </dgm:pt>
    <dgm:pt modelId="{9441BC0C-AF0E-4D63-8062-EC704073BDAE}" type="sibTrans" cxnId="{42B4191B-AA71-43DD-B7AB-E77E73091A3D}">
      <dgm:prSet/>
      <dgm:spPr/>
      <dgm:t>
        <a:bodyPr/>
        <a:lstStyle/>
        <a:p>
          <a:endParaRPr lang="de-DE"/>
        </a:p>
      </dgm:t>
    </dgm:pt>
    <dgm:pt modelId="{60165A43-387F-48C1-9A6D-CDB9DC2B8430}">
      <dgm:prSet phldrT="[Text]" custT="1"/>
      <dgm:spPr/>
      <dgm:t>
        <a:bodyPr lIns="108000" rIns="108000" anchor="t" anchorCtr="0"/>
        <a:lstStyle/>
        <a:p>
          <a:pPr algn="ctr"/>
          <a:endParaRPr lang="de-DE" sz="1800" kern="1200">
            <a:latin typeface="Calibri" panose="020F0502020204030204" pitchFamily="34" charset="0"/>
            <a:cs typeface="Calibri" panose="020F0502020204030204" pitchFamily="34" charset="0"/>
          </a:endParaRPr>
        </a:p>
        <a:p>
          <a:pPr algn="l"/>
          <a:r>
            <a:rPr lang="de-DE" sz="1800" b="0" kern="1200">
              <a:latin typeface="Calibri" panose="020F0502020204030204" pitchFamily="34" charset="0"/>
              <a:cs typeface="Calibri" panose="020F0502020204030204" pitchFamily="34" charset="0"/>
            </a:rPr>
            <a:t>Text Phase 3</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algn="l"/>
          <a:r>
            <a:rPr lang="en-US" sz="1800" kern="1200">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gm:t>
    </dgm:pt>
    <dgm:pt modelId="{7B818567-8CD9-4F41-BB00-176963A304E0}" type="parTrans" cxnId="{326793B2-D1DB-41A0-9B7A-91690CBD1914}">
      <dgm:prSet/>
      <dgm:spPr/>
      <dgm:t>
        <a:bodyPr/>
        <a:lstStyle/>
        <a:p>
          <a:endParaRPr lang="de-DE"/>
        </a:p>
      </dgm:t>
    </dgm:pt>
    <dgm:pt modelId="{A20C13DE-89C7-41E8-A4A2-44CE8C7F3A82}" type="sibTrans" cxnId="{326793B2-D1DB-41A0-9B7A-91690CBD1914}">
      <dgm:prSet/>
      <dgm:spPr/>
      <dgm:t>
        <a:bodyPr/>
        <a:lstStyle/>
        <a:p>
          <a:endParaRPr lang="de-DE"/>
        </a:p>
      </dgm:t>
    </dgm:pt>
    <dgm:pt modelId="{C84332FE-BA2D-4E3A-B596-1F7D570FDBDC}">
      <dgm:prSet phldrT="[Text]" custT="1"/>
      <dgm:spPr/>
      <dgm:t>
        <a:bodyPr lIns="108000" rIns="108000" anchor="t" anchorCtr="0"/>
        <a:lstStyle/>
        <a:p>
          <a:pPr marL="0" lvl="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4</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en-US" sz="1800" kern="1200">
              <a:latin typeface="Calibri" panose="020F0502020204030204" pitchFamily="34" charset="0"/>
              <a:cs typeface="Calibri" panose="020F0502020204030204" pitchFamily="34" charset="0"/>
            </a:rPr>
            <a:t>Dummy text</a:t>
          </a:r>
          <a:endParaRPr lang="de-DE" sz="1800" kern="1200">
            <a:latin typeface="Calibri" panose="020F0502020204030204" pitchFamily="34" charset="0"/>
            <a:cs typeface="Calibri" panose="020F0502020204030204" pitchFamily="34" charset="0"/>
          </a:endParaRPr>
        </a:p>
      </dgm:t>
    </dgm:pt>
    <dgm:pt modelId="{1CF4CA44-FE56-4CE3-B513-6B0AA8660336}" type="parTrans" cxnId="{9E7CF060-AB35-4E5B-A20E-8260A214D4EB}">
      <dgm:prSet/>
      <dgm:spPr/>
      <dgm:t>
        <a:bodyPr/>
        <a:lstStyle/>
        <a:p>
          <a:endParaRPr lang="de-DE"/>
        </a:p>
      </dgm:t>
    </dgm:pt>
    <dgm:pt modelId="{56AEA3D6-0921-4F14-A536-6639BB6C77B0}" type="sibTrans" cxnId="{9E7CF060-AB35-4E5B-A20E-8260A214D4EB}">
      <dgm:prSet/>
      <dgm:spPr/>
      <dgm:t>
        <a:bodyPr/>
        <a:lstStyle/>
        <a:p>
          <a:endParaRPr lang="de-DE"/>
        </a:p>
      </dgm:t>
    </dgm:pt>
    <dgm:pt modelId="{6739F360-3A3D-4D48-9318-6DD1CAAAB06B}">
      <dgm:prSet phldrT="[Text]" custT="1"/>
      <dgm:spPr/>
      <dgm:t>
        <a:bodyPr lIns="108000" rIns="108000" anchor="t" anchorCtr="0"/>
        <a:lstStyle/>
        <a:p>
          <a:r>
            <a:rPr lang="en-US" sz="1800">
              <a:latin typeface="Calibri" panose="020F0502020204030204" pitchFamily="34" charset="0"/>
              <a:cs typeface="Calibri" panose="020F0502020204030204" pitchFamily="34" charset="0"/>
            </a:rPr>
            <a:t>Bullet 1</a:t>
          </a:r>
          <a:endParaRPr lang="de-DE" sz="1800">
            <a:latin typeface="Calibri" panose="020F0502020204030204" pitchFamily="34" charset="0"/>
            <a:cs typeface="Calibri" panose="020F0502020204030204" pitchFamily="34" charset="0"/>
          </a:endParaRPr>
        </a:p>
      </dgm:t>
    </dgm:pt>
    <dgm:pt modelId="{4E5F70DF-B890-47C8-8BEA-DC8FC9CF5083}" type="sibTrans" cxnId="{6F8514AC-6131-4A35-90AD-D7289116BB05}">
      <dgm:prSet/>
      <dgm:spPr/>
      <dgm:t>
        <a:bodyPr/>
        <a:lstStyle/>
        <a:p>
          <a:endParaRPr lang="de-DE"/>
        </a:p>
      </dgm:t>
    </dgm:pt>
    <dgm:pt modelId="{0EFD0371-0338-466E-9D6C-1A23492C1D5A}" type="parTrans" cxnId="{6F8514AC-6131-4A35-90AD-D7289116BB05}">
      <dgm:prSet/>
      <dgm:spPr/>
      <dgm:t>
        <a:bodyPr/>
        <a:lstStyle/>
        <a:p>
          <a:endParaRPr lang="de-DE"/>
        </a:p>
      </dgm:t>
    </dgm:pt>
    <dgm:pt modelId="{27E9E500-62EC-46C2-B7C8-3723367EE8E7}" type="pres">
      <dgm:prSet presAssocID="{BF372191-0C9C-40E7-8E87-45CA8E3AA4CF}" presName="Name0" presStyleCnt="0">
        <dgm:presLayoutVars>
          <dgm:dir/>
          <dgm:resizeHandles val="exact"/>
        </dgm:presLayoutVars>
      </dgm:prSet>
      <dgm:spPr/>
    </dgm:pt>
    <dgm:pt modelId="{32E9553A-2CF3-4DEA-AB3F-F65A55D7581E}" type="pres">
      <dgm:prSet presAssocID="{41D35DD2-60D8-418D-85EC-2DDDB1333EEC}" presName="node" presStyleLbl="node1" presStyleIdx="0" presStyleCnt="4" custScaleX="2000000">
        <dgm:presLayoutVars>
          <dgm:bulletEnabled val="1"/>
        </dgm:presLayoutVars>
      </dgm:prSet>
      <dgm:spPr/>
    </dgm:pt>
    <dgm:pt modelId="{354721F1-31E2-437B-87FF-1DCD623A0331}" type="pres">
      <dgm:prSet presAssocID="{F616E22F-A0A4-400D-A2EF-AB771AFFDA0D}" presName="sibTrans" presStyleCnt="0"/>
      <dgm:spPr/>
    </dgm:pt>
    <dgm:pt modelId="{32C5A92E-6BF7-4147-8D3B-45A0624571ED}" type="pres">
      <dgm:prSet presAssocID="{EE8AF158-0E30-4505-B8A3-A23D841EE20A}" presName="node" presStyleLbl="node1" presStyleIdx="1" presStyleCnt="4" custScaleX="2000000" custLinFactX="-722" custLinFactNeighborX="-100000">
        <dgm:presLayoutVars>
          <dgm:bulletEnabled val="1"/>
        </dgm:presLayoutVars>
      </dgm:prSet>
      <dgm:spPr/>
    </dgm:pt>
    <dgm:pt modelId="{F98F8A01-25FC-4155-B2B1-DB023B1A6F31}" type="pres">
      <dgm:prSet presAssocID="{9441BC0C-AF0E-4D63-8062-EC704073BDAE}" presName="sibTrans" presStyleCnt="0"/>
      <dgm:spPr/>
    </dgm:pt>
    <dgm:pt modelId="{0D7987FC-DBC8-4B03-95AC-7CE716B69BC3}" type="pres">
      <dgm:prSet presAssocID="{60165A43-387F-48C1-9A6D-CDB9DC2B8430}" presName="node" presStyleLbl="node1" presStyleIdx="2" presStyleCnt="4" custScaleX="2000000" custLinFactX="-8852" custLinFactNeighborX="-100000">
        <dgm:presLayoutVars>
          <dgm:bulletEnabled val="1"/>
        </dgm:presLayoutVars>
      </dgm:prSet>
      <dgm:spPr/>
    </dgm:pt>
    <dgm:pt modelId="{CAC38D8F-F77B-418F-9A56-E69D8EFBDE3E}" type="pres">
      <dgm:prSet presAssocID="{A20C13DE-89C7-41E8-A4A2-44CE8C7F3A82}" presName="sibTrans" presStyleCnt="0"/>
      <dgm:spPr/>
    </dgm:pt>
    <dgm:pt modelId="{64FECA9A-90D8-40C5-9C04-32EF5BF4A107}" type="pres">
      <dgm:prSet presAssocID="{C84332FE-BA2D-4E3A-B596-1F7D570FDBDC}" presName="node" presStyleLbl="node1" presStyleIdx="3" presStyleCnt="4" custScaleX="2000000" custLinFactX="-17611" custLinFactNeighborX="-100000">
        <dgm:presLayoutVars>
          <dgm:bulletEnabled val="1"/>
        </dgm:presLayoutVars>
      </dgm:prSet>
      <dgm:spPr/>
    </dgm:pt>
  </dgm:ptLst>
  <dgm:cxnLst>
    <dgm:cxn modelId="{42B4191B-AA71-43DD-B7AB-E77E73091A3D}" srcId="{BF372191-0C9C-40E7-8E87-45CA8E3AA4CF}" destId="{EE8AF158-0E30-4505-B8A3-A23D841EE20A}" srcOrd="1" destOrd="0" parTransId="{63AD07C9-E0D7-47A1-9B0E-8B9AD0943242}" sibTransId="{9441BC0C-AF0E-4D63-8062-EC704073BDAE}"/>
    <dgm:cxn modelId="{9E7CF060-AB35-4E5B-A20E-8260A214D4EB}" srcId="{BF372191-0C9C-40E7-8E87-45CA8E3AA4CF}" destId="{C84332FE-BA2D-4E3A-B596-1F7D570FDBDC}" srcOrd="3" destOrd="0" parTransId="{1CF4CA44-FE56-4CE3-B513-6B0AA8660336}" sibTransId="{56AEA3D6-0921-4F14-A536-6639BB6C77B0}"/>
    <dgm:cxn modelId="{42341C4E-0DB5-48CE-B829-9A8ACA39153C}" type="presOf" srcId="{60165A43-387F-48C1-9A6D-CDB9DC2B8430}" destId="{0D7987FC-DBC8-4B03-95AC-7CE716B69BC3}" srcOrd="0" destOrd="0" presId="urn:microsoft.com/office/officeart/2005/8/layout/hList6"/>
    <dgm:cxn modelId="{89641750-0E14-4BD0-9FCF-BA00DD5DD845}" type="presOf" srcId="{F1327EE5-B19C-44E8-BECC-3DD8D56DEB1B}" destId="{32E9553A-2CF3-4DEA-AB3F-F65A55D7581E}" srcOrd="0" destOrd="2" presId="urn:microsoft.com/office/officeart/2005/8/layout/hList6"/>
    <dgm:cxn modelId="{EE65E686-8852-4148-9116-50CC671776BE}" type="presOf" srcId="{C84332FE-BA2D-4E3A-B596-1F7D570FDBDC}" destId="{64FECA9A-90D8-40C5-9C04-32EF5BF4A107}" srcOrd="0" destOrd="0" presId="urn:microsoft.com/office/officeart/2005/8/layout/hList6"/>
    <dgm:cxn modelId="{542B9995-5998-4C5C-B379-1D415980D7C4}" type="presOf" srcId="{6739F360-3A3D-4D48-9318-6DD1CAAAB06B}" destId="{32E9553A-2CF3-4DEA-AB3F-F65A55D7581E}" srcOrd="0" destOrd="1" presId="urn:microsoft.com/office/officeart/2005/8/layout/hList6"/>
    <dgm:cxn modelId="{6F8514AC-6131-4A35-90AD-D7289116BB05}" srcId="{41D35DD2-60D8-418D-85EC-2DDDB1333EEC}" destId="{6739F360-3A3D-4D48-9318-6DD1CAAAB06B}" srcOrd="0" destOrd="0" parTransId="{0EFD0371-0338-466E-9D6C-1A23492C1D5A}" sibTransId="{4E5F70DF-B890-47C8-8BEA-DC8FC9CF5083}"/>
    <dgm:cxn modelId="{95B80FAF-C2D0-4DDB-A7AC-5497C7950D4A}" type="presOf" srcId="{EE8AF158-0E30-4505-B8A3-A23D841EE20A}" destId="{32C5A92E-6BF7-4147-8D3B-45A0624571ED}" srcOrd="0" destOrd="0" presId="urn:microsoft.com/office/officeart/2005/8/layout/hList6"/>
    <dgm:cxn modelId="{326793B2-D1DB-41A0-9B7A-91690CBD1914}" srcId="{BF372191-0C9C-40E7-8E87-45CA8E3AA4CF}" destId="{60165A43-387F-48C1-9A6D-CDB9DC2B8430}" srcOrd="2" destOrd="0" parTransId="{7B818567-8CD9-4F41-BB00-176963A304E0}" sibTransId="{A20C13DE-89C7-41E8-A4A2-44CE8C7F3A82}"/>
    <dgm:cxn modelId="{FCEA10CF-153D-4DF2-9E7A-CBFE2382D518}" srcId="{BF372191-0C9C-40E7-8E87-45CA8E3AA4CF}" destId="{41D35DD2-60D8-418D-85EC-2DDDB1333EEC}" srcOrd="0" destOrd="0" parTransId="{617E6F74-656E-4031-B0C9-6840FFD898DE}" sibTransId="{F616E22F-A0A4-400D-A2EF-AB771AFFDA0D}"/>
    <dgm:cxn modelId="{76213BD7-296A-436C-A49B-23941C6A30F7}" type="presOf" srcId="{BF372191-0C9C-40E7-8E87-45CA8E3AA4CF}" destId="{27E9E500-62EC-46C2-B7C8-3723367EE8E7}" srcOrd="0" destOrd="0" presId="urn:microsoft.com/office/officeart/2005/8/layout/hList6"/>
    <dgm:cxn modelId="{ED2B1FDF-C923-403B-912F-9EADBAEA238D}" srcId="{41D35DD2-60D8-418D-85EC-2DDDB1333EEC}" destId="{F1327EE5-B19C-44E8-BECC-3DD8D56DEB1B}" srcOrd="1" destOrd="0" parTransId="{BE1CEAA6-FF0C-48B7-A410-4A9AB2DEB41D}" sibTransId="{9D20CA89-5A5B-4A1B-8F03-45934064D1D7}"/>
    <dgm:cxn modelId="{80DD3DE9-85C5-46CF-8081-029E3F2E455A}" type="presOf" srcId="{41D35DD2-60D8-418D-85EC-2DDDB1333EEC}" destId="{32E9553A-2CF3-4DEA-AB3F-F65A55D7581E}" srcOrd="0" destOrd="0" presId="urn:microsoft.com/office/officeart/2005/8/layout/hList6"/>
    <dgm:cxn modelId="{21DBEA06-4A0F-4380-B799-A445590166B9}" type="presParOf" srcId="{27E9E500-62EC-46C2-B7C8-3723367EE8E7}" destId="{32E9553A-2CF3-4DEA-AB3F-F65A55D7581E}" srcOrd="0" destOrd="0" presId="urn:microsoft.com/office/officeart/2005/8/layout/hList6"/>
    <dgm:cxn modelId="{2809CFB1-CB12-4958-A710-357B61F07CCF}" type="presParOf" srcId="{27E9E500-62EC-46C2-B7C8-3723367EE8E7}" destId="{354721F1-31E2-437B-87FF-1DCD623A0331}" srcOrd="1" destOrd="0" presId="urn:microsoft.com/office/officeart/2005/8/layout/hList6"/>
    <dgm:cxn modelId="{D219A034-DBA9-4926-8904-723EA6DCD6FA}" type="presParOf" srcId="{27E9E500-62EC-46C2-B7C8-3723367EE8E7}" destId="{32C5A92E-6BF7-4147-8D3B-45A0624571ED}" srcOrd="2" destOrd="0" presId="urn:microsoft.com/office/officeart/2005/8/layout/hList6"/>
    <dgm:cxn modelId="{440649F8-F7DE-4A05-8721-07A47041511D}" type="presParOf" srcId="{27E9E500-62EC-46C2-B7C8-3723367EE8E7}" destId="{F98F8A01-25FC-4155-B2B1-DB023B1A6F31}" srcOrd="3" destOrd="0" presId="urn:microsoft.com/office/officeart/2005/8/layout/hList6"/>
    <dgm:cxn modelId="{9F49BF33-FF4D-4960-8284-A158ED87A694}" type="presParOf" srcId="{27E9E500-62EC-46C2-B7C8-3723367EE8E7}" destId="{0D7987FC-DBC8-4B03-95AC-7CE716B69BC3}" srcOrd="4" destOrd="0" presId="urn:microsoft.com/office/officeart/2005/8/layout/hList6"/>
    <dgm:cxn modelId="{64DF3763-3B95-4946-BE04-FD418C428C9E}" type="presParOf" srcId="{27E9E500-62EC-46C2-B7C8-3723367EE8E7}" destId="{CAC38D8F-F77B-418F-9A56-E69D8EFBDE3E}" srcOrd="5" destOrd="0" presId="urn:microsoft.com/office/officeart/2005/8/layout/hList6"/>
    <dgm:cxn modelId="{00BDA26C-7818-41DC-8CE8-703463AACF55}" type="presParOf" srcId="{27E9E500-62EC-46C2-B7C8-3723367EE8E7}" destId="{64FECA9A-90D8-40C5-9C04-32EF5BF4A107}" srcOrd="6" destOrd="0" presId="urn:microsoft.com/office/officeart/2005/8/layout/hList6"/>
  </dgm:cxnLst>
  <dgm:bg>
    <a:effect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E9553A-2CF3-4DEA-AB3F-F65A55D7581E}">
      <dsp:nvSpPr>
        <dsp:cNvPr id="0" name=""/>
        <dsp:cNvSpPr/>
      </dsp:nvSpPr>
      <dsp:spPr>
        <a:xfrm rot="16200000">
          <a:off x="-88930" y="95294"/>
          <a:ext cx="3059856" cy="2869266"/>
        </a:xfrm>
        <a:prstGeom prst="flowChartManualOperation">
          <a:avLst/>
        </a:prstGeom>
        <a:solidFill>
          <a:schemeClr val="accent1">
            <a:alpha val="9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1</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171450" lvl="1" indent="-171450" algn="l" defTabSz="800100">
            <a:lnSpc>
              <a:spcPct val="90000"/>
            </a:lnSpc>
            <a:spcBef>
              <a:spcPct val="0"/>
            </a:spcBef>
            <a:spcAft>
              <a:spcPct val="15000"/>
            </a:spcAft>
            <a:buChar char="•"/>
          </a:pPr>
          <a:r>
            <a:rPr lang="en-US" sz="1800" kern="1200">
              <a:latin typeface="Calibri" panose="020F0502020204030204" pitchFamily="34" charset="0"/>
              <a:cs typeface="Calibri" panose="020F0502020204030204" pitchFamily="34" charset="0"/>
            </a:rPr>
            <a:t>Bullet 1</a:t>
          </a:r>
          <a:endParaRPr lang="de-DE" sz="1800" kern="1200">
            <a:latin typeface="Calibri" panose="020F0502020204030204" pitchFamily="34" charset="0"/>
            <a:cs typeface="Calibri" panose="020F0502020204030204" pitchFamily="34" charset="0"/>
          </a:endParaRPr>
        </a:p>
        <a:p>
          <a:pPr marL="171450" lvl="1" indent="-171450" algn="l" defTabSz="800100">
            <a:lnSpc>
              <a:spcPct val="90000"/>
            </a:lnSpc>
            <a:spcBef>
              <a:spcPct val="0"/>
            </a:spcBef>
            <a:spcAft>
              <a:spcPct val="15000"/>
            </a:spcAft>
            <a:buChar char="•"/>
          </a:pPr>
          <a:r>
            <a:rPr lang="de-DE" sz="1800" kern="1200">
              <a:latin typeface="Calibri" panose="020F0502020204030204" pitchFamily="34" charset="0"/>
              <a:cs typeface="Calibri" panose="020F0502020204030204" pitchFamily="34" charset="0"/>
            </a:rPr>
            <a:t>Bullet 2</a:t>
          </a:r>
        </a:p>
      </dsp:txBody>
      <dsp:txXfrm rot="5400000">
        <a:off x="6365" y="611970"/>
        <a:ext cx="2869266" cy="1835914"/>
      </dsp:txXfrm>
    </dsp:sp>
    <dsp:sp modelId="{32C5A92E-6BF7-4147-8D3B-45A0624571ED}">
      <dsp:nvSpPr>
        <dsp:cNvPr id="0" name=""/>
        <dsp:cNvSpPr/>
      </dsp:nvSpPr>
      <dsp:spPr>
        <a:xfrm rot="16200000">
          <a:off x="2779300" y="95294"/>
          <a:ext cx="3059856" cy="2869266"/>
        </a:xfrm>
        <a:prstGeom prst="flowChartManualOperation">
          <a:avLst/>
        </a:prstGeom>
        <a:solidFill>
          <a:schemeClr val="accent1">
            <a:alpha val="90000"/>
            <a:hueOff val="0"/>
            <a:satOff val="0"/>
            <a:lumOff val="0"/>
            <a:alphaOff val="-13333"/>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2</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kern="1200" err="1">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sp:txBody>
      <dsp:txXfrm rot="5400000">
        <a:off x="2874595" y="611970"/>
        <a:ext cx="2869266" cy="1835914"/>
      </dsp:txXfrm>
    </dsp:sp>
    <dsp:sp modelId="{0D7987FC-DBC8-4B03-95AC-7CE716B69BC3}">
      <dsp:nvSpPr>
        <dsp:cNvPr id="0" name=""/>
        <dsp:cNvSpPr/>
      </dsp:nvSpPr>
      <dsp:spPr>
        <a:xfrm rot="16200000">
          <a:off x="5647663" y="95294"/>
          <a:ext cx="3059856" cy="2869266"/>
        </a:xfrm>
        <a:prstGeom prst="flowChartManualOperation">
          <a:avLst/>
        </a:prstGeom>
        <a:solidFill>
          <a:schemeClr val="accent1">
            <a:alpha val="90000"/>
            <a:hueOff val="0"/>
            <a:satOff val="0"/>
            <a:lumOff val="0"/>
            <a:alphaOff val="-26667"/>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ctr" defTabSz="800100">
            <a:lnSpc>
              <a:spcPct val="90000"/>
            </a:lnSpc>
            <a:spcBef>
              <a:spcPct val="0"/>
            </a:spcBef>
            <a:spcAft>
              <a:spcPct val="35000"/>
            </a:spcAft>
            <a:buNone/>
          </a:pPr>
          <a:endParaRPr lang="de-DE" sz="180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3</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en-US" sz="1800" kern="1200">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sp:txBody>
      <dsp:txXfrm rot="5400000">
        <a:off x="5742958" y="611970"/>
        <a:ext cx="2869266" cy="1835914"/>
      </dsp:txXfrm>
    </dsp:sp>
    <dsp:sp modelId="{64FECA9A-90D8-40C5-9C04-32EF5BF4A107}">
      <dsp:nvSpPr>
        <dsp:cNvPr id="0" name=""/>
        <dsp:cNvSpPr/>
      </dsp:nvSpPr>
      <dsp:spPr>
        <a:xfrm rot="16200000">
          <a:off x="8515124" y="95294"/>
          <a:ext cx="3059856" cy="2869266"/>
        </a:xfrm>
        <a:prstGeom prst="flowChartManualOperation">
          <a:avLst/>
        </a:prstGeom>
        <a:solidFill>
          <a:schemeClr val="accent1">
            <a:alpha val="90000"/>
            <a:hueOff val="0"/>
            <a:satOff val="0"/>
            <a:lumOff val="0"/>
            <a:alphaOff val="-40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4</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en-US" sz="1800" kern="1200">
              <a:latin typeface="Calibri" panose="020F0502020204030204" pitchFamily="34" charset="0"/>
              <a:cs typeface="Calibri" panose="020F0502020204030204" pitchFamily="34" charset="0"/>
            </a:rPr>
            <a:t>Dummy text</a:t>
          </a:r>
          <a:endParaRPr lang="de-DE" sz="1800" kern="1200">
            <a:latin typeface="Calibri" panose="020F0502020204030204" pitchFamily="34" charset="0"/>
            <a:cs typeface="Calibri" panose="020F0502020204030204" pitchFamily="34" charset="0"/>
          </a:endParaRPr>
        </a:p>
      </dsp:txBody>
      <dsp:txXfrm rot="5400000">
        <a:off x="8610419" y="611970"/>
        <a:ext cx="2869266" cy="183591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E9553A-2CF3-4DEA-AB3F-F65A55D7581E}">
      <dsp:nvSpPr>
        <dsp:cNvPr id="0" name=""/>
        <dsp:cNvSpPr/>
      </dsp:nvSpPr>
      <dsp:spPr>
        <a:xfrm rot="16200000">
          <a:off x="-88930" y="95294"/>
          <a:ext cx="3059856" cy="2869266"/>
        </a:xfrm>
        <a:prstGeom prst="flowChartManualOperation">
          <a:avLst/>
        </a:prstGeom>
        <a:solidFill>
          <a:schemeClr val="accent1">
            <a:alpha val="9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rtl="0">
            <a:lnSpc>
              <a:spcPct val="90000"/>
            </a:lnSpc>
            <a:spcBef>
              <a:spcPct val="0"/>
            </a:spcBef>
            <a:spcAft>
              <a:spcPct val="35000"/>
            </a:spcAft>
            <a:buNone/>
          </a:pPr>
          <a:endParaRPr lang="en-IE" sz="1800" b="0" kern="120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IE" sz="1800" b="0" kern="1200">
              <a:latin typeface="Calibri" panose="020F0502020204030204" pitchFamily="34" charset="0"/>
              <a:cs typeface="Calibri" panose="020F0502020204030204" pitchFamily="34" charset="0"/>
            </a:rPr>
            <a:t>Text Phase 1</a:t>
          </a:r>
          <a:br>
            <a:rPr lang="en-IE" sz="1800" b="0" kern="1200">
              <a:latin typeface="Calibri" panose="020F0502020204030204" pitchFamily="34" charset="0"/>
              <a:cs typeface="Calibri" panose="020F0502020204030204" pitchFamily="34" charset="0"/>
            </a:rPr>
          </a:br>
          <a:endParaRPr lang="en-IE" sz="1800" b="0" kern="1200">
            <a:latin typeface="Calibri" panose="020F0502020204030204" pitchFamily="34" charset="0"/>
            <a:cs typeface="Calibri" panose="020F0502020204030204" pitchFamily="34" charset="0"/>
          </a:endParaRPr>
        </a:p>
        <a:p>
          <a:pPr marL="171450" lvl="1" indent="-171450" algn="l" defTabSz="800100" rtl="0">
            <a:lnSpc>
              <a:spcPct val="90000"/>
            </a:lnSpc>
            <a:spcBef>
              <a:spcPct val="0"/>
            </a:spcBef>
            <a:spcAft>
              <a:spcPct val="15000"/>
            </a:spcAft>
            <a:buChar char="•"/>
          </a:pPr>
          <a:r>
            <a:rPr lang="en-IE" sz="1800" kern="1200">
              <a:latin typeface="Calibri" panose="020F0502020204030204" pitchFamily="34" charset="0"/>
              <a:cs typeface="Calibri" panose="020F0502020204030204" pitchFamily="34" charset="0"/>
            </a:rPr>
            <a:t>Bullet 1</a:t>
          </a:r>
        </a:p>
        <a:p>
          <a:pPr marL="171450" lvl="1" indent="-171450" algn="l" defTabSz="800100" rtl="0">
            <a:lnSpc>
              <a:spcPct val="90000"/>
            </a:lnSpc>
            <a:spcBef>
              <a:spcPct val="0"/>
            </a:spcBef>
            <a:spcAft>
              <a:spcPct val="15000"/>
            </a:spcAft>
            <a:buChar char="•"/>
          </a:pPr>
          <a:r>
            <a:rPr lang="en-IE" sz="1800" kern="1200">
              <a:latin typeface="Calibri" panose="020F0502020204030204" pitchFamily="34" charset="0"/>
              <a:cs typeface="Calibri" panose="020F0502020204030204" pitchFamily="34" charset="0"/>
            </a:rPr>
            <a:t>Bullet 2</a:t>
          </a:r>
        </a:p>
      </dsp:txBody>
      <dsp:txXfrm rot="5400000">
        <a:off x="6365" y="611970"/>
        <a:ext cx="2869266" cy="1835914"/>
      </dsp:txXfrm>
    </dsp:sp>
    <dsp:sp modelId="{32C5A92E-6BF7-4147-8D3B-45A0624571ED}">
      <dsp:nvSpPr>
        <dsp:cNvPr id="0" name=""/>
        <dsp:cNvSpPr/>
      </dsp:nvSpPr>
      <dsp:spPr>
        <a:xfrm rot="16200000">
          <a:off x="2779300" y="95294"/>
          <a:ext cx="3059856" cy="2869266"/>
        </a:xfrm>
        <a:prstGeom prst="flowChartManualOperation">
          <a:avLst/>
        </a:prstGeom>
        <a:solidFill>
          <a:schemeClr val="accent1">
            <a:alpha val="90000"/>
            <a:hueOff val="0"/>
            <a:satOff val="0"/>
            <a:lumOff val="0"/>
            <a:alphaOff val="-13333"/>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rtl="0">
            <a:lnSpc>
              <a:spcPct val="90000"/>
            </a:lnSpc>
            <a:spcBef>
              <a:spcPct val="0"/>
            </a:spcBef>
            <a:spcAft>
              <a:spcPct val="35000"/>
            </a:spcAft>
            <a:buNone/>
          </a:pPr>
          <a:endParaRPr lang="en-IE" sz="1800" b="0" kern="120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IE" sz="1800" b="0" kern="1200">
              <a:latin typeface="Calibri" panose="020F0502020204030204" pitchFamily="34" charset="0"/>
              <a:cs typeface="Calibri" panose="020F0502020204030204" pitchFamily="34" charset="0"/>
            </a:rPr>
            <a:t>Text Phase 2</a:t>
          </a:r>
          <a:br>
            <a:rPr lang="en-IE" sz="1800" b="0" kern="1200">
              <a:latin typeface="Calibri" panose="020F0502020204030204" pitchFamily="34" charset="0"/>
              <a:cs typeface="Calibri" panose="020F0502020204030204" pitchFamily="34" charset="0"/>
            </a:rPr>
          </a:br>
          <a:endParaRPr lang="en-IE" sz="1800" b="0" kern="120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IE" sz="1800" kern="1200">
              <a:latin typeface="Calibri" panose="020F0502020204030204" pitchFamily="34" charset="0"/>
              <a:cs typeface="Calibri" panose="020F0502020204030204" pitchFamily="34" charset="0"/>
            </a:rPr>
            <a:t>text</a:t>
          </a:r>
        </a:p>
      </dsp:txBody>
      <dsp:txXfrm rot="5400000">
        <a:off x="2874595" y="611970"/>
        <a:ext cx="2869266" cy="1835914"/>
      </dsp:txXfrm>
    </dsp:sp>
    <dsp:sp modelId="{0D7987FC-DBC8-4B03-95AC-7CE716B69BC3}">
      <dsp:nvSpPr>
        <dsp:cNvPr id="0" name=""/>
        <dsp:cNvSpPr/>
      </dsp:nvSpPr>
      <dsp:spPr>
        <a:xfrm rot="16200000">
          <a:off x="5647663" y="95294"/>
          <a:ext cx="3059856" cy="2869266"/>
        </a:xfrm>
        <a:prstGeom prst="flowChartManualOperation">
          <a:avLst/>
        </a:prstGeom>
        <a:solidFill>
          <a:schemeClr val="accent1">
            <a:alpha val="90000"/>
            <a:hueOff val="0"/>
            <a:satOff val="0"/>
            <a:lumOff val="0"/>
            <a:alphaOff val="-26667"/>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ctr" defTabSz="800100" rtl="0">
            <a:lnSpc>
              <a:spcPct val="90000"/>
            </a:lnSpc>
            <a:spcBef>
              <a:spcPct val="0"/>
            </a:spcBef>
            <a:spcAft>
              <a:spcPct val="35000"/>
            </a:spcAft>
            <a:buNone/>
          </a:pPr>
          <a:endParaRPr lang="en-IE" sz="1800" kern="120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IE" sz="1800" b="0" kern="1200">
              <a:latin typeface="Calibri" panose="020F0502020204030204" pitchFamily="34" charset="0"/>
              <a:cs typeface="Calibri" panose="020F0502020204030204" pitchFamily="34" charset="0"/>
            </a:rPr>
            <a:t>Text Phase 3</a:t>
          </a:r>
          <a:br>
            <a:rPr lang="en-IE" sz="1800" b="0" kern="1200">
              <a:latin typeface="Calibri" panose="020F0502020204030204" pitchFamily="34" charset="0"/>
              <a:cs typeface="Calibri" panose="020F0502020204030204" pitchFamily="34" charset="0"/>
            </a:rPr>
          </a:br>
          <a:endParaRPr lang="en-IE" sz="1800" b="0" kern="120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IE" sz="1800" kern="1200">
              <a:latin typeface="Calibri" panose="020F0502020204030204" pitchFamily="34" charset="0"/>
              <a:cs typeface="Calibri" panose="020F0502020204030204" pitchFamily="34" charset="0"/>
            </a:rPr>
            <a:t>text</a:t>
          </a:r>
        </a:p>
      </dsp:txBody>
      <dsp:txXfrm rot="5400000">
        <a:off x="5742958" y="611970"/>
        <a:ext cx="2869266" cy="1835914"/>
      </dsp:txXfrm>
    </dsp:sp>
    <dsp:sp modelId="{64FECA9A-90D8-40C5-9C04-32EF5BF4A107}">
      <dsp:nvSpPr>
        <dsp:cNvPr id="0" name=""/>
        <dsp:cNvSpPr/>
      </dsp:nvSpPr>
      <dsp:spPr>
        <a:xfrm rot="16200000">
          <a:off x="8515124" y="95294"/>
          <a:ext cx="3059856" cy="2869266"/>
        </a:xfrm>
        <a:prstGeom prst="flowChartManualOperation">
          <a:avLst/>
        </a:prstGeom>
        <a:solidFill>
          <a:schemeClr val="accent1">
            <a:alpha val="90000"/>
            <a:hueOff val="0"/>
            <a:satOff val="0"/>
            <a:lumOff val="0"/>
            <a:alphaOff val="-40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rtl="0">
            <a:lnSpc>
              <a:spcPct val="90000"/>
            </a:lnSpc>
            <a:spcBef>
              <a:spcPct val="0"/>
            </a:spcBef>
            <a:spcAft>
              <a:spcPct val="35000"/>
            </a:spcAft>
            <a:buNone/>
          </a:pPr>
          <a:endParaRPr lang="en-IE" sz="1800" b="0" kern="120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IE" sz="1800" b="0" kern="1200">
              <a:latin typeface="Calibri" panose="020F0502020204030204" pitchFamily="34" charset="0"/>
              <a:cs typeface="Calibri" panose="020F0502020204030204" pitchFamily="34" charset="0"/>
            </a:rPr>
            <a:t>Text Phase 4</a:t>
          </a:r>
          <a:br>
            <a:rPr lang="en-IE" sz="1800" b="0" kern="1200">
              <a:latin typeface="Calibri" panose="020F0502020204030204" pitchFamily="34" charset="0"/>
              <a:cs typeface="Calibri" panose="020F0502020204030204" pitchFamily="34" charset="0"/>
            </a:rPr>
          </a:br>
          <a:endParaRPr lang="en-IE" sz="1800" b="0" kern="120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IE" sz="1800" kern="1200">
              <a:latin typeface="Calibri" panose="020F0502020204030204" pitchFamily="34" charset="0"/>
              <a:cs typeface="Calibri" panose="020F0502020204030204" pitchFamily="34" charset="0"/>
            </a:rPr>
            <a:t>Dummy text</a:t>
          </a:r>
        </a:p>
      </dsp:txBody>
      <dsp:txXfrm rot="5400000">
        <a:off x="8610419" y="611970"/>
        <a:ext cx="2869266" cy="183591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E9553A-2CF3-4DEA-AB3F-F65A55D7581E}">
      <dsp:nvSpPr>
        <dsp:cNvPr id="0" name=""/>
        <dsp:cNvSpPr/>
      </dsp:nvSpPr>
      <dsp:spPr>
        <a:xfrm rot="16200000">
          <a:off x="-88930" y="95294"/>
          <a:ext cx="3059856" cy="2869266"/>
        </a:xfrm>
        <a:prstGeom prst="flowChartManualOperation">
          <a:avLst/>
        </a:prstGeom>
        <a:solidFill>
          <a:schemeClr val="accent1">
            <a:alpha val="9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1</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171450" lvl="1" indent="-171450" algn="l" defTabSz="800100">
            <a:lnSpc>
              <a:spcPct val="90000"/>
            </a:lnSpc>
            <a:spcBef>
              <a:spcPct val="0"/>
            </a:spcBef>
            <a:spcAft>
              <a:spcPct val="15000"/>
            </a:spcAft>
            <a:buChar char="•"/>
          </a:pPr>
          <a:r>
            <a:rPr lang="en-US" sz="1800" kern="1200">
              <a:latin typeface="Calibri" panose="020F0502020204030204" pitchFamily="34" charset="0"/>
              <a:cs typeface="Calibri" panose="020F0502020204030204" pitchFamily="34" charset="0"/>
            </a:rPr>
            <a:t>Bullet 1</a:t>
          </a:r>
          <a:endParaRPr lang="de-DE" sz="1800" kern="1200">
            <a:latin typeface="Calibri" panose="020F0502020204030204" pitchFamily="34" charset="0"/>
            <a:cs typeface="Calibri" panose="020F0502020204030204" pitchFamily="34" charset="0"/>
          </a:endParaRPr>
        </a:p>
        <a:p>
          <a:pPr marL="171450" lvl="1" indent="-171450" algn="l" defTabSz="800100">
            <a:lnSpc>
              <a:spcPct val="90000"/>
            </a:lnSpc>
            <a:spcBef>
              <a:spcPct val="0"/>
            </a:spcBef>
            <a:spcAft>
              <a:spcPct val="15000"/>
            </a:spcAft>
            <a:buChar char="•"/>
          </a:pPr>
          <a:r>
            <a:rPr lang="de-DE" sz="1800" kern="1200">
              <a:latin typeface="Calibri" panose="020F0502020204030204" pitchFamily="34" charset="0"/>
              <a:cs typeface="Calibri" panose="020F0502020204030204" pitchFamily="34" charset="0"/>
            </a:rPr>
            <a:t>Bullet 2</a:t>
          </a:r>
        </a:p>
      </dsp:txBody>
      <dsp:txXfrm rot="5400000">
        <a:off x="6365" y="611970"/>
        <a:ext cx="2869266" cy="1835914"/>
      </dsp:txXfrm>
    </dsp:sp>
    <dsp:sp modelId="{32C5A92E-6BF7-4147-8D3B-45A0624571ED}">
      <dsp:nvSpPr>
        <dsp:cNvPr id="0" name=""/>
        <dsp:cNvSpPr/>
      </dsp:nvSpPr>
      <dsp:spPr>
        <a:xfrm rot="16200000">
          <a:off x="2779300" y="95294"/>
          <a:ext cx="3059856" cy="2869266"/>
        </a:xfrm>
        <a:prstGeom prst="flowChartManualOperation">
          <a:avLst/>
        </a:prstGeom>
        <a:solidFill>
          <a:schemeClr val="accent1">
            <a:alpha val="90000"/>
            <a:hueOff val="0"/>
            <a:satOff val="0"/>
            <a:lumOff val="0"/>
            <a:alphaOff val="-13333"/>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2</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kern="1200" err="1">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sp:txBody>
      <dsp:txXfrm rot="5400000">
        <a:off x="2874595" y="611970"/>
        <a:ext cx="2869266" cy="1835914"/>
      </dsp:txXfrm>
    </dsp:sp>
    <dsp:sp modelId="{0D7987FC-DBC8-4B03-95AC-7CE716B69BC3}">
      <dsp:nvSpPr>
        <dsp:cNvPr id="0" name=""/>
        <dsp:cNvSpPr/>
      </dsp:nvSpPr>
      <dsp:spPr>
        <a:xfrm rot="16200000">
          <a:off x="5647663" y="95294"/>
          <a:ext cx="3059856" cy="2869266"/>
        </a:xfrm>
        <a:prstGeom prst="flowChartManualOperation">
          <a:avLst/>
        </a:prstGeom>
        <a:solidFill>
          <a:schemeClr val="accent1">
            <a:alpha val="90000"/>
            <a:hueOff val="0"/>
            <a:satOff val="0"/>
            <a:lumOff val="0"/>
            <a:alphaOff val="-26667"/>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ctr" defTabSz="800100">
            <a:lnSpc>
              <a:spcPct val="90000"/>
            </a:lnSpc>
            <a:spcBef>
              <a:spcPct val="0"/>
            </a:spcBef>
            <a:spcAft>
              <a:spcPct val="35000"/>
            </a:spcAft>
            <a:buNone/>
          </a:pPr>
          <a:endParaRPr lang="de-DE" sz="180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3</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en-US" sz="1800" kern="1200">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sp:txBody>
      <dsp:txXfrm rot="5400000">
        <a:off x="5742958" y="611970"/>
        <a:ext cx="2869266" cy="1835914"/>
      </dsp:txXfrm>
    </dsp:sp>
    <dsp:sp modelId="{64FECA9A-90D8-40C5-9C04-32EF5BF4A107}">
      <dsp:nvSpPr>
        <dsp:cNvPr id="0" name=""/>
        <dsp:cNvSpPr/>
      </dsp:nvSpPr>
      <dsp:spPr>
        <a:xfrm rot="16200000">
          <a:off x="8515124" y="95294"/>
          <a:ext cx="3059856" cy="2869266"/>
        </a:xfrm>
        <a:prstGeom prst="flowChartManualOperation">
          <a:avLst/>
        </a:prstGeom>
        <a:solidFill>
          <a:schemeClr val="accent1">
            <a:alpha val="90000"/>
            <a:hueOff val="0"/>
            <a:satOff val="0"/>
            <a:lumOff val="0"/>
            <a:alphaOff val="-40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4</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en-US" sz="1800" kern="1200">
              <a:latin typeface="Calibri" panose="020F0502020204030204" pitchFamily="34" charset="0"/>
              <a:cs typeface="Calibri" panose="020F0502020204030204" pitchFamily="34" charset="0"/>
            </a:rPr>
            <a:t>Dummy text</a:t>
          </a:r>
          <a:endParaRPr lang="de-DE" sz="1800" kern="1200">
            <a:latin typeface="Calibri" panose="020F0502020204030204" pitchFamily="34" charset="0"/>
            <a:cs typeface="Calibri" panose="020F0502020204030204" pitchFamily="34" charset="0"/>
          </a:endParaRPr>
        </a:p>
      </dsp:txBody>
      <dsp:txXfrm rot="5400000">
        <a:off x="8610419" y="611970"/>
        <a:ext cx="2869266" cy="183591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E9553A-2CF3-4DEA-AB3F-F65A55D7581E}">
      <dsp:nvSpPr>
        <dsp:cNvPr id="0" name=""/>
        <dsp:cNvSpPr/>
      </dsp:nvSpPr>
      <dsp:spPr>
        <a:xfrm rot="16200000">
          <a:off x="-88930" y="95294"/>
          <a:ext cx="3059856" cy="2869266"/>
        </a:xfrm>
        <a:prstGeom prst="flowChartManualOperation">
          <a:avLst/>
        </a:prstGeom>
        <a:solidFill>
          <a:schemeClr val="accent1">
            <a:alpha val="9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1</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171450" lvl="1" indent="-171450" algn="l" defTabSz="800100">
            <a:lnSpc>
              <a:spcPct val="90000"/>
            </a:lnSpc>
            <a:spcBef>
              <a:spcPct val="0"/>
            </a:spcBef>
            <a:spcAft>
              <a:spcPct val="15000"/>
            </a:spcAft>
            <a:buChar char="•"/>
          </a:pPr>
          <a:r>
            <a:rPr lang="en-US" sz="1800" kern="1200">
              <a:latin typeface="Calibri" panose="020F0502020204030204" pitchFamily="34" charset="0"/>
              <a:cs typeface="Calibri" panose="020F0502020204030204" pitchFamily="34" charset="0"/>
            </a:rPr>
            <a:t>Bullet 1</a:t>
          </a:r>
          <a:endParaRPr lang="de-DE" sz="1800" kern="1200">
            <a:latin typeface="Calibri" panose="020F0502020204030204" pitchFamily="34" charset="0"/>
            <a:cs typeface="Calibri" panose="020F0502020204030204" pitchFamily="34" charset="0"/>
          </a:endParaRPr>
        </a:p>
        <a:p>
          <a:pPr marL="171450" lvl="1" indent="-171450" algn="l" defTabSz="800100">
            <a:lnSpc>
              <a:spcPct val="90000"/>
            </a:lnSpc>
            <a:spcBef>
              <a:spcPct val="0"/>
            </a:spcBef>
            <a:spcAft>
              <a:spcPct val="15000"/>
            </a:spcAft>
            <a:buChar char="•"/>
          </a:pPr>
          <a:r>
            <a:rPr lang="de-DE" sz="1800" kern="1200">
              <a:latin typeface="Calibri" panose="020F0502020204030204" pitchFamily="34" charset="0"/>
              <a:cs typeface="Calibri" panose="020F0502020204030204" pitchFamily="34" charset="0"/>
            </a:rPr>
            <a:t>Bullet 2</a:t>
          </a:r>
        </a:p>
      </dsp:txBody>
      <dsp:txXfrm rot="5400000">
        <a:off x="6365" y="611970"/>
        <a:ext cx="2869266" cy="1835914"/>
      </dsp:txXfrm>
    </dsp:sp>
    <dsp:sp modelId="{32C5A92E-6BF7-4147-8D3B-45A0624571ED}">
      <dsp:nvSpPr>
        <dsp:cNvPr id="0" name=""/>
        <dsp:cNvSpPr/>
      </dsp:nvSpPr>
      <dsp:spPr>
        <a:xfrm rot="16200000">
          <a:off x="2779300" y="95294"/>
          <a:ext cx="3059856" cy="2869266"/>
        </a:xfrm>
        <a:prstGeom prst="flowChartManualOperation">
          <a:avLst/>
        </a:prstGeom>
        <a:solidFill>
          <a:schemeClr val="accent1">
            <a:alpha val="90000"/>
            <a:hueOff val="0"/>
            <a:satOff val="0"/>
            <a:lumOff val="0"/>
            <a:alphaOff val="-13333"/>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2</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kern="1200" err="1">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sp:txBody>
      <dsp:txXfrm rot="5400000">
        <a:off x="2874595" y="611970"/>
        <a:ext cx="2869266" cy="1835914"/>
      </dsp:txXfrm>
    </dsp:sp>
    <dsp:sp modelId="{0D7987FC-DBC8-4B03-95AC-7CE716B69BC3}">
      <dsp:nvSpPr>
        <dsp:cNvPr id="0" name=""/>
        <dsp:cNvSpPr/>
      </dsp:nvSpPr>
      <dsp:spPr>
        <a:xfrm rot="16200000">
          <a:off x="5647663" y="95294"/>
          <a:ext cx="3059856" cy="2869266"/>
        </a:xfrm>
        <a:prstGeom prst="flowChartManualOperation">
          <a:avLst/>
        </a:prstGeom>
        <a:solidFill>
          <a:schemeClr val="accent1">
            <a:alpha val="90000"/>
            <a:hueOff val="0"/>
            <a:satOff val="0"/>
            <a:lumOff val="0"/>
            <a:alphaOff val="-26667"/>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ctr" defTabSz="800100">
            <a:lnSpc>
              <a:spcPct val="90000"/>
            </a:lnSpc>
            <a:spcBef>
              <a:spcPct val="0"/>
            </a:spcBef>
            <a:spcAft>
              <a:spcPct val="35000"/>
            </a:spcAft>
            <a:buNone/>
          </a:pPr>
          <a:endParaRPr lang="de-DE" sz="180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3</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en-US" sz="1800" kern="1200">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sp:txBody>
      <dsp:txXfrm rot="5400000">
        <a:off x="5742958" y="611970"/>
        <a:ext cx="2869266" cy="1835914"/>
      </dsp:txXfrm>
    </dsp:sp>
    <dsp:sp modelId="{64FECA9A-90D8-40C5-9C04-32EF5BF4A107}">
      <dsp:nvSpPr>
        <dsp:cNvPr id="0" name=""/>
        <dsp:cNvSpPr/>
      </dsp:nvSpPr>
      <dsp:spPr>
        <a:xfrm rot="16200000">
          <a:off x="8515124" y="95294"/>
          <a:ext cx="3059856" cy="2869266"/>
        </a:xfrm>
        <a:prstGeom prst="flowChartManualOperation">
          <a:avLst/>
        </a:prstGeom>
        <a:solidFill>
          <a:schemeClr val="accent1">
            <a:alpha val="90000"/>
            <a:hueOff val="0"/>
            <a:satOff val="0"/>
            <a:lumOff val="0"/>
            <a:alphaOff val="-40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4</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en-US" sz="1800" kern="1200">
              <a:latin typeface="Calibri" panose="020F0502020204030204" pitchFamily="34" charset="0"/>
              <a:cs typeface="Calibri" panose="020F0502020204030204" pitchFamily="34" charset="0"/>
            </a:rPr>
            <a:t>Dummy text</a:t>
          </a:r>
          <a:endParaRPr lang="de-DE" sz="1800" kern="1200">
            <a:latin typeface="Calibri" panose="020F0502020204030204" pitchFamily="34" charset="0"/>
            <a:cs typeface="Calibri" panose="020F0502020204030204" pitchFamily="34" charset="0"/>
          </a:endParaRPr>
        </a:p>
      </dsp:txBody>
      <dsp:txXfrm rot="5400000">
        <a:off x="8610419" y="611970"/>
        <a:ext cx="2869266" cy="183591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E9553A-2CF3-4DEA-AB3F-F65A55D7581E}">
      <dsp:nvSpPr>
        <dsp:cNvPr id="0" name=""/>
        <dsp:cNvSpPr/>
      </dsp:nvSpPr>
      <dsp:spPr>
        <a:xfrm rot="16200000">
          <a:off x="-88930" y="95294"/>
          <a:ext cx="3059856" cy="2869266"/>
        </a:xfrm>
        <a:prstGeom prst="flowChartManualOperation">
          <a:avLst/>
        </a:prstGeom>
        <a:solidFill>
          <a:schemeClr val="accent1">
            <a:alpha val="9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1</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171450" lvl="1" indent="-171450" algn="l" defTabSz="800100">
            <a:lnSpc>
              <a:spcPct val="90000"/>
            </a:lnSpc>
            <a:spcBef>
              <a:spcPct val="0"/>
            </a:spcBef>
            <a:spcAft>
              <a:spcPct val="15000"/>
            </a:spcAft>
            <a:buChar char="•"/>
          </a:pPr>
          <a:r>
            <a:rPr lang="en-US" sz="1800" kern="1200">
              <a:latin typeface="Calibri" panose="020F0502020204030204" pitchFamily="34" charset="0"/>
              <a:cs typeface="Calibri" panose="020F0502020204030204" pitchFamily="34" charset="0"/>
            </a:rPr>
            <a:t>Bullet 1</a:t>
          </a:r>
          <a:endParaRPr lang="de-DE" sz="1800" kern="1200">
            <a:latin typeface="Calibri" panose="020F0502020204030204" pitchFamily="34" charset="0"/>
            <a:cs typeface="Calibri" panose="020F0502020204030204" pitchFamily="34" charset="0"/>
          </a:endParaRPr>
        </a:p>
        <a:p>
          <a:pPr marL="171450" lvl="1" indent="-171450" algn="l" defTabSz="800100">
            <a:lnSpc>
              <a:spcPct val="90000"/>
            </a:lnSpc>
            <a:spcBef>
              <a:spcPct val="0"/>
            </a:spcBef>
            <a:spcAft>
              <a:spcPct val="15000"/>
            </a:spcAft>
            <a:buChar char="•"/>
          </a:pPr>
          <a:r>
            <a:rPr lang="de-DE" sz="1800" kern="1200">
              <a:latin typeface="Calibri" panose="020F0502020204030204" pitchFamily="34" charset="0"/>
              <a:cs typeface="Calibri" panose="020F0502020204030204" pitchFamily="34" charset="0"/>
            </a:rPr>
            <a:t>Bullet 2</a:t>
          </a:r>
        </a:p>
      </dsp:txBody>
      <dsp:txXfrm rot="5400000">
        <a:off x="6365" y="611970"/>
        <a:ext cx="2869266" cy="1835914"/>
      </dsp:txXfrm>
    </dsp:sp>
    <dsp:sp modelId="{32C5A92E-6BF7-4147-8D3B-45A0624571ED}">
      <dsp:nvSpPr>
        <dsp:cNvPr id="0" name=""/>
        <dsp:cNvSpPr/>
      </dsp:nvSpPr>
      <dsp:spPr>
        <a:xfrm rot="16200000">
          <a:off x="2779300" y="95294"/>
          <a:ext cx="3059856" cy="2869266"/>
        </a:xfrm>
        <a:prstGeom prst="flowChartManualOperation">
          <a:avLst/>
        </a:prstGeom>
        <a:solidFill>
          <a:schemeClr val="accent1">
            <a:alpha val="90000"/>
            <a:hueOff val="0"/>
            <a:satOff val="0"/>
            <a:lumOff val="0"/>
            <a:alphaOff val="-13333"/>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2</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kern="1200" err="1">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sp:txBody>
      <dsp:txXfrm rot="5400000">
        <a:off x="2874595" y="611970"/>
        <a:ext cx="2869266" cy="1835914"/>
      </dsp:txXfrm>
    </dsp:sp>
    <dsp:sp modelId="{0D7987FC-DBC8-4B03-95AC-7CE716B69BC3}">
      <dsp:nvSpPr>
        <dsp:cNvPr id="0" name=""/>
        <dsp:cNvSpPr/>
      </dsp:nvSpPr>
      <dsp:spPr>
        <a:xfrm rot="16200000">
          <a:off x="5647663" y="95294"/>
          <a:ext cx="3059856" cy="2869266"/>
        </a:xfrm>
        <a:prstGeom prst="flowChartManualOperation">
          <a:avLst/>
        </a:prstGeom>
        <a:solidFill>
          <a:schemeClr val="accent1">
            <a:alpha val="90000"/>
            <a:hueOff val="0"/>
            <a:satOff val="0"/>
            <a:lumOff val="0"/>
            <a:alphaOff val="-26667"/>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ctr" defTabSz="800100">
            <a:lnSpc>
              <a:spcPct val="90000"/>
            </a:lnSpc>
            <a:spcBef>
              <a:spcPct val="0"/>
            </a:spcBef>
            <a:spcAft>
              <a:spcPct val="35000"/>
            </a:spcAft>
            <a:buNone/>
          </a:pPr>
          <a:endParaRPr lang="de-DE" sz="180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3</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en-US" sz="1800" kern="1200">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sp:txBody>
      <dsp:txXfrm rot="5400000">
        <a:off x="5742958" y="611970"/>
        <a:ext cx="2869266" cy="1835914"/>
      </dsp:txXfrm>
    </dsp:sp>
    <dsp:sp modelId="{64FECA9A-90D8-40C5-9C04-32EF5BF4A107}">
      <dsp:nvSpPr>
        <dsp:cNvPr id="0" name=""/>
        <dsp:cNvSpPr/>
      </dsp:nvSpPr>
      <dsp:spPr>
        <a:xfrm rot="16200000">
          <a:off x="8515124" y="95294"/>
          <a:ext cx="3059856" cy="2869266"/>
        </a:xfrm>
        <a:prstGeom prst="flowChartManualOperation">
          <a:avLst/>
        </a:prstGeom>
        <a:solidFill>
          <a:schemeClr val="accent1">
            <a:alpha val="90000"/>
            <a:hueOff val="0"/>
            <a:satOff val="0"/>
            <a:lumOff val="0"/>
            <a:alphaOff val="-40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4</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en-US" sz="1800" kern="1200">
              <a:latin typeface="Calibri" panose="020F0502020204030204" pitchFamily="34" charset="0"/>
              <a:cs typeface="Calibri" panose="020F0502020204030204" pitchFamily="34" charset="0"/>
            </a:rPr>
            <a:t>Dummy text</a:t>
          </a:r>
          <a:endParaRPr lang="de-DE" sz="1800" kern="1200">
            <a:latin typeface="Calibri" panose="020F0502020204030204" pitchFamily="34" charset="0"/>
            <a:cs typeface="Calibri" panose="020F0502020204030204" pitchFamily="34" charset="0"/>
          </a:endParaRPr>
        </a:p>
      </dsp:txBody>
      <dsp:txXfrm rot="5400000">
        <a:off x="8610419" y="611970"/>
        <a:ext cx="2869266" cy="1835914"/>
      </dsp:txXfrm>
    </dsp:sp>
  </dsp:spTree>
</dsp:drawing>
</file>

<file path=ppt/diagrams/layout1.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cs typeface="+mn-cs"/>
              </a:defRPr>
            </a:lvl1pPr>
          </a:lstStyle>
          <a:p>
            <a:pPr>
              <a:defRPr/>
            </a:pPr>
            <a:endParaRPr lang="x-non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a:latin typeface="+mn-lt"/>
                <a:cs typeface="+mn-cs"/>
              </a:defRPr>
            </a:lvl1pPr>
          </a:lstStyle>
          <a:p>
            <a:pPr>
              <a:defRPr/>
            </a:pPr>
            <a:fld id="{74C4ECBF-791F-4789-982B-C01F8A3C5135}" type="datetimeFigureOut">
              <a:rPr lang="nl-NL"/>
              <a:pPr>
                <a:defRPr/>
              </a:pPr>
              <a:t>4-2-2026</a:t>
            </a:fld>
            <a:endParaRPr lang="x-non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x-none" noProof="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x-none" noProof="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cs typeface="+mn-cs"/>
              </a:defRPr>
            </a:lvl1pPr>
          </a:lstStyle>
          <a:p>
            <a:pPr>
              <a:defRPr/>
            </a:pPr>
            <a:endParaRPr lang="x-non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atin typeface="Calibri" panose="020F0502020204030204" pitchFamily="34" charset="0"/>
              </a:defRPr>
            </a:lvl1pPr>
          </a:lstStyle>
          <a:p>
            <a:pPr>
              <a:defRPr/>
            </a:pPr>
            <a:fld id="{A045414F-68C1-4FE2-AED4-C419B78A5B65}" type="slidenum">
              <a:rPr lang="nl-NL" altLang="nl-NL"/>
              <a:pPr>
                <a:defRPr/>
              </a:pPr>
              <a:t>‹#›</a:t>
            </a:fld>
            <a:endParaRPr lang="nl-NL" altLang="nl-NL"/>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A045414F-68C1-4FE2-AED4-C419B78A5B65}" type="slidenum">
              <a:rPr lang="nl-NL" altLang="nl-NL" smtClean="0"/>
              <a:pPr>
                <a:defRPr/>
              </a:pPr>
              <a:t>8</a:t>
            </a:fld>
            <a:endParaRPr lang="nl-NL" altLang="nl-NL"/>
          </a:p>
        </p:txBody>
      </p:sp>
    </p:spTree>
    <p:extLst>
      <p:ext uri="{BB962C8B-B14F-4D97-AF65-F5344CB8AC3E}">
        <p14:creationId xmlns:p14="http://schemas.microsoft.com/office/powerpoint/2010/main" val="28375399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07E9A4-C64D-B753-618D-97B09FFFA2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1E5155-202F-E12E-7670-1D6C1D809A6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39C182B-0023-0C8D-1E20-525B83BA9C0F}"/>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0453FFAE-E8D3-444D-DDDC-65A20DB37222}"/>
              </a:ext>
            </a:extLst>
          </p:cNvPr>
          <p:cNvSpPr>
            <a:spLocks noGrp="1"/>
          </p:cNvSpPr>
          <p:nvPr>
            <p:ph type="sldNum" sz="quarter" idx="5"/>
          </p:nvPr>
        </p:nvSpPr>
        <p:spPr/>
        <p:txBody>
          <a:bodyPr/>
          <a:lstStyle/>
          <a:p>
            <a:pPr>
              <a:defRPr/>
            </a:pPr>
            <a:fld id="{A045414F-68C1-4FE2-AED4-C419B78A5B65}" type="slidenum">
              <a:rPr lang="nl-NL" altLang="nl-NL" smtClean="0"/>
              <a:pPr>
                <a:defRPr/>
              </a:pPr>
              <a:t>9</a:t>
            </a:fld>
            <a:endParaRPr lang="nl-NL" altLang="nl-NL"/>
          </a:p>
        </p:txBody>
      </p:sp>
    </p:spTree>
    <p:extLst>
      <p:ext uri="{BB962C8B-B14F-4D97-AF65-F5344CB8AC3E}">
        <p14:creationId xmlns:p14="http://schemas.microsoft.com/office/powerpoint/2010/main" val="15871089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40EC9B-117C-7001-9477-F68246F46E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640F130-41F0-90BE-B891-1C19A9CEAFF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A2B721B-8D56-71B7-FC21-CE71D035EEC4}"/>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12B91EC7-D76D-3ED9-1007-CDEFCB69B7D4}"/>
              </a:ext>
            </a:extLst>
          </p:cNvPr>
          <p:cNvSpPr>
            <a:spLocks noGrp="1"/>
          </p:cNvSpPr>
          <p:nvPr>
            <p:ph type="sldNum" sz="quarter" idx="5"/>
          </p:nvPr>
        </p:nvSpPr>
        <p:spPr/>
        <p:txBody>
          <a:bodyPr/>
          <a:lstStyle/>
          <a:p>
            <a:pPr>
              <a:defRPr/>
            </a:pPr>
            <a:fld id="{A045414F-68C1-4FE2-AED4-C419B78A5B65}" type="slidenum">
              <a:rPr lang="nl-NL" altLang="nl-NL" smtClean="0"/>
              <a:pPr>
                <a:defRPr/>
              </a:pPr>
              <a:t>10</a:t>
            </a:fld>
            <a:endParaRPr lang="nl-NL" altLang="nl-NL"/>
          </a:p>
        </p:txBody>
      </p:sp>
    </p:spTree>
    <p:extLst>
      <p:ext uri="{BB962C8B-B14F-4D97-AF65-F5344CB8AC3E}">
        <p14:creationId xmlns:p14="http://schemas.microsoft.com/office/powerpoint/2010/main" val="22854828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8.xml"/><Relationship Id="rId5" Type="http://schemas.openxmlformats.org/officeDocument/2006/relationships/image" Target="../media/image43.svg"/><Relationship Id="rId4" Type="http://schemas.openxmlformats.org/officeDocument/2006/relationships/image" Target="../media/image42.png"/></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8.xml"/><Relationship Id="rId1" Type="http://schemas.openxmlformats.org/officeDocument/2006/relationships/tags" Target="../tags/tag21.xml"/><Relationship Id="rId4" Type="http://schemas.openxmlformats.org/officeDocument/2006/relationships/image" Target="../media/image44.emf"/></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8.xml"/><Relationship Id="rId1" Type="http://schemas.openxmlformats.org/officeDocument/2006/relationships/tags" Target="../tags/tag22.xml"/><Relationship Id="rId4" Type="http://schemas.openxmlformats.org/officeDocument/2006/relationships/image" Target="../media/image45.emf"/></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9.xml"/><Relationship Id="rId5" Type="http://schemas.openxmlformats.org/officeDocument/2006/relationships/image" Target="../media/image43.svg"/><Relationship Id="rId4" Type="http://schemas.openxmlformats.org/officeDocument/2006/relationships/image" Target="../media/image42.png"/></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9.xml"/><Relationship Id="rId1" Type="http://schemas.openxmlformats.org/officeDocument/2006/relationships/tags" Target="../tags/tag24.xml"/><Relationship Id="rId4" Type="http://schemas.openxmlformats.org/officeDocument/2006/relationships/image" Target="../media/image44.emf"/></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9.xml"/><Relationship Id="rId1" Type="http://schemas.openxmlformats.org/officeDocument/2006/relationships/tags" Target="../tags/tag25.xml"/><Relationship Id="rId4" Type="http://schemas.openxmlformats.org/officeDocument/2006/relationships/image" Target="../media/image45.emf"/></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Master" Target="../slideMasters/slideMaster10.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0.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png"/><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49.pn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48.jpeg"/><Relationship Id="rId5" Type="http://schemas.openxmlformats.org/officeDocument/2006/relationships/image" Target="../media/image44.emf"/><Relationship Id="rId4" Type="http://schemas.openxmlformats.org/officeDocument/2006/relationships/oleObject" Target="../embeddings/oleObject23.bin"/></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140.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Master" Target="../slideMasters/slideMaster11.xml"/></Relationships>
</file>

<file path=ppt/slideLayouts/_rels/slideLayout141.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Master" Target="../slideMasters/slideMaster11.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Master" Target="../slideMasters/slideMaster11.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1.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2.xml.rels><?xml version="1.0" encoding="UTF-8" standalone="yes"?>
<Relationships xmlns="http://schemas.openxmlformats.org/package/2006/relationships"><Relationship Id="rId8" Type="http://schemas.openxmlformats.org/officeDocument/2006/relationships/hyperlink" Target="http://www.ure.gov.pl/" TargetMode="External"/><Relationship Id="rId13" Type="http://schemas.openxmlformats.org/officeDocument/2006/relationships/image" Target="../media/image59.jpeg"/><Relationship Id="rId18" Type="http://schemas.openxmlformats.org/officeDocument/2006/relationships/image" Target="../media/image64.jpg"/><Relationship Id="rId3" Type="http://schemas.openxmlformats.org/officeDocument/2006/relationships/oleObject" Target="../embeddings/oleObject26.bin"/><Relationship Id="rId7" Type="http://schemas.openxmlformats.org/officeDocument/2006/relationships/image" Target="../media/image54.jpeg"/><Relationship Id="rId12" Type="http://schemas.openxmlformats.org/officeDocument/2006/relationships/image" Target="../media/image58.png"/><Relationship Id="rId17" Type="http://schemas.openxmlformats.org/officeDocument/2006/relationships/image" Target="../media/image63.jpeg"/><Relationship Id="rId2" Type="http://schemas.openxmlformats.org/officeDocument/2006/relationships/slideMaster" Target="../slideMasters/slideMaster12.xml"/><Relationship Id="rId16" Type="http://schemas.openxmlformats.org/officeDocument/2006/relationships/image" Target="../media/image62.png"/><Relationship Id="rId20" Type="http://schemas.openxmlformats.org/officeDocument/2006/relationships/image" Target="../media/image66.emf"/><Relationship Id="rId1" Type="http://schemas.openxmlformats.org/officeDocument/2006/relationships/tags" Target="../tags/tag30.xml"/><Relationship Id="rId6" Type="http://schemas.openxmlformats.org/officeDocument/2006/relationships/image" Target="../media/image53.jpeg"/><Relationship Id="rId11" Type="http://schemas.openxmlformats.org/officeDocument/2006/relationships/image" Target="../media/image57.png"/><Relationship Id="rId5" Type="http://schemas.openxmlformats.org/officeDocument/2006/relationships/image" Target="../media/image52.jpg"/><Relationship Id="rId15" Type="http://schemas.openxmlformats.org/officeDocument/2006/relationships/image" Target="../media/image61.png"/><Relationship Id="rId10" Type="http://schemas.openxmlformats.org/officeDocument/2006/relationships/image" Target="../media/image56.png"/><Relationship Id="rId19" Type="http://schemas.openxmlformats.org/officeDocument/2006/relationships/image" Target="../media/image65.emf"/><Relationship Id="rId4" Type="http://schemas.openxmlformats.org/officeDocument/2006/relationships/image" Target="../media/image51.emf"/><Relationship Id="rId9" Type="http://schemas.openxmlformats.org/officeDocument/2006/relationships/image" Target="../media/image55.png"/><Relationship Id="rId14" Type="http://schemas.openxmlformats.org/officeDocument/2006/relationships/image" Target="../media/image60.png"/></Relationships>
</file>

<file path=ppt/slideLayouts/_rels/slideLayout153.xml.rels><?xml version="1.0" encoding="UTF-8" standalone="yes"?>
<Relationships xmlns="http://schemas.openxmlformats.org/package/2006/relationships"><Relationship Id="rId8" Type="http://schemas.openxmlformats.org/officeDocument/2006/relationships/hyperlink" Target="http://www.ure.gov.pl/" TargetMode="External"/><Relationship Id="rId13" Type="http://schemas.openxmlformats.org/officeDocument/2006/relationships/image" Target="../media/image59.jpeg"/><Relationship Id="rId18" Type="http://schemas.openxmlformats.org/officeDocument/2006/relationships/image" Target="../media/image66.emf"/><Relationship Id="rId3" Type="http://schemas.openxmlformats.org/officeDocument/2006/relationships/oleObject" Target="../embeddings/oleObject26.bin"/><Relationship Id="rId7" Type="http://schemas.openxmlformats.org/officeDocument/2006/relationships/image" Target="../media/image54.jpeg"/><Relationship Id="rId12" Type="http://schemas.openxmlformats.org/officeDocument/2006/relationships/image" Target="../media/image58.png"/><Relationship Id="rId17" Type="http://schemas.openxmlformats.org/officeDocument/2006/relationships/image" Target="../media/image63.jpeg"/><Relationship Id="rId2" Type="http://schemas.openxmlformats.org/officeDocument/2006/relationships/slideMaster" Target="../slideMasters/slideMaster12.xml"/><Relationship Id="rId16" Type="http://schemas.openxmlformats.org/officeDocument/2006/relationships/image" Target="../media/image62.png"/><Relationship Id="rId1" Type="http://schemas.openxmlformats.org/officeDocument/2006/relationships/tags" Target="../tags/tag31.xml"/><Relationship Id="rId6" Type="http://schemas.openxmlformats.org/officeDocument/2006/relationships/image" Target="../media/image53.jpeg"/><Relationship Id="rId11" Type="http://schemas.openxmlformats.org/officeDocument/2006/relationships/image" Target="../media/image57.png"/><Relationship Id="rId5" Type="http://schemas.openxmlformats.org/officeDocument/2006/relationships/image" Target="../media/image52.jpg"/><Relationship Id="rId15" Type="http://schemas.openxmlformats.org/officeDocument/2006/relationships/image" Target="../media/image61.png"/><Relationship Id="rId10" Type="http://schemas.openxmlformats.org/officeDocument/2006/relationships/image" Target="../media/image56.png"/><Relationship Id="rId19" Type="http://schemas.openxmlformats.org/officeDocument/2006/relationships/image" Target="../media/image65.emf"/><Relationship Id="rId4" Type="http://schemas.openxmlformats.org/officeDocument/2006/relationships/image" Target="../media/image51.emf"/><Relationship Id="rId9" Type="http://schemas.openxmlformats.org/officeDocument/2006/relationships/image" Target="../media/image55.png"/><Relationship Id="rId14" Type="http://schemas.openxmlformats.org/officeDocument/2006/relationships/image" Target="../media/image60.png"/></Relationships>
</file>

<file path=ppt/slideLayouts/_rels/slideLayout154.xml.rels><?xml version="1.0" encoding="UTF-8" standalone="yes"?>
<Relationships xmlns="http://schemas.openxmlformats.org/package/2006/relationships"><Relationship Id="rId8" Type="http://schemas.openxmlformats.org/officeDocument/2006/relationships/image" Target="../media/image54.jpeg"/><Relationship Id="rId13" Type="http://schemas.openxmlformats.org/officeDocument/2006/relationships/image" Target="../media/image58.png"/><Relationship Id="rId18" Type="http://schemas.openxmlformats.org/officeDocument/2006/relationships/image" Target="../media/image63.jpeg"/><Relationship Id="rId3" Type="http://schemas.openxmlformats.org/officeDocument/2006/relationships/oleObject" Target="../embeddings/oleObject26.bin"/><Relationship Id="rId7" Type="http://schemas.openxmlformats.org/officeDocument/2006/relationships/image" Target="../media/image53.jpeg"/><Relationship Id="rId12" Type="http://schemas.openxmlformats.org/officeDocument/2006/relationships/image" Target="../media/image57.png"/><Relationship Id="rId17" Type="http://schemas.openxmlformats.org/officeDocument/2006/relationships/image" Target="../media/image62.png"/><Relationship Id="rId2" Type="http://schemas.openxmlformats.org/officeDocument/2006/relationships/slideMaster" Target="../slideMasters/slideMaster12.xml"/><Relationship Id="rId16" Type="http://schemas.openxmlformats.org/officeDocument/2006/relationships/image" Target="../media/image61.png"/><Relationship Id="rId20" Type="http://schemas.openxmlformats.org/officeDocument/2006/relationships/image" Target="../media/image66.emf"/><Relationship Id="rId1" Type="http://schemas.openxmlformats.org/officeDocument/2006/relationships/tags" Target="../tags/tag32.xml"/><Relationship Id="rId6" Type="http://schemas.openxmlformats.org/officeDocument/2006/relationships/image" Target="../media/image64.jpg"/><Relationship Id="rId11" Type="http://schemas.openxmlformats.org/officeDocument/2006/relationships/image" Target="../media/image56.png"/><Relationship Id="rId5" Type="http://schemas.openxmlformats.org/officeDocument/2006/relationships/image" Target="../media/image52.jpg"/><Relationship Id="rId15" Type="http://schemas.openxmlformats.org/officeDocument/2006/relationships/image" Target="../media/image60.png"/><Relationship Id="rId10" Type="http://schemas.openxmlformats.org/officeDocument/2006/relationships/image" Target="../media/image55.png"/><Relationship Id="rId19" Type="http://schemas.openxmlformats.org/officeDocument/2006/relationships/image" Target="../media/image65.emf"/><Relationship Id="rId4" Type="http://schemas.openxmlformats.org/officeDocument/2006/relationships/image" Target="../media/image51.emf"/><Relationship Id="rId9" Type="http://schemas.openxmlformats.org/officeDocument/2006/relationships/hyperlink" Target="http://www.ure.gov.pl/" TargetMode="External"/><Relationship Id="rId14" Type="http://schemas.openxmlformats.org/officeDocument/2006/relationships/image" Target="../media/image59.jpeg"/></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2.xml"/><Relationship Id="rId1" Type="http://schemas.openxmlformats.org/officeDocument/2006/relationships/tags" Target="../tags/tag33.xml"/><Relationship Id="rId4" Type="http://schemas.openxmlformats.org/officeDocument/2006/relationships/image" Target="../media/image51.emf"/></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2.xml"/><Relationship Id="rId1" Type="http://schemas.openxmlformats.org/officeDocument/2006/relationships/tags" Target="../tags/tag34.xml"/><Relationship Id="rId4" Type="http://schemas.openxmlformats.org/officeDocument/2006/relationships/image" Target="../media/image51.emf"/></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2.xml"/><Relationship Id="rId1" Type="http://schemas.openxmlformats.org/officeDocument/2006/relationships/tags" Target="../tags/tag35.xml"/><Relationship Id="rId4" Type="http://schemas.openxmlformats.org/officeDocument/2006/relationships/image" Target="../media/image51.emf"/></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2.xml"/><Relationship Id="rId1" Type="http://schemas.openxmlformats.org/officeDocument/2006/relationships/tags" Target="../tags/tag36.xml"/><Relationship Id="rId4" Type="http://schemas.openxmlformats.org/officeDocument/2006/relationships/image" Target="../media/image51.emf"/></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2.xml"/><Relationship Id="rId1" Type="http://schemas.openxmlformats.org/officeDocument/2006/relationships/tags" Target="../tags/tag37.xml"/><Relationship Id="rId4" Type="http://schemas.openxmlformats.org/officeDocument/2006/relationships/image" Target="../media/image5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2.xml"/><Relationship Id="rId1" Type="http://schemas.openxmlformats.org/officeDocument/2006/relationships/tags" Target="../tags/tag38.xml"/><Relationship Id="rId4" Type="http://schemas.openxmlformats.org/officeDocument/2006/relationships/image" Target="../media/image51.emf"/></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2.xml"/><Relationship Id="rId1" Type="http://schemas.openxmlformats.org/officeDocument/2006/relationships/tags" Target="../tags/tag39.xml"/><Relationship Id="rId4" Type="http://schemas.openxmlformats.org/officeDocument/2006/relationships/image" Target="../media/image51.emf"/></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2.xml"/><Relationship Id="rId1" Type="http://schemas.openxmlformats.org/officeDocument/2006/relationships/tags" Target="../tags/tag40.xml"/><Relationship Id="rId4" Type="http://schemas.openxmlformats.org/officeDocument/2006/relationships/image" Target="../media/image51.emf"/></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7.xml.rels><?xml version="1.0" encoding="UTF-8" standalone="yes"?>
<Relationships xmlns="http://schemas.openxmlformats.org/package/2006/relationships"><Relationship Id="rId8" Type="http://schemas.openxmlformats.org/officeDocument/2006/relationships/image" Target="../media/image71.svg"/><Relationship Id="rId3" Type="http://schemas.openxmlformats.org/officeDocument/2006/relationships/oleObject" Target="../embeddings/oleObject28.bin"/><Relationship Id="rId7" Type="http://schemas.openxmlformats.org/officeDocument/2006/relationships/image" Target="../media/image70.png"/><Relationship Id="rId2" Type="http://schemas.openxmlformats.org/officeDocument/2006/relationships/slideMaster" Target="../slideMasters/slideMaster12.xml"/><Relationship Id="rId1" Type="http://schemas.openxmlformats.org/officeDocument/2006/relationships/tags" Target="../tags/tag41.xml"/><Relationship Id="rId6" Type="http://schemas.openxmlformats.org/officeDocument/2006/relationships/image" Target="../media/image69.svg"/><Relationship Id="rId5" Type="http://schemas.openxmlformats.org/officeDocument/2006/relationships/image" Target="../media/image68.png"/><Relationship Id="rId4" Type="http://schemas.openxmlformats.org/officeDocument/2006/relationships/image" Target="../media/image67.emf"/></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2.xml"/><Relationship Id="rId1" Type="http://schemas.openxmlformats.org/officeDocument/2006/relationships/tags" Target="../tags/tag42.xml"/><Relationship Id="rId6" Type="http://schemas.openxmlformats.org/officeDocument/2006/relationships/image" Target="../media/image73.svg"/><Relationship Id="rId5" Type="http://schemas.openxmlformats.org/officeDocument/2006/relationships/image" Target="../media/image72.png"/><Relationship Id="rId4" Type="http://schemas.openxmlformats.org/officeDocument/2006/relationships/image" Target="../media/image67.emf"/></Relationships>
</file>

<file path=ppt/slideLayouts/_rels/slideLayout169.xml.rels><?xml version="1.0" encoding="UTF-8" standalone="yes"?>
<Relationships xmlns="http://schemas.openxmlformats.org/package/2006/relationships"><Relationship Id="rId8" Type="http://schemas.openxmlformats.org/officeDocument/2006/relationships/hyperlink" Target="http://www.ure.gov.pl/" TargetMode="External"/><Relationship Id="rId13" Type="http://schemas.openxmlformats.org/officeDocument/2006/relationships/image" Target="../media/image59.jpeg"/><Relationship Id="rId18" Type="http://schemas.openxmlformats.org/officeDocument/2006/relationships/image" Target="../media/image64.jpg"/><Relationship Id="rId3" Type="http://schemas.openxmlformats.org/officeDocument/2006/relationships/oleObject" Target="../embeddings/oleObject28.bin"/><Relationship Id="rId7" Type="http://schemas.openxmlformats.org/officeDocument/2006/relationships/image" Target="../media/image54.jpeg"/><Relationship Id="rId12" Type="http://schemas.openxmlformats.org/officeDocument/2006/relationships/image" Target="../media/image58.png"/><Relationship Id="rId17" Type="http://schemas.openxmlformats.org/officeDocument/2006/relationships/image" Target="../media/image63.jpeg"/><Relationship Id="rId2" Type="http://schemas.openxmlformats.org/officeDocument/2006/relationships/slideMaster" Target="../slideMasters/slideMaster12.xml"/><Relationship Id="rId16" Type="http://schemas.openxmlformats.org/officeDocument/2006/relationships/image" Target="../media/image62.png"/><Relationship Id="rId20" Type="http://schemas.openxmlformats.org/officeDocument/2006/relationships/image" Target="../media/image66.emf"/><Relationship Id="rId1" Type="http://schemas.openxmlformats.org/officeDocument/2006/relationships/tags" Target="../tags/tag43.xml"/><Relationship Id="rId6" Type="http://schemas.openxmlformats.org/officeDocument/2006/relationships/image" Target="../media/image53.jpeg"/><Relationship Id="rId11" Type="http://schemas.openxmlformats.org/officeDocument/2006/relationships/image" Target="../media/image57.png"/><Relationship Id="rId5" Type="http://schemas.openxmlformats.org/officeDocument/2006/relationships/image" Target="../media/image52.jpg"/><Relationship Id="rId15" Type="http://schemas.openxmlformats.org/officeDocument/2006/relationships/image" Target="../media/image61.png"/><Relationship Id="rId10" Type="http://schemas.openxmlformats.org/officeDocument/2006/relationships/image" Target="../media/image56.png"/><Relationship Id="rId19" Type="http://schemas.openxmlformats.org/officeDocument/2006/relationships/image" Target="../media/image65.emf"/><Relationship Id="rId4" Type="http://schemas.openxmlformats.org/officeDocument/2006/relationships/image" Target="../media/image67.emf"/><Relationship Id="rId9" Type="http://schemas.openxmlformats.org/officeDocument/2006/relationships/image" Target="../media/image55.png"/><Relationship Id="rId14" Type="http://schemas.openxmlformats.org/officeDocument/2006/relationships/image" Target="../media/image60.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3.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3.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3.xml"/><Relationship Id="rId4" Type="http://schemas.openxmlformats.org/officeDocument/2006/relationships/image" Target="../media/image74.png"/></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3.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6.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1.png"/><Relationship Id="rId7" Type="http://schemas.openxmlformats.org/officeDocument/2006/relationships/hyperlink" Target="https://www.acer.europa.eu/" TargetMode="External"/><Relationship Id="rId2" Type="http://schemas.openxmlformats.org/officeDocument/2006/relationships/image" Target="../media/image75.png"/><Relationship Id="rId1" Type="http://schemas.openxmlformats.org/officeDocument/2006/relationships/slideMaster" Target="../slideMasters/slideMaster13.xml"/><Relationship Id="rId6" Type="http://schemas.openxmlformats.org/officeDocument/2006/relationships/hyperlink" Target="mailto:info@acer.europa.eu" TargetMode="External"/><Relationship Id="rId11" Type="http://schemas.openxmlformats.org/officeDocument/2006/relationships/hyperlink" Target="https://www.acer.europa.eu/the-agency/careers/vacancies" TargetMode="External"/><Relationship Id="rId5" Type="http://schemas.openxmlformats.org/officeDocument/2006/relationships/image" Target="../media/image9.png"/><Relationship Id="rId10" Type="http://schemas.openxmlformats.org/officeDocument/2006/relationships/image" Target="../media/image77.png"/><Relationship Id="rId4" Type="http://schemas.openxmlformats.org/officeDocument/2006/relationships/image" Target="../media/image8.png"/><Relationship Id="rId9" Type="http://schemas.openxmlformats.org/officeDocument/2006/relationships/image" Target="../media/image76.png"/></Relationships>
</file>

<file path=ppt/slideLayouts/_rels/slideLayout187.xml.rels><?xml version="1.0" encoding="UTF-8" standalone="yes"?>
<Relationships xmlns="http://schemas.openxmlformats.org/package/2006/relationships"><Relationship Id="rId8" Type="http://schemas.openxmlformats.org/officeDocument/2006/relationships/hyperlink" Target="https://si.linkedin.com/company/eu-acer" TargetMode="External"/><Relationship Id="rId3" Type="http://schemas.openxmlformats.org/officeDocument/2006/relationships/image" Target="../media/image8.png"/><Relationship Id="rId7" Type="http://schemas.openxmlformats.org/officeDocument/2006/relationships/image" Target="../media/image10.png"/><Relationship Id="rId2" Type="http://schemas.openxmlformats.org/officeDocument/2006/relationships/image" Target="../media/image1.png"/><Relationship Id="rId1" Type="http://schemas.openxmlformats.org/officeDocument/2006/relationships/slideMaster" Target="../slideMasters/slideMaster13.xml"/><Relationship Id="rId6" Type="http://schemas.openxmlformats.org/officeDocument/2006/relationships/hyperlink" Target="https://www.acer.europa.eu/" TargetMode="External"/><Relationship Id="rId5" Type="http://schemas.openxmlformats.org/officeDocument/2006/relationships/hyperlink" Target="mailto:info@acer.europa.eu" TargetMode="External"/><Relationship Id="rId4" Type="http://schemas.openxmlformats.org/officeDocument/2006/relationships/image" Target="../media/image9.png"/><Relationship Id="rId9" Type="http://schemas.openxmlformats.org/officeDocument/2006/relationships/image" Target="../media/image76.png"/></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3.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3.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3.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Master" Target="../slideMasters/slideMaster14.xml"/></Relationships>
</file>

<file path=ppt/slideLayouts/_rels/slideLayout201.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Master" Target="../slideMasters/slideMaster14.xml"/></Relationships>
</file>

<file path=ppt/slideLayouts/_rels/slideLayout202.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Master" Target="../slideMasters/slideMaster1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7.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Master" Target="../slideMasters/slideMaster14.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4.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png"/><Relationship Id="rId1" Type="http://schemas.openxmlformats.org/officeDocument/2006/relationships/slideMaster" Target="../slideMasters/slideMaster14.xml"/></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14.xml"/><Relationship Id="rId7" Type="http://schemas.openxmlformats.org/officeDocument/2006/relationships/image" Target="../media/image49.pn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48.jpeg"/><Relationship Id="rId5" Type="http://schemas.openxmlformats.org/officeDocument/2006/relationships/image" Target="../media/image44.emf"/><Relationship Id="rId4" Type="http://schemas.openxmlformats.org/officeDocument/2006/relationships/oleObject" Target="../embeddings/oleObject23.bin"/></Relationships>
</file>

<file path=ppt/slideLayouts/_rels/slideLayout214.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5.xml"/><Relationship Id="rId1" Type="http://schemas.openxmlformats.org/officeDocument/2006/relationships/tags" Target="../tags/tag48.xml"/><Relationship Id="rId4" Type="http://schemas.openxmlformats.org/officeDocument/2006/relationships/image" Target="../media/image81.emf"/></Relationships>
</file>

<file path=ppt/slideLayouts/_rels/slideLayout215.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5.xml"/><Relationship Id="rId1" Type="http://schemas.openxmlformats.org/officeDocument/2006/relationships/tags" Target="../tags/tag49.xml"/><Relationship Id="rId4" Type="http://schemas.openxmlformats.org/officeDocument/2006/relationships/image" Target="../media/image82.emf"/></Relationships>
</file>

<file path=ppt/slideLayouts/_rels/slideLayout216.xml.rels><?xml version="1.0" encoding="UTF-8" standalone="yes"?>
<Relationships xmlns="http://schemas.openxmlformats.org/package/2006/relationships"><Relationship Id="rId8" Type="http://schemas.openxmlformats.org/officeDocument/2006/relationships/image" Target="../media/image89.gif"/><Relationship Id="rId13" Type="http://schemas.openxmlformats.org/officeDocument/2006/relationships/image" Target="../media/image94.jpeg"/><Relationship Id="rId18" Type="http://schemas.openxmlformats.org/officeDocument/2006/relationships/image" Target="../media/image99.svg"/><Relationship Id="rId3" Type="http://schemas.openxmlformats.org/officeDocument/2006/relationships/image" Target="../media/image84.png"/><Relationship Id="rId21" Type="http://schemas.openxmlformats.org/officeDocument/2006/relationships/image" Target="../media/image102.jpeg"/><Relationship Id="rId7" Type="http://schemas.openxmlformats.org/officeDocument/2006/relationships/image" Target="../media/image88.jpeg"/><Relationship Id="rId12" Type="http://schemas.openxmlformats.org/officeDocument/2006/relationships/image" Target="../media/image93.png"/><Relationship Id="rId17" Type="http://schemas.openxmlformats.org/officeDocument/2006/relationships/image" Target="../media/image98.png"/><Relationship Id="rId2" Type="http://schemas.openxmlformats.org/officeDocument/2006/relationships/image" Target="../media/image83.jpeg"/><Relationship Id="rId16" Type="http://schemas.openxmlformats.org/officeDocument/2006/relationships/image" Target="../media/image97.svg"/><Relationship Id="rId20" Type="http://schemas.openxmlformats.org/officeDocument/2006/relationships/image" Target="../media/image101.png"/><Relationship Id="rId1" Type="http://schemas.openxmlformats.org/officeDocument/2006/relationships/slideMaster" Target="../slideMasters/slideMaster15.xml"/><Relationship Id="rId6" Type="http://schemas.openxmlformats.org/officeDocument/2006/relationships/image" Target="../media/image87.jpeg"/><Relationship Id="rId11" Type="http://schemas.openxmlformats.org/officeDocument/2006/relationships/image" Target="../media/image92.jpeg"/><Relationship Id="rId5" Type="http://schemas.openxmlformats.org/officeDocument/2006/relationships/image" Target="../media/image86.jpeg"/><Relationship Id="rId15" Type="http://schemas.openxmlformats.org/officeDocument/2006/relationships/image" Target="../media/image96.png"/><Relationship Id="rId23" Type="http://schemas.openxmlformats.org/officeDocument/2006/relationships/image" Target="../media/image104.png"/><Relationship Id="rId10" Type="http://schemas.openxmlformats.org/officeDocument/2006/relationships/image" Target="../media/image91.png"/><Relationship Id="rId19" Type="http://schemas.openxmlformats.org/officeDocument/2006/relationships/image" Target="../media/image100.png"/><Relationship Id="rId4" Type="http://schemas.openxmlformats.org/officeDocument/2006/relationships/image" Target="../media/image85.jpeg"/><Relationship Id="rId9" Type="http://schemas.openxmlformats.org/officeDocument/2006/relationships/image" Target="../media/image90.png"/><Relationship Id="rId14" Type="http://schemas.openxmlformats.org/officeDocument/2006/relationships/image" Target="../media/image95.jpeg"/><Relationship Id="rId22" Type="http://schemas.openxmlformats.org/officeDocument/2006/relationships/image" Target="../media/image103.png"/></Relationships>
</file>

<file path=ppt/slideLayouts/_rels/slideLayout217.xml.rels><?xml version="1.0" encoding="UTF-8" standalone="yes"?>
<Relationships xmlns="http://schemas.openxmlformats.org/package/2006/relationships"><Relationship Id="rId8" Type="http://schemas.openxmlformats.org/officeDocument/2006/relationships/image" Target="../media/image89.gif"/><Relationship Id="rId13" Type="http://schemas.openxmlformats.org/officeDocument/2006/relationships/image" Target="../media/image94.jpeg"/><Relationship Id="rId18" Type="http://schemas.openxmlformats.org/officeDocument/2006/relationships/image" Target="../media/image99.svg"/><Relationship Id="rId3" Type="http://schemas.openxmlformats.org/officeDocument/2006/relationships/image" Target="../media/image84.png"/><Relationship Id="rId21" Type="http://schemas.openxmlformats.org/officeDocument/2006/relationships/image" Target="../media/image102.jpeg"/><Relationship Id="rId7" Type="http://schemas.openxmlformats.org/officeDocument/2006/relationships/image" Target="../media/image88.jpeg"/><Relationship Id="rId12" Type="http://schemas.openxmlformats.org/officeDocument/2006/relationships/image" Target="../media/image93.png"/><Relationship Id="rId17" Type="http://schemas.openxmlformats.org/officeDocument/2006/relationships/image" Target="../media/image98.png"/><Relationship Id="rId2" Type="http://schemas.openxmlformats.org/officeDocument/2006/relationships/image" Target="../media/image83.jpeg"/><Relationship Id="rId16" Type="http://schemas.openxmlformats.org/officeDocument/2006/relationships/image" Target="../media/image97.svg"/><Relationship Id="rId20" Type="http://schemas.openxmlformats.org/officeDocument/2006/relationships/image" Target="../media/image101.png"/><Relationship Id="rId1" Type="http://schemas.openxmlformats.org/officeDocument/2006/relationships/slideMaster" Target="../slideMasters/slideMaster15.xml"/><Relationship Id="rId6" Type="http://schemas.openxmlformats.org/officeDocument/2006/relationships/image" Target="../media/image87.jpeg"/><Relationship Id="rId11" Type="http://schemas.openxmlformats.org/officeDocument/2006/relationships/image" Target="../media/image92.jpeg"/><Relationship Id="rId5" Type="http://schemas.openxmlformats.org/officeDocument/2006/relationships/image" Target="../media/image86.jpeg"/><Relationship Id="rId15" Type="http://schemas.openxmlformats.org/officeDocument/2006/relationships/image" Target="../media/image96.png"/><Relationship Id="rId23" Type="http://schemas.openxmlformats.org/officeDocument/2006/relationships/image" Target="../media/image104.png"/><Relationship Id="rId10" Type="http://schemas.openxmlformats.org/officeDocument/2006/relationships/image" Target="../media/image91.png"/><Relationship Id="rId19" Type="http://schemas.openxmlformats.org/officeDocument/2006/relationships/image" Target="../media/image100.png"/><Relationship Id="rId4" Type="http://schemas.openxmlformats.org/officeDocument/2006/relationships/image" Target="../media/image85.jpeg"/><Relationship Id="rId9" Type="http://schemas.openxmlformats.org/officeDocument/2006/relationships/image" Target="../media/image90.png"/><Relationship Id="rId14" Type="http://schemas.openxmlformats.org/officeDocument/2006/relationships/image" Target="../media/image95.jpeg"/><Relationship Id="rId22" Type="http://schemas.openxmlformats.org/officeDocument/2006/relationships/image" Target="../media/image103.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Master" Target="../slideMasters/slideMaster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5.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2.xml"/><Relationship Id="rId4" Type="http://schemas.openxmlformats.org/officeDocument/2006/relationships/image" Target="../media/image23.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6.xml"/><Relationship Id="rId1" Type="http://schemas.openxmlformats.org/officeDocument/2006/relationships/tags" Target="../tags/tag3.xml"/><Relationship Id="rId4" Type="http://schemas.openxmlformats.org/officeDocument/2006/relationships/image" Target="../media/image23.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6.xml"/><Relationship Id="rId1" Type="http://schemas.openxmlformats.org/officeDocument/2006/relationships/tags" Target="../tags/tag4.xml"/><Relationship Id="rId4" Type="http://schemas.openxmlformats.org/officeDocument/2006/relationships/image" Target="../media/image23.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6.xml"/><Relationship Id="rId1" Type="http://schemas.openxmlformats.org/officeDocument/2006/relationships/tags" Target="../tags/tag5.xml"/><Relationship Id="rId4" Type="http://schemas.openxmlformats.org/officeDocument/2006/relationships/image" Target="../media/image23.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6.xml"/><Relationship Id="rId1" Type="http://schemas.openxmlformats.org/officeDocument/2006/relationships/tags" Target="../tags/tag6.xml"/><Relationship Id="rId4" Type="http://schemas.openxmlformats.org/officeDocument/2006/relationships/image" Target="../media/image23.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6.xml"/><Relationship Id="rId1" Type="http://schemas.openxmlformats.org/officeDocument/2006/relationships/tags" Target="../tags/tag7.xml"/><Relationship Id="rId4" Type="http://schemas.openxmlformats.org/officeDocument/2006/relationships/image" Target="../media/image23.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6.xml"/><Relationship Id="rId1" Type="http://schemas.openxmlformats.org/officeDocument/2006/relationships/tags" Target="../tags/tag8.xml"/><Relationship Id="rId5" Type="http://schemas.openxmlformats.org/officeDocument/2006/relationships/chart" Target="../charts/chart4.xml"/><Relationship Id="rId4" Type="http://schemas.openxmlformats.org/officeDocument/2006/relationships/image" Target="../media/image23.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6.xml"/><Relationship Id="rId1" Type="http://schemas.openxmlformats.org/officeDocument/2006/relationships/tags" Target="../tags/tag9.xml"/><Relationship Id="rId5" Type="http://schemas.openxmlformats.org/officeDocument/2006/relationships/chart" Target="../charts/chart5.xml"/><Relationship Id="rId4" Type="http://schemas.openxmlformats.org/officeDocument/2006/relationships/image" Target="../media/image23.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6.xml"/><Relationship Id="rId1" Type="http://schemas.openxmlformats.org/officeDocument/2006/relationships/tags" Target="../tags/tag10.xml"/><Relationship Id="rId5" Type="http://schemas.openxmlformats.org/officeDocument/2006/relationships/chart" Target="../charts/chart6.xml"/><Relationship Id="rId4" Type="http://schemas.openxmlformats.org/officeDocument/2006/relationships/image" Target="../media/image23.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6.xml"/><Relationship Id="rId1" Type="http://schemas.openxmlformats.org/officeDocument/2006/relationships/tags" Target="../tags/tag11.xml"/><Relationship Id="rId4" Type="http://schemas.openxmlformats.org/officeDocument/2006/relationships/image" Target="../media/image23.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6.xml"/><Relationship Id="rId1" Type="http://schemas.openxmlformats.org/officeDocument/2006/relationships/tags" Target="../tags/tag12.xml"/><Relationship Id="rId4" Type="http://schemas.openxmlformats.org/officeDocument/2006/relationships/image" Target="../media/image23.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6.xml"/><Relationship Id="rId1" Type="http://schemas.openxmlformats.org/officeDocument/2006/relationships/tags" Target="../tags/tag13.xml"/><Relationship Id="rId4" Type="http://schemas.openxmlformats.org/officeDocument/2006/relationships/image" Target="../media/image23.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6.xml"/><Relationship Id="rId1" Type="http://schemas.openxmlformats.org/officeDocument/2006/relationships/tags" Target="../tags/tag14.xml"/><Relationship Id="rId4" Type="http://schemas.openxmlformats.org/officeDocument/2006/relationships/image" Target="../media/image23.emf"/></Relationships>
</file>

<file path=ppt/slideLayouts/_rels/slideLayout58.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oleObject" Target="../embeddings/oleObject15.bin"/><Relationship Id="rId7" Type="http://schemas.openxmlformats.org/officeDocument/2006/relationships/diagramQuickStyle" Target="../diagrams/quickStyle2.xml"/><Relationship Id="rId2" Type="http://schemas.openxmlformats.org/officeDocument/2006/relationships/slideMaster" Target="../slideMasters/slideMaster6.xml"/><Relationship Id="rId1" Type="http://schemas.openxmlformats.org/officeDocument/2006/relationships/tags" Target="../tags/tag15.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image" Target="../media/image23.emf"/><Relationship Id="rId9" Type="http://schemas.microsoft.com/office/2007/relationships/diagramDrawing" Target="../diagrams/drawing2.xml"/></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6.xml"/><Relationship Id="rId1" Type="http://schemas.openxmlformats.org/officeDocument/2006/relationships/tags" Target="../tags/tag16.xml"/><Relationship Id="rId4" Type="http://schemas.openxmlformats.org/officeDocument/2006/relationships/image" Target="../media/image23.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oleObject" Target="../embeddings/oleObject17.bin"/><Relationship Id="rId7" Type="http://schemas.openxmlformats.org/officeDocument/2006/relationships/image" Target="../media/image26.png"/><Relationship Id="rId2" Type="http://schemas.openxmlformats.org/officeDocument/2006/relationships/slideMaster" Target="../slideMasters/slideMaster6.xml"/><Relationship Id="rId1" Type="http://schemas.openxmlformats.org/officeDocument/2006/relationships/tags" Target="../tags/tag17.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emf"/><Relationship Id="rId9" Type="http://schemas.openxmlformats.org/officeDocument/2006/relationships/image" Target="../media/image28.png"/></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6.xml"/><Relationship Id="rId1" Type="http://schemas.openxmlformats.org/officeDocument/2006/relationships/tags" Target="../tags/tag18.xml"/><Relationship Id="rId4" Type="http://schemas.openxmlformats.org/officeDocument/2006/relationships/image" Target="../media/image23.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6.xml"/><Relationship Id="rId1" Type="http://schemas.openxmlformats.org/officeDocument/2006/relationships/tags" Target="../tags/tag19.xml"/><Relationship Id="rId4" Type="http://schemas.openxmlformats.org/officeDocument/2006/relationships/image" Target="../media/image23.emf"/></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Rectangle 9"/>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x-none"/>
          </a:p>
        </p:txBody>
      </p:sp>
      <p:cxnSp>
        <p:nvCxnSpPr>
          <p:cNvPr id="5" name="Straight Connector 11"/>
          <p:cNvCxnSpPr>
            <a:cxnSpLocks/>
          </p:cNvCxnSpPr>
          <p:nvPr userDrawn="1"/>
        </p:nvCxnSpPr>
        <p:spPr>
          <a:xfrm>
            <a:off x="4430713" y="728663"/>
            <a:ext cx="0" cy="540067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pic>
        <p:nvPicPr>
          <p:cNvPr id="6" name="Picture 6" descr="A picture containing graphical user interface&#10;&#10;Description automatically generated"/>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77800"/>
            <a:ext cx="4411663" cy="215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1"/>
          <p:cNvSpPr>
            <a:spLocks noGrp="1"/>
          </p:cNvSpPr>
          <p:nvPr>
            <p:ph type="ctrTitle"/>
          </p:nvPr>
        </p:nvSpPr>
        <p:spPr>
          <a:xfrm>
            <a:off x="5114930" y="729000"/>
            <a:ext cx="6372220" cy="3273362"/>
          </a:xfrm>
        </p:spPr>
        <p:txBody>
          <a:bodyPr>
            <a:normAutofit/>
          </a:bodyPr>
          <a:lstStyle>
            <a:lvl1pPr algn="l">
              <a:defRPr sz="4500">
                <a:solidFill>
                  <a:schemeClr val="tx1"/>
                </a:solidFill>
              </a:defRPr>
            </a:lvl1pPr>
          </a:lstStyle>
          <a:p>
            <a:r>
              <a:rPr lang="nl-NL"/>
              <a:t>Klik om de stijl te bewerken</a:t>
            </a:r>
            <a:endParaRPr lang="en-US" dirty="0"/>
          </a:p>
        </p:txBody>
      </p:sp>
      <p:sp>
        <p:nvSpPr>
          <p:cNvPr id="14" name="Subtitle 2"/>
          <p:cNvSpPr>
            <a:spLocks noGrp="1"/>
          </p:cNvSpPr>
          <p:nvPr>
            <p:ph type="subTitle" idx="1"/>
          </p:nvPr>
        </p:nvSpPr>
        <p:spPr>
          <a:xfrm>
            <a:off x="5114930" y="4234934"/>
            <a:ext cx="6449470" cy="1271201"/>
          </a:xfrm>
        </p:spPr>
        <p:txBody>
          <a:bodyPr>
            <a:norm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 om de ondertitelstijl van het model te bewerken</a:t>
            </a:r>
            <a:endParaRPr lang="en-US" dirty="0"/>
          </a:p>
        </p:txBody>
      </p:sp>
    </p:spTree>
    <p:extLst>
      <p:ext uri="{BB962C8B-B14F-4D97-AF65-F5344CB8AC3E}">
        <p14:creationId xmlns:p14="http://schemas.microsoft.com/office/powerpoint/2010/main" val="37445654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Green">
    <p:spTree>
      <p:nvGrpSpPr>
        <p:cNvPr id="1" name=""/>
        <p:cNvGrpSpPr/>
        <p:nvPr/>
      </p:nvGrpSpPr>
      <p:grpSpPr>
        <a:xfrm>
          <a:off x="0" y="0"/>
          <a:ext cx="0" cy="0"/>
          <a:chOff x="0" y="0"/>
          <a:chExt cx="0" cy="0"/>
        </a:xfrm>
      </p:grpSpPr>
      <p:sp>
        <p:nvSpPr>
          <p:cNvPr id="4" name="Rectangle 7"/>
          <p:cNvSpPr/>
          <p:nvPr userDrawn="1"/>
        </p:nvSpPr>
        <p:spPr>
          <a:xfrm>
            <a:off x="0" y="1057275"/>
            <a:ext cx="12192000" cy="52244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x-none" dirty="0"/>
          </a:p>
        </p:txBody>
      </p:sp>
      <p:cxnSp>
        <p:nvCxnSpPr>
          <p:cNvPr id="5" name="Straight Connector 6"/>
          <p:cNvCxnSpPr>
            <a:cxnSpLocks/>
          </p:cNvCxnSpPr>
          <p:nvPr userDrawn="1"/>
        </p:nvCxnSpPr>
        <p:spPr>
          <a:xfrm>
            <a:off x="695325" y="4165600"/>
            <a:ext cx="1080135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96000" y="1057273"/>
            <a:ext cx="10800000" cy="3094314"/>
          </a:xfrm>
        </p:spPr>
        <p:txBody>
          <a:bodyPr>
            <a:normAutofit/>
          </a:bodyPr>
          <a:lstStyle>
            <a:lvl1pPr algn="l">
              <a:defRPr sz="6000">
                <a:solidFill>
                  <a:schemeClr val="bg1"/>
                </a:solidFill>
              </a:defRPr>
            </a:lvl1pPr>
          </a:lstStyle>
          <a:p>
            <a:r>
              <a:rPr lang="nl-NL"/>
              <a:t>Klik om de stijl te bewerken</a:t>
            </a:r>
            <a:endParaRPr lang="en-US" dirty="0"/>
          </a:p>
        </p:txBody>
      </p:sp>
      <p:sp>
        <p:nvSpPr>
          <p:cNvPr id="3" name="Text Placeholder 2"/>
          <p:cNvSpPr>
            <a:spLocks noGrp="1"/>
          </p:cNvSpPr>
          <p:nvPr>
            <p:ph type="body" idx="1"/>
          </p:nvPr>
        </p:nvSpPr>
        <p:spPr>
          <a:xfrm>
            <a:off x="696000" y="4410075"/>
            <a:ext cx="10776000" cy="1476376"/>
          </a:xfrm>
        </p:spPr>
        <p:txBody>
          <a:bodyPr>
            <a:normAutofit/>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Klik om de modelstijlen te bewerken</a:t>
            </a:r>
          </a:p>
        </p:txBody>
      </p:sp>
      <p:sp>
        <p:nvSpPr>
          <p:cNvPr id="6" name="Slide Number Placeholder 5"/>
          <p:cNvSpPr>
            <a:spLocks noGrp="1"/>
          </p:cNvSpPr>
          <p:nvPr>
            <p:ph type="sldNum" sz="quarter" idx="10"/>
          </p:nvPr>
        </p:nvSpPr>
        <p:spPr/>
        <p:txBody>
          <a:bodyPr/>
          <a:lstStyle>
            <a:lvl1pPr>
              <a:defRPr/>
            </a:lvl1pPr>
          </a:lstStyle>
          <a:p>
            <a:pPr>
              <a:defRPr/>
            </a:pPr>
            <a:fld id="{ED9D7219-B46B-4646-89C8-20D80BA97309}" type="slidenum">
              <a:rPr lang="nl-NL" altLang="nl-NL"/>
              <a:pPr>
                <a:defRPr/>
              </a:pPr>
              <a:t>‹#›</a:t>
            </a:fld>
            <a:endParaRPr lang="nl-NL" altLang="nl-NL"/>
          </a:p>
        </p:txBody>
      </p:sp>
    </p:spTree>
    <p:extLst>
      <p:ext uri="{BB962C8B-B14F-4D97-AF65-F5344CB8AC3E}">
        <p14:creationId xmlns:p14="http://schemas.microsoft.com/office/powerpoint/2010/main" val="33120428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Last page with credits">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A35C05-B6C4-EFD6-820E-25F6561D0DE8}"/>
              </a:ext>
            </a:extLst>
          </p:cNvPr>
          <p:cNvSpPr>
            <a:spLocks noGrp="1"/>
          </p:cNvSpPr>
          <p:nvPr>
            <p:ph type="title" hasCustomPrompt="1"/>
          </p:nvPr>
        </p:nvSpPr>
        <p:spPr>
          <a:xfrm>
            <a:off x="838200" y="2256739"/>
            <a:ext cx="10515600" cy="1020337"/>
          </a:xfrm>
        </p:spPr>
        <p:txBody>
          <a:bodyPr>
            <a:noAutofit/>
          </a:bodyPr>
          <a:lstStyle>
            <a:lvl1pPr>
              <a:defRPr sz="8800">
                <a:solidFill>
                  <a:schemeClr val="tx2"/>
                </a:solidFill>
              </a:defRPr>
            </a:lvl1pPr>
          </a:lstStyle>
          <a:p>
            <a:r>
              <a:rPr lang="en-US"/>
              <a:t>Thank you</a:t>
            </a:r>
            <a:endParaRPr lang="en-IE"/>
          </a:p>
        </p:txBody>
      </p:sp>
      <p:pic>
        <p:nvPicPr>
          <p:cNvPr id="4" name="Google Shape;444;p20">
            <a:extLst>
              <a:ext uri="{FF2B5EF4-FFF2-40B4-BE49-F238E27FC236}">
                <a16:creationId xmlns:a16="http://schemas.microsoft.com/office/drawing/2014/main" id="{DA7E9652-CF81-1788-7674-E1FA25BFE314}"/>
              </a:ext>
              <a:ext uri="{C183D7F6-B498-43B3-948B-1728B52AA6E4}">
                <adec:decorative xmlns:adec="http://schemas.microsoft.com/office/drawing/2017/decorative" val="1"/>
              </a:ext>
            </a:extLst>
          </p:cNvPr>
          <p:cNvPicPr preferRelativeResize="0"/>
          <p:nvPr/>
        </p:nvPicPr>
        <p:blipFill rotWithShape="1">
          <a:blip r:embed="rId2">
            <a:alphaModFix/>
          </a:blip>
          <a:srcRect/>
          <a:stretch/>
        </p:blipFill>
        <p:spPr>
          <a:xfrm>
            <a:off x="838200" y="3471269"/>
            <a:ext cx="1023496" cy="358097"/>
          </a:xfrm>
          <a:prstGeom prst="rect">
            <a:avLst/>
          </a:prstGeom>
          <a:noFill/>
          <a:ln>
            <a:noFill/>
          </a:ln>
        </p:spPr>
      </p:pic>
      <p:sp>
        <p:nvSpPr>
          <p:cNvPr id="5" name="Text Placeholder 4">
            <a:extLst>
              <a:ext uri="{FF2B5EF4-FFF2-40B4-BE49-F238E27FC236}">
                <a16:creationId xmlns:a16="http://schemas.microsoft.com/office/drawing/2014/main" id="{EA144BEB-A192-AF1A-3CE0-A12C2705D835}"/>
              </a:ext>
            </a:extLst>
          </p:cNvPr>
          <p:cNvSpPr>
            <a:spLocks noGrp="1"/>
          </p:cNvSpPr>
          <p:nvPr>
            <p:ph type="body" sz="quarter" idx="10"/>
          </p:nvPr>
        </p:nvSpPr>
        <p:spPr>
          <a:xfrm>
            <a:off x="838200" y="3996499"/>
            <a:ext cx="10515600" cy="1666875"/>
          </a:xfrm>
        </p:spPr>
        <p:txBody>
          <a:bodyPr>
            <a:noAutofit/>
          </a:bodyPr>
          <a:lstStyle>
            <a:lvl1pPr marL="0" indent="0">
              <a:buNone/>
              <a:defRPr sz="2000">
                <a:solidFill>
                  <a:schemeClr val="tx2"/>
                </a:solidFill>
              </a:defRPr>
            </a:lvl1pPr>
            <a:lvl2pPr>
              <a:defRPr>
                <a:solidFill>
                  <a:schemeClr val="bg1">
                    <a:lumMod val="95000"/>
                  </a:schemeClr>
                </a:solidFill>
              </a:defRPr>
            </a:lvl2pPr>
            <a:lvl3pPr>
              <a:defRPr>
                <a:solidFill>
                  <a:schemeClr val="bg1">
                    <a:lumMod val="95000"/>
                  </a:schemeClr>
                </a:solidFill>
              </a:defRPr>
            </a:lvl3pPr>
            <a:lvl4pPr>
              <a:defRPr>
                <a:solidFill>
                  <a:schemeClr val="bg1">
                    <a:lumMod val="95000"/>
                  </a:schemeClr>
                </a:solidFill>
              </a:defRPr>
            </a:lvl4pPr>
            <a:lvl5pPr>
              <a:defRPr>
                <a:solidFill>
                  <a:schemeClr val="bg1">
                    <a:lumMod val="95000"/>
                  </a:schemeClr>
                </a:solidFill>
              </a:defRPr>
            </a:lvl5pPr>
          </a:lstStyle>
          <a:p>
            <a:pPr lvl="0"/>
            <a:r>
              <a:rPr lang="en-US"/>
              <a:t>Click to edit Master text styles</a:t>
            </a:r>
          </a:p>
        </p:txBody>
      </p:sp>
      <p:pic>
        <p:nvPicPr>
          <p:cNvPr id="3" name="Google Shape;444;p20">
            <a:extLst>
              <a:ext uri="{FF2B5EF4-FFF2-40B4-BE49-F238E27FC236}">
                <a16:creationId xmlns:a16="http://schemas.microsoft.com/office/drawing/2014/main" id="{8A55753B-1E31-7005-E76C-7A1B520A3A05}"/>
              </a:ext>
              <a:ext uri="{C183D7F6-B498-43B3-948B-1728B52AA6E4}">
                <adec:decorative xmlns:adec="http://schemas.microsoft.com/office/drawing/2017/decorative" val="1"/>
              </a:ext>
            </a:extLst>
          </p:cNvPr>
          <p:cNvPicPr preferRelativeResize="0"/>
          <p:nvPr userDrawn="1"/>
        </p:nvPicPr>
        <p:blipFill rotWithShape="1">
          <a:blip r:embed="rId2">
            <a:alphaModFix/>
          </a:blip>
          <a:srcRect/>
          <a:stretch/>
        </p:blipFill>
        <p:spPr>
          <a:xfrm>
            <a:off x="838200" y="3471269"/>
            <a:ext cx="1023496" cy="358097"/>
          </a:xfrm>
          <a:prstGeom prst="rect">
            <a:avLst/>
          </a:prstGeom>
          <a:noFill/>
          <a:ln>
            <a:noFill/>
          </a:ln>
        </p:spPr>
      </p:pic>
      <p:pic>
        <p:nvPicPr>
          <p:cNvPr id="6" name="Picture 5">
            <a:extLst>
              <a:ext uri="{FF2B5EF4-FFF2-40B4-BE49-F238E27FC236}">
                <a16:creationId xmlns:a16="http://schemas.microsoft.com/office/drawing/2014/main" id="{F0FE782E-88D7-720D-47B0-E5C4BDBFE050}"/>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25768" y="5901016"/>
            <a:ext cx="1256063" cy="762106"/>
          </a:xfrm>
          <a:prstGeom prst="rect">
            <a:avLst/>
          </a:prstGeom>
        </p:spPr>
      </p:pic>
    </p:spTree>
    <p:extLst>
      <p:ext uri="{BB962C8B-B14F-4D97-AF65-F5344CB8AC3E}">
        <p14:creationId xmlns:p14="http://schemas.microsoft.com/office/powerpoint/2010/main" val="26175709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Title picture right">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1B70F05-4ADF-55BB-EBCE-53099A67BA49}"/>
              </a:ext>
            </a:extLst>
          </p:cNvPr>
          <p:cNvSpPr>
            <a:spLocks noGrp="1"/>
          </p:cNvSpPr>
          <p:nvPr>
            <p:ph type="ctrTitle" hasCustomPrompt="1"/>
          </p:nvPr>
        </p:nvSpPr>
        <p:spPr>
          <a:xfrm>
            <a:off x="1842933" y="1690300"/>
            <a:ext cx="8170862" cy="941388"/>
          </a:xfrm>
          <a:prstGeom prst="rect">
            <a:avLst/>
          </a:prstGeom>
        </p:spPr>
        <p:txBody>
          <a:bodyPr anchor="t" anchorCtr="0"/>
          <a:lstStyle>
            <a:lvl1pPr algn="l">
              <a:defRPr sz="3600"/>
            </a:lvl1pPr>
          </a:lstStyle>
          <a:p>
            <a:r>
              <a:rPr lang="de-DE" dirty="0"/>
              <a:t>Click </a:t>
            </a:r>
            <a:r>
              <a:rPr lang="de-DE" dirty="0" err="1"/>
              <a:t>to</a:t>
            </a:r>
            <a:r>
              <a:rPr lang="de-DE" dirty="0"/>
              <a:t> </a:t>
            </a:r>
            <a:r>
              <a:rPr lang="de-DE" dirty="0" err="1"/>
              <a:t>edit</a:t>
            </a:r>
            <a:r>
              <a:rPr lang="de-DE" dirty="0"/>
              <a:t> </a:t>
            </a:r>
            <a:r>
              <a:rPr lang="de-DE" dirty="0" err="1"/>
              <a:t>primary</a:t>
            </a:r>
            <a:r>
              <a:rPr lang="de-DE" dirty="0"/>
              <a:t> Headline</a:t>
            </a:r>
          </a:p>
        </p:txBody>
      </p:sp>
      <p:sp>
        <p:nvSpPr>
          <p:cNvPr id="3" name="Untertitel 2">
            <a:extLst>
              <a:ext uri="{FF2B5EF4-FFF2-40B4-BE49-F238E27FC236}">
                <a16:creationId xmlns:a16="http://schemas.microsoft.com/office/drawing/2014/main" id="{9AF78B23-D158-02BE-F610-CD25F85101CC}"/>
              </a:ext>
            </a:extLst>
          </p:cNvPr>
          <p:cNvSpPr>
            <a:spLocks noGrp="1"/>
          </p:cNvSpPr>
          <p:nvPr>
            <p:ph type="subTitle" idx="1" hasCustomPrompt="1"/>
          </p:nvPr>
        </p:nvSpPr>
        <p:spPr>
          <a:xfrm>
            <a:off x="1842933" y="2913064"/>
            <a:ext cx="8170862" cy="410000"/>
          </a:xfrm>
          <a:prstGeom prst="rect">
            <a:avLst/>
          </a:prstGeom>
        </p:spPr>
        <p:txBody>
          <a:bodyPr anchor="t" anchorCtr="0"/>
          <a:lstStyle>
            <a:lvl1pPr marL="0" indent="0" algn="l">
              <a:buNone/>
              <a:defRPr sz="2400" b="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Click </a:t>
            </a:r>
            <a:r>
              <a:rPr lang="de-DE" dirty="0" err="1"/>
              <a:t>to</a:t>
            </a:r>
            <a:r>
              <a:rPr lang="de-DE" dirty="0"/>
              <a:t> </a:t>
            </a:r>
            <a:r>
              <a:rPr lang="de-DE" dirty="0" err="1"/>
              <a:t>edit</a:t>
            </a:r>
            <a:r>
              <a:rPr lang="de-DE" dirty="0"/>
              <a:t> Subheadline</a:t>
            </a:r>
          </a:p>
        </p:txBody>
      </p:sp>
      <p:sp>
        <p:nvSpPr>
          <p:cNvPr id="10" name="Textplatzhalter 9">
            <a:extLst>
              <a:ext uri="{FF2B5EF4-FFF2-40B4-BE49-F238E27FC236}">
                <a16:creationId xmlns:a16="http://schemas.microsoft.com/office/drawing/2014/main" id="{B4FA8F35-E994-8250-4CC2-9E91847E5C63}"/>
              </a:ext>
            </a:extLst>
          </p:cNvPr>
          <p:cNvSpPr>
            <a:spLocks noGrp="1"/>
          </p:cNvSpPr>
          <p:nvPr>
            <p:ph type="body" sz="quarter" idx="10" hasCustomPrompt="1"/>
          </p:nvPr>
        </p:nvSpPr>
        <p:spPr>
          <a:xfrm>
            <a:off x="1843088" y="3429000"/>
            <a:ext cx="8170862" cy="455613"/>
          </a:xfrm>
        </p:spPr>
        <p:txBody>
          <a:bodyPr/>
          <a:lstStyle>
            <a:lvl1pPr>
              <a:defRPr sz="1800"/>
            </a:lvl1pPr>
          </a:lstStyle>
          <a:p>
            <a:pPr lvl="0"/>
            <a:r>
              <a:rPr lang="de-DE" dirty="0"/>
              <a:t>Date</a:t>
            </a:r>
          </a:p>
        </p:txBody>
      </p:sp>
      <p:pic>
        <p:nvPicPr>
          <p:cNvPr id="4" name="Grafik 3">
            <a:extLst>
              <a:ext uri="{FF2B5EF4-FFF2-40B4-BE49-F238E27FC236}">
                <a16:creationId xmlns:a16="http://schemas.microsoft.com/office/drawing/2014/main" id="{BF3C6BDF-4AB9-6291-B334-820EA797F58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964433" y="6128344"/>
            <a:ext cx="800118" cy="377834"/>
          </a:xfrm>
          <a:prstGeom prst="rect">
            <a:avLst/>
          </a:prstGeom>
        </p:spPr>
      </p:pic>
      <p:pic>
        <p:nvPicPr>
          <p:cNvPr id="6" name="Graphic 5">
            <a:extLst>
              <a:ext uri="{FF2B5EF4-FFF2-40B4-BE49-F238E27FC236}">
                <a16:creationId xmlns:a16="http://schemas.microsoft.com/office/drawing/2014/main" id="{86FAB5B2-5505-E7FB-0BA2-70FEDA0AAFB7}"/>
              </a:ext>
            </a:extLst>
          </p:cNvPr>
          <p:cNvPicPr>
            <a:picLocks noChangeAspect="1"/>
          </p:cNvPicPr>
          <p:nvPr userDrawn="1"/>
        </p:nvPicPr>
        <p:blipFill>
          <a:blip r:embed="rId4">
            <a:extLst>
              <a:ext uri="{96DAC541-7B7A-43D3-8B79-37D633B846F1}">
                <asvg:svgBlip xmlns:asvg="http://schemas.microsoft.com/office/drawing/2016/SVG/main" r:embed="rId5"/>
              </a:ext>
            </a:extLst>
          </a:blip>
          <a:srcRect l="369" t="1" r="50030" b="308"/>
          <a:stretch>
            <a:fillRect/>
          </a:stretch>
        </p:blipFill>
        <p:spPr>
          <a:xfrm rot="10800000">
            <a:off x="6096000" y="0"/>
            <a:ext cx="6096000" cy="6866408"/>
          </a:xfrm>
          <a:prstGeom prst="rect">
            <a:avLst/>
          </a:prstGeom>
        </p:spPr>
      </p:pic>
      <p:pic>
        <p:nvPicPr>
          <p:cNvPr id="7" name="Graphic 6">
            <a:extLst>
              <a:ext uri="{FF2B5EF4-FFF2-40B4-BE49-F238E27FC236}">
                <a16:creationId xmlns:a16="http://schemas.microsoft.com/office/drawing/2014/main" id="{A29B8E52-7AB0-F11B-E837-88094F4F602B}"/>
              </a:ext>
            </a:extLst>
          </p:cNvPr>
          <p:cNvPicPr>
            <a:picLocks noChangeAspect="1"/>
          </p:cNvPicPr>
          <p:nvPr userDrawn="1"/>
        </p:nvPicPr>
        <p:blipFill>
          <a:blip r:embed="rId4">
            <a:extLst>
              <a:ext uri="{96DAC541-7B7A-43D3-8B79-37D633B846F1}">
                <asvg:svgBlip xmlns:asvg="http://schemas.microsoft.com/office/drawing/2016/SVG/main" r:embed="rId5"/>
              </a:ext>
            </a:extLst>
          </a:blip>
          <a:srcRect l="369" t="856" r="50030" b="308"/>
          <a:stretch>
            <a:fillRect/>
          </a:stretch>
        </p:blipFill>
        <p:spPr>
          <a:xfrm>
            <a:off x="0" y="50488"/>
            <a:ext cx="6096000" cy="6807512"/>
          </a:xfrm>
          <a:prstGeom prst="rect">
            <a:avLst/>
          </a:prstGeom>
        </p:spPr>
      </p:pic>
    </p:spTree>
    <p:extLst>
      <p:ext uri="{BB962C8B-B14F-4D97-AF65-F5344CB8AC3E}">
        <p14:creationId xmlns:p14="http://schemas.microsoft.com/office/powerpoint/2010/main" val="1571299035"/>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JOINT SIDC">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2711428-3E85-4171-81C6-3007FDBE55A0}"/>
              </a:ext>
            </a:extLst>
          </p:cNvPr>
          <p:cNvGraphicFramePr>
            <a:graphicFrameLocks noChangeAspect="1"/>
          </p:cNvGraphicFramePr>
          <p:nvPr userDrawn="1">
            <p:custDataLst>
              <p:tags r:id="rId1"/>
            </p:custDataLst>
            <p:extLst>
              <p:ext uri="{D42A27DB-BD31-4B8C-83A1-F6EECF244321}">
                <p14:modId xmlns:p14="http://schemas.microsoft.com/office/powerpoint/2010/main" val="3298604367"/>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12" name="Object 11" hidden="1">
                        <a:extLst>
                          <a:ext uri="{FF2B5EF4-FFF2-40B4-BE49-F238E27FC236}">
                            <a16:creationId xmlns:a16="http://schemas.microsoft.com/office/drawing/2014/main" id="{22711428-3E85-4171-81C6-3007FDBE55A0}"/>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719999" y="225425"/>
            <a:ext cx="10728000" cy="349702"/>
          </a:xfrm>
          <a:noFill/>
        </p:spPr>
        <p:txBody>
          <a:bodyPr vert="horz" bIns="72000">
            <a:spAutoFit/>
          </a:bodyPr>
          <a:lstStyle>
            <a:lvl1pPr>
              <a:defRPr>
                <a:solidFill>
                  <a:schemeClr val="tx1"/>
                </a:solidFill>
              </a:defRPr>
            </a:lvl1pPr>
          </a:lstStyle>
          <a:p>
            <a:r>
              <a:rPr lang="en-GB" noProof="0" dirty="0"/>
              <a:t>ICT</a:t>
            </a:r>
          </a:p>
        </p:txBody>
      </p:sp>
      <p:sp>
        <p:nvSpPr>
          <p:cNvPr id="8" name="Slide content"/>
          <p:cNvSpPr>
            <a:spLocks noGrp="1"/>
          </p:cNvSpPr>
          <p:nvPr>
            <p:ph type="body" sz="quarter" idx="13" hasCustomPrompt="1"/>
          </p:nvPr>
        </p:nvSpPr>
        <p:spPr>
          <a:xfrm>
            <a:off x="719998" y="1412875"/>
            <a:ext cx="6965072" cy="2145334"/>
          </a:xfrm>
        </p:spPr>
        <p:txBody>
          <a:bodyPr/>
          <a:lstStyle>
            <a:lvl1pPr marL="0" indent="0">
              <a:buNone/>
              <a:defRPr sz="1400" b="1">
                <a:solidFill>
                  <a:schemeClr val="bg1"/>
                </a:solidFill>
                <a:highlight>
                  <a:srgbClr val="F49100"/>
                </a:highlight>
              </a:defRPr>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GB" noProof="0" dirty="0"/>
              <a:t>Click to enter text</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a:p>
            <a:pPr lvl="5"/>
            <a:r>
              <a:rPr lang="en-GB" noProof="0" dirty="0"/>
              <a:t>Sixth level</a:t>
            </a:r>
          </a:p>
          <a:p>
            <a:pPr lvl="6"/>
            <a:endParaRPr lang="en-GB" noProof="0" dirty="0"/>
          </a:p>
        </p:txBody>
      </p:sp>
      <p:sp>
        <p:nvSpPr>
          <p:cNvPr id="9" name="Subtitle">
            <a:extLst>
              <a:ext uri="{FF2B5EF4-FFF2-40B4-BE49-F238E27FC236}">
                <a16:creationId xmlns:a16="http://schemas.microsoft.com/office/drawing/2014/main" id="{16CC1E85-F38F-DB33-0A87-EAA74293DF55}"/>
              </a:ext>
            </a:extLst>
          </p:cNvPr>
          <p:cNvSpPr>
            <a:spLocks noGrp="1"/>
          </p:cNvSpPr>
          <p:nvPr>
            <p:ph type="body" sz="quarter" idx="14" hasCustomPrompt="1"/>
          </p:nvPr>
        </p:nvSpPr>
        <p:spPr>
          <a:xfrm>
            <a:off x="719138" y="594850"/>
            <a:ext cx="8772103" cy="246221"/>
          </a:xfrm>
        </p:spPr>
        <p:txBody>
          <a:bodyPr wrap="square">
            <a:spAutoFit/>
          </a:bodyPr>
          <a:lstStyle>
            <a:lvl1pPr>
              <a:defRPr b="0">
                <a:solidFill>
                  <a:schemeClr val="accent4"/>
                </a:solidFill>
              </a:defRPr>
            </a:lvl1pPr>
            <a:lvl2pPr marL="180975" indent="0">
              <a:buNone/>
              <a:defRPr/>
            </a:lvl2pPr>
          </a:lstStyle>
          <a:p>
            <a:pPr lvl="0"/>
            <a:r>
              <a:rPr lang="en-GB" noProof="0" dirty="0"/>
              <a:t>SIDC topics</a:t>
            </a:r>
          </a:p>
        </p:txBody>
      </p:sp>
      <p:sp>
        <p:nvSpPr>
          <p:cNvPr id="3" name="Slide content">
            <a:extLst>
              <a:ext uri="{FF2B5EF4-FFF2-40B4-BE49-F238E27FC236}">
                <a16:creationId xmlns:a16="http://schemas.microsoft.com/office/drawing/2014/main" id="{AFF4BB36-43BF-675D-8FDE-6DA576F02ACA}"/>
              </a:ext>
            </a:extLst>
          </p:cNvPr>
          <p:cNvSpPr>
            <a:spLocks noGrp="1"/>
          </p:cNvSpPr>
          <p:nvPr>
            <p:ph type="body" sz="quarter" idx="15" hasCustomPrompt="1"/>
          </p:nvPr>
        </p:nvSpPr>
        <p:spPr>
          <a:xfrm>
            <a:off x="7921375" y="1422114"/>
            <a:ext cx="3551488" cy="2145334"/>
          </a:xfrm>
        </p:spPr>
        <p:txBody>
          <a:bodyPr/>
          <a:lstStyle>
            <a:lvl1pPr marL="0" indent="0">
              <a:buNone/>
              <a:defRPr sz="1400" b="1">
                <a:solidFill>
                  <a:schemeClr val="tx1"/>
                </a:solidFill>
              </a:defRPr>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GB" noProof="0" dirty="0"/>
              <a:t>Click to enter text</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a:p>
            <a:pPr lvl="5"/>
            <a:r>
              <a:rPr lang="en-GB" noProof="0" dirty="0"/>
              <a:t>Sixth level</a:t>
            </a:r>
          </a:p>
          <a:p>
            <a:pPr lvl="6"/>
            <a:endParaRPr lang="en-GB" noProof="0" dirty="0"/>
          </a:p>
        </p:txBody>
      </p:sp>
      <p:sp>
        <p:nvSpPr>
          <p:cNvPr id="4" name="Slide content">
            <a:extLst>
              <a:ext uri="{FF2B5EF4-FFF2-40B4-BE49-F238E27FC236}">
                <a16:creationId xmlns:a16="http://schemas.microsoft.com/office/drawing/2014/main" id="{BA7DB2AE-9019-DDBD-BDED-FE269F22CA51}"/>
              </a:ext>
            </a:extLst>
          </p:cNvPr>
          <p:cNvSpPr>
            <a:spLocks noGrp="1"/>
          </p:cNvSpPr>
          <p:nvPr>
            <p:ph type="body" sz="quarter" idx="16" hasCustomPrompt="1"/>
          </p:nvPr>
        </p:nvSpPr>
        <p:spPr>
          <a:xfrm>
            <a:off x="719137" y="4042462"/>
            <a:ext cx="6965072" cy="2302775"/>
          </a:xfrm>
        </p:spPr>
        <p:txBody>
          <a:bodyPr/>
          <a:lstStyle>
            <a:lvl1pPr marL="0" indent="0">
              <a:buNone/>
              <a:defRPr lang="en-GB" sz="1400" b="1" kern="1200" noProof="0" dirty="0">
                <a:solidFill>
                  <a:schemeClr val="bg1"/>
                </a:solidFill>
                <a:highlight>
                  <a:srgbClr val="F49100"/>
                </a:highlight>
                <a:latin typeface="+mj-lt"/>
                <a:ea typeface="+mn-ea"/>
                <a:cs typeface="+mn-cs"/>
              </a:defRPr>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marL="0" lvl="0" indent="0" algn="l" defTabSz="914400" rtl="0" eaLnBrk="1" latinLnBrk="0" hangingPunct="1">
              <a:spcBef>
                <a:spcPct val="20000"/>
              </a:spcBef>
              <a:buFont typeface="Arial" panose="020B0604020202020204" pitchFamily="34" charset="0"/>
              <a:buNone/>
            </a:pPr>
            <a:r>
              <a:rPr lang="en-GB" noProof="0" dirty="0"/>
              <a:t>Click to enter text</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a:p>
            <a:pPr lvl="5"/>
            <a:r>
              <a:rPr lang="en-GB" noProof="0" dirty="0"/>
              <a:t>Sixth level</a:t>
            </a:r>
          </a:p>
          <a:p>
            <a:pPr lvl="6"/>
            <a:endParaRPr lang="en-GB" noProof="0" dirty="0"/>
          </a:p>
        </p:txBody>
      </p:sp>
      <p:sp>
        <p:nvSpPr>
          <p:cNvPr id="5" name="Slide content">
            <a:extLst>
              <a:ext uri="{FF2B5EF4-FFF2-40B4-BE49-F238E27FC236}">
                <a16:creationId xmlns:a16="http://schemas.microsoft.com/office/drawing/2014/main" id="{9E55BE7E-9447-9F1C-5B65-14AF82A30B79}"/>
              </a:ext>
            </a:extLst>
          </p:cNvPr>
          <p:cNvSpPr>
            <a:spLocks noGrp="1"/>
          </p:cNvSpPr>
          <p:nvPr>
            <p:ph type="body" sz="quarter" idx="17" hasCustomPrompt="1"/>
          </p:nvPr>
        </p:nvSpPr>
        <p:spPr>
          <a:xfrm>
            <a:off x="7921373" y="4042462"/>
            <a:ext cx="3551489" cy="2302775"/>
          </a:xfrm>
        </p:spPr>
        <p:txBody>
          <a:bodyPr/>
          <a:lstStyle>
            <a:lvl1pPr marL="0" indent="0">
              <a:buNone/>
              <a:defRPr sz="1400" b="1">
                <a:solidFill>
                  <a:schemeClr val="tx1"/>
                </a:solidFill>
              </a:defRPr>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GB" noProof="0" dirty="0"/>
              <a:t>Click to enter text</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a:p>
            <a:pPr lvl="5"/>
            <a:r>
              <a:rPr lang="en-GB" noProof="0" dirty="0"/>
              <a:t>Sixth level</a:t>
            </a:r>
          </a:p>
          <a:p>
            <a:pPr lvl="6"/>
            <a:endParaRPr lang="en-GB" noProof="0" dirty="0"/>
          </a:p>
        </p:txBody>
      </p:sp>
    </p:spTree>
    <p:extLst>
      <p:ext uri="{BB962C8B-B14F-4D97-AF65-F5344CB8AC3E}">
        <p14:creationId xmlns:p14="http://schemas.microsoft.com/office/powerpoint/2010/main" val="34082406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blanko">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2B5488-131A-65A8-20D1-CDC22163EFEB}"/>
              </a:ext>
            </a:extLst>
          </p:cNvPr>
          <p:cNvSpPr>
            <a:spLocks noGrp="1"/>
          </p:cNvSpPr>
          <p:nvPr>
            <p:ph type="title" hasCustomPrompt="1"/>
          </p:nvPr>
        </p:nvSpPr>
        <p:spPr/>
        <p:txBody>
          <a:bodyPr/>
          <a:lstStyle/>
          <a:p>
            <a:r>
              <a:rPr lang="en-US" dirty="0"/>
              <a:t>Click to edit primary Headline</a:t>
            </a:r>
            <a:endParaRPr lang="de-DE" dirty="0"/>
          </a:p>
        </p:txBody>
      </p:sp>
    </p:spTree>
    <p:extLst>
      <p:ext uri="{BB962C8B-B14F-4D97-AF65-F5344CB8AC3E}">
        <p14:creationId xmlns:p14="http://schemas.microsoft.com/office/powerpoint/2010/main" val="3985108823"/>
      </p:ext>
    </p:extLst>
  </p:cSld>
  <p:clrMapOvr>
    <a:masterClrMapping/>
  </p:clrMapOvr>
  <p:extLst>
    <p:ext uri="{DCECCB84-F9BA-43D5-87BE-67443E8EF086}">
      <p15:sldGuideLst xmlns:p15="http://schemas.microsoft.com/office/powerpoint/2012/main">
        <p15:guide id="1" pos="3885">
          <p15:clr>
            <a:srgbClr val="FBAE40"/>
          </p15:clr>
        </p15:guide>
        <p15:guide id="2" pos="3795">
          <p15:clr>
            <a:srgbClr val="FBAE40"/>
          </p15:clr>
        </p15:guide>
        <p15:guide id="3" pos="2105">
          <p15:clr>
            <a:srgbClr val="FBAE40"/>
          </p15:clr>
        </p15:guide>
        <p15:guide id="4" pos="2015">
          <p15:clr>
            <a:srgbClr val="FBAE40"/>
          </p15:clr>
        </p15:guide>
        <p15:guide id="5" pos="5575">
          <p15:clr>
            <a:srgbClr val="FBAE40"/>
          </p15:clr>
        </p15:guide>
        <p15:guide id="6" pos="5665">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el and conten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50F36CD-D6AA-99BA-D447-98CB51089E58}"/>
              </a:ext>
            </a:extLst>
          </p:cNvPr>
          <p:cNvGraphicFramePr>
            <a:graphicFrameLocks noChangeAspect="1"/>
          </p:cNvGraphicFramePr>
          <p:nvPr userDrawn="1">
            <p:custDataLst>
              <p:tags r:id="rId1"/>
            </p:custDataLst>
            <p:extLst>
              <p:ext uri="{D42A27DB-BD31-4B8C-83A1-F6EECF244321}">
                <p14:modId xmlns:p14="http://schemas.microsoft.com/office/powerpoint/2010/main" val="6663212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450F36CD-D6AA-99BA-D447-98CB51089E5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Titelplatzhalter 1">
            <a:extLst>
              <a:ext uri="{FF2B5EF4-FFF2-40B4-BE49-F238E27FC236}">
                <a16:creationId xmlns:a16="http://schemas.microsoft.com/office/drawing/2014/main" id="{0540C2FA-3E33-C43B-0D63-7D51451197CF}"/>
              </a:ext>
            </a:extLst>
          </p:cNvPr>
          <p:cNvSpPr>
            <a:spLocks noGrp="1"/>
          </p:cNvSpPr>
          <p:nvPr>
            <p:ph type="title" hasCustomPrompt="1"/>
          </p:nvPr>
        </p:nvSpPr>
        <p:spPr>
          <a:xfrm>
            <a:off x="515938" y="448248"/>
            <a:ext cx="11160125" cy="523302"/>
          </a:xfrm>
          <a:prstGeom prst="rect">
            <a:avLst/>
          </a:prstGeom>
        </p:spPr>
        <p:txBody>
          <a:bodyPr vert="horz" lIns="0" tIns="0" rIns="0" bIns="0" rtlCol="0" anchor="t" anchorCtr="0">
            <a:noAutofit/>
          </a:bodyPr>
          <a:lstStyle>
            <a:lvl1pPr>
              <a:defRPr>
                <a:solidFill>
                  <a:schemeClr val="accent4"/>
                </a:solidFill>
              </a:defRPr>
            </a:lvl1pPr>
          </a:lstStyle>
          <a:p>
            <a:r>
              <a:rPr lang="en-US" dirty="0"/>
              <a:t>Click to edit primary Headline</a:t>
            </a:r>
            <a:endParaRPr lang="en-US" noProof="0" dirty="0"/>
          </a:p>
        </p:txBody>
      </p:sp>
      <p:sp>
        <p:nvSpPr>
          <p:cNvPr id="11" name="Inhaltsplatzhalter 2">
            <a:extLst>
              <a:ext uri="{FF2B5EF4-FFF2-40B4-BE49-F238E27FC236}">
                <a16:creationId xmlns:a16="http://schemas.microsoft.com/office/drawing/2014/main" id="{5C329955-7184-3FD4-16F1-FB71768EE4CB}"/>
              </a:ext>
            </a:extLst>
          </p:cNvPr>
          <p:cNvSpPr>
            <a:spLocks noGrp="1"/>
          </p:cNvSpPr>
          <p:nvPr>
            <p:ph sz="quarter" idx="19"/>
          </p:nvPr>
        </p:nvSpPr>
        <p:spPr>
          <a:xfrm>
            <a:off x="515938" y="1375577"/>
            <a:ext cx="11160125" cy="44299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 name="Text Placeholder 2">
            <a:extLst>
              <a:ext uri="{FF2B5EF4-FFF2-40B4-BE49-F238E27FC236}">
                <a16:creationId xmlns:a16="http://schemas.microsoft.com/office/drawing/2014/main" id="{0618CB5B-9B2A-DBBA-C3CE-094B88837ADA}"/>
              </a:ext>
            </a:extLst>
          </p:cNvPr>
          <p:cNvSpPr>
            <a:spLocks noGrp="1"/>
          </p:cNvSpPr>
          <p:nvPr>
            <p:ph type="body" sz="quarter" idx="20"/>
          </p:nvPr>
        </p:nvSpPr>
        <p:spPr>
          <a:xfrm>
            <a:off x="515938" y="754064"/>
            <a:ext cx="11160125" cy="217486"/>
          </a:xfrm>
        </p:spPr>
        <p:txBody>
          <a:bodyPr/>
          <a:lstStyle>
            <a:lvl2pPr marL="0" indent="0">
              <a:buNone/>
              <a:defRPr/>
            </a:lvl2pPr>
          </a:lstStyle>
          <a:p>
            <a:pPr lvl="0"/>
            <a:r>
              <a:rPr lang="en-GB" dirty="0"/>
              <a:t>Click to edit Master text styles</a:t>
            </a:r>
          </a:p>
          <a:p>
            <a:pPr lvl="4"/>
            <a:endParaRPr lang="en-NL" dirty="0"/>
          </a:p>
        </p:txBody>
      </p:sp>
    </p:spTree>
    <p:extLst>
      <p:ext uri="{BB962C8B-B14F-4D97-AF65-F5344CB8AC3E}">
        <p14:creationId xmlns:p14="http://schemas.microsoft.com/office/powerpoint/2010/main" val="420838526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two contents">
    <p:spTree>
      <p:nvGrpSpPr>
        <p:cNvPr id="1" name=""/>
        <p:cNvGrpSpPr/>
        <p:nvPr/>
      </p:nvGrpSpPr>
      <p:grpSpPr>
        <a:xfrm>
          <a:off x="0" y="0"/>
          <a:ext cx="0" cy="0"/>
          <a:chOff x="0" y="0"/>
          <a:chExt cx="0" cy="0"/>
        </a:xfrm>
      </p:grpSpPr>
      <p:sp>
        <p:nvSpPr>
          <p:cNvPr id="7" name="Titelplatzhalter 1">
            <a:extLst>
              <a:ext uri="{FF2B5EF4-FFF2-40B4-BE49-F238E27FC236}">
                <a16:creationId xmlns:a16="http://schemas.microsoft.com/office/drawing/2014/main" id="{57D8B1B7-2A01-9876-909A-3624E3E33401}"/>
              </a:ext>
            </a:extLst>
          </p:cNvPr>
          <p:cNvSpPr>
            <a:spLocks noGrp="1"/>
          </p:cNvSpPr>
          <p:nvPr>
            <p:ph type="title"/>
          </p:nvPr>
        </p:nvSpPr>
        <p:spPr>
          <a:xfrm>
            <a:off x="515938" y="448248"/>
            <a:ext cx="11160125" cy="523302"/>
          </a:xfrm>
          <a:prstGeom prst="rect">
            <a:avLst/>
          </a:prstGeom>
        </p:spPr>
        <p:txBody>
          <a:bodyPr vert="horz" lIns="0" tIns="0" rIns="0" bIns="0" rtlCol="0" anchor="t" anchorCtr="0">
            <a:noAutofit/>
          </a:bodyPr>
          <a:lstStyle/>
          <a:p>
            <a:r>
              <a:rPr lang="en-US" dirty="0"/>
              <a:t>Click to edit primary Headline</a:t>
            </a:r>
            <a:endParaRPr lang="en-US" noProof="0" dirty="0"/>
          </a:p>
        </p:txBody>
      </p:sp>
      <p:sp>
        <p:nvSpPr>
          <p:cNvPr id="12" name="Inhaltsplatzhalter 2">
            <a:extLst>
              <a:ext uri="{FF2B5EF4-FFF2-40B4-BE49-F238E27FC236}">
                <a16:creationId xmlns:a16="http://schemas.microsoft.com/office/drawing/2014/main" id="{D284E76D-64C9-B1E4-0754-858BD4E2CD09}"/>
              </a:ext>
            </a:extLst>
          </p:cNvPr>
          <p:cNvSpPr>
            <a:spLocks noGrp="1"/>
          </p:cNvSpPr>
          <p:nvPr>
            <p:ph sz="quarter" idx="20"/>
          </p:nvPr>
        </p:nvSpPr>
        <p:spPr>
          <a:xfrm>
            <a:off x="515938" y="1375577"/>
            <a:ext cx="5505449" cy="44299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3" name="Inhaltsplatzhalter 2">
            <a:extLst>
              <a:ext uri="{FF2B5EF4-FFF2-40B4-BE49-F238E27FC236}">
                <a16:creationId xmlns:a16="http://schemas.microsoft.com/office/drawing/2014/main" id="{376BA811-6E97-8116-9916-6637CE260DE3}"/>
              </a:ext>
            </a:extLst>
          </p:cNvPr>
          <p:cNvSpPr>
            <a:spLocks noGrp="1"/>
          </p:cNvSpPr>
          <p:nvPr>
            <p:ph sz="quarter" idx="21"/>
          </p:nvPr>
        </p:nvSpPr>
        <p:spPr>
          <a:xfrm>
            <a:off x="6170615" y="1376363"/>
            <a:ext cx="5505449" cy="44299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451716573"/>
      </p:ext>
    </p:extLst>
  </p:cSld>
  <p:clrMapOvr>
    <a:masterClrMapping/>
  </p:clrMapOvr>
  <p:extLst>
    <p:ext uri="{DCECCB84-F9BA-43D5-87BE-67443E8EF086}">
      <p15:sldGuideLst xmlns:p15="http://schemas.microsoft.com/office/powerpoint/2012/main">
        <p15:guide id="1" pos="3884">
          <p15:clr>
            <a:srgbClr val="FBAE40"/>
          </p15:clr>
        </p15:guide>
        <p15:guide id="2" pos="3793">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10A234D-93F8-1192-4174-6C45F44743D5}"/>
              </a:ext>
            </a:extLst>
          </p:cNvPr>
          <p:cNvSpPr>
            <a:spLocks noGrp="1"/>
          </p:cNvSpPr>
          <p:nvPr>
            <p:ph type="title"/>
          </p:nvPr>
        </p:nvSpPr>
        <p:spPr>
          <a:xfrm>
            <a:off x="515938" y="2319454"/>
            <a:ext cx="9297135" cy="1109546"/>
          </a:xfrm>
        </p:spPr>
        <p:txBody>
          <a:bodyPr/>
          <a:lstStyle>
            <a:lvl1pPr>
              <a:defRPr sz="3600"/>
            </a:lvl1pPr>
          </a:lstStyle>
          <a:p>
            <a:r>
              <a:rPr lang="de-DE" dirty="0"/>
              <a:t>Mastertitelformat bearbeiten</a:t>
            </a:r>
          </a:p>
        </p:txBody>
      </p:sp>
      <p:sp>
        <p:nvSpPr>
          <p:cNvPr id="6" name="Textplatzhalter 5">
            <a:extLst>
              <a:ext uri="{FF2B5EF4-FFF2-40B4-BE49-F238E27FC236}">
                <a16:creationId xmlns:a16="http://schemas.microsoft.com/office/drawing/2014/main" id="{3110933A-3A9A-C046-B06C-BE3507543AE6}"/>
              </a:ext>
            </a:extLst>
          </p:cNvPr>
          <p:cNvSpPr>
            <a:spLocks noGrp="1"/>
          </p:cNvSpPr>
          <p:nvPr>
            <p:ph type="body" sz="quarter" idx="10"/>
          </p:nvPr>
        </p:nvSpPr>
        <p:spPr>
          <a:xfrm>
            <a:off x="4616217" y="3432989"/>
            <a:ext cx="6311900" cy="971550"/>
          </a:xfrm>
        </p:spPr>
        <p:txBody>
          <a:bodyPr/>
          <a:lstStyle>
            <a:lvl1pPr>
              <a:defRPr sz="1800"/>
            </a:lvl1pPr>
            <a:lvl2pPr>
              <a:defRPr sz="1800"/>
            </a:lvl2pPr>
            <a:lvl3pPr>
              <a:defRPr sz="1800"/>
            </a:lvl3pPr>
            <a:lvl4pPr>
              <a:defRPr sz="1800"/>
            </a:lvl4pPr>
            <a:lvl5pP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39987044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itle picture right">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1B70F05-4ADF-55BB-EBCE-53099A67BA49}"/>
              </a:ext>
            </a:extLst>
          </p:cNvPr>
          <p:cNvSpPr>
            <a:spLocks noGrp="1"/>
          </p:cNvSpPr>
          <p:nvPr>
            <p:ph type="ctrTitle" hasCustomPrompt="1"/>
          </p:nvPr>
        </p:nvSpPr>
        <p:spPr>
          <a:xfrm>
            <a:off x="1842933" y="1690300"/>
            <a:ext cx="8170862" cy="941388"/>
          </a:xfrm>
          <a:prstGeom prst="rect">
            <a:avLst/>
          </a:prstGeom>
        </p:spPr>
        <p:txBody>
          <a:bodyPr anchor="t" anchorCtr="0"/>
          <a:lstStyle>
            <a:lvl1pPr algn="l">
              <a:defRPr sz="3600"/>
            </a:lvl1pPr>
          </a:lstStyle>
          <a:p>
            <a:r>
              <a:rPr lang="de-DE" dirty="0"/>
              <a:t>Click </a:t>
            </a:r>
            <a:r>
              <a:rPr lang="de-DE" dirty="0" err="1"/>
              <a:t>to</a:t>
            </a:r>
            <a:r>
              <a:rPr lang="de-DE" dirty="0"/>
              <a:t> </a:t>
            </a:r>
            <a:r>
              <a:rPr lang="de-DE" dirty="0" err="1"/>
              <a:t>edit</a:t>
            </a:r>
            <a:r>
              <a:rPr lang="de-DE" dirty="0"/>
              <a:t> </a:t>
            </a:r>
            <a:r>
              <a:rPr lang="de-DE" dirty="0" err="1"/>
              <a:t>primary</a:t>
            </a:r>
            <a:r>
              <a:rPr lang="de-DE" dirty="0"/>
              <a:t> Headline</a:t>
            </a:r>
          </a:p>
        </p:txBody>
      </p:sp>
      <p:sp>
        <p:nvSpPr>
          <p:cNvPr id="3" name="Untertitel 2">
            <a:extLst>
              <a:ext uri="{FF2B5EF4-FFF2-40B4-BE49-F238E27FC236}">
                <a16:creationId xmlns:a16="http://schemas.microsoft.com/office/drawing/2014/main" id="{9AF78B23-D158-02BE-F610-CD25F85101CC}"/>
              </a:ext>
            </a:extLst>
          </p:cNvPr>
          <p:cNvSpPr>
            <a:spLocks noGrp="1"/>
          </p:cNvSpPr>
          <p:nvPr>
            <p:ph type="subTitle" idx="1" hasCustomPrompt="1"/>
          </p:nvPr>
        </p:nvSpPr>
        <p:spPr>
          <a:xfrm>
            <a:off x="1842933" y="2913064"/>
            <a:ext cx="8170862" cy="410000"/>
          </a:xfrm>
          <a:prstGeom prst="rect">
            <a:avLst/>
          </a:prstGeom>
        </p:spPr>
        <p:txBody>
          <a:bodyPr anchor="t" anchorCtr="0"/>
          <a:lstStyle>
            <a:lvl1pPr marL="0" indent="0" algn="l">
              <a:buNone/>
              <a:defRPr sz="2400" b="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Click </a:t>
            </a:r>
            <a:r>
              <a:rPr lang="de-DE" dirty="0" err="1"/>
              <a:t>to</a:t>
            </a:r>
            <a:r>
              <a:rPr lang="de-DE" dirty="0"/>
              <a:t> </a:t>
            </a:r>
            <a:r>
              <a:rPr lang="de-DE" dirty="0" err="1"/>
              <a:t>edit</a:t>
            </a:r>
            <a:r>
              <a:rPr lang="de-DE" dirty="0"/>
              <a:t> Subheadline</a:t>
            </a:r>
          </a:p>
        </p:txBody>
      </p:sp>
      <p:sp>
        <p:nvSpPr>
          <p:cNvPr id="10" name="Textplatzhalter 9">
            <a:extLst>
              <a:ext uri="{FF2B5EF4-FFF2-40B4-BE49-F238E27FC236}">
                <a16:creationId xmlns:a16="http://schemas.microsoft.com/office/drawing/2014/main" id="{B4FA8F35-E994-8250-4CC2-9E91847E5C63}"/>
              </a:ext>
            </a:extLst>
          </p:cNvPr>
          <p:cNvSpPr>
            <a:spLocks noGrp="1"/>
          </p:cNvSpPr>
          <p:nvPr>
            <p:ph type="body" sz="quarter" idx="10" hasCustomPrompt="1"/>
          </p:nvPr>
        </p:nvSpPr>
        <p:spPr>
          <a:xfrm>
            <a:off x="1843088" y="3429000"/>
            <a:ext cx="8170862" cy="455613"/>
          </a:xfrm>
        </p:spPr>
        <p:txBody>
          <a:bodyPr/>
          <a:lstStyle>
            <a:lvl1pPr>
              <a:defRPr sz="1800"/>
            </a:lvl1pPr>
          </a:lstStyle>
          <a:p>
            <a:pPr lvl="0"/>
            <a:r>
              <a:rPr lang="de-DE" dirty="0"/>
              <a:t>Date</a:t>
            </a:r>
          </a:p>
        </p:txBody>
      </p:sp>
      <p:pic>
        <p:nvPicPr>
          <p:cNvPr id="4" name="Grafik 3">
            <a:extLst>
              <a:ext uri="{FF2B5EF4-FFF2-40B4-BE49-F238E27FC236}">
                <a16:creationId xmlns:a16="http://schemas.microsoft.com/office/drawing/2014/main" id="{BF3C6BDF-4AB9-6291-B334-820EA797F58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964433" y="6128344"/>
            <a:ext cx="800118" cy="377834"/>
          </a:xfrm>
          <a:prstGeom prst="rect">
            <a:avLst/>
          </a:prstGeom>
        </p:spPr>
      </p:pic>
      <p:pic>
        <p:nvPicPr>
          <p:cNvPr id="6" name="Graphic 5">
            <a:extLst>
              <a:ext uri="{FF2B5EF4-FFF2-40B4-BE49-F238E27FC236}">
                <a16:creationId xmlns:a16="http://schemas.microsoft.com/office/drawing/2014/main" id="{86FAB5B2-5505-E7FB-0BA2-70FEDA0AAFB7}"/>
              </a:ext>
            </a:extLst>
          </p:cNvPr>
          <p:cNvPicPr>
            <a:picLocks noChangeAspect="1"/>
          </p:cNvPicPr>
          <p:nvPr userDrawn="1"/>
        </p:nvPicPr>
        <p:blipFill>
          <a:blip r:embed="rId4">
            <a:extLst>
              <a:ext uri="{96DAC541-7B7A-43D3-8B79-37D633B846F1}">
                <asvg:svgBlip xmlns:asvg="http://schemas.microsoft.com/office/drawing/2016/SVG/main" r:embed="rId5"/>
              </a:ext>
            </a:extLst>
          </a:blip>
          <a:srcRect l="369" t="1" r="50030" b="308"/>
          <a:stretch>
            <a:fillRect/>
          </a:stretch>
        </p:blipFill>
        <p:spPr>
          <a:xfrm rot="10800000">
            <a:off x="6096000" y="0"/>
            <a:ext cx="6096000" cy="6866408"/>
          </a:xfrm>
          <a:prstGeom prst="rect">
            <a:avLst/>
          </a:prstGeom>
        </p:spPr>
      </p:pic>
      <p:pic>
        <p:nvPicPr>
          <p:cNvPr id="7" name="Graphic 6">
            <a:extLst>
              <a:ext uri="{FF2B5EF4-FFF2-40B4-BE49-F238E27FC236}">
                <a16:creationId xmlns:a16="http://schemas.microsoft.com/office/drawing/2014/main" id="{A29B8E52-7AB0-F11B-E837-88094F4F602B}"/>
              </a:ext>
            </a:extLst>
          </p:cNvPr>
          <p:cNvPicPr>
            <a:picLocks noChangeAspect="1"/>
          </p:cNvPicPr>
          <p:nvPr userDrawn="1"/>
        </p:nvPicPr>
        <p:blipFill>
          <a:blip r:embed="rId4">
            <a:extLst>
              <a:ext uri="{96DAC541-7B7A-43D3-8B79-37D633B846F1}">
                <asvg:svgBlip xmlns:asvg="http://schemas.microsoft.com/office/drawing/2016/SVG/main" r:embed="rId5"/>
              </a:ext>
            </a:extLst>
          </a:blip>
          <a:srcRect l="369" t="856" r="50030" b="308"/>
          <a:stretch>
            <a:fillRect/>
          </a:stretch>
        </p:blipFill>
        <p:spPr>
          <a:xfrm>
            <a:off x="0" y="50488"/>
            <a:ext cx="6096000" cy="6807512"/>
          </a:xfrm>
          <a:prstGeom prst="rect">
            <a:avLst/>
          </a:prstGeom>
        </p:spPr>
      </p:pic>
    </p:spTree>
    <p:extLst>
      <p:ext uri="{BB962C8B-B14F-4D97-AF65-F5344CB8AC3E}">
        <p14:creationId xmlns:p14="http://schemas.microsoft.com/office/powerpoint/2010/main" val="220344157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JOINT SIDC">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2711428-3E85-4171-81C6-3007FDBE55A0}"/>
              </a:ext>
            </a:extLst>
          </p:cNvPr>
          <p:cNvGraphicFramePr>
            <a:graphicFrameLocks noChangeAspect="1"/>
          </p:cNvGraphicFramePr>
          <p:nvPr userDrawn="1">
            <p:custDataLst>
              <p:tags r:id="rId1"/>
            </p:custDataLst>
            <p:extLst>
              <p:ext uri="{D42A27DB-BD31-4B8C-83A1-F6EECF244321}">
                <p14:modId xmlns:p14="http://schemas.microsoft.com/office/powerpoint/2010/main" val="3298604367"/>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12" name="Object 11" hidden="1">
                        <a:extLst>
                          <a:ext uri="{FF2B5EF4-FFF2-40B4-BE49-F238E27FC236}">
                            <a16:creationId xmlns:a16="http://schemas.microsoft.com/office/drawing/2014/main" id="{22711428-3E85-4171-81C6-3007FDBE55A0}"/>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719999" y="225425"/>
            <a:ext cx="10728000" cy="349702"/>
          </a:xfrm>
          <a:noFill/>
        </p:spPr>
        <p:txBody>
          <a:bodyPr vert="horz" bIns="72000">
            <a:spAutoFit/>
          </a:bodyPr>
          <a:lstStyle>
            <a:lvl1pPr>
              <a:defRPr>
                <a:solidFill>
                  <a:schemeClr val="tx1"/>
                </a:solidFill>
              </a:defRPr>
            </a:lvl1pPr>
          </a:lstStyle>
          <a:p>
            <a:r>
              <a:rPr lang="en-GB" noProof="0" dirty="0"/>
              <a:t>ICT</a:t>
            </a:r>
          </a:p>
        </p:txBody>
      </p:sp>
      <p:sp>
        <p:nvSpPr>
          <p:cNvPr id="8" name="Slide content"/>
          <p:cNvSpPr>
            <a:spLocks noGrp="1"/>
          </p:cNvSpPr>
          <p:nvPr>
            <p:ph type="body" sz="quarter" idx="13" hasCustomPrompt="1"/>
          </p:nvPr>
        </p:nvSpPr>
        <p:spPr>
          <a:xfrm>
            <a:off x="719998" y="1412875"/>
            <a:ext cx="6965072" cy="2145334"/>
          </a:xfrm>
        </p:spPr>
        <p:txBody>
          <a:bodyPr/>
          <a:lstStyle>
            <a:lvl1pPr marL="0" indent="0">
              <a:buNone/>
              <a:defRPr sz="1400" b="1">
                <a:solidFill>
                  <a:schemeClr val="bg1"/>
                </a:solidFill>
                <a:highlight>
                  <a:srgbClr val="F49100"/>
                </a:highlight>
              </a:defRPr>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GB" noProof="0" dirty="0"/>
              <a:t>Click to enter text</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a:p>
            <a:pPr lvl="5"/>
            <a:r>
              <a:rPr lang="en-GB" noProof="0" dirty="0"/>
              <a:t>Sixth level</a:t>
            </a:r>
          </a:p>
          <a:p>
            <a:pPr lvl="6"/>
            <a:endParaRPr lang="en-GB" noProof="0" dirty="0"/>
          </a:p>
        </p:txBody>
      </p:sp>
      <p:sp>
        <p:nvSpPr>
          <p:cNvPr id="9" name="Subtitle">
            <a:extLst>
              <a:ext uri="{FF2B5EF4-FFF2-40B4-BE49-F238E27FC236}">
                <a16:creationId xmlns:a16="http://schemas.microsoft.com/office/drawing/2014/main" id="{16CC1E85-F38F-DB33-0A87-EAA74293DF55}"/>
              </a:ext>
            </a:extLst>
          </p:cNvPr>
          <p:cNvSpPr>
            <a:spLocks noGrp="1"/>
          </p:cNvSpPr>
          <p:nvPr>
            <p:ph type="body" sz="quarter" idx="14" hasCustomPrompt="1"/>
          </p:nvPr>
        </p:nvSpPr>
        <p:spPr>
          <a:xfrm>
            <a:off x="719138" y="594850"/>
            <a:ext cx="8772103" cy="246221"/>
          </a:xfrm>
        </p:spPr>
        <p:txBody>
          <a:bodyPr wrap="square">
            <a:spAutoFit/>
          </a:bodyPr>
          <a:lstStyle>
            <a:lvl1pPr>
              <a:defRPr b="0">
                <a:solidFill>
                  <a:schemeClr val="accent4"/>
                </a:solidFill>
              </a:defRPr>
            </a:lvl1pPr>
            <a:lvl2pPr marL="180975" indent="0">
              <a:buNone/>
              <a:defRPr/>
            </a:lvl2pPr>
          </a:lstStyle>
          <a:p>
            <a:pPr lvl="0"/>
            <a:r>
              <a:rPr lang="en-GB" noProof="0" dirty="0"/>
              <a:t>SIDC topics</a:t>
            </a:r>
          </a:p>
        </p:txBody>
      </p:sp>
      <p:sp>
        <p:nvSpPr>
          <p:cNvPr id="3" name="Slide content">
            <a:extLst>
              <a:ext uri="{FF2B5EF4-FFF2-40B4-BE49-F238E27FC236}">
                <a16:creationId xmlns:a16="http://schemas.microsoft.com/office/drawing/2014/main" id="{AFF4BB36-43BF-675D-8FDE-6DA576F02ACA}"/>
              </a:ext>
            </a:extLst>
          </p:cNvPr>
          <p:cNvSpPr>
            <a:spLocks noGrp="1"/>
          </p:cNvSpPr>
          <p:nvPr>
            <p:ph type="body" sz="quarter" idx="15" hasCustomPrompt="1"/>
          </p:nvPr>
        </p:nvSpPr>
        <p:spPr>
          <a:xfrm>
            <a:off x="7921375" y="1422114"/>
            <a:ext cx="3551488" cy="2145334"/>
          </a:xfrm>
        </p:spPr>
        <p:txBody>
          <a:bodyPr/>
          <a:lstStyle>
            <a:lvl1pPr marL="0" indent="0">
              <a:buNone/>
              <a:defRPr sz="1400" b="1">
                <a:solidFill>
                  <a:schemeClr val="tx1"/>
                </a:solidFill>
              </a:defRPr>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GB" noProof="0" dirty="0"/>
              <a:t>Click to enter text</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a:p>
            <a:pPr lvl="5"/>
            <a:r>
              <a:rPr lang="en-GB" noProof="0" dirty="0"/>
              <a:t>Sixth level</a:t>
            </a:r>
          </a:p>
          <a:p>
            <a:pPr lvl="6"/>
            <a:endParaRPr lang="en-GB" noProof="0" dirty="0"/>
          </a:p>
        </p:txBody>
      </p:sp>
      <p:sp>
        <p:nvSpPr>
          <p:cNvPr id="4" name="Slide content">
            <a:extLst>
              <a:ext uri="{FF2B5EF4-FFF2-40B4-BE49-F238E27FC236}">
                <a16:creationId xmlns:a16="http://schemas.microsoft.com/office/drawing/2014/main" id="{BA7DB2AE-9019-DDBD-BDED-FE269F22CA51}"/>
              </a:ext>
            </a:extLst>
          </p:cNvPr>
          <p:cNvSpPr>
            <a:spLocks noGrp="1"/>
          </p:cNvSpPr>
          <p:nvPr>
            <p:ph type="body" sz="quarter" idx="16" hasCustomPrompt="1"/>
          </p:nvPr>
        </p:nvSpPr>
        <p:spPr>
          <a:xfrm>
            <a:off x="719137" y="4042462"/>
            <a:ext cx="6965072" cy="2302775"/>
          </a:xfrm>
        </p:spPr>
        <p:txBody>
          <a:bodyPr/>
          <a:lstStyle>
            <a:lvl1pPr marL="0" indent="0">
              <a:buNone/>
              <a:defRPr lang="en-GB" sz="1400" b="1" kern="1200" noProof="0" dirty="0">
                <a:solidFill>
                  <a:schemeClr val="bg1"/>
                </a:solidFill>
                <a:highlight>
                  <a:srgbClr val="F49100"/>
                </a:highlight>
                <a:latin typeface="+mj-lt"/>
                <a:ea typeface="+mn-ea"/>
                <a:cs typeface="+mn-cs"/>
              </a:defRPr>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marL="0" lvl="0" indent="0" algn="l" defTabSz="914400" rtl="0" eaLnBrk="1" latinLnBrk="0" hangingPunct="1">
              <a:spcBef>
                <a:spcPct val="20000"/>
              </a:spcBef>
              <a:buFont typeface="Arial" panose="020B0604020202020204" pitchFamily="34" charset="0"/>
              <a:buNone/>
            </a:pPr>
            <a:r>
              <a:rPr lang="en-GB" noProof="0" dirty="0"/>
              <a:t>Click to enter text</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a:p>
            <a:pPr lvl="5"/>
            <a:r>
              <a:rPr lang="en-GB" noProof="0" dirty="0"/>
              <a:t>Sixth level</a:t>
            </a:r>
          </a:p>
          <a:p>
            <a:pPr lvl="6"/>
            <a:endParaRPr lang="en-GB" noProof="0" dirty="0"/>
          </a:p>
        </p:txBody>
      </p:sp>
      <p:sp>
        <p:nvSpPr>
          <p:cNvPr id="5" name="Slide content">
            <a:extLst>
              <a:ext uri="{FF2B5EF4-FFF2-40B4-BE49-F238E27FC236}">
                <a16:creationId xmlns:a16="http://schemas.microsoft.com/office/drawing/2014/main" id="{9E55BE7E-9447-9F1C-5B65-14AF82A30B79}"/>
              </a:ext>
            </a:extLst>
          </p:cNvPr>
          <p:cNvSpPr>
            <a:spLocks noGrp="1"/>
          </p:cNvSpPr>
          <p:nvPr>
            <p:ph type="body" sz="quarter" idx="17" hasCustomPrompt="1"/>
          </p:nvPr>
        </p:nvSpPr>
        <p:spPr>
          <a:xfrm>
            <a:off x="7921373" y="4042462"/>
            <a:ext cx="3551489" cy="2302775"/>
          </a:xfrm>
        </p:spPr>
        <p:txBody>
          <a:bodyPr/>
          <a:lstStyle>
            <a:lvl1pPr marL="0" indent="0">
              <a:buNone/>
              <a:defRPr sz="1400" b="1">
                <a:solidFill>
                  <a:schemeClr val="tx1"/>
                </a:solidFill>
              </a:defRPr>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GB" noProof="0" dirty="0"/>
              <a:t>Click to enter text</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a:p>
            <a:pPr lvl="5"/>
            <a:r>
              <a:rPr lang="en-GB" noProof="0" dirty="0"/>
              <a:t>Sixth level</a:t>
            </a:r>
          </a:p>
          <a:p>
            <a:pPr lvl="6"/>
            <a:endParaRPr lang="en-GB" noProof="0" dirty="0"/>
          </a:p>
        </p:txBody>
      </p:sp>
    </p:spTree>
    <p:extLst>
      <p:ext uri="{BB962C8B-B14F-4D97-AF65-F5344CB8AC3E}">
        <p14:creationId xmlns:p14="http://schemas.microsoft.com/office/powerpoint/2010/main" val="35808468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blanko">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2B5488-131A-65A8-20D1-CDC22163EFEB}"/>
              </a:ext>
            </a:extLst>
          </p:cNvPr>
          <p:cNvSpPr>
            <a:spLocks noGrp="1"/>
          </p:cNvSpPr>
          <p:nvPr>
            <p:ph type="title" hasCustomPrompt="1"/>
          </p:nvPr>
        </p:nvSpPr>
        <p:spPr/>
        <p:txBody>
          <a:bodyPr/>
          <a:lstStyle/>
          <a:p>
            <a:r>
              <a:rPr lang="en-US" dirty="0"/>
              <a:t>Click to edit primary Headline</a:t>
            </a:r>
            <a:endParaRPr lang="de-DE" dirty="0"/>
          </a:p>
        </p:txBody>
      </p:sp>
    </p:spTree>
    <p:extLst>
      <p:ext uri="{BB962C8B-B14F-4D97-AF65-F5344CB8AC3E}">
        <p14:creationId xmlns:p14="http://schemas.microsoft.com/office/powerpoint/2010/main" val="3056494554"/>
      </p:ext>
    </p:extLst>
  </p:cSld>
  <p:clrMapOvr>
    <a:masterClrMapping/>
  </p:clrMapOvr>
  <p:extLst>
    <p:ext uri="{DCECCB84-F9BA-43D5-87BE-67443E8EF086}">
      <p15:sldGuideLst xmlns:p15="http://schemas.microsoft.com/office/powerpoint/2012/main">
        <p15:guide id="1" pos="3885">
          <p15:clr>
            <a:srgbClr val="FBAE40"/>
          </p15:clr>
        </p15:guide>
        <p15:guide id="2" pos="3795">
          <p15:clr>
            <a:srgbClr val="FBAE40"/>
          </p15:clr>
        </p15:guide>
        <p15:guide id="3" pos="2105">
          <p15:clr>
            <a:srgbClr val="FBAE40"/>
          </p15:clr>
        </p15:guide>
        <p15:guide id="4" pos="2015">
          <p15:clr>
            <a:srgbClr val="FBAE40"/>
          </p15:clr>
        </p15:guide>
        <p15:guide id="5" pos="5575">
          <p15:clr>
            <a:srgbClr val="FBAE40"/>
          </p15:clr>
        </p15:guide>
        <p15:guide id="6" pos="5665">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Content 1/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de stijl te bewerken</a:t>
            </a:r>
            <a:endParaRPr lang="en-US" dirty="0"/>
          </a:p>
        </p:txBody>
      </p:sp>
      <p:sp>
        <p:nvSpPr>
          <p:cNvPr id="3" name="Content Placeholder 2"/>
          <p:cNvSpPr>
            <a:spLocks noGrp="1"/>
          </p:cNvSpPr>
          <p:nvPr>
            <p:ph idx="1"/>
          </p:nvPr>
        </p:nvSpPr>
        <p:spPr/>
        <p:txBody>
          <a:bodyPr>
            <a:normAutofit/>
          </a:bodyPr>
          <a:lstStyle>
            <a:lvl1pPr marL="0" indent="0">
              <a:lnSpc>
                <a:spcPct val="120000"/>
              </a:lnSpc>
              <a:buClr>
                <a:schemeClr val="tx2"/>
              </a:buClr>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4" name="Slide Number Placeholder 5"/>
          <p:cNvSpPr>
            <a:spLocks noGrp="1"/>
          </p:cNvSpPr>
          <p:nvPr>
            <p:ph type="sldNum" sz="quarter" idx="10"/>
          </p:nvPr>
        </p:nvSpPr>
        <p:spPr/>
        <p:txBody>
          <a:bodyPr/>
          <a:lstStyle>
            <a:lvl1pPr>
              <a:defRPr/>
            </a:lvl1pPr>
          </a:lstStyle>
          <a:p>
            <a:pPr>
              <a:defRPr/>
            </a:pPr>
            <a:fld id="{679E849C-3802-417F-AD36-AC5ABD4E2636}" type="slidenum">
              <a:rPr lang="nl-NL" altLang="nl-NL"/>
              <a:pPr>
                <a:defRPr/>
              </a:pPr>
              <a:t>‹#›</a:t>
            </a:fld>
            <a:endParaRPr lang="nl-NL" altLang="nl-NL"/>
          </a:p>
        </p:txBody>
      </p:sp>
    </p:spTree>
    <p:extLst>
      <p:ext uri="{BB962C8B-B14F-4D97-AF65-F5344CB8AC3E}">
        <p14:creationId xmlns:p14="http://schemas.microsoft.com/office/powerpoint/2010/main" val="107602493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el and conten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50F36CD-D6AA-99BA-D447-98CB51089E58}"/>
              </a:ext>
            </a:extLst>
          </p:cNvPr>
          <p:cNvGraphicFramePr>
            <a:graphicFrameLocks noChangeAspect="1"/>
          </p:cNvGraphicFramePr>
          <p:nvPr userDrawn="1">
            <p:custDataLst>
              <p:tags r:id="rId1"/>
            </p:custDataLst>
            <p:extLst>
              <p:ext uri="{D42A27DB-BD31-4B8C-83A1-F6EECF244321}">
                <p14:modId xmlns:p14="http://schemas.microsoft.com/office/powerpoint/2010/main" val="6663212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450F36CD-D6AA-99BA-D447-98CB51089E5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Titelplatzhalter 1">
            <a:extLst>
              <a:ext uri="{FF2B5EF4-FFF2-40B4-BE49-F238E27FC236}">
                <a16:creationId xmlns:a16="http://schemas.microsoft.com/office/drawing/2014/main" id="{0540C2FA-3E33-C43B-0D63-7D51451197CF}"/>
              </a:ext>
            </a:extLst>
          </p:cNvPr>
          <p:cNvSpPr>
            <a:spLocks noGrp="1"/>
          </p:cNvSpPr>
          <p:nvPr>
            <p:ph type="title" hasCustomPrompt="1"/>
          </p:nvPr>
        </p:nvSpPr>
        <p:spPr>
          <a:xfrm>
            <a:off x="515938" y="448248"/>
            <a:ext cx="11160125" cy="523302"/>
          </a:xfrm>
          <a:prstGeom prst="rect">
            <a:avLst/>
          </a:prstGeom>
        </p:spPr>
        <p:txBody>
          <a:bodyPr vert="horz" lIns="0" tIns="0" rIns="0" bIns="0" rtlCol="0" anchor="t" anchorCtr="0">
            <a:noAutofit/>
          </a:bodyPr>
          <a:lstStyle>
            <a:lvl1pPr>
              <a:defRPr>
                <a:solidFill>
                  <a:schemeClr val="accent4"/>
                </a:solidFill>
              </a:defRPr>
            </a:lvl1pPr>
          </a:lstStyle>
          <a:p>
            <a:r>
              <a:rPr lang="en-US" dirty="0"/>
              <a:t>Click to edit primary Headline</a:t>
            </a:r>
            <a:endParaRPr lang="en-US" noProof="0" dirty="0"/>
          </a:p>
        </p:txBody>
      </p:sp>
      <p:sp>
        <p:nvSpPr>
          <p:cNvPr id="11" name="Inhaltsplatzhalter 2">
            <a:extLst>
              <a:ext uri="{FF2B5EF4-FFF2-40B4-BE49-F238E27FC236}">
                <a16:creationId xmlns:a16="http://schemas.microsoft.com/office/drawing/2014/main" id="{5C329955-7184-3FD4-16F1-FB71768EE4CB}"/>
              </a:ext>
            </a:extLst>
          </p:cNvPr>
          <p:cNvSpPr>
            <a:spLocks noGrp="1"/>
          </p:cNvSpPr>
          <p:nvPr>
            <p:ph sz="quarter" idx="19"/>
          </p:nvPr>
        </p:nvSpPr>
        <p:spPr>
          <a:xfrm>
            <a:off x="515938" y="1375577"/>
            <a:ext cx="11160125" cy="44299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 name="Text Placeholder 2">
            <a:extLst>
              <a:ext uri="{FF2B5EF4-FFF2-40B4-BE49-F238E27FC236}">
                <a16:creationId xmlns:a16="http://schemas.microsoft.com/office/drawing/2014/main" id="{0618CB5B-9B2A-DBBA-C3CE-094B88837ADA}"/>
              </a:ext>
            </a:extLst>
          </p:cNvPr>
          <p:cNvSpPr>
            <a:spLocks noGrp="1"/>
          </p:cNvSpPr>
          <p:nvPr>
            <p:ph type="body" sz="quarter" idx="20"/>
          </p:nvPr>
        </p:nvSpPr>
        <p:spPr>
          <a:xfrm>
            <a:off x="515938" y="754064"/>
            <a:ext cx="11160125" cy="217486"/>
          </a:xfrm>
        </p:spPr>
        <p:txBody>
          <a:bodyPr/>
          <a:lstStyle>
            <a:lvl2pPr marL="0" indent="0">
              <a:buNone/>
              <a:defRPr/>
            </a:lvl2pPr>
          </a:lstStyle>
          <a:p>
            <a:pPr lvl="0"/>
            <a:r>
              <a:rPr lang="en-GB" dirty="0"/>
              <a:t>Click to edit Master text styles</a:t>
            </a:r>
          </a:p>
          <a:p>
            <a:pPr lvl="4"/>
            <a:endParaRPr lang="en-NL" dirty="0"/>
          </a:p>
        </p:txBody>
      </p:sp>
    </p:spTree>
    <p:extLst>
      <p:ext uri="{BB962C8B-B14F-4D97-AF65-F5344CB8AC3E}">
        <p14:creationId xmlns:p14="http://schemas.microsoft.com/office/powerpoint/2010/main" val="323656117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two contents">
    <p:spTree>
      <p:nvGrpSpPr>
        <p:cNvPr id="1" name=""/>
        <p:cNvGrpSpPr/>
        <p:nvPr/>
      </p:nvGrpSpPr>
      <p:grpSpPr>
        <a:xfrm>
          <a:off x="0" y="0"/>
          <a:ext cx="0" cy="0"/>
          <a:chOff x="0" y="0"/>
          <a:chExt cx="0" cy="0"/>
        </a:xfrm>
      </p:grpSpPr>
      <p:sp>
        <p:nvSpPr>
          <p:cNvPr id="7" name="Titelplatzhalter 1">
            <a:extLst>
              <a:ext uri="{FF2B5EF4-FFF2-40B4-BE49-F238E27FC236}">
                <a16:creationId xmlns:a16="http://schemas.microsoft.com/office/drawing/2014/main" id="{57D8B1B7-2A01-9876-909A-3624E3E33401}"/>
              </a:ext>
            </a:extLst>
          </p:cNvPr>
          <p:cNvSpPr>
            <a:spLocks noGrp="1"/>
          </p:cNvSpPr>
          <p:nvPr>
            <p:ph type="title"/>
          </p:nvPr>
        </p:nvSpPr>
        <p:spPr>
          <a:xfrm>
            <a:off x="515938" y="448248"/>
            <a:ext cx="11160125" cy="523302"/>
          </a:xfrm>
          <a:prstGeom prst="rect">
            <a:avLst/>
          </a:prstGeom>
        </p:spPr>
        <p:txBody>
          <a:bodyPr vert="horz" lIns="0" tIns="0" rIns="0" bIns="0" rtlCol="0" anchor="t" anchorCtr="0">
            <a:noAutofit/>
          </a:bodyPr>
          <a:lstStyle/>
          <a:p>
            <a:r>
              <a:rPr lang="en-US" dirty="0"/>
              <a:t>Click to edit primary Headline</a:t>
            </a:r>
            <a:endParaRPr lang="en-US" noProof="0" dirty="0"/>
          </a:p>
        </p:txBody>
      </p:sp>
      <p:sp>
        <p:nvSpPr>
          <p:cNvPr id="12" name="Inhaltsplatzhalter 2">
            <a:extLst>
              <a:ext uri="{FF2B5EF4-FFF2-40B4-BE49-F238E27FC236}">
                <a16:creationId xmlns:a16="http://schemas.microsoft.com/office/drawing/2014/main" id="{D284E76D-64C9-B1E4-0754-858BD4E2CD09}"/>
              </a:ext>
            </a:extLst>
          </p:cNvPr>
          <p:cNvSpPr>
            <a:spLocks noGrp="1"/>
          </p:cNvSpPr>
          <p:nvPr>
            <p:ph sz="quarter" idx="20"/>
          </p:nvPr>
        </p:nvSpPr>
        <p:spPr>
          <a:xfrm>
            <a:off x="515938" y="1375577"/>
            <a:ext cx="5505449" cy="44299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3" name="Inhaltsplatzhalter 2">
            <a:extLst>
              <a:ext uri="{FF2B5EF4-FFF2-40B4-BE49-F238E27FC236}">
                <a16:creationId xmlns:a16="http://schemas.microsoft.com/office/drawing/2014/main" id="{376BA811-6E97-8116-9916-6637CE260DE3}"/>
              </a:ext>
            </a:extLst>
          </p:cNvPr>
          <p:cNvSpPr>
            <a:spLocks noGrp="1"/>
          </p:cNvSpPr>
          <p:nvPr>
            <p:ph sz="quarter" idx="21"/>
          </p:nvPr>
        </p:nvSpPr>
        <p:spPr>
          <a:xfrm>
            <a:off x="6170615" y="1376363"/>
            <a:ext cx="5505449" cy="44299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346861939"/>
      </p:ext>
    </p:extLst>
  </p:cSld>
  <p:clrMapOvr>
    <a:masterClrMapping/>
  </p:clrMapOvr>
  <p:extLst>
    <p:ext uri="{DCECCB84-F9BA-43D5-87BE-67443E8EF086}">
      <p15:sldGuideLst xmlns:p15="http://schemas.microsoft.com/office/powerpoint/2012/main">
        <p15:guide id="1" pos="3884">
          <p15:clr>
            <a:srgbClr val="FBAE40"/>
          </p15:clr>
        </p15:guide>
        <p15:guide id="2" pos="3793">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10A234D-93F8-1192-4174-6C45F44743D5}"/>
              </a:ext>
            </a:extLst>
          </p:cNvPr>
          <p:cNvSpPr>
            <a:spLocks noGrp="1"/>
          </p:cNvSpPr>
          <p:nvPr>
            <p:ph type="title"/>
          </p:nvPr>
        </p:nvSpPr>
        <p:spPr>
          <a:xfrm>
            <a:off x="515938" y="2319454"/>
            <a:ext cx="9297135" cy="1109546"/>
          </a:xfrm>
        </p:spPr>
        <p:txBody>
          <a:bodyPr/>
          <a:lstStyle>
            <a:lvl1pPr>
              <a:defRPr sz="3600"/>
            </a:lvl1pPr>
          </a:lstStyle>
          <a:p>
            <a:r>
              <a:rPr lang="de-DE" dirty="0"/>
              <a:t>Mastertitelformat bearbeiten</a:t>
            </a:r>
          </a:p>
        </p:txBody>
      </p:sp>
      <p:sp>
        <p:nvSpPr>
          <p:cNvPr id="6" name="Textplatzhalter 5">
            <a:extLst>
              <a:ext uri="{FF2B5EF4-FFF2-40B4-BE49-F238E27FC236}">
                <a16:creationId xmlns:a16="http://schemas.microsoft.com/office/drawing/2014/main" id="{3110933A-3A9A-C046-B06C-BE3507543AE6}"/>
              </a:ext>
            </a:extLst>
          </p:cNvPr>
          <p:cNvSpPr>
            <a:spLocks noGrp="1"/>
          </p:cNvSpPr>
          <p:nvPr>
            <p:ph type="body" sz="quarter" idx="10"/>
          </p:nvPr>
        </p:nvSpPr>
        <p:spPr>
          <a:xfrm>
            <a:off x="4616217" y="3432989"/>
            <a:ext cx="6311900" cy="971550"/>
          </a:xfrm>
        </p:spPr>
        <p:txBody>
          <a:bodyPr/>
          <a:lstStyle>
            <a:lvl1pPr>
              <a:defRPr sz="1800"/>
            </a:lvl1pPr>
            <a:lvl2pPr>
              <a:defRPr sz="1800"/>
            </a:lvl2pPr>
            <a:lvl3pPr>
              <a:defRPr sz="1800"/>
            </a:lvl3pPr>
            <a:lvl4pPr>
              <a:defRPr sz="1800"/>
            </a:lvl4pPr>
            <a:lvl5pP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714187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3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52736"/>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a:t>Click </a:t>
            </a:r>
            <a:r>
              <a:rPr lang="de-DE" err="1"/>
              <a:t>here</a:t>
            </a:r>
            <a:r>
              <a:rPr lang="de-DE"/>
              <a:t> </a:t>
            </a:r>
            <a:r>
              <a:rPr lang="de-DE" err="1"/>
              <a:t>to</a:t>
            </a:r>
            <a:r>
              <a:rPr lang="de-DE"/>
              <a:t> </a:t>
            </a:r>
            <a:r>
              <a:rPr lang="de-DE" err="1"/>
              <a:t>edit</a:t>
            </a:r>
            <a:r>
              <a:rPr lang="de-DE"/>
              <a: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4111" y="1545377"/>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a:t>Headline 3</a:t>
            </a:r>
          </a:p>
        </p:txBody>
      </p:sp>
    </p:spTree>
    <p:extLst>
      <p:ext uri="{BB962C8B-B14F-4D97-AF65-F5344CB8AC3E}">
        <p14:creationId xmlns:p14="http://schemas.microsoft.com/office/powerpoint/2010/main" val="3025697314"/>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4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285639" y="3074577"/>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hapter </a:t>
            </a:r>
            <a:r>
              <a:rPr lang="de-DE" err="1"/>
              <a:t>slide</a:t>
            </a:r>
            <a:endParaRPr lang="de-DE"/>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54397" y="289281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964089429"/>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5_ENTSO-E One Column">
    <p:spTree>
      <p:nvGrpSpPr>
        <p:cNvPr id="1" name=""/>
        <p:cNvGrpSpPr/>
        <p:nvPr/>
      </p:nvGrpSpPr>
      <p:grpSpPr>
        <a:xfrm>
          <a:off x="0" y="0"/>
          <a:ext cx="0" cy="0"/>
          <a:chOff x="0" y="0"/>
          <a:chExt cx="0" cy="0"/>
        </a:xfrm>
      </p:grpSpPr>
      <p:sp>
        <p:nvSpPr>
          <p:cNvPr id="13" name="Inhaltsplatzhalter 2"/>
          <p:cNvSpPr>
            <a:spLocks noGrp="1"/>
          </p:cNvSpPr>
          <p:nvPr>
            <p:ph idx="1" hasCustomPrompt="1"/>
          </p:nvPr>
        </p:nvSpPr>
        <p:spPr>
          <a:xfrm>
            <a:off x="372538" y="908720"/>
            <a:ext cx="11616268" cy="3815866"/>
          </a:xfrm>
          <a:prstGeom prst="rect">
            <a:avLst/>
          </a:prstGeom>
        </p:spPr>
        <p:txBody>
          <a:bodyPr>
            <a:normAutofit/>
          </a:bodyPr>
          <a:lstStyle>
            <a:lvl1pPr>
              <a:lnSpc>
                <a:spcPct val="90000"/>
              </a:lnSpc>
              <a:defRPr sz="1800">
                <a:latin typeface="Calibri" panose="020F0502020204030204" pitchFamily="34" charset="0"/>
                <a:cs typeface="Calibri" panose="020F0502020204030204" pitchFamily="34" charset="0"/>
              </a:defRPr>
            </a:lvl1pPr>
            <a:lvl2pPr>
              <a:lnSpc>
                <a:spcPct val="90000"/>
              </a:lnSpc>
              <a:defRPr sz="1800">
                <a:latin typeface="Calibri" panose="020F0502020204030204" pitchFamily="34" charset="0"/>
                <a:cs typeface="Calibri" panose="020F0502020204030204" pitchFamily="34" charset="0"/>
              </a:defRPr>
            </a:lvl2pPr>
            <a:lvl3pPr>
              <a:lnSpc>
                <a:spcPct val="90000"/>
              </a:lnSpc>
              <a:defRPr sz="1800">
                <a:latin typeface="Calibri" panose="020F0502020204030204" pitchFamily="34" charset="0"/>
                <a:cs typeface="Calibri" panose="020F0502020204030204" pitchFamily="34" charset="0"/>
              </a:defRPr>
            </a:lvl3pPr>
            <a:lvl4pPr>
              <a:lnSpc>
                <a:spcPct val="90000"/>
              </a:lnSpc>
              <a:defRPr sz="1800">
                <a:latin typeface="Calibri" panose="020F0502020204030204" pitchFamily="34" charset="0"/>
                <a:cs typeface="Calibri" panose="020F0502020204030204" pitchFamily="34" charset="0"/>
              </a:defRPr>
            </a:lvl4pPr>
            <a:lvl5pPr>
              <a:lnSpc>
                <a:spcPct val="90000"/>
              </a:lnSpc>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r>
              <a:rPr lang="de-DE"/>
              <a:t>; Firs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2122666082"/>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6_ENTSO-E One column bullet points">
    <p:spTree>
      <p:nvGrpSpPr>
        <p:cNvPr id="1" name=""/>
        <p:cNvGrpSpPr/>
        <p:nvPr/>
      </p:nvGrpSpPr>
      <p:grpSpPr>
        <a:xfrm>
          <a:off x="0" y="0"/>
          <a:ext cx="0" cy="0"/>
          <a:chOff x="0" y="0"/>
          <a:chExt cx="0" cy="0"/>
        </a:xfrm>
      </p:grpSpPr>
      <p:sp>
        <p:nvSpPr>
          <p:cNvPr id="6" name="Inhaltsplatzhalter 2">
            <a:extLst>
              <a:ext uri="{FF2B5EF4-FFF2-40B4-BE49-F238E27FC236}">
                <a16:creationId xmlns:a16="http://schemas.microsoft.com/office/drawing/2014/main" id="{935407F8-9A7B-4A34-BB6A-ACBE6B64DA8C}"/>
              </a:ext>
            </a:extLst>
          </p:cNvPr>
          <p:cNvSpPr>
            <a:spLocks noGrp="1"/>
          </p:cNvSpPr>
          <p:nvPr>
            <p:ph idx="16" hasCustomPrompt="1"/>
          </p:nvPr>
        </p:nvSpPr>
        <p:spPr>
          <a:xfrm>
            <a:off x="413466" y="1124744"/>
            <a:ext cx="11616268"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8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5" name="Titel 5">
            <a:extLst>
              <a:ext uri="{FF2B5EF4-FFF2-40B4-BE49-F238E27FC236}">
                <a16:creationId xmlns:a16="http://schemas.microsoft.com/office/drawing/2014/main" id="{9D00A475-8F1F-43A8-B9D4-0E2195454A9F}"/>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1423835935"/>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orient="horz" pos="1480">
          <p15:clr>
            <a:srgbClr val="A4A3A4"/>
          </p15:clr>
        </p15:guide>
        <p15:guide id="6" orient="horz" pos="1548">
          <p15:clr>
            <a:srgbClr val="A4A3A4"/>
          </p15:clr>
        </p15:guide>
        <p15:guide id="9" pos="7499">
          <p15:clr>
            <a:srgbClr val="A4A3A4"/>
          </p15:clr>
        </p15:guide>
        <p15:guide id="10" pos="181">
          <p15:clr>
            <a:srgbClr val="A4A3A4"/>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7_ENTSO-E Two columns">
    <p:spTree>
      <p:nvGrpSpPr>
        <p:cNvPr id="1" name=""/>
        <p:cNvGrpSpPr/>
        <p:nvPr/>
      </p:nvGrpSpPr>
      <p:grpSpPr>
        <a:xfrm>
          <a:off x="0" y="0"/>
          <a:ext cx="0" cy="0"/>
          <a:chOff x="0" y="0"/>
          <a:chExt cx="0" cy="0"/>
        </a:xfrm>
      </p:grpSpPr>
      <p:sp>
        <p:nvSpPr>
          <p:cNvPr id="9" name="Inhaltsplatzhalter 2"/>
          <p:cNvSpPr>
            <a:spLocks noGrp="1"/>
          </p:cNvSpPr>
          <p:nvPr>
            <p:ph idx="1" hasCustomPrompt="1"/>
          </p:nvPr>
        </p:nvSpPr>
        <p:spPr>
          <a:xfrm>
            <a:off x="382868" y="1052736"/>
            <a:ext cx="5664117" cy="3311810"/>
          </a:xfrm>
          <a:prstGeom prst="rect">
            <a:avLst/>
          </a:prstGeom>
        </p:spPr>
        <p:txBody>
          <a:bodyPr>
            <a:normAutofit/>
          </a:bodyPr>
          <a:lstStyle>
            <a:lvl1pPr algn="l">
              <a:defRPr sz="18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0" name="Inhaltsplatzhalter 2"/>
          <p:cNvSpPr>
            <a:spLocks noGrp="1"/>
          </p:cNvSpPr>
          <p:nvPr>
            <p:ph idx="13" hasCustomPrompt="1"/>
          </p:nvPr>
        </p:nvSpPr>
        <p:spPr>
          <a:xfrm>
            <a:off x="6206439" y="1052736"/>
            <a:ext cx="5664117" cy="3311810"/>
          </a:xfrm>
          <a:prstGeom prst="rect">
            <a:avLst/>
          </a:prstGeom>
        </p:spPr>
        <p:txBody>
          <a:bodyPr>
            <a:normAutofit/>
          </a:bodyPr>
          <a:lstStyle>
            <a:lvl1pPr>
              <a:defRPr sz="18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6" name="Titel 5">
            <a:extLst>
              <a:ext uri="{FF2B5EF4-FFF2-40B4-BE49-F238E27FC236}">
                <a16:creationId xmlns:a16="http://schemas.microsoft.com/office/drawing/2014/main" id="{BF868832-6945-4F2F-8DEC-A69FB10BA62E}"/>
              </a:ext>
            </a:extLst>
          </p:cNvPr>
          <p:cNvSpPr>
            <a:spLocks noGrp="1"/>
          </p:cNvSpPr>
          <p:nvPr>
            <p:ph type="title" hasCustomPrompt="1"/>
          </p:nvPr>
        </p:nvSpPr>
        <p:spPr>
          <a:xfrm>
            <a:off x="38286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3619061735"/>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pos="181">
          <p15:clr>
            <a:srgbClr val="A4A3A4"/>
          </p15:clr>
        </p15:guide>
        <p15:guide id="5" pos="7499">
          <p15:clr>
            <a:srgbClr val="A4A3A4"/>
          </p15:clr>
        </p15:guide>
        <p15:guide id="6" orient="horz" pos="3634">
          <p15:clr>
            <a:srgbClr val="A4A3A4"/>
          </p15:clr>
        </p15:guide>
        <p15:guide id="7" orient="horz" pos="1049">
          <p15:clr>
            <a:srgbClr val="A4A3A4"/>
          </p15:clr>
        </p15:guide>
        <p15:guide id="8" pos="3749">
          <p15:clr>
            <a:srgbClr val="A4A3A4"/>
          </p15:clr>
        </p15:guide>
        <p15:guide id="9" pos="3931">
          <p15:clr>
            <a:srgbClr val="A4A3A4"/>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8_ENTSO-E Three columns">
    <p:spTree>
      <p:nvGrpSpPr>
        <p:cNvPr id="1" name=""/>
        <p:cNvGrpSpPr/>
        <p:nvPr/>
      </p:nvGrpSpPr>
      <p:grpSpPr>
        <a:xfrm>
          <a:off x="0" y="0"/>
          <a:ext cx="0" cy="0"/>
          <a:chOff x="0" y="0"/>
          <a:chExt cx="0" cy="0"/>
        </a:xfrm>
      </p:grpSpPr>
      <p:sp>
        <p:nvSpPr>
          <p:cNvPr id="13" name="Textplatzhalter 3"/>
          <p:cNvSpPr>
            <a:spLocks noGrp="1"/>
          </p:cNvSpPr>
          <p:nvPr>
            <p:ph type="body" sz="quarter" idx="16" hasCustomPrompt="1"/>
          </p:nvPr>
        </p:nvSpPr>
        <p:spPr>
          <a:xfrm>
            <a:off x="382588" y="1297579"/>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a:t>Headline 3</a:t>
            </a:r>
          </a:p>
        </p:txBody>
      </p:sp>
      <p:sp>
        <p:nvSpPr>
          <p:cNvPr id="14" name="Inhaltsplatzhalter 2">
            <a:extLst>
              <a:ext uri="{FF2B5EF4-FFF2-40B4-BE49-F238E27FC236}">
                <a16:creationId xmlns:a16="http://schemas.microsoft.com/office/drawing/2014/main" id="{9341F4E3-0CAE-4A14-AD42-9C698E28F0E7}"/>
              </a:ext>
            </a:extLst>
          </p:cNvPr>
          <p:cNvSpPr>
            <a:spLocks noGrp="1"/>
          </p:cNvSpPr>
          <p:nvPr>
            <p:ph idx="18" hasCustomPrompt="1"/>
          </p:nvPr>
        </p:nvSpPr>
        <p:spPr>
          <a:xfrm>
            <a:off x="380339" y="1844824"/>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5" name="Inhaltsplatzhalter 2">
            <a:extLst>
              <a:ext uri="{FF2B5EF4-FFF2-40B4-BE49-F238E27FC236}">
                <a16:creationId xmlns:a16="http://schemas.microsoft.com/office/drawing/2014/main" id="{E742937F-ADF9-487A-AB88-EE6EE0E8FD08}"/>
              </a:ext>
            </a:extLst>
          </p:cNvPr>
          <p:cNvSpPr>
            <a:spLocks noGrp="1"/>
          </p:cNvSpPr>
          <p:nvPr>
            <p:ph idx="19" hasCustomPrompt="1"/>
          </p:nvPr>
        </p:nvSpPr>
        <p:spPr>
          <a:xfrm>
            <a:off x="7923229" y="1844822"/>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7" name="Inhaltsplatzhalter 2">
            <a:extLst>
              <a:ext uri="{FF2B5EF4-FFF2-40B4-BE49-F238E27FC236}">
                <a16:creationId xmlns:a16="http://schemas.microsoft.com/office/drawing/2014/main" id="{C1294B06-543C-439B-844D-292C65223D9D}"/>
              </a:ext>
            </a:extLst>
          </p:cNvPr>
          <p:cNvSpPr>
            <a:spLocks noGrp="1"/>
          </p:cNvSpPr>
          <p:nvPr>
            <p:ph idx="20" hasCustomPrompt="1"/>
          </p:nvPr>
        </p:nvSpPr>
        <p:spPr>
          <a:xfrm>
            <a:off x="4151784" y="1844823"/>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9" name="Titel 5">
            <a:extLst>
              <a:ext uri="{FF2B5EF4-FFF2-40B4-BE49-F238E27FC236}">
                <a16:creationId xmlns:a16="http://schemas.microsoft.com/office/drawing/2014/main" id="{009D75ED-94BB-4DB3-A55E-CFA85E39F7A3}"/>
              </a:ext>
            </a:extLst>
          </p:cNvPr>
          <p:cNvSpPr>
            <a:spLocks noGrp="1"/>
          </p:cNvSpPr>
          <p:nvPr>
            <p:ph type="title" hasCustomPrompt="1"/>
          </p:nvPr>
        </p:nvSpPr>
        <p:spPr>
          <a:xfrm>
            <a:off x="380339" y="260648"/>
            <a:ext cx="11617788" cy="431325"/>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11" name="Textplatzhalter 11">
            <a:extLst>
              <a:ext uri="{FF2B5EF4-FFF2-40B4-BE49-F238E27FC236}">
                <a16:creationId xmlns:a16="http://schemas.microsoft.com/office/drawing/2014/main" id="{CDA0278C-3CB1-4B5A-B6A3-7F8C901572EF}"/>
              </a:ext>
            </a:extLst>
          </p:cNvPr>
          <p:cNvSpPr>
            <a:spLocks noGrp="1"/>
          </p:cNvSpPr>
          <p:nvPr>
            <p:ph type="body" sz="quarter" idx="12" hasCustomPrompt="1"/>
          </p:nvPr>
        </p:nvSpPr>
        <p:spPr>
          <a:xfrm>
            <a:off x="382588" y="785744"/>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a:t>Click </a:t>
            </a:r>
            <a:r>
              <a:rPr lang="de-DE" err="1"/>
              <a:t>here</a:t>
            </a:r>
            <a:r>
              <a:rPr lang="de-DE"/>
              <a:t> </a:t>
            </a:r>
            <a:r>
              <a:rPr lang="de-DE" err="1"/>
              <a:t>to</a:t>
            </a:r>
            <a:r>
              <a:rPr lang="de-DE"/>
              <a:t> </a:t>
            </a:r>
            <a:r>
              <a:rPr lang="de-DE" err="1"/>
              <a:t>edit</a:t>
            </a:r>
            <a:r>
              <a:rPr lang="de-DE"/>
              <a:t> Headline 2 </a:t>
            </a:r>
          </a:p>
        </p:txBody>
      </p:sp>
    </p:spTree>
    <p:extLst>
      <p:ext uri="{BB962C8B-B14F-4D97-AF65-F5344CB8AC3E}">
        <p14:creationId xmlns:p14="http://schemas.microsoft.com/office/powerpoint/2010/main" val="483202198"/>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orient="horz" pos="1049">
          <p15:clr>
            <a:srgbClr val="A4A3A4"/>
          </p15:clr>
        </p15:guide>
        <p15:guide id="5" orient="horz" pos="1480">
          <p15:clr>
            <a:srgbClr val="A4A3A4"/>
          </p15:clr>
        </p15:guide>
        <p15:guide id="6" orient="horz" pos="1548">
          <p15:clr>
            <a:srgbClr val="A4A3A4"/>
          </p15:clr>
        </p15:guide>
        <p15:guide id="7" orient="horz" pos="3634">
          <p15:clr>
            <a:srgbClr val="A4A3A4"/>
          </p15:clr>
        </p15:guide>
        <p15:guide id="8" pos="181">
          <p15:clr>
            <a:srgbClr val="A4A3A4"/>
          </p15:clr>
        </p15:guide>
        <p15:guide id="9" pos="7499">
          <p15:clr>
            <a:srgbClr val="A4A3A4"/>
          </p15:clr>
        </p15:guide>
        <p15:guide id="10" pos="3931">
          <p15:clr>
            <a:srgbClr val="A4A3A4"/>
          </p15:clr>
        </p15:guide>
        <p15:guide id="11" pos="3749">
          <p15:clr>
            <a:srgbClr val="A4A3A4"/>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graphicFrame>
        <p:nvGraphicFramePr>
          <p:cNvPr id="7" name="Inhaltsplatzhalter 9" title="Diagramm Platzhalter">
            <a:extLst>
              <a:ext uri="{FF2B5EF4-FFF2-40B4-BE49-F238E27FC236}">
                <a16:creationId xmlns:a16="http://schemas.microsoft.com/office/drawing/2014/main" id="{B463EBB2-B343-A342-A26F-FA6D526125DA}"/>
              </a:ext>
            </a:extLst>
          </p:cNvPr>
          <p:cNvGraphicFramePr>
            <a:graphicFrameLocks/>
          </p:cNvGraphicFramePr>
          <p:nvPr userDrawn="1">
            <p:extLst>
              <p:ext uri="{D42A27DB-BD31-4B8C-83A1-F6EECF244321}">
                <p14:modId xmlns:p14="http://schemas.microsoft.com/office/powerpoint/2010/main" val="2616654375"/>
              </p:ext>
            </p:extLst>
          </p:nvPr>
        </p:nvGraphicFramePr>
        <p:xfrm>
          <a:off x="6648450" y="1665288"/>
          <a:ext cx="5543550" cy="41036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581032051"/>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Content 2/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de stijl te bewerken</a:t>
            </a:r>
            <a:endParaRPr lang="en-US" dirty="0"/>
          </a:p>
        </p:txBody>
      </p:sp>
      <p:sp>
        <p:nvSpPr>
          <p:cNvPr id="3" name="Content Placeholder 2"/>
          <p:cNvSpPr>
            <a:spLocks noGrp="1"/>
          </p:cNvSpPr>
          <p:nvPr>
            <p:ph sz="half" idx="1"/>
          </p:nvPr>
        </p:nvSpPr>
        <p:spPr>
          <a:xfrm>
            <a:off x="704850" y="1377949"/>
            <a:ext cx="5181600" cy="4498975"/>
          </a:xfrm>
        </p:spPr>
        <p:txBody>
          <a:bodyPr>
            <a:normAutofit/>
          </a:bodyPr>
          <a:lstStyle>
            <a:lvl1pPr marL="0" indent="0">
              <a:lnSpc>
                <a:spcPct val="120000"/>
              </a:lnSpc>
              <a:buFont typeface="Arial" panose="020B0604020202020204" pitchFamily="34" charset="0"/>
              <a:buNone/>
              <a:defRPr sz="1800">
                <a:solidFill>
                  <a:schemeClr val="tx1"/>
                </a:solidFill>
              </a:defRPr>
            </a:lvl1pPr>
            <a:lvl2pPr marL="457200" indent="0">
              <a:buFont typeface="Arial" panose="020B0604020202020204" pitchFamily="34" charset="0"/>
              <a:buNone/>
              <a:defRPr sz="2000">
                <a:solidFill>
                  <a:schemeClr val="tx1"/>
                </a:solidFill>
              </a:defRPr>
            </a:lvl2pPr>
            <a:lvl3pPr marL="914400" indent="0">
              <a:buFont typeface="Arial" panose="020B0604020202020204" pitchFamily="34" charset="0"/>
              <a:buNone/>
              <a:defRPr sz="2000">
                <a:solidFill>
                  <a:schemeClr val="tx1"/>
                </a:solidFill>
              </a:defRPr>
            </a:lvl3pPr>
            <a:lvl4pPr marL="1371600" indent="0">
              <a:buFont typeface="Arial" panose="020B0604020202020204" pitchFamily="34" charset="0"/>
              <a:buNone/>
              <a:defRPr sz="2000">
                <a:solidFill>
                  <a:schemeClr val="tx1"/>
                </a:solidFill>
              </a:defRPr>
            </a:lvl4pPr>
            <a:lvl5pPr marL="1828800" indent="0">
              <a:buFont typeface="Arial" panose="020B0604020202020204" pitchFamily="34" charset="0"/>
              <a:buNone/>
              <a:defRPr sz="2000">
                <a:solidFill>
                  <a:schemeClr val="tx1"/>
                </a:solidFill>
              </a:defRPr>
            </a:lvl5pPr>
          </a:lstStyle>
          <a:p>
            <a:pPr lvl="0"/>
            <a:r>
              <a:rPr lang="en-US"/>
              <a:t>Edit Master text styles</a:t>
            </a:r>
          </a:p>
        </p:txBody>
      </p:sp>
      <p:sp>
        <p:nvSpPr>
          <p:cNvPr id="4" name="Content Placeholder 3"/>
          <p:cNvSpPr>
            <a:spLocks noGrp="1"/>
          </p:cNvSpPr>
          <p:nvPr>
            <p:ph sz="half" idx="2"/>
          </p:nvPr>
        </p:nvSpPr>
        <p:spPr>
          <a:xfrm>
            <a:off x="6238875" y="1377950"/>
            <a:ext cx="5181600" cy="4508500"/>
          </a:xfrm>
        </p:spPr>
        <p:txBody>
          <a:bodyPr>
            <a:normAutofit/>
          </a:bodyPr>
          <a:lstStyle>
            <a:lvl1pPr marL="0" indent="0">
              <a:lnSpc>
                <a:spcPct val="120000"/>
              </a:lnSpc>
              <a:buFont typeface="Arial" panose="020B0604020202020204" pitchFamily="34" charset="0"/>
              <a:buNone/>
              <a:defRPr sz="1800"/>
            </a:lvl1pPr>
            <a:lvl2pPr marL="457200" indent="0">
              <a:buFont typeface="Arial" panose="020B0604020202020204" pitchFamily="34" charset="0"/>
              <a:buNone/>
              <a:defRPr sz="2000"/>
            </a:lvl2pPr>
            <a:lvl3pPr marL="914400" indent="0">
              <a:buFont typeface="Arial" panose="020B0604020202020204" pitchFamily="34" charset="0"/>
              <a:buNone/>
              <a:defRPr sz="2000"/>
            </a:lvl3pPr>
            <a:lvl4pPr marL="1371600" indent="0">
              <a:buFont typeface="Arial" panose="020B0604020202020204" pitchFamily="34" charset="0"/>
              <a:buNone/>
              <a:defRPr sz="2000"/>
            </a:lvl4pPr>
            <a:lvl5pPr marL="1828800" indent="0">
              <a:buFont typeface="Arial" panose="020B0604020202020204" pitchFamily="34" charset="0"/>
              <a:buNone/>
              <a:defRPr sz="2000"/>
            </a:lvl5pPr>
          </a:lstStyle>
          <a:p>
            <a:pPr lvl="0"/>
            <a:r>
              <a:rPr lang="en-US"/>
              <a:t>Edit Master text styles</a:t>
            </a:r>
          </a:p>
        </p:txBody>
      </p:sp>
      <p:sp>
        <p:nvSpPr>
          <p:cNvPr id="5" name="Slide Number Placeholder 5"/>
          <p:cNvSpPr>
            <a:spLocks noGrp="1"/>
          </p:cNvSpPr>
          <p:nvPr>
            <p:ph type="sldNum" sz="quarter" idx="10"/>
          </p:nvPr>
        </p:nvSpPr>
        <p:spPr/>
        <p:txBody>
          <a:bodyPr/>
          <a:lstStyle>
            <a:lvl1pPr>
              <a:defRPr/>
            </a:lvl1pPr>
          </a:lstStyle>
          <a:p>
            <a:pPr>
              <a:defRPr/>
            </a:pPr>
            <a:fld id="{F610EEA8-457D-4440-A7D9-1C901233B7BC}" type="slidenum">
              <a:rPr lang="nl-NL" altLang="nl-NL"/>
              <a:pPr>
                <a:defRPr/>
              </a:pPr>
              <a:t>‹#›</a:t>
            </a:fld>
            <a:endParaRPr lang="nl-NL" altLang="nl-NL"/>
          </a:p>
        </p:txBody>
      </p:sp>
    </p:spTree>
    <p:extLst>
      <p:ext uri="{BB962C8B-B14F-4D97-AF65-F5344CB8AC3E}">
        <p14:creationId xmlns:p14="http://schemas.microsoft.com/office/powerpoint/2010/main" val="45440470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ENTSO-E Graph 2">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4" name="Inhaltsplatzhalter 10">
            <a:extLst>
              <a:ext uri="{FF2B5EF4-FFF2-40B4-BE49-F238E27FC236}">
                <a16:creationId xmlns:a16="http://schemas.microsoft.com/office/drawing/2014/main" id="{C04C5352-D576-AE47-888D-BF03439BD4FC}"/>
              </a:ext>
            </a:extLst>
          </p:cNvPr>
          <p:cNvSpPr>
            <a:spLocks noGrp="1"/>
          </p:cNvSpPr>
          <p:nvPr>
            <p:ph idx="1"/>
          </p:nvPr>
        </p:nvSpPr>
        <p:spPr>
          <a:xfrm>
            <a:off x="1739517" y="1665288"/>
            <a:ext cx="8712201" cy="4103972"/>
          </a:xfrm>
        </p:spPr>
        <p:txBody>
          <a:bodyPr>
            <a:normAutofit lnSpcReduction="10000"/>
          </a:bodyPr>
          <a:lstStyle/>
          <a:p>
            <a:r>
              <a:rPr lang="de-DE" b="1"/>
              <a:t>   </a:t>
            </a:r>
            <a:br>
              <a:rPr lang="de-DE" b="1"/>
            </a:br>
            <a:r>
              <a:rPr lang="de-DE" b="1"/>
              <a:t> </a:t>
            </a:r>
            <a:endParaRPr lang="de-DE" b="1"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br>
              <a:rPr lang="de-DE" sz="900" i="1">
                <a:solidFill>
                  <a:prstClr val="black"/>
                </a:solidFill>
              </a:rPr>
            </a:br>
            <a:br>
              <a:rPr lang="de-DE" sz="900" i="1">
                <a:solidFill>
                  <a:prstClr val="black"/>
                </a:solidFill>
              </a:rPr>
            </a:br>
            <a:br>
              <a:rPr lang="de-DE" sz="900" i="1">
                <a:solidFill>
                  <a:prstClr val="black"/>
                </a:solidFill>
              </a:rPr>
            </a:br>
            <a:r>
              <a:rPr lang="de-DE" sz="900" i="1">
                <a:solidFill>
                  <a:prstClr val="black"/>
                </a:solidFill>
              </a:rPr>
              <a:t>Source: Insert </a:t>
            </a:r>
            <a:r>
              <a:rPr lang="de-DE" sz="900" i="1" err="1">
                <a:solidFill>
                  <a:prstClr val="black"/>
                </a:solidFill>
              </a:rPr>
              <a:t>here</a:t>
            </a:r>
            <a:r>
              <a:rPr lang="de-DE" sz="900" i="1">
                <a:solidFill>
                  <a:prstClr val="black"/>
                </a:solidFill>
              </a:rPr>
              <a:t> </a:t>
            </a:r>
            <a:r>
              <a:rPr lang="de-DE" sz="900" i="1" err="1">
                <a:solidFill>
                  <a:prstClr val="black"/>
                </a:solidFill>
              </a:rPr>
              <a:t>if</a:t>
            </a:r>
            <a:r>
              <a:rPr lang="de-DE" sz="900" i="1">
                <a:solidFill>
                  <a:prstClr val="black"/>
                </a:solidFill>
              </a:rPr>
              <a:t> </a:t>
            </a:r>
            <a:r>
              <a:rPr lang="de-DE" sz="900" i="1" err="1">
                <a:solidFill>
                  <a:prstClr val="black"/>
                </a:solidFill>
              </a:rPr>
              <a:t>applicable</a:t>
            </a:r>
            <a:endParaRPr lang="de-DE" sz="900"/>
          </a:p>
        </p:txBody>
      </p:sp>
      <p:graphicFrame>
        <p:nvGraphicFramePr>
          <p:cNvPr id="6" name="Diagramm 5" title="Flächendiagramm Platzhalter">
            <a:extLst>
              <a:ext uri="{FF2B5EF4-FFF2-40B4-BE49-F238E27FC236}">
                <a16:creationId xmlns:a16="http://schemas.microsoft.com/office/drawing/2014/main" id="{654DBC48-79E2-BF45-94FB-10AE0A01AFE4}"/>
              </a:ext>
            </a:extLst>
          </p:cNvPr>
          <p:cNvGraphicFramePr/>
          <p:nvPr userDrawn="1">
            <p:extLst>
              <p:ext uri="{D42A27DB-BD31-4B8C-83A1-F6EECF244321}">
                <p14:modId xmlns:p14="http://schemas.microsoft.com/office/powerpoint/2010/main" val="1491827380"/>
              </p:ext>
            </p:extLst>
          </p:nvPr>
        </p:nvGraphicFramePr>
        <p:xfrm>
          <a:off x="382587" y="1665288"/>
          <a:ext cx="11522075" cy="399596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718939546"/>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4" name="Inhaltsplatzhalter 1">
            <a:extLst>
              <a:ext uri="{FF2B5EF4-FFF2-40B4-BE49-F238E27FC236}">
                <a16:creationId xmlns:a16="http://schemas.microsoft.com/office/drawing/2014/main" id="{C62E783B-8C38-B14F-A829-53ADBD597589}"/>
              </a:ext>
            </a:extLst>
          </p:cNvPr>
          <p:cNvSpPr>
            <a:spLocks noGrp="1"/>
          </p:cNvSpPr>
          <p:nvPr>
            <p:ph idx="1"/>
          </p:nvPr>
        </p:nvSpPr>
        <p:spPr>
          <a:xfrm>
            <a:off x="407368" y="1747353"/>
            <a:ext cx="7200800" cy="4292180"/>
          </a:xfrm>
        </p:spPr>
        <p:txBody>
          <a:bodyPr/>
          <a:lstStyle/>
          <a:p>
            <a:r>
              <a:rPr lang="de-DE">
                <a:solidFill>
                  <a:srgbClr val="0F218B"/>
                </a:solidFill>
              </a:rPr>
              <a:t>Headline 3 – Edit </a:t>
            </a:r>
            <a:r>
              <a:rPr lang="de-DE" err="1">
                <a:solidFill>
                  <a:srgbClr val="0F218B"/>
                </a:solidFill>
              </a:rPr>
              <a:t>the</a:t>
            </a:r>
            <a:r>
              <a:rPr lang="de-DE">
                <a:solidFill>
                  <a:srgbClr val="0F218B"/>
                </a:solidFill>
              </a:rPr>
              <a:t> </a:t>
            </a:r>
            <a:r>
              <a:rPr lang="de-DE" err="1">
                <a:solidFill>
                  <a:srgbClr val="0F218B"/>
                </a:solidFill>
              </a:rPr>
              <a:t>pie</a:t>
            </a:r>
            <a:r>
              <a:rPr lang="de-DE">
                <a:solidFill>
                  <a:srgbClr val="0F218B"/>
                </a:solidFill>
              </a:rPr>
              <a:t> </a:t>
            </a:r>
            <a:r>
              <a:rPr lang="de-DE" err="1">
                <a:solidFill>
                  <a:srgbClr val="0F218B"/>
                </a:solidFill>
              </a:rPr>
              <a:t>chart</a:t>
            </a:r>
            <a:r>
              <a:rPr lang="de-DE">
                <a:solidFill>
                  <a:srgbClr val="0F218B"/>
                </a:solidFill>
              </a:rPr>
              <a:t> </a:t>
            </a:r>
            <a:r>
              <a:rPr lang="de-DE" err="1">
                <a:solidFill>
                  <a:srgbClr val="0F218B"/>
                </a:solidFill>
              </a:rPr>
              <a:t>by</a:t>
            </a:r>
            <a:r>
              <a:rPr lang="de-DE">
                <a:solidFill>
                  <a:srgbClr val="0F218B"/>
                </a:solidFill>
              </a:rPr>
              <a:t> </a:t>
            </a:r>
            <a:r>
              <a:rPr lang="de-DE" err="1">
                <a:solidFill>
                  <a:srgbClr val="0F218B"/>
                </a:solidFill>
              </a:rPr>
              <a:t>clicking</a:t>
            </a:r>
            <a:r>
              <a:rPr lang="de-DE">
                <a:solidFill>
                  <a:srgbClr val="0F218B"/>
                </a:solidFill>
              </a:rPr>
              <a:t> on it. </a:t>
            </a:r>
            <a:r>
              <a:rPr lang="de-DE" err="1">
                <a:solidFill>
                  <a:srgbClr val="0F218B"/>
                </a:solidFill>
              </a:rPr>
              <a:t>Now</a:t>
            </a:r>
            <a:r>
              <a:rPr lang="de-DE">
                <a:solidFill>
                  <a:srgbClr val="0F218B"/>
                </a:solidFill>
              </a:rPr>
              <a:t> </a:t>
            </a:r>
            <a:r>
              <a:rPr lang="de-DE" err="1">
                <a:solidFill>
                  <a:srgbClr val="0F218B"/>
                </a:solidFill>
              </a:rPr>
              <a:t>icons</a:t>
            </a:r>
            <a:r>
              <a:rPr lang="de-DE">
                <a:solidFill>
                  <a:srgbClr val="0F218B"/>
                </a:solidFill>
              </a:rPr>
              <a:t> </a:t>
            </a:r>
            <a:r>
              <a:rPr lang="de-DE" err="1">
                <a:solidFill>
                  <a:srgbClr val="0F218B"/>
                </a:solidFill>
              </a:rPr>
              <a:t>appear</a:t>
            </a:r>
            <a:r>
              <a:rPr lang="de-DE">
                <a:solidFill>
                  <a:srgbClr val="0F218B"/>
                </a:solidFill>
              </a:rPr>
              <a:t>. </a:t>
            </a:r>
            <a:r>
              <a:rPr lang="de-DE" err="1">
                <a:solidFill>
                  <a:srgbClr val="0F218B"/>
                </a:solidFill>
              </a:rPr>
              <a:t>If</a:t>
            </a:r>
            <a:r>
              <a:rPr lang="de-DE">
                <a:solidFill>
                  <a:srgbClr val="0F218B"/>
                </a:solidFill>
              </a:rPr>
              <a:t> </a:t>
            </a:r>
            <a:r>
              <a:rPr lang="de-DE" err="1">
                <a:solidFill>
                  <a:srgbClr val="0F218B"/>
                </a:solidFill>
              </a:rPr>
              <a:t>you</a:t>
            </a:r>
            <a:r>
              <a:rPr lang="de-DE">
                <a:solidFill>
                  <a:srgbClr val="0F218B"/>
                </a:solidFill>
              </a:rPr>
              <a:t> </a:t>
            </a:r>
            <a:r>
              <a:rPr lang="de-DE" err="1">
                <a:solidFill>
                  <a:srgbClr val="0F218B"/>
                </a:solidFill>
              </a:rPr>
              <a:t>keep</a:t>
            </a:r>
            <a:r>
              <a:rPr lang="de-DE">
                <a:solidFill>
                  <a:srgbClr val="0F218B"/>
                </a:solidFill>
              </a:rPr>
              <a:t> </a:t>
            </a:r>
            <a:r>
              <a:rPr lang="de-DE" err="1">
                <a:solidFill>
                  <a:srgbClr val="0F218B"/>
                </a:solidFill>
              </a:rPr>
              <a:t>the</a:t>
            </a:r>
            <a:r>
              <a:rPr lang="de-DE">
                <a:solidFill>
                  <a:srgbClr val="0F218B"/>
                </a:solidFill>
              </a:rPr>
              <a:t> </a:t>
            </a:r>
            <a:r>
              <a:rPr lang="de-DE" err="1">
                <a:solidFill>
                  <a:srgbClr val="0F218B"/>
                </a:solidFill>
              </a:rPr>
              <a:t>cursor</a:t>
            </a:r>
            <a:r>
              <a:rPr lang="de-DE">
                <a:solidFill>
                  <a:srgbClr val="0F218B"/>
                </a:solidFill>
              </a:rPr>
              <a:t> </a:t>
            </a:r>
            <a:r>
              <a:rPr lang="de-DE" err="1">
                <a:solidFill>
                  <a:srgbClr val="0F218B"/>
                </a:solidFill>
              </a:rPr>
              <a:t>above</a:t>
            </a:r>
            <a:r>
              <a:rPr lang="de-DE">
                <a:solidFill>
                  <a:srgbClr val="0F218B"/>
                </a:solidFill>
              </a:rPr>
              <a:t> </a:t>
            </a:r>
            <a:r>
              <a:rPr lang="de-DE" err="1">
                <a:solidFill>
                  <a:srgbClr val="0F218B"/>
                </a:solidFill>
              </a:rPr>
              <a:t>the</a:t>
            </a:r>
            <a:r>
              <a:rPr lang="de-DE">
                <a:solidFill>
                  <a:srgbClr val="0F218B"/>
                </a:solidFill>
              </a:rPr>
              <a:t> </a:t>
            </a:r>
            <a:r>
              <a:rPr lang="de-DE" err="1">
                <a:solidFill>
                  <a:srgbClr val="0F218B"/>
                </a:solidFill>
              </a:rPr>
              <a:t>icons</a:t>
            </a:r>
            <a:r>
              <a:rPr lang="de-DE">
                <a:solidFill>
                  <a:srgbClr val="0F218B"/>
                </a:solidFill>
              </a:rPr>
              <a:t>, a </a:t>
            </a:r>
            <a:r>
              <a:rPr lang="de-DE" err="1">
                <a:solidFill>
                  <a:srgbClr val="0F218B"/>
                </a:solidFill>
              </a:rPr>
              <a:t>descriptive</a:t>
            </a:r>
            <a:r>
              <a:rPr lang="de-DE">
                <a:solidFill>
                  <a:srgbClr val="0F218B"/>
                </a:solidFill>
              </a:rPr>
              <a:t> </a:t>
            </a:r>
            <a:r>
              <a:rPr lang="de-DE" err="1">
                <a:solidFill>
                  <a:srgbClr val="0F218B"/>
                </a:solidFill>
              </a:rPr>
              <a:t>text</a:t>
            </a:r>
            <a:r>
              <a:rPr lang="de-DE">
                <a:solidFill>
                  <a:srgbClr val="0F218B"/>
                </a:solidFill>
              </a:rPr>
              <a:t> </a:t>
            </a:r>
            <a:r>
              <a:rPr lang="de-DE" err="1">
                <a:solidFill>
                  <a:srgbClr val="0F218B"/>
                </a:solidFill>
              </a:rPr>
              <a:t>appears</a:t>
            </a:r>
            <a:r>
              <a:rPr lang="de-DE">
                <a:solidFill>
                  <a:srgbClr val="0F218B"/>
                </a:solidFill>
              </a:rPr>
              <a:t>. </a:t>
            </a:r>
          </a:p>
          <a:p>
            <a:r>
              <a:rPr lang="de-DE" err="1"/>
              <a:t>You</a:t>
            </a:r>
            <a:r>
              <a:rPr lang="de-DE"/>
              <a:t> </a:t>
            </a:r>
            <a:r>
              <a:rPr lang="de-DE" err="1"/>
              <a:t>may</a:t>
            </a:r>
            <a:r>
              <a:rPr lang="de-DE"/>
              <a:t> </a:t>
            </a:r>
            <a:r>
              <a:rPr lang="de-DE" err="1"/>
              <a:t>change</a:t>
            </a:r>
            <a:r>
              <a:rPr lang="de-DE"/>
              <a:t> </a:t>
            </a:r>
            <a:r>
              <a:rPr lang="de-DE" err="1"/>
              <a:t>the</a:t>
            </a:r>
            <a:r>
              <a:rPr lang="de-DE"/>
              <a:t> type </a:t>
            </a:r>
            <a:r>
              <a:rPr lang="de-DE" err="1"/>
              <a:t>of</a:t>
            </a:r>
            <a:r>
              <a:rPr lang="de-DE"/>
              <a:t> </a:t>
            </a:r>
            <a:r>
              <a:rPr lang="de-DE" err="1"/>
              <a:t>chart</a:t>
            </a:r>
            <a:r>
              <a:rPr lang="de-DE"/>
              <a:t>, </a:t>
            </a:r>
            <a:r>
              <a:rPr lang="de-DE" err="1"/>
              <a:t>the</a:t>
            </a:r>
            <a:r>
              <a:rPr lang="de-DE"/>
              <a:t> </a:t>
            </a:r>
            <a:r>
              <a:rPr lang="de-DE" err="1"/>
              <a:t>layout</a:t>
            </a:r>
            <a:r>
              <a:rPr lang="de-DE"/>
              <a:t> and </a:t>
            </a:r>
            <a:r>
              <a:rPr lang="de-DE" err="1"/>
              <a:t>colour</a:t>
            </a:r>
            <a:r>
              <a:rPr lang="de-DE"/>
              <a:t> </a:t>
            </a:r>
            <a:r>
              <a:rPr lang="de-DE" err="1"/>
              <a:t>scheme</a:t>
            </a:r>
            <a:r>
              <a:rPr lang="de-DE"/>
              <a:t>. </a:t>
            </a:r>
            <a:r>
              <a:rPr lang="de-DE" err="1"/>
              <a:t>We</a:t>
            </a:r>
            <a:r>
              <a:rPr lang="de-DE"/>
              <a:t> </a:t>
            </a:r>
            <a:r>
              <a:rPr lang="de-DE" err="1"/>
              <a:t>advise</a:t>
            </a:r>
            <a:r>
              <a:rPr lang="de-DE"/>
              <a:t> </a:t>
            </a:r>
            <a:r>
              <a:rPr lang="de-DE" err="1"/>
              <a:t>to</a:t>
            </a:r>
            <a:r>
              <a:rPr lang="de-DE"/>
              <a:t> </a:t>
            </a:r>
            <a:r>
              <a:rPr lang="de-DE" err="1"/>
              <a:t>refrain</a:t>
            </a:r>
            <a:r>
              <a:rPr lang="de-DE"/>
              <a:t> </a:t>
            </a:r>
            <a:r>
              <a:rPr lang="de-DE" err="1"/>
              <a:t>from</a:t>
            </a:r>
            <a:r>
              <a:rPr lang="de-DE"/>
              <a:t> </a:t>
            </a:r>
            <a:r>
              <a:rPr lang="de-DE" err="1"/>
              <a:t>using</a:t>
            </a:r>
            <a:r>
              <a:rPr lang="de-DE"/>
              <a:t> </a:t>
            </a:r>
            <a:r>
              <a:rPr lang="de-DE" err="1"/>
              <a:t>gradients</a:t>
            </a:r>
            <a:r>
              <a:rPr lang="de-DE"/>
              <a:t> and </a:t>
            </a:r>
            <a:r>
              <a:rPr lang="de-DE" err="1"/>
              <a:t>shadows</a:t>
            </a:r>
            <a:r>
              <a:rPr lang="de-DE"/>
              <a:t> – </a:t>
            </a:r>
            <a:r>
              <a:rPr lang="de-DE" err="1"/>
              <a:t>this</a:t>
            </a:r>
            <a:r>
              <a:rPr lang="de-DE"/>
              <a:t> </a:t>
            </a:r>
            <a:r>
              <a:rPr lang="de-DE" err="1"/>
              <a:t>does</a:t>
            </a:r>
            <a:r>
              <a:rPr lang="de-DE"/>
              <a:t> not </a:t>
            </a:r>
            <a:r>
              <a:rPr lang="de-DE" err="1"/>
              <a:t>add</a:t>
            </a:r>
            <a:r>
              <a:rPr lang="de-DE"/>
              <a:t> </a:t>
            </a:r>
            <a:r>
              <a:rPr lang="de-DE" err="1"/>
              <a:t>any</a:t>
            </a:r>
            <a:r>
              <a:rPr lang="de-DE"/>
              <a:t> </a:t>
            </a:r>
            <a:r>
              <a:rPr lang="de-DE" err="1"/>
              <a:t>information</a:t>
            </a:r>
            <a:r>
              <a:rPr lang="de-DE"/>
              <a:t> in </a:t>
            </a:r>
            <a:r>
              <a:rPr lang="de-DE" err="1"/>
              <a:t>most</a:t>
            </a:r>
            <a:r>
              <a:rPr lang="de-DE"/>
              <a:t> </a:t>
            </a:r>
            <a:r>
              <a:rPr lang="de-DE" err="1"/>
              <a:t>cases</a:t>
            </a:r>
            <a:r>
              <a:rPr lang="de-DE"/>
              <a:t>. </a:t>
            </a:r>
          </a:p>
          <a:p>
            <a:r>
              <a:rPr lang="en-US"/>
              <a:t>The size of this copy will adapt automatically, depending on how many words you insert or write. If the size of the copy appears too small – rather try editing the text than </a:t>
            </a:r>
            <a:r>
              <a:rPr lang="en-US" err="1"/>
              <a:t>maximising</a:t>
            </a:r>
            <a:r>
              <a:rPr lang="en-US"/>
              <a:t> the size of the text box. </a:t>
            </a:r>
            <a:endParaRPr lang="de-DE"/>
          </a:p>
          <a:p>
            <a:endParaRPr lang="de-DE"/>
          </a:p>
        </p:txBody>
      </p:sp>
      <p:graphicFrame>
        <p:nvGraphicFramePr>
          <p:cNvPr id="6" name="Inhaltsplatzhalter 8" title="Kreisdiagramm Platzhalter">
            <a:extLst>
              <a:ext uri="{FF2B5EF4-FFF2-40B4-BE49-F238E27FC236}">
                <a16:creationId xmlns:a16="http://schemas.microsoft.com/office/drawing/2014/main" id="{6D36771A-5075-9748-A710-7DBB70C12D6A}"/>
              </a:ext>
            </a:extLst>
          </p:cNvPr>
          <p:cNvGraphicFramePr>
            <a:graphicFrameLocks/>
          </p:cNvGraphicFramePr>
          <p:nvPr userDrawn="1">
            <p:extLst>
              <p:ext uri="{D42A27DB-BD31-4B8C-83A1-F6EECF244321}">
                <p14:modId xmlns:p14="http://schemas.microsoft.com/office/powerpoint/2010/main" val="3232390385"/>
              </p:ext>
            </p:extLst>
          </p:nvPr>
        </p:nvGraphicFramePr>
        <p:xfrm>
          <a:off x="8472264" y="1747353"/>
          <a:ext cx="2951162" cy="41036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33018139"/>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7" name="Inhaltsplatzhalter 1">
            <a:extLst>
              <a:ext uri="{FF2B5EF4-FFF2-40B4-BE49-F238E27FC236}">
                <a16:creationId xmlns:a16="http://schemas.microsoft.com/office/drawing/2014/main" id="{C1F9600C-DD2A-3D4A-B5B0-19ADE1EE280E}"/>
              </a:ext>
            </a:extLst>
          </p:cNvPr>
          <p:cNvSpPr>
            <a:spLocks noGrp="1"/>
          </p:cNvSpPr>
          <p:nvPr>
            <p:ph idx="18"/>
          </p:nvPr>
        </p:nvSpPr>
        <p:spPr>
          <a:xfrm>
            <a:off x="349412" y="854984"/>
            <a:ext cx="3648000" cy="3311525"/>
          </a:xfrm>
        </p:spPr>
        <p:txBody>
          <a:bodyPr>
            <a:noAutofit/>
          </a:bodyPr>
          <a:lstStyle>
            <a:lvl1pPr>
              <a:defRPr sz="1800"/>
            </a:lvl1pPr>
          </a:lstStyle>
          <a:p>
            <a:r>
              <a:rPr lang="de-DE" err="1">
                <a:latin typeface="Calibri" panose="020F0502020204030204" pitchFamily="34" charset="0"/>
                <a:cs typeface="Calibri" panose="020F0502020204030204" pitchFamily="34" charset="0"/>
              </a:rPr>
              <a:t>Examples</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for</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bulle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points</a:t>
            </a:r>
            <a:r>
              <a:rPr lang="de-DE">
                <a:latin typeface="Calibri" panose="020F0502020204030204" pitchFamily="34" charset="0"/>
                <a:cs typeface="Calibri" panose="020F0502020204030204" pitchFamily="34" charset="0"/>
              </a:rPr>
              <a:t>.</a:t>
            </a:r>
          </a:p>
          <a:p>
            <a:r>
              <a:rPr lang="en-US">
                <a:latin typeface="Calibri" panose="020F0502020204030204" pitchFamily="34" charset="0"/>
                <a:cs typeface="Calibri" panose="020F0502020204030204" pitchFamily="34" charset="0"/>
              </a:rPr>
              <a:t>Be aware that there is a significant difference between using only the enter-key and using the combination of enter- and shift-key.</a:t>
            </a:r>
          </a:p>
          <a:p>
            <a:r>
              <a:rPr lang="en-US">
                <a:latin typeface="Calibri" panose="020F0502020204030204" pitchFamily="34" charset="0"/>
                <a:cs typeface="Calibri" panose="020F0502020204030204" pitchFamily="34" charset="0"/>
              </a:rPr>
              <a:t>Using only the enter-key will create a new bullet point.</a:t>
            </a:r>
            <a:br>
              <a:rPr lang="en-US">
                <a:latin typeface="Calibri" panose="020F0502020204030204" pitchFamily="34" charset="0"/>
                <a:cs typeface="Calibri" panose="020F0502020204030204" pitchFamily="34" charset="0"/>
              </a:rPr>
            </a:br>
            <a:r>
              <a:rPr lang="en-US">
                <a:latin typeface="Calibri" panose="020F0502020204030204" pitchFamily="34" charset="0"/>
                <a:cs typeface="Calibri" panose="020F0502020204030204" pitchFamily="34" charset="0"/>
              </a:rPr>
              <a:t> </a:t>
            </a:r>
            <a:br>
              <a:rPr lang="en-US">
                <a:latin typeface="Calibri" panose="020F0502020204030204" pitchFamily="34" charset="0"/>
                <a:cs typeface="Calibri" panose="020F0502020204030204" pitchFamily="34" charset="0"/>
              </a:rPr>
            </a:br>
            <a:r>
              <a:rPr lang="en-US">
                <a:latin typeface="Calibri" panose="020F0502020204030204" pitchFamily="34" charset="0"/>
                <a:cs typeface="Calibri" panose="020F0502020204030204" pitchFamily="34" charset="0"/>
              </a:rPr>
              <a:t>If you only want to start the text in a new line (like this sentence) and keep the numeration, use shift-enter. </a:t>
            </a:r>
          </a:p>
          <a:p>
            <a:r>
              <a:rPr lang="en-US">
                <a:latin typeface="Calibri" panose="020F0502020204030204" pitchFamily="34" charset="0"/>
                <a:cs typeface="Calibri" panose="020F0502020204030204" pitchFamily="34" charset="0"/>
              </a:rPr>
              <a:t>Text will resize automatically.</a:t>
            </a:r>
          </a:p>
          <a:p>
            <a:endParaRPr lang="de-DE">
              <a:latin typeface="Calibri" panose="020F0502020204030204" pitchFamily="34" charset="0"/>
              <a:cs typeface="Calibri" panose="020F0502020204030204" pitchFamily="34" charset="0"/>
            </a:endParaRPr>
          </a:p>
          <a:p>
            <a:endParaRPr lang="en-US">
              <a:latin typeface="Calibri" panose="020F0502020204030204" pitchFamily="34" charset="0"/>
              <a:cs typeface="Calibri" panose="020F0502020204030204" pitchFamily="34" charset="0"/>
            </a:endParaRPr>
          </a:p>
        </p:txBody>
      </p:sp>
      <p:sp>
        <p:nvSpPr>
          <p:cNvPr id="8" name="Inhaltsplatzhalter 2">
            <a:extLst>
              <a:ext uri="{FF2B5EF4-FFF2-40B4-BE49-F238E27FC236}">
                <a16:creationId xmlns:a16="http://schemas.microsoft.com/office/drawing/2014/main" id="{C36A1AC1-56A4-4346-B7AD-92B4196EBB80}"/>
              </a:ext>
            </a:extLst>
          </p:cNvPr>
          <p:cNvSpPr>
            <a:spLocks noGrp="1"/>
          </p:cNvSpPr>
          <p:nvPr>
            <p:ph idx="19"/>
          </p:nvPr>
        </p:nvSpPr>
        <p:spPr>
          <a:xfrm>
            <a:off x="7752184" y="836362"/>
            <a:ext cx="3648000" cy="3311525"/>
          </a:xfrm>
        </p:spPr>
        <p:txBody>
          <a:bodyPr/>
          <a:lstStyle>
            <a:lvl1pPr>
              <a:defRPr sz="1800"/>
            </a:lvl1pPr>
            <a:lvl2pPr>
              <a:defRPr sz="1800"/>
            </a:lvl2pPr>
            <a:lvl3pPr>
              <a:defRPr sz="1800"/>
            </a:lvl3pPr>
            <a:lvl4pPr>
              <a:defRPr sz="1800"/>
            </a:lvl4pPr>
            <a:lvl5pPr>
              <a:defRPr sz="1800"/>
            </a:lvl5pPr>
          </a:lstStyle>
          <a:p>
            <a:r>
              <a:rPr lang="de-DE" err="1">
                <a:latin typeface="Calibri" panose="020F0502020204030204" pitchFamily="34" charset="0"/>
                <a:cs typeface="Calibri" panose="020F0502020204030204" pitchFamily="34" charset="0"/>
              </a:rPr>
              <a:t>Example</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for</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bulle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points</a:t>
            </a:r>
            <a:br>
              <a:rPr lang="de-DE">
                <a:latin typeface="Calibri" panose="020F0502020204030204" pitchFamily="34" charset="0"/>
                <a:cs typeface="Calibri" panose="020F0502020204030204" pitchFamily="34" charset="0"/>
              </a:rPr>
            </a:br>
            <a:endParaRPr lang="de-DE">
              <a:latin typeface="Calibri" panose="020F0502020204030204" pitchFamily="34" charset="0"/>
              <a:cs typeface="Calibri" panose="020F0502020204030204" pitchFamily="34" charset="0"/>
            </a:endParaRPr>
          </a:p>
          <a:p>
            <a:r>
              <a:rPr lang="de-DE">
                <a:latin typeface="Calibri" panose="020F0502020204030204" pitchFamily="34" charset="0"/>
                <a:cs typeface="Calibri" panose="020F0502020204030204" pitchFamily="34" charset="0"/>
              </a:rPr>
              <a:t>Dummy </a:t>
            </a:r>
            <a:r>
              <a:rPr lang="de-DE" err="1">
                <a:latin typeface="Calibri" panose="020F0502020204030204" pitchFamily="34" charset="0"/>
                <a:cs typeface="Calibri" panose="020F0502020204030204" pitchFamily="34" charset="0"/>
              </a:rPr>
              <a:t>tex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here</a:t>
            </a:r>
            <a:endParaRPr lang="de-DE">
              <a:latin typeface="Calibri" panose="020F0502020204030204" pitchFamily="34" charset="0"/>
              <a:cs typeface="Calibri" panose="020F0502020204030204" pitchFamily="34" charset="0"/>
            </a:endParaRPr>
          </a:p>
          <a:p>
            <a:pPr lvl="1"/>
            <a:r>
              <a:rPr lang="de-DE">
                <a:latin typeface="Calibri" panose="020F0502020204030204" pitchFamily="34" charset="0"/>
                <a:cs typeface="Calibri" panose="020F0502020204030204" pitchFamily="34" charset="0"/>
              </a:rPr>
              <a:t>Second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2"/>
            <a:r>
              <a:rPr lang="de-DE">
                <a:latin typeface="Calibri" panose="020F0502020204030204" pitchFamily="34" charset="0"/>
                <a:cs typeface="Calibri" panose="020F0502020204030204" pitchFamily="34" charset="0"/>
              </a:rPr>
              <a:t>Third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3"/>
            <a:r>
              <a:rPr lang="de-DE" err="1">
                <a:latin typeface="Calibri" panose="020F0502020204030204" pitchFamily="34" charset="0"/>
                <a:cs typeface="Calibri" panose="020F0502020204030204" pitchFamily="34" charset="0"/>
              </a:rPr>
              <a:t>Fourth</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4"/>
            <a:r>
              <a:rPr lang="de-DE" err="1">
                <a:latin typeface="Calibri" panose="020F0502020204030204" pitchFamily="34" charset="0"/>
                <a:cs typeface="Calibri" panose="020F0502020204030204" pitchFamily="34" charset="0"/>
              </a:rPr>
              <a:t>Fifth</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p:txBody>
      </p:sp>
      <p:graphicFrame>
        <p:nvGraphicFramePr>
          <p:cNvPr id="9" name="Inhaltsplatzhalter 7" title="Infobox Platzhalter">
            <a:extLst>
              <a:ext uri="{FF2B5EF4-FFF2-40B4-BE49-F238E27FC236}">
                <a16:creationId xmlns:a16="http://schemas.microsoft.com/office/drawing/2014/main" id="{03B3DB83-3BE0-1D49-9913-2E54862A2869}"/>
              </a:ext>
            </a:extLst>
          </p:cNvPr>
          <p:cNvGraphicFramePr>
            <a:graphicFrameLocks/>
          </p:cNvGraphicFramePr>
          <p:nvPr userDrawn="1">
            <p:extLst>
              <p:ext uri="{D42A27DB-BD31-4B8C-83A1-F6EECF244321}">
                <p14:modId xmlns:p14="http://schemas.microsoft.com/office/powerpoint/2010/main" val="2580603730"/>
              </p:ext>
            </p:extLst>
          </p:nvPr>
        </p:nvGraphicFramePr>
        <p:xfrm>
          <a:off x="4079776" y="836362"/>
          <a:ext cx="3474386" cy="3203797"/>
        </p:xfrm>
        <a:graphic>
          <a:graphicData uri="http://schemas.openxmlformats.org/drawingml/2006/table">
            <a:tbl>
              <a:tblPr bandCol="1">
                <a:tableStyleId>{3B4B98B0-60AC-42C2-AFA5-B58CD77FA1E5}</a:tableStyleId>
              </a:tblPr>
              <a:tblGrid>
                <a:gridCol w="3474386">
                  <a:extLst>
                    <a:ext uri="{9D8B030D-6E8A-4147-A177-3AD203B41FA5}">
                      <a16:colId xmlns:a16="http://schemas.microsoft.com/office/drawing/2014/main" val="1090517882"/>
                    </a:ext>
                  </a:extLst>
                </a:gridCol>
              </a:tblGrid>
              <a:tr h="3203797">
                <a:tc>
                  <a:txBody>
                    <a:bodyPr/>
                    <a:lstStyle/>
                    <a:p>
                      <a:r>
                        <a:rPr lang="de-DE" sz="1800" b="1">
                          <a:solidFill>
                            <a:srgbClr val="015092"/>
                          </a:solidFill>
                          <a:latin typeface="Calibri" panose="020F0502020204030204" pitchFamily="34" charset="0"/>
                          <a:cs typeface="Calibri" panose="020F0502020204030204" pitchFamily="34" charset="0"/>
                        </a:rPr>
                        <a:t>Infobox </a:t>
                      </a:r>
                    </a:p>
                    <a:p>
                      <a:endParaRPr lang="de-DE" sz="1800" b="1">
                        <a:solidFill>
                          <a:srgbClr val="015092"/>
                        </a:solidFill>
                        <a:latin typeface="Calibri" panose="020F0502020204030204" pitchFamily="34" charset="0"/>
                        <a:cs typeface="Calibri" panose="020F0502020204030204" pitchFamily="34" charset="0"/>
                      </a:endParaRPr>
                    </a:p>
                    <a:p>
                      <a:r>
                        <a:rPr lang="de-DE" sz="1800">
                          <a:solidFill>
                            <a:srgbClr val="015092"/>
                          </a:solidFill>
                          <a:latin typeface="Calibri" panose="020F0502020204030204" pitchFamily="34" charset="0"/>
                          <a:cs typeface="Calibri" panose="020F0502020204030204" pitchFamily="34" charset="0"/>
                        </a:rPr>
                        <a:t>By </a:t>
                      </a:r>
                      <a:r>
                        <a:rPr lang="de-DE" sz="1800" err="1">
                          <a:solidFill>
                            <a:srgbClr val="015092"/>
                          </a:solidFill>
                          <a:latin typeface="Calibri" panose="020F0502020204030204" pitchFamily="34" charset="0"/>
                          <a:cs typeface="Calibri" panose="020F0502020204030204" pitchFamily="34" charset="0"/>
                        </a:rPr>
                        <a:t>using</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the</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buttons</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crease</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dent</a:t>
                      </a:r>
                      <a:r>
                        <a:rPr lang="de-DE" sz="1800">
                          <a:solidFill>
                            <a:srgbClr val="015092"/>
                          </a:solidFill>
                          <a:latin typeface="Calibri" panose="020F0502020204030204" pitchFamily="34" charset="0"/>
                          <a:cs typeface="Calibri" panose="020F0502020204030204" pitchFamily="34" charset="0"/>
                        </a:rPr>
                        <a:t>‘ and ‚</a:t>
                      </a:r>
                      <a:r>
                        <a:rPr lang="de-DE" sz="1800" err="1">
                          <a:solidFill>
                            <a:srgbClr val="015092"/>
                          </a:solidFill>
                          <a:latin typeface="Calibri" panose="020F0502020204030204" pitchFamily="34" charset="0"/>
                          <a:cs typeface="Calibri" panose="020F0502020204030204" pitchFamily="34" charset="0"/>
                        </a:rPr>
                        <a:t>decrease</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dent</a:t>
                      </a:r>
                      <a:r>
                        <a:rPr lang="de-DE" sz="1800">
                          <a:solidFill>
                            <a:srgbClr val="015092"/>
                          </a:solidFill>
                          <a:latin typeface="Calibri" panose="020F0502020204030204" pitchFamily="34" charset="0"/>
                          <a:cs typeface="Calibri" panose="020F0502020204030204" pitchFamily="34" charset="0"/>
                        </a:rPr>
                        <a:t>‘ in </a:t>
                      </a:r>
                      <a:r>
                        <a:rPr lang="de-DE" sz="1800" err="1">
                          <a:solidFill>
                            <a:srgbClr val="015092"/>
                          </a:solidFill>
                          <a:latin typeface="Calibri" panose="020F0502020204030204" pitchFamily="34" charset="0"/>
                          <a:cs typeface="Calibri" panose="020F0502020204030204" pitchFamily="34" charset="0"/>
                        </a:rPr>
                        <a:t>the</a:t>
                      </a:r>
                      <a:r>
                        <a:rPr lang="de-DE" sz="1800">
                          <a:solidFill>
                            <a:srgbClr val="015092"/>
                          </a:solidFill>
                          <a:latin typeface="Calibri" panose="020F0502020204030204" pitchFamily="34" charset="0"/>
                          <a:cs typeface="Calibri" panose="020F0502020204030204" pitchFamily="34" charset="0"/>
                        </a:rPr>
                        <a:t> ‚Start‘ </a:t>
                      </a:r>
                      <a:r>
                        <a:rPr lang="de-DE" sz="1800" err="1">
                          <a:solidFill>
                            <a:srgbClr val="015092"/>
                          </a:solidFill>
                          <a:latin typeface="Calibri" panose="020F0502020204030204" pitchFamily="34" charset="0"/>
                          <a:cs typeface="Calibri" panose="020F0502020204030204" pitchFamily="34" charset="0"/>
                        </a:rPr>
                        <a:t>menu</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you</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can</a:t>
                      </a:r>
                      <a:r>
                        <a:rPr lang="de-DE" sz="1800">
                          <a:solidFill>
                            <a:srgbClr val="015092"/>
                          </a:solidFill>
                          <a:latin typeface="Calibri" panose="020F0502020204030204" pitchFamily="34" charset="0"/>
                          <a:cs typeface="Calibri" panose="020F0502020204030204" pitchFamily="34" charset="0"/>
                        </a:rPr>
                        <a:t> switch </a:t>
                      </a:r>
                      <a:r>
                        <a:rPr lang="de-DE" sz="1800" err="1">
                          <a:solidFill>
                            <a:srgbClr val="015092"/>
                          </a:solidFill>
                          <a:latin typeface="Calibri" panose="020F0502020204030204" pitchFamily="34" charset="0"/>
                          <a:cs typeface="Calibri" panose="020F0502020204030204" pitchFamily="34" charset="0"/>
                        </a:rPr>
                        <a:t>between</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dention</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levels</a:t>
                      </a:r>
                      <a:r>
                        <a:rPr lang="de-DE" sz="1800">
                          <a:solidFill>
                            <a:srgbClr val="015092"/>
                          </a:solidFill>
                          <a:latin typeface="Calibri" panose="020F0502020204030204" pitchFamily="34" charset="0"/>
                          <a:cs typeface="Calibri" panose="020F0502020204030204" pitchFamily="34" charset="0"/>
                        </a:rPr>
                        <a:t>. This </a:t>
                      </a:r>
                      <a:r>
                        <a:rPr lang="de-DE" sz="1800" err="1">
                          <a:solidFill>
                            <a:srgbClr val="015092"/>
                          </a:solidFill>
                          <a:latin typeface="Calibri" panose="020F0502020204030204" pitchFamily="34" charset="0"/>
                          <a:cs typeface="Calibri" panose="020F0502020204030204" pitchFamily="34" charset="0"/>
                        </a:rPr>
                        <a:t>is</a:t>
                      </a:r>
                      <a:r>
                        <a:rPr lang="de-DE" sz="1800">
                          <a:solidFill>
                            <a:srgbClr val="015092"/>
                          </a:solidFill>
                          <a:latin typeface="Calibri" panose="020F0502020204030204" pitchFamily="34" charset="0"/>
                          <a:cs typeface="Calibri" panose="020F0502020204030204" pitchFamily="34" charset="0"/>
                        </a:rPr>
                        <a:t> valid </a:t>
                      </a:r>
                      <a:r>
                        <a:rPr lang="de-DE" sz="1800" err="1">
                          <a:solidFill>
                            <a:srgbClr val="015092"/>
                          </a:solidFill>
                          <a:latin typeface="Calibri" panose="020F0502020204030204" pitchFamily="34" charset="0"/>
                          <a:cs typeface="Calibri" panose="020F0502020204030204" pitchFamily="34" charset="0"/>
                        </a:rPr>
                        <a:t>for</a:t>
                      </a:r>
                      <a:r>
                        <a:rPr lang="de-DE" sz="1800">
                          <a:solidFill>
                            <a:srgbClr val="015092"/>
                          </a:solidFill>
                          <a:latin typeface="Calibri" panose="020F0502020204030204" pitchFamily="34" charset="0"/>
                          <a:cs typeface="Calibri" panose="020F0502020204030204" pitchFamily="34" charset="0"/>
                        </a:rPr>
                        <a:t> all </a:t>
                      </a:r>
                      <a:r>
                        <a:rPr lang="de-DE" sz="1800" err="1">
                          <a:solidFill>
                            <a:srgbClr val="015092"/>
                          </a:solidFill>
                          <a:latin typeface="Calibri" panose="020F0502020204030204" pitchFamily="34" charset="0"/>
                          <a:cs typeface="Calibri" panose="020F0502020204030204" pitchFamily="34" charset="0"/>
                        </a:rPr>
                        <a:t>kinds</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of</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listings</a:t>
                      </a:r>
                      <a:r>
                        <a:rPr lang="de-DE" sz="1800">
                          <a:solidFill>
                            <a:srgbClr val="015092"/>
                          </a:solidFill>
                          <a:latin typeface="Calibri" panose="020F0502020204030204" pitchFamily="34" charset="0"/>
                          <a:cs typeface="Calibri" panose="020F0502020204030204" pitchFamily="34" charset="0"/>
                        </a:rPr>
                        <a:t>, e.g. </a:t>
                      </a:r>
                      <a:r>
                        <a:rPr lang="de-DE" sz="1800" err="1">
                          <a:solidFill>
                            <a:srgbClr val="015092"/>
                          </a:solidFill>
                          <a:latin typeface="Calibri" panose="020F0502020204030204" pitchFamily="34" charset="0"/>
                          <a:cs typeface="Calibri" panose="020F0502020204030204" pitchFamily="34" charset="0"/>
                        </a:rPr>
                        <a:t>bullet</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points</a:t>
                      </a:r>
                      <a:r>
                        <a:rPr lang="de-DE" sz="1800">
                          <a:solidFill>
                            <a:srgbClr val="015092"/>
                          </a:solidFill>
                          <a:latin typeface="Calibri" panose="020F0502020204030204" pitchFamily="34" charset="0"/>
                          <a:cs typeface="Calibri" panose="020F0502020204030204" pitchFamily="34" charset="0"/>
                        </a:rPr>
                        <a:t> and </a:t>
                      </a:r>
                      <a:r>
                        <a:rPr lang="de-DE" sz="1800" err="1">
                          <a:solidFill>
                            <a:srgbClr val="015092"/>
                          </a:solidFill>
                          <a:latin typeface="Calibri" panose="020F0502020204030204" pitchFamily="34" charset="0"/>
                          <a:cs typeface="Calibri" panose="020F0502020204030204" pitchFamily="34" charset="0"/>
                        </a:rPr>
                        <a:t>enumerations</a:t>
                      </a:r>
                      <a:r>
                        <a:rPr lang="de-DE" sz="1800">
                          <a:solidFill>
                            <a:srgbClr val="015092"/>
                          </a:solidFill>
                          <a:latin typeface="Calibri" panose="020F0502020204030204" pitchFamily="34" charset="0"/>
                          <a:cs typeface="Calibri" panose="020F0502020204030204" pitchFamily="34" charset="0"/>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alpha val="20000"/>
                      </a:schemeClr>
                    </a:solidFill>
                  </a:tcPr>
                </a:tc>
                <a:extLst>
                  <a:ext uri="{0D108BD9-81ED-4DB2-BD59-A6C34878D82A}">
                    <a16:rowId xmlns:a16="http://schemas.microsoft.com/office/drawing/2014/main" val="2331007764"/>
                  </a:ext>
                </a:extLst>
              </a:tr>
            </a:tbl>
          </a:graphicData>
        </a:graphic>
      </p:graphicFrame>
    </p:spTree>
    <p:extLst>
      <p:ext uri="{BB962C8B-B14F-4D97-AF65-F5344CB8AC3E}">
        <p14:creationId xmlns:p14="http://schemas.microsoft.com/office/powerpoint/2010/main" val="3968285330"/>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3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
            <a:extLst>
              <a:ext uri="{FF2B5EF4-FFF2-40B4-BE49-F238E27FC236}">
                <a16:creationId xmlns:a16="http://schemas.microsoft.com/office/drawing/2014/main" id="{63F95587-91DB-574E-BF98-C631A8B7FEB8}"/>
              </a:ext>
            </a:extLst>
          </p:cNvPr>
          <p:cNvSpPr>
            <a:spLocks noGrp="1"/>
          </p:cNvSpPr>
          <p:nvPr>
            <p:ph idx="4294967295"/>
          </p:nvPr>
        </p:nvSpPr>
        <p:spPr>
          <a:xfrm>
            <a:off x="359864" y="1124744"/>
            <a:ext cx="11521546" cy="3311810"/>
          </a:xfrm>
        </p:spPr>
        <p:txBody>
          <a:bodyPr numCol="2" spcCol="216000">
            <a:normAutofit/>
          </a:bodyPr>
          <a:lstStyle/>
          <a:p>
            <a:pPr marL="342900" indent="-342900">
              <a:lnSpc>
                <a:spcPct val="120000"/>
              </a:lnSpc>
              <a:buClr>
                <a:srgbClr val="707F86"/>
              </a:buClr>
              <a:buFont typeface="+mj-lt"/>
              <a:buAutoNum type="arabicParenBoth"/>
            </a:pPr>
            <a:r>
              <a:rPr lang="en-US"/>
              <a:t>The size of this copy will adapt automatically, depending on how many words you insert or write. If the size of the copy appears too small – rather try editing the text than </a:t>
            </a:r>
            <a:r>
              <a:rPr lang="en-US" err="1"/>
              <a:t>maximising</a:t>
            </a:r>
            <a:r>
              <a:rPr lang="en-US"/>
              <a:t> the size of the text box. </a:t>
            </a:r>
          </a:p>
          <a:p>
            <a:pPr marL="342900" indent="-342900">
              <a:lnSpc>
                <a:spcPct val="120000"/>
              </a:lnSpc>
              <a:buClr>
                <a:srgbClr val="707F86"/>
              </a:buClr>
              <a:buFont typeface="+mj-lt"/>
              <a:buAutoNum type="arabicParenBoth"/>
            </a:pPr>
            <a:r>
              <a:rPr lang="de-DE"/>
              <a:t>In </a:t>
            </a:r>
            <a:r>
              <a:rPr lang="de-DE" err="1"/>
              <a:t>general</a:t>
            </a:r>
            <a:r>
              <a:rPr lang="de-DE"/>
              <a:t>, </a:t>
            </a:r>
            <a:r>
              <a:rPr lang="de-DE" err="1"/>
              <a:t>it</a:t>
            </a:r>
            <a:r>
              <a:rPr lang="de-DE"/>
              <a:t> </a:t>
            </a:r>
            <a:r>
              <a:rPr lang="de-DE" err="1"/>
              <a:t>is</a:t>
            </a:r>
            <a:r>
              <a:rPr lang="de-DE"/>
              <a:t> a </a:t>
            </a:r>
            <a:r>
              <a:rPr lang="de-DE" err="1"/>
              <a:t>good</a:t>
            </a:r>
            <a:r>
              <a:rPr lang="de-DE"/>
              <a:t> </a:t>
            </a:r>
            <a:r>
              <a:rPr lang="de-DE" err="1"/>
              <a:t>idea</a:t>
            </a:r>
            <a:r>
              <a:rPr lang="de-DE"/>
              <a:t> just </a:t>
            </a:r>
            <a:r>
              <a:rPr lang="de-DE" err="1"/>
              <a:t>to</a:t>
            </a:r>
            <a:r>
              <a:rPr lang="de-DE"/>
              <a:t> </a:t>
            </a:r>
            <a:r>
              <a:rPr lang="de-DE" err="1"/>
              <a:t>provide</a:t>
            </a:r>
            <a:r>
              <a:rPr lang="de-DE"/>
              <a:t> </a:t>
            </a:r>
            <a:r>
              <a:rPr lang="de-DE" err="1"/>
              <a:t>abstracts</a:t>
            </a:r>
            <a:r>
              <a:rPr lang="de-DE"/>
              <a:t> - </a:t>
            </a:r>
            <a:r>
              <a:rPr lang="de-DE" err="1"/>
              <a:t>this</a:t>
            </a:r>
            <a:r>
              <a:rPr lang="de-DE"/>
              <a:t> </a:t>
            </a:r>
            <a:r>
              <a:rPr lang="de-DE" err="1"/>
              <a:t>is</a:t>
            </a:r>
            <a:r>
              <a:rPr lang="de-DE"/>
              <a:t> a screen </a:t>
            </a:r>
            <a:r>
              <a:rPr lang="de-DE" err="1"/>
              <a:t>presentation</a:t>
            </a:r>
            <a:r>
              <a:rPr lang="de-DE"/>
              <a:t>, and </a:t>
            </a:r>
            <a:r>
              <a:rPr lang="de-DE" err="1"/>
              <a:t>nobody</a:t>
            </a:r>
            <a:r>
              <a:rPr lang="de-DE"/>
              <a:t> </a:t>
            </a:r>
            <a:r>
              <a:rPr lang="de-DE" err="1"/>
              <a:t>likes</a:t>
            </a:r>
            <a:r>
              <a:rPr lang="de-DE"/>
              <a:t> </a:t>
            </a:r>
            <a:r>
              <a:rPr lang="de-DE" err="1"/>
              <a:t>to</a:t>
            </a:r>
            <a:r>
              <a:rPr lang="de-DE"/>
              <a:t> </a:t>
            </a:r>
            <a:r>
              <a:rPr lang="de-DE" err="1"/>
              <a:t>read</a:t>
            </a:r>
            <a:r>
              <a:rPr lang="de-DE"/>
              <a:t> </a:t>
            </a:r>
            <a:r>
              <a:rPr lang="de-DE" err="1"/>
              <a:t>much</a:t>
            </a:r>
            <a:r>
              <a:rPr lang="de-DE"/>
              <a:t> </a:t>
            </a:r>
            <a:r>
              <a:rPr lang="de-DE" err="1"/>
              <a:t>text</a:t>
            </a:r>
            <a:r>
              <a:rPr lang="de-DE"/>
              <a:t> on </a:t>
            </a:r>
            <a:r>
              <a:rPr lang="de-DE" err="1"/>
              <a:t>the</a:t>
            </a:r>
            <a:r>
              <a:rPr lang="de-DE"/>
              <a:t> screen. </a:t>
            </a:r>
          </a:p>
          <a:p>
            <a:pPr marL="342900" indent="-342900">
              <a:lnSpc>
                <a:spcPct val="120000"/>
              </a:lnSpc>
              <a:buClr>
                <a:srgbClr val="707F86"/>
              </a:buClr>
              <a:buFont typeface="+mj-lt"/>
              <a:buAutoNum type="arabicParenBoth"/>
            </a:pPr>
            <a:endParaRPr lang="de-DE"/>
          </a:p>
          <a:p>
            <a:pPr marL="342900" indent="-342900">
              <a:lnSpc>
                <a:spcPct val="120000"/>
              </a:lnSpc>
              <a:buClr>
                <a:srgbClr val="707F86"/>
              </a:buClr>
              <a:buFont typeface="+mj-lt"/>
              <a:buAutoNum type="arabicParenBoth"/>
            </a:pPr>
            <a:r>
              <a:rPr lang="en-US"/>
              <a:t>Be aware that there is a significant difference between using only the enter-key and using the combination of enter- and shift-key</a:t>
            </a:r>
            <a:r>
              <a:rPr lang="de-DE"/>
              <a:t>.</a:t>
            </a:r>
          </a:p>
          <a:p>
            <a:pPr marL="342900" indent="-342900">
              <a:lnSpc>
                <a:spcPct val="120000"/>
              </a:lnSpc>
              <a:buClr>
                <a:srgbClr val="707F86"/>
              </a:buClr>
              <a:buFont typeface="+mj-lt"/>
              <a:buAutoNum type="arabicParenBoth"/>
            </a:pPr>
            <a:r>
              <a:rPr lang="de-DE"/>
              <a:t>In </a:t>
            </a:r>
            <a:r>
              <a:rPr lang="de-DE" err="1"/>
              <a:t>this</a:t>
            </a:r>
            <a:r>
              <a:rPr lang="de-DE"/>
              <a:t> </a:t>
            </a:r>
            <a:r>
              <a:rPr lang="de-DE" err="1"/>
              <a:t>textbox</a:t>
            </a:r>
            <a:r>
              <a:rPr lang="de-DE"/>
              <a:t>, </a:t>
            </a:r>
            <a:r>
              <a:rPr lang="de-DE" err="1"/>
              <a:t>using</a:t>
            </a:r>
            <a:r>
              <a:rPr lang="de-DE"/>
              <a:t> </a:t>
            </a:r>
            <a:r>
              <a:rPr lang="de-DE" err="1"/>
              <a:t>only</a:t>
            </a:r>
            <a:r>
              <a:rPr lang="de-DE"/>
              <a:t> </a:t>
            </a:r>
            <a:r>
              <a:rPr lang="de-DE" err="1"/>
              <a:t>the</a:t>
            </a:r>
            <a:r>
              <a:rPr lang="de-DE"/>
              <a:t> enter-</a:t>
            </a:r>
            <a:r>
              <a:rPr lang="de-DE" err="1"/>
              <a:t>key</a:t>
            </a:r>
            <a:r>
              <a:rPr lang="de-DE"/>
              <a:t> will </a:t>
            </a:r>
            <a:r>
              <a:rPr lang="de-DE" err="1"/>
              <a:t>create</a:t>
            </a:r>
            <a:r>
              <a:rPr lang="de-DE"/>
              <a:t> a </a:t>
            </a:r>
            <a:r>
              <a:rPr lang="de-DE" err="1"/>
              <a:t>new</a:t>
            </a:r>
            <a:r>
              <a:rPr lang="de-DE"/>
              <a:t> </a:t>
            </a:r>
            <a:r>
              <a:rPr lang="de-DE" err="1"/>
              <a:t>paragraph</a:t>
            </a:r>
            <a:r>
              <a:rPr lang="de-DE"/>
              <a:t>, </a:t>
            </a:r>
            <a:r>
              <a:rPr lang="de-DE" err="1"/>
              <a:t>causing</a:t>
            </a:r>
            <a:r>
              <a:rPr lang="de-DE"/>
              <a:t> a </a:t>
            </a:r>
            <a:r>
              <a:rPr lang="de-DE" err="1"/>
              <a:t>new</a:t>
            </a:r>
            <a:r>
              <a:rPr lang="de-DE"/>
              <a:t> </a:t>
            </a:r>
            <a:r>
              <a:rPr lang="de-DE" err="1"/>
              <a:t>numeration</a:t>
            </a:r>
            <a:r>
              <a:rPr lang="de-DE"/>
              <a:t>. </a:t>
            </a:r>
            <a:br>
              <a:rPr lang="de-DE"/>
            </a:br>
            <a:r>
              <a:rPr lang="de-DE" err="1"/>
              <a:t>If</a:t>
            </a:r>
            <a:r>
              <a:rPr lang="de-DE"/>
              <a:t> </a:t>
            </a:r>
            <a:r>
              <a:rPr lang="de-DE" err="1"/>
              <a:t>you</a:t>
            </a:r>
            <a:r>
              <a:rPr lang="de-DE"/>
              <a:t> </a:t>
            </a:r>
            <a:r>
              <a:rPr lang="de-DE" err="1"/>
              <a:t>only</a:t>
            </a:r>
            <a:r>
              <a:rPr lang="de-DE"/>
              <a:t> </a:t>
            </a:r>
            <a:r>
              <a:rPr lang="de-DE" err="1"/>
              <a:t>want</a:t>
            </a:r>
            <a:r>
              <a:rPr lang="de-DE"/>
              <a:t> </a:t>
            </a:r>
            <a:r>
              <a:rPr lang="de-DE" err="1"/>
              <a:t>to</a:t>
            </a:r>
            <a:r>
              <a:rPr lang="de-DE"/>
              <a:t> </a:t>
            </a:r>
            <a:r>
              <a:rPr lang="de-DE" err="1"/>
              <a:t>start</a:t>
            </a:r>
            <a:r>
              <a:rPr lang="de-DE"/>
              <a:t> </a:t>
            </a:r>
            <a:r>
              <a:rPr lang="de-DE" err="1"/>
              <a:t>the</a:t>
            </a:r>
            <a:r>
              <a:rPr lang="de-DE"/>
              <a:t> </a:t>
            </a:r>
            <a:r>
              <a:rPr lang="de-DE" err="1"/>
              <a:t>text</a:t>
            </a:r>
            <a:r>
              <a:rPr lang="de-DE"/>
              <a:t> in a </a:t>
            </a:r>
            <a:r>
              <a:rPr lang="de-DE" err="1"/>
              <a:t>new</a:t>
            </a:r>
            <a:r>
              <a:rPr lang="de-DE"/>
              <a:t> </a:t>
            </a:r>
            <a:r>
              <a:rPr lang="de-DE" err="1"/>
              <a:t>line</a:t>
            </a:r>
            <a:r>
              <a:rPr lang="de-DE"/>
              <a:t> (like </a:t>
            </a:r>
            <a:r>
              <a:rPr lang="de-DE" err="1"/>
              <a:t>this</a:t>
            </a:r>
            <a:r>
              <a:rPr lang="de-DE"/>
              <a:t> </a:t>
            </a:r>
            <a:r>
              <a:rPr lang="de-DE" err="1"/>
              <a:t>sentence</a:t>
            </a:r>
            <a:r>
              <a:rPr lang="de-DE"/>
              <a:t>) and </a:t>
            </a:r>
            <a:r>
              <a:rPr lang="de-DE" err="1"/>
              <a:t>keep</a:t>
            </a:r>
            <a:r>
              <a:rPr lang="de-DE"/>
              <a:t> </a:t>
            </a:r>
            <a:r>
              <a:rPr lang="de-DE" err="1"/>
              <a:t>the</a:t>
            </a:r>
            <a:r>
              <a:rPr lang="de-DE"/>
              <a:t> </a:t>
            </a:r>
            <a:r>
              <a:rPr lang="de-DE" err="1"/>
              <a:t>numeration</a:t>
            </a:r>
            <a:r>
              <a:rPr lang="de-DE"/>
              <a:t>, </a:t>
            </a:r>
            <a:r>
              <a:rPr lang="de-DE" err="1"/>
              <a:t>use</a:t>
            </a:r>
            <a:r>
              <a:rPr lang="de-DE"/>
              <a:t> shift-</a:t>
            </a:r>
            <a:r>
              <a:rPr lang="de-DE" err="1"/>
              <a:t>enter</a:t>
            </a:r>
            <a:r>
              <a:rPr lang="de-DE"/>
              <a:t>.  </a:t>
            </a:r>
          </a:p>
        </p:txBody>
      </p:sp>
    </p:spTree>
    <p:extLst>
      <p:ext uri="{BB962C8B-B14F-4D97-AF65-F5344CB8AC3E}">
        <p14:creationId xmlns:p14="http://schemas.microsoft.com/office/powerpoint/2010/main" val="809778551"/>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4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
            <a:extLst>
              <a:ext uri="{FF2B5EF4-FFF2-40B4-BE49-F238E27FC236}">
                <a16:creationId xmlns:a16="http://schemas.microsoft.com/office/drawing/2014/main" id="{045ED79A-32AA-D64E-AAD5-54B4B9C4DE4E}"/>
              </a:ext>
            </a:extLst>
          </p:cNvPr>
          <p:cNvSpPr>
            <a:spLocks noGrp="1"/>
          </p:cNvSpPr>
          <p:nvPr>
            <p:ph idx="1"/>
          </p:nvPr>
        </p:nvSpPr>
        <p:spPr>
          <a:xfrm>
            <a:off x="397842" y="939341"/>
            <a:ext cx="11506291" cy="4829919"/>
          </a:xfrm>
        </p:spPr>
        <p:txBody>
          <a:bodyPr/>
          <a:lstStyle>
            <a:lvl1pPr>
              <a:defRPr>
                <a:solidFill>
                  <a:schemeClr val="tx1">
                    <a:lumMod val="50000"/>
                  </a:schemeClr>
                </a:solidFill>
              </a:defRPr>
            </a:lvl1pPr>
          </a:lstStyle>
          <a:p>
            <a:r>
              <a:rPr lang="de-DE">
                <a:solidFill>
                  <a:srgbClr val="0F218B"/>
                </a:solidFill>
              </a:rPr>
              <a:t>Headline 3 – Edit </a:t>
            </a:r>
            <a:r>
              <a:rPr lang="de-DE" err="1">
                <a:solidFill>
                  <a:srgbClr val="0F218B"/>
                </a:solidFill>
              </a:rPr>
              <a:t>text</a:t>
            </a:r>
            <a:r>
              <a:rPr lang="de-DE">
                <a:solidFill>
                  <a:srgbClr val="0F218B"/>
                </a:solidFill>
              </a:rPr>
              <a:t> </a:t>
            </a:r>
            <a:r>
              <a:rPr lang="de-DE" err="1">
                <a:solidFill>
                  <a:srgbClr val="0F218B"/>
                </a:solidFill>
              </a:rPr>
              <a:t>here</a:t>
            </a:r>
            <a:r>
              <a:rPr lang="de-DE">
                <a:solidFill>
                  <a:srgbClr val="0F218B"/>
                </a:solidFill>
              </a:rPr>
              <a:t>.</a:t>
            </a:r>
            <a:endParaRPr lang="de-DE" i="1">
              <a:solidFill>
                <a:srgbClr val="0F218B"/>
              </a:solidFill>
            </a:endParaRPr>
          </a:p>
        </p:txBody>
      </p:sp>
      <p:grpSp>
        <p:nvGrpSpPr>
          <p:cNvPr id="4" name="Group 3553" title="6-Monats-Zeitleiste Platzhalter">
            <a:extLst>
              <a:ext uri="{FF2B5EF4-FFF2-40B4-BE49-F238E27FC236}">
                <a16:creationId xmlns:a16="http://schemas.microsoft.com/office/drawing/2014/main" id="{104D80E7-590A-6F45-BD68-8611B65301C7}"/>
              </a:ext>
            </a:extLst>
          </p:cNvPr>
          <p:cNvGrpSpPr/>
          <p:nvPr userDrawn="1"/>
        </p:nvGrpSpPr>
        <p:grpSpPr>
          <a:xfrm>
            <a:off x="1811339" y="2381327"/>
            <a:ext cx="8569325" cy="3224119"/>
            <a:chOff x="0" y="359738"/>
            <a:chExt cx="10490200" cy="5139089"/>
          </a:xfrm>
        </p:grpSpPr>
        <p:grpSp>
          <p:nvGrpSpPr>
            <p:cNvPr id="6" name="Group 3530">
              <a:extLst>
                <a:ext uri="{FF2B5EF4-FFF2-40B4-BE49-F238E27FC236}">
                  <a16:creationId xmlns:a16="http://schemas.microsoft.com/office/drawing/2014/main" id="{0F489A34-EB0D-9844-8E5C-68A73CD91E77}"/>
                </a:ext>
              </a:extLst>
            </p:cNvPr>
            <p:cNvGrpSpPr/>
            <p:nvPr/>
          </p:nvGrpSpPr>
          <p:grpSpPr>
            <a:xfrm>
              <a:off x="463551" y="803442"/>
              <a:ext cx="5797974" cy="4695385"/>
              <a:chOff x="545" y="358575"/>
              <a:chExt cx="5797973" cy="4695384"/>
            </a:xfrm>
          </p:grpSpPr>
          <p:sp>
            <p:nvSpPr>
              <p:cNvPr id="15" name="Shape 3525">
                <a:extLst>
                  <a:ext uri="{FF2B5EF4-FFF2-40B4-BE49-F238E27FC236}">
                    <a16:creationId xmlns:a16="http://schemas.microsoft.com/office/drawing/2014/main" id="{A153CEA7-30AE-F849-A6F4-864E0256893E}"/>
                  </a:ext>
                </a:extLst>
              </p:cNvPr>
              <p:cNvSpPr/>
              <p:nvPr/>
            </p:nvSpPr>
            <p:spPr>
              <a:xfrm flipV="1">
                <a:off x="545" y="358575"/>
                <a:ext cx="0" cy="241032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6" name="Shape 3526">
                <a:extLst>
                  <a:ext uri="{FF2B5EF4-FFF2-40B4-BE49-F238E27FC236}">
                    <a16:creationId xmlns:a16="http://schemas.microsoft.com/office/drawing/2014/main" id="{60C53EF1-C062-D545-8D50-5E5A151EAEF2}"/>
                  </a:ext>
                </a:extLst>
              </p:cNvPr>
              <p:cNvSpPr/>
              <p:nvPr/>
            </p:nvSpPr>
            <p:spPr>
              <a:xfrm flipV="1">
                <a:off x="755773" y="1567594"/>
                <a:ext cx="0" cy="1201303"/>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7" name="Shape 3527">
                <a:extLst>
                  <a:ext uri="{FF2B5EF4-FFF2-40B4-BE49-F238E27FC236}">
                    <a16:creationId xmlns:a16="http://schemas.microsoft.com/office/drawing/2014/main" id="{13DFF85B-1393-F24D-B481-3D1EF145FDA3}"/>
                  </a:ext>
                </a:extLst>
              </p:cNvPr>
              <p:cNvSpPr/>
              <p:nvPr/>
            </p:nvSpPr>
            <p:spPr>
              <a:xfrm flipV="1">
                <a:off x="5798518" y="721344"/>
                <a:ext cx="0" cy="204755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8" name="Shape 3528">
                <a:extLst>
                  <a:ext uri="{FF2B5EF4-FFF2-40B4-BE49-F238E27FC236}">
                    <a16:creationId xmlns:a16="http://schemas.microsoft.com/office/drawing/2014/main" id="{DC0087D8-03A9-6944-85A2-0EFC81E8E914}"/>
                  </a:ext>
                </a:extLst>
              </p:cNvPr>
              <p:cNvSpPr/>
              <p:nvPr/>
            </p:nvSpPr>
            <p:spPr>
              <a:xfrm>
                <a:off x="1608725" y="3274911"/>
                <a:ext cx="0" cy="1779048"/>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9" name="Shape 3529">
                <a:extLst>
                  <a:ext uri="{FF2B5EF4-FFF2-40B4-BE49-F238E27FC236}">
                    <a16:creationId xmlns:a16="http://schemas.microsoft.com/office/drawing/2014/main" id="{DECA1AED-351A-F54C-8939-BE1935F59845}"/>
                  </a:ext>
                </a:extLst>
              </p:cNvPr>
              <p:cNvSpPr/>
              <p:nvPr/>
            </p:nvSpPr>
            <p:spPr>
              <a:xfrm>
                <a:off x="4459938" y="3274911"/>
                <a:ext cx="0" cy="909640"/>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grpSp>
        <p:grpSp>
          <p:nvGrpSpPr>
            <p:cNvPr id="7" name="Group 3537">
              <a:extLst>
                <a:ext uri="{FF2B5EF4-FFF2-40B4-BE49-F238E27FC236}">
                  <a16:creationId xmlns:a16="http://schemas.microsoft.com/office/drawing/2014/main" id="{A90B8DDB-C27F-1A4D-B381-D7862AAE7931}"/>
                </a:ext>
              </a:extLst>
            </p:cNvPr>
            <p:cNvGrpSpPr/>
            <p:nvPr/>
          </p:nvGrpSpPr>
          <p:grpSpPr>
            <a:xfrm>
              <a:off x="0" y="3216502"/>
              <a:ext cx="10490200" cy="508001"/>
              <a:chOff x="0" y="0"/>
              <a:chExt cx="10490200" cy="508000"/>
            </a:xfrm>
          </p:grpSpPr>
          <p:sp>
            <p:nvSpPr>
              <p:cNvPr id="9" name="Shape 3531">
                <a:extLst>
                  <a:ext uri="{FF2B5EF4-FFF2-40B4-BE49-F238E27FC236}">
                    <a16:creationId xmlns:a16="http://schemas.microsoft.com/office/drawing/2014/main" id="{11C1F5E3-318A-7F41-9327-18EA7D1F2420}"/>
                  </a:ext>
                </a:extLst>
              </p:cNvPr>
              <p:cNvSpPr/>
              <p:nvPr/>
            </p:nvSpPr>
            <p:spPr>
              <a:xfrm>
                <a:off x="1793240" y="0"/>
                <a:ext cx="1524001" cy="508000"/>
              </a:xfrm>
              <a:prstGeom prst="rect">
                <a:avLst/>
              </a:prstGeom>
              <a:solidFill>
                <a:srgbClr val="51A1D2">
                  <a:alpha val="80000"/>
                </a:srgb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err="1">
                    <a:latin typeface="Calibri" panose="020F0502020204030204" pitchFamily="34" charset="0"/>
                    <a:cs typeface="Calibri" panose="020F0502020204030204" pitchFamily="34" charset="0"/>
                  </a:rPr>
                  <a:t>February</a:t>
                </a:r>
                <a:endParaRPr lang="de-DE" sz="1400" cap="none">
                  <a:latin typeface="Calibri" panose="020F0502020204030204" pitchFamily="34" charset="0"/>
                  <a:cs typeface="Calibri" panose="020F0502020204030204" pitchFamily="34" charset="0"/>
                </a:endParaRPr>
              </a:p>
            </p:txBody>
          </p:sp>
          <p:sp>
            <p:nvSpPr>
              <p:cNvPr id="10" name="Shape 3532">
                <a:extLst>
                  <a:ext uri="{FF2B5EF4-FFF2-40B4-BE49-F238E27FC236}">
                    <a16:creationId xmlns:a16="http://schemas.microsoft.com/office/drawing/2014/main" id="{0CAAF65E-76F6-2A43-B9EB-D5012C50B795}"/>
                  </a:ext>
                </a:extLst>
              </p:cNvPr>
              <p:cNvSpPr/>
              <p:nvPr/>
            </p:nvSpPr>
            <p:spPr>
              <a:xfrm>
                <a:off x="3586479" y="0"/>
                <a:ext cx="1524001" cy="508000"/>
              </a:xfrm>
              <a:prstGeom prst="rect">
                <a:avLst/>
              </a:prstGeom>
              <a:solidFill>
                <a:schemeClr val="accent2"/>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March</a:t>
                </a:r>
                <a:endParaRPr sz="1400">
                  <a:latin typeface="Calibri" panose="020F0502020204030204" pitchFamily="34" charset="0"/>
                  <a:cs typeface="Calibri" panose="020F0502020204030204" pitchFamily="34" charset="0"/>
                </a:endParaRPr>
              </a:p>
            </p:txBody>
          </p:sp>
          <p:sp>
            <p:nvSpPr>
              <p:cNvPr id="11" name="Shape 3533">
                <a:extLst>
                  <a:ext uri="{FF2B5EF4-FFF2-40B4-BE49-F238E27FC236}">
                    <a16:creationId xmlns:a16="http://schemas.microsoft.com/office/drawing/2014/main" id="{07E0612B-2EE4-D94B-B9D5-7C3647E11828}"/>
                  </a:ext>
                </a:extLst>
              </p:cNvPr>
              <p:cNvSpPr/>
              <p:nvPr/>
            </p:nvSpPr>
            <p:spPr>
              <a:xfrm>
                <a:off x="5379719" y="0"/>
                <a:ext cx="1524001" cy="508000"/>
              </a:xfrm>
              <a:prstGeom prst="rect">
                <a:avLst/>
              </a:prstGeom>
              <a:solidFill>
                <a:schemeClr val="accent3"/>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April</a:t>
                </a:r>
              </a:p>
            </p:txBody>
          </p:sp>
          <p:sp>
            <p:nvSpPr>
              <p:cNvPr id="12" name="Shape 3534">
                <a:extLst>
                  <a:ext uri="{FF2B5EF4-FFF2-40B4-BE49-F238E27FC236}">
                    <a16:creationId xmlns:a16="http://schemas.microsoft.com/office/drawing/2014/main" id="{A49F006A-263E-B749-84F7-45EC0200E53B}"/>
                  </a:ext>
                </a:extLst>
              </p:cNvPr>
              <p:cNvSpPr/>
              <p:nvPr/>
            </p:nvSpPr>
            <p:spPr>
              <a:xfrm>
                <a:off x="7172959" y="0"/>
                <a:ext cx="1524001" cy="508000"/>
              </a:xfrm>
              <a:prstGeom prst="rect">
                <a:avLst/>
              </a:prstGeom>
              <a:solidFill>
                <a:srgbClr val="313131">
                  <a:alpha val="80000"/>
                </a:srgb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May</a:t>
                </a:r>
              </a:p>
            </p:txBody>
          </p:sp>
          <p:sp>
            <p:nvSpPr>
              <p:cNvPr id="13" name="Shape 3535">
                <a:extLst>
                  <a:ext uri="{FF2B5EF4-FFF2-40B4-BE49-F238E27FC236}">
                    <a16:creationId xmlns:a16="http://schemas.microsoft.com/office/drawing/2014/main" id="{F74572F9-391D-914E-9B18-1442CC5747BA}"/>
                  </a:ext>
                </a:extLst>
              </p:cNvPr>
              <p:cNvSpPr/>
              <p:nvPr/>
            </p:nvSpPr>
            <p:spPr>
              <a:xfrm>
                <a:off x="8966200" y="0"/>
                <a:ext cx="1524000" cy="508000"/>
              </a:xfrm>
              <a:prstGeom prst="rect">
                <a:avLst/>
              </a:prstGeom>
              <a:solidFill>
                <a:srgbClr val="313131">
                  <a:alpha val="60000"/>
                </a:srgb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June</a:t>
                </a:r>
              </a:p>
            </p:txBody>
          </p:sp>
          <p:sp>
            <p:nvSpPr>
              <p:cNvPr id="14" name="Shape 3536">
                <a:extLst>
                  <a:ext uri="{FF2B5EF4-FFF2-40B4-BE49-F238E27FC236}">
                    <a16:creationId xmlns:a16="http://schemas.microsoft.com/office/drawing/2014/main" id="{9E60BD2D-E973-D848-94DA-2522289CF023}"/>
                  </a:ext>
                </a:extLst>
              </p:cNvPr>
              <p:cNvSpPr/>
              <p:nvPr/>
            </p:nvSpPr>
            <p:spPr>
              <a:xfrm>
                <a:off x="0" y="0"/>
                <a:ext cx="1524000" cy="508000"/>
              </a:xfrm>
              <a:prstGeom prst="rect">
                <a:avLst/>
              </a:prstGeom>
              <a:solidFill>
                <a:srgbClr val="015092"/>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err="1">
                    <a:latin typeface="Calibri" panose="020F0502020204030204" pitchFamily="34" charset="0"/>
                    <a:cs typeface="Calibri" panose="020F0502020204030204" pitchFamily="34" charset="0"/>
                  </a:rPr>
                  <a:t>January</a:t>
                </a:r>
                <a:endParaRPr sz="1400">
                  <a:latin typeface="Calibri" panose="020F0502020204030204" pitchFamily="34" charset="0"/>
                  <a:cs typeface="Calibri" panose="020F0502020204030204" pitchFamily="34" charset="0"/>
                </a:endParaRPr>
              </a:p>
            </p:txBody>
          </p:sp>
        </p:grpSp>
        <p:sp>
          <p:nvSpPr>
            <p:cNvPr id="8" name="Shape 3538">
              <a:extLst>
                <a:ext uri="{FF2B5EF4-FFF2-40B4-BE49-F238E27FC236}">
                  <a16:creationId xmlns:a16="http://schemas.microsoft.com/office/drawing/2014/main" id="{A6354215-87B2-714D-B863-6578DB1C0933}"/>
                </a:ext>
              </a:extLst>
            </p:cNvPr>
            <p:cNvSpPr/>
            <p:nvPr/>
          </p:nvSpPr>
          <p:spPr>
            <a:xfrm>
              <a:off x="608959" y="359738"/>
              <a:ext cx="493135" cy="88826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5</a:t>
              </a:r>
            </a:p>
          </p:txBody>
        </p:sp>
      </p:grpSp>
      <p:sp>
        <p:nvSpPr>
          <p:cNvPr id="20" name="Shape 3538">
            <a:extLst>
              <a:ext uri="{FF2B5EF4-FFF2-40B4-BE49-F238E27FC236}">
                <a16:creationId xmlns:a16="http://schemas.microsoft.com/office/drawing/2014/main" id="{35FD298D-674A-CC48-8F61-37BFAA2B6DB3}"/>
              </a:ext>
            </a:extLst>
          </p:cNvPr>
          <p:cNvSpPr/>
          <p:nvPr userDrawn="1"/>
        </p:nvSpPr>
        <p:spPr>
          <a:xfrm>
            <a:off x="2920857" y="3136102"/>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24</a:t>
            </a:r>
            <a:endParaRPr sz="2400">
              <a:solidFill>
                <a:srgbClr val="015092"/>
              </a:solidFill>
              <a:latin typeface="Calibri" panose="020F0502020204030204" pitchFamily="34" charset="0"/>
              <a:cs typeface="Calibri" panose="020F0502020204030204" pitchFamily="34" charset="0"/>
            </a:endParaRPr>
          </a:p>
        </p:txBody>
      </p:sp>
      <p:sp>
        <p:nvSpPr>
          <p:cNvPr id="21" name="Shape 3538">
            <a:extLst>
              <a:ext uri="{FF2B5EF4-FFF2-40B4-BE49-F238E27FC236}">
                <a16:creationId xmlns:a16="http://schemas.microsoft.com/office/drawing/2014/main" id="{7B384765-BFC7-8A40-914E-EB681AEE534B}"/>
              </a:ext>
            </a:extLst>
          </p:cNvPr>
          <p:cNvSpPr/>
          <p:nvPr userDrawn="1"/>
        </p:nvSpPr>
        <p:spPr>
          <a:xfrm>
            <a:off x="7061317" y="2606675"/>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9</a:t>
            </a:r>
            <a:endParaRPr sz="2400">
              <a:solidFill>
                <a:srgbClr val="015092"/>
              </a:solidFill>
              <a:latin typeface="Calibri" panose="020F0502020204030204" pitchFamily="34" charset="0"/>
              <a:cs typeface="Calibri" panose="020F0502020204030204" pitchFamily="34" charset="0"/>
            </a:endParaRPr>
          </a:p>
        </p:txBody>
      </p:sp>
      <p:sp>
        <p:nvSpPr>
          <p:cNvPr id="22" name="Shape 3538">
            <a:extLst>
              <a:ext uri="{FF2B5EF4-FFF2-40B4-BE49-F238E27FC236}">
                <a16:creationId xmlns:a16="http://schemas.microsoft.com/office/drawing/2014/main" id="{AE2700E5-E78F-094F-96E0-403DD94E3ECA}"/>
              </a:ext>
            </a:extLst>
          </p:cNvPr>
          <p:cNvSpPr/>
          <p:nvPr userDrawn="1"/>
        </p:nvSpPr>
        <p:spPr>
          <a:xfrm>
            <a:off x="3640937" y="5319539"/>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09</a:t>
            </a:r>
            <a:endParaRPr sz="2400">
              <a:solidFill>
                <a:srgbClr val="015092"/>
              </a:solidFill>
              <a:latin typeface="Calibri" panose="020F0502020204030204" pitchFamily="34" charset="0"/>
              <a:cs typeface="Calibri" panose="020F0502020204030204" pitchFamily="34" charset="0"/>
            </a:endParaRPr>
          </a:p>
        </p:txBody>
      </p:sp>
      <p:sp>
        <p:nvSpPr>
          <p:cNvPr id="23" name="Shape 3538">
            <a:extLst>
              <a:ext uri="{FF2B5EF4-FFF2-40B4-BE49-F238E27FC236}">
                <a16:creationId xmlns:a16="http://schemas.microsoft.com/office/drawing/2014/main" id="{D2168131-C3E9-2642-AC6A-FD9DF04C35DF}"/>
              </a:ext>
            </a:extLst>
          </p:cNvPr>
          <p:cNvSpPr/>
          <p:nvPr userDrawn="1"/>
        </p:nvSpPr>
        <p:spPr>
          <a:xfrm>
            <a:off x="5945193" y="4771926"/>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30</a:t>
            </a:r>
            <a:endParaRPr sz="2400">
              <a:solidFill>
                <a:srgbClr val="015092"/>
              </a:solidFill>
              <a:latin typeface="Calibri" panose="020F0502020204030204" pitchFamily="34" charset="0"/>
              <a:cs typeface="Calibri" panose="020F0502020204030204" pitchFamily="34" charset="0"/>
            </a:endParaRPr>
          </a:p>
        </p:txBody>
      </p:sp>
      <p:sp>
        <p:nvSpPr>
          <p:cNvPr id="24" name="Shape 3539">
            <a:extLst>
              <a:ext uri="{FF2B5EF4-FFF2-40B4-BE49-F238E27FC236}">
                <a16:creationId xmlns:a16="http://schemas.microsoft.com/office/drawing/2014/main" id="{9070C1F2-9150-574A-80C7-16A9A88CD69A}"/>
              </a:ext>
            </a:extLst>
          </p:cNvPr>
          <p:cNvSpPr/>
          <p:nvPr userDrawn="1"/>
        </p:nvSpPr>
        <p:spPr>
          <a:xfrm>
            <a:off x="2748663" y="2380866"/>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5" name="Shape 3539">
            <a:extLst>
              <a:ext uri="{FF2B5EF4-FFF2-40B4-BE49-F238E27FC236}">
                <a16:creationId xmlns:a16="http://schemas.microsoft.com/office/drawing/2014/main" id="{F165BDCC-DA70-EC46-9626-3AB83AF24553}"/>
              </a:ext>
            </a:extLst>
          </p:cNvPr>
          <p:cNvSpPr/>
          <p:nvPr userDrawn="1"/>
        </p:nvSpPr>
        <p:spPr>
          <a:xfrm>
            <a:off x="7484962" y="2622989"/>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6" name="Shape 3539">
            <a:extLst>
              <a:ext uri="{FF2B5EF4-FFF2-40B4-BE49-F238E27FC236}">
                <a16:creationId xmlns:a16="http://schemas.microsoft.com/office/drawing/2014/main" id="{79E6AE81-3957-014F-ADD0-951A098602AC}"/>
              </a:ext>
            </a:extLst>
          </p:cNvPr>
          <p:cNvSpPr/>
          <p:nvPr userDrawn="1"/>
        </p:nvSpPr>
        <p:spPr>
          <a:xfrm>
            <a:off x="3374198" y="3154499"/>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7" name="Shape 3539">
            <a:extLst>
              <a:ext uri="{FF2B5EF4-FFF2-40B4-BE49-F238E27FC236}">
                <a16:creationId xmlns:a16="http://schemas.microsoft.com/office/drawing/2014/main" id="{4CDDE768-FC4E-754B-8160-BC3805C4D230}"/>
              </a:ext>
            </a:extLst>
          </p:cNvPr>
          <p:cNvSpPr/>
          <p:nvPr userDrawn="1"/>
        </p:nvSpPr>
        <p:spPr>
          <a:xfrm>
            <a:off x="4061660" y="5339645"/>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8" name="Shape 3539">
            <a:extLst>
              <a:ext uri="{FF2B5EF4-FFF2-40B4-BE49-F238E27FC236}">
                <a16:creationId xmlns:a16="http://schemas.microsoft.com/office/drawing/2014/main" id="{FCEA35DC-17D6-1745-9FC7-F6342C85336C}"/>
              </a:ext>
            </a:extLst>
          </p:cNvPr>
          <p:cNvSpPr/>
          <p:nvPr userDrawn="1"/>
        </p:nvSpPr>
        <p:spPr>
          <a:xfrm>
            <a:off x="6359164" y="4781912"/>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Tree>
    <p:extLst>
      <p:ext uri="{BB962C8B-B14F-4D97-AF65-F5344CB8AC3E}">
        <p14:creationId xmlns:p14="http://schemas.microsoft.com/office/powerpoint/2010/main" val="2690859379"/>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5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grpSp>
        <p:nvGrpSpPr>
          <p:cNvPr id="3" name="Group 3911" title="Jahres Zeitleiste Platzhalter">
            <a:extLst>
              <a:ext uri="{FF2B5EF4-FFF2-40B4-BE49-F238E27FC236}">
                <a16:creationId xmlns:a16="http://schemas.microsoft.com/office/drawing/2014/main" id="{C9AF7415-8D2A-C940-B919-D2896ED2CC76}"/>
              </a:ext>
            </a:extLst>
          </p:cNvPr>
          <p:cNvGrpSpPr/>
          <p:nvPr userDrawn="1"/>
        </p:nvGrpSpPr>
        <p:grpSpPr>
          <a:xfrm>
            <a:off x="1811524" y="2655243"/>
            <a:ext cx="7397880" cy="2749280"/>
            <a:chOff x="93735" y="581934"/>
            <a:chExt cx="10577686" cy="3930994"/>
          </a:xfrm>
        </p:grpSpPr>
        <p:grpSp>
          <p:nvGrpSpPr>
            <p:cNvPr id="4" name="Group 3892">
              <a:extLst>
                <a:ext uri="{FF2B5EF4-FFF2-40B4-BE49-F238E27FC236}">
                  <a16:creationId xmlns:a16="http://schemas.microsoft.com/office/drawing/2014/main" id="{BF9A743B-F676-5541-B47D-C0037A53680B}"/>
                </a:ext>
              </a:extLst>
            </p:cNvPr>
            <p:cNvGrpSpPr/>
            <p:nvPr/>
          </p:nvGrpSpPr>
          <p:grpSpPr>
            <a:xfrm>
              <a:off x="636627" y="581934"/>
              <a:ext cx="10034794" cy="3930994"/>
              <a:chOff x="6131" y="477113"/>
              <a:chExt cx="10034793" cy="3930992"/>
            </a:xfrm>
          </p:grpSpPr>
          <p:sp>
            <p:nvSpPr>
              <p:cNvPr id="7" name="Shape 3882">
                <a:extLst>
                  <a:ext uri="{FF2B5EF4-FFF2-40B4-BE49-F238E27FC236}">
                    <a16:creationId xmlns:a16="http://schemas.microsoft.com/office/drawing/2014/main" id="{FB374AB2-ACB5-F24F-8D5D-4E70071227EE}"/>
                  </a:ext>
                </a:extLst>
              </p:cNvPr>
              <p:cNvSpPr/>
              <p:nvPr/>
            </p:nvSpPr>
            <p:spPr>
              <a:xfrm flipV="1">
                <a:off x="4975193" y="477113"/>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8" name="Shape 3883">
                <a:extLst>
                  <a:ext uri="{FF2B5EF4-FFF2-40B4-BE49-F238E27FC236}">
                    <a16:creationId xmlns:a16="http://schemas.microsoft.com/office/drawing/2014/main" id="{EA1CE728-B269-1C4E-9B54-82A102A50404}"/>
                  </a:ext>
                </a:extLst>
              </p:cNvPr>
              <p:cNvSpPr/>
              <p:nvPr/>
            </p:nvSpPr>
            <p:spPr>
              <a:xfrm flipV="1">
                <a:off x="6131" y="477113"/>
                <a:ext cx="1" cy="1940560"/>
              </a:xfrm>
              <a:prstGeom prst="line">
                <a:avLst/>
              </a:prstGeom>
              <a:solidFill>
                <a:srgbClr val="015092"/>
              </a:solidFill>
              <a:ln w="63500" cap="flat">
                <a:solidFill>
                  <a:srgbClr val="01509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9" name="Shape 3884">
                <a:extLst>
                  <a:ext uri="{FF2B5EF4-FFF2-40B4-BE49-F238E27FC236}">
                    <a16:creationId xmlns:a16="http://schemas.microsoft.com/office/drawing/2014/main" id="{7F9696C5-6EFA-3F44-ACCC-A640A163B09E}"/>
                  </a:ext>
                </a:extLst>
              </p:cNvPr>
              <p:cNvSpPr/>
              <p:nvPr/>
            </p:nvSpPr>
            <p:spPr>
              <a:xfrm>
                <a:off x="38737" y="2461556"/>
                <a:ext cx="9911442" cy="0"/>
              </a:xfrm>
              <a:prstGeom prst="line">
                <a:avLst/>
              </a:prstGeom>
              <a:noFill/>
              <a:ln w="63500" cap="flat">
                <a:solidFill>
                  <a:srgbClr val="313131">
                    <a:alpha val="80000"/>
                  </a:srgbClr>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0" name="Shape 3886">
                <a:extLst>
                  <a:ext uri="{FF2B5EF4-FFF2-40B4-BE49-F238E27FC236}">
                    <a16:creationId xmlns:a16="http://schemas.microsoft.com/office/drawing/2014/main" id="{9F291BB0-5EAA-9348-8F11-398FB22080F8}"/>
                  </a:ext>
                </a:extLst>
              </p:cNvPr>
              <p:cNvSpPr/>
              <p:nvPr/>
            </p:nvSpPr>
            <p:spPr>
              <a:xfrm>
                <a:off x="9850422" y="2364572"/>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1" name="Shape 3887">
                <a:extLst>
                  <a:ext uri="{FF2B5EF4-FFF2-40B4-BE49-F238E27FC236}">
                    <a16:creationId xmlns:a16="http://schemas.microsoft.com/office/drawing/2014/main" id="{BCE477E8-F7BD-0F42-9589-05CBDFAAB18A}"/>
                  </a:ext>
                </a:extLst>
              </p:cNvPr>
              <p:cNvSpPr/>
              <p:nvPr/>
            </p:nvSpPr>
            <p:spPr>
              <a:xfrm>
                <a:off x="2411544" y="2368317"/>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2" name="Shape 3888">
                <a:extLst>
                  <a:ext uri="{FF2B5EF4-FFF2-40B4-BE49-F238E27FC236}">
                    <a16:creationId xmlns:a16="http://schemas.microsoft.com/office/drawing/2014/main" id="{7429753A-3C9E-B84B-BE29-D4FB586DA37E}"/>
                  </a:ext>
                </a:extLst>
              </p:cNvPr>
              <p:cNvSpPr/>
              <p:nvPr/>
            </p:nvSpPr>
            <p:spPr>
              <a:xfrm>
                <a:off x="4883584" y="2368318"/>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3" name="Shape 3889">
                <a:extLst>
                  <a:ext uri="{FF2B5EF4-FFF2-40B4-BE49-F238E27FC236}">
                    <a16:creationId xmlns:a16="http://schemas.microsoft.com/office/drawing/2014/main" id="{01F5BD46-1837-2445-81BC-19FA29B81F17}"/>
                  </a:ext>
                </a:extLst>
              </p:cNvPr>
              <p:cNvSpPr/>
              <p:nvPr/>
            </p:nvSpPr>
            <p:spPr>
              <a:xfrm>
                <a:off x="7368877" y="2368318"/>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4" name="Shape 3890">
                <a:extLst>
                  <a:ext uri="{FF2B5EF4-FFF2-40B4-BE49-F238E27FC236}">
                    <a16:creationId xmlns:a16="http://schemas.microsoft.com/office/drawing/2014/main" id="{38B19469-B9A6-8940-8470-7A36199769F8}"/>
                  </a:ext>
                </a:extLst>
              </p:cNvPr>
              <p:cNvSpPr/>
              <p:nvPr/>
            </p:nvSpPr>
            <p:spPr>
              <a:xfrm flipV="1">
                <a:off x="7451364" y="2463799"/>
                <a:ext cx="1" cy="1940560"/>
              </a:xfrm>
              <a:prstGeom prst="line">
                <a:avLst/>
              </a:prstGeom>
              <a:noFill/>
              <a:ln w="63500" cap="flat">
                <a:solidFill>
                  <a:srgbClr val="313131">
                    <a:alpha val="60000"/>
                  </a:srgbClr>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5" name="Shape 3891">
                <a:extLst>
                  <a:ext uri="{FF2B5EF4-FFF2-40B4-BE49-F238E27FC236}">
                    <a16:creationId xmlns:a16="http://schemas.microsoft.com/office/drawing/2014/main" id="{117DD6A9-A883-E544-9621-C8501B30B3B4}"/>
                  </a:ext>
                </a:extLst>
              </p:cNvPr>
              <p:cNvSpPr/>
              <p:nvPr/>
            </p:nvSpPr>
            <p:spPr>
              <a:xfrm flipV="1">
                <a:off x="2498616" y="2467545"/>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grpSp>
        <p:sp>
          <p:nvSpPr>
            <p:cNvPr id="6" name="Shape 3904">
              <a:extLst>
                <a:ext uri="{FF2B5EF4-FFF2-40B4-BE49-F238E27FC236}">
                  <a16:creationId xmlns:a16="http://schemas.microsoft.com/office/drawing/2014/main" id="{97E1DA5A-D2AC-CD4A-94FA-4070AD6EB5B4}"/>
                </a:ext>
              </a:extLst>
            </p:cNvPr>
            <p:cNvSpPr/>
            <p:nvPr/>
          </p:nvSpPr>
          <p:spPr>
            <a:xfrm>
              <a:off x="93735" y="1997149"/>
              <a:ext cx="1116503" cy="1116503"/>
            </a:xfrm>
            <a:prstGeom prst="ellipse">
              <a:avLst/>
            </a:prstGeom>
            <a:solidFill>
              <a:srgbClr val="015092"/>
            </a:solidFill>
            <a:ln w="12700" cap="flat">
              <a:solidFill>
                <a:srgbClr val="015092"/>
              </a:solid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algn="ctr"/>
              <a:r>
                <a:rPr sz="1400" b="1">
                  <a:latin typeface="Calibri" panose="020F0502020204030204" pitchFamily="34" charset="0"/>
                  <a:cs typeface="Calibri" panose="020F0502020204030204" pitchFamily="34" charset="0"/>
                </a:rPr>
                <a:t>Start</a:t>
              </a:r>
            </a:p>
          </p:txBody>
        </p:sp>
      </p:grpSp>
      <p:sp>
        <p:nvSpPr>
          <p:cNvPr id="16" name="Shape 3899">
            <a:extLst>
              <a:ext uri="{FF2B5EF4-FFF2-40B4-BE49-F238E27FC236}">
                <a16:creationId xmlns:a16="http://schemas.microsoft.com/office/drawing/2014/main" id="{1C04B757-37FD-8344-9AF0-04B08289508A}"/>
              </a:ext>
            </a:extLst>
          </p:cNvPr>
          <p:cNvSpPr/>
          <p:nvPr userDrawn="1"/>
        </p:nvSpPr>
        <p:spPr>
          <a:xfrm>
            <a:off x="5500456" y="4177891"/>
            <a:ext cx="555807"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19</a:t>
            </a:r>
            <a:endParaRPr sz="1400" b="1">
              <a:solidFill>
                <a:srgbClr val="313131"/>
              </a:solidFill>
              <a:latin typeface="Calibri" panose="020F0502020204030204" pitchFamily="34" charset="0"/>
              <a:cs typeface="Calibri" panose="020F0502020204030204" pitchFamily="34" charset="0"/>
            </a:endParaRPr>
          </a:p>
        </p:txBody>
      </p:sp>
      <p:sp>
        <p:nvSpPr>
          <p:cNvPr id="17" name="Shape 3899">
            <a:extLst>
              <a:ext uri="{FF2B5EF4-FFF2-40B4-BE49-F238E27FC236}">
                <a16:creationId xmlns:a16="http://schemas.microsoft.com/office/drawing/2014/main" id="{68276EE8-CA57-2346-9CCF-A025AFF6855B}"/>
              </a:ext>
            </a:extLst>
          </p:cNvPr>
          <p:cNvSpPr/>
          <p:nvPr userDrawn="1"/>
        </p:nvSpPr>
        <p:spPr>
          <a:xfrm>
            <a:off x="8958826" y="4177891"/>
            <a:ext cx="488973"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21</a:t>
            </a:r>
            <a:endParaRPr sz="1400" b="1">
              <a:solidFill>
                <a:srgbClr val="313131"/>
              </a:solidFill>
              <a:latin typeface="Calibri" panose="020F0502020204030204" pitchFamily="34" charset="0"/>
              <a:cs typeface="Calibri" panose="020F0502020204030204" pitchFamily="34" charset="0"/>
            </a:endParaRPr>
          </a:p>
        </p:txBody>
      </p:sp>
      <p:sp>
        <p:nvSpPr>
          <p:cNvPr id="18" name="Shape 3899">
            <a:extLst>
              <a:ext uri="{FF2B5EF4-FFF2-40B4-BE49-F238E27FC236}">
                <a16:creationId xmlns:a16="http://schemas.microsoft.com/office/drawing/2014/main" id="{23DE72D4-878E-2144-A9D3-A42389C2E721}"/>
              </a:ext>
            </a:extLst>
          </p:cNvPr>
          <p:cNvSpPr/>
          <p:nvPr userDrawn="1"/>
        </p:nvSpPr>
        <p:spPr>
          <a:xfrm>
            <a:off x="3746385" y="3735364"/>
            <a:ext cx="549411"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18</a:t>
            </a:r>
            <a:endParaRPr sz="1400" b="1">
              <a:solidFill>
                <a:srgbClr val="313131"/>
              </a:solidFill>
              <a:latin typeface="Calibri" panose="020F0502020204030204" pitchFamily="34" charset="0"/>
              <a:cs typeface="Calibri" panose="020F0502020204030204" pitchFamily="34" charset="0"/>
            </a:endParaRPr>
          </a:p>
        </p:txBody>
      </p:sp>
      <p:sp>
        <p:nvSpPr>
          <p:cNvPr id="19" name="Shape 3899">
            <a:extLst>
              <a:ext uri="{FF2B5EF4-FFF2-40B4-BE49-F238E27FC236}">
                <a16:creationId xmlns:a16="http://schemas.microsoft.com/office/drawing/2014/main" id="{6FE0A369-2E74-4C41-9332-CEA1A3F8CAA5}"/>
              </a:ext>
            </a:extLst>
          </p:cNvPr>
          <p:cNvSpPr/>
          <p:nvPr userDrawn="1"/>
        </p:nvSpPr>
        <p:spPr>
          <a:xfrm>
            <a:off x="7204755" y="3735364"/>
            <a:ext cx="566327"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en-US" sz="1400" b="1">
                <a:solidFill>
                  <a:srgbClr val="313131"/>
                </a:solidFill>
                <a:latin typeface="Calibri" panose="020F0502020204030204" pitchFamily="34" charset="0"/>
                <a:cs typeface="Calibri" panose="020F0502020204030204" pitchFamily="34" charset="0"/>
              </a:rPr>
              <a:t>20</a:t>
            </a:r>
            <a:endParaRPr sz="1400" b="1">
              <a:solidFill>
                <a:srgbClr val="313131"/>
              </a:solidFill>
              <a:latin typeface="Calibri" panose="020F0502020204030204" pitchFamily="34" charset="0"/>
              <a:cs typeface="Calibri" panose="020F0502020204030204" pitchFamily="34" charset="0"/>
            </a:endParaRPr>
          </a:p>
        </p:txBody>
      </p:sp>
      <p:sp>
        <p:nvSpPr>
          <p:cNvPr id="20" name="Shape 3538">
            <a:extLst>
              <a:ext uri="{FF2B5EF4-FFF2-40B4-BE49-F238E27FC236}">
                <a16:creationId xmlns:a16="http://schemas.microsoft.com/office/drawing/2014/main" id="{6218F089-DA01-8A49-B7EB-18202B0E694E}"/>
              </a:ext>
            </a:extLst>
          </p:cNvPr>
          <p:cNvSpPr/>
          <p:nvPr userDrawn="1"/>
        </p:nvSpPr>
        <p:spPr>
          <a:xfrm>
            <a:off x="5819509" y="2475684"/>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1</a:t>
            </a:r>
            <a:endParaRPr sz="2400">
              <a:solidFill>
                <a:srgbClr val="015092"/>
              </a:solidFill>
              <a:latin typeface="Calibri" panose="020F0502020204030204" pitchFamily="34" charset="0"/>
              <a:cs typeface="Calibri" panose="020F0502020204030204" pitchFamily="34" charset="0"/>
            </a:endParaRPr>
          </a:p>
        </p:txBody>
      </p:sp>
      <p:sp>
        <p:nvSpPr>
          <p:cNvPr id="21" name="Shape 3538">
            <a:extLst>
              <a:ext uri="{FF2B5EF4-FFF2-40B4-BE49-F238E27FC236}">
                <a16:creationId xmlns:a16="http://schemas.microsoft.com/office/drawing/2014/main" id="{3ACB3470-0EB9-4B42-869A-F6D9D2389C11}"/>
              </a:ext>
            </a:extLst>
          </p:cNvPr>
          <p:cNvSpPr/>
          <p:nvPr userDrawn="1"/>
        </p:nvSpPr>
        <p:spPr>
          <a:xfrm>
            <a:off x="4055313" y="5103515"/>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a:t>
            </a:r>
            <a:r>
              <a:rPr lang="de-DE" sz="2400">
                <a:solidFill>
                  <a:srgbClr val="015092"/>
                </a:solidFill>
                <a:latin typeface="Calibri" panose="020F0502020204030204" pitchFamily="34" charset="0"/>
                <a:cs typeface="Calibri" panose="020F0502020204030204" pitchFamily="34" charset="0"/>
              </a:rPr>
              <a:t>9</a:t>
            </a:r>
            <a:endParaRPr sz="2400">
              <a:solidFill>
                <a:srgbClr val="015092"/>
              </a:solidFill>
              <a:latin typeface="Calibri" panose="020F0502020204030204" pitchFamily="34" charset="0"/>
              <a:cs typeface="Calibri" panose="020F0502020204030204" pitchFamily="34" charset="0"/>
            </a:endParaRPr>
          </a:p>
        </p:txBody>
      </p:sp>
      <p:sp>
        <p:nvSpPr>
          <p:cNvPr id="22" name="Shape 3538">
            <a:extLst>
              <a:ext uri="{FF2B5EF4-FFF2-40B4-BE49-F238E27FC236}">
                <a16:creationId xmlns:a16="http://schemas.microsoft.com/office/drawing/2014/main" id="{BD2E93CF-7EB0-1D44-8FE8-B42CB15F1E38}"/>
              </a:ext>
            </a:extLst>
          </p:cNvPr>
          <p:cNvSpPr/>
          <p:nvPr userDrawn="1"/>
        </p:nvSpPr>
        <p:spPr>
          <a:xfrm>
            <a:off x="7547701" y="5103515"/>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2</a:t>
            </a:r>
            <a:endParaRPr sz="2400">
              <a:solidFill>
                <a:srgbClr val="015092"/>
              </a:solidFill>
              <a:latin typeface="Calibri" panose="020F0502020204030204" pitchFamily="34" charset="0"/>
              <a:cs typeface="Calibri" panose="020F0502020204030204" pitchFamily="34" charset="0"/>
            </a:endParaRPr>
          </a:p>
        </p:txBody>
      </p:sp>
      <p:sp>
        <p:nvSpPr>
          <p:cNvPr id="23" name="Shape 3538">
            <a:extLst>
              <a:ext uri="{FF2B5EF4-FFF2-40B4-BE49-F238E27FC236}">
                <a16:creationId xmlns:a16="http://schemas.microsoft.com/office/drawing/2014/main" id="{1CA058CB-FB2E-7B41-9FC5-4261D2748707}"/>
              </a:ext>
            </a:extLst>
          </p:cNvPr>
          <p:cNvSpPr/>
          <p:nvPr userDrawn="1"/>
        </p:nvSpPr>
        <p:spPr>
          <a:xfrm>
            <a:off x="2308791" y="2475684"/>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5</a:t>
            </a:r>
          </a:p>
        </p:txBody>
      </p:sp>
      <p:sp>
        <p:nvSpPr>
          <p:cNvPr id="24" name="Shape 3539">
            <a:extLst>
              <a:ext uri="{FF2B5EF4-FFF2-40B4-BE49-F238E27FC236}">
                <a16:creationId xmlns:a16="http://schemas.microsoft.com/office/drawing/2014/main" id="{9FFAAAAB-BD81-254B-BB85-D3B92CADBECE}"/>
              </a:ext>
            </a:extLst>
          </p:cNvPr>
          <p:cNvSpPr/>
          <p:nvPr userDrawn="1"/>
        </p:nvSpPr>
        <p:spPr>
          <a:xfrm>
            <a:off x="2727791" y="2465838"/>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5" name="Inhaltsplatzhalter 1">
            <a:extLst>
              <a:ext uri="{FF2B5EF4-FFF2-40B4-BE49-F238E27FC236}">
                <a16:creationId xmlns:a16="http://schemas.microsoft.com/office/drawing/2014/main" id="{A948F616-4F52-274D-9802-62F7B100D2E0}"/>
              </a:ext>
            </a:extLst>
          </p:cNvPr>
          <p:cNvSpPr>
            <a:spLocks noGrp="1"/>
          </p:cNvSpPr>
          <p:nvPr>
            <p:ph idx="1"/>
          </p:nvPr>
        </p:nvSpPr>
        <p:spPr>
          <a:xfrm>
            <a:off x="383051" y="801295"/>
            <a:ext cx="11617325" cy="698184"/>
          </a:xfrm>
        </p:spPr>
        <p:txBody>
          <a:bodyPr>
            <a:normAutofit/>
          </a:bodyPr>
          <a:lstStyle/>
          <a:p>
            <a:r>
              <a:rPr lang="de-DE" b="1">
                <a:solidFill>
                  <a:srgbClr val="0F218B"/>
                </a:solidFill>
              </a:rPr>
              <a:t>Headline 3 – Edit </a:t>
            </a:r>
            <a:r>
              <a:rPr lang="de-DE" b="1" err="1">
                <a:solidFill>
                  <a:srgbClr val="0F218B"/>
                </a:solidFill>
              </a:rPr>
              <a:t>text</a:t>
            </a:r>
            <a:r>
              <a:rPr lang="de-DE" b="1">
                <a:solidFill>
                  <a:srgbClr val="0F218B"/>
                </a:solidFill>
              </a:rPr>
              <a:t> </a:t>
            </a:r>
            <a:r>
              <a:rPr lang="de-DE" b="1" err="1">
                <a:solidFill>
                  <a:srgbClr val="0F218B"/>
                </a:solidFill>
              </a:rPr>
              <a:t>here</a:t>
            </a:r>
            <a:r>
              <a:rPr lang="de-DE" b="1">
                <a:solidFill>
                  <a:srgbClr val="0F218B"/>
                </a:solidFill>
              </a:rPr>
              <a:t>.</a:t>
            </a:r>
            <a:endParaRPr lang="de-DE" b="1" i="1">
              <a:solidFill>
                <a:srgbClr val="0F218B"/>
              </a:solidFill>
            </a:endParaRPr>
          </a:p>
        </p:txBody>
      </p:sp>
      <p:sp>
        <p:nvSpPr>
          <p:cNvPr id="26" name="Shape 3539">
            <a:extLst>
              <a:ext uri="{FF2B5EF4-FFF2-40B4-BE49-F238E27FC236}">
                <a16:creationId xmlns:a16="http://schemas.microsoft.com/office/drawing/2014/main" id="{32B242B5-D413-7245-BEA1-FE249884F79E}"/>
              </a:ext>
            </a:extLst>
          </p:cNvPr>
          <p:cNvSpPr/>
          <p:nvPr userDrawn="1"/>
        </p:nvSpPr>
        <p:spPr>
          <a:xfrm>
            <a:off x="6188917" y="2443752"/>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7" name="Shape 3539">
            <a:extLst>
              <a:ext uri="{FF2B5EF4-FFF2-40B4-BE49-F238E27FC236}">
                <a16:creationId xmlns:a16="http://schemas.microsoft.com/office/drawing/2014/main" id="{44E594EA-C5DC-8D44-884B-A44AA0741311}"/>
              </a:ext>
            </a:extLst>
          </p:cNvPr>
          <p:cNvSpPr/>
          <p:nvPr userDrawn="1"/>
        </p:nvSpPr>
        <p:spPr>
          <a:xfrm>
            <a:off x="4501613" y="5134372"/>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8" name="Shape 3539">
            <a:extLst>
              <a:ext uri="{FF2B5EF4-FFF2-40B4-BE49-F238E27FC236}">
                <a16:creationId xmlns:a16="http://schemas.microsoft.com/office/drawing/2014/main" id="{6F33F5F3-AC6F-7047-9582-A2C841E188AD}"/>
              </a:ext>
            </a:extLst>
          </p:cNvPr>
          <p:cNvSpPr/>
          <p:nvPr userDrawn="1"/>
        </p:nvSpPr>
        <p:spPr>
          <a:xfrm>
            <a:off x="7962739" y="5112286"/>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Tree>
    <p:extLst>
      <p:ext uri="{BB962C8B-B14F-4D97-AF65-F5344CB8AC3E}">
        <p14:creationId xmlns:p14="http://schemas.microsoft.com/office/powerpoint/2010/main" val="2296432126"/>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6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0">
            <a:extLst>
              <a:ext uri="{FF2B5EF4-FFF2-40B4-BE49-F238E27FC236}">
                <a16:creationId xmlns:a16="http://schemas.microsoft.com/office/drawing/2014/main" id="{E54CE07E-D134-8945-B928-3A2AD7482FB9}"/>
              </a:ext>
            </a:extLst>
          </p:cNvPr>
          <p:cNvSpPr>
            <a:spLocks noGrp="1"/>
          </p:cNvSpPr>
          <p:nvPr>
            <p:ph idx="1"/>
          </p:nvPr>
        </p:nvSpPr>
        <p:spPr>
          <a:xfrm>
            <a:off x="388159" y="820513"/>
            <a:ext cx="11606646" cy="698594"/>
          </a:xfrm>
        </p:spPr>
        <p:txBody>
          <a:bodyPr>
            <a:normAutofit/>
          </a:bodyPr>
          <a:lstStyle/>
          <a:p>
            <a:r>
              <a:rPr lang="de-DE">
                <a:solidFill>
                  <a:srgbClr val="0F218B"/>
                </a:solidFill>
              </a:rPr>
              <a:t>Headline 3 – These SmartArt </a:t>
            </a:r>
            <a:r>
              <a:rPr lang="de-DE" err="1">
                <a:solidFill>
                  <a:srgbClr val="0F218B"/>
                </a:solidFill>
              </a:rPr>
              <a:t>charts</a:t>
            </a:r>
            <a:r>
              <a:rPr lang="de-DE">
                <a:solidFill>
                  <a:srgbClr val="0F218B"/>
                </a:solidFill>
              </a:rPr>
              <a:t> </a:t>
            </a:r>
            <a:r>
              <a:rPr lang="de-DE" err="1">
                <a:solidFill>
                  <a:srgbClr val="0F218B"/>
                </a:solidFill>
              </a:rPr>
              <a:t>can</a:t>
            </a:r>
            <a:r>
              <a:rPr lang="de-DE">
                <a:solidFill>
                  <a:srgbClr val="0F218B"/>
                </a:solidFill>
              </a:rPr>
              <a:t> </a:t>
            </a:r>
            <a:r>
              <a:rPr lang="de-DE" err="1">
                <a:solidFill>
                  <a:srgbClr val="0F218B"/>
                </a:solidFill>
              </a:rPr>
              <a:t>be</a:t>
            </a:r>
            <a:r>
              <a:rPr lang="de-DE">
                <a:solidFill>
                  <a:srgbClr val="0F218B"/>
                </a:solidFill>
              </a:rPr>
              <a:t> </a:t>
            </a:r>
            <a:r>
              <a:rPr lang="de-DE" err="1">
                <a:solidFill>
                  <a:srgbClr val="0F218B"/>
                </a:solidFill>
              </a:rPr>
              <a:t>edited</a:t>
            </a:r>
            <a:r>
              <a:rPr lang="de-DE">
                <a:solidFill>
                  <a:srgbClr val="0F218B"/>
                </a:solidFill>
              </a:rPr>
              <a:t> </a:t>
            </a:r>
            <a:r>
              <a:rPr lang="de-DE" err="1">
                <a:solidFill>
                  <a:srgbClr val="0F218B"/>
                </a:solidFill>
              </a:rPr>
              <a:t>directly</a:t>
            </a:r>
            <a:r>
              <a:rPr lang="de-DE">
                <a:solidFill>
                  <a:srgbClr val="0F218B"/>
                </a:solidFill>
              </a:rPr>
              <a:t> </a:t>
            </a:r>
            <a:r>
              <a:rPr lang="de-DE" err="1">
                <a:solidFill>
                  <a:srgbClr val="0F218B"/>
                </a:solidFill>
              </a:rPr>
              <a:t>by</a:t>
            </a:r>
            <a:r>
              <a:rPr lang="de-DE">
                <a:solidFill>
                  <a:srgbClr val="0F218B"/>
                </a:solidFill>
              </a:rPr>
              <a:t> </a:t>
            </a:r>
            <a:r>
              <a:rPr lang="de-DE" err="1">
                <a:solidFill>
                  <a:srgbClr val="0F218B"/>
                </a:solidFill>
              </a:rPr>
              <a:t>clicking</a:t>
            </a:r>
            <a:r>
              <a:rPr lang="de-DE">
                <a:solidFill>
                  <a:srgbClr val="0F218B"/>
                </a:solidFill>
              </a:rPr>
              <a:t> in </a:t>
            </a:r>
            <a:r>
              <a:rPr lang="de-DE" err="1">
                <a:solidFill>
                  <a:srgbClr val="0F218B"/>
                </a:solidFill>
              </a:rPr>
              <a:t>the</a:t>
            </a:r>
            <a:r>
              <a:rPr lang="de-DE">
                <a:solidFill>
                  <a:srgbClr val="0F218B"/>
                </a:solidFill>
              </a:rPr>
              <a:t> </a:t>
            </a:r>
            <a:r>
              <a:rPr lang="de-DE" err="1">
                <a:solidFill>
                  <a:srgbClr val="0F218B"/>
                </a:solidFill>
              </a:rPr>
              <a:t>elements</a:t>
            </a:r>
            <a:r>
              <a:rPr lang="de-DE">
                <a:solidFill>
                  <a:srgbClr val="0F218B"/>
                </a:solidFill>
              </a:rPr>
              <a:t>, </a:t>
            </a:r>
            <a:r>
              <a:rPr lang="de-DE" err="1">
                <a:solidFill>
                  <a:srgbClr val="0F218B"/>
                </a:solidFill>
              </a:rPr>
              <a:t>then</a:t>
            </a:r>
            <a:r>
              <a:rPr lang="de-DE">
                <a:solidFill>
                  <a:srgbClr val="0F218B"/>
                </a:solidFill>
              </a:rPr>
              <a:t> on SmartArt-Tools</a:t>
            </a:r>
          </a:p>
        </p:txBody>
      </p:sp>
      <p:graphicFrame>
        <p:nvGraphicFramePr>
          <p:cNvPr id="4" name="Diagramm 4" title="SmartArt-Grafik Platzhalter">
            <a:extLst>
              <a:ext uri="{FF2B5EF4-FFF2-40B4-BE49-F238E27FC236}">
                <a16:creationId xmlns:a16="http://schemas.microsoft.com/office/drawing/2014/main" id="{3D20D492-DCEB-1548-9F8A-4D5C573DEF13}"/>
              </a:ext>
            </a:extLst>
          </p:cNvPr>
          <p:cNvGraphicFramePr/>
          <p:nvPr userDrawn="1">
            <p:extLst>
              <p:ext uri="{D42A27DB-BD31-4B8C-83A1-F6EECF244321}">
                <p14:modId xmlns:p14="http://schemas.microsoft.com/office/powerpoint/2010/main" val="4051202203"/>
              </p:ext>
            </p:extLst>
          </p:nvPr>
        </p:nvGraphicFramePr>
        <p:xfrm>
          <a:off x="382588" y="2384884"/>
          <a:ext cx="11522075" cy="30598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537258609"/>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9_ENTSO-E Thank you slide">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495600" y="2780928"/>
            <a:ext cx="11617788" cy="936104"/>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err="1"/>
              <a:t>Thank</a:t>
            </a:r>
            <a:r>
              <a:rPr lang="de-DE"/>
              <a:t> </a:t>
            </a:r>
            <a:r>
              <a:rPr lang="de-DE" err="1"/>
              <a:t>you</a:t>
            </a:r>
            <a:r>
              <a:rPr lang="de-DE"/>
              <a:t> </a:t>
            </a:r>
            <a:r>
              <a:rPr lang="de-DE" err="1"/>
              <a:t>very</a:t>
            </a:r>
            <a:r>
              <a:rPr lang="de-DE"/>
              <a:t> </a:t>
            </a:r>
            <a:r>
              <a:rPr lang="de-DE" err="1"/>
              <a:t>much</a:t>
            </a:r>
            <a:r>
              <a:rPr lang="de-DE"/>
              <a:t> </a:t>
            </a:r>
            <a:r>
              <a:rPr lang="de-DE" err="1"/>
              <a:t>for</a:t>
            </a:r>
            <a:r>
              <a:rPr lang="de-DE"/>
              <a:t> </a:t>
            </a:r>
            <a:r>
              <a:rPr lang="de-DE" err="1"/>
              <a:t>your</a:t>
            </a:r>
            <a:r>
              <a:rPr lang="de-DE"/>
              <a:t> </a:t>
            </a:r>
            <a:r>
              <a:rPr lang="de-DE" err="1"/>
              <a:t>attention</a:t>
            </a:r>
            <a:r>
              <a:rPr lang="de-DE"/>
              <a:t> </a:t>
            </a:r>
          </a:p>
        </p:txBody>
      </p:sp>
    </p:spTree>
    <p:extLst>
      <p:ext uri="{BB962C8B-B14F-4D97-AF65-F5344CB8AC3E}">
        <p14:creationId xmlns:p14="http://schemas.microsoft.com/office/powerpoint/2010/main" val="557918963"/>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0_ENTSO-E Thank you slide_value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382588" y="134634"/>
            <a:ext cx="11426825" cy="936104"/>
          </a:xfrm>
          <a:prstGeom prst="rect">
            <a:avLst/>
          </a:prstGeom>
          <a:ln>
            <a:noFill/>
          </a:ln>
        </p:spPr>
        <p:txBody>
          <a:bodyPr anchor="ctr"/>
          <a:lstStyle>
            <a:lvl1pPr algn="ct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err="1"/>
              <a:t>Thank</a:t>
            </a:r>
            <a:r>
              <a:rPr lang="de-DE"/>
              <a:t> </a:t>
            </a:r>
            <a:r>
              <a:rPr lang="de-DE" err="1"/>
              <a:t>you</a:t>
            </a:r>
            <a:r>
              <a:rPr lang="de-DE"/>
              <a:t> </a:t>
            </a:r>
            <a:r>
              <a:rPr lang="de-DE" err="1"/>
              <a:t>very</a:t>
            </a:r>
            <a:r>
              <a:rPr lang="de-DE"/>
              <a:t> </a:t>
            </a:r>
            <a:r>
              <a:rPr lang="de-DE" err="1"/>
              <a:t>much</a:t>
            </a:r>
            <a:r>
              <a:rPr lang="de-DE"/>
              <a:t> </a:t>
            </a:r>
            <a:r>
              <a:rPr lang="de-DE" err="1"/>
              <a:t>for</a:t>
            </a:r>
            <a:r>
              <a:rPr lang="de-DE"/>
              <a:t> </a:t>
            </a:r>
            <a:r>
              <a:rPr lang="de-DE" err="1"/>
              <a:t>your</a:t>
            </a:r>
            <a:r>
              <a:rPr lang="de-DE"/>
              <a:t> </a:t>
            </a:r>
            <a:r>
              <a:rPr lang="de-DE" err="1"/>
              <a:t>attention</a:t>
            </a:r>
            <a:r>
              <a:rPr lang="de-DE"/>
              <a:t> </a:t>
            </a:r>
          </a:p>
        </p:txBody>
      </p:sp>
      <p:sp>
        <p:nvSpPr>
          <p:cNvPr id="3" name="Title 1">
            <a:extLst>
              <a:ext uri="{FF2B5EF4-FFF2-40B4-BE49-F238E27FC236}">
                <a16:creationId xmlns:a16="http://schemas.microsoft.com/office/drawing/2014/main" id="{8D053C00-E906-E444-8E28-BAE1FF9E76D0}"/>
              </a:ext>
            </a:extLst>
          </p:cNvPr>
          <p:cNvSpPr txBox="1">
            <a:spLocks/>
          </p:cNvSpPr>
          <p:nvPr userDrawn="1"/>
        </p:nvSpPr>
        <p:spPr>
          <a:xfrm>
            <a:off x="382587" y="1186850"/>
            <a:ext cx="11426825" cy="6318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0">
                <a:solidFill>
                  <a:schemeClr val="tx1">
                    <a:lumMod val="50000"/>
                  </a:schemeClr>
                </a:solidFill>
                <a:effectLst/>
                <a:latin typeface="Calibri" panose="020F0502020204030204" pitchFamily="34" charset="0"/>
                <a:cs typeface="Calibri" panose="020F0502020204030204" pitchFamily="34" charset="0"/>
              </a:rPr>
              <a:t>Our values define who we are, what we stand for and how we behave.</a:t>
            </a:r>
          </a:p>
          <a:p>
            <a:pPr algn="ctr"/>
            <a:r>
              <a:rPr lang="en-IE" sz="1800" b="0">
                <a:solidFill>
                  <a:schemeClr val="tx1">
                    <a:lumMod val="50000"/>
                  </a:schemeClr>
                </a:solidFill>
                <a:effectLst/>
                <a:latin typeface="Calibri" panose="020F0502020204030204" pitchFamily="34" charset="0"/>
                <a:cs typeface="Calibri" panose="020F0502020204030204" pitchFamily="34" charset="0"/>
              </a:rPr>
              <a:t>We all play a part in bringing them to life</a:t>
            </a:r>
            <a:r>
              <a:rPr lang="en-IE" sz="2000" b="0">
                <a:solidFill>
                  <a:schemeClr val="tx1">
                    <a:lumMod val="50000"/>
                  </a:schemeClr>
                </a:solidFill>
                <a:effectLst/>
                <a:latin typeface="Calibri" panose="020F0502020204030204" pitchFamily="34" charset="0"/>
                <a:cs typeface="Calibri" panose="020F0502020204030204" pitchFamily="34" charset="0"/>
              </a:rPr>
              <a:t>.</a:t>
            </a:r>
          </a:p>
          <a:p>
            <a:pPr algn="ctr"/>
            <a:r>
              <a:rPr lang="en-IE" sz="2000" b="0">
                <a:solidFill>
                  <a:schemeClr val="tx1">
                    <a:lumMod val="50000"/>
                  </a:schemeClr>
                </a:solidFill>
                <a:effectLst/>
                <a:latin typeface="Calibri" panose="020F0502020204030204" pitchFamily="34" charset="0"/>
                <a:cs typeface="Calibri" panose="020F0502020204030204" pitchFamily="34" charset="0"/>
              </a:rPr>
              <a:t> </a:t>
            </a:r>
            <a:endParaRPr lang="en-IE" sz="1050" b="0">
              <a:solidFill>
                <a:schemeClr val="tx1">
                  <a:lumMod val="50000"/>
                </a:schemeClr>
              </a:solidFill>
              <a:effectLst/>
              <a:latin typeface="Calibri" panose="020F0502020204030204" pitchFamily="34" charset="0"/>
              <a:cs typeface="Calibri" panose="020F0502020204030204" pitchFamily="34" charset="0"/>
            </a:endParaRPr>
          </a:p>
        </p:txBody>
      </p:sp>
      <p:sp>
        <p:nvSpPr>
          <p:cNvPr id="5" name="Titel 5">
            <a:extLst>
              <a:ext uri="{FF2B5EF4-FFF2-40B4-BE49-F238E27FC236}">
                <a16:creationId xmlns:a16="http://schemas.microsoft.com/office/drawing/2014/main" id="{7550E8E7-BAB3-40B9-AB4C-F3ABA9592AFF}"/>
              </a:ext>
            </a:extLst>
          </p:cNvPr>
          <p:cNvSpPr txBox="1">
            <a:spLocks/>
          </p:cNvSpPr>
          <p:nvPr userDrawn="1"/>
        </p:nvSpPr>
        <p:spPr>
          <a:xfrm>
            <a:off x="286875" y="5533432"/>
            <a:ext cx="11617788" cy="631871"/>
          </a:xfrm>
          <a:prstGeom prst="rect">
            <a:avLst/>
          </a:prstGeom>
          <a:ln>
            <a:noFill/>
          </a:ln>
        </p:spPr>
        <p:txBody>
          <a:bodyPr anchor="ctr"/>
          <a:lstStyle>
            <a:lvl1pPr algn="ctr" defTabSz="914400" rtl="0" eaLnBrk="1" latinLnBrk="0" hangingPunct="1">
              <a:lnSpc>
                <a:spcPts val="3200"/>
              </a:lnSpc>
              <a:spcBef>
                <a:spcPct val="0"/>
              </a:spcBef>
              <a:buNone/>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US"/>
              <a:t>We are ENTSO-E</a:t>
            </a:r>
          </a:p>
        </p:txBody>
      </p:sp>
      <p:sp>
        <p:nvSpPr>
          <p:cNvPr id="6" name="Title 1">
            <a:extLst>
              <a:ext uri="{FF2B5EF4-FFF2-40B4-BE49-F238E27FC236}">
                <a16:creationId xmlns:a16="http://schemas.microsoft.com/office/drawing/2014/main" id="{70B34F4F-2938-408E-99E5-B9481D786209}"/>
              </a:ext>
            </a:extLst>
          </p:cNvPr>
          <p:cNvSpPr txBox="1">
            <a:spLocks/>
          </p:cNvSpPr>
          <p:nvPr userDrawn="1"/>
        </p:nvSpPr>
        <p:spPr>
          <a:xfrm>
            <a:off x="1201008"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deliver to the highest standardss. We provide an environment in which people can develop to their full potential.</a:t>
            </a:r>
          </a:p>
        </p:txBody>
      </p:sp>
      <p:sp>
        <p:nvSpPr>
          <p:cNvPr id="7" name="Title 1">
            <a:extLst>
              <a:ext uri="{FF2B5EF4-FFF2-40B4-BE49-F238E27FC236}">
                <a16:creationId xmlns:a16="http://schemas.microsoft.com/office/drawing/2014/main" id="{81A3B0E4-3084-4984-B778-6DEE61707D69}"/>
              </a:ext>
            </a:extLst>
          </p:cNvPr>
          <p:cNvSpPr txBox="1">
            <a:spLocks/>
          </p:cNvSpPr>
          <p:nvPr userDrawn="1"/>
        </p:nvSpPr>
        <p:spPr>
          <a:xfrm>
            <a:off x="1201009"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EXCELLENCE</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1" name="Gruppieren 10">
            <a:extLst>
              <a:ext uri="{FF2B5EF4-FFF2-40B4-BE49-F238E27FC236}">
                <a16:creationId xmlns:a16="http://schemas.microsoft.com/office/drawing/2014/main" id="{82D4A0DE-6C67-44B0-B22A-C0A05BBC69FC}"/>
              </a:ext>
            </a:extLst>
          </p:cNvPr>
          <p:cNvGrpSpPr/>
          <p:nvPr userDrawn="1"/>
        </p:nvGrpSpPr>
        <p:grpSpPr>
          <a:xfrm>
            <a:off x="1376411" y="2083344"/>
            <a:ext cx="1089193" cy="1118842"/>
            <a:chOff x="1478254" y="1759825"/>
            <a:chExt cx="1089193" cy="1118842"/>
          </a:xfrm>
        </p:grpSpPr>
        <p:sp>
          <p:nvSpPr>
            <p:cNvPr id="2" name="Ellipse 1">
              <a:extLst>
                <a:ext uri="{FF2B5EF4-FFF2-40B4-BE49-F238E27FC236}">
                  <a16:creationId xmlns:a16="http://schemas.microsoft.com/office/drawing/2014/main" id="{EF03CA22-6B13-49DE-A795-8B07042FA0BE}"/>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a:extLst>
                <a:ext uri="{FF2B5EF4-FFF2-40B4-BE49-F238E27FC236}">
                  <a16:creationId xmlns:a16="http://schemas.microsoft.com/office/drawing/2014/main" id="{161B2F95-9B35-4040-81B2-ACDE054BDD8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78254" y="1798667"/>
              <a:ext cx="1080000" cy="1080000"/>
            </a:xfrm>
            <a:prstGeom prst="rect">
              <a:avLst/>
            </a:prstGeom>
          </p:spPr>
        </p:pic>
      </p:grpSp>
      <p:sp>
        <p:nvSpPr>
          <p:cNvPr id="12" name="Title 1">
            <a:extLst>
              <a:ext uri="{FF2B5EF4-FFF2-40B4-BE49-F238E27FC236}">
                <a16:creationId xmlns:a16="http://schemas.microsoft.com/office/drawing/2014/main" id="{E81CF4DD-25A2-40F4-952B-66B4466BBD93}"/>
              </a:ext>
            </a:extLst>
          </p:cNvPr>
          <p:cNvSpPr txBox="1">
            <a:spLocks/>
          </p:cNvSpPr>
          <p:nvPr userDrawn="1"/>
        </p:nvSpPr>
        <p:spPr>
          <a:xfrm>
            <a:off x="3287689"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trust each other, we are transparent and we empower people. We respect diversity.</a:t>
            </a:r>
          </a:p>
        </p:txBody>
      </p:sp>
      <p:sp>
        <p:nvSpPr>
          <p:cNvPr id="13" name="Title 1">
            <a:extLst>
              <a:ext uri="{FF2B5EF4-FFF2-40B4-BE49-F238E27FC236}">
                <a16:creationId xmlns:a16="http://schemas.microsoft.com/office/drawing/2014/main" id="{33B85503-5C78-444D-B346-AB59AA416AC8}"/>
              </a:ext>
            </a:extLst>
          </p:cNvPr>
          <p:cNvSpPr txBox="1">
            <a:spLocks/>
          </p:cNvSpPr>
          <p:nvPr userDrawn="1"/>
        </p:nvSpPr>
        <p:spPr>
          <a:xfrm>
            <a:off x="3287688"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TRUST</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4" name="Gruppieren 13">
            <a:extLst>
              <a:ext uri="{FF2B5EF4-FFF2-40B4-BE49-F238E27FC236}">
                <a16:creationId xmlns:a16="http://schemas.microsoft.com/office/drawing/2014/main" id="{B5475377-A926-4847-B972-EA12DF6C0701}"/>
              </a:ext>
            </a:extLst>
          </p:cNvPr>
          <p:cNvGrpSpPr/>
          <p:nvPr userDrawn="1"/>
        </p:nvGrpSpPr>
        <p:grpSpPr>
          <a:xfrm>
            <a:off x="3463091" y="2083344"/>
            <a:ext cx="1089193" cy="1118842"/>
            <a:chOff x="1478254" y="1759825"/>
            <a:chExt cx="1089193" cy="1118842"/>
          </a:xfrm>
        </p:grpSpPr>
        <p:sp>
          <p:nvSpPr>
            <p:cNvPr id="15" name="Ellipse 14">
              <a:extLst>
                <a:ext uri="{FF2B5EF4-FFF2-40B4-BE49-F238E27FC236}">
                  <a16:creationId xmlns:a16="http://schemas.microsoft.com/office/drawing/2014/main" id="{13BB04B6-217B-499D-8F98-894FB375B2F9}"/>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6" name="Grafik 15">
              <a:extLst>
                <a:ext uri="{FF2B5EF4-FFF2-40B4-BE49-F238E27FC236}">
                  <a16:creationId xmlns:a16="http://schemas.microsoft.com/office/drawing/2014/main" id="{2760D55D-13ED-4E94-966A-95F12368925C}"/>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478254" y="1798667"/>
              <a:ext cx="1080000" cy="1080000"/>
            </a:xfrm>
            <a:prstGeom prst="rect">
              <a:avLst/>
            </a:prstGeom>
          </p:spPr>
        </p:pic>
      </p:grpSp>
      <p:sp>
        <p:nvSpPr>
          <p:cNvPr id="17" name="Title 1">
            <a:extLst>
              <a:ext uri="{FF2B5EF4-FFF2-40B4-BE49-F238E27FC236}">
                <a16:creationId xmlns:a16="http://schemas.microsoft.com/office/drawing/2014/main" id="{E979720F-B102-477C-A18C-F42F69F7B3FA}"/>
              </a:ext>
            </a:extLst>
          </p:cNvPr>
          <p:cNvSpPr txBox="1">
            <a:spLocks/>
          </p:cNvSpPr>
          <p:nvPr userDrawn="1"/>
        </p:nvSpPr>
        <p:spPr>
          <a:xfrm>
            <a:off x="537600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act in the interest of </a:t>
            </a:r>
            <a:br>
              <a:rPr lang="en-IE" sz="1200" b="0">
                <a:solidFill>
                  <a:schemeClr val="bg1"/>
                </a:solidFill>
                <a:effectLst/>
                <a:latin typeface="Calibri" panose="020F0502020204030204" pitchFamily="34" charset="0"/>
                <a:cs typeface="Calibri" panose="020F0502020204030204" pitchFamily="34" charset="0"/>
              </a:rPr>
            </a:br>
            <a:r>
              <a:rPr lang="en-IE" sz="1200" b="0">
                <a:solidFill>
                  <a:schemeClr val="bg1"/>
                </a:solidFill>
                <a:effectLst/>
                <a:latin typeface="Calibri" panose="020F0502020204030204" pitchFamily="34" charset="0"/>
                <a:cs typeface="Calibri" panose="020F0502020204030204" pitchFamily="34" charset="0"/>
              </a:rPr>
              <a:t>ENTSO-E</a:t>
            </a:r>
          </a:p>
        </p:txBody>
      </p:sp>
      <p:sp>
        <p:nvSpPr>
          <p:cNvPr id="18" name="Title 1">
            <a:extLst>
              <a:ext uri="{FF2B5EF4-FFF2-40B4-BE49-F238E27FC236}">
                <a16:creationId xmlns:a16="http://schemas.microsoft.com/office/drawing/2014/main" id="{DEDA1B90-9F8A-4C63-B8FF-D940062EC4C4}"/>
              </a:ext>
            </a:extLst>
          </p:cNvPr>
          <p:cNvSpPr txBox="1">
            <a:spLocks/>
          </p:cNvSpPr>
          <p:nvPr userDrawn="1"/>
        </p:nvSpPr>
        <p:spPr>
          <a:xfrm>
            <a:off x="537600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INTEGRITY</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9" name="Gruppieren 18">
            <a:extLst>
              <a:ext uri="{FF2B5EF4-FFF2-40B4-BE49-F238E27FC236}">
                <a16:creationId xmlns:a16="http://schemas.microsoft.com/office/drawing/2014/main" id="{955A5FDF-13A6-4E3F-98FC-5D8B5F750CF6}"/>
              </a:ext>
            </a:extLst>
          </p:cNvPr>
          <p:cNvGrpSpPr/>
          <p:nvPr userDrawn="1"/>
        </p:nvGrpSpPr>
        <p:grpSpPr>
          <a:xfrm>
            <a:off x="5551403" y="2024327"/>
            <a:ext cx="1089193" cy="1139017"/>
            <a:chOff x="1478254" y="1700808"/>
            <a:chExt cx="1089193" cy="1139017"/>
          </a:xfrm>
        </p:grpSpPr>
        <p:sp>
          <p:nvSpPr>
            <p:cNvPr id="20" name="Ellipse 19">
              <a:extLst>
                <a:ext uri="{FF2B5EF4-FFF2-40B4-BE49-F238E27FC236}">
                  <a16:creationId xmlns:a16="http://schemas.microsoft.com/office/drawing/2014/main" id="{7B46EB16-3C21-4C1F-96E5-A09D69B4EA5B}"/>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20">
              <a:extLst>
                <a:ext uri="{FF2B5EF4-FFF2-40B4-BE49-F238E27FC236}">
                  <a16:creationId xmlns:a16="http://schemas.microsoft.com/office/drawing/2014/main" id="{4B4C9A02-66CE-4BBC-A5CB-9F9670516C1D}"/>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478254" y="1700808"/>
              <a:ext cx="1080000" cy="1080000"/>
            </a:xfrm>
            <a:prstGeom prst="rect">
              <a:avLst/>
            </a:prstGeom>
          </p:spPr>
        </p:pic>
      </p:grpSp>
      <p:sp>
        <p:nvSpPr>
          <p:cNvPr id="22" name="Title 1">
            <a:extLst>
              <a:ext uri="{FF2B5EF4-FFF2-40B4-BE49-F238E27FC236}">
                <a16:creationId xmlns:a16="http://schemas.microsoft.com/office/drawing/2014/main" id="{2E634EBD-DFF6-43C8-9422-8F16AAB96C86}"/>
              </a:ext>
            </a:extLst>
          </p:cNvPr>
          <p:cNvSpPr txBox="1">
            <a:spLocks/>
          </p:cNvSpPr>
          <p:nvPr userDrawn="1"/>
        </p:nvSpPr>
        <p:spPr>
          <a:xfrm>
            <a:off x="7392263"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care about people. We work transversal and we support each other. We celebrate success.</a:t>
            </a:r>
          </a:p>
        </p:txBody>
      </p:sp>
      <p:sp>
        <p:nvSpPr>
          <p:cNvPr id="23" name="Title 1">
            <a:extLst>
              <a:ext uri="{FF2B5EF4-FFF2-40B4-BE49-F238E27FC236}">
                <a16:creationId xmlns:a16="http://schemas.microsoft.com/office/drawing/2014/main" id="{2B8B0EDA-AFDC-4A3F-8B48-271A245E4727}"/>
              </a:ext>
            </a:extLst>
          </p:cNvPr>
          <p:cNvSpPr txBox="1">
            <a:spLocks/>
          </p:cNvSpPr>
          <p:nvPr userDrawn="1"/>
        </p:nvSpPr>
        <p:spPr>
          <a:xfrm>
            <a:off x="7392262"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TEAM</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24" name="Gruppieren 23">
            <a:extLst>
              <a:ext uri="{FF2B5EF4-FFF2-40B4-BE49-F238E27FC236}">
                <a16:creationId xmlns:a16="http://schemas.microsoft.com/office/drawing/2014/main" id="{DB57394F-A3ED-46EA-ACEB-FE66F27FAB09}"/>
              </a:ext>
            </a:extLst>
          </p:cNvPr>
          <p:cNvGrpSpPr/>
          <p:nvPr userDrawn="1"/>
        </p:nvGrpSpPr>
        <p:grpSpPr>
          <a:xfrm>
            <a:off x="7576858" y="2080275"/>
            <a:ext cx="1080000" cy="1083069"/>
            <a:chOff x="1487447" y="1756756"/>
            <a:chExt cx="1080000" cy="1083069"/>
          </a:xfrm>
        </p:grpSpPr>
        <p:sp>
          <p:nvSpPr>
            <p:cNvPr id="25" name="Ellipse 24">
              <a:extLst>
                <a:ext uri="{FF2B5EF4-FFF2-40B4-BE49-F238E27FC236}">
                  <a16:creationId xmlns:a16="http://schemas.microsoft.com/office/drawing/2014/main" id="{047968BE-8FA5-46E6-AEB4-7BBD707663C8}"/>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6" name="Grafik 25">
              <a:extLst>
                <a:ext uri="{FF2B5EF4-FFF2-40B4-BE49-F238E27FC236}">
                  <a16:creationId xmlns:a16="http://schemas.microsoft.com/office/drawing/2014/main" id="{7EB613B2-536A-4138-AE88-6840149C7A1B}"/>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
        <p:nvSpPr>
          <p:cNvPr id="27" name="Title 1">
            <a:extLst>
              <a:ext uri="{FF2B5EF4-FFF2-40B4-BE49-F238E27FC236}">
                <a16:creationId xmlns:a16="http://schemas.microsoft.com/office/drawing/2014/main" id="{EC54E769-6637-4291-8E33-04784D80068D}"/>
              </a:ext>
            </a:extLst>
          </p:cNvPr>
          <p:cNvSpPr txBox="1">
            <a:spLocks/>
          </p:cNvSpPr>
          <p:nvPr userDrawn="1"/>
        </p:nvSpPr>
        <p:spPr>
          <a:xfrm>
            <a:off x="933636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are a learning organisation. </a:t>
            </a:r>
            <a:br>
              <a:rPr lang="en-IE" sz="1200" b="0">
                <a:solidFill>
                  <a:schemeClr val="bg1"/>
                </a:solidFill>
                <a:effectLst/>
                <a:latin typeface="Calibri" panose="020F0502020204030204" pitchFamily="34" charset="0"/>
                <a:cs typeface="Calibri" panose="020F0502020204030204" pitchFamily="34" charset="0"/>
              </a:rPr>
            </a:br>
            <a:r>
              <a:rPr lang="en-IE" sz="1200" b="0">
                <a:solidFill>
                  <a:schemeClr val="bg1"/>
                </a:solidFill>
                <a:effectLst/>
                <a:latin typeface="Calibri" panose="020F0502020204030204" pitchFamily="34" charset="0"/>
                <a:cs typeface="Calibri" panose="020F0502020204030204" pitchFamily="34" charset="0"/>
              </a:rPr>
              <a:t>We explore new paths and solutions.</a:t>
            </a:r>
          </a:p>
        </p:txBody>
      </p:sp>
      <p:sp>
        <p:nvSpPr>
          <p:cNvPr id="28" name="Title 1">
            <a:extLst>
              <a:ext uri="{FF2B5EF4-FFF2-40B4-BE49-F238E27FC236}">
                <a16:creationId xmlns:a16="http://schemas.microsoft.com/office/drawing/2014/main" id="{1EAE1D68-1D65-449A-A1D4-1C7A4EE8D7F3}"/>
              </a:ext>
            </a:extLst>
          </p:cNvPr>
          <p:cNvSpPr txBox="1">
            <a:spLocks/>
          </p:cNvSpPr>
          <p:nvPr userDrawn="1"/>
        </p:nvSpPr>
        <p:spPr>
          <a:xfrm>
            <a:off x="933636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FUTURE THINKING</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29" name="Gruppieren 28">
            <a:extLst>
              <a:ext uri="{FF2B5EF4-FFF2-40B4-BE49-F238E27FC236}">
                <a16:creationId xmlns:a16="http://schemas.microsoft.com/office/drawing/2014/main" id="{3C70C999-7CBE-4D11-A6B2-D77A57C5B0AD}"/>
              </a:ext>
            </a:extLst>
          </p:cNvPr>
          <p:cNvGrpSpPr/>
          <p:nvPr userDrawn="1"/>
        </p:nvGrpSpPr>
        <p:grpSpPr>
          <a:xfrm>
            <a:off x="9520956" y="2080275"/>
            <a:ext cx="1080000" cy="1083069"/>
            <a:chOff x="1487447" y="1756756"/>
            <a:chExt cx="1080000" cy="1083069"/>
          </a:xfrm>
        </p:grpSpPr>
        <p:sp>
          <p:nvSpPr>
            <p:cNvPr id="30" name="Ellipse 29">
              <a:extLst>
                <a:ext uri="{FF2B5EF4-FFF2-40B4-BE49-F238E27FC236}">
                  <a16:creationId xmlns:a16="http://schemas.microsoft.com/office/drawing/2014/main" id="{29D45C60-2B3F-49B7-BD2B-64F936E7A262}"/>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1" name="Grafik 30">
              <a:extLst>
                <a:ext uri="{FF2B5EF4-FFF2-40B4-BE49-F238E27FC236}">
                  <a16:creationId xmlns:a16="http://schemas.microsoft.com/office/drawing/2014/main" id="{C7C06749-CCF9-45D3-B10D-3B95BF64A939}"/>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Tree>
    <p:extLst>
      <p:ext uri="{BB962C8B-B14F-4D97-AF65-F5344CB8AC3E}">
        <p14:creationId xmlns:p14="http://schemas.microsoft.com/office/powerpoint/2010/main" val="1015893278"/>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1_ENTSO-E Key take-away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86346" y="476672"/>
            <a:ext cx="11617788" cy="936104"/>
          </a:xfrm>
          <a:prstGeom prst="rect">
            <a:avLst/>
          </a:prstGeom>
          <a:ln>
            <a:noFill/>
          </a:ln>
        </p:spPr>
        <p:txBody>
          <a:bodyPr anchor="t"/>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Key </a:t>
            </a:r>
            <a:r>
              <a:rPr lang="de-DE" err="1"/>
              <a:t>take-aways</a:t>
            </a:r>
            <a:endParaRPr lang="de-DE"/>
          </a:p>
        </p:txBody>
      </p:sp>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nSpc>
                <a:spcPts val="2600"/>
              </a:lnSpc>
              <a:spcBef>
                <a:spcPts val="0"/>
              </a:spcBef>
              <a:buNone/>
              <a:defRPr sz="2000" b="0">
                <a:solidFill>
                  <a:schemeClr val="tx1"/>
                </a:solidFill>
                <a:latin typeface="Calibri" panose="020F0502020204030204" pitchFamily="34" charset="0"/>
                <a:cs typeface="Calibri" panose="020F0502020204030204" pitchFamily="34" charset="0"/>
              </a:defRPr>
            </a:lvl1pPr>
          </a:lstStyle>
          <a:p>
            <a:pPr lvl="0"/>
            <a:r>
              <a:rPr lang="de-DE"/>
              <a:t>Text</a:t>
            </a:r>
          </a:p>
        </p:txBody>
      </p:sp>
      <p:sp>
        <p:nvSpPr>
          <p:cNvPr id="4" name="Rechteck 1">
            <a:extLst>
              <a:ext uri="{FF2B5EF4-FFF2-40B4-BE49-F238E27FC236}">
                <a16:creationId xmlns:a16="http://schemas.microsoft.com/office/drawing/2014/main" id="{9B4626A2-3A46-4841-8EA9-2789E9CF76F6}"/>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416971725"/>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3/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de stijl te bewerken</a:t>
            </a:r>
            <a:endParaRPr lang="en-US" dirty="0"/>
          </a:p>
        </p:txBody>
      </p:sp>
      <p:sp>
        <p:nvSpPr>
          <p:cNvPr id="3" name="Content Placeholder 2"/>
          <p:cNvSpPr>
            <a:spLocks noGrp="1"/>
          </p:cNvSpPr>
          <p:nvPr>
            <p:ph sz="half" idx="1"/>
          </p:nvPr>
        </p:nvSpPr>
        <p:spPr>
          <a:xfrm>
            <a:off x="704850" y="1377949"/>
            <a:ext cx="3305175" cy="4498975"/>
          </a:xfrm>
        </p:spPr>
        <p:txBody>
          <a:bodyPr>
            <a:normAutofit/>
          </a:bodyPr>
          <a:lstStyle>
            <a:lvl1pPr marL="0" indent="0">
              <a:lnSpc>
                <a:spcPct val="120000"/>
              </a:lnSpc>
              <a:buFont typeface="Arial" panose="020B0604020202020204" pitchFamily="34" charset="0"/>
              <a:buNone/>
              <a:defRPr sz="1600">
                <a:solidFill>
                  <a:schemeClr val="tx1"/>
                </a:solidFill>
              </a:defRPr>
            </a:lvl1pPr>
            <a:lvl2pPr marL="457200" indent="0">
              <a:buFont typeface="Arial" panose="020B0604020202020204" pitchFamily="34" charset="0"/>
              <a:buNone/>
              <a:defRPr sz="2000">
                <a:solidFill>
                  <a:schemeClr val="tx1"/>
                </a:solidFill>
              </a:defRPr>
            </a:lvl2pPr>
            <a:lvl3pPr marL="914400" indent="0">
              <a:buFont typeface="Arial" panose="020B0604020202020204" pitchFamily="34" charset="0"/>
              <a:buNone/>
              <a:defRPr sz="2000">
                <a:solidFill>
                  <a:schemeClr val="tx1"/>
                </a:solidFill>
              </a:defRPr>
            </a:lvl3pPr>
            <a:lvl4pPr marL="1371600" indent="0">
              <a:buFont typeface="Arial" panose="020B0604020202020204" pitchFamily="34" charset="0"/>
              <a:buNone/>
              <a:defRPr sz="2000">
                <a:solidFill>
                  <a:schemeClr val="tx1"/>
                </a:solidFill>
              </a:defRPr>
            </a:lvl4pPr>
            <a:lvl5pPr marL="1828800" indent="0">
              <a:buFont typeface="Arial" panose="020B0604020202020204" pitchFamily="34" charset="0"/>
              <a:buNone/>
              <a:defRPr sz="2000">
                <a:solidFill>
                  <a:schemeClr val="tx1"/>
                </a:solidFill>
              </a:defRPr>
            </a:lvl5pPr>
          </a:lstStyle>
          <a:p>
            <a:pPr lvl="0"/>
            <a:r>
              <a:rPr lang="en-US"/>
              <a:t>Edit Master text styles</a:t>
            </a:r>
          </a:p>
        </p:txBody>
      </p:sp>
      <p:sp>
        <p:nvSpPr>
          <p:cNvPr id="6" name="Content Placeholder 2"/>
          <p:cNvSpPr>
            <a:spLocks noGrp="1"/>
          </p:cNvSpPr>
          <p:nvPr>
            <p:ph sz="half" idx="13"/>
          </p:nvPr>
        </p:nvSpPr>
        <p:spPr>
          <a:xfrm>
            <a:off x="8190825" y="1377949"/>
            <a:ext cx="3305175" cy="4498975"/>
          </a:xfrm>
        </p:spPr>
        <p:txBody>
          <a:bodyPr>
            <a:normAutofit/>
          </a:bodyPr>
          <a:lstStyle>
            <a:lvl1pPr marL="0" indent="0">
              <a:lnSpc>
                <a:spcPct val="120000"/>
              </a:lnSpc>
              <a:buFont typeface="Arial" panose="020B0604020202020204" pitchFamily="34" charset="0"/>
              <a:buNone/>
              <a:defRPr sz="1600">
                <a:solidFill>
                  <a:schemeClr val="tx1"/>
                </a:solidFill>
              </a:defRPr>
            </a:lvl1pPr>
            <a:lvl2pPr marL="457200" indent="0">
              <a:buFont typeface="Arial" panose="020B0604020202020204" pitchFamily="34" charset="0"/>
              <a:buNone/>
              <a:defRPr sz="2000">
                <a:solidFill>
                  <a:schemeClr val="tx1"/>
                </a:solidFill>
              </a:defRPr>
            </a:lvl2pPr>
            <a:lvl3pPr marL="914400" indent="0">
              <a:buFont typeface="Arial" panose="020B0604020202020204" pitchFamily="34" charset="0"/>
              <a:buNone/>
              <a:defRPr sz="2000">
                <a:solidFill>
                  <a:schemeClr val="tx1"/>
                </a:solidFill>
              </a:defRPr>
            </a:lvl3pPr>
            <a:lvl4pPr marL="1371600" indent="0">
              <a:buFont typeface="Arial" panose="020B0604020202020204" pitchFamily="34" charset="0"/>
              <a:buNone/>
              <a:defRPr sz="2000">
                <a:solidFill>
                  <a:schemeClr val="tx1"/>
                </a:solidFill>
              </a:defRPr>
            </a:lvl4pPr>
            <a:lvl5pPr marL="1828800" indent="0">
              <a:buFont typeface="Arial" panose="020B0604020202020204" pitchFamily="34" charset="0"/>
              <a:buNone/>
              <a:defRPr sz="2000">
                <a:solidFill>
                  <a:schemeClr val="tx1"/>
                </a:solidFill>
              </a:defRPr>
            </a:lvl5pPr>
          </a:lstStyle>
          <a:p>
            <a:pPr lvl="0"/>
            <a:r>
              <a:rPr lang="en-US"/>
              <a:t>Edit Master text styles</a:t>
            </a:r>
          </a:p>
        </p:txBody>
      </p:sp>
      <p:sp>
        <p:nvSpPr>
          <p:cNvPr id="8" name="Content Placeholder 2"/>
          <p:cNvSpPr>
            <a:spLocks noGrp="1"/>
          </p:cNvSpPr>
          <p:nvPr>
            <p:ph sz="half" idx="14"/>
          </p:nvPr>
        </p:nvSpPr>
        <p:spPr>
          <a:xfrm>
            <a:off x="4443412" y="1377949"/>
            <a:ext cx="3305175" cy="4498975"/>
          </a:xfrm>
        </p:spPr>
        <p:txBody>
          <a:bodyPr>
            <a:normAutofit/>
          </a:bodyPr>
          <a:lstStyle>
            <a:lvl1pPr marL="0" indent="0">
              <a:lnSpc>
                <a:spcPct val="120000"/>
              </a:lnSpc>
              <a:buFont typeface="Arial" panose="020B0604020202020204" pitchFamily="34" charset="0"/>
              <a:buNone/>
              <a:defRPr sz="1600">
                <a:solidFill>
                  <a:schemeClr val="tx1"/>
                </a:solidFill>
              </a:defRPr>
            </a:lvl1pPr>
            <a:lvl2pPr marL="457200" indent="0">
              <a:buFont typeface="Arial" panose="020B0604020202020204" pitchFamily="34" charset="0"/>
              <a:buNone/>
              <a:defRPr sz="2000">
                <a:solidFill>
                  <a:schemeClr val="tx1"/>
                </a:solidFill>
              </a:defRPr>
            </a:lvl2pPr>
            <a:lvl3pPr marL="914400" indent="0">
              <a:buFont typeface="Arial" panose="020B0604020202020204" pitchFamily="34" charset="0"/>
              <a:buNone/>
              <a:defRPr sz="2000">
                <a:solidFill>
                  <a:schemeClr val="tx1"/>
                </a:solidFill>
              </a:defRPr>
            </a:lvl3pPr>
            <a:lvl4pPr marL="1371600" indent="0">
              <a:buFont typeface="Arial" panose="020B0604020202020204" pitchFamily="34" charset="0"/>
              <a:buNone/>
              <a:defRPr sz="2000">
                <a:solidFill>
                  <a:schemeClr val="tx1"/>
                </a:solidFill>
              </a:defRPr>
            </a:lvl4pPr>
            <a:lvl5pPr marL="1828800" indent="0">
              <a:buFont typeface="Arial" panose="020B0604020202020204" pitchFamily="34" charset="0"/>
              <a:buNone/>
              <a:defRPr sz="2000">
                <a:solidFill>
                  <a:schemeClr val="tx1"/>
                </a:solidFill>
              </a:defRPr>
            </a:lvl5pPr>
          </a:lstStyle>
          <a:p>
            <a:pPr lvl="0"/>
            <a:r>
              <a:rPr lang="en-US"/>
              <a:t>Edit Master text styles</a:t>
            </a:r>
          </a:p>
        </p:txBody>
      </p:sp>
      <p:sp>
        <p:nvSpPr>
          <p:cNvPr id="7" name="Slide Number Placeholder 5"/>
          <p:cNvSpPr>
            <a:spLocks noGrp="1"/>
          </p:cNvSpPr>
          <p:nvPr>
            <p:ph type="sldNum" sz="quarter" idx="15"/>
          </p:nvPr>
        </p:nvSpPr>
        <p:spPr/>
        <p:txBody>
          <a:bodyPr/>
          <a:lstStyle>
            <a:lvl1pPr>
              <a:defRPr/>
            </a:lvl1pPr>
          </a:lstStyle>
          <a:p>
            <a:pPr>
              <a:defRPr/>
            </a:pPr>
            <a:fld id="{0C58EB14-7726-4EC1-BCB0-49742C1E0761}" type="slidenum">
              <a:rPr lang="nl-NL" altLang="nl-NL"/>
              <a:pPr>
                <a:defRPr/>
              </a:pPr>
              <a:t>‹#›</a:t>
            </a:fld>
            <a:endParaRPr lang="nl-NL" altLang="nl-NL"/>
          </a:p>
        </p:txBody>
      </p:sp>
    </p:spTree>
    <p:extLst>
      <p:ext uri="{BB962C8B-B14F-4D97-AF65-F5344CB8AC3E}">
        <p14:creationId xmlns:p14="http://schemas.microsoft.com/office/powerpoint/2010/main" val="60594553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2_ENTSO-E Questions">
    <p:spTree>
      <p:nvGrpSpPr>
        <p:cNvPr id="1" name=""/>
        <p:cNvGrpSpPr/>
        <p:nvPr/>
      </p:nvGrpSpPr>
      <p:grpSpPr>
        <a:xfrm>
          <a:off x="0" y="0"/>
          <a:ext cx="0" cy="0"/>
          <a:chOff x="0" y="0"/>
          <a:chExt cx="0" cy="0"/>
        </a:xfrm>
      </p:grpSpPr>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gn="ctr">
              <a:lnSpc>
                <a:spcPts val="2600"/>
              </a:lnSpc>
              <a:spcBef>
                <a:spcPts val="0"/>
              </a:spcBef>
              <a:buNone/>
              <a:tabLst>
                <a:tab pos="3763963" algn="l"/>
              </a:tabLst>
              <a:defRPr sz="2800" b="1">
                <a:solidFill>
                  <a:srgbClr val="0F218B"/>
                </a:solidFill>
                <a:latin typeface="Calibri" panose="020F0502020204030204" pitchFamily="34" charset="0"/>
                <a:cs typeface="Calibri" panose="020F0502020204030204" pitchFamily="34" charset="0"/>
              </a:defRPr>
            </a:lvl1pPr>
          </a:lstStyle>
          <a:p>
            <a:pPr lvl="0"/>
            <a:r>
              <a:rPr lang="de-DE"/>
              <a:t>Questions?</a:t>
            </a:r>
          </a:p>
        </p:txBody>
      </p:sp>
      <p:sp>
        <p:nvSpPr>
          <p:cNvPr id="2" name="TextBox 1">
            <a:extLst>
              <a:ext uri="{FF2B5EF4-FFF2-40B4-BE49-F238E27FC236}">
                <a16:creationId xmlns:a16="http://schemas.microsoft.com/office/drawing/2014/main" id="{ED24F55E-FB99-4958-B7AF-F28A79322EB2}"/>
              </a:ext>
            </a:extLst>
          </p:cNvPr>
          <p:cNvSpPr txBox="1"/>
          <p:nvPr userDrawn="1"/>
        </p:nvSpPr>
        <p:spPr>
          <a:xfrm>
            <a:off x="5447928" y="4149080"/>
            <a:ext cx="3384376" cy="369332"/>
          </a:xfrm>
          <a:prstGeom prst="rect">
            <a:avLst/>
          </a:prstGeom>
          <a:noFill/>
        </p:spPr>
        <p:txBody>
          <a:bodyPr wrap="square" rtlCol="0">
            <a:spAutoFit/>
          </a:bodyPr>
          <a:lstStyle/>
          <a:p>
            <a:r>
              <a:rPr lang="en-US">
                <a:solidFill>
                  <a:srgbClr val="0F218B"/>
                </a:solidFill>
                <a:latin typeface="Calibri" panose="020F0502020204030204" pitchFamily="34" charset="0"/>
                <a:cs typeface="Calibri" panose="020F0502020204030204" pitchFamily="34" charset="0"/>
              </a:rPr>
              <a:t>contact:</a:t>
            </a:r>
            <a:endParaRPr lang="en-GB">
              <a:solidFill>
                <a:srgbClr val="0F218B"/>
              </a:solidFill>
              <a:latin typeface="Calibri" panose="020F0502020204030204" pitchFamily="34" charset="0"/>
              <a:cs typeface="Calibri" panose="020F0502020204030204" pitchFamily="34" charset="0"/>
            </a:endParaRPr>
          </a:p>
        </p:txBody>
      </p:sp>
      <p:sp>
        <p:nvSpPr>
          <p:cNvPr id="5" name="Rechteck 1">
            <a:extLst>
              <a:ext uri="{FF2B5EF4-FFF2-40B4-BE49-F238E27FC236}">
                <a16:creationId xmlns:a16="http://schemas.microsoft.com/office/drawing/2014/main" id="{C2D06D34-321E-4E67-BD6C-917AD342E7D4}"/>
              </a:ext>
            </a:extLst>
          </p:cNvPr>
          <p:cNvSpPr/>
          <p:nvPr userDrawn="1"/>
        </p:nvSpPr>
        <p:spPr>
          <a:xfrm rot="5400000" flipH="1">
            <a:off x="6064640" y="3063656"/>
            <a:ext cx="61200" cy="180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1397698020"/>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Content Slide 10">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5068A8D-5B56-2D71-3204-53AD7CAB9BFC}"/>
              </a:ext>
            </a:extLst>
          </p:cNvPr>
          <p:cNvSpPr>
            <a:spLocks noGrp="1"/>
          </p:cNvSpPr>
          <p:nvPr>
            <p:ph type="ctrTitle" hasCustomPrompt="1"/>
          </p:nvPr>
        </p:nvSpPr>
        <p:spPr>
          <a:xfrm>
            <a:off x="413068" y="404814"/>
            <a:ext cx="11083608" cy="589798"/>
          </a:xfrm>
        </p:spPr>
        <p:txBody>
          <a:bodyPr anchor="t"/>
          <a:lstStyle>
            <a:lvl1pPr algn="l">
              <a:defRPr sz="2000" b="1"/>
            </a:lvl1pPr>
          </a:lstStyle>
          <a:p>
            <a:r>
              <a:rPr lang="en-GB"/>
              <a:t>Headline</a:t>
            </a:r>
            <a:endParaRPr lang="en-US"/>
          </a:p>
        </p:txBody>
      </p:sp>
      <p:sp>
        <p:nvSpPr>
          <p:cNvPr id="9" name="Content Placeholder 8">
            <a:extLst>
              <a:ext uri="{FF2B5EF4-FFF2-40B4-BE49-F238E27FC236}">
                <a16:creationId xmlns:a16="http://schemas.microsoft.com/office/drawing/2014/main" id="{84118F88-328C-A946-EA9C-A609682889CE}"/>
              </a:ext>
            </a:extLst>
          </p:cNvPr>
          <p:cNvSpPr>
            <a:spLocks noGrp="1"/>
          </p:cNvSpPr>
          <p:nvPr>
            <p:ph sz="quarter" idx="10" hasCustomPrompt="1"/>
          </p:nvPr>
        </p:nvSpPr>
        <p:spPr>
          <a:xfrm>
            <a:off x="407988" y="995363"/>
            <a:ext cx="11088688" cy="4826000"/>
          </a:xfrm>
        </p:spPr>
        <p:txBody>
          <a:bodyPr tIns="216000"/>
          <a:lstStyle>
            <a:lvl1pPr marL="0" indent="0" algn="ctr">
              <a:buNone/>
              <a:defRPr sz="2000"/>
            </a:lvl1pPr>
          </a:lstStyle>
          <a:p>
            <a:pPr lvl="0"/>
            <a:r>
              <a:rPr lang="en-US"/>
              <a:t>Click to add content</a:t>
            </a:r>
          </a:p>
        </p:txBody>
      </p:sp>
      <p:sp>
        <p:nvSpPr>
          <p:cNvPr id="2" name="Slide Number Placeholder 1">
            <a:extLst>
              <a:ext uri="{FF2B5EF4-FFF2-40B4-BE49-F238E27FC236}">
                <a16:creationId xmlns:a16="http://schemas.microsoft.com/office/drawing/2014/main" id="{C79C2BF5-0BFC-8FCB-C997-D0FF7333A3F9}"/>
              </a:ext>
            </a:extLst>
          </p:cNvPr>
          <p:cNvSpPr>
            <a:spLocks noGrp="1"/>
          </p:cNvSpPr>
          <p:nvPr>
            <p:ph type="sldNum" sz="quarter" idx="11"/>
          </p:nvPr>
        </p:nvSpPr>
        <p:spPr/>
        <p:txBody>
          <a:bodyPr/>
          <a:lstStyle/>
          <a:p>
            <a:fld id="{B6ED98BD-9FE7-5144-8ABD-845F1AC4694B}" type="slidenum">
              <a:rPr lang="en-US" smtClean="0"/>
              <a:pPr/>
              <a:t>‹#›</a:t>
            </a:fld>
            <a:endParaRPr lang="en-US"/>
          </a:p>
        </p:txBody>
      </p:sp>
      <p:sp>
        <p:nvSpPr>
          <p:cNvPr id="3" name="Rectangle 2">
            <a:extLst>
              <a:ext uri="{FF2B5EF4-FFF2-40B4-BE49-F238E27FC236}">
                <a16:creationId xmlns:a16="http://schemas.microsoft.com/office/drawing/2014/main" id="{148EF65E-0593-AC2C-748C-639CE53C721D}"/>
              </a:ext>
            </a:extLst>
          </p:cNvPr>
          <p:cNvSpPr/>
          <p:nvPr userDrawn="1"/>
        </p:nvSpPr>
        <p:spPr>
          <a:xfrm>
            <a:off x="12072939" y="3223992"/>
            <a:ext cx="119062" cy="282040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9D4F4661-E418-9C4B-3249-FAD4A7312F2B}"/>
              </a:ext>
            </a:extLst>
          </p:cNvPr>
          <p:cNvSpPr/>
          <p:nvPr userDrawn="1"/>
        </p:nvSpPr>
        <p:spPr>
          <a:xfrm>
            <a:off x="12072939" y="403583"/>
            <a:ext cx="119062" cy="282040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pic>
        <p:nvPicPr>
          <p:cNvPr id="7" name="Image 6">
            <a:extLst>
              <a:ext uri="{FF2B5EF4-FFF2-40B4-BE49-F238E27FC236}">
                <a16:creationId xmlns:a16="http://schemas.microsoft.com/office/drawing/2014/main" id="{55110AA3-E47B-EB44-AE78-B139B653613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94607" y="5839884"/>
            <a:ext cx="806212" cy="806212"/>
          </a:xfrm>
          <a:prstGeom prst="rect">
            <a:avLst/>
          </a:prstGeom>
        </p:spPr>
      </p:pic>
      <p:sp>
        <p:nvSpPr>
          <p:cNvPr id="6" name="Rectangle 5">
            <a:extLst>
              <a:ext uri="{FF2B5EF4-FFF2-40B4-BE49-F238E27FC236}">
                <a16:creationId xmlns:a16="http://schemas.microsoft.com/office/drawing/2014/main" id="{EAE22EE8-DC0D-27F3-14E5-403FFE7C8264}"/>
              </a:ext>
            </a:extLst>
          </p:cNvPr>
          <p:cNvSpPr/>
          <p:nvPr userDrawn="1"/>
        </p:nvSpPr>
        <p:spPr>
          <a:xfrm>
            <a:off x="2380074" y="5950038"/>
            <a:ext cx="1133268" cy="601695"/>
          </a:xfrm>
          <a:prstGeom prst="rect">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Tree>
    <p:extLst>
      <p:ext uri="{BB962C8B-B14F-4D97-AF65-F5344CB8AC3E}">
        <p14:creationId xmlns:p14="http://schemas.microsoft.com/office/powerpoint/2010/main" val="3728012912"/>
      </p:ext>
    </p:extLst>
  </p:cSld>
  <p:clrMapOvr>
    <a:masterClrMapping/>
  </p:clrMapOvr>
  <p:extLst>
    <p:ext uri="{DCECCB84-F9BA-43D5-87BE-67443E8EF086}">
      <p15:sldGuideLst xmlns:p15="http://schemas.microsoft.com/office/powerpoint/2012/main"/>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cSld name="SDAC-Titl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2711428-3E85-4171-81C6-3007FDBE55A0}"/>
              </a:ext>
            </a:extLst>
          </p:cNvPr>
          <p:cNvGraphicFramePr>
            <a:graphicFrameLocks noChangeAspect="1"/>
          </p:cNvGraphicFramePr>
          <p:nvPr userDrawn="1">
            <p:custDataLst>
              <p:tags r:id="rId1"/>
            </p:custData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22711428-3E85-4171-81C6-3007FDBE55A0}"/>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16AE915-6882-45E0-A4A9-B446EEB311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xfrm>
            <a:off x="719999" y="230493"/>
            <a:ext cx="10728000" cy="583015"/>
          </a:xfrm>
          <a:noFill/>
        </p:spPr>
        <p:txBody>
          <a:bodyPr vert="horz"/>
          <a:lstStyle>
            <a:lvl1pPr>
              <a:defRPr>
                <a:solidFill>
                  <a:srgbClr val="23BACF"/>
                </a:solidFill>
              </a:defRPr>
            </a:lvl1pPr>
          </a:lstStyle>
          <a:p>
            <a:r>
              <a:rPr lang="de-DE"/>
              <a:t>Click </a:t>
            </a:r>
            <a:r>
              <a:rPr lang="de-DE" err="1"/>
              <a:t>to</a:t>
            </a:r>
            <a:r>
              <a:rPr lang="de-DE"/>
              <a:t> </a:t>
            </a:r>
            <a:r>
              <a:rPr lang="de-DE" err="1"/>
              <a:t>enter</a:t>
            </a:r>
            <a:r>
              <a:rPr lang="de-DE"/>
              <a:t> title</a:t>
            </a:r>
            <a:r>
              <a:rPr lang="hu-HU"/>
              <a:t> - SDAC</a:t>
            </a:r>
            <a:endParaRPr lang="de-DE"/>
          </a:p>
        </p:txBody>
      </p:sp>
      <p:sp>
        <p:nvSpPr>
          <p:cNvPr id="8" name="Textplatzhalter 7"/>
          <p:cNvSpPr>
            <a:spLocks noGrp="1"/>
          </p:cNvSpPr>
          <p:nvPr>
            <p:ph type="body" sz="quarter" idx="13" hasCustomPrompt="1"/>
          </p:nvPr>
        </p:nvSpPr>
        <p:spPr>
          <a:xfrm>
            <a:off x="719999" y="1439999"/>
            <a:ext cx="10728000" cy="4896000"/>
          </a:xfrm>
        </p:spPr>
        <p:txBody>
          <a:bodyPr/>
          <a:lstStyle>
            <a:lvl1pPr>
              <a:defRPr>
                <a:solidFill>
                  <a:schemeClr val="tx1"/>
                </a:solidFill>
              </a:defRPr>
            </a:lvl1pPr>
          </a:lstStyle>
          <a:p>
            <a:pPr lvl="0"/>
            <a:r>
              <a:rPr lang="de-DE"/>
              <a:t>Click </a:t>
            </a:r>
            <a:r>
              <a:rPr lang="de-DE" err="1"/>
              <a:t>to</a:t>
            </a:r>
            <a:r>
              <a:rPr lang="de-DE"/>
              <a:t> </a:t>
            </a:r>
            <a:r>
              <a:rPr lang="de-DE" err="1"/>
              <a:t>enter</a:t>
            </a:r>
            <a:r>
              <a:rPr lang="de-DE"/>
              <a:t> </a:t>
            </a:r>
            <a:r>
              <a:rPr lang="de-DE" err="1"/>
              <a:t>text</a:t>
            </a:r>
            <a:endParaRPr lang="de-DE"/>
          </a:p>
        </p:txBody>
      </p:sp>
      <p:pic>
        <p:nvPicPr>
          <p:cNvPr id="13" name="Kép 12">
            <a:extLst>
              <a:ext uri="{FF2B5EF4-FFF2-40B4-BE49-F238E27FC236}">
                <a16:creationId xmlns:a16="http://schemas.microsoft.com/office/drawing/2014/main" id="{0AEAF6EC-748D-4C3C-B816-F46ED018D460}"/>
              </a:ext>
            </a:extLst>
          </p:cNvPr>
          <p:cNvPicPr>
            <a:picLocks noChangeAspect="1"/>
          </p:cNvPicPr>
          <p:nvPr userDrawn="1"/>
        </p:nvPicPr>
        <p:blipFill rotWithShape="1">
          <a:blip r:embed="rId6" cstate="email">
            <a:extLst>
              <a:ext uri="{28A0092B-C50C-407E-A947-70E740481C1C}">
                <a14:useLocalDpi xmlns:a14="http://schemas.microsoft.com/office/drawing/2010/main" val="0"/>
              </a:ext>
            </a:extLst>
          </a:blip>
          <a:srcRect/>
          <a:stretch/>
        </p:blipFill>
        <p:spPr>
          <a:xfrm>
            <a:off x="1" y="6341700"/>
            <a:ext cx="1562986" cy="526933"/>
          </a:xfrm>
          <a:prstGeom prst="rect">
            <a:avLst/>
          </a:prstGeom>
        </p:spPr>
      </p:pic>
      <p:pic>
        <p:nvPicPr>
          <p:cNvPr id="7" name="Kép 6">
            <a:extLst>
              <a:ext uri="{FF2B5EF4-FFF2-40B4-BE49-F238E27FC236}">
                <a16:creationId xmlns:a16="http://schemas.microsoft.com/office/drawing/2014/main" id="{233DA4DB-024A-47C1-A545-2E05E2B04BD3}"/>
              </a:ext>
            </a:extLst>
          </p:cNvPr>
          <p:cNvPicPr>
            <a:picLocks noChangeAspect="1"/>
          </p:cNvPicPr>
          <p:nvPr userDrawn="1"/>
        </p:nvPicPr>
        <p:blipFill rotWithShape="1">
          <a:blip r:embed="rId7" cstate="email">
            <a:extLst>
              <a:ext uri="{28A0092B-C50C-407E-A947-70E740481C1C}">
                <a14:useLocalDpi xmlns:a14="http://schemas.microsoft.com/office/drawing/2010/main" val="0"/>
              </a:ext>
            </a:extLst>
          </a:blip>
          <a:srcRect t="-37765"/>
          <a:stretch/>
        </p:blipFill>
        <p:spPr>
          <a:xfrm>
            <a:off x="1460355" y="6627600"/>
            <a:ext cx="6457159" cy="233281"/>
          </a:xfrm>
          <a:prstGeom prst="rect">
            <a:avLst/>
          </a:prstGeom>
        </p:spPr>
      </p:pic>
    </p:spTree>
    <p:extLst>
      <p:ext uri="{BB962C8B-B14F-4D97-AF65-F5344CB8AC3E}">
        <p14:creationId xmlns:p14="http://schemas.microsoft.com/office/powerpoint/2010/main" val="9511571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2160">
          <p15:clr>
            <a:srgbClr val="FBAE40"/>
          </p15:clr>
        </p15:guide>
        <p15:guide id="2" orient="horz" pos="142">
          <p15:clr>
            <a:srgbClr val="FBAE40"/>
          </p15:clr>
        </p15:guide>
        <p15:guide id="3" orient="horz" pos="3997">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3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52736"/>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a:t>Click </a:t>
            </a:r>
            <a:r>
              <a:rPr lang="de-DE" err="1"/>
              <a:t>here</a:t>
            </a:r>
            <a:r>
              <a:rPr lang="de-DE"/>
              <a:t> </a:t>
            </a:r>
            <a:r>
              <a:rPr lang="de-DE" err="1"/>
              <a:t>to</a:t>
            </a:r>
            <a:r>
              <a:rPr lang="de-DE"/>
              <a:t> </a:t>
            </a:r>
            <a:r>
              <a:rPr lang="de-DE" err="1"/>
              <a:t>edit</a:t>
            </a:r>
            <a:r>
              <a:rPr lang="de-DE"/>
              <a: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4111" y="1545377"/>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a:t>Headline 3</a:t>
            </a:r>
          </a:p>
        </p:txBody>
      </p:sp>
    </p:spTree>
    <p:extLst>
      <p:ext uri="{BB962C8B-B14F-4D97-AF65-F5344CB8AC3E}">
        <p14:creationId xmlns:p14="http://schemas.microsoft.com/office/powerpoint/2010/main" val="2808192728"/>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4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285639" y="3074577"/>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hapter </a:t>
            </a:r>
            <a:r>
              <a:rPr lang="de-DE" err="1"/>
              <a:t>slide</a:t>
            </a:r>
            <a:endParaRPr lang="de-DE"/>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54397" y="289281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3623138276"/>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5_ENTSO-E One Column">
    <p:spTree>
      <p:nvGrpSpPr>
        <p:cNvPr id="1" name=""/>
        <p:cNvGrpSpPr/>
        <p:nvPr/>
      </p:nvGrpSpPr>
      <p:grpSpPr>
        <a:xfrm>
          <a:off x="0" y="0"/>
          <a:ext cx="0" cy="0"/>
          <a:chOff x="0" y="0"/>
          <a:chExt cx="0" cy="0"/>
        </a:xfrm>
      </p:grpSpPr>
      <p:sp>
        <p:nvSpPr>
          <p:cNvPr id="13" name="Inhaltsplatzhalter 2"/>
          <p:cNvSpPr>
            <a:spLocks noGrp="1"/>
          </p:cNvSpPr>
          <p:nvPr>
            <p:ph idx="1" hasCustomPrompt="1"/>
          </p:nvPr>
        </p:nvSpPr>
        <p:spPr>
          <a:xfrm>
            <a:off x="372538" y="908720"/>
            <a:ext cx="11616268" cy="3815866"/>
          </a:xfrm>
          <a:prstGeom prst="rect">
            <a:avLst/>
          </a:prstGeom>
        </p:spPr>
        <p:txBody>
          <a:bodyPr>
            <a:normAutofit/>
          </a:bodyPr>
          <a:lstStyle>
            <a:lvl1pPr>
              <a:lnSpc>
                <a:spcPct val="90000"/>
              </a:lnSpc>
              <a:defRPr sz="1800">
                <a:latin typeface="Calibri" panose="020F0502020204030204" pitchFamily="34" charset="0"/>
                <a:cs typeface="Calibri" panose="020F0502020204030204" pitchFamily="34" charset="0"/>
              </a:defRPr>
            </a:lvl1pPr>
            <a:lvl2pPr>
              <a:lnSpc>
                <a:spcPct val="90000"/>
              </a:lnSpc>
              <a:defRPr sz="1800">
                <a:latin typeface="Calibri" panose="020F0502020204030204" pitchFamily="34" charset="0"/>
                <a:cs typeface="Calibri" panose="020F0502020204030204" pitchFamily="34" charset="0"/>
              </a:defRPr>
            </a:lvl2pPr>
            <a:lvl3pPr>
              <a:lnSpc>
                <a:spcPct val="90000"/>
              </a:lnSpc>
              <a:defRPr sz="1800">
                <a:latin typeface="Calibri" panose="020F0502020204030204" pitchFamily="34" charset="0"/>
                <a:cs typeface="Calibri" panose="020F0502020204030204" pitchFamily="34" charset="0"/>
              </a:defRPr>
            </a:lvl3pPr>
            <a:lvl4pPr>
              <a:lnSpc>
                <a:spcPct val="90000"/>
              </a:lnSpc>
              <a:defRPr sz="1800">
                <a:latin typeface="Calibri" panose="020F0502020204030204" pitchFamily="34" charset="0"/>
                <a:cs typeface="Calibri" panose="020F0502020204030204" pitchFamily="34" charset="0"/>
              </a:defRPr>
            </a:lvl4pPr>
            <a:lvl5pPr>
              <a:lnSpc>
                <a:spcPct val="90000"/>
              </a:lnSpc>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r>
              <a:rPr lang="de-DE"/>
              <a:t>; Firs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3592713775"/>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6_ENTSO-E One column bullet points">
    <p:spTree>
      <p:nvGrpSpPr>
        <p:cNvPr id="1" name=""/>
        <p:cNvGrpSpPr/>
        <p:nvPr/>
      </p:nvGrpSpPr>
      <p:grpSpPr>
        <a:xfrm>
          <a:off x="0" y="0"/>
          <a:ext cx="0" cy="0"/>
          <a:chOff x="0" y="0"/>
          <a:chExt cx="0" cy="0"/>
        </a:xfrm>
      </p:grpSpPr>
      <p:sp>
        <p:nvSpPr>
          <p:cNvPr id="6" name="Inhaltsplatzhalter 2">
            <a:extLst>
              <a:ext uri="{FF2B5EF4-FFF2-40B4-BE49-F238E27FC236}">
                <a16:creationId xmlns:a16="http://schemas.microsoft.com/office/drawing/2014/main" id="{935407F8-9A7B-4A34-BB6A-ACBE6B64DA8C}"/>
              </a:ext>
            </a:extLst>
          </p:cNvPr>
          <p:cNvSpPr>
            <a:spLocks noGrp="1"/>
          </p:cNvSpPr>
          <p:nvPr>
            <p:ph idx="16" hasCustomPrompt="1"/>
          </p:nvPr>
        </p:nvSpPr>
        <p:spPr>
          <a:xfrm>
            <a:off x="413466" y="1124744"/>
            <a:ext cx="11616268"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8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5" name="Titel 5">
            <a:extLst>
              <a:ext uri="{FF2B5EF4-FFF2-40B4-BE49-F238E27FC236}">
                <a16:creationId xmlns:a16="http://schemas.microsoft.com/office/drawing/2014/main" id="{9D00A475-8F1F-43A8-B9D4-0E2195454A9F}"/>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947724132"/>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orient="horz" pos="1480">
          <p15:clr>
            <a:srgbClr val="A4A3A4"/>
          </p15:clr>
        </p15:guide>
        <p15:guide id="6" orient="horz" pos="1548">
          <p15:clr>
            <a:srgbClr val="A4A3A4"/>
          </p15:clr>
        </p15:guide>
        <p15:guide id="9" pos="7499">
          <p15:clr>
            <a:srgbClr val="A4A3A4"/>
          </p15:clr>
        </p15:guide>
        <p15:guide id="10" pos="181">
          <p15:clr>
            <a:srgbClr val="A4A3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7_ENTSO-E Two columns">
    <p:spTree>
      <p:nvGrpSpPr>
        <p:cNvPr id="1" name=""/>
        <p:cNvGrpSpPr/>
        <p:nvPr/>
      </p:nvGrpSpPr>
      <p:grpSpPr>
        <a:xfrm>
          <a:off x="0" y="0"/>
          <a:ext cx="0" cy="0"/>
          <a:chOff x="0" y="0"/>
          <a:chExt cx="0" cy="0"/>
        </a:xfrm>
      </p:grpSpPr>
      <p:sp>
        <p:nvSpPr>
          <p:cNvPr id="9" name="Inhaltsplatzhalter 2"/>
          <p:cNvSpPr>
            <a:spLocks noGrp="1"/>
          </p:cNvSpPr>
          <p:nvPr>
            <p:ph idx="1" hasCustomPrompt="1"/>
          </p:nvPr>
        </p:nvSpPr>
        <p:spPr>
          <a:xfrm>
            <a:off x="382868" y="1052736"/>
            <a:ext cx="5664117" cy="3311810"/>
          </a:xfrm>
          <a:prstGeom prst="rect">
            <a:avLst/>
          </a:prstGeom>
        </p:spPr>
        <p:txBody>
          <a:bodyPr>
            <a:normAutofit/>
          </a:bodyPr>
          <a:lstStyle>
            <a:lvl1pPr algn="l">
              <a:defRPr sz="18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0" name="Inhaltsplatzhalter 2"/>
          <p:cNvSpPr>
            <a:spLocks noGrp="1"/>
          </p:cNvSpPr>
          <p:nvPr>
            <p:ph idx="13" hasCustomPrompt="1"/>
          </p:nvPr>
        </p:nvSpPr>
        <p:spPr>
          <a:xfrm>
            <a:off x="6206439" y="1052736"/>
            <a:ext cx="5664117" cy="3311810"/>
          </a:xfrm>
          <a:prstGeom prst="rect">
            <a:avLst/>
          </a:prstGeom>
        </p:spPr>
        <p:txBody>
          <a:bodyPr>
            <a:normAutofit/>
          </a:bodyPr>
          <a:lstStyle>
            <a:lvl1pPr>
              <a:defRPr sz="18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6" name="Titel 5">
            <a:extLst>
              <a:ext uri="{FF2B5EF4-FFF2-40B4-BE49-F238E27FC236}">
                <a16:creationId xmlns:a16="http://schemas.microsoft.com/office/drawing/2014/main" id="{BF868832-6945-4F2F-8DEC-A69FB10BA62E}"/>
              </a:ext>
            </a:extLst>
          </p:cNvPr>
          <p:cNvSpPr>
            <a:spLocks noGrp="1"/>
          </p:cNvSpPr>
          <p:nvPr>
            <p:ph type="title" hasCustomPrompt="1"/>
          </p:nvPr>
        </p:nvSpPr>
        <p:spPr>
          <a:xfrm>
            <a:off x="38286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3944717214"/>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pos="181">
          <p15:clr>
            <a:srgbClr val="A4A3A4"/>
          </p15:clr>
        </p15:guide>
        <p15:guide id="5" pos="7499">
          <p15:clr>
            <a:srgbClr val="A4A3A4"/>
          </p15:clr>
        </p15:guide>
        <p15:guide id="6" orient="horz" pos="3634">
          <p15:clr>
            <a:srgbClr val="A4A3A4"/>
          </p15:clr>
        </p15:guide>
        <p15:guide id="7" orient="horz" pos="1049">
          <p15:clr>
            <a:srgbClr val="A4A3A4"/>
          </p15:clr>
        </p15:guide>
        <p15:guide id="8" pos="3749">
          <p15:clr>
            <a:srgbClr val="A4A3A4"/>
          </p15:clr>
        </p15:guide>
        <p15:guide id="9" pos="3931">
          <p15:clr>
            <a:srgbClr val="A4A3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8_ENTSO-E Three columns">
    <p:spTree>
      <p:nvGrpSpPr>
        <p:cNvPr id="1" name=""/>
        <p:cNvGrpSpPr/>
        <p:nvPr/>
      </p:nvGrpSpPr>
      <p:grpSpPr>
        <a:xfrm>
          <a:off x="0" y="0"/>
          <a:ext cx="0" cy="0"/>
          <a:chOff x="0" y="0"/>
          <a:chExt cx="0" cy="0"/>
        </a:xfrm>
      </p:grpSpPr>
      <p:sp>
        <p:nvSpPr>
          <p:cNvPr id="13" name="Textplatzhalter 3"/>
          <p:cNvSpPr>
            <a:spLocks noGrp="1"/>
          </p:cNvSpPr>
          <p:nvPr>
            <p:ph type="body" sz="quarter" idx="16" hasCustomPrompt="1"/>
          </p:nvPr>
        </p:nvSpPr>
        <p:spPr>
          <a:xfrm>
            <a:off x="382588" y="1297579"/>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a:t>Headline 3</a:t>
            </a:r>
          </a:p>
        </p:txBody>
      </p:sp>
      <p:sp>
        <p:nvSpPr>
          <p:cNvPr id="14" name="Inhaltsplatzhalter 2">
            <a:extLst>
              <a:ext uri="{FF2B5EF4-FFF2-40B4-BE49-F238E27FC236}">
                <a16:creationId xmlns:a16="http://schemas.microsoft.com/office/drawing/2014/main" id="{9341F4E3-0CAE-4A14-AD42-9C698E28F0E7}"/>
              </a:ext>
            </a:extLst>
          </p:cNvPr>
          <p:cNvSpPr>
            <a:spLocks noGrp="1"/>
          </p:cNvSpPr>
          <p:nvPr>
            <p:ph idx="18" hasCustomPrompt="1"/>
          </p:nvPr>
        </p:nvSpPr>
        <p:spPr>
          <a:xfrm>
            <a:off x="380339" y="1844824"/>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5" name="Inhaltsplatzhalter 2">
            <a:extLst>
              <a:ext uri="{FF2B5EF4-FFF2-40B4-BE49-F238E27FC236}">
                <a16:creationId xmlns:a16="http://schemas.microsoft.com/office/drawing/2014/main" id="{E742937F-ADF9-487A-AB88-EE6EE0E8FD08}"/>
              </a:ext>
            </a:extLst>
          </p:cNvPr>
          <p:cNvSpPr>
            <a:spLocks noGrp="1"/>
          </p:cNvSpPr>
          <p:nvPr>
            <p:ph idx="19" hasCustomPrompt="1"/>
          </p:nvPr>
        </p:nvSpPr>
        <p:spPr>
          <a:xfrm>
            <a:off x="7923229" y="1844822"/>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7" name="Inhaltsplatzhalter 2">
            <a:extLst>
              <a:ext uri="{FF2B5EF4-FFF2-40B4-BE49-F238E27FC236}">
                <a16:creationId xmlns:a16="http://schemas.microsoft.com/office/drawing/2014/main" id="{C1294B06-543C-439B-844D-292C65223D9D}"/>
              </a:ext>
            </a:extLst>
          </p:cNvPr>
          <p:cNvSpPr>
            <a:spLocks noGrp="1"/>
          </p:cNvSpPr>
          <p:nvPr>
            <p:ph idx="20" hasCustomPrompt="1"/>
          </p:nvPr>
        </p:nvSpPr>
        <p:spPr>
          <a:xfrm>
            <a:off x="4151784" y="1844823"/>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9" name="Titel 5">
            <a:extLst>
              <a:ext uri="{FF2B5EF4-FFF2-40B4-BE49-F238E27FC236}">
                <a16:creationId xmlns:a16="http://schemas.microsoft.com/office/drawing/2014/main" id="{009D75ED-94BB-4DB3-A55E-CFA85E39F7A3}"/>
              </a:ext>
            </a:extLst>
          </p:cNvPr>
          <p:cNvSpPr>
            <a:spLocks noGrp="1"/>
          </p:cNvSpPr>
          <p:nvPr>
            <p:ph type="title" hasCustomPrompt="1"/>
          </p:nvPr>
        </p:nvSpPr>
        <p:spPr>
          <a:xfrm>
            <a:off x="380339" y="260648"/>
            <a:ext cx="11617788" cy="431325"/>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11" name="Textplatzhalter 11">
            <a:extLst>
              <a:ext uri="{FF2B5EF4-FFF2-40B4-BE49-F238E27FC236}">
                <a16:creationId xmlns:a16="http://schemas.microsoft.com/office/drawing/2014/main" id="{CDA0278C-3CB1-4B5A-B6A3-7F8C901572EF}"/>
              </a:ext>
            </a:extLst>
          </p:cNvPr>
          <p:cNvSpPr>
            <a:spLocks noGrp="1"/>
          </p:cNvSpPr>
          <p:nvPr>
            <p:ph type="body" sz="quarter" idx="12" hasCustomPrompt="1"/>
          </p:nvPr>
        </p:nvSpPr>
        <p:spPr>
          <a:xfrm>
            <a:off x="382588" y="785744"/>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a:t>Click </a:t>
            </a:r>
            <a:r>
              <a:rPr lang="de-DE" err="1"/>
              <a:t>here</a:t>
            </a:r>
            <a:r>
              <a:rPr lang="de-DE"/>
              <a:t> </a:t>
            </a:r>
            <a:r>
              <a:rPr lang="de-DE" err="1"/>
              <a:t>to</a:t>
            </a:r>
            <a:r>
              <a:rPr lang="de-DE"/>
              <a:t> </a:t>
            </a:r>
            <a:r>
              <a:rPr lang="de-DE" err="1"/>
              <a:t>edit</a:t>
            </a:r>
            <a:r>
              <a:rPr lang="de-DE"/>
              <a:t> Headline 2 </a:t>
            </a:r>
          </a:p>
        </p:txBody>
      </p:sp>
    </p:spTree>
    <p:extLst>
      <p:ext uri="{BB962C8B-B14F-4D97-AF65-F5344CB8AC3E}">
        <p14:creationId xmlns:p14="http://schemas.microsoft.com/office/powerpoint/2010/main" val="1197778352"/>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orient="horz" pos="1049">
          <p15:clr>
            <a:srgbClr val="A4A3A4"/>
          </p15:clr>
        </p15:guide>
        <p15:guide id="5" orient="horz" pos="1480">
          <p15:clr>
            <a:srgbClr val="A4A3A4"/>
          </p15:clr>
        </p15:guide>
        <p15:guide id="6" orient="horz" pos="1548">
          <p15:clr>
            <a:srgbClr val="A4A3A4"/>
          </p15:clr>
        </p15:guide>
        <p15:guide id="7" orient="horz" pos="3634">
          <p15:clr>
            <a:srgbClr val="A4A3A4"/>
          </p15:clr>
        </p15:guide>
        <p15:guide id="8" pos="181">
          <p15:clr>
            <a:srgbClr val="A4A3A4"/>
          </p15:clr>
        </p15:guide>
        <p15:guide id="9" pos="7499">
          <p15:clr>
            <a:srgbClr val="A4A3A4"/>
          </p15:clr>
        </p15:guide>
        <p15:guide id="10" pos="3931">
          <p15:clr>
            <a:srgbClr val="A4A3A4"/>
          </p15:clr>
        </p15:guide>
        <p15:guide id="11" pos="3749">
          <p15:clr>
            <a:srgbClr val="A4A3A4"/>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graphicFrame>
        <p:nvGraphicFramePr>
          <p:cNvPr id="7" name="Inhaltsplatzhalter 9" title="Diagramm Platzhalter">
            <a:extLst>
              <a:ext uri="{FF2B5EF4-FFF2-40B4-BE49-F238E27FC236}">
                <a16:creationId xmlns:a16="http://schemas.microsoft.com/office/drawing/2014/main" id="{B463EBB2-B343-A342-A26F-FA6D526125DA}"/>
              </a:ext>
            </a:extLst>
          </p:cNvPr>
          <p:cNvGraphicFramePr>
            <a:graphicFrameLocks/>
          </p:cNvGraphicFramePr>
          <p:nvPr userDrawn="1">
            <p:extLst>
              <p:ext uri="{D42A27DB-BD31-4B8C-83A1-F6EECF244321}">
                <p14:modId xmlns:p14="http://schemas.microsoft.com/office/powerpoint/2010/main" val="2616654375"/>
              </p:ext>
            </p:extLst>
          </p:nvPr>
        </p:nvGraphicFramePr>
        <p:xfrm>
          <a:off x="6648450" y="1665288"/>
          <a:ext cx="5543550" cy="41036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666378600"/>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3" name="Rectangle 7"/>
          <p:cNvSpPr/>
          <p:nvPr userDrawn="1"/>
        </p:nvSpPr>
        <p:spPr>
          <a:xfrm>
            <a:off x="-9525" y="0"/>
            <a:ext cx="12201525" cy="53625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x-none" dirty="0">
              <a:cs typeface="Arial" panose="020B0604020202020204" pitchFamily="34" charset="0"/>
            </a:endParaRPr>
          </a:p>
        </p:txBody>
      </p:sp>
      <p:sp>
        <p:nvSpPr>
          <p:cNvPr id="4" name="Rectangle 8"/>
          <p:cNvSpPr/>
          <p:nvPr userDrawn="1"/>
        </p:nvSpPr>
        <p:spPr>
          <a:xfrm>
            <a:off x="-9525" y="4697413"/>
            <a:ext cx="12199938" cy="216058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x-none" dirty="0">
              <a:cs typeface="Arial" panose="020B0604020202020204" pitchFamily="34" charset="0"/>
            </a:endParaRPr>
          </a:p>
        </p:txBody>
      </p:sp>
      <p:pic>
        <p:nvPicPr>
          <p:cNvPr id="5" name="Picture 9" descr="A picture containing graphical user interface&#10;&#10;Description automatically generated"/>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697413"/>
            <a:ext cx="4411663" cy="2160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p:cNvSpPr txBox="1">
            <a:spLocks/>
          </p:cNvSpPr>
          <p:nvPr userDrawn="1"/>
        </p:nvSpPr>
        <p:spPr>
          <a:xfrm>
            <a:off x="9444038" y="5800725"/>
            <a:ext cx="2052637" cy="522288"/>
          </a:xfrm>
          <a:prstGeom prst="rect">
            <a:avLst/>
          </a:prstGeom>
        </p:spPr>
        <p:txBody>
          <a:bodyPr lIns="0" tIns="0" rIns="0" bIns="0" anchor="b">
            <a:normAutofit/>
          </a:bodyPr>
          <a:lstStyle>
            <a:lvl1pPr algn="l" defTabSz="914400" rtl="0" eaLnBrk="1" latinLnBrk="0" hangingPunct="1">
              <a:lnSpc>
                <a:spcPct val="90000"/>
              </a:lnSpc>
              <a:spcBef>
                <a:spcPct val="0"/>
              </a:spcBef>
              <a:buNone/>
              <a:defRPr sz="4500" b="0" i="0" kern="1200" spc="-150">
                <a:solidFill>
                  <a:schemeClr val="tx1"/>
                </a:solidFill>
                <a:latin typeface="Inter" panose="020B0502030000000004" pitchFamily="34" charset="0"/>
                <a:ea typeface="Inter" panose="020B0502030000000004" pitchFamily="34" charset="0"/>
                <a:cs typeface="Inter" panose="020B0502030000000004" pitchFamily="34" charset="0"/>
              </a:defRPr>
            </a:lvl1pPr>
          </a:lstStyle>
          <a:p>
            <a:pPr fontAlgn="auto">
              <a:lnSpc>
                <a:spcPts val="1800"/>
              </a:lnSpc>
              <a:spcAft>
                <a:spcPts val="0"/>
              </a:spcAft>
              <a:defRPr/>
            </a:pPr>
            <a:r>
              <a:rPr lang="en-GB" sz="1300" spc="0" dirty="0">
                <a:latin typeface="Arial" panose="020B0604020202020204" pitchFamily="34" charset="0"/>
                <a:cs typeface="Arial" panose="020B0604020202020204" pitchFamily="34" charset="0"/>
              </a:rPr>
              <a:t>@</a:t>
            </a:r>
            <a:r>
              <a:rPr lang="en-GB" sz="1300" spc="0" dirty="0" err="1">
                <a:latin typeface="Arial" panose="020B0604020202020204" pitchFamily="34" charset="0"/>
                <a:cs typeface="Arial" panose="020B0604020202020204" pitchFamily="34" charset="0"/>
              </a:rPr>
              <a:t>eu_acer</a:t>
            </a:r>
            <a:endParaRPr lang="en-GB" sz="1300" spc="0" dirty="0">
              <a:latin typeface="Arial" panose="020B0604020202020204" pitchFamily="34" charset="0"/>
              <a:cs typeface="Arial" panose="020B0604020202020204" pitchFamily="34" charset="0"/>
            </a:endParaRPr>
          </a:p>
          <a:p>
            <a:pPr fontAlgn="auto">
              <a:lnSpc>
                <a:spcPts val="1800"/>
              </a:lnSpc>
              <a:spcAft>
                <a:spcPts val="0"/>
              </a:spcAft>
              <a:defRPr/>
            </a:pPr>
            <a:r>
              <a:rPr lang="en-GB" sz="1300" spc="0" dirty="0" err="1">
                <a:latin typeface="Arial" panose="020B0604020202020204" pitchFamily="34" charset="0"/>
                <a:cs typeface="Arial" panose="020B0604020202020204" pitchFamily="34" charset="0"/>
              </a:rPr>
              <a:t>linkedin.com</a:t>
            </a:r>
            <a:r>
              <a:rPr lang="en-GB" sz="1300" spc="0" dirty="0">
                <a:latin typeface="Arial" panose="020B0604020202020204" pitchFamily="34" charset="0"/>
                <a:cs typeface="Arial" panose="020B0604020202020204" pitchFamily="34" charset="0"/>
              </a:rPr>
              <a:t>/in/EU-ACER/</a:t>
            </a:r>
          </a:p>
        </p:txBody>
      </p:sp>
      <p:cxnSp>
        <p:nvCxnSpPr>
          <p:cNvPr id="7" name="Straight Connector 4"/>
          <p:cNvCxnSpPr/>
          <p:nvPr userDrawn="1"/>
        </p:nvCxnSpPr>
        <p:spPr>
          <a:xfrm>
            <a:off x="4411663" y="5219700"/>
            <a:ext cx="0" cy="110331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20"/>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188450" y="5930900"/>
            <a:ext cx="179388" cy="179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2"/>
          <p:cNvGrpSpPr>
            <a:grpSpLocks/>
          </p:cNvGrpSpPr>
          <p:nvPr userDrawn="1"/>
        </p:nvGrpSpPr>
        <p:grpSpPr bwMode="auto">
          <a:xfrm>
            <a:off x="6794500" y="5800725"/>
            <a:ext cx="2568575" cy="522288"/>
            <a:chOff x="6801717" y="5800726"/>
            <a:chExt cx="2568149" cy="522056"/>
          </a:xfrm>
        </p:grpSpPr>
        <p:sp>
          <p:nvSpPr>
            <p:cNvPr id="10" name="Title 1"/>
            <p:cNvSpPr txBox="1">
              <a:spLocks/>
            </p:cNvSpPr>
            <p:nvPr userDrawn="1"/>
          </p:nvSpPr>
          <p:spPr>
            <a:xfrm>
              <a:off x="7062024" y="5800726"/>
              <a:ext cx="2307842" cy="522056"/>
            </a:xfrm>
            <a:prstGeom prst="rect">
              <a:avLst/>
            </a:prstGeom>
          </p:spPr>
          <p:txBody>
            <a:bodyPr lIns="0" tIns="0" rIns="0" bIns="0" anchor="b">
              <a:normAutofit/>
            </a:bodyPr>
            <a:lstStyle>
              <a:lvl1pPr algn="l" defTabSz="914400" rtl="0" eaLnBrk="1" latinLnBrk="0" hangingPunct="1">
                <a:lnSpc>
                  <a:spcPct val="90000"/>
                </a:lnSpc>
                <a:spcBef>
                  <a:spcPct val="0"/>
                </a:spcBef>
                <a:buNone/>
                <a:defRPr sz="4500" b="0" i="0" kern="1200" spc="-150">
                  <a:solidFill>
                    <a:schemeClr val="tx1"/>
                  </a:solidFill>
                  <a:latin typeface="Inter" panose="020B0502030000000004" pitchFamily="34" charset="0"/>
                  <a:ea typeface="Inter" panose="020B0502030000000004" pitchFamily="34" charset="0"/>
                  <a:cs typeface="Inter" panose="020B0502030000000004" pitchFamily="34" charset="0"/>
                </a:defRPr>
              </a:lvl1pPr>
            </a:lstStyle>
            <a:p>
              <a:pPr fontAlgn="auto">
                <a:lnSpc>
                  <a:spcPts val="1800"/>
                </a:lnSpc>
                <a:spcAft>
                  <a:spcPts val="0"/>
                </a:spcAft>
                <a:defRPr/>
              </a:pPr>
              <a:r>
                <a:rPr lang="en-GB" sz="1300" spc="0" dirty="0" err="1">
                  <a:latin typeface="Arial" panose="020B0604020202020204" pitchFamily="34" charset="0"/>
                  <a:cs typeface="Arial" panose="020B0604020202020204" pitchFamily="34" charset="0"/>
                </a:rPr>
                <a:t>info@acer.europa.eu</a:t>
              </a:r>
              <a:endParaRPr lang="en-GB" sz="1300" spc="0" dirty="0">
                <a:latin typeface="Arial" panose="020B0604020202020204" pitchFamily="34" charset="0"/>
                <a:cs typeface="Arial" panose="020B0604020202020204" pitchFamily="34" charset="0"/>
              </a:endParaRPr>
            </a:p>
            <a:p>
              <a:pPr fontAlgn="auto">
                <a:lnSpc>
                  <a:spcPts val="1800"/>
                </a:lnSpc>
                <a:spcAft>
                  <a:spcPts val="0"/>
                </a:spcAft>
                <a:defRPr/>
              </a:pPr>
              <a:r>
                <a:rPr lang="en-GB" sz="1300" spc="0" dirty="0" err="1">
                  <a:latin typeface="Arial" panose="020B0604020202020204" pitchFamily="34" charset="0"/>
                  <a:cs typeface="Arial" panose="020B0604020202020204" pitchFamily="34" charset="0"/>
                </a:rPr>
                <a:t>acer.europa.eu</a:t>
              </a:r>
              <a:endParaRPr lang="x-none" sz="1300" spc="0" dirty="0">
                <a:latin typeface="Arial" panose="020B0604020202020204" pitchFamily="34" charset="0"/>
                <a:cs typeface="Arial" panose="020B0604020202020204" pitchFamily="34" charset="0"/>
              </a:endParaRPr>
            </a:p>
          </p:txBody>
        </p:sp>
        <p:pic>
          <p:nvPicPr>
            <p:cNvPr id="11" name="Picture 16"/>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808398" y="5930287"/>
              <a:ext cx="180000" cy="18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22"/>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6801717" y="6137846"/>
              <a:ext cx="180000" cy="18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3" name="Picture 5" descr="Icon&#10;&#10;Description automatically generated"/>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193213" y="6137275"/>
            <a:ext cx="207962" cy="176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96000" y="1057274"/>
            <a:ext cx="10800000" cy="3094314"/>
          </a:xfrm>
        </p:spPr>
        <p:txBody>
          <a:bodyPr>
            <a:normAutofit/>
          </a:bodyPr>
          <a:lstStyle>
            <a:lvl1pPr algn="l">
              <a:defRPr sz="6000">
                <a:solidFill>
                  <a:schemeClr val="bg1"/>
                </a:solidFill>
              </a:defRPr>
            </a:lvl1pPr>
          </a:lstStyle>
          <a:p>
            <a:r>
              <a:rPr lang="nl-NL"/>
              <a:t>Klik om de stijl te bewerken</a:t>
            </a:r>
            <a:endParaRPr lang="en-US" dirty="0"/>
          </a:p>
        </p:txBody>
      </p:sp>
    </p:spTree>
    <p:extLst>
      <p:ext uri="{BB962C8B-B14F-4D97-AF65-F5344CB8AC3E}">
        <p14:creationId xmlns:p14="http://schemas.microsoft.com/office/powerpoint/2010/main" val="127941476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ENTSO-E Graph 2">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4" name="Inhaltsplatzhalter 10">
            <a:extLst>
              <a:ext uri="{FF2B5EF4-FFF2-40B4-BE49-F238E27FC236}">
                <a16:creationId xmlns:a16="http://schemas.microsoft.com/office/drawing/2014/main" id="{C04C5352-D576-AE47-888D-BF03439BD4FC}"/>
              </a:ext>
            </a:extLst>
          </p:cNvPr>
          <p:cNvSpPr>
            <a:spLocks noGrp="1"/>
          </p:cNvSpPr>
          <p:nvPr>
            <p:ph idx="1"/>
          </p:nvPr>
        </p:nvSpPr>
        <p:spPr>
          <a:xfrm>
            <a:off x="1739517" y="1665288"/>
            <a:ext cx="8712201" cy="4103972"/>
          </a:xfrm>
        </p:spPr>
        <p:txBody>
          <a:bodyPr>
            <a:normAutofit lnSpcReduction="10000"/>
          </a:bodyPr>
          <a:lstStyle/>
          <a:p>
            <a:r>
              <a:rPr lang="de-DE" b="1"/>
              <a:t>   </a:t>
            </a:r>
            <a:br>
              <a:rPr lang="de-DE" b="1"/>
            </a:br>
            <a:r>
              <a:rPr lang="de-DE" b="1"/>
              <a:t> </a:t>
            </a:r>
            <a:endParaRPr lang="de-DE" b="1"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br>
              <a:rPr lang="de-DE" sz="900" i="1">
                <a:solidFill>
                  <a:prstClr val="black"/>
                </a:solidFill>
              </a:rPr>
            </a:br>
            <a:br>
              <a:rPr lang="de-DE" sz="900" i="1">
                <a:solidFill>
                  <a:prstClr val="black"/>
                </a:solidFill>
              </a:rPr>
            </a:br>
            <a:br>
              <a:rPr lang="de-DE" sz="900" i="1">
                <a:solidFill>
                  <a:prstClr val="black"/>
                </a:solidFill>
              </a:rPr>
            </a:br>
            <a:r>
              <a:rPr lang="de-DE" sz="900" i="1">
                <a:solidFill>
                  <a:prstClr val="black"/>
                </a:solidFill>
              </a:rPr>
              <a:t>Source: Insert </a:t>
            </a:r>
            <a:r>
              <a:rPr lang="de-DE" sz="900" i="1" err="1">
                <a:solidFill>
                  <a:prstClr val="black"/>
                </a:solidFill>
              </a:rPr>
              <a:t>here</a:t>
            </a:r>
            <a:r>
              <a:rPr lang="de-DE" sz="900" i="1">
                <a:solidFill>
                  <a:prstClr val="black"/>
                </a:solidFill>
              </a:rPr>
              <a:t> </a:t>
            </a:r>
            <a:r>
              <a:rPr lang="de-DE" sz="900" i="1" err="1">
                <a:solidFill>
                  <a:prstClr val="black"/>
                </a:solidFill>
              </a:rPr>
              <a:t>if</a:t>
            </a:r>
            <a:r>
              <a:rPr lang="de-DE" sz="900" i="1">
                <a:solidFill>
                  <a:prstClr val="black"/>
                </a:solidFill>
              </a:rPr>
              <a:t> </a:t>
            </a:r>
            <a:r>
              <a:rPr lang="de-DE" sz="900" i="1" err="1">
                <a:solidFill>
                  <a:prstClr val="black"/>
                </a:solidFill>
              </a:rPr>
              <a:t>applicable</a:t>
            </a:r>
            <a:endParaRPr lang="de-DE" sz="900"/>
          </a:p>
        </p:txBody>
      </p:sp>
      <p:graphicFrame>
        <p:nvGraphicFramePr>
          <p:cNvPr id="6" name="Diagramm 5" title="Flächendiagramm Platzhalter">
            <a:extLst>
              <a:ext uri="{FF2B5EF4-FFF2-40B4-BE49-F238E27FC236}">
                <a16:creationId xmlns:a16="http://schemas.microsoft.com/office/drawing/2014/main" id="{654DBC48-79E2-BF45-94FB-10AE0A01AFE4}"/>
              </a:ext>
            </a:extLst>
          </p:cNvPr>
          <p:cNvGraphicFramePr/>
          <p:nvPr userDrawn="1">
            <p:extLst>
              <p:ext uri="{D42A27DB-BD31-4B8C-83A1-F6EECF244321}">
                <p14:modId xmlns:p14="http://schemas.microsoft.com/office/powerpoint/2010/main" val="1491827380"/>
              </p:ext>
            </p:extLst>
          </p:nvPr>
        </p:nvGraphicFramePr>
        <p:xfrm>
          <a:off x="382587" y="1665288"/>
          <a:ext cx="11522075" cy="399596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75064650"/>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4" name="Inhaltsplatzhalter 1">
            <a:extLst>
              <a:ext uri="{FF2B5EF4-FFF2-40B4-BE49-F238E27FC236}">
                <a16:creationId xmlns:a16="http://schemas.microsoft.com/office/drawing/2014/main" id="{C62E783B-8C38-B14F-A829-53ADBD597589}"/>
              </a:ext>
            </a:extLst>
          </p:cNvPr>
          <p:cNvSpPr>
            <a:spLocks noGrp="1"/>
          </p:cNvSpPr>
          <p:nvPr>
            <p:ph idx="1"/>
          </p:nvPr>
        </p:nvSpPr>
        <p:spPr>
          <a:xfrm>
            <a:off x="407368" y="1747353"/>
            <a:ext cx="7200800" cy="4292180"/>
          </a:xfrm>
        </p:spPr>
        <p:txBody>
          <a:bodyPr/>
          <a:lstStyle/>
          <a:p>
            <a:r>
              <a:rPr lang="de-DE">
                <a:solidFill>
                  <a:srgbClr val="0F218B"/>
                </a:solidFill>
              </a:rPr>
              <a:t>Headline 3 – Edit </a:t>
            </a:r>
            <a:r>
              <a:rPr lang="de-DE" err="1">
                <a:solidFill>
                  <a:srgbClr val="0F218B"/>
                </a:solidFill>
              </a:rPr>
              <a:t>the</a:t>
            </a:r>
            <a:r>
              <a:rPr lang="de-DE">
                <a:solidFill>
                  <a:srgbClr val="0F218B"/>
                </a:solidFill>
              </a:rPr>
              <a:t> </a:t>
            </a:r>
            <a:r>
              <a:rPr lang="de-DE" err="1">
                <a:solidFill>
                  <a:srgbClr val="0F218B"/>
                </a:solidFill>
              </a:rPr>
              <a:t>pie</a:t>
            </a:r>
            <a:r>
              <a:rPr lang="de-DE">
                <a:solidFill>
                  <a:srgbClr val="0F218B"/>
                </a:solidFill>
              </a:rPr>
              <a:t> </a:t>
            </a:r>
            <a:r>
              <a:rPr lang="de-DE" err="1">
                <a:solidFill>
                  <a:srgbClr val="0F218B"/>
                </a:solidFill>
              </a:rPr>
              <a:t>chart</a:t>
            </a:r>
            <a:r>
              <a:rPr lang="de-DE">
                <a:solidFill>
                  <a:srgbClr val="0F218B"/>
                </a:solidFill>
              </a:rPr>
              <a:t> </a:t>
            </a:r>
            <a:r>
              <a:rPr lang="de-DE" err="1">
                <a:solidFill>
                  <a:srgbClr val="0F218B"/>
                </a:solidFill>
              </a:rPr>
              <a:t>by</a:t>
            </a:r>
            <a:r>
              <a:rPr lang="de-DE">
                <a:solidFill>
                  <a:srgbClr val="0F218B"/>
                </a:solidFill>
              </a:rPr>
              <a:t> </a:t>
            </a:r>
            <a:r>
              <a:rPr lang="de-DE" err="1">
                <a:solidFill>
                  <a:srgbClr val="0F218B"/>
                </a:solidFill>
              </a:rPr>
              <a:t>clicking</a:t>
            </a:r>
            <a:r>
              <a:rPr lang="de-DE">
                <a:solidFill>
                  <a:srgbClr val="0F218B"/>
                </a:solidFill>
              </a:rPr>
              <a:t> on it. </a:t>
            </a:r>
            <a:r>
              <a:rPr lang="de-DE" err="1">
                <a:solidFill>
                  <a:srgbClr val="0F218B"/>
                </a:solidFill>
              </a:rPr>
              <a:t>Now</a:t>
            </a:r>
            <a:r>
              <a:rPr lang="de-DE">
                <a:solidFill>
                  <a:srgbClr val="0F218B"/>
                </a:solidFill>
              </a:rPr>
              <a:t> </a:t>
            </a:r>
            <a:r>
              <a:rPr lang="de-DE" err="1">
                <a:solidFill>
                  <a:srgbClr val="0F218B"/>
                </a:solidFill>
              </a:rPr>
              <a:t>icons</a:t>
            </a:r>
            <a:r>
              <a:rPr lang="de-DE">
                <a:solidFill>
                  <a:srgbClr val="0F218B"/>
                </a:solidFill>
              </a:rPr>
              <a:t> </a:t>
            </a:r>
            <a:r>
              <a:rPr lang="de-DE" err="1">
                <a:solidFill>
                  <a:srgbClr val="0F218B"/>
                </a:solidFill>
              </a:rPr>
              <a:t>appear</a:t>
            </a:r>
            <a:r>
              <a:rPr lang="de-DE">
                <a:solidFill>
                  <a:srgbClr val="0F218B"/>
                </a:solidFill>
              </a:rPr>
              <a:t>. </a:t>
            </a:r>
            <a:r>
              <a:rPr lang="de-DE" err="1">
                <a:solidFill>
                  <a:srgbClr val="0F218B"/>
                </a:solidFill>
              </a:rPr>
              <a:t>If</a:t>
            </a:r>
            <a:r>
              <a:rPr lang="de-DE">
                <a:solidFill>
                  <a:srgbClr val="0F218B"/>
                </a:solidFill>
              </a:rPr>
              <a:t> </a:t>
            </a:r>
            <a:r>
              <a:rPr lang="de-DE" err="1">
                <a:solidFill>
                  <a:srgbClr val="0F218B"/>
                </a:solidFill>
              </a:rPr>
              <a:t>you</a:t>
            </a:r>
            <a:r>
              <a:rPr lang="de-DE">
                <a:solidFill>
                  <a:srgbClr val="0F218B"/>
                </a:solidFill>
              </a:rPr>
              <a:t> </a:t>
            </a:r>
            <a:r>
              <a:rPr lang="de-DE" err="1">
                <a:solidFill>
                  <a:srgbClr val="0F218B"/>
                </a:solidFill>
              </a:rPr>
              <a:t>keep</a:t>
            </a:r>
            <a:r>
              <a:rPr lang="de-DE">
                <a:solidFill>
                  <a:srgbClr val="0F218B"/>
                </a:solidFill>
              </a:rPr>
              <a:t> </a:t>
            </a:r>
            <a:r>
              <a:rPr lang="de-DE" err="1">
                <a:solidFill>
                  <a:srgbClr val="0F218B"/>
                </a:solidFill>
              </a:rPr>
              <a:t>the</a:t>
            </a:r>
            <a:r>
              <a:rPr lang="de-DE">
                <a:solidFill>
                  <a:srgbClr val="0F218B"/>
                </a:solidFill>
              </a:rPr>
              <a:t> </a:t>
            </a:r>
            <a:r>
              <a:rPr lang="de-DE" err="1">
                <a:solidFill>
                  <a:srgbClr val="0F218B"/>
                </a:solidFill>
              </a:rPr>
              <a:t>cursor</a:t>
            </a:r>
            <a:r>
              <a:rPr lang="de-DE">
                <a:solidFill>
                  <a:srgbClr val="0F218B"/>
                </a:solidFill>
              </a:rPr>
              <a:t> </a:t>
            </a:r>
            <a:r>
              <a:rPr lang="de-DE" err="1">
                <a:solidFill>
                  <a:srgbClr val="0F218B"/>
                </a:solidFill>
              </a:rPr>
              <a:t>above</a:t>
            </a:r>
            <a:r>
              <a:rPr lang="de-DE">
                <a:solidFill>
                  <a:srgbClr val="0F218B"/>
                </a:solidFill>
              </a:rPr>
              <a:t> </a:t>
            </a:r>
            <a:r>
              <a:rPr lang="de-DE" err="1">
                <a:solidFill>
                  <a:srgbClr val="0F218B"/>
                </a:solidFill>
              </a:rPr>
              <a:t>the</a:t>
            </a:r>
            <a:r>
              <a:rPr lang="de-DE">
                <a:solidFill>
                  <a:srgbClr val="0F218B"/>
                </a:solidFill>
              </a:rPr>
              <a:t> </a:t>
            </a:r>
            <a:r>
              <a:rPr lang="de-DE" err="1">
                <a:solidFill>
                  <a:srgbClr val="0F218B"/>
                </a:solidFill>
              </a:rPr>
              <a:t>icons</a:t>
            </a:r>
            <a:r>
              <a:rPr lang="de-DE">
                <a:solidFill>
                  <a:srgbClr val="0F218B"/>
                </a:solidFill>
              </a:rPr>
              <a:t>, a </a:t>
            </a:r>
            <a:r>
              <a:rPr lang="de-DE" err="1">
                <a:solidFill>
                  <a:srgbClr val="0F218B"/>
                </a:solidFill>
              </a:rPr>
              <a:t>descriptive</a:t>
            </a:r>
            <a:r>
              <a:rPr lang="de-DE">
                <a:solidFill>
                  <a:srgbClr val="0F218B"/>
                </a:solidFill>
              </a:rPr>
              <a:t> </a:t>
            </a:r>
            <a:r>
              <a:rPr lang="de-DE" err="1">
                <a:solidFill>
                  <a:srgbClr val="0F218B"/>
                </a:solidFill>
              </a:rPr>
              <a:t>text</a:t>
            </a:r>
            <a:r>
              <a:rPr lang="de-DE">
                <a:solidFill>
                  <a:srgbClr val="0F218B"/>
                </a:solidFill>
              </a:rPr>
              <a:t> </a:t>
            </a:r>
            <a:r>
              <a:rPr lang="de-DE" err="1">
                <a:solidFill>
                  <a:srgbClr val="0F218B"/>
                </a:solidFill>
              </a:rPr>
              <a:t>appears</a:t>
            </a:r>
            <a:r>
              <a:rPr lang="de-DE">
                <a:solidFill>
                  <a:srgbClr val="0F218B"/>
                </a:solidFill>
              </a:rPr>
              <a:t>. </a:t>
            </a:r>
          </a:p>
          <a:p>
            <a:r>
              <a:rPr lang="de-DE" err="1"/>
              <a:t>You</a:t>
            </a:r>
            <a:r>
              <a:rPr lang="de-DE"/>
              <a:t> </a:t>
            </a:r>
            <a:r>
              <a:rPr lang="de-DE" err="1"/>
              <a:t>may</a:t>
            </a:r>
            <a:r>
              <a:rPr lang="de-DE"/>
              <a:t> </a:t>
            </a:r>
            <a:r>
              <a:rPr lang="de-DE" err="1"/>
              <a:t>change</a:t>
            </a:r>
            <a:r>
              <a:rPr lang="de-DE"/>
              <a:t> </a:t>
            </a:r>
            <a:r>
              <a:rPr lang="de-DE" err="1"/>
              <a:t>the</a:t>
            </a:r>
            <a:r>
              <a:rPr lang="de-DE"/>
              <a:t> type </a:t>
            </a:r>
            <a:r>
              <a:rPr lang="de-DE" err="1"/>
              <a:t>of</a:t>
            </a:r>
            <a:r>
              <a:rPr lang="de-DE"/>
              <a:t> </a:t>
            </a:r>
            <a:r>
              <a:rPr lang="de-DE" err="1"/>
              <a:t>chart</a:t>
            </a:r>
            <a:r>
              <a:rPr lang="de-DE"/>
              <a:t>, </a:t>
            </a:r>
            <a:r>
              <a:rPr lang="de-DE" err="1"/>
              <a:t>the</a:t>
            </a:r>
            <a:r>
              <a:rPr lang="de-DE"/>
              <a:t> </a:t>
            </a:r>
            <a:r>
              <a:rPr lang="de-DE" err="1"/>
              <a:t>layout</a:t>
            </a:r>
            <a:r>
              <a:rPr lang="de-DE"/>
              <a:t> and </a:t>
            </a:r>
            <a:r>
              <a:rPr lang="de-DE" err="1"/>
              <a:t>colour</a:t>
            </a:r>
            <a:r>
              <a:rPr lang="de-DE"/>
              <a:t> </a:t>
            </a:r>
            <a:r>
              <a:rPr lang="de-DE" err="1"/>
              <a:t>scheme</a:t>
            </a:r>
            <a:r>
              <a:rPr lang="de-DE"/>
              <a:t>. </a:t>
            </a:r>
            <a:r>
              <a:rPr lang="de-DE" err="1"/>
              <a:t>We</a:t>
            </a:r>
            <a:r>
              <a:rPr lang="de-DE"/>
              <a:t> </a:t>
            </a:r>
            <a:r>
              <a:rPr lang="de-DE" err="1"/>
              <a:t>advise</a:t>
            </a:r>
            <a:r>
              <a:rPr lang="de-DE"/>
              <a:t> </a:t>
            </a:r>
            <a:r>
              <a:rPr lang="de-DE" err="1"/>
              <a:t>to</a:t>
            </a:r>
            <a:r>
              <a:rPr lang="de-DE"/>
              <a:t> </a:t>
            </a:r>
            <a:r>
              <a:rPr lang="de-DE" err="1"/>
              <a:t>refrain</a:t>
            </a:r>
            <a:r>
              <a:rPr lang="de-DE"/>
              <a:t> </a:t>
            </a:r>
            <a:r>
              <a:rPr lang="de-DE" err="1"/>
              <a:t>from</a:t>
            </a:r>
            <a:r>
              <a:rPr lang="de-DE"/>
              <a:t> </a:t>
            </a:r>
            <a:r>
              <a:rPr lang="de-DE" err="1"/>
              <a:t>using</a:t>
            </a:r>
            <a:r>
              <a:rPr lang="de-DE"/>
              <a:t> </a:t>
            </a:r>
            <a:r>
              <a:rPr lang="de-DE" err="1"/>
              <a:t>gradients</a:t>
            </a:r>
            <a:r>
              <a:rPr lang="de-DE"/>
              <a:t> and </a:t>
            </a:r>
            <a:r>
              <a:rPr lang="de-DE" err="1"/>
              <a:t>shadows</a:t>
            </a:r>
            <a:r>
              <a:rPr lang="de-DE"/>
              <a:t> – </a:t>
            </a:r>
            <a:r>
              <a:rPr lang="de-DE" err="1"/>
              <a:t>this</a:t>
            </a:r>
            <a:r>
              <a:rPr lang="de-DE"/>
              <a:t> </a:t>
            </a:r>
            <a:r>
              <a:rPr lang="de-DE" err="1"/>
              <a:t>does</a:t>
            </a:r>
            <a:r>
              <a:rPr lang="de-DE"/>
              <a:t> not </a:t>
            </a:r>
            <a:r>
              <a:rPr lang="de-DE" err="1"/>
              <a:t>add</a:t>
            </a:r>
            <a:r>
              <a:rPr lang="de-DE"/>
              <a:t> </a:t>
            </a:r>
            <a:r>
              <a:rPr lang="de-DE" err="1"/>
              <a:t>any</a:t>
            </a:r>
            <a:r>
              <a:rPr lang="de-DE"/>
              <a:t> </a:t>
            </a:r>
            <a:r>
              <a:rPr lang="de-DE" err="1"/>
              <a:t>information</a:t>
            </a:r>
            <a:r>
              <a:rPr lang="de-DE"/>
              <a:t> in </a:t>
            </a:r>
            <a:r>
              <a:rPr lang="de-DE" err="1"/>
              <a:t>most</a:t>
            </a:r>
            <a:r>
              <a:rPr lang="de-DE"/>
              <a:t> </a:t>
            </a:r>
            <a:r>
              <a:rPr lang="de-DE" err="1"/>
              <a:t>cases</a:t>
            </a:r>
            <a:r>
              <a:rPr lang="de-DE"/>
              <a:t>. </a:t>
            </a:r>
          </a:p>
          <a:p>
            <a:r>
              <a:rPr lang="en-US"/>
              <a:t>The size of this copy will adapt automatically, depending on how many words you insert or write. If the size of the copy appears too small – rather try editing the text than </a:t>
            </a:r>
            <a:r>
              <a:rPr lang="en-US" err="1"/>
              <a:t>maximising</a:t>
            </a:r>
            <a:r>
              <a:rPr lang="en-US"/>
              <a:t> the size of the text box. </a:t>
            </a:r>
            <a:endParaRPr lang="de-DE"/>
          </a:p>
          <a:p>
            <a:endParaRPr lang="de-DE"/>
          </a:p>
        </p:txBody>
      </p:sp>
      <p:graphicFrame>
        <p:nvGraphicFramePr>
          <p:cNvPr id="6" name="Inhaltsplatzhalter 8" title="Kreisdiagramm Platzhalter">
            <a:extLst>
              <a:ext uri="{FF2B5EF4-FFF2-40B4-BE49-F238E27FC236}">
                <a16:creationId xmlns:a16="http://schemas.microsoft.com/office/drawing/2014/main" id="{6D36771A-5075-9748-A710-7DBB70C12D6A}"/>
              </a:ext>
            </a:extLst>
          </p:cNvPr>
          <p:cNvGraphicFramePr>
            <a:graphicFrameLocks/>
          </p:cNvGraphicFramePr>
          <p:nvPr userDrawn="1">
            <p:extLst>
              <p:ext uri="{D42A27DB-BD31-4B8C-83A1-F6EECF244321}">
                <p14:modId xmlns:p14="http://schemas.microsoft.com/office/powerpoint/2010/main" val="3232390385"/>
              </p:ext>
            </p:extLst>
          </p:nvPr>
        </p:nvGraphicFramePr>
        <p:xfrm>
          <a:off x="8472264" y="1747353"/>
          <a:ext cx="2951162" cy="41036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797625900"/>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7" name="Inhaltsplatzhalter 1">
            <a:extLst>
              <a:ext uri="{FF2B5EF4-FFF2-40B4-BE49-F238E27FC236}">
                <a16:creationId xmlns:a16="http://schemas.microsoft.com/office/drawing/2014/main" id="{C1F9600C-DD2A-3D4A-B5B0-19ADE1EE280E}"/>
              </a:ext>
            </a:extLst>
          </p:cNvPr>
          <p:cNvSpPr>
            <a:spLocks noGrp="1"/>
          </p:cNvSpPr>
          <p:nvPr>
            <p:ph idx="18"/>
          </p:nvPr>
        </p:nvSpPr>
        <p:spPr>
          <a:xfrm>
            <a:off x="349412" y="854984"/>
            <a:ext cx="3648000" cy="3311525"/>
          </a:xfrm>
        </p:spPr>
        <p:txBody>
          <a:bodyPr>
            <a:noAutofit/>
          </a:bodyPr>
          <a:lstStyle>
            <a:lvl1pPr>
              <a:defRPr sz="1800"/>
            </a:lvl1pPr>
          </a:lstStyle>
          <a:p>
            <a:r>
              <a:rPr lang="de-DE" err="1">
                <a:latin typeface="Calibri" panose="020F0502020204030204" pitchFamily="34" charset="0"/>
                <a:cs typeface="Calibri" panose="020F0502020204030204" pitchFamily="34" charset="0"/>
              </a:rPr>
              <a:t>Examples</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for</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bulle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points</a:t>
            </a:r>
            <a:r>
              <a:rPr lang="de-DE">
                <a:latin typeface="Calibri" panose="020F0502020204030204" pitchFamily="34" charset="0"/>
                <a:cs typeface="Calibri" panose="020F0502020204030204" pitchFamily="34" charset="0"/>
              </a:rPr>
              <a:t>.</a:t>
            </a:r>
          </a:p>
          <a:p>
            <a:r>
              <a:rPr lang="en-US">
                <a:latin typeface="Calibri" panose="020F0502020204030204" pitchFamily="34" charset="0"/>
                <a:cs typeface="Calibri" panose="020F0502020204030204" pitchFamily="34" charset="0"/>
              </a:rPr>
              <a:t>Be aware that there is a significant difference between using only the enter-key and using the combination of enter- and shift-key.</a:t>
            </a:r>
          </a:p>
          <a:p>
            <a:r>
              <a:rPr lang="en-US">
                <a:latin typeface="Calibri" panose="020F0502020204030204" pitchFamily="34" charset="0"/>
                <a:cs typeface="Calibri" panose="020F0502020204030204" pitchFamily="34" charset="0"/>
              </a:rPr>
              <a:t>Using only the enter-key will create a new bullet point.</a:t>
            </a:r>
            <a:br>
              <a:rPr lang="en-US">
                <a:latin typeface="Calibri" panose="020F0502020204030204" pitchFamily="34" charset="0"/>
                <a:cs typeface="Calibri" panose="020F0502020204030204" pitchFamily="34" charset="0"/>
              </a:rPr>
            </a:br>
            <a:r>
              <a:rPr lang="en-US">
                <a:latin typeface="Calibri" panose="020F0502020204030204" pitchFamily="34" charset="0"/>
                <a:cs typeface="Calibri" panose="020F0502020204030204" pitchFamily="34" charset="0"/>
              </a:rPr>
              <a:t> </a:t>
            </a:r>
            <a:br>
              <a:rPr lang="en-US">
                <a:latin typeface="Calibri" panose="020F0502020204030204" pitchFamily="34" charset="0"/>
                <a:cs typeface="Calibri" panose="020F0502020204030204" pitchFamily="34" charset="0"/>
              </a:rPr>
            </a:br>
            <a:r>
              <a:rPr lang="en-US">
                <a:latin typeface="Calibri" panose="020F0502020204030204" pitchFamily="34" charset="0"/>
                <a:cs typeface="Calibri" panose="020F0502020204030204" pitchFamily="34" charset="0"/>
              </a:rPr>
              <a:t>If you only want to start the text in a new line (like this sentence) and keep the numeration, use shift-enter. </a:t>
            </a:r>
          </a:p>
          <a:p>
            <a:r>
              <a:rPr lang="en-US">
                <a:latin typeface="Calibri" panose="020F0502020204030204" pitchFamily="34" charset="0"/>
                <a:cs typeface="Calibri" panose="020F0502020204030204" pitchFamily="34" charset="0"/>
              </a:rPr>
              <a:t>Text will resize automatically.</a:t>
            </a:r>
          </a:p>
          <a:p>
            <a:endParaRPr lang="de-DE">
              <a:latin typeface="Calibri" panose="020F0502020204030204" pitchFamily="34" charset="0"/>
              <a:cs typeface="Calibri" panose="020F0502020204030204" pitchFamily="34" charset="0"/>
            </a:endParaRPr>
          </a:p>
          <a:p>
            <a:endParaRPr lang="en-US">
              <a:latin typeface="Calibri" panose="020F0502020204030204" pitchFamily="34" charset="0"/>
              <a:cs typeface="Calibri" panose="020F0502020204030204" pitchFamily="34" charset="0"/>
            </a:endParaRPr>
          </a:p>
        </p:txBody>
      </p:sp>
      <p:sp>
        <p:nvSpPr>
          <p:cNvPr id="8" name="Inhaltsplatzhalter 2">
            <a:extLst>
              <a:ext uri="{FF2B5EF4-FFF2-40B4-BE49-F238E27FC236}">
                <a16:creationId xmlns:a16="http://schemas.microsoft.com/office/drawing/2014/main" id="{C36A1AC1-56A4-4346-B7AD-92B4196EBB80}"/>
              </a:ext>
            </a:extLst>
          </p:cNvPr>
          <p:cNvSpPr>
            <a:spLocks noGrp="1"/>
          </p:cNvSpPr>
          <p:nvPr>
            <p:ph idx="19"/>
          </p:nvPr>
        </p:nvSpPr>
        <p:spPr>
          <a:xfrm>
            <a:off x="7752184" y="836362"/>
            <a:ext cx="3648000" cy="3311525"/>
          </a:xfrm>
        </p:spPr>
        <p:txBody>
          <a:bodyPr/>
          <a:lstStyle>
            <a:lvl1pPr>
              <a:defRPr sz="1800"/>
            </a:lvl1pPr>
            <a:lvl2pPr>
              <a:defRPr sz="1800"/>
            </a:lvl2pPr>
            <a:lvl3pPr>
              <a:defRPr sz="1800"/>
            </a:lvl3pPr>
            <a:lvl4pPr>
              <a:defRPr sz="1800"/>
            </a:lvl4pPr>
            <a:lvl5pPr>
              <a:defRPr sz="1800"/>
            </a:lvl5pPr>
          </a:lstStyle>
          <a:p>
            <a:r>
              <a:rPr lang="de-DE" err="1">
                <a:latin typeface="Calibri" panose="020F0502020204030204" pitchFamily="34" charset="0"/>
                <a:cs typeface="Calibri" panose="020F0502020204030204" pitchFamily="34" charset="0"/>
              </a:rPr>
              <a:t>Example</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for</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bulle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points</a:t>
            </a:r>
            <a:br>
              <a:rPr lang="de-DE">
                <a:latin typeface="Calibri" panose="020F0502020204030204" pitchFamily="34" charset="0"/>
                <a:cs typeface="Calibri" panose="020F0502020204030204" pitchFamily="34" charset="0"/>
              </a:rPr>
            </a:br>
            <a:endParaRPr lang="de-DE">
              <a:latin typeface="Calibri" panose="020F0502020204030204" pitchFamily="34" charset="0"/>
              <a:cs typeface="Calibri" panose="020F0502020204030204" pitchFamily="34" charset="0"/>
            </a:endParaRPr>
          </a:p>
          <a:p>
            <a:r>
              <a:rPr lang="de-DE">
                <a:latin typeface="Calibri" panose="020F0502020204030204" pitchFamily="34" charset="0"/>
                <a:cs typeface="Calibri" panose="020F0502020204030204" pitchFamily="34" charset="0"/>
              </a:rPr>
              <a:t>Dummy </a:t>
            </a:r>
            <a:r>
              <a:rPr lang="de-DE" err="1">
                <a:latin typeface="Calibri" panose="020F0502020204030204" pitchFamily="34" charset="0"/>
                <a:cs typeface="Calibri" panose="020F0502020204030204" pitchFamily="34" charset="0"/>
              </a:rPr>
              <a:t>tex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here</a:t>
            </a:r>
            <a:endParaRPr lang="de-DE">
              <a:latin typeface="Calibri" panose="020F0502020204030204" pitchFamily="34" charset="0"/>
              <a:cs typeface="Calibri" panose="020F0502020204030204" pitchFamily="34" charset="0"/>
            </a:endParaRPr>
          </a:p>
          <a:p>
            <a:pPr lvl="1"/>
            <a:r>
              <a:rPr lang="de-DE">
                <a:latin typeface="Calibri" panose="020F0502020204030204" pitchFamily="34" charset="0"/>
                <a:cs typeface="Calibri" panose="020F0502020204030204" pitchFamily="34" charset="0"/>
              </a:rPr>
              <a:t>Second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2"/>
            <a:r>
              <a:rPr lang="de-DE">
                <a:latin typeface="Calibri" panose="020F0502020204030204" pitchFamily="34" charset="0"/>
                <a:cs typeface="Calibri" panose="020F0502020204030204" pitchFamily="34" charset="0"/>
              </a:rPr>
              <a:t>Third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3"/>
            <a:r>
              <a:rPr lang="de-DE" err="1">
                <a:latin typeface="Calibri" panose="020F0502020204030204" pitchFamily="34" charset="0"/>
                <a:cs typeface="Calibri" panose="020F0502020204030204" pitchFamily="34" charset="0"/>
              </a:rPr>
              <a:t>Fourth</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4"/>
            <a:r>
              <a:rPr lang="de-DE" err="1">
                <a:latin typeface="Calibri" panose="020F0502020204030204" pitchFamily="34" charset="0"/>
                <a:cs typeface="Calibri" panose="020F0502020204030204" pitchFamily="34" charset="0"/>
              </a:rPr>
              <a:t>Fifth</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p:txBody>
      </p:sp>
      <p:graphicFrame>
        <p:nvGraphicFramePr>
          <p:cNvPr id="9" name="Inhaltsplatzhalter 7" title="Infobox Platzhalter">
            <a:extLst>
              <a:ext uri="{FF2B5EF4-FFF2-40B4-BE49-F238E27FC236}">
                <a16:creationId xmlns:a16="http://schemas.microsoft.com/office/drawing/2014/main" id="{03B3DB83-3BE0-1D49-9913-2E54862A2869}"/>
              </a:ext>
            </a:extLst>
          </p:cNvPr>
          <p:cNvGraphicFramePr>
            <a:graphicFrameLocks/>
          </p:cNvGraphicFramePr>
          <p:nvPr userDrawn="1">
            <p:extLst>
              <p:ext uri="{D42A27DB-BD31-4B8C-83A1-F6EECF244321}">
                <p14:modId xmlns:p14="http://schemas.microsoft.com/office/powerpoint/2010/main" val="2580603730"/>
              </p:ext>
            </p:extLst>
          </p:nvPr>
        </p:nvGraphicFramePr>
        <p:xfrm>
          <a:off x="4079776" y="836362"/>
          <a:ext cx="3474386" cy="3203797"/>
        </p:xfrm>
        <a:graphic>
          <a:graphicData uri="http://schemas.openxmlformats.org/drawingml/2006/table">
            <a:tbl>
              <a:tblPr bandCol="1">
                <a:tableStyleId>{3B4B98B0-60AC-42C2-AFA5-B58CD77FA1E5}</a:tableStyleId>
              </a:tblPr>
              <a:tblGrid>
                <a:gridCol w="3474386">
                  <a:extLst>
                    <a:ext uri="{9D8B030D-6E8A-4147-A177-3AD203B41FA5}">
                      <a16:colId xmlns:a16="http://schemas.microsoft.com/office/drawing/2014/main" val="1090517882"/>
                    </a:ext>
                  </a:extLst>
                </a:gridCol>
              </a:tblGrid>
              <a:tr h="3203797">
                <a:tc>
                  <a:txBody>
                    <a:bodyPr/>
                    <a:lstStyle/>
                    <a:p>
                      <a:r>
                        <a:rPr lang="de-DE" sz="1800" b="1">
                          <a:solidFill>
                            <a:srgbClr val="015092"/>
                          </a:solidFill>
                          <a:latin typeface="Calibri" panose="020F0502020204030204" pitchFamily="34" charset="0"/>
                          <a:cs typeface="Calibri" panose="020F0502020204030204" pitchFamily="34" charset="0"/>
                        </a:rPr>
                        <a:t>Infobox </a:t>
                      </a:r>
                    </a:p>
                    <a:p>
                      <a:endParaRPr lang="de-DE" sz="1800" b="1">
                        <a:solidFill>
                          <a:srgbClr val="015092"/>
                        </a:solidFill>
                        <a:latin typeface="Calibri" panose="020F0502020204030204" pitchFamily="34" charset="0"/>
                        <a:cs typeface="Calibri" panose="020F0502020204030204" pitchFamily="34" charset="0"/>
                      </a:endParaRPr>
                    </a:p>
                    <a:p>
                      <a:r>
                        <a:rPr lang="de-DE" sz="1800">
                          <a:solidFill>
                            <a:srgbClr val="015092"/>
                          </a:solidFill>
                          <a:latin typeface="Calibri" panose="020F0502020204030204" pitchFamily="34" charset="0"/>
                          <a:cs typeface="Calibri" panose="020F0502020204030204" pitchFamily="34" charset="0"/>
                        </a:rPr>
                        <a:t>By </a:t>
                      </a:r>
                      <a:r>
                        <a:rPr lang="de-DE" sz="1800" err="1">
                          <a:solidFill>
                            <a:srgbClr val="015092"/>
                          </a:solidFill>
                          <a:latin typeface="Calibri" panose="020F0502020204030204" pitchFamily="34" charset="0"/>
                          <a:cs typeface="Calibri" panose="020F0502020204030204" pitchFamily="34" charset="0"/>
                        </a:rPr>
                        <a:t>using</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the</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buttons</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crease</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dent</a:t>
                      </a:r>
                      <a:r>
                        <a:rPr lang="de-DE" sz="1800">
                          <a:solidFill>
                            <a:srgbClr val="015092"/>
                          </a:solidFill>
                          <a:latin typeface="Calibri" panose="020F0502020204030204" pitchFamily="34" charset="0"/>
                          <a:cs typeface="Calibri" panose="020F0502020204030204" pitchFamily="34" charset="0"/>
                        </a:rPr>
                        <a:t>‘ and ‚</a:t>
                      </a:r>
                      <a:r>
                        <a:rPr lang="de-DE" sz="1800" err="1">
                          <a:solidFill>
                            <a:srgbClr val="015092"/>
                          </a:solidFill>
                          <a:latin typeface="Calibri" panose="020F0502020204030204" pitchFamily="34" charset="0"/>
                          <a:cs typeface="Calibri" panose="020F0502020204030204" pitchFamily="34" charset="0"/>
                        </a:rPr>
                        <a:t>decrease</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dent</a:t>
                      </a:r>
                      <a:r>
                        <a:rPr lang="de-DE" sz="1800">
                          <a:solidFill>
                            <a:srgbClr val="015092"/>
                          </a:solidFill>
                          <a:latin typeface="Calibri" panose="020F0502020204030204" pitchFamily="34" charset="0"/>
                          <a:cs typeface="Calibri" panose="020F0502020204030204" pitchFamily="34" charset="0"/>
                        </a:rPr>
                        <a:t>‘ in </a:t>
                      </a:r>
                      <a:r>
                        <a:rPr lang="de-DE" sz="1800" err="1">
                          <a:solidFill>
                            <a:srgbClr val="015092"/>
                          </a:solidFill>
                          <a:latin typeface="Calibri" panose="020F0502020204030204" pitchFamily="34" charset="0"/>
                          <a:cs typeface="Calibri" panose="020F0502020204030204" pitchFamily="34" charset="0"/>
                        </a:rPr>
                        <a:t>the</a:t>
                      </a:r>
                      <a:r>
                        <a:rPr lang="de-DE" sz="1800">
                          <a:solidFill>
                            <a:srgbClr val="015092"/>
                          </a:solidFill>
                          <a:latin typeface="Calibri" panose="020F0502020204030204" pitchFamily="34" charset="0"/>
                          <a:cs typeface="Calibri" panose="020F0502020204030204" pitchFamily="34" charset="0"/>
                        </a:rPr>
                        <a:t> ‚Start‘ </a:t>
                      </a:r>
                      <a:r>
                        <a:rPr lang="de-DE" sz="1800" err="1">
                          <a:solidFill>
                            <a:srgbClr val="015092"/>
                          </a:solidFill>
                          <a:latin typeface="Calibri" panose="020F0502020204030204" pitchFamily="34" charset="0"/>
                          <a:cs typeface="Calibri" panose="020F0502020204030204" pitchFamily="34" charset="0"/>
                        </a:rPr>
                        <a:t>menu</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you</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can</a:t>
                      </a:r>
                      <a:r>
                        <a:rPr lang="de-DE" sz="1800">
                          <a:solidFill>
                            <a:srgbClr val="015092"/>
                          </a:solidFill>
                          <a:latin typeface="Calibri" panose="020F0502020204030204" pitchFamily="34" charset="0"/>
                          <a:cs typeface="Calibri" panose="020F0502020204030204" pitchFamily="34" charset="0"/>
                        </a:rPr>
                        <a:t> switch </a:t>
                      </a:r>
                      <a:r>
                        <a:rPr lang="de-DE" sz="1800" err="1">
                          <a:solidFill>
                            <a:srgbClr val="015092"/>
                          </a:solidFill>
                          <a:latin typeface="Calibri" panose="020F0502020204030204" pitchFamily="34" charset="0"/>
                          <a:cs typeface="Calibri" panose="020F0502020204030204" pitchFamily="34" charset="0"/>
                        </a:rPr>
                        <a:t>between</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dention</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levels</a:t>
                      </a:r>
                      <a:r>
                        <a:rPr lang="de-DE" sz="1800">
                          <a:solidFill>
                            <a:srgbClr val="015092"/>
                          </a:solidFill>
                          <a:latin typeface="Calibri" panose="020F0502020204030204" pitchFamily="34" charset="0"/>
                          <a:cs typeface="Calibri" panose="020F0502020204030204" pitchFamily="34" charset="0"/>
                        </a:rPr>
                        <a:t>. This </a:t>
                      </a:r>
                      <a:r>
                        <a:rPr lang="de-DE" sz="1800" err="1">
                          <a:solidFill>
                            <a:srgbClr val="015092"/>
                          </a:solidFill>
                          <a:latin typeface="Calibri" panose="020F0502020204030204" pitchFamily="34" charset="0"/>
                          <a:cs typeface="Calibri" panose="020F0502020204030204" pitchFamily="34" charset="0"/>
                        </a:rPr>
                        <a:t>is</a:t>
                      </a:r>
                      <a:r>
                        <a:rPr lang="de-DE" sz="1800">
                          <a:solidFill>
                            <a:srgbClr val="015092"/>
                          </a:solidFill>
                          <a:latin typeface="Calibri" panose="020F0502020204030204" pitchFamily="34" charset="0"/>
                          <a:cs typeface="Calibri" panose="020F0502020204030204" pitchFamily="34" charset="0"/>
                        </a:rPr>
                        <a:t> valid </a:t>
                      </a:r>
                      <a:r>
                        <a:rPr lang="de-DE" sz="1800" err="1">
                          <a:solidFill>
                            <a:srgbClr val="015092"/>
                          </a:solidFill>
                          <a:latin typeface="Calibri" panose="020F0502020204030204" pitchFamily="34" charset="0"/>
                          <a:cs typeface="Calibri" panose="020F0502020204030204" pitchFamily="34" charset="0"/>
                        </a:rPr>
                        <a:t>for</a:t>
                      </a:r>
                      <a:r>
                        <a:rPr lang="de-DE" sz="1800">
                          <a:solidFill>
                            <a:srgbClr val="015092"/>
                          </a:solidFill>
                          <a:latin typeface="Calibri" panose="020F0502020204030204" pitchFamily="34" charset="0"/>
                          <a:cs typeface="Calibri" panose="020F0502020204030204" pitchFamily="34" charset="0"/>
                        </a:rPr>
                        <a:t> all </a:t>
                      </a:r>
                      <a:r>
                        <a:rPr lang="de-DE" sz="1800" err="1">
                          <a:solidFill>
                            <a:srgbClr val="015092"/>
                          </a:solidFill>
                          <a:latin typeface="Calibri" panose="020F0502020204030204" pitchFamily="34" charset="0"/>
                          <a:cs typeface="Calibri" panose="020F0502020204030204" pitchFamily="34" charset="0"/>
                        </a:rPr>
                        <a:t>kinds</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of</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listings</a:t>
                      </a:r>
                      <a:r>
                        <a:rPr lang="de-DE" sz="1800">
                          <a:solidFill>
                            <a:srgbClr val="015092"/>
                          </a:solidFill>
                          <a:latin typeface="Calibri" panose="020F0502020204030204" pitchFamily="34" charset="0"/>
                          <a:cs typeface="Calibri" panose="020F0502020204030204" pitchFamily="34" charset="0"/>
                        </a:rPr>
                        <a:t>, e.g. </a:t>
                      </a:r>
                      <a:r>
                        <a:rPr lang="de-DE" sz="1800" err="1">
                          <a:solidFill>
                            <a:srgbClr val="015092"/>
                          </a:solidFill>
                          <a:latin typeface="Calibri" panose="020F0502020204030204" pitchFamily="34" charset="0"/>
                          <a:cs typeface="Calibri" panose="020F0502020204030204" pitchFamily="34" charset="0"/>
                        </a:rPr>
                        <a:t>bullet</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points</a:t>
                      </a:r>
                      <a:r>
                        <a:rPr lang="de-DE" sz="1800">
                          <a:solidFill>
                            <a:srgbClr val="015092"/>
                          </a:solidFill>
                          <a:latin typeface="Calibri" panose="020F0502020204030204" pitchFamily="34" charset="0"/>
                          <a:cs typeface="Calibri" panose="020F0502020204030204" pitchFamily="34" charset="0"/>
                        </a:rPr>
                        <a:t> and </a:t>
                      </a:r>
                      <a:r>
                        <a:rPr lang="de-DE" sz="1800" err="1">
                          <a:solidFill>
                            <a:srgbClr val="015092"/>
                          </a:solidFill>
                          <a:latin typeface="Calibri" panose="020F0502020204030204" pitchFamily="34" charset="0"/>
                          <a:cs typeface="Calibri" panose="020F0502020204030204" pitchFamily="34" charset="0"/>
                        </a:rPr>
                        <a:t>enumerations</a:t>
                      </a:r>
                      <a:r>
                        <a:rPr lang="de-DE" sz="1800">
                          <a:solidFill>
                            <a:srgbClr val="015092"/>
                          </a:solidFill>
                          <a:latin typeface="Calibri" panose="020F0502020204030204" pitchFamily="34" charset="0"/>
                          <a:cs typeface="Calibri" panose="020F0502020204030204" pitchFamily="34" charset="0"/>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alpha val="20000"/>
                      </a:schemeClr>
                    </a:solidFill>
                  </a:tcPr>
                </a:tc>
                <a:extLst>
                  <a:ext uri="{0D108BD9-81ED-4DB2-BD59-A6C34878D82A}">
                    <a16:rowId xmlns:a16="http://schemas.microsoft.com/office/drawing/2014/main" val="2331007764"/>
                  </a:ext>
                </a:extLst>
              </a:tr>
            </a:tbl>
          </a:graphicData>
        </a:graphic>
      </p:graphicFrame>
    </p:spTree>
    <p:extLst>
      <p:ext uri="{BB962C8B-B14F-4D97-AF65-F5344CB8AC3E}">
        <p14:creationId xmlns:p14="http://schemas.microsoft.com/office/powerpoint/2010/main" val="1489374661"/>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3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
            <a:extLst>
              <a:ext uri="{FF2B5EF4-FFF2-40B4-BE49-F238E27FC236}">
                <a16:creationId xmlns:a16="http://schemas.microsoft.com/office/drawing/2014/main" id="{63F95587-91DB-574E-BF98-C631A8B7FEB8}"/>
              </a:ext>
            </a:extLst>
          </p:cNvPr>
          <p:cNvSpPr>
            <a:spLocks noGrp="1"/>
          </p:cNvSpPr>
          <p:nvPr>
            <p:ph idx="4294967295"/>
          </p:nvPr>
        </p:nvSpPr>
        <p:spPr>
          <a:xfrm>
            <a:off x="359864" y="1124744"/>
            <a:ext cx="11521546" cy="3311810"/>
          </a:xfrm>
        </p:spPr>
        <p:txBody>
          <a:bodyPr numCol="2" spcCol="216000">
            <a:normAutofit/>
          </a:bodyPr>
          <a:lstStyle/>
          <a:p>
            <a:pPr marL="342900" indent="-342900">
              <a:lnSpc>
                <a:spcPct val="120000"/>
              </a:lnSpc>
              <a:buClr>
                <a:srgbClr val="707F86"/>
              </a:buClr>
              <a:buFont typeface="+mj-lt"/>
              <a:buAutoNum type="arabicParenBoth"/>
            </a:pPr>
            <a:r>
              <a:rPr lang="en-US"/>
              <a:t>The size of this copy will adapt automatically, depending on how many words you insert or write. If the size of the copy appears too small – rather try editing the text than </a:t>
            </a:r>
            <a:r>
              <a:rPr lang="en-US" err="1"/>
              <a:t>maximising</a:t>
            </a:r>
            <a:r>
              <a:rPr lang="en-US"/>
              <a:t> the size of the text box. </a:t>
            </a:r>
          </a:p>
          <a:p>
            <a:pPr marL="342900" indent="-342900">
              <a:lnSpc>
                <a:spcPct val="120000"/>
              </a:lnSpc>
              <a:buClr>
                <a:srgbClr val="707F86"/>
              </a:buClr>
              <a:buFont typeface="+mj-lt"/>
              <a:buAutoNum type="arabicParenBoth"/>
            </a:pPr>
            <a:r>
              <a:rPr lang="de-DE"/>
              <a:t>In </a:t>
            </a:r>
            <a:r>
              <a:rPr lang="de-DE" err="1"/>
              <a:t>general</a:t>
            </a:r>
            <a:r>
              <a:rPr lang="de-DE"/>
              <a:t>, </a:t>
            </a:r>
            <a:r>
              <a:rPr lang="de-DE" err="1"/>
              <a:t>it</a:t>
            </a:r>
            <a:r>
              <a:rPr lang="de-DE"/>
              <a:t> </a:t>
            </a:r>
            <a:r>
              <a:rPr lang="de-DE" err="1"/>
              <a:t>is</a:t>
            </a:r>
            <a:r>
              <a:rPr lang="de-DE"/>
              <a:t> a </a:t>
            </a:r>
            <a:r>
              <a:rPr lang="de-DE" err="1"/>
              <a:t>good</a:t>
            </a:r>
            <a:r>
              <a:rPr lang="de-DE"/>
              <a:t> </a:t>
            </a:r>
            <a:r>
              <a:rPr lang="de-DE" err="1"/>
              <a:t>idea</a:t>
            </a:r>
            <a:r>
              <a:rPr lang="de-DE"/>
              <a:t> just </a:t>
            </a:r>
            <a:r>
              <a:rPr lang="de-DE" err="1"/>
              <a:t>to</a:t>
            </a:r>
            <a:r>
              <a:rPr lang="de-DE"/>
              <a:t> </a:t>
            </a:r>
            <a:r>
              <a:rPr lang="de-DE" err="1"/>
              <a:t>provide</a:t>
            </a:r>
            <a:r>
              <a:rPr lang="de-DE"/>
              <a:t> </a:t>
            </a:r>
            <a:r>
              <a:rPr lang="de-DE" err="1"/>
              <a:t>abstracts</a:t>
            </a:r>
            <a:r>
              <a:rPr lang="de-DE"/>
              <a:t> - </a:t>
            </a:r>
            <a:r>
              <a:rPr lang="de-DE" err="1"/>
              <a:t>this</a:t>
            </a:r>
            <a:r>
              <a:rPr lang="de-DE"/>
              <a:t> </a:t>
            </a:r>
            <a:r>
              <a:rPr lang="de-DE" err="1"/>
              <a:t>is</a:t>
            </a:r>
            <a:r>
              <a:rPr lang="de-DE"/>
              <a:t> a screen </a:t>
            </a:r>
            <a:r>
              <a:rPr lang="de-DE" err="1"/>
              <a:t>presentation</a:t>
            </a:r>
            <a:r>
              <a:rPr lang="de-DE"/>
              <a:t>, and </a:t>
            </a:r>
            <a:r>
              <a:rPr lang="de-DE" err="1"/>
              <a:t>nobody</a:t>
            </a:r>
            <a:r>
              <a:rPr lang="de-DE"/>
              <a:t> </a:t>
            </a:r>
            <a:r>
              <a:rPr lang="de-DE" err="1"/>
              <a:t>likes</a:t>
            </a:r>
            <a:r>
              <a:rPr lang="de-DE"/>
              <a:t> </a:t>
            </a:r>
            <a:r>
              <a:rPr lang="de-DE" err="1"/>
              <a:t>to</a:t>
            </a:r>
            <a:r>
              <a:rPr lang="de-DE"/>
              <a:t> </a:t>
            </a:r>
            <a:r>
              <a:rPr lang="de-DE" err="1"/>
              <a:t>read</a:t>
            </a:r>
            <a:r>
              <a:rPr lang="de-DE"/>
              <a:t> </a:t>
            </a:r>
            <a:r>
              <a:rPr lang="de-DE" err="1"/>
              <a:t>much</a:t>
            </a:r>
            <a:r>
              <a:rPr lang="de-DE"/>
              <a:t> </a:t>
            </a:r>
            <a:r>
              <a:rPr lang="de-DE" err="1"/>
              <a:t>text</a:t>
            </a:r>
            <a:r>
              <a:rPr lang="de-DE"/>
              <a:t> on </a:t>
            </a:r>
            <a:r>
              <a:rPr lang="de-DE" err="1"/>
              <a:t>the</a:t>
            </a:r>
            <a:r>
              <a:rPr lang="de-DE"/>
              <a:t> screen. </a:t>
            </a:r>
          </a:p>
          <a:p>
            <a:pPr marL="342900" indent="-342900">
              <a:lnSpc>
                <a:spcPct val="120000"/>
              </a:lnSpc>
              <a:buClr>
                <a:srgbClr val="707F86"/>
              </a:buClr>
              <a:buFont typeface="+mj-lt"/>
              <a:buAutoNum type="arabicParenBoth"/>
            </a:pPr>
            <a:endParaRPr lang="de-DE"/>
          </a:p>
          <a:p>
            <a:pPr marL="342900" indent="-342900">
              <a:lnSpc>
                <a:spcPct val="120000"/>
              </a:lnSpc>
              <a:buClr>
                <a:srgbClr val="707F86"/>
              </a:buClr>
              <a:buFont typeface="+mj-lt"/>
              <a:buAutoNum type="arabicParenBoth"/>
            </a:pPr>
            <a:r>
              <a:rPr lang="en-US"/>
              <a:t>Be aware that there is a significant difference between using only the enter-key and using the combination of enter- and shift-key</a:t>
            </a:r>
            <a:r>
              <a:rPr lang="de-DE"/>
              <a:t>.</a:t>
            </a:r>
          </a:p>
          <a:p>
            <a:pPr marL="342900" indent="-342900">
              <a:lnSpc>
                <a:spcPct val="120000"/>
              </a:lnSpc>
              <a:buClr>
                <a:srgbClr val="707F86"/>
              </a:buClr>
              <a:buFont typeface="+mj-lt"/>
              <a:buAutoNum type="arabicParenBoth"/>
            </a:pPr>
            <a:r>
              <a:rPr lang="de-DE"/>
              <a:t>In </a:t>
            </a:r>
            <a:r>
              <a:rPr lang="de-DE" err="1"/>
              <a:t>this</a:t>
            </a:r>
            <a:r>
              <a:rPr lang="de-DE"/>
              <a:t> </a:t>
            </a:r>
            <a:r>
              <a:rPr lang="de-DE" err="1"/>
              <a:t>textbox</a:t>
            </a:r>
            <a:r>
              <a:rPr lang="de-DE"/>
              <a:t>, </a:t>
            </a:r>
            <a:r>
              <a:rPr lang="de-DE" err="1"/>
              <a:t>using</a:t>
            </a:r>
            <a:r>
              <a:rPr lang="de-DE"/>
              <a:t> </a:t>
            </a:r>
            <a:r>
              <a:rPr lang="de-DE" err="1"/>
              <a:t>only</a:t>
            </a:r>
            <a:r>
              <a:rPr lang="de-DE"/>
              <a:t> </a:t>
            </a:r>
            <a:r>
              <a:rPr lang="de-DE" err="1"/>
              <a:t>the</a:t>
            </a:r>
            <a:r>
              <a:rPr lang="de-DE"/>
              <a:t> enter-</a:t>
            </a:r>
            <a:r>
              <a:rPr lang="de-DE" err="1"/>
              <a:t>key</a:t>
            </a:r>
            <a:r>
              <a:rPr lang="de-DE"/>
              <a:t> will </a:t>
            </a:r>
            <a:r>
              <a:rPr lang="de-DE" err="1"/>
              <a:t>create</a:t>
            </a:r>
            <a:r>
              <a:rPr lang="de-DE"/>
              <a:t> a </a:t>
            </a:r>
            <a:r>
              <a:rPr lang="de-DE" err="1"/>
              <a:t>new</a:t>
            </a:r>
            <a:r>
              <a:rPr lang="de-DE"/>
              <a:t> </a:t>
            </a:r>
            <a:r>
              <a:rPr lang="de-DE" err="1"/>
              <a:t>paragraph</a:t>
            </a:r>
            <a:r>
              <a:rPr lang="de-DE"/>
              <a:t>, </a:t>
            </a:r>
            <a:r>
              <a:rPr lang="de-DE" err="1"/>
              <a:t>causing</a:t>
            </a:r>
            <a:r>
              <a:rPr lang="de-DE"/>
              <a:t> a </a:t>
            </a:r>
            <a:r>
              <a:rPr lang="de-DE" err="1"/>
              <a:t>new</a:t>
            </a:r>
            <a:r>
              <a:rPr lang="de-DE"/>
              <a:t> </a:t>
            </a:r>
            <a:r>
              <a:rPr lang="de-DE" err="1"/>
              <a:t>numeration</a:t>
            </a:r>
            <a:r>
              <a:rPr lang="de-DE"/>
              <a:t>. </a:t>
            </a:r>
            <a:br>
              <a:rPr lang="de-DE"/>
            </a:br>
            <a:r>
              <a:rPr lang="de-DE" err="1"/>
              <a:t>If</a:t>
            </a:r>
            <a:r>
              <a:rPr lang="de-DE"/>
              <a:t> </a:t>
            </a:r>
            <a:r>
              <a:rPr lang="de-DE" err="1"/>
              <a:t>you</a:t>
            </a:r>
            <a:r>
              <a:rPr lang="de-DE"/>
              <a:t> </a:t>
            </a:r>
            <a:r>
              <a:rPr lang="de-DE" err="1"/>
              <a:t>only</a:t>
            </a:r>
            <a:r>
              <a:rPr lang="de-DE"/>
              <a:t> </a:t>
            </a:r>
            <a:r>
              <a:rPr lang="de-DE" err="1"/>
              <a:t>want</a:t>
            </a:r>
            <a:r>
              <a:rPr lang="de-DE"/>
              <a:t> </a:t>
            </a:r>
            <a:r>
              <a:rPr lang="de-DE" err="1"/>
              <a:t>to</a:t>
            </a:r>
            <a:r>
              <a:rPr lang="de-DE"/>
              <a:t> </a:t>
            </a:r>
            <a:r>
              <a:rPr lang="de-DE" err="1"/>
              <a:t>start</a:t>
            </a:r>
            <a:r>
              <a:rPr lang="de-DE"/>
              <a:t> </a:t>
            </a:r>
            <a:r>
              <a:rPr lang="de-DE" err="1"/>
              <a:t>the</a:t>
            </a:r>
            <a:r>
              <a:rPr lang="de-DE"/>
              <a:t> </a:t>
            </a:r>
            <a:r>
              <a:rPr lang="de-DE" err="1"/>
              <a:t>text</a:t>
            </a:r>
            <a:r>
              <a:rPr lang="de-DE"/>
              <a:t> in a </a:t>
            </a:r>
            <a:r>
              <a:rPr lang="de-DE" err="1"/>
              <a:t>new</a:t>
            </a:r>
            <a:r>
              <a:rPr lang="de-DE"/>
              <a:t> </a:t>
            </a:r>
            <a:r>
              <a:rPr lang="de-DE" err="1"/>
              <a:t>line</a:t>
            </a:r>
            <a:r>
              <a:rPr lang="de-DE"/>
              <a:t> (like </a:t>
            </a:r>
            <a:r>
              <a:rPr lang="de-DE" err="1"/>
              <a:t>this</a:t>
            </a:r>
            <a:r>
              <a:rPr lang="de-DE"/>
              <a:t> </a:t>
            </a:r>
            <a:r>
              <a:rPr lang="de-DE" err="1"/>
              <a:t>sentence</a:t>
            </a:r>
            <a:r>
              <a:rPr lang="de-DE"/>
              <a:t>) and </a:t>
            </a:r>
            <a:r>
              <a:rPr lang="de-DE" err="1"/>
              <a:t>keep</a:t>
            </a:r>
            <a:r>
              <a:rPr lang="de-DE"/>
              <a:t> </a:t>
            </a:r>
            <a:r>
              <a:rPr lang="de-DE" err="1"/>
              <a:t>the</a:t>
            </a:r>
            <a:r>
              <a:rPr lang="de-DE"/>
              <a:t> </a:t>
            </a:r>
            <a:r>
              <a:rPr lang="de-DE" err="1"/>
              <a:t>numeration</a:t>
            </a:r>
            <a:r>
              <a:rPr lang="de-DE"/>
              <a:t>, </a:t>
            </a:r>
            <a:r>
              <a:rPr lang="de-DE" err="1"/>
              <a:t>use</a:t>
            </a:r>
            <a:r>
              <a:rPr lang="de-DE"/>
              <a:t> shift-</a:t>
            </a:r>
            <a:r>
              <a:rPr lang="de-DE" err="1"/>
              <a:t>enter</a:t>
            </a:r>
            <a:r>
              <a:rPr lang="de-DE"/>
              <a:t>.  </a:t>
            </a:r>
          </a:p>
        </p:txBody>
      </p:sp>
    </p:spTree>
    <p:extLst>
      <p:ext uri="{BB962C8B-B14F-4D97-AF65-F5344CB8AC3E}">
        <p14:creationId xmlns:p14="http://schemas.microsoft.com/office/powerpoint/2010/main" val="4015388517"/>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4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
            <a:extLst>
              <a:ext uri="{FF2B5EF4-FFF2-40B4-BE49-F238E27FC236}">
                <a16:creationId xmlns:a16="http://schemas.microsoft.com/office/drawing/2014/main" id="{045ED79A-32AA-D64E-AAD5-54B4B9C4DE4E}"/>
              </a:ext>
            </a:extLst>
          </p:cNvPr>
          <p:cNvSpPr>
            <a:spLocks noGrp="1"/>
          </p:cNvSpPr>
          <p:nvPr>
            <p:ph idx="1"/>
          </p:nvPr>
        </p:nvSpPr>
        <p:spPr>
          <a:xfrm>
            <a:off x="397842" y="939341"/>
            <a:ext cx="11506291" cy="4829919"/>
          </a:xfrm>
        </p:spPr>
        <p:txBody>
          <a:bodyPr/>
          <a:lstStyle>
            <a:lvl1pPr>
              <a:defRPr>
                <a:solidFill>
                  <a:schemeClr val="tx1">
                    <a:lumMod val="50000"/>
                  </a:schemeClr>
                </a:solidFill>
              </a:defRPr>
            </a:lvl1pPr>
          </a:lstStyle>
          <a:p>
            <a:r>
              <a:rPr lang="de-DE">
                <a:solidFill>
                  <a:srgbClr val="0F218B"/>
                </a:solidFill>
              </a:rPr>
              <a:t>Headline 3 – Edit </a:t>
            </a:r>
            <a:r>
              <a:rPr lang="de-DE" err="1">
                <a:solidFill>
                  <a:srgbClr val="0F218B"/>
                </a:solidFill>
              </a:rPr>
              <a:t>text</a:t>
            </a:r>
            <a:r>
              <a:rPr lang="de-DE">
                <a:solidFill>
                  <a:srgbClr val="0F218B"/>
                </a:solidFill>
              </a:rPr>
              <a:t> </a:t>
            </a:r>
            <a:r>
              <a:rPr lang="de-DE" err="1">
                <a:solidFill>
                  <a:srgbClr val="0F218B"/>
                </a:solidFill>
              </a:rPr>
              <a:t>here</a:t>
            </a:r>
            <a:r>
              <a:rPr lang="de-DE">
                <a:solidFill>
                  <a:srgbClr val="0F218B"/>
                </a:solidFill>
              </a:rPr>
              <a:t>.</a:t>
            </a:r>
            <a:endParaRPr lang="de-DE" i="1">
              <a:solidFill>
                <a:srgbClr val="0F218B"/>
              </a:solidFill>
            </a:endParaRPr>
          </a:p>
        </p:txBody>
      </p:sp>
      <p:grpSp>
        <p:nvGrpSpPr>
          <p:cNvPr id="4" name="Group 3553" title="6-Monats-Zeitleiste Platzhalter">
            <a:extLst>
              <a:ext uri="{FF2B5EF4-FFF2-40B4-BE49-F238E27FC236}">
                <a16:creationId xmlns:a16="http://schemas.microsoft.com/office/drawing/2014/main" id="{104D80E7-590A-6F45-BD68-8611B65301C7}"/>
              </a:ext>
            </a:extLst>
          </p:cNvPr>
          <p:cNvGrpSpPr/>
          <p:nvPr userDrawn="1"/>
        </p:nvGrpSpPr>
        <p:grpSpPr>
          <a:xfrm>
            <a:off x="1811339" y="2381327"/>
            <a:ext cx="8569325" cy="3224119"/>
            <a:chOff x="0" y="359738"/>
            <a:chExt cx="10490200" cy="5139089"/>
          </a:xfrm>
        </p:grpSpPr>
        <p:grpSp>
          <p:nvGrpSpPr>
            <p:cNvPr id="6" name="Group 3530">
              <a:extLst>
                <a:ext uri="{FF2B5EF4-FFF2-40B4-BE49-F238E27FC236}">
                  <a16:creationId xmlns:a16="http://schemas.microsoft.com/office/drawing/2014/main" id="{0F489A34-EB0D-9844-8E5C-68A73CD91E77}"/>
                </a:ext>
              </a:extLst>
            </p:cNvPr>
            <p:cNvGrpSpPr/>
            <p:nvPr/>
          </p:nvGrpSpPr>
          <p:grpSpPr>
            <a:xfrm>
              <a:off x="463551" y="803442"/>
              <a:ext cx="5797974" cy="4695385"/>
              <a:chOff x="545" y="358575"/>
              <a:chExt cx="5797973" cy="4695384"/>
            </a:xfrm>
          </p:grpSpPr>
          <p:sp>
            <p:nvSpPr>
              <p:cNvPr id="15" name="Shape 3525">
                <a:extLst>
                  <a:ext uri="{FF2B5EF4-FFF2-40B4-BE49-F238E27FC236}">
                    <a16:creationId xmlns:a16="http://schemas.microsoft.com/office/drawing/2014/main" id="{A153CEA7-30AE-F849-A6F4-864E0256893E}"/>
                  </a:ext>
                </a:extLst>
              </p:cNvPr>
              <p:cNvSpPr/>
              <p:nvPr/>
            </p:nvSpPr>
            <p:spPr>
              <a:xfrm flipV="1">
                <a:off x="545" y="358575"/>
                <a:ext cx="0" cy="241032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6" name="Shape 3526">
                <a:extLst>
                  <a:ext uri="{FF2B5EF4-FFF2-40B4-BE49-F238E27FC236}">
                    <a16:creationId xmlns:a16="http://schemas.microsoft.com/office/drawing/2014/main" id="{60C53EF1-C062-D545-8D50-5E5A151EAEF2}"/>
                  </a:ext>
                </a:extLst>
              </p:cNvPr>
              <p:cNvSpPr/>
              <p:nvPr/>
            </p:nvSpPr>
            <p:spPr>
              <a:xfrm flipV="1">
                <a:off x="755773" y="1567594"/>
                <a:ext cx="0" cy="1201303"/>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7" name="Shape 3527">
                <a:extLst>
                  <a:ext uri="{FF2B5EF4-FFF2-40B4-BE49-F238E27FC236}">
                    <a16:creationId xmlns:a16="http://schemas.microsoft.com/office/drawing/2014/main" id="{13DFF85B-1393-F24D-B481-3D1EF145FDA3}"/>
                  </a:ext>
                </a:extLst>
              </p:cNvPr>
              <p:cNvSpPr/>
              <p:nvPr/>
            </p:nvSpPr>
            <p:spPr>
              <a:xfrm flipV="1">
                <a:off x="5798518" y="721344"/>
                <a:ext cx="0" cy="204755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8" name="Shape 3528">
                <a:extLst>
                  <a:ext uri="{FF2B5EF4-FFF2-40B4-BE49-F238E27FC236}">
                    <a16:creationId xmlns:a16="http://schemas.microsoft.com/office/drawing/2014/main" id="{DC0087D8-03A9-6944-85A2-0EFC81E8E914}"/>
                  </a:ext>
                </a:extLst>
              </p:cNvPr>
              <p:cNvSpPr/>
              <p:nvPr/>
            </p:nvSpPr>
            <p:spPr>
              <a:xfrm>
                <a:off x="1608725" y="3274911"/>
                <a:ext cx="0" cy="1779048"/>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9" name="Shape 3529">
                <a:extLst>
                  <a:ext uri="{FF2B5EF4-FFF2-40B4-BE49-F238E27FC236}">
                    <a16:creationId xmlns:a16="http://schemas.microsoft.com/office/drawing/2014/main" id="{DECA1AED-351A-F54C-8939-BE1935F59845}"/>
                  </a:ext>
                </a:extLst>
              </p:cNvPr>
              <p:cNvSpPr/>
              <p:nvPr/>
            </p:nvSpPr>
            <p:spPr>
              <a:xfrm>
                <a:off x="4459938" y="3274911"/>
                <a:ext cx="0" cy="909640"/>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grpSp>
        <p:grpSp>
          <p:nvGrpSpPr>
            <p:cNvPr id="7" name="Group 3537">
              <a:extLst>
                <a:ext uri="{FF2B5EF4-FFF2-40B4-BE49-F238E27FC236}">
                  <a16:creationId xmlns:a16="http://schemas.microsoft.com/office/drawing/2014/main" id="{A90B8DDB-C27F-1A4D-B381-D7862AAE7931}"/>
                </a:ext>
              </a:extLst>
            </p:cNvPr>
            <p:cNvGrpSpPr/>
            <p:nvPr/>
          </p:nvGrpSpPr>
          <p:grpSpPr>
            <a:xfrm>
              <a:off x="0" y="3216502"/>
              <a:ext cx="10490200" cy="508001"/>
              <a:chOff x="0" y="0"/>
              <a:chExt cx="10490200" cy="508000"/>
            </a:xfrm>
          </p:grpSpPr>
          <p:sp>
            <p:nvSpPr>
              <p:cNvPr id="9" name="Shape 3531">
                <a:extLst>
                  <a:ext uri="{FF2B5EF4-FFF2-40B4-BE49-F238E27FC236}">
                    <a16:creationId xmlns:a16="http://schemas.microsoft.com/office/drawing/2014/main" id="{11C1F5E3-318A-7F41-9327-18EA7D1F2420}"/>
                  </a:ext>
                </a:extLst>
              </p:cNvPr>
              <p:cNvSpPr/>
              <p:nvPr/>
            </p:nvSpPr>
            <p:spPr>
              <a:xfrm>
                <a:off x="1793240" y="0"/>
                <a:ext cx="1524001" cy="508000"/>
              </a:xfrm>
              <a:prstGeom prst="rect">
                <a:avLst/>
              </a:prstGeom>
              <a:solidFill>
                <a:srgbClr val="51A1D2">
                  <a:alpha val="80000"/>
                </a:srgb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err="1">
                    <a:latin typeface="Calibri" panose="020F0502020204030204" pitchFamily="34" charset="0"/>
                    <a:cs typeface="Calibri" panose="020F0502020204030204" pitchFamily="34" charset="0"/>
                  </a:rPr>
                  <a:t>February</a:t>
                </a:r>
                <a:endParaRPr lang="de-DE" sz="1400" cap="none">
                  <a:latin typeface="Calibri" panose="020F0502020204030204" pitchFamily="34" charset="0"/>
                  <a:cs typeface="Calibri" panose="020F0502020204030204" pitchFamily="34" charset="0"/>
                </a:endParaRPr>
              </a:p>
            </p:txBody>
          </p:sp>
          <p:sp>
            <p:nvSpPr>
              <p:cNvPr id="10" name="Shape 3532">
                <a:extLst>
                  <a:ext uri="{FF2B5EF4-FFF2-40B4-BE49-F238E27FC236}">
                    <a16:creationId xmlns:a16="http://schemas.microsoft.com/office/drawing/2014/main" id="{0CAAF65E-76F6-2A43-B9EB-D5012C50B795}"/>
                  </a:ext>
                </a:extLst>
              </p:cNvPr>
              <p:cNvSpPr/>
              <p:nvPr/>
            </p:nvSpPr>
            <p:spPr>
              <a:xfrm>
                <a:off x="3586479" y="0"/>
                <a:ext cx="1524001" cy="508000"/>
              </a:xfrm>
              <a:prstGeom prst="rect">
                <a:avLst/>
              </a:prstGeom>
              <a:solidFill>
                <a:schemeClr val="accent2"/>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March</a:t>
                </a:r>
                <a:endParaRPr sz="1400">
                  <a:latin typeface="Calibri" panose="020F0502020204030204" pitchFamily="34" charset="0"/>
                  <a:cs typeface="Calibri" panose="020F0502020204030204" pitchFamily="34" charset="0"/>
                </a:endParaRPr>
              </a:p>
            </p:txBody>
          </p:sp>
          <p:sp>
            <p:nvSpPr>
              <p:cNvPr id="11" name="Shape 3533">
                <a:extLst>
                  <a:ext uri="{FF2B5EF4-FFF2-40B4-BE49-F238E27FC236}">
                    <a16:creationId xmlns:a16="http://schemas.microsoft.com/office/drawing/2014/main" id="{07E0612B-2EE4-D94B-B9D5-7C3647E11828}"/>
                  </a:ext>
                </a:extLst>
              </p:cNvPr>
              <p:cNvSpPr/>
              <p:nvPr/>
            </p:nvSpPr>
            <p:spPr>
              <a:xfrm>
                <a:off x="5379719" y="0"/>
                <a:ext cx="1524001" cy="508000"/>
              </a:xfrm>
              <a:prstGeom prst="rect">
                <a:avLst/>
              </a:prstGeom>
              <a:solidFill>
                <a:schemeClr val="accent3"/>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April</a:t>
                </a:r>
              </a:p>
            </p:txBody>
          </p:sp>
          <p:sp>
            <p:nvSpPr>
              <p:cNvPr id="12" name="Shape 3534">
                <a:extLst>
                  <a:ext uri="{FF2B5EF4-FFF2-40B4-BE49-F238E27FC236}">
                    <a16:creationId xmlns:a16="http://schemas.microsoft.com/office/drawing/2014/main" id="{A49F006A-263E-B749-84F7-45EC0200E53B}"/>
                  </a:ext>
                </a:extLst>
              </p:cNvPr>
              <p:cNvSpPr/>
              <p:nvPr/>
            </p:nvSpPr>
            <p:spPr>
              <a:xfrm>
                <a:off x="7172959" y="0"/>
                <a:ext cx="1524001" cy="508000"/>
              </a:xfrm>
              <a:prstGeom prst="rect">
                <a:avLst/>
              </a:prstGeom>
              <a:solidFill>
                <a:srgbClr val="313131">
                  <a:alpha val="80000"/>
                </a:srgb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May</a:t>
                </a:r>
              </a:p>
            </p:txBody>
          </p:sp>
          <p:sp>
            <p:nvSpPr>
              <p:cNvPr id="13" name="Shape 3535">
                <a:extLst>
                  <a:ext uri="{FF2B5EF4-FFF2-40B4-BE49-F238E27FC236}">
                    <a16:creationId xmlns:a16="http://schemas.microsoft.com/office/drawing/2014/main" id="{F74572F9-391D-914E-9B18-1442CC5747BA}"/>
                  </a:ext>
                </a:extLst>
              </p:cNvPr>
              <p:cNvSpPr/>
              <p:nvPr/>
            </p:nvSpPr>
            <p:spPr>
              <a:xfrm>
                <a:off x="8966200" y="0"/>
                <a:ext cx="1524000" cy="508000"/>
              </a:xfrm>
              <a:prstGeom prst="rect">
                <a:avLst/>
              </a:prstGeom>
              <a:solidFill>
                <a:srgbClr val="313131">
                  <a:alpha val="60000"/>
                </a:srgb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June</a:t>
                </a:r>
              </a:p>
            </p:txBody>
          </p:sp>
          <p:sp>
            <p:nvSpPr>
              <p:cNvPr id="14" name="Shape 3536">
                <a:extLst>
                  <a:ext uri="{FF2B5EF4-FFF2-40B4-BE49-F238E27FC236}">
                    <a16:creationId xmlns:a16="http://schemas.microsoft.com/office/drawing/2014/main" id="{9E60BD2D-E973-D848-94DA-2522289CF023}"/>
                  </a:ext>
                </a:extLst>
              </p:cNvPr>
              <p:cNvSpPr/>
              <p:nvPr/>
            </p:nvSpPr>
            <p:spPr>
              <a:xfrm>
                <a:off x="0" y="0"/>
                <a:ext cx="1524000" cy="508000"/>
              </a:xfrm>
              <a:prstGeom prst="rect">
                <a:avLst/>
              </a:prstGeom>
              <a:solidFill>
                <a:srgbClr val="015092"/>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err="1">
                    <a:latin typeface="Calibri" panose="020F0502020204030204" pitchFamily="34" charset="0"/>
                    <a:cs typeface="Calibri" panose="020F0502020204030204" pitchFamily="34" charset="0"/>
                  </a:rPr>
                  <a:t>January</a:t>
                </a:r>
                <a:endParaRPr sz="1400">
                  <a:latin typeface="Calibri" panose="020F0502020204030204" pitchFamily="34" charset="0"/>
                  <a:cs typeface="Calibri" panose="020F0502020204030204" pitchFamily="34" charset="0"/>
                </a:endParaRPr>
              </a:p>
            </p:txBody>
          </p:sp>
        </p:grpSp>
        <p:sp>
          <p:nvSpPr>
            <p:cNvPr id="8" name="Shape 3538">
              <a:extLst>
                <a:ext uri="{FF2B5EF4-FFF2-40B4-BE49-F238E27FC236}">
                  <a16:creationId xmlns:a16="http://schemas.microsoft.com/office/drawing/2014/main" id="{A6354215-87B2-714D-B863-6578DB1C0933}"/>
                </a:ext>
              </a:extLst>
            </p:cNvPr>
            <p:cNvSpPr/>
            <p:nvPr/>
          </p:nvSpPr>
          <p:spPr>
            <a:xfrm>
              <a:off x="608959" y="359738"/>
              <a:ext cx="493135" cy="88826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5</a:t>
              </a:r>
            </a:p>
          </p:txBody>
        </p:sp>
      </p:grpSp>
      <p:sp>
        <p:nvSpPr>
          <p:cNvPr id="20" name="Shape 3538">
            <a:extLst>
              <a:ext uri="{FF2B5EF4-FFF2-40B4-BE49-F238E27FC236}">
                <a16:creationId xmlns:a16="http://schemas.microsoft.com/office/drawing/2014/main" id="{35FD298D-674A-CC48-8F61-37BFAA2B6DB3}"/>
              </a:ext>
            </a:extLst>
          </p:cNvPr>
          <p:cNvSpPr/>
          <p:nvPr userDrawn="1"/>
        </p:nvSpPr>
        <p:spPr>
          <a:xfrm>
            <a:off x="2920857" y="3136102"/>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24</a:t>
            </a:r>
            <a:endParaRPr sz="2400">
              <a:solidFill>
                <a:srgbClr val="015092"/>
              </a:solidFill>
              <a:latin typeface="Calibri" panose="020F0502020204030204" pitchFamily="34" charset="0"/>
              <a:cs typeface="Calibri" panose="020F0502020204030204" pitchFamily="34" charset="0"/>
            </a:endParaRPr>
          </a:p>
        </p:txBody>
      </p:sp>
      <p:sp>
        <p:nvSpPr>
          <p:cNvPr id="21" name="Shape 3538">
            <a:extLst>
              <a:ext uri="{FF2B5EF4-FFF2-40B4-BE49-F238E27FC236}">
                <a16:creationId xmlns:a16="http://schemas.microsoft.com/office/drawing/2014/main" id="{7B384765-BFC7-8A40-914E-EB681AEE534B}"/>
              </a:ext>
            </a:extLst>
          </p:cNvPr>
          <p:cNvSpPr/>
          <p:nvPr userDrawn="1"/>
        </p:nvSpPr>
        <p:spPr>
          <a:xfrm>
            <a:off x="7061317" y="2606675"/>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9</a:t>
            </a:r>
            <a:endParaRPr sz="2400">
              <a:solidFill>
                <a:srgbClr val="015092"/>
              </a:solidFill>
              <a:latin typeface="Calibri" panose="020F0502020204030204" pitchFamily="34" charset="0"/>
              <a:cs typeface="Calibri" panose="020F0502020204030204" pitchFamily="34" charset="0"/>
            </a:endParaRPr>
          </a:p>
        </p:txBody>
      </p:sp>
      <p:sp>
        <p:nvSpPr>
          <p:cNvPr id="22" name="Shape 3538">
            <a:extLst>
              <a:ext uri="{FF2B5EF4-FFF2-40B4-BE49-F238E27FC236}">
                <a16:creationId xmlns:a16="http://schemas.microsoft.com/office/drawing/2014/main" id="{AE2700E5-E78F-094F-96E0-403DD94E3ECA}"/>
              </a:ext>
            </a:extLst>
          </p:cNvPr>
          <p:cNvSpPr/>
          <p:nvPr userDrawn="1"/>
        </p:nvSpPr>
        <p:spPr>
          <a:xfrm>
            <a:off x="3640937" y="5319539"/>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09</a:t>
            </a:r>
            <a:endParaRPr sz="2400">
              <a:solidFill>
                <a:srgbClr val="015092"/>
              </a:solidFill>
              <a:latin typeface="Calibri" panose="020F0502020204030204" pitchFamily="34" charset="0"/>
              <a:cs typeface="Calibri" panose="020F0502020204030204" pitchFamily="34" charset="0"/>
            </a:endParaRPr>
          </a:p>
        </p:txBody>
      </p:sp>
      <p:sp>
        <p:nvSpPr>
          <p:cNvPr id="23" name="Shape 3538">
            <a:extLst>
              <a:ext uri="{FF2B5EF4-FFF2-40B4-BE49-F238E27FC236}">
                <a16:creationId xmlns:a16="http://schemas.microsoft.com/office/drawing/2014/main" id="{D2168131-C3E9-2642-AC6A-FD9DF04C35DF}"/>
              </a:ext>
            </a:extLst>
          </p:cNvPr>
          <p:cNvSpPr/>
          <p:nvPr userDrawn="1"/>
        </p:nvSpPr>
        <p:spPr>
          <a:xfrm>
            <a:off x="5945193" y="4771926"/>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30</a:t>
            </a:r>
            <a:endParaRPr sz="2400">
              <a:solidFill>
                <a:srgbClr val="015092"/>
              </a:solidFill>
              <a:latin typeface="Calibri" panose="020F0502020204030204" pitchFamily="34" charset="0"/>
              <a:cs typeface="Calibri" panose="020F0502020204030204" pitchFamily="34" charset="0"/>
            </a:endParaRPr>
          </a:p>
        </p:txBody>
      </p:sp>
      <p:sp>
        <p:nvSpPr>
          <p:cNvPr id="24" name="Shape 3539">
            <a:extLst>
              <a:ext uri="{FF2B5EF4-FFF2-40B4-BE49-F238E27FC236}">
                <a16:creationId xmlns:a16="http://schemas.microsoft.com/office/drawing/2014/main" id="{9070C1F2-9150-574A-80C7-16A9A88CD69A}"/>
              </a:ext>
            </a:extLst>
          </p:cNvPr>
          <p:cNvSpPr/>
          <p:nvPr userDrawn="1"/>
        </p:nvSpPr>
        <p:spPr>
          <a:xfrm>
            <a:off x="2748663" y="2380866"/>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5" name="Shape 3539">
            <a:extLst>
              <a:ext uri="{FF2B5EF4-FFF2-40B4-BE49-F238E27FC236}">
                <a16:creationId xmlns:a16="http://schemas.microsoft.com/office/drawing/2014/main" id="{F165BDCC-DA70-EC46-9626-3AB83AF24553}"/>
              </a:ext>
            </a:extLst>
          </p:cNvPr>
          <p:cNvSpPr/>
          <p:nvPr userDrawn="1"/>
        </p:nvSpPr>
        <p:spPr>
          <a:xfrm>
            <a:off x="7484962" y="2622989"/>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6" name="Shape 3539">
            <a:extLst>
              <a:ext uri="{FF2B5EF4-FFF2-40B4-BE49-F238E27FC236}">
                <a16:creationId xmlns:a16="http://schemas.microsoft.com/office/drawing/2014/main" id="{79E6AE81-3957-014F-ADD0-951A098602AC}"/>
              </a:ext>
            </a:extLst>
          </p:cNvPr>
          <p:cNvSpPr/>
          <p:nvPr userDrawn="1"/>
        </p:nvSpPr>
        <p:spPr>
          <a:xfrm>
            <a:off x="3374198" y="3154499"/>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7" name="Shape 3539">
            <a:extLst>
              <a:ext uri="{FF2B5EF4-FFF2-40B4-BE49-F238E27FC236}">
                <a16:creationId xmlns:a16="http://schemas.microsoft.com/office/drawing/2014/main" id="{4CDDE768-FC4E-754B-8160-BC3805C4D230}"/>
              </a:ext>
            </a:extLst>
          </p:cNvPr>
          <p:cNvSpPr/>
          <p:nvPr userDrawn="1"/>
        </p:nvSpPr>
        <p:spPr>
          <a:xfrm>
            <a:off x="4061660" y="5339645"/>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8" name="Shape 3539">
            <a:extLst>
              <a:ext uri="{FF2B5EF4-FFF2-40B4-BE49-F238E27FC236}">
                <a16:creationId xmlns:a16="http://schemas.microsoft.com/office/drawing/2014/main" id="{FCEA35DC-17D6-1745-9FC7-F6342C85336C}"/>
              </a:ext>
            </a:extLst>
          </p:cNvPr>
          <p:cNvSpPr/>
          <p:nvPr userDrawn="1"/>
        </p:nvSpPr>
        <p:spPr>
          <a:xfrm>
            <a:off x="6359164" y="4781912"/>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Tree>
    <p:extLst>
      <p:ext uri="{BB962C8B-B14F-4D97-AF65-F5344CB8AC3E}">
        <p14:creationId xmlns:p14="http://schemas.microsoft.com/office/powerpoint/2010/main" val="1757406782"/>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5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grpSp>
        <p:nvGrpSpPr>
          <p:cNvPr id="3" name="Group 3911" title="Jahres Zeitleiste Platzhalter">
            <a:extLst>
              <a:ext uri="{FF2B5EF4-FFF2-40B4-BE49-F238E27FC236}">
                <a16:creationId xmlns:a16="http://schemas.microsoft.com/office/drawing/2014/main" id="{C9AF7415-8D2A-C940-B919-D2896ED2CC76}"/>
              </a:ext>
            </a:extLst>
          </p:cNvPr>
          <p:cNvGrpSpPr/>
          <p:nvPr userDrawn="1"/>
        </p:nvGrpSpPr>
        <p:grpSpPr>
          <a:xfrm>
            <a:off x="1811524" y="2655243"/>
            <a:ext cx="7397880" cy="2749280"/>
            <a:chOff x="93735" y="581934"/>
            <a:chExt cx="10577686" cy="3930994"/>
          </a:xfrm>
        </p:grpSpPr>
        <p:grpSp>
          <p:nvGrpSpPr>
            <p:cNvPr id="4" name="Group 3892">
              <a:extLst>
                <a:ext uri="{FF2B5EF4-FFF2-40B4-BE49-F238E27FC236}">
                  <a16:creationId xmlns:a16="http://schemas.microsoft.com/office/drawing/2014/main" id="{BF9A743B-F676-5541-B47D-C0037A53680B}"/>
                </a:ext>
              </a:extLst>
            </p:cNvPr>
            <p:cNvGrpSpPr/>
            <p:nvPr/>
          </p:nvGrpSpPr>
          <p:grpSpPr>
            <a:xfrm>
              <a:off x="636627" y="581934"/>
              <a:ext cx="10034794" cy="3930994"/>
              <a:chOff x="6131" y="477113"/>
              <a:chExt cx="10034793" cy="3930992"/>
            </a:xfrm>
          </p:grpSpPr>
          <p:sp>
            <p:nvSpPr>
              <p:cNvPr id="7" name="Shape 3882">
                <a:extLst>
                  <a:ext uri="{FF2B5EF4-FFF2-40B4-BE49-F238E27FC236}">
                    <a16:creationId xmlns:a16="http://schemas.microsoft.com/office/drawing/2014/main" id="{FB374AB2-ACB5-F24F-8D5D-4E70071227EE}"/>
                  </a:ext>
                </a:extLst>
              </p:cNvPr>
              <p:cNvSpPr/>
              <p:nvPr/>
            </p:nvSpPr>
            <p:spPr>
              <a:xfrm flipV="1">
                <a:off x="4975193" y="477113"/>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8" name="Shape 3883">
                <a:extLst>
                  <a:ext uri="{FF2B5EF4-FFF2-40B4-BE49-F238E27FC236}">
                    <a16:creationId xmlns:a16="http://schemas.microsoft.com/office/drawing/2014/main" id="{EA1CE728-B269-1C4E-9B54-82A102A50404}"/>
                  </a:ext>
                </a:extLst>
              </p:cNvPr>
              <p:cNvSpPr/>
              <p:nvPr/>
            </p:nvSpPr>
            <p:spPr>
              <a:xfrm flipV="1">
                <a:off x="6131" y="477113"/>
                <a:ext cx="1" cy="1940560"/>
              </a:xfrm>
              <a:prstGeom prst="line">
                <a:avLst/>
              </a:prstGeom>
              <a:solidFill>
                <a:srgbClr val="015092"/>
              </a:solidFill>
              <a:ln w="63500" cap="flat">
                <a:solidFill>
                  <a:srgbClr val="01509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9" name="Shape 3884">
                <a:extLst>
                  <a:ext uri="{FF2B5EF4-FFF2-40B4-BE49-F238E27FC236}">
                    <a16:creationId xmlns:a16="http://schemas.microsoft.com/office/drawing/2014/main" id="{7F9696C5-6EFA-3F44-ACCC-A640A163B09E}"/>
                  </a:ext>
                </a:extLst>
              </p:cNvPr>
              <p:cNvSpPr/>
              <p:nvPr/>
            </p:nvSpPr>
            <p:spPr>
              <a:xfrm>
                <a:off x="38737" y="2461556"/>
                <a:ext cx="9911442" cy="0"/>
              </a:xfrm>
              <a:prstGeom prst="line">
                <a:avLst/>
              </a:prstGeom>
              <a:noFill/>
              <a:ln w="63500" cap="flat">
                <a:solidFill>
                  <a:srgbClr val="313131">
                    <a:alpha val="80000"/>
                  </a:srgbClr>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0" name="Shape 3886">
                <a:extLst>
                  <a:ext uri="{FF2B5EF4-FFF2-40B4-BE49-F238E27FC236}">
                    <a16:creationId xmlns:a16="http://schemas.microsoft.com/office/drawing/2014/main" id="{9F291BB0-5EAA-9348-8F11-398FB22080F8}"/>
                  </a:ext>
                </a:extLst>
              </p:cNvPr>
              <p:cNvSpPr/>
              <p:nvPr/>
            </p:nvSpPr>
            <p:spPr>
              <a:xfrm>
                <a:off x="9850422" y="2364572"/>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1" name="Shape 3887">
                <a:extLst>
                  <a:ext uri="{FF2B5EF4-FFF2-40B4-BE49-F238E27FC236}">
                    <a16:creationId xmlns:a16="http://schemas.microsoft.com/office/drawing/2014/main" id="{BCE477E8-F7BD-0F42-9589-05CBDFAAB18A}"/>
                  </a:ext>
                </a:extLst>
              </p:cNvPr>
              <p:cNvSpPr/>
              <p:nvPr/>
            </p:nvSpPr>
            <p:spPr>
              <a:xfrm>
                <a:off x="2411544" y="2368317"/>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2" name="Shape 3888">
                <a:extLst>
                  <a:ext uri="{FF2B5EF4-FFF2-40B4-BE49-F238E27FC236}">
                    <a16:creationId xmlns:a16="http://schemas.microsoft.com/office/drawing/2014/main" id="{7429753A-3C9E-B84B-BE29-D4FB586DA37E}"/>
                  </a:ext>
                </a:extLst>
              </p:cNvPr>
              <p:cNvSpPr/>
              <p:nvPr/>
            </p:nvSpPr>
            <p:spPr>
              <a:xfrm>
                <a:off x="4883584" y="2368318"/>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3" name="Shape 3889">
                <a:extLst>
                  <a:ext uri="{FF2B5EF4-FFF2-40B4-BE49-F238E27FC236}">
                    <a16:creationId xmlns:a16="http://schemas.microsoft.com/office/drawing/2014/main" id="{01F5BD46-1837-2445-81BC-19FA29B81F17}"/>
                  </a:ext>
                </a:extLst>
              </p:cNvPr>
              <p:cNvSpPr/>
              <p:nvPr/>
            </p:nvSpPr>
            <p:spPr>
              <a:xfrm>
                <a:off x="7368877" y="2368318"/>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4" name="Shape 3890">
                <a:extLst>
                  <a:ext uri="{FF2B5EF4-FFF2-40B4-BE49-F238E27FC236}">
                    <a16:creationId xmlns:a16="http://schemas.microsoft.com/office/drawing/2014/main" id="{38B19469-B9A6-8940-8470-7A36199769F8}"/>
                  </a:ext>
                </a:extLst>
              </p:cNvPr>
              <p:cNvSpPr/>
              <p:nvPr/>
            </p:nvSpPr>
            <p:spPr>
              <a:xfrm flipV="1">
                <a:off x="7451364" y="2463799"/>
                <a:ext cx="1" cy="1940560"/>
              </a:xfrm>
              <a:prstGeom prst="line">
                <a:avLst/>
              </a:prstGeom>
              <a:noFill/>
              <a:ln w="63500" cap="flat">
                <a:solidFill>
                  <a:srgbClr val="313131">
                    <a:alpha val="60000"/>
                  </a:srgbClr>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5" name="Shape 3891">
                <a:extLst>
                  <a:ext uri="{FF2B5EF4-FFF2-40B4-BE49-F238E27FC236}">
                    <a16:creationId xmlns:a16="http://schemas.microsoft.com/office/drawing/2014/main" id="{117DD6A9-A883-E544-9621-C8501B30B3B4}"/>
                  </a:ext>
                </a:extLst>
              </p:cNvPr>
              <p:cNvSpPr/>
              <p:nvPr/>
            </p:nvSpPr>
            <p:spPr>
              <a:xfrm flipV="1">
                <a:off x="2498616" y="2467545"/>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grpSp>
        <p:sp>
          <p:nvSpPr>
            <p:cNvPr id="6" name="Shape 3904">
              <a:extLst>
                <a:ext uri="{FF2B5EF4-FFF2-40B4-BE49-F238E27FC236}">
                  <a16:creationId xmlns:a16="http://schemas.microsoft.com/office/drawing/2014/main" id="{97E1DA5A-D2AC-CD4A-94FA-4070AD6EB5B4}"/>
                </a:ext>
              </a:extLst>
            </p:cNvPr>
            <p:cNvSpPr/>
            <p:nvPr/>
          </p:nvSpPr>
          <p:spPr>
            <a:xfrm>
              <a:off x="93735" y="1997149"/>
              <a:ext cx="1116503" cy="1116503"/>
            </a:xfrm>
            <a:prstGeom prst="ellipse">
              <a:avLst/>
            </a:prstGeom>
            <a:solidFill>
              <a:srgbClr val="015092"/>
            </a:solidFill>
            <a:ln w="12700" cap="flat">
              <a:solidFill>
                <a:srgbClr val="015092"/>
              </a:solid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algn="ctr"/>
              <a:r>
                <a:rPr sz="1400" b="1">
                  <a:latin typeface="Calibri" panose="020F0502020204030204" pitchFamily="34" charset="0"/>
                  <a:cs typeface="Calibri" panose="020F0502020204030204" pitchFamily="34" charset="0"/>
                </a:rPr>
                <a:t>Start</a:t>
              </a:r>
            </a:p>
          </p:txBody>
        </p:sp>
      </p:grpSp>
      <p:sp>
        <p:nvSpPr>
          <p:cNvPr id="16" name="Shape 3899">
            <a:extLst>
              <a:ext uri="{FF2B5EF4-FFF2-40B4-BE49-F238E27FC236}">
                <a16:creationId xmlns:a16="http://schemas.microsoft.com/office/drawing/2014/main" id="{1C04B757-37FD-8344-9AF0-04B08289508A}"/>
              </a:ext>
            </a:extLst>
          </p:cNvPr>
          <p:cNvSpPr/>
          <p:nvPr userDrawn="1"/>
        </p:nvSpPr>
        <p:spPr>
          <a:xfrm>
            <a:off x="5500456" y="4177891"/>
            <a:ext cx="555807"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19</a:t>
            </a:r>
            <a:endParaRPr sz="1400" b="1">
              <a:solidFill>
                <a:srgbClr val="313131"/>
              </a:solidFill>
              <a:latin typeface="Calibri" panose="020F0502020204030204" pitchFamily="34" charset="0"/>
              <a:cs typeface="Calibri" panose="020F0502020204030204" pitchFamily="34" charset="0"/>
            </a:endParaRPr>
          </a:p>
        </p:txBody>
      </p:sp>
      <p:sp>
        <p:nvSpPr>
          <p:cNvPr id="17" name="Shape 3899">
            <a:extLst>
              <a:ext uri="{FF2B5EF4-FFF2-40B4-BE49-F238E27FC236}">
                <a16:creationId xmlns:a16="http://schemas.microsoft.com/office/drawing/2014/main" id="{68276EE8-CA57-2346-9CCF-A025AFF6855B}"/>
              </a:ext>
            </a:extLst>
          </p:cNvPr>
          <p:cNvSpPr/>
          <p:nvPr userDrawn="1"/>
        </p:nvSpPr>
        <p:spPr>
          <a:xfrm>
            <a:off x="8958826" y="4177891"/>
            <a:ext cx="488973"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21</a:t>
            </a:r>
            <a:endParaRPr sz="1400" b="1">
              <a:solidFill>
                <a:srgbClr val="313131"/>
              </a:solidFill>
              <a:latin typeface="Calibri" panose="020F0502020204030204" pitchFamily="34" charset="0"/>
              <a:cs typeface="Calibri" panose="020F0502020204030204" pitchFamily="34" charset="0"/>
            </a:endParaRPr>
          </a:p>
        </p:txBody>
      </p:sp>
      <p:sp>
        <p:nvSpPr>
          <p:cNvPr id="18" name="Shape 3899">
            <a:extLst>
              <a:ext uri="{FF2B5EF4-FFF2-40B4-BE49-F238E27FC236}">
                <a16:creationId xmlns:a16="http://schemas.microsoft.com/office/drawing/2014/main" id="{23DE72D4-878E-2144-A9D3-A42389C2E721}"/>
              </a:ext>
            </a:extLst>
          </p:cNvPr>
          <p:cNvSpPr/>
          <p:nvPr userDrawn="1"/>
        </p:nvSpPr>
        <p:spPr>
          <a:xfrm>
            <a:off x="3746385" y="3735364"/>
            <a:ext cx="549411"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18</a:t>
            </a:r>
            <a:endParaRPr sz="1400" b="1">
              <a:solidFill>
                <a:srgbClr val="313131"/>
              </a:solidFill>
              <a:latin typeface="Calibri" panose="020F0502020204030204" pitchFamily="34" charset="0"/>
              <a:cs typeface="Calibri" panose="020F0502020204030204" pitchFamily="34" charset="0"/>
            </a:endParaRPr>
          </a:p>
        </p:txBody>
      </p:sp>
      <p:sp>
        <p:nvSpPr>
          <p:cNvPr id="19" name="Shape 3899">
            <a:extLst>
              <a:ext uri="{FF2B5EF4-FFF2-40B4-BE49-F238E27FC236}">
                <a16:creationId xmlns:a16="http://schemas.microsoft.com/office/drawing/2014/main" id="{6FE0A369-2E74-4C41-9332-CEA1A3F8CAA5}"/>
              </a:ext>
            </a:extLst>
          </p:cNvPr>
          <p:cNvSpPr/>
          <p:nvPr userDrawn="1"/>
        </p:nvSpPr>
        <p:spPr>
          <a:xfrm>
            <a:off x="7204755" y="3735364"/>
            <a:ext cx="566327"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en-US" sz="1400" b="1">
                <a:solidFill>
                  <a:srgbClr val="313131"/>
                </a:solidFill>
                <a:latin typeface="Calibri" panose="020F0502020204030204" pitchFamily="34" charset="0"/>
                <a:cs typeface="Calibri" panose="020F0502020204030204" pitchFamily="34" charset="0"/>
              </a:rPr>
              <a:t>20</a:t>
            </a:r>
            <a:endParaRPr sz="1400" b="1">
              <a:solidFill>
                <a:srgbClr val="313131"/>
              </a:solidFill>
              <a:latin typeface="Calibri" panose="020F0502020204030204" pitchFamily="34" charset="0"/>
              <a:cs typeface="Calibri" panose="020F0502020204030204" pitchFamily="34" charset="0"/>
            </a:endParaRPr>
          </a:p>
        </p:txBody>
      </p:sp>
      <p:sp>
        <p:nvSpPr>
          <p:cNvPr id="20" name="Shape 3538">
            <a:extLst>
              <a:ext uri="{FF2B5EF4-FFF2-40B4-BE49-F238E27FC236}">
                <a16:creationId xmlns:a16="http://schemas.microsoft.com/office/drawing/2014/main" id="{6218F089-DA01-8A49-B7EB-18202B0E694E}"/>
              </a:ext>
            </a:extLst>
          </p:cNvPr>
          <p:cNvSpPr/>
          <p:nvPr userDrawn="1"/>
        </p:nvSpPr>
        <p:spPr>
          <a:xfrm>
            <a:off x="5819509" y="2475684"/>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1</a:t>
            </a:r>
            <a:endParaRPr sz="2400">
              <a:solidFill>
                <a:srgbClr val="015092"/>
              </a:solidFill>
              <a:latin typeface="Calibri" panose="020F0502020204030204" pitchFamily="34" charset="0"/>
              <a:cs typeface="Calibri" panose="020F0502020204030204" pitchFamily="34" charset="0"/>
            </a:endParaRPr>
          </a:p>
        </p:txBody>
      </p:sp>
      <p:sp>
        <p:nvSpPr>
          <p:cNvPr id="21" name="Shape 3538">
            <a:extLst>
              <a:ext uri="{FF2B5EF4-FFF2-40B4-BE49-F238E27FC236}">
                <a16:creationId xmlns:a16="http://schemas.microsoft.com/office/drawing/2014/main" id="{3ACB3470-0EB9-4B42-869A-F6D9D2389C11}"/>
              </a:ext>
            </a:extLst>
          </p:cNvPr>
          <p:cNvSpPr/>
          <p:nvPr userDrawn="1"/>
        </p:nvSpPr>
        <p:spPr>
          <a:xfrm>
            <a:off x="4055313" y="5103515"/>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a:t>
            </a:r>
            <a:r>
              <a:rPr lang="de-DE" sz="2400">
                <a:solidFill>
                  <a:srgbClr val="015092"/>
                </a:solidFill>
                <a:latin typeface="Calibri" panose="020F0502020204030204" pitchFamily="34" charset="0"/>
                <a:cs typeface="Calibri" panose="020F0502020204030204" pitchFamily="34" charset="0"/>
              </a:rPr>
              <a:t>9</a:t>
            </a:r>
            <a:endParaRPr sz="2400">
              <a:solidFill>
                <a:srgbClr val="015092"/>
              </a:solidFill>
              <a:latin typeface="Calibri" panose="020F0502020204030204" pitchFamily="34" charset="0"/>
              <a:cs typeface="Calibri" panose="020F0502020204030204" pitchFamily="34" charset="0"/>
            </a:endParaRPr>
          </a:p>
        </p:txBody>
      </p:sp>
      <p:sp>
        <p:nvSpPr>
          <p:cNvPr id="22" name="Shape 3538">
            <a:extLst>
              <a:ext uri="{FF2B5EF4-FFF2-40B4-BE49-F238E27FC236}">
                <a16:creationId xmlns:a16="http://schemas.microsoft.com/office/drawing/2014/main" id="{BD2E93CF-7EB0-1D44-8FE8-B42CB15F1E38}"/>
              </a:ext>
            </a:extLst>
          </p:cNvPr>
          <p:cNvSpPr/>
          <p:nvPr userDrawn="1"/>
        </p:nvSpPr>
        <p:spPr>
          <a:xfrm>
            <a:off x="7547701" y="5103515"/>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2</a:t>
            </a:r>
            <a:endParaRPr sz="2400">
              <a:solidFill>
                <a:srgbClr val="015092"/>
              </a:solidFill>
              <a:latin typeface="Calibri" panose="020F0502020204030204" pitchFamily="34" charset="0"/>
              <a:cs typeface="Calibri" panose="020F0502020204030204" pitchFamily="34" charset="0"/>
            </a:endParaRPr>
          </a:p>
        </p:txBody>
      </p:sp>
      <p:sp>
        <p:nvSpPr>
          <p:cNvPr id="23" name="Shape 3538">
            <a:extLst>
              <a:ext uri="{FF2B5EF4-FFF2-40B4-BE49-F238E27FC236}">
                <a16:creationId xmlns:a16="http://schemas.microsoft.com/office/drawing/2014/main" id="{1CA058CB-FB2E-7B41-9FC5-4261D2748707}"/>
              </a:ext>
            </a:extLst>
          </p:cNvPr>
          <p:cNvSpPr/>
          <p:nvPr userDrawn="1"/>
        </p:nvSpPr>
        <p:spPr>
          <a:xfrm>
            <a:off x="2308791" y="2475684"/>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5</a:t>
            </a:r>
          </a:p>
        </p:txBody>
      </p:sp>
      <p:sp>
        <p:nvSpPr>
          <p:cNvPr id="24" name="Shape 3539">
            <a:extLst>
              <a:ext uri="{FF2B5EF4-FFF2-40B4-BE49-F238E27FC236}">
                <a16:creationId xmlns:a16="http://schemas.microsoft.com/office/drawing/2014/main" id="{9FFAAAAB-BD81-254B-BB85-D3B92CADBECE}"/>
              </a:ext>
            </a:extLst>
          </p:cNvPr>
          <p:cNvSpPr/>
          <p:nvPr userDrawn="1"/>
        </p:nvSpPr>
        <p:spPr>
          <a:xfrm>
            <a:off x="2727791" y="2465838"/>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5" name="Inhaltsplatzhalter 1">
            <a:extLst>
              <a:ext uri="{FF2B5EF4-FFF2-40B4-BE49-F238E27FC236}">
                <a16:creationId xmlns:a16="http://schemas.microsoft.com/office/drawing/2014/main" id="{A948F616-4F52-274D-9802-62F7B100D2E0}"/>
              </a:ext>
            </a:extLst>
          </p:cNvPr>
          <p:cNvSpPr>
            <a:spLocks noGrp="1"/>
          </p:cNvSpPr>
          <p:nvPr>
            <p:ph idx="1"/>
          </p:nvPr>
        </p:nvSpPr>
        <p:spPr>
          <a:xfrm>
            <a:off x="383051" y="801295"/>
            <a:ext cx="11617325" cy="698184"/>
          </a:xfrm>
        </p:spPr>
        <p:txBody>
          <a:bodyPr>
            <a:normAutofit/>
          </a:bodyPr>
          <a:lstStyle/>
          <a:p>
            <a:r>
              <a:rPr lang="de-DE" b="1">
                <a:solidFill>
                  <a:srgbClr val="0F218B"/>
                </a:solidFill>
              </a:rPr>
              <a:t>Headline 3 – Edit </a:t>
            </a:r>
            <a:r>
              <a:rPr lang="de-DE" b="1" err="1">
                <a:solidFill>
                  <a:srgbClr val="0F218B"/>
                </a:solidFill>
              </a:rPr>
              <a:t>text</a:t>
            </a:r>
            <a:r>
              <a:rPr lang="de-DE" b="1">
                <a:solidFill>
                  <a:srgbClr val="0F218B"/>
                </a:solidFill>
              </a:rPr>
              <a:t> </a:t>
            </a:r>
            <a:r>
              <a:rPr lang="de-DE" b="1" err="1">
                <a:solidFill>
                  <a:srgbClr val="0F218B"/>
                </a:solidFill>
              </a:rPr>
              <a:t>here</a:t>
            </a:r>
            <a:r>
              <a:rPr lang="de-DE" b="1">
                <a:solidFill>
                  <a:srgbClr val="0F218B"/>
                </a:solidFill>
              </a:rPr>
              <a:t>.</a:t>
            </a:r>
            <a:endParaRPr lang="de-DE" b="1" i="1">
              <a:solidFill>
                <a:srgbClr val="0F218B"/>
              </a:solidFill>
            </a:endParaRPr>
          </a:p>
        </p:txBody>
      </p:sp>
      <p:sp>
        <p:nvSpPr>
          <p:cNvPr id="26" name="Shape 3539">
            <a:extLst>
              <a:ext uri="{FF2B5EF4-FFF2-40B4-BE49-F238E27FC236}">
                <a16:creationId xmlns:a16="http://schemas.microsoft.com/office/drawing/2014/main" id="{32B242B5-D413-7245-BEA1-FE249884F79E}"/>
              </a:ext>
            </a:extLst>
          </p:cNvPr>
          <p:cNvSpPr/>
          <p:nvPr userDrawn="1"/>
        </p:nvSpPr>
        <p:spPr>
          <a:xfrm>
            <a:off x="6188917" y="2443752"/>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7" name="Shape 3539">
            <a:extLst>
              <a:ext uri="{FF2B5EF4-FFF2-40B4-BE49-F238E27FC236}">
                <a16:creationId xmlns:a16="http://schemas.microsoft.com/office/drawing/2014/main" id="{44E594EA-C5DC-8D44-884B-A44AA0741311}"/>
              </a:ext>
            </a:extLst>
          </p:cNvPr>
          <p:cNvSpPr/>
          <p:nvPr userDrawn="1"/>
        </p:nvSpPr>
        <p:spPr>
          <a:xfrm>
            <a:off x="4501613" y="5134372"/>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8" name="Shape 3539">
            <a:extLst>
              <a:ext uri="{FF2B5EF4-FFF2-40B4-BE49-F238E27FC236}">
                <a16:creationId xmlns:a16="http://schemas.microsoft.com/office/drawing/2014/main" id="{6F33F5F3-AC6F-7047-9582-A2C841E188AD}"/>
              </a:ext>
            </a:extLst>
          </p:cNvPr>
          <p:cNvSpPr/>
          <p:nvPr userDrawn="1"/>
        </p:nvSpPr>
        <p:spPr>
          <a:xfrm>
            <a:off x="7962739" y="5112286"/>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Tree>
    <p:extLst>
      <p:ext uri="{BB962C8B-B14F-4D97-AF65-F5344CB8AC3E}">
        <p14:creationId xmlns:p14="http://schemas.microsoft.com/office/powerpoint/2010/main" val="151859979"/>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6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0">
            <a:extLst>
              <a:ext uri="{FF2B5EF4-FFF2-40B4-BE49-F238E27FC236}">
                <a16:creationId xmlns:a16="http://schemas.microsoft.com/office/drawing/2014/main" id="{E54CE07E-D134-8945-B928-3A2AD7482FB9}"/>
              </a:ext>
            </a:extLst>
          </p:cNvPr>
          <p:cNvSpPr>
            <a:spLocks noGrp="1"/>
          </p:cNvSpPr>
          <p:nvPr>
            <p:ph idx="1"/>
          </p:nvPr>
        </p:nvSpPr>
        <p:spPr>
          <a:xfrm>
            <a:off x="388159" y="820513"/>
            <a:ext cx="11606646" cy="698594"/>
          </a:xfrm>
        </p:spPr>
        <p:txBody>
          <a:bodyPr>
            <a:normAutofit/>
          </a:bodyPr>
          <a:lstStyle/>
          <a:p>
            <a:r>
              <a:rPr lang="de-DE">
                <a:solidFill>
                  <a:srgbClr val="0F218B"/>
                </a:solidFill>
              </a:rPr>
              <a:t>Headline 3 – These SmartArt </a:t>
            </a:r>
            <a:r>
              <a:rPr lang="de-DE" err="1">
                <a:solidFill>
                  <a:srgbClr val="0F218B"/>
                </a:solidFill>
              </a:rPr>
              <a:t>charts</a:t>
            </a:r>
            <a:r>
              <a:rPr lang="de-DE">
                <a:solidFill>
                  <a:srgbClr val="0F218B"/>
                </a:solidFill>
              </a:rPr>
              <a:t> </a:t>
            </a:r>
            <a:r>
              <a:rPr lang="de-DE" err="1">
                <a:solidFill>
                  <a:srgbClr val="0F218B"/>
                </a:solidFill>
              </a:rPr>
              <a:t>can</a:t>
            </a:r>
            <a:r>
              <a:rPr lang="de-DE">
                <a:solidFill>
                  <a:srgbClr val="0F218B"/>
                </a:solidFill>
              </a:rPr>
              <a:t> </a:t>
            </a:r>
            <a:r>
              <a:rPr lang="de-DE" err="1">
                <a:solidFill>
                  <a:srgbClr val="0F218B"/>
                </a:solidFill>
              </a:rPr>
              <a:t>be</a:t>
            </a:r>
            <a:r>
              <a:rPr lang="de-DE">
                <a:solidFill>
                  <a:srgbClr val="0F218B"/>
                </a:solidFill>
              </a:rPr>
              <a:t> </a:t>
            </a:r>
            <a:r>
              <a:rPr lang="de-DE" err="1">
                <a:solidFill>
                  <a:srgbClr val="0F218B"/>
                </a:solidFill>
              </a:rPr>
              <a:t>edited</a:t>
            </a:r>
            <a:r>
              <a:rPr lang="de-DE">
                <a:solidFill>
                  <a:srgbClr val="0F218B"/>
                </a:solidFill>
              </a:rPr>
              <a:t> </a:t>
            </a:r>
            <a:r>
              <a:rPr lang="de-DE" err="1">
                <a:solidFill>
                  <a:srgbClr val="0F218B"/>
                </a:solidFill>
              </a:rPr>
              <a:t>directly</a:t>
            </a:r>
            <a:r>
              <a:rPr lang="de-DE">
                <a:solidFill>
                  <a:srgbClr val="0F218B"/>
                </a:solidFill>
              </a:rPr>
              <a:t> </a:t>
            </a:r>
            <a:r>
              <a:rPr lang="de-DE" err="1">
                <a:solidFill>
                  <a:srgbClr val="0F218B"/>
                </a:solidFill>
              </a:rPr>
              <a:t>by</a:t>
            </a:r>
            <a:r>
              <a:rPr lang="de-DE">
                <a:solidFill>
                  <a:srgbClr val="0F218B"/>
                </a:solidFill>
              </a:rPr>
              <a:t> </a:t>
            </a:r>
            <a:r>
              <a:rPr lang="de-DE" err="1">
                <a:solidFill>
                  <a:srgbClr val="0F218B"/>
                </a:solidFill>
              </a:rPr>
              <a:t>clicking</a:t>
            </a:r>
            <a:r>
              <a:rPr lang="de-DE">
                <a:solidFill>
                  <a:srgbClr val="0F218B"/>
                </a:solidFill>
              </a:rPr>
              <a:t> in </a:t>
            </a:r>
            <a:r>
              <a:rPr lang="de-DE" err="1">
                <a:solidFill>
                  <a:srgbClr val="0F218B"/>
                </a:solidFill>
              </a:rPr>
              <a:t>the</a:t>
            </a:r>
            <a:r>
              <a:rPr lang="de-DE">
                <a:solidFill>
                  <a:srgbClr val="0F218B"/>
                </a:solidFill>
              </a:rPr>
              <a:t> </a:t>
            </a:r>
            <a:r>
              <a:rPr lang="de-DE" err="1">
                <a:solidFill>
                  <a:srgbClr val="0F218B"/>
                </a:solidFill>
              </a:rPr>
              <a:t>elements</a:t>
            </a:r>
            <a:r>
              <a:rPr lang="de-DE">
                <a:solidFill>
                  <a:srgbClr val="0F218B"/>
                </a:solidFill>
              </a:rPr>
              <a:t>, </a:t>
            </a:r>
            <a:r>
              <a:rPr lang="de-DE" err="1">
                <a:solidFill>
                  <a:srgbClr val="0F218B"/>
                </a:solidFill>
              </a:rPr>
              <a:t>then</a:t>
            </a:r>
            <a:r>
              <a:rPr lang="de-DE">
                <a:solidFill>
                  <a:srgbClr val="0F218B"/>
                </a:solidFill>
              </a:rPr>
              <a:t> on SmartArt-Tools</a:t>
            </a:r>
          </a:p>
        </p:txBody>
      </p:sp>
      <p:graphicFrame>
        <p:nvGraphicFramePr>
          <p:cNvPr id="4" name="Diagramm 4" title="SmartArt-Grafik Platzhalter">
            <a:extLst>
              <a:ext uri="{FF2B5EF4-FFF2-40B4-BE49-F238E27FC236}">
                <a16:creationId xmlns:a16="http://schemas.microsoft.com/office/drawing/2014/main" id="{3D20D492-DCEB-1548-9F8A-4D5C573DEF13}"/>
              </a:ext>
            </a:extLst>
          </p:cNvPr>
          <p:cNvGraphicFramePr/>
          <p:nvPr userDrawn="1">
            <p:extLst>
              <p:ext uri="{D42A27DB-BD31-4B8C-83A1-F6EECF244321}">
                <p14:modId xmlns:p14="http://schemas.microsoft.com/office/powerpoint/2010/main" val="4051202203"/>
              </p:ext>
            </p:extLst>
          </p:nvPr>
        </p:nvGraphicFramePr>
        <p:xfrm>
          <a:off x="382588" y="2384884"/>
          <a:ext cx="11522075" cy="30598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518988912"/>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9_ENTSO-E Thank you slide">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495600" y="2780928"/>
            <a:ext cx="11617788" cy="936104"/>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err="1"/>
              <a:t>Thank</a:t>
            </a:r>
            <a:r>
              <a:rPr lang="de-DE"/>
              <a:t> </a:t>
            </a:r>
            <a:r>
              <a:rPr lang="de-DE" err="1"/>
              <a:t>you</a:t>
            </a:r>
            <a:r>
              <a:rPr lang="de-DE"/>
              <a:t> </a:t>
            </a:r>
            <a:r>
              <a:rPr lang="de-DE" err="1"/>
              <a:t>very</a:t>
            </a:r>
            <a:r>
              <a:rPr lang="de-DE"/>
              <a:t> </a:t>
            </a:r>
            <a:r>
              <a:rPr lang="de-DE" err="1"/>
              <a:t>much</a:t>
            </a:r>
            <a:r>
              <a:rPr lang="de-DE"/>
              <a:t> </a:t>
            </a:r>
            <a:r>
              <a:rPr lang="de-DE" err="1"/>
              <a:t>for</a:t>
            </a:r>
            <a:r>
              <a:rPr lang="de-DE"/>
              <a:t> </a:t>
            </a:r>
            <a:r>
              <a:rPr lang="de-DE" err="1"/>
              <a:t>your</a:t>
            </a:r>
            <a:r>
              <a:rPr lang="de-DE"/>
              <a:t> </a:t>
            </a:r>
            <a:r>
              <a:rPr lang="de-DE" err="1"/>
              <a:t>attention</a:t>
            </a:r>
            <a:r>
              <a:rPr lang="de-DE"/>
              <a:t> </a:t>
            </a:r>
          </a:p>
        </p:txBody>
      </p:sp>
    </p:spTree>
    <p:extLst>
      <p:ext uri="{BB962C8B-B14F-4D97-AF65-F5344CB8AC3E}">
        <p14:creationId xmlns:p14="http://schemas.microsoft.com/office/powerpoint/2010/main" val="3605254841"/>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0_ENTSO-E Thank you slide_value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382588" y="134634"/>
            <a:ext cx="11426825" cy="936104"/>
          </a:xfrm>
          <a:prstGeom prst="rect">
            <a:avLst/>
          </a:prstGeom>
          <a:ln>
            <a:noFill/>
          </a:ln>
        </p:spPr>
        <p:txBody>
          <a:bodyPr anchor="ctr"/>
          <a:lstStyle>
            <a:lvl1pPr algn="ct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err="1"/>
              <a:t>Thank</a:t>
            </a:r>
            <a:r>
              <a:rPr lang="de-DE"/>
              <a:t> </a:t>
            </a:r>
            <a:r>
              <a:rPr lang="de-DE" err="1"/>
              <a:t>you</a:t>
            </a:r>
            <a:r>
              <a:rPr lang="de-DE"/>
              <a:t> </a:t>
            </a:r>
            <a:r>
              <a:rPr lang="de-DE" err="1"/>
              <a:t>very</a:t>
            </a:r>
            <a:r>
              <a:rPr lang="de-DE"/>
              <a:t> </a:t>
            </a:r>
            <a:r>
              <a:rPr lang="de-DE" err="1"/>
              <a:t>much</a:t>
            </a:r>
            <a:r>
              <a:rPr lang="de-DE"/>
              <a:t> </a:t>
            </a:r>
            <a:r>
              <a:rPr lang="de-DE" err="1"/>
              <a:t>for</a:t>
            </a:r>
            <a:r>
              <a:rPr lang="de-DE"/>
              <a:t> </a:t>
            </a:r>
            <a:r>
              <a:rPr lang="de-DE" err="1"/>
              <a:t>your</a:t>
            </a:r>
            <a:r>
              <a:rPr lang="de-DE"/>
              <a:t> </a:t>
            </a:r>
            <a:r>
              <a:rPr lang="de-DE" err="1"/>
              <a:t>attention</a:t>
            </a:r>
            <a:r>
              <a:rPr lang="de-DE"/>
              <a:t> </a:t>
            </a:r>
          </a:p>
        </p:txBody>
      </p:sp>
      <p:sp>
        <p:nvSpPr>
          <p:cNvPr id="3" name="Title 1">
            <a:extLst>
              <a:ext uri="{FF2B5EF4-FFF2-40B4-BE49-F238E27FC236}">
                <a16:creationId xmlns:a16="http://schemas.microsoft.com/office/drawing/2014/main" id="{8D053C00-E906-E444-8E28-BAE1FF9E76D0}"/>
              </a:ext>
            </a:extLst>
          </p:cNvPr>
          <p:cNvSpPr txBox="1">
            <a:spLocks/>
          </p:cNvSpPr>
          <p:nvPr userDrawn="1"/>
        </p:nvSpPr>
        <p:spPr>
          <a:xfrm>
            <a:off x="382587" y="1186850"/>
            <a:ext cx="11426825" cy="6318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0">
                <a:solidFill>
                  <a:schemeClr val="tx1">
                    <a:lumMod val="50000"/>
                  </a:schemeClr>
                </a:solidFill>
                <a:effectLst/>
                <a:latin typeface="Calibri" panose="020F0502020204030204" pitchFamily="34" charset="0"/>
                <a:cs typeface="Calibri" panose="020F0502020204030204" pitchFamily="34" charset="0"/>
              </a:rPr>
              <a:t>Our values define who we are, what we stand for and how we behave.</a:t>
            </a:r>
          </a:p>
          <a:p>
            <a:pPr algn="ctr"/>
            <a:r>
              <a:rPr lang="en-IE" sz="1800" b="0">
                <a:solidFill>
                  <a:schemeClr val="tx1">
                    <a:lumMod val="50000"/>
                  </a:schemeClr>
                </a:solidFill>
                <a:effectLst/>
                <a:latin typeface="Calibri" panose="020F0502020204030204" pitchFamily="34" charset="0"/>
                <a:cs typeface="Calibri" panose="020F0502020204030204" pitchFamily="34" charset="0"/>
              </a:rPr>
              <a:t>We all play a part in bringing them to life</a:t>
            </a:r>
            <a:r>
              <a:rPr lang="en-IE" sz="2000" b="0">
                <a:solidFill>
                  <a:schemeClr val="tx1">
                    <a:lumMod val="50000"/>
                  </a:schemeClr>
                </a:solidFill>
                <a:effectLst/>
                <a:latin typeface="Calibri" panose="020F0502020204030204" pitchFamily="34" charset="0"/>
                <a:cs typeface="Calibri" panose="020F0502020204030204" pitchFamily="34" charset="0"/>
              </a:rPr>
              <a:t>.</a:t>
            </a:r>
          </a:p>
          <a:p>
            <a:pPr algn="ctr"/>
            <a:r>
              <a:rPr lang="en-IE" sz="2000" b="0">
                <a:solidFill>
                  <a:schemeClr val="tx1">
                    <a:lumMod val="50000"/>
                  </a:schemeClr>
                </a:solidFill>
                <a:effectLst/>
                <a:latin typeface="Calibri" panose="020F0502020204030204" pitchFamily="34" charset="0"/>
                <a:cs typeface="Calibri" panose="020F0502020204030204" pitchFamily="34" charset="0"/>
              </a:rPr>
              <a:t> </a:t>
            </a:r>
            <a:endParaRPr lang="en-IE" sz="1050" b="0">
              <a:solidFill>
                <a:schemeClr val="tx1">
                  <a:lumMod val="50000"/>
                </a:schemeClr>
              </a:solidFill>
              <a:effectLst/>
              <a:latin typeface="Calibri" panose="020F0502020204030204" pitchFamily="34" charset="0"/>
              <a:cs typeface="Calibri" panose="020F0502020204030204" pitchFamily="34" charset="0"/>
            </a:endParaRPr>
          </a:p>
        </p:txBody>
      </p:sp>
      <p:sp>
        <p:nvSpPr>
          <p:cNvPr id="5" name="Titel 5">
            <a:extLst>
              <a:ext uri="{FF2B5EF4-FFF2-40B4-BE49-F238E27FC236}">
                <a16:creationId xmlns:a16="http://schemas.microsoft.com/office/drawing/2014/main" id="{7550E8E7-BAB3-40B9-AB4C-F3ABA9592AFF}"/>
              </a:ext>
            </a:extLst>
          </p:cNvPr>
          <p:cNvSpPr txBox="1">
            <a:spLocks/>
          </p:cNvSpPr>
          <p:nvPr userDrawn="1"/>
        </p:nvSpPr>
        <p:spPr>
          <a:xfrm>
            <a:off x="286875" y="5533432"/>
            <a:ext cx="11617788" cy="631871"/>
          </a:xfrm>
          <a:prstGeom prst="rect">
            <a:avLst/>
          </a:prstGeom>
          <a:ln>
            <a:noFill/>
          </a:ln>
        </p:spPr>
        <p:txBody>
          <a:bodyPr anchor="ctr"/>
          <a:lstStyle>
            <a:lvl1pPr algn="ctr" defTabSz="914400" rtl="0" eaLnBrk="1" latinLnBrk="0" hangingPunct="1">
              <a:lnSpc>
                <a:spcPts val="3200"/>
              </a:lnSpc>
              <a:spcBef>
                <a:spcPct val="0"/>
              </a:spcBef>
              <a:buNone/>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US"/>
              <a:t>We are ENTSO-E</a:t>
            </a:r>
          </a:p>
        </p:txBody>
      </p:sp>
      <p:sp>
        <p:nvSpPr>
          <p:cNvPr id="6" name="Title 1">
            <a:extLst>
              <a:ext uri="{FF2B5EF4-FFF2-40B4-BE49-F238E27FC236}">
                <a16:creationId xmlns:a16="http://schemas.microsoft.com/office/drawing/2014/main" id="{70B34F4F-2938-408E-99E5-B9481D786209}"/>
              </a:ext>
            </a:extLst>
          </p:cNvPr>
          <p:cNvSpPr txBox="1">
            <a:spLocks/>
          </p:cNvSpPr>
          <p:nvPr userDrawn="1"/>
        </p:nvSpPr>
        <p:spPr>
          <a:xfrm>
            <a:off x="1201008"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deliver to the highest standards. We provide an environment in which people can develop to their full potential.</a:t>
            </a:r>
          </a:p>
        </p:txBody>
      </p:sp>
      <p:sp>
        <p:nvSpPr>
          <p:cNvPr id="7" name="Title 1">
            <a:extLst>
              <a:ext uri="{FF2B5EF4-FFF2-40B4-BE49-F238E27FC236}">
                <a16:creationId xmlns:a16="http://schemas.microsoft.com/office/drawing/2014/main" id="{81A3B0E4-3084-4984-B778-6DEE61707D69}"/>
              </a:ext>
            </a:extLst>
          </p:cNvPr>
          <p:cNvSpPr txBox="1">
            <a:spLocks/>
          </p:cNvSpPr>
          <p:nvPr userDrawn="1"/>
        </p:nvSpPr>
        <p:spPr>
          <a:xfrm>
            <a:off x="1201009"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EXCELLENCE</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1" name="Gruppieren 10">
            <a:extLst>
              <a:ext uri="{FF2B5EF4-FFF2-40B4-BE49-F238E27FC236}">
                <a16:creationId xmlns:a16="http://schemas.microsoft.com/office/drawing/2014/main" id="{82D4A0DE-6C67-44B0-B22A-C0A05BBC69FC}"/>
              </a:ext>
            </a:extLst>
          </p:cNvPr>
          <p:cNvGrpSpPr/>
          <p:nvPr userDrawn="1"/>
        </p:nvGrpSpPr>
        <p:grpSpPr>
          <a:xfrm>
            <a:off x="1376411" y="2083344"/>
            <a:ext cx="1089193" cy="1118842"/>
            <a:chOff x="1478254" y="1759825"/>
            <a:chExt cx="1089193" cy="1118842"/>
          </a:xfrm>
        </p:grpSpPr>
        <p:sp>
          <p:nvSpPr>
            <p:cNvPr id="2" name="Ellipse 1">
              <a:extLst>
                <a:ext uri="{FF2B5EF4-FFF2-40B4-BE49-F238E27FC236}">
                  <a16:creationId xmlns:a16="http://schemas.microsoft.com/office/drawing/2014/main" id="{EF03CA22-6B13-49DE-A795-8B07042FA0BE}"/>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a:extLst>
                <a:ext uri="{FF2B5EF4-FFF2-40B4-BE49-F238E27FC236}">
                  <a16:creationId xmlns:a16="http://schemas.microsoft.com/office/drawing/2014/main" id="{161B2F95-9B35-4040-81B2-ACDE054BDD8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78254" y="1798667"/>
              <a:ext cx="1080000" cy="1080000"/>
            </a:xfrm>
            <a:prstGeom prst="rect">
              <a:avLst/>
            </a:prstGeom>
          </p:spPr>
        </p:pic>
      </p:grpSp>
      <p:sp>
        <p:nvSpPr>
          <p:cNvPr id="12" name="Title 1">
            <a:extLst>
              <a:ext uri="{FF2B5EF4-FFF2-40B4-BE49-F238E27FC236}">
                <a16:creationId xmlns:a16="http://schemas.microsoft.com/office/drawing/2014/main" id="{E81CF4DD-25A2-40F4-952B-66B4466BBD93}"/>
              </a:ext>
            </a:extLst>
          </p:cNvPr>
          <p:cNvSpPr txBox="1">
            <a:spLocks/>
          </p:cNvSpPr>
          <p:nvPr userDrawn="1"/>
        </p:nvSpPr>
        <p:spPr>
          <a:xfrm>
            <a:off x="3287689"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trust each other, we are transparent and we empower people. We respect diversity.</a:t>
            </a:r>
          </a:p>
        </p:txBody>
      </p:sp>
      <p:sp>
        <p:nvSpPr>
          <p:cNvPr id="13" name="Title 1">
            <a:extLst>
              <a:ext uri="{FF2B5EF4-FFF2-40B4-BE49-F238E27FC236}">
                <a16:creationId xmlns:a16="http://schemas.microsoft.com/office/drawing/2014/main" id="{33B85503-5C78-444D-B346-AB59AA416AC8}"/>
              </a:ext>
            </a:extLst>
          </p:cNvPr>
          <p:cNvSpPr txBox="1">
            <a:spLocks/>
          </p:cNvSpPr>
          <p:nvPr userDrawn="1"/>
        </p:nvSpPr>
        <p:spPr>
          <a:xfrm>
            <a:off x="3287688"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TRUST</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4" name="Gruppieren 13">
            <a:extLst>
              <a:ext uri="{FF2B5EF4-FFF2-40B4-BE49-F238E27FC236}">
                <a16:creationId xmlns:a16="http://schemas.microsoft.com/office/drawing/2014/main" id="{B5475377-A926-4847-B972-EA12DF6C0701}"/>
              </a:ext>
            </a:extLst>
          </p:cNvPr>
          <p:cNvGrpSpPr/>
          <p:nvPr userDrawn="1"/>
        </p:nvGrpSpPr>
        <p:grpSpPr>
          <a:xfrm>
            <a:off x="3463091" y="2083344"/>
            <a:ext cx="1089193" cy="1118842"/>
            <a:chOff x="1478254" y="1759825"/>
            <a:chExt cx="1089193" cy="1118842"/>
          </a:xfrm>
        </p:grpSpPr>
        <p:sp>
          <p:nvSpPr>
            <p:cNvPr id="15" name="Ellipse 14">
              <a:extLst>
                <a:ext uri="{FF2B5EF4-FFF2-40B4-BE49-F238E27FC236}">
                  <a16:creationId xmlns:a16="http://schemas.microsoft.com/office/drawing/2014/main" id="{13BB04B6-217B-499D-8F98-894FB375B2F9}"/>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6" name="Grafik 15">
              <a:extLst>
                <a:ext uri="{FF2B5EF4-FFF2-40B4-BE49-F238E27FC236}">
                  <a16:creationId xmlns:a16="http://schemas.microsoft.com/office/drawing/2014/main" id="{2760D55D-13ED-4E94-966A-95F12368925C}"/>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478254" y="1798667"/>
              <a:ext cx="1080000" cy="1080000"/>
            </a:xfrm>
            <a:prstGeom prst="rect">
              <a:avLst/>
            </a:prstGeom>
          </p:spPr>
        </p:pic>
      </p:grpSp>
      <p:sp>
        <p:nvSpPr>
          <p:cNvPr id="17" name="Title 1">
            <a:extLst>
              <a:ext uri="{FF2B5EF4-FFF2-40B4-BE49-F238E27FC236}">
                <a16:creationId xmlns:a16="http://schemas.microsoft.com/office/drawing/2014/main" id="{E979720F-B102-477C-A18C-F42F69F7B3FA}"/>
              </a:ext>
            </a:extLst>
          </p:cNvPr>
          <p:cNvSpPr txBox="1">
            <a:spLocks/>
          </p:cNvSpPr>
          <p:nvPr userDrawn="1"/>
        </p:nvSpPr>
        <p:spPr>
          <a:xfrm>
            <a:off x="537600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act in the interest of </a:t>
            </a:r>
            <a:br>
              <a:rPr lang="en-IE" sz="1200" b="0">
                <a:solidFill>
                  <a:schemeClr val="bg1"/>
                </a:solidFill>
                <a:effectLst/>
                <a:latin typeface="Calibri" panose="020F0502020204030204" pitchFamily="34" charset="0"/>
                <a:cs typeface="Calibri" panose="020F0502020204030204" pitchFamily="34" charset="0"/>
              </a:rPr>
            </a:br>
            <a:r>
              <a:rPr lang="en-IE" sz="1200" b="0">
                <a:solidFill>
                  <a:schemeClr val="bg1"/>
                </a:solidFill>
                <a:effectLst/>
                <a:latin typeface="Calibri" panose="020F0502020204030204" pitchFamily="34" charset="0"/>
                <a:cs typeface="Calibri" panose="020F0502020204030204" pitchFamily="34" charset="0"/>
              </a:rPr>
              <a:t>ENTSO-E</a:t>
            </a:r>
          </a:p>
        </p:txBody>
      </p:sp>
      <p:sp>
        <p:nvSpPr>
          <p:cNvPr id="18" name="Title 1">
            <a:extLst>
              <a:ext uri="{FF2B5EF4-FFF2-40B4-BE49-F238E27FC236}">
                <a16:creationId xmlns:a16="http://schemas.microsoft.com/office/drawing/2014/main" id="{DEDA1B90-9F8A-4C63-B8FF-D940062EC4C4}"/>
              </a:ext>
            </a:extLst>
          </p:cNvPr>
          <p:cNvSpPr txBox="1">
            <a:spLocks/>
          </p:cNvSpPr>
          <p:nvPr userDrawn="1"/>
        </p:nvSpPr>
        <p:spPr>
          <a:xfrm>
            <a:off x="537600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INTEGRITY</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9" name="Gruppieren 18">
            <a:extLst>
              <a:ext uri="{FF2B5EF4-FFF2-40B4-BE49-F238E27FC236}">
                <a16:creationId xmlns:a16="http://schemas.microsoft.com/office/drawing/2014/main" id="{955A5FDF-13A6-4E3F-98FC-5D8B5F750CF6}"/>
              </a:ext>
            </a:extLst>
          </p:cNvPr>
          <p:cNvGrpSpPr/>
          <p:nvPr userDrawn="1"/>
        </p:nvGrpSpPr>
        <p:grpSpPr>
          <a:xfrm>
            <a:off x="5551403" y="2024327"/>
            <a:ext cx="1089193" cy="1139017"/>
            <a:chOff x="1478254" y="1700808"/>
            <a:chExt cx="1089193" cy="1139017"/>
          </a:xfrm>
        </p:grpSpPr>
        <p:sp>
          <p:nvSpPr>
            <p:cNvPr id="20" name="Ellipse 19">
              <a:extLst>
                <a:ext uri="{FF2B5EF4-FFF2-40B4-BE49-F238E27FC236}">
                  <a16:creationId xmlns:a16="http://schemas.microsoft.com/office/drawing/2014/main" id="{7B46EB16-3C21-4C1F-96E5-A09D69B4EA5B}"/>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20">
              <a:extLst>
                <a:ext uri="{FF2B5EF4-FFF2-40B4-BE49-F238E27FC236}">
                  <a16:creationId xmlns:a16="http://schemas.microsoft.com/office/drawing/2014/main" id="{4B4C9A02-66CE-4BBC-A5CB-9F9670516C1D}"/>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478254" y="1700808"/>
              <a:ext cx="1080000" cy="1080000"/>
            </a:xfrm>
            <a:prstGeom prst="rect">
              <a:avLst/>
            </a:prstGeom>
          </p:spPr>
        </p:pic>
      </p:grpSp>
      <p:sp>
        <p:nvSpPr>
          <p:cNvPr id="22" name="Title 1">
            <a:extLst>
              <a:ext uri="{FF2B5EF4-FFF2-40B4-BE49-F238E27FC236}">
                <a16:creationId xmlns:a16="http://schemas.microsoft.com/office/drawing/2014/main" id="{2E634EBD-DFF6-43C8-9422-8F16AAB96C86}"/>
              </a:ext>
            </a:extLst>
          </p:cNvPr>
          <p:cNvSpPr txBox="1">
            <a:spLocks/>
          </p:cNvSpPr>
          <p:nvPr userDrawn="1"/>
        </p:nvSpPr>
        <p:spPr>
          <a:xfrm>
            <a:off x="7392263"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care about people. We work transversal and we support each other. We celebrate success.</a:t>
            </a:r>
          </a:p>
        </p:txBody>
      </p:sp>
      <p:sp>
        <p:nvSpPr>
          <p:cNvPr id="23" name="Title 1">
            <a:extLst>
              <a:ext uri="{FF2B5EF4-FFF2-40B4-BE49-F238E27FC236}">
                <a16:creationId xmlns:a16="http://schemas.microsoft.com/office/drawing/2014/main" id="{2B8B0EDA-AFDC-4A3F-8B48-271A245E4727}"/>
              </a:ext>
            </a:extLst>
          </p:cNvPr>
          <p:cNvSpPr txBox="1">
            <a:spLocks/>
          </p:cNvSpPr>
          <p:nvPr userDrawn="1"/>
        </p:nvSpPr>
        <p:spPr>
          <a:xfrm>
            <a:off x="7392262"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TEAM</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24" name="Gruppieren 23">
            <a:extLst>
              <a:ext uri="{FF2B5EF4-FFF2-40B4-BE49-F238E27FC236}">
                <a16:creationId xmlns:a16="http://schemas.microsoft.com/office/drawing/2014/main" id="{DB57394F-A3ED-46EA-ACEB-FE66F27FAB09}"/>
              </a:ext>
            </a:extLst>
          </p:cNvPr>
          <p:cNvGrpSpPr/>
          <p:nvPr userDrawn="1"/>
        </p:nvGrpSpPr>
        <p:grpSpPr>
          <a:xfrm>
            <a:off x="7576858" y="2080275"/>
            <a:ext cx="1080000" cy="1083069"/>
            <a:chOff x="1487447" y="1756756"/>
            <a:chExt cx="1080000" cy="1083069"/>
          </a:xfrm>
        </p:grpSpPr>
        <p:sp>
          <p:nvSpPr>
            <p:cNvPr id="25" name="Ellipse 24">
              <a:extLst>
                <a:ext uri="{FF2B5EF4-FFF2-40B4-BE49-F238E27FC236}">
                  <a16:creationId xmlns:a16="http://schemas.microsoft.com/office/drawing/2014/main" id="{047968BE-8FA5-46E6-AEB4-7BBD707663C8}"/>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6" name="Grafik 25">
              <a:extLst>
                <a:ext uri="{FF2B5EF4-FFF2-40B4-BE49-F238E27FC236}">
                  <a16:creationId xmlns:a16="http://schemas.microsoft.com/office/drawing/2014/main" id="{7EB613B2-536A-4138-AE88-6840149C7A1B}"/>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
        <p:nvSpPr>
          <p:cNvPr id="27" name="Title 1">
            <a:extLst>
              <a:ext uri="{FF2B5EF4-FFF2-40B4-BE49-F238E27FC236}">
                <a16:creationId xmlns:a16="http://schemas.microsoft.com/office/drawing/2014/main" id="{EC54E769-6637-4291-8E33-04784D80068D}"/>
              </a:ext>
            </a:extLst>
          </p:cNvPr>
          <p:cNvSpPr txBox="1">
            <a:spLocks/>
          </p:cNvSpPr>
          <p:nvPr userDrawn="1"/>
        </p:nvSpPr>
        <p:spPr>
          <a:xfrm>
            <a:off x="933636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are a learning organisation. </a:t>
            </a:r>
            <a:br>
              <a:rPr lang="en-IE" sz="1200" b="0">
                <a:solidFill>
                  <a:schemeClr val="bg1"/>
                </a:solidFill>
                <a:effectLst/>
                <a:latin typeface="Calibri" panose="020F0502020204030204" pitchFamily="34" charset="0"/>
                <a:cs typeface="Calibri" panose="020F0502020204030204" pitchFamily="34" charset="0"/>
              </a:rPr>
            </a:br>
            <a:r>
              <a:rPr lang="en-IE" sz="1200" b="0">
                <a:solidFill>
                  <a:schemeClr val="bg1"/>
                </a:solidFill>
                <a:effectLst/>
                <a:latin typeface="Calibri" panose="020F0502020204030204" pitchFamily="34" charset="0"/>
                <a:cs typeface="Calibri" panose="020F0502020204030204" pitchFamily="34" charset="0"/>
              </a:rPr>
              <a:t>We explore new paths and solutions.</a:t>
            </a:r>
          </a:p>
        </p:txBody>
      </p:sp>
      <p:sp>
        <p:nvSpPr>
          <p:cNvPr id="28" name="Title 1">
            <a:extLst>
              <a:ext uri="{FF2B5EF4-FFF2-40B4-BE49-F238E27FC236}">
                <a16:creationId xmlns:a16="http://schemas.microsoft.com/office/drawing/2014/main" id="{1EAE1D68-1D65-449A-A1D4-1C7A4EE8D7F3}"/>
              </a:ext>
            </a:extLst>
          </p:cNvPr>
          <p:cNvSpPr txBox="1">
            <a:spLocks/>
          </p:cNvSpPr>
          <p:nvPr userDrawn="1"/>
        </p:nvSpPr>
        <p:spPr>
          <a:xfrm>
            <a:off x="933636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FUTURE THINKING</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29" name="Gruppieren 28">
            <a:extLst>
              <a:ext uri="{FF2B5EF4-FFF2-40B4-BE49-F238E27FC236}">
                <a16:creationId xmlns:a16="http://schemas.microsoft.com/office/drawing/2014/main" id="{3C70C999-7CBE-4D11-A6B2-D77A57C5B0AD}"/>
              </a:ext>
            </a:extLst>
          </p:cNvPr>
          <p:cNvGrpSpPr/>
          <p:nvPr userDrawn="1"/>
        </p:nvGrpSpPr>
        <p:grpSpPr>
          <a:xfrm>
            <a:off x="9520956" y="2080275"/>
            <a:ext cx="1080000" cy="1083069"/>
            <a:chOff x="1487447" y="1756756"/>
            <a:chExt cx="1080000" cy="1083069"/>
          </a:xfrm>
        </p:grpSpPr>
        <p:sp>
          <p:nvSpPr>
            <p:cNvPr id="30" name="Ellipse 29">
              <a:extLst>
                <a:ext uri="{FF2B5EF4-FFF2-40B4-BE49-F238E27FC236}">
                  <a16:creationId xmlns:a16="http://schemas.microsoft.com/office/drawing/2014/main" id="{29D45C60-2B3F-49B7-BD2B-64F936E7A262}"/>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1" name="Grafik 30">
              <a:extLst>
                <a:ext uri="{FF2B5EF4-FFF2-40B4-BE49-F238E27FC236}">
                  <a16:creationId xmlns:a16="http://schemas.microsoft.com/office/drawing/2014/main" id="{C7C06749-CCF9-45D3-B10D-3B95BF64A939}"/>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Tree>
    <p:extLst>
      <p:ext uri="{BB962C8B-B14F-4D97-AF65-F5344CB8AC3E}">
        <p14:creationId xmlns:p14="http://schemas.microsoft.com/office/powerpoint/2010/main" val="306759359"/>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1_ENTSO-E Key take-away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86346" y="476672"/>
            <a:ext cx="11617788" cy="936104"/>
          </a:xfrm>
          <a:prstGeom prst="rect">
            <a:avLst/>
          </a:prstGeom>
          <a:ln>
            <a:noFill/>
          </a:ln>
        </p:spPr>
        <p:txBody>
          <a:bodyPr anchor="t"/>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Key </a:t>
            </a:r>
            <a:r>
              <a:rPr lang="de-DE" err="1"/>
              <a:t>take-aways</a:t>
            </a:r>
            <a:endParaRPr lang="de-DE"/>
          </a:p>
        </p:txBody>
      </p:sp>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nSpc>
                <a:spcPts val="2600"/>
              </a:lnSpc>
              <a:spcBef>
                <a:spcPts val="0"/>
              </a:spcBef>
              <a:buNone/>
              <a:defRPr sz="2000" b="0">
                <a:solidFill>
                  <a:schemeClr val="tx1"/>
                </a:solidFill>
                <a:latin typeface="Calibri" panose="020F0502020204030204" pitchFamily="34" charset="0"/>
                <a:cs typeface="Calibri" panose="020F0502020204030204" pitchFamily="34" charset="0"/>
              </a:defRPr>
            </a:lvl1pPr>
          </a:lstStyle>
          <a:p>
            <a:pPr lvl="0"/>
            <a:r>
              <a:rPr lang="de-DE"/>
              <a:t>Text</a:t>
            </a:r>
          </a:p>
        </p:txBody>
      </p:sp>
      <p:sp>
        <p:nvSpPr>
          <p:cNvPr id="4" name="Rechteck 1">
            <a:extLst>
              <a:ext uri="{FF2B5EF4-FFF2-40B4-BE49-F238E27FC236}">
                <a16:creationId xmlns:a16="http://schemas.microsoft.com/office/drawing/2014/main" id="{9B4626A2-3A46-4841-8EA9-2789E9CF76F6}"/>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532287486"/>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1_Title &amp; text">
    <p:spTree>
      <p:nvGrpSpPr>
        <p:cNvPr id="1" name=""/>
        <p:cNvGrpSpPr/>
        <p:nvPr/>
      </p:nvGrpSpPr>
      <p:grpSpPr>
        <a:xfrm>
          <a:off x="0" y="0"/>
          <a:ext cx="0" cy="0"/>
          <a:chOff x="0" y="0"/>
          <a:chExt cx="0" cy="0"/>
        </a:xfrm>
      </p:grpSpPr>
      <p:cxnSp>
        <p:nvCxnSpPr>
          <p:cNvPr id="4" name="Straight Connector 3"/>
          <p:cNvCxnSpPr/>
          <p:nvPr userDrawn="1"/>
        </p:nvCxnSpPr>
        <p:spPr>
          <a:xfrm>
            <a:off x="206375" y="758825"/>
            <a:ext cx="11795125" cy="0"/>
          </a:xfrm>
          <a:prstGeom prst="line">
            <a:avLst/>
          </a:prstGeom>
          <a:ln w="19050">
            <a:solidFill>
              <a:srgbClr val="004FEE"/>
            </a:solidFill>
          </a:ln>
        </p:spPr>
        <p:style>
          <a:lnRef idx="1">
            <a:schemeClr val="accent1"/>
          </a:lnRef>
          <a:fillRef idx="0">
            <a:schemeClr val="accent1"/>
          </a:fillRef>
          <a:effectRef idx="0">
            <a:schemeClr val="accent1"/>
          </a:effectRef>
          <a:fontRef idx="minor">
            <a:schemeClr val="tx1"/>
          </a:fontRef>
        </p:style>
      </p:cxnSp>
      <p:pic>
        <p:nvPicPr>
          <p:cNvPr id="6" name="Picture 10"/>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69863" y="66675"/>
            <a:ext cx="1547812" cy="758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1"/>
          <p:cNvSpPr>
            <a:spLocks noGrp="1"/>
          </p:cNvSpPr>
          <p:nvPr>
            <p:ph type="body" sz="quarter" idx="10"/>
          </p:nvPr>
        </p:nvSpPr>
        <p:spPr>
          <a:xfrm>
            <a:off x="2290619" y="152312"/>
            <a:ext cx="9711381" cy="588433"/>
          </a:xfrm>
        </p:spPr>
        <p:txBody>
          <a:bodyPr>
            <a:noAutofit/>
          </a:bodyPr>
          <a:lstStyle>
            <a:lvl1pPr marL="0" indent="0">
              <a:buNone/>
              <a:defRPr b="1"/>
            </a:lvl1pPr>
          </a:lstStyle>
          <a:p>
            <a:pPr lvl="0"/>
            <a:r>
              <a:rPr lang="nl-NL"/>
              <a:t>Klik om de modelstijlen te bewerken</a:t>
            </a:r>
          </a:p>
        </p:txBody>
      </p:sp>
      <p:sp>
        <p:nvSpPr>
          <p:cNvPr id="5" name="Content Placeholder 4"/>
          <p:cNvSpPr>
            <a:spLocks noGrp="1"/>
          </p:cNvSpPr>
          <p:nvPr>
            <p:ph sz="quarter" idx="13"/>
          </p:nvPr>
        </p:nvSpPr>
        <p:spPr>
          <a:xfrm>
            <a:off x="205318" y="960967"/>
            <a:ext cx="11855449" cy="5799667"/>
          </a:xfrm>
        </p:spPr>
        <p:txBody>
          <a:bodyPr/>
          <a:lstStyle>
            <a:lvl1pPr>
              <a:defRPr b="1">
                <a:latin typeface="Inter" panose="020B0502030000000004" pitchFamily="34" charset="0"/>
                <a:ea typeface="Inter" panose="020B0502030000000004" pitchFamily="34" charset="0"/>
              </a:defRPr>
            </a:lvl1pPr>
            <a:lvl2pPr>
              <a:defRPr b="1">
                <a:latin typeface="Inter" panose="020B0502030000000004" pitchFamily="34" charset="0"/>
                <a:ea typeface="Inter" panose="020B0502030000000004" pitchFamily="34" charset="0"/>
              </a:defRPr>
            </a:lvl2pPr>
            <a:lvl3pPr>
              <a:defRPr b="1">
                <a:latin typeface="Inter" panose="020B0502030000000004" pitchFamily="34" charset="0"/>
                <a:ea typeface="Inter" panose="020B0502030000000004" pitchFamily="34" charset="0"/>
              </a:defRPr>
            </a:lvl3pPr>
            <a:lvl4pPr>
              <a:defRPr b="1">
                <a:latin typeface="Inter" panose="020B0502030000000004" pitchFamily="34" charset="0"/>
                <a:ea typeface="Inter" panose="020B0502030000000004" pitchFamily="34" charset="0"/>
              </a:defRPr>
            </a:lvl4pPr>
            <a:lvl5pPr>
              <a:defRPr b="1">
                <a:latin typeface="Inter" panose="020B0502030000000004" pitchFamily="34" charset="0"/>
                <a:ea typeface="Inter" panose="020B05020300000000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82705351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2_ENTSO-E Questions">
    <p:spTree>
      <p:nvGrpSpPr>
        <p:cNvPr id="1" name=""/>
        <p:cNvGrpSpPr/>
        <p:nvPr/>
      </p:nvGrpSpPr>
      <p:grpSpPr>
        <a:xfrm>
          <a:off x="0" y="0"/>
          <a:ext cx="0" cy="0"/>
          <a:chOff x="0" y="0"/>
          <a:chExt cx="0" cy="0"/>
        </a:xfrm>
      </p:grpSpPr>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gn="ctr">
              <a:lnSpc>
                <a:spcPts val="2600"/>
              </a:lnSpc>
              <a:spcBef>
                <a:spcPts val="0"/>
              </a:spcBef>
              <a:buNone/>
              <a:tabLst>
                <a:tab pos="3763963" algn="l"/>
              </a:tabLst>
              <a:defRPr sz="2800" b="1">
                <a:solidFill>
                  <a:srgbClr val="0F218B"/>
                </a:solidFill>
                <a:latin typeface="Calibri" panose="020F0502020204030204" pitchFamily="34" charset="0"/>
                <a:cs typeface="Calibri" panose="020F0502020204030204" pitchFamily="34" charset="0"/>
              </a:defRPr>
            </a:lvl1pPr>
          </a:lstStyle>
          <a:p>
            <a:pPr lvl="0"/>
            <a:r>
              <a:rPr lang="de-DE"/>
              <a:t>Questions?</a:t>
            </a:r>
          </a:p>
        </p:txBody>
      </p:sp>
      <p:sp>
        <p:nvSpPr>
          <p:cNvPr id="2" name="TextBox 1">
            <a:extLst>
              <a:ext uri="{FF2B5EF4-FFF2-40B4-BE49-F238E27FC236}">
                <a16:creationId xmlns:a16="http://schemas.microsoft.com/office/drawing/2014/main" id="{ED24F55E-FB99-4958-B7AF-F28A79322EB2}"/>
              </a:ext>
            </a:extLst>
          </p:cNvPr>
          <p:cNvSpPr txBox="1"/>
          <p:nvPr userDrawn="1"/>
        </p:nvSpPr>
        <p:spPr>
          <a:xfrm>
            <a:off x="5447928" y="4149080"/>
            <a:ext cx="3384376" cy="369332"/>
          </a:xfrm>
          <a:prstGeom prst="rect">
            <a:avLst/>
          </a:prstGeom>
          <a:noFill/>
        </p:spPr>
        <p:txBody>
          <a:bodyPr wrap="square" rtlCol="0">
            <a:spAutoFit/>
          </a:bodyPr>
          <a:lstStyle/>
          <a:p>
            <a:r>
              <a:rPr lang="en-US">
                <a:solidFill>
                  <a:srgbClr val="0F218B"/>
                </a:solidFill>
                <a:latin typeface="Calibri" panose="020F0502020204030204" pitchFamily="34" charset="0"/>
                <a:cs typeface="Calibri" panose="020F0502020204030204" pitchFamily="34" charset="0"/>
              </a:rPr>
              <a:t>contact:</a:t>
            </a:r>
            <a:endParaRPr lang="en-GB">
              <a:solidFill>
                <a:srgbClr val="0F218B"/>
              </a:solidFill>
              <a:latin typeface="Calibri" panose="020F0502020204030204" pitchFamily="34" charset="0"/>
              <a:cs typeface="Calibri" panose="020F0502020204030204" pitchFamily="34" charset="0"/>
            </a:endParaRPr>
          </a:p>
        </p:txBody>
      </p:sp>
      <p:sp>
        <p:nvSpPr>
          <p:cNvPr id="5" name="Rechteck 1">
            <a:extLst>
              <a:ext uri="{FF2B5EF4-FFF2-40B4-BE49-F238E27FC236}">
                <a16:creationId xmlns:a16="http://schemas.microsoft.com/office/drawing/2014/main" id="{C2D06D34-321E-4E67-BD6C-917AD342E7D4}"/>
              </a:ext>
            </a:extLst>
          </p:cNvPr>
          <p:cNvSpPr/>
          <p:nvPr userDrawn="1"/>
        </p:nvSpPr>
        <p:spPr>
          <a:xfrm rot="5400000" flipH="1">
            <a:off x="6064640" y="3063656"/>
            <a:ext cx="61200" cy="180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3237246125"/>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CD589E-DEA3-77E3-2A55-57736ED2DDE8}"/>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244784140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itle" preserve="1">
  <p:cSld name="Core and CE Title Sli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FDE1041-55FA-1DC4-2A3C-898766959EC8}"/>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Folie" r:id="rId3" imgW="624" imgH="623" progId="TCLayout.ActiveDocument.1">
                  <p:embed/>
                </p:oleObj>
              </mc:Choice>
              <mc:Fallback>
                <p:oleObj name="think-cell Folie" r:id="rId3" imgW="624" imgH="623" progId="TCLayout.ActiveDocument.1">
                  <p:embed/>
                  <p:pic>
                    <p:nvPicPr>
                      <p:cNvPr id="8" name="think-cell data - do not delete" hidden="1">
                        <a:extLst>
                          <a:ext uri="{FF2B5EF4-FFF2-40B4-BE49-F238E27FC236}">
                            <a16:creationId xmlns:a16="http://schemas.microsoft.com/office/drawing/2014/main" id="{1FDE1041-55FA-1DC4-2A3C-898766959EC8}"/>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pic>
        <p:nvPicPr>
          <p:cNvPr id="9" name="Grafik 8">
            <a:extLst>
              <a:ext uri="{FF2B5EF4-FFF2-40B4-BE49-F238E27FC236}">
                <a16:creationId xmlns:a16="http://schemas.microsoft.com/office/drawing/2014/main" id="{34D4289E-4825-2274-76C2-86C810B086A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257507" y="632506"/>
            <a:ext cx="865436" cy="248752"/>
          </a:xfrm>
          <a:prstGeom prst="rect">
            <a:avLst/>
          </a:prstGeom>
        </p:spPr>
      </p:pic>
      <p:sp>
        <p:nvSpPr>
          <p:cNvPr id="2" name="Title 1">
            <a:extLst>
              <a:ext uri="{FF2B5EF4-FFF2-40B4-BE49-F238E27FC236}">
                <a16:creationId xmlns:a16="http://schemas.microsoft.com/office/drawing/2014/main" id="{C05BCF98-8557-ABB3-B72D-BEE3CDDB6F5D}"/>
              </a:ext>
            </a:extLst>
          </p:cNvPr>
          <p:cNvSpPr>
            <a:spLocks noGrp="1"/>
          </p:cNvSpPr>
          <p:nvPr>
            <p:ph type="ctrTitle" hasCustomPrompt="1"/>
          </p:nvPr>
        </p:nvSpPr>
        <p:spPr>
          <a:xfrm>
            <a:off x="1524000" y="2232837"/>
            <a:ext cx="9144000" cy="1277126"/>
          </a:xfrm>
        </p:spPr>
        <p:txBody>
          <a:bodyPr vert="horz" anchor="b">
            <a:normAutofit/>
          </a:bodyPr>
          <a:lstStyle>
            <a:lvl1pPr algn="ctr">
              <a:defRPr sz="3200"/>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29D3BE49-03C7-BB4F-4C31-06C7072CA14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pic>
        <p:nvPicPr>
          <p:cNvPr id="23" name="Picture 2">
            <a:extLst>
              <a:ext uri="{FF2B5EF4-FFF2-40B4-BE49-F238E27FC236}">
                <a16:creationId xmlns:a16="http://schemas.microsoft.com/office/drawing/2014/main" id="{2C0A4F82-C4CD-0A73-336F-1C54012F0347}"/>
              </a:ext>
            </a:extLst>
          </p:cNvPr>
          <p:cNvPicPr/>
          <p:nvPr userDrawn="1"/>
        </p:nvPicPr>
        <p:blipFill>
          <a:blip r:embed="rId6">
            <a:lum contrast="72000"/>
            <a:extLst>
              <a:ext uri="{28A0092B-C50C-407E-A947-70E740481C1C}">
                <a14:useLocalDpi xmlns:a14="http://schemas.microsoft.com/office/drawing/2010/main" val="0"/>
              </a:ext>
            </a:extLst>
          </a:blip>
          <a:srcRect/>
          <a:stretch>
            <a:fillRect/>
          </a:stretch>
        </p:blipFill>
        <p:spPr bwMode="auto">
          <a:xfrm>
            <a:off x="5429056" y="428393"/>
            <a:ext cx="1956833" cy="725758"/>
          </a:xfrm>
          <a:prstGeom prst="rect">
            <a:avLst/>
          </a:prstGeom>
          <a:noFill/>
        </p:spPr>
      </p:pic>
      <p:pic>
        <p:nvPicPr>
          <p:cNvPr id="37" name="Grafik 7" descr="Bildergebnis für anre">
            <a:extLst>
              <a:ext uri="{FF2B5EF4-FFF2-40B4-BE49-F238E27FC236}">
                <a16:creationId xmlns:a16="http://schemas.microsoft.com/office/drawing/2014/main" id="{4EE802C8-A2D8-5EA8-7B5C-7D268935502D}"/>
              </a:ext>
            </a:extLst>
          </p:cNvPr>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4752166" y="515206"/>
            <a:ext cx="701900" cy="471915"/>
          </a:xfrm>
          <a:prstGeom prst="rect">
            <a:avLst/>
          </a:prstGeom>
          <a:noFill/>
          <a:ln>
            <a:noFill/>
          </a:ln>
        </p:spPr>
      </p:pic>
      <p:pic>
        <p:nvPicPr>
          <p:cNvPr id="39" name="Picture 5">
            <a:hlinkClick r:id="rId8"/>
            <a:extLst>
              <a:ext uri="{FF2B5EF4-FFF2-40B4-BE49-F238E27FC236}">
                <a16:creationId xmlns:a16="http://schemas.microsoft.com/office/drawing/2014/main" id="{7E9537C3-2EBD-C9EA-2C0E-E6836689FEC6}"/>
              </a:ext>
            </a:extLst>
          </p:cNvPr>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3269321" y="1207380"/>
            <a:ext cx="1363980" cy="223840"/>
          </a:xfrm>
          <a:prstGeom prst="rect">
            <a:avLst/>
          </a:prstGeom>
          <a:noFill/>
        </p:spPr>
      </p:pic>
      <p:pic>
        <p:nvPicPr>
          <p:cNvPr id="41" name="Grafik 11" descr="http://strujaplin.com/images/logo-hera.png">
            <a:extLst>
              <a:ext uri="{FF2B5EF4-FFF2-40B4-BE49-F238E27FC236}">
                <a16:creationId xmlns:a16="http://schemas.microsoft.com/office/drawing/2014/main" id="{5460F42B-7B80-B30F-075A-F551D81F0413}"/>
              </a:ext>
            </a:extLst>
          </p:cNvPr>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7161605" y="1093375"/>
            <a:ext cx="739123" cy="478840"/>
          </a:xfrm>
          <a:prstGeom prst="rect">
            <a:avLst/>
          </a:prstGeom>
          <a:noFill/>
          <a:ln>
            <a:noFill/>
          </a:ln>
        </p:spPr>
      </p:pic>
      <p:pic>
        <p:nvPicPr>
          <p:cNvPr id="42" name="Picture 2" descr="logo-acm-nl_tcm13-202295">
            <a:extLst>
              <a:ext uri="{FF2B5EF4-FFF2-40B4-BE49-F238E27FC236}">
                <a16:creationId xmlns:a16="http://schemas.microsoft.com/office/drawing/2014/main" id="{2FCA33DE-3024-6397-9A32-CD9820C846E2}"/>
              </a:ext>
            </a:extLst>
          </p:cNvPr>
          <p:cNvPicPr>
            <a:picLocks noChangeAspect="1" noChangeArrowheads="1"/>
          </p:cNvPicPr>
          <p:nvPr userDrawn="1"/>
        </p:nvPicPr>
        <p:blipFill>
          <a:blip r:embed="rId11"/>
          <a:srcRect/>
          <a:stretch>
            <a:fillRect/>
          </a:stretch>
        </p:blipFill>
        <p:spPr bwMode="auto">
          <a:xfrm>
            <a:off x="1833538" y="532338"/>
            <a:ext cx="1021191" cy="437653"/>
          </a:xfrm>
          <a:prstGeom prst="rect">
            <a:avLst/>
          </a:prstGeom>
          <a:noFill/>
          <a:ln w="9525">
            <a:noFill/>
            <a:miter lim="800000"/>
            <a:headEnd/>
            <a:tailEnd/>
          </a:ln>
        </p:spPr>
      </p:pic>
      <p:pic>
        <p:nvPicPr>
          <p:cNvPr id="43" name="Picture 9">
            <a:extLst>
              <a:ext uri="{FF2B5EF4-FFF2-40B4-BE49-F238E27FC236}">
                <a16:creationId xmlns:a16="http://schemas.microsoft.com/office/drawing/2014/main" id="{1357A5CC-865B-D9E0-5E19-F0EAC6246C02}"/>
              </a:ext>
            </a:extLst>
          </p:cNvPr>
          <p:cNvPicPr>
            <a:picLocks noGrp="1" noChangeAspect="1" noChangeArrowheads="1"/>
          </p:cNvPicPr>
          <p:nvPr userDrawn="1"/>
        </p:nvPicPr>
        <p:blipFill>
          <a:blip r:embed="rId12" cstate="print">
            <a:extLst>
              <a:ext uri="{28A0092B-C50C-407E-A947-70E740481C1C}">
                <a14:useLocalDpi xmlns:a14="http://schemas.microsoft.com/office/drawing/2010/main" val="0"/>
              </a:ext>
            </a:extLst>
          </a:blip>
          <a:stretch>
            <a:fillRect/>
          </a:stretch>
        </p:blipFill>
        <p:spPr bwMode="auto">
          <a:xfrm>
            <a:off x="7937617" y="675332"/>
            <a:ext cx="1197695" cy="29080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Grafik 14" descr="C:\Users\zko\AppData\Local\Microsoft\Windows\INetCache\Content.Word\EC_Logo_pixel_RGB.JPG">
            <a:extLst>
              <a:ext uri="{FF2B5EF4-FFF2-40B4-BE49-F238E27FC236}">
                <a16:creationId xmlns:a16="http://schemas.microsoft.com/office/drawing/2014/main" id="{48EABB9E-77CC-349F-4F73-A62FE82A0A57}"/>
              </a:ext>
            </a:extLst>
          </p:cNvPr>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872090" y="1176591"/>
            <a:ext cx="1226495" cy="246224"/>
          </a:xfrm>
          <a:prstGeom prst="rect">
            <a:avLst/>
          </a:prstGeom>
          <a:noFill/>
          <a:ln>
            <a:noFill/>
          </a:ln>
        </p:spPr>
      </p:pic>
      <p:pic>
        <p:nvPicPr>
          <p:cNvPr id="45" name="Grafik 15">
            <a:extLst>
              <a:ext uri="{FF2B5EF4-FFF2-40B4-BE49-F238E27FC236}">
                <a16:creationId xmlns:a16="http://schemas.microsoft.com/office/drawing/2014/main" id="{77EAC0B7-6FEA-3848-FA46-555AF55ECE44}"/>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2981836" y="637972"/>
            <a:ext cx="1608712" cy="228672"/>
          </a:xfrm>
          <a:prstGeom prst="rect">
            <a:avLst/>
          </a:prstGeom>
        </p:spPr>
      </p:pic>
      <p:pic>
        <p:nvPicPr>
          <p:cNvPr id="46" name="Grafik 16">
            <a:extLst>
              <a:ext uri="{FF2B5EF4-FFF2-40B4-BE49-F238E27FC236}">
                <a16:creationId xmlns:a16="http://schemas.microsoft.com/office/drawing/2014/main" id="{B90745A4-B2C1-4475-32EF-CA31E39A10F7}"/>
              </a:ext>
            </a:extLst>
          </p:cNvPr>
          <p:cNvPicPr>
            <a:picLocks noChangeAspect="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6763741" y="734304"/>
            <a:ext cx="1136987" cy="146955"/>
          </a:xfrm>
          <a:prstGeom prst="rect">
            <a:avLst/>
          </a:prstGeom>
          <a:noFill/>
          <a:ln>
            <a:noFill/>
          </a:ln>
        </p:spPr>
      </p:pic>
      <p:pic>
        <p:nvPicPr>
          <p:cNvPr id="47" name="Grafik 17">
            <a:extLst>
              <a:ext uri="{FF2B5EF4-FFF2-40B4-BE49-F238E27FC236}">
                <a16:creationId xmlns:a16="http://schemas.microsoft.com/office/drawing/2014/main" id="{A5362676-0165-A744-E883-D2A21F23D012}"/>
              </a:ext>
            </a:extLst>
          </p:cNvPr>
          <p:cNvPicPr>
            <a:picLocks noChangeAspect="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7999407" y="1160375"/>
            <a:ext cx="1074111" cy="413952"/>
          </a:xfrm>
          <a:prstGeom prst="rect">
            <a:avLst/>
          </a:prstGeom>
          <a:noFill/>
          <a:ln>
            <a:noFill/>
          </a:ln>
        </p:spPr>
      </p:pic>
      <p:pic>
        <p:nvPicPr>
          <p:cNvPr id="48" name="Grafik 18">
            <a:extLst>
              <a:ext uri="{FF2B5EF4-FFF2-40B4-BE49-F238E27FC236}">
                <a16:creationId xmlns:a16="http://schemas.microsoft.com/office/drawing/2014/main" id="{DAFD9772-B969-6304-EE44-9CFFB1A78C79}"/>
              </a:ext>
            </a:extLst>
          </p:cNvPr>
          <p:cNvPicPr>
            <a:picLocks noChangeAspect="1"/>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5966148" y="1190172"/>
            <a:ext cx="1096253" cy="252628"/>
          </a:xfrm>
          <a:prstGeom prst="rect">
            <a:avLst/>
          </a:prstGeom>
          <a:noFill/>
          <a:ln>
            <a:noFill/>
          </a:ln>
        </p:spPr>
      </p:pic>
      <p:sp>
        <p:nvSpPr>
          <p:cNvPr id="51" name="Szövegdoboz 24">
            <a:extLst>
              <a:ext uri="{FF2B5EF4-FFF2-40B4-BE49-F238E27FC236}">
                <a16:creationId xmlns:a16="http://schemas.microsoft.com/office/drawing/2014/main" id="{D160EFEF-0348-23AE-2F1D-C2F77C5CF3CB}"/>
              </a:ext>
            </a:extLst>
          </p:cNvPr>
          <p:cNvSpPr txBox="1"/>
          <p:nvPr userDrawn="1"/>
        </p:nvSpPr>
        <p:spPr>
          <a:xfrm>
            <a:off x="9869981" y="595803"/>
            <a:ext cx="503915" cy="215444"/>
          </a:xfrm>
          <a:prstGeom prst="rect">
            <a:avLst/>
          </a:prstGeom>
        </p:spPr>
        <p:txBody>
          <a:bodyPr vert="horz" wrap="square" lIns="0" tIns="0" rIns="0" bIns="0" rtlCol="0">
            <a:spAutoFit/>
          </a:bodyPr>
          <a:lstStyle/>
          <a:p>
            <a:pPr algn="ctr"/>
            <a:r>
              <a:rPr lang="hu-HU" sz="1400" b="1" dirty="0"/>
              <a:t>*</a:t>
            </a:r>
          </a:p>
        </p:txBody>
      </p:sp>
      <p:sp>
        <p:nvSpPr>
          <p:cNvPr id="54" name="Textfeld 53">
            <a:extLst>
              <a:ext uri="{FF2B5EF4-FFF2-40B4-BE49-F238E27FC236}">
                <a16:creationId xmlns:a16="http://schemas.microsoft.com/office/drawing/2014/main" id="{3D5976B5-660B-B4BC-DC29-0F67E0BFF34C}"/>
              </a:ext>
            </a:extLst>
          </p:cNvPr>
          <p:cNvSpPr txBox="1"/>
          <p:nvPr userDrawn="1"/>
        </p:nvSpPr>
        <p:spPr>
          <a:xfrm>
            <a:off x="7774942" y="1634199"/>
            <a:ext cx="2983841" cy="215444"/>
          </a:xfrm>
          <a:prstGeom prst="rect">
            <a:avLst/>
          </a:prstGeom>
          <a:noFill/>
        </p:spPr>
        <p:txBody>
          <a:bodyPr wrap="square" rtlCol="0">
            <a:spAutoFit/>
          </a:bodyPr>
          <a:lstStyle/>
          <a:p>
            <a:r>
              <a:rPr lang="en-US" sz="800" dirty="0">
                <a:solidFill>
                  <a:srgbClr val="002060"/>
                </a:solidFill>
              </a:rPr>
              <a:t>*</a:t>
            </a:r>
            <a:r>
              <a:rPr lang="en-US" sz="600" dirty="0">
                <a:solidFill>
                  <a:srgbClr val="002060"/>
                </a:solidFill>
              </a:rPr>
              <a:t> as according to ACER Decision No 04/2024 (of 19 March 2024) </a:t>
            </a:r>
            <a:endParaRPr lang="en-GB" sz="600" dirty="0">
              <a:solidFill>
                <a:srgbClr val="002060"/>
              </a:solidFill>
            </a:endParaRPr>
          </a:p>
        </p:txBody>
      </p:sp>
      <p:pic>
        <p:nvPicPr>
          <p:cNvPr id="10" name="Grafik 9">
            <a:extLst>
              <a:ext uri="{FF2B5EF4-FFF2-40B4-BE49-F238E27FC236}">
                <a16:creationId xmlns:a16="http://schemas.microsoft.com/office/drawing/2014/main" id="{CFFFD0C9-AF3A-2051-7E3F-D0CA1E33F71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814865" y="5381632"/>
            <a:ext cx="865436" cy="248752"/>
          </a:xfrm>
          <a:prstGeom prst="rect">
            <a:avLst/>
          </a:prstGeom>
        </p:spPr>
      </p:pic>
      <p:pic>
        <p:nvPicPr>
          <p:cNvPr id="11" name="Grafik 10">
            <a:extLst>
              <a:ext uri="{FF2B5EF4-FFF2-40B4-BE49-F238E27FC236}">
                <a16:creationId xmlns:a16="http://schemas.microsoft.com/office/drawing/2014/main" id="{6FA2C7CA-3475-2C6D-1790-5F627BEA7517}"/>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4371464" y="5280924"/>
            <a:ext cx="1034973" cy="383558"/>
          </a:xfrm>
          <a:prstGeom prst="rect">
            <a:avLst/>
          </a:prstGeom>
        </p:spPr>
      </p:pic>
      <p:pic>
        <p:nvPicPr>
          <p:cNvPr id="12" name="Picture 2">
            <a:extLst>
              <a:ext uri="{FF2B5EF4-FFF2-40B4-BE49-F238E27FC236}">
                <a16:creationId xmlns:a16="http://schemas.microsoft.com/office/drawing/2014/main" id="{28E1B5EA-D95B-CD9B-9EF7-43AF263730A2}"/>
              </a:ext>
            </a:extLst>
          </p:cNvPr>
          <p:cNvPicPr/>
          <p:nvPr userDrawn="1"/>
        </p:nvPicPr>
        <p:blipFill>
          <a:blip r:embed="rId6">
            <a:lum contrast="72000"/>
            <a:extLst>
              <a:ext uri="{28A0092B-C50C-407E-A947-70E740481C1C}">
                <a14:useLocalDpi xmlns:a14="http://schemas.microsoft.com/office/drawing/2010/main" val="0"/>
              </a:ext>
            </a:extLst>
          </a:blip>
          <a:srcRect/>
          <a:stretch>
            <a:fillRect/>
          </a:stretch>
        </p:blipFill>
        <p:spPr bwMode="auto">
          <a:xfrm>
            <a:off x="6083986" y="5136871"/>
            <a:ext cx="1956833" cy="725758"/>
          </a:xfrm>
          <a:prstGeom prst="rect">
            <a:avLst/>
          </a:prstGeom>
          <a:noFill/>
        </p:spPr>
      </p:pic>
      <p:pic>
        <p:nvPicPr>
          <p:cNvPr id="13" name="Grafik 7" descr="Bildergebnis für anre">
            <a:extLst>
              <a:ext uri="{FF2B5EF4-FFF2-40B4-BE49-F238E27FC236}">
                <a16:creationId xmlns:a16="http://schemas.microsoft.com/office/drawing/2014/main" id="{211E79BF-5EA5-5C36-A458-AC47C980DD89}"/>
              </a:ext>
            </a:extLst>
          </p:cNvPr>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5565013" y="5241704"/>
            <a:ext cx="701900" cy="471915"/>
          </a:xfrm>
          <a:prstGeom prst="rect">
            <a:avLst/>
          </a:prstGeom>
          <a:noFill/>
          <a:ln>
            <a:noFill/>
          </a:ln>
        </p:spPr>
      </p:pic>
      <p:pic>
        <p:nvPicPr>
          <p:cNvPr id="15" name="Picture 5">
            <a:hlinkClick r:id="rId8"/>
            <a:extLst>
              <a:ext uri="{FF2B5EF4-FFF2-40B4-BE49-F238E27FC236}">
                <a16:creationId xmlns:a16="http://schemas.microsoft.com/office/drawing/2014/main" id="{B102CB78-1176-D2F3-C4DD-A2F923831F67}"/>
              </a:ext>
            </a:extLst>
          </p:cNvPr>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3182266" y="5947303"/>
            <a:ext cx="1363980" cy="223840"/>
          </a:xfrm>
          <a:prstGeom prst="rect">
            <a:avLst/>
          </a:prstGeom>
          <a:noFill/>
        </p:spPr>
      </p:pic>
      <p:pic>
        <p:nvPicPr>
          <p:cNvPr id="17" name="Grafik 11" descr="http://strujaplin.com/images/logo-hera.png">
            <a:extLst>
              <a:ext uri="{FF2B5EF4-FFF2-40B4-BE49-F238E27FC236}">
                <a16:creationId xmlns:a16="http://schemas.microsoft.com/office/drawing/2014/main" id="{AE0BCF2D-9489-AD64-42A6-9D2018E41FDC}"/>
              </a:ext>
            </a:extLst>
          </p:cNvPr>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7160773" y="5855982"/>
            <a:ext cx="739123" cy="478840"/>
          </a:xfrm>
          <a:prstGeom prst="rect">
            <a:avLst/>
          </a:prstGeom>
          <a:noFill/>
          <a:ln>
            <a:noFill/>
          </a:ln>
        </p:spPr>
      </p:pic>
      <p:pic>
        <p:nvPicPr>
          <p:cNvPr id="18" name="Picture 2" descr="logo-acm-nl_tcm13-202295">
            <a:extLst>
              <a:ext uri="{FF2B5EF4-FFF2-40B4-BE49-F238E27FC236}">
                <a16:creationId xmlns:a16="http://schemas.microsoft.com/office/drawing/2014/main" id="{8A397356-9E13-0D6E-3223-51A096FEA010}"/>
              </a:ext>
            </a:extLst>
          </p:cNvPr>
          <p:cNvPicPr>
            <a:picLocks noChangeAspect="1" noChangeArrowheads="1"/>
          </p:cNvPicPr>
          <p:nvPr userDrawn="1"/>
        </p:nvPicPr>
        <p:blipFill>
          <a:blip r:embed="rId11"/>
          <a:srcRect/>
          <a:stretch>
            <a:fillRect/>
          </a:stretch>
        </p:blipFill>
        <p:spPr bwMode="auto">
          <a:xfrm>
            <a:off x="1485022" y="5280925"/>
            <a:ext cx="1021191" cy="437653"/>
          </a:xfrm>
          <a:prstGeom prst="rect">
            <a:avLst/>
          </a:prstGeom>
          <a:noFill/>
          <a:ln w="9525">
            <a:noFill/>
            <a:miter lim="800000"/>
            <a:headEnd/>
            <a:tailEnd/>
          </a:ln>
        </p:spPr>
      </p:pic>
      <p:pic>
        <p:nvPicPr>
          <p:cNvPr id="19" name="Picture 9">
            <a:extLst>
              <a:ext uri="{FF2B5EF4-FFF2-40B4-BE49-F238E27FC236}">
                <a16:creationId xmlns:a16="http://schemas.microsoft.com/office/drawing/2014/main" id="{8F9EAA42-7CE4-F536-9FB5-FD4B881BD78D}"/>
              </a:ext>
            </a:extLst>
          </p:cNvPr>
          <p:cNvPicPr>
            <a:picLocks noGrp="1" noChangeAspect="1" noChangeArrowheads="1"/>
          </p:cNvPicPr>
          <p:nvPr userDrawn="1"/>
        </p:nvPicPr>
        <p:blipFill>
          <a:blip r:embed="rId12" cstate="print">
            <a:extLst>
              <a:ext uri="{28A0092B-C50C-407E-A947-70E740481C1C}">
                <a14:useLocalDpi xmlns:a14="http://schemas.microsoft.com/office/drawing/2010/main" val="0"/>
              </a:ext>
            </a:extLst>
          </a:blip>
          <a:stretch>
            <a:fillRect/>
          </a:stretch>
        </p:blipFill>
        <p:spPr bwMode="auto">
          <a:xfrm>
            <a:off x="8647385" y="5404811"/>
            <a:ext cx="1197695" cy="29080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Grafik 14" descr="C:\Users\zko\AppData\Local\Microsoft\Windows\INetCache\Content.Word\EC_Logo_pixel_RGB.JPG">
            <a:extLst>
              <a:ext uri="{FF2B5EF4-FFF2-40B4-BE49-F238E27FC236}">
                <a16:creationId xmlns:a16="http://schemas.microsoft.com/office/drawing/2014/main" id="{8C634B9F-9E57-6B76-A726-E253E1ABBEA0}"/>
              </a:ext>
            </a:extLst>
          </p:cNvPr>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730885" y="5936111"/>
            <a:ext cx="1226495" cy="246224"/>
          </a:xfrm>
          <a:prstGeom prst="rect">
            <a:avLst/>
          </a:prstGeom>
          <a:noFill/>
          <a:ln>
            <a:noFill/>
          </a:ln>
        </p:spPr>
      </p:pic>
      <p:pic>
        <p:nvPicPr>
          <p:cNvPr id="21" name="Grafik 15">
            <a:extLst>
              <a:ext uri="{FF2B5EF4-FFF2-40B4-BE49-F238E27FC236}">
                <a16:creationId xmlns:a16="http://schemas.microsoft.com/office/drawing/2014/main" id="{6EBD3D39-DED1-A763-7075-9481866E7937}"/>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2673673" y="5406681"/>
            <a:ext cx="1608712" cy="228672"/>
          </a:xfrm>
          <a:prstGeom prst="rect">
            <a:avLst/>
          </a:prstGeom>
        </p:spPr>
      </p:pic>
      <p:pic>
        <p:nvPicPr>
          <p:cNvPr id="22" name="Grafik 16">
            <a:extLst>
              <a:ext uri="{FF2B5EF4-FFF2-40B4-BE49-F238E27FC236}">
                <a16:creationId xmlns:a16="http://schemas.microsoft.com/office/drawing/2014/main" id="{BA5BDBC8-57DF-40D3-13F5-4B6811CF1822}"/>
              </a:ext>
            </a:extLst>
          </p:cNvPr>
          <p:cNvPicPr>
            <a:picLocks noChangeAspect="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7472325" y="5476738"/>
            <a:ext cx="1136987" cy="146955"/>
          </a:xfrm>
          <a:prstGeom prst="rect">
            <a:avLst/>
          </a:prstGeom>
          <a:noFill/>
          <a:ln>
            <a:noFill/>
          </a:ln>
        </p:spPr>
      </p:pic>
      <p:pic>
        <p:nvPicPr>
          <p:cNvPr id="24" name="Grafik 17">
            <a:extLst>
              <a:ext uri="{FF2B5EF4-FFF2-40B4-BE49-F238E27FC236}">
                <a16:creationId xmlns:a16="http://schemas.microsoft.com/office/drawing/2014/main" id="{B547AC9D-044C-3F9A-E2B8-E562457882BF}"/>
              </a:ext>
            </a:extLst>
          </p:cNvPr>
          <p:cNvPicPr>
            <a:picLocks noChangeAspect="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8061201" y="5777073"/>
            <a:ext cx="1074111" cy="413952"/>
          </a:xfrm>
          <a:prstGeom prst="rect">
            <a:avLst/>
          </a:prstGeom>
          <a:noFill/>
          <a:ln>
            <a:noFill/>
          </a:ln>
        </p:spPr>
      </p:pic>
      <p:pic>
        <p:nvPicPr>
          <p:cNvPr id="25" name="Grafik 18">
            <a:extLst>
              <a:ext uri="{FF2B5EF4-FFF2-40B4-BE49-F238E27FC236}">
                <a16:creationId xmlns:a16="http://schemas.microsoft.com/office/drawing/2014/main" id="{93434413-17DB-693E-9614-657C18FB2921}"/>
              </a:ext>
            </a:extLst>
          </p:cNvPr>
          <p:cNvPicPr>
            <a:picLocks noChangeAspect="1"/>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5966148" y="5964049"/>
            <a:ext cx="1096253" cy="252628"/>
          </a:xfrm>
          <a:prstGeom prst="rect">
            <a:avLst/>
          </a:prstGeom>
          <a:noFill/>
          <a:ln>
            <a:noFill/>
          </a:ln>
        </p:spPr>
      </p:pic>
      <p:sp>
        <p:nvSpPr>
          <p:cNvPr id="26" name="Szövegdoboz 24">
            <a:extLst>
              <a:ext uri="{FF2B5EF4-FFF2-40B4-BE49-F238E27FC236}">
                <a16:creationId xmlns:a16="http://schemas.microsoft.com/office/drawing/2014/main" id="{FD8E5403-9FA3-6502-DED8-85059BEF57AD}"/>
              </a:ext>
            </a:extLst>
          </p:cNvPr>
          <p:cNvSpPr txBox="1"/>
          <p:nvPr userDrawn="1"/>
        </p:nvSpPr>
        <p:spPr>
          <a:xfrm>
            <a:off x="10392789" y="5300420"/>
            <a:ext cx="503915" cy="215444"/>
          </a:xfrm>
          <a:prstGeom prst="rect">
            <a:avLst/>
          </a:prstGeom>
        </p:spPr>
        <p:txBody>
          <a:bodyPr vert="horz" wrap="square" lIns="0" tIns="0" rIns="0" bIns="0" rtlCol="0">
            <a:spAutoFit/>
          </a:bodyPr>
          <a:lstStyle/>
          <a:p>
            <a:pPr algn="ctr"/>
            <a:r>
              <a:rPr lang="hu-HU" sz="1400" b="1" dirty="0"/>
              <a:t>*</a:t>
            </a:r>
          </a:p>
        </p:txBody>
      </p:sp>
      <p:sp>
        <p:nvSpPr>
          <p:cNvPr id="27" name="Textfeld 26">
            <a:extLst>
              <a:ext uri="{FF2B5EF4-FFF2-40B4-BE49-F238E27FC236}">
                <a16:creationId xmlns:a16="http://schemas.microsoft.com/office/drawing/2014/main" id="{B8D8339B-E9C7-36FA-E942-49792CA34125}"/>
              </a:ext>
            </a:extLst>
          </p:cNvPr>
          <p:cNvSpPr txBox="1"/>
          <p:nvPr userDrawn="1"/>
        </p:nvSpPr>
        <p:spPr>
          <a:xfrm>
            <a:off x="8018446" y="6358791"/>
            <a:ext cx="2983841" cy="215444"/>
          </a:xfrm>
          <a:prstGeom prst="rect">
            <a:avLst/>
          </a:prstGeom>
          <a:noFill/>
        </p:spPr>
        <p:txBody>
          <a:bodyPr wrap="square" rtlCol="0">
            <a:spAutoFit/>
          </a:bodyPr>
          <a:lstStyle/>
          <a:p>
            <a:r>
              <a:rPr lang="en-US" sz="800" dirty="0">
                <a:solidFill>
                  <a:srgbClr val="002060"/>
                </a:solidFill>
              </a:rPr>
              <a:t>*</a:t>
            </a:r>
            <a:r>
              <a:rPr lang="en-US" sz="600" dirty="0">
                <a:solidFill>
                  <a:srgbClr val="002060"/>
                </a:solidFill>
              </a:rPr>
              <a:t> as according to ACER Decision No 04/2024 (of 19 March 2024) </a:t>
            </a:r>
            <a:endParaRPr lang="en-GB" sz="600" dirty="0">
              <a:solidFill>
                <a:srgbClr val="002060"/>
              </a:solidFill>
            </a:endParaRPr>
          </a:p>
        </p:txBody>
      </p:sp>
      <p:sp>
        <p:nvSpPr>
          <p:cNvPr id="28" name="Szövegdoboz 24">
            <a:extLst>
              <a:ext uri="{FF2B5EF4-FFF2-40B4-BE49-F238E27FC236}">
                <a16:creationId xmlns:a16="http://schemas.microsoft.com/office/drawing/2014/main" id="{A91F1A0B-9F5E-A155-3C84-98679E2ACBF3}"/>
              </a:ext>
            </a:extLst>
          </p:cNvPr>
          <p:cNvSpPr txBox="1"/>
          <p:nvPr userDrawn="1"/>
        </p:nvSpPr>
        <p:spPr>
          <a:xfrm>
            <a:off x="5098608" y="5241703"/>
            <a:ext cx="503915" cy="215444"/>
          </a:xfrm>
          <a:prstGeom prst="rect">
            <a:avLst/>
          </a:prstGeom>
        </p:spPr>
        <p:txBody>
          <a:bodyPr vert="horz" wrap="square" lIns="0" tIns="0" rIns="0" bIns="0" rtlCol="0">
            <a:spAutoFit/>
          </a:bodyPr>
          <a:lstStyle/>
          <a:p>
            <a:pPr algn="ctr"/>
            <a:r>
              <a:rPr lang="hu-HU" sz="1400" b="1" dirty="0"/>
              <a:t>*</a:t>
            </a:r>
          </a:p>
        </p:txBody>
      </p:sp>
      <p:pic>
        <p:nvPicPr>
          <p:cNvPr id="52" name="Obrázek 51">
            <a:extLst>
              <a:ext uri="{FF2B5EF4-FFF2-40B4-BE49-F238E27FC236}">
                <a16:creationId xmlns:a16="http://schemas.microsoft.com/office/drawing/2014/main" id="{4E22CD50-75D6-4334-890F-05803856DF61}"/>
              </a:ext>
            </a:extLst>
          </p:cNvPr>
          <p:cNvPicPr>
            <a:picLocks noChangeAspect="1"/>
          </p:cNvPicPr>
          <p:nvPr userDrawn="1"/>
        </p:nvPicPr>
        <p:blipFill>
          <a:blip r:embed="rId19"/>
          <a:stretch>
            <a:fillRect/>
          </a:stretch>
        </p:blipFill>
        <p:spPr>
          <a:xfrm>
            <a:off x="4771133" y="1250350"/>
            <a:ext cx="1061072" cy="263872"/>
          </a:xfrm>
          <a:prstGeom prst="rect">
            <a:avLst/>
          </a:prstGeom>
        </p:spPr>
      </p:pic>
      <p:pic>
        <p:nvPicPr>
          <p:cNvPr id="53" name="Obrázek 52">
            <a:extLst>
              <a:ext uri="{FF2B5EF4-FFF2-40B4-BE49-F238E27FC236}">
                <a16:creationId xmlns:a16="http://schemas.microsoft.com/office/drawing/2014/main" id="{1CF34975-4A54-481F-8702-C8D49A9031EE}"/>
              </a:ext>
            </a:extLst>
          </p:cNvPr>
          <p:cNvPicPr>
            <a:picLocks noChangeAspect="1"/>
          </p:cNvPicPr>
          <p:nvPr userDrawn="1"/>
        </p:nvPicPr>
        <p:blipFill>
          <a:blip r:embed="rId20"/>
          <a:stretch>
            <a:fillRect/>
          </a:stretch>
        </p:blipFill>
        <p:spPr>
          <a:xfrm>
            <a:off x="9242543" y="1051060"/>
            <a:ext cx="1439879" cy="567225"/>
          </a:xfrm>
          <a:prstGeom prst="rect">
            <a:avLst/>
          </a:prstGeom>
        </p:spPr>
      </p:pic>
      <p:pic>
        <p:nvPicPr>
          <p:cNvPr id="55" name="Obrázek 54">
            <a:extLst>
              <a:ext uri="{FF2B5EF4-FFF2-40B4-BE49-F238E27FC236}">
                <a16:creationId xmlns:a16="http://schemas.microsoft.com/office/drawing/2014/main" id="{6E4B062C-F0F1-4A2F-861A-F9E90244A241}"/>
              </a:ext>
            </a:extLst>
          </p:cNvPr>
          <p:cNvPicPr>
            <a:picLocks noChangeAspect="1"/>
          </p:cNvPicPr>
          <p:nvPr userDrawn="1"/>
        </p:nvPicPr>
        <p:blipFill>
          <a:blip r:embed="rId20"/>
          <a:stretch>
            <a:fillRect/>
          </a:stretch>
        </p:blipFill>
        <p:spPr>
          <a:xfrm>
            <a:off x="9242543" y="5766885"/>
            <a:ext cx="1439879" cy="567225"/>
          </a:xfrm>
          <a:prstGeom prst="rect">
            <a:avLst/>
          </a:prstGeom>
        </p:spPr>
      </p:pic>
      <p:pic>
        <p:nvPicPr>
          <p:cNvPr id="56" name="Obrázek 55">
            <a:extLst>
              <a:ext uri="{FF2B5EF4-FFF2-40B4-BE49-F238E27FC236}">
                <a16:creationId xmlns:a16="http://schemas.microsoft.com/office/drawing/2014/main" id="{2D2D593E-9D3E-4518-8FAD-60A60E74C464}"/>
              </a:ext>
            </a:extLst>
          </p:cNvPr>
          <p:cNvPicPr>
            <a:picLocks noChangeAspect="1"/>
          </p:cNvPicPr>
          <p:nvPr userDrawn="1"/>
        </p:nvPicPr>
        <p:blipFill>
          <a:blip r:embed="rId19"/>
          <a:stretch>
            <a:fillRect/>
          </a:stretch>
        </p:blipFill>
        <p:spPr>
          <a:xfrm>
            <a:off x="4771133" y="5964049"/>
            <a:ext cx="1061072" cy="263872"/>
          </a:xfrm>
          <a:prstGeom prst="rect">
            <a:avLst/>
          </a:prstGeom>
        </p:spPr>
      </p:pic>
    </p:spTree>
    <p:extLst>
      <p:ext uri="{BB962C8B-B14F-4D97-AF65-F5344CB8AC3E}">
        <p14:creationId xmlns:p14="http://schemas.microsoft.com/office/powerpoint/2010/main" val="161777064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title" preserve="1">
  <p:cSld name="Core Title Sli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FDE1041-55FA-1DC4-2A3C-898766959EC8}"/>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Folie" r:id="rId3" imgW="624" imgH="623" progId="TCLayout.ActiveDocument.1">
                  <p:embed/>
                </p:oleObj>
              </mc:Choice>
              <mc:Fallback>
                <p:oleObj name="think-cell Folie" r:id="rId3" imgW="624" imgH="623" progId="TCLayout.ActiveDocument.1">
                  <p:embed/>
                  <p:pic>
                    <p:nvPicPr>
                      <p:cNvPr id="8" name="think-cell data - do not delete" hidden="1">
                        <a:extLst>
                          <a:ext uri="{FF2B5EF4-FFF2-40B4-BE49-F238E27FC236}">
                            <a16:creationId xmlns:a16="http://schemas.microsoft.com/office/drawing/2014/main" id="{1FDE1041-55FA-1DC4-2A3C-898766959EC8}"/>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pic>
        <p:nvPicPr>
          <p:cNvPr id="9" name="Grafik 8">
            <a:extLst>
              <a:ext uri="{FF2B5EF4-FFF2-40B4-BE49-F238E27FC236}">
                <a16:creationId xmlns:a16="http://schemas.microsoft.com/office/drawing/2014/main" id="{34D4289E-4825-2274-76C2-86C810B086A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325241" y="632506"/>
            <a:ext cx="865436" cy="248752"/>
          </a:xfrm>
          <a:prstGeom prst="rect">
            <a:avLst/>
          </a:prstGeom>
        </p:spPr>
      </p:pic>
      <p:sp>
        <p:nvSpPr>
          <p:cNvPr id="2" name="Title 1">
            <a:extLst>
              <a:ext uri="{FF2B5EF4-FFF2-40B4-BE49-F238E27FC236}">
                <a16:creationId xmlns:a16="http://schemas.microsoft.com/office/drawing/2014/main" id="{C05BCF98-8557-ABB3-B72D-BEE3CDDB6F5D}"/>
              </a:ext>
            </a:extLst>
          </p:cNvPr>
          <p:cNvSpPr>
            <a:spLocks noGrp="1"/>
          </p:cNvSpPr>
          <p:nvPr>
            <p:ph type="ctrTitle" hasCustomPrompt="1"/>
          </p:nvPr>
        </p:nvSpPr>
        <p:spPr>
          <a:xfrm>
            <a:off x="1524000" y="2232837"/>
            <a:ext cx="9144000" cy="1277126"/>
          </a:xfrm>
        </p:spPr>
        <p:txBody>
          <a:bodyPr vert="horz" anchor="b">
            <a:normAutofit/>
          </a:bodyPr>
          <a:lstStyle>
            <a:lvl1pPr algn="ctr">
              <a:defRPr sz="3200"/>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29D3BE49-03C7-BB4F-4C31-06C7072CA14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pic>
        <p:nvPicPr>
          <p:cNvPr id="23" name="Picture 2">
            <a:extLst>
              <a:ext uri="{FF2B5EF4-FFF2-40B4-BE49-F238E27FC236}">
                <a16:creationId xmlns:a16="http://schemas.microsoft.com/office/drawing/2014/main" id="{2C0A4F82-C4CD-0A73-336F-1C54012F0347}"/>
              </a:ext>
            </a:extLst>
          </p:cNvPr>
          <p:cNvPicPr/>
          <p:nvPr userDrawn="1"/>
        </p:nvPicPr>
        <p:blipFill>
          <a:blip r:embed="rId6">
            <a:lum contrast="72000"/>
            <a:extLst>
              <a:ext uri="{28A0092B-C50C-407E-A947-70E740481C1C}">
                <a14:useLocalDpi xmlns:a14="http://schemas.microsoft.com/office/drawing/2010/main" val="0"/>
              </a:ext>
            </a:extLst>
          </a:blip>
          <a:srcRect/>
          <a:stretch>
            <a:fillRect/>
          </a:stretch>
        </p:blipFill>
        <p:spPr bwMode="auto">
          <a:xfrm>
            <a:off x="5496789" y="428393"/>
            <a:ext cx="1956833" cy="725758"/>
          </a:xfrm>
          <a:prstGeom prst="rect">
            <a:avLst/>
          </a:prstGeom>
          <a:noFill/>
        </p:spPr>
      </p:pic>
      <p:pic>
        <p:nvPicPr>
          <p:cNvPr id="37" name="Grafik 7" descr="Bildergebnis für anre">
            <a:extLst>
              <a:ext uri="{FF2B5EF4-FFF2-40B4-BE49-F238E27FC236}">
                <a16:creationId xmlns:a16="http://schemas.microsoft.com/office/drawing/2014/main" id="{4EE802C8-A2D8-5EA8-7B5C-7D268935502D}"/>
              </a:ext>
            </a:extLst>
          </p:cNvPr>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4819899" y="515206"/>
            <a:ext cx="701900" cy="471915"/>
          </a:xfrm>
          <a:prstGeom prst="rect">
            <a:avLst/>
          </a:prstGeom>
          <a:noFill/>
          <a:ln>
            <a:noFill/>
          </a:ln>
        </p:spPr>
      </p:pic>
      <p:pic>
        <p:nvPicPr>
          <p:cNvPr id="39" name="Picture 5">
            <a:hlinkClick r:id="rId8"/>
            <a:extLst>
              <a:ext uri="{FF2B5EF4-FFF2-40B4-BE49-F238E27FC236}">
                <a16:creationId xmlns:a16="http://schemas.microsoft.com/office/drawing/2014/main" id="{7E9537C3-2EBD-C9EA-2C0E-E6836689FEC6}"/>
              </a:ext>
            </a:extLst>
          </p:cNvPr>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3279590" y="1205706"/>
            <a:ext cx="1363980" cy="223840"/>
          </a:xfrm>
          <a:prstGeom prst="rect">
            <a:avLst/>
          </a:prstGeom>
          <a:noFill/>
        </p:spPr>
      </p:pic>
      <p:pic>
        <p:nvPicPr>
          <p:cNvPr id="41" name="Grafik 11" descr="http://strujaplin.com/images/logo-hera.png">
            <a:extLst>
              <a:ext uri="{FF2B5EF4-FFF2-40B4-BE49-F238E27FC236}">
                <a16:creationId xmlns:a16="http://schemas.microsoft.com/office/drawing/2014/main" id="{5460F42B-7B80-B30F-075A-F551D81F0413}"/>
              </a:ext>
            </a:extLst>
          </p:cNvPr>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7368340" y="1078206"/>
            <a:ext cx="739123" cy="478840"/>
          </a:xfrm>
          <a:prstGeom prst="rect">
            <a:avLst/>
          </a:prstGeom>
          <a:noFill/>
          <a:ln>
            <a:noFill/>
          </a:ln>
        </p:spPr>
      </p:pic>
      <p:pic>
        <p:nvPicPr>
          <p:cNvPr id="42" name="Picture 2" descr="logo-acm-nl_tcm13-202295">
            <a:extLst>
              <a:ext uri="{FF2B5EF4-FFF2-40B4-BE49-F238E27FC236}">
                <a16:creationId xmlns:a16="http://schemas.microsoft.com/office/drawing/2014/main" id="{2FCA33DE-3024-6397-9A32-CD9820C846E2}"/>
              </a:ext>
            </a:extLst>
          </p:cNvPr>
          <p:cNvPicPr>
            <a:picLocks noChangeAspect="1" noChangeArrowheads="1"/>
          </p:cNvPicPr>
          <p:nvPr userDrawn="1"/>
        </p:nvPicPr>
        <p:blipFill>
          <a:blip r:embed="rId11"/>
          <a:srcRect/>
          <a:stretch>
            <a:fillRect/>
          </a:stretch>
        </p:blipFill>
        <p:spPr bwMode="auto">
          <a:xfrm>
            <a:off x="1901271" y="532338"/>
            <a:ext cx="1021191" cy="437653"/>
          </a:xfrm>
          <a:prstGeom prst="rect">
            <a:avLst/>
          </a:prstGeom>
          <a:noFill/>
          <a:ln w="9525">
            <a:noFill/>
            <a:miter lim="800000"/>
            <a:headEnd/>
            <a:tailEnd/>
          </a:ln>
        </p:spPr>
      </p:pic>
      <p:pic>
        <p:nvPicPr>
          <p:cNvPr id="43" name="Picture 9">
            <a:extLst>
              <a:ext uri="{FF2B5EF4-FFF2-40B4-BE49-F238E27FC236}">
                <a16:creationId xmlns:a16="http://schemas.microsoft.com/office/drawing/2014/main" id="{1357A5CC-865B-D9E0-5E19-F0EAC6246C02}"/>
              </a:ext>
            </a:extLst>
          </p:cNvPr>
          <p:cNvPicPr>
            <a:picLocks noGrp="1" noChangeAspect="1" noChangeArrowheads="1"/>
          </p:cNvPicPr>
          <p:nvPr userDrawn="1"/>
        </p:nvPicPr>
        <p:blipFill>
          <a:blip r:embed="rId12" cstate="print">
            <a:extLst>
              <a:ext uri="{28A0092B-C50C-407E-A947-70E740481C1C}">
                <a14:useLocalDpi xmlns:a14="http://schemas.microsoft.com/office/drawing/2010/main" val="0"/>
              </a:ext>
            </a:extLst>
          </a:blip>
          <a:stretch>
            <a:fillRect/>
          </a:stretch>
        </p:blipFill>
        <p:spPr bwMode="auto">
          <a:xfrm>
            <a:off x="8005350" y="675332"/>
            <a:ext cx="1197695" cy="29080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Grafik 14" descr="C:\Users\zko\AppData\Local\Microsoft\Windows\INetCache\Content.Word\EC_Logo_pixel_RGB.JPG">
            <a:extLst>
              <a:ext uri="{FF2B5EF4-FFF2-40B4-BE49-F238E27FC236}">
                <a16:creationId xmlns:a16="http://schemas.microsoft.com/office/drawing/2014/main" id="{48EABB9E-77CC-349F-4F73-A62FE82A0A57}"/>
              </a:ext>
            </a:extLst>
          </p:cNvPr>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901271" y="1196133"/>
            <a:ext cx="1226495" cy="246224"/>
          </a:xfrm>
          <a:prstGeom prst="rect">
            <a:avLst/>
          </a:prstGeom>
          <a:noFill/>
          <a:ln>
            <a:noFill/>
          </a:ln>
        </p:spPr>
      </p:pic>
      <p:pic>
        <p:nvPicPr>
          <p:cNvPr id="45" name="Grafik 15">
            <a:extLst>
              <a:ext uri="{FF2B5EF4-FFF2-40B4-BE49-F238E27FC236}">
                <a16:creationId xmlns:a16="http://schemas.microsoft.com/office/drawing/2014/main" id="{77EAC0B7-6FEA-3848-FA46-555AF55ECE44}"/>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3049569" y="637972"/>
            <a:ext cx="1608712" cy="228672"/>
          </a:xfrm>
          <a:prstGeom prst="rect">
            <a:avLst/>
          </a:prstGeom>
        </p:spPr>
      </p:pic>
      <p:pic>
        <p:nvPicPr>
          <p:cNvPr id="46" name="Grafik 16">
            <a:extLst>
              <a:ext uri="{FF2B5EF4-FFF2-40B4-BE49-F238E27FC236}">
                <a16:creationId xmlns:a16="http://schemas.microsoft.com/office/drawing/2014/main" id="{B90745A4-B2C1-4475-32EF-CA31E39A10F7}"/>
              </a:ext>
            </a:extLst>
          </p:cNvPr>
          <p:cNvPicPr>
            <a:picLocks noChangeAspect="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6831475" y="734304"/>
            <a:ext cx="1136987" cy="146955"/>
          </a:xfrm>
          <a:prstGeom prst="rect">
            <a:avLst/>
          </a:prstGeom>
          <a:noFill/>
          <a:ln>
            <a:noFill/>
          </a:ln>
        </p:spPr>
      </p:pic>
      <p:pic>
        <p:nvPicPr>
          <p:cNvPr id="47" name="Grafik 17">
            <a:extLst>
              <a:ext uri="{FF2B5EF4-FFF2-40B4-BE49-F238E27FC236}">
                <a16:creationId xmlns:a16="http://schemas.microsoft.com/office/drawing/2014/main" id="{A5362676-0165-A744-E883-D2A21F23D012}"/>
              </a:ext>
            </a:extLst>
          </p:cNvPr>
          <p:cNvPicPr>
            <a:picLocks noChangeAspect="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8251130" y="1118894"/>
            <a:ext cx="1074111" cy="413952"/>
          </a:xfrm>
          <a:prstGeom prst="rect">
            <a:avLst/>
          </a:prstGeom>
          <a:noFill/>
          <a:ln>
            <a:noFill/>
          </a:ln>
        </p:spPr>
      </p:pic>
      <p:pic>
        <p:nvPicPr>
          <p:cNvPr id="48" name="Grafik 18">
            <a:extLst>
              <a:ext uri="{FF2B5EF4-FFF2-40B4-BE49-F238E27FC236}">
                <a16:creationId xmlns:a16="http://schemas.microsoft.com/office/drawing/2014/main" id="{DAFD9772-B969-6304-EE44-9CFFB1A78C79}"/>
              </a:ext>
            </a:extLst>
          </p:cNvPr>
          <p:cNvPicPr>
            <a:picLocks noChangeAspect="1"/>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6114080" y="1185690"/>
            <a:ext cx="1096253" cy="252628"/>
          </a:xfrm>
          <a:prstGeom prst="rect">
            <a:avLst/>
          </a:prstGeom>
          <a:noFill/>
          <a:ln>
            <a:noFill/>
          </a:ln>
        </p:spPr>
      </p:pic>
      <p:sp>
        <p:nvSpPr>
          <p:cNvPr id="51" name="Szövegdoboz 24">
            <a:extLst>
              <a:ext uri="{FF2B5EF4-FFF2-40B4-BE49-F238E27FC236}">
                <a16:creationId xmlns:a16="http://schemas.microsoft.com/office/drawing/2014/main" id="{D160EFEF-0348-23AE-2F1D-C2F77C5CF3CB}"/>
              </a:ext>
            </a:extLst>
          </p:cNvPr>
          <p:cNvSpPr txBox="1"/>
          <p:nvPr userDrawn="1"/>
        </p:nvSpPr>
        <p:spPr>
          <a:xfrm>
            <a:off x="9937715" y="595803"/>
            <a:ext cx="503915" cy="215444"/>
          </a:xfrm>
          <a:prstGeom prst="rect">
            <a:avLst/>
          </a:prstGeom>
        </p:spPr>
        <p:txBody>
          <a:bodyPr vert="horz" wrap="square" lIns="0" tIns="0" rIns="0" bIns="0" rtlCol="0">
            <a:spAutoFit/>
          </a:bodyPr>
          <a:lstStyle/>
          <a:p>
            <a:pPr algn="ctr"/>
            <a:r>
              <a:rPr lang="hu-HU" sz="1400" b="1" dirty="0"/>
              <a:t>*</a:t>
            </a:r>
          </a:p>
        </p:txBody>
      </p:sp>
      <p:sp>
        <p:nvSpPr>
          <p:cNvPr id="54" name="Textfeld 53">
            <a:extLst>
              <a:ext uri="{FF2B5EF4-FFF2-40B4-BE49-F238E27FC236}">
                <a16:creationId xmlns:a16="http://schemas.microsoft.com/office/drawing/2014/main" id="{3D5976B5-660B-B4BC-DC29-0F67E0BFF34C}"/>
              </a:ext>
            </a:extLst>
          </p:cNvPr>
          <p:cNvSpPr txBox="1"/>
          <p:nvPr userDrawn="1"/>
        </p:nvSpPr>
        <p:spPr>
          <a:xfrm>
            <a:off x="7842676" y="1634199"/>
            <a:ext cx="2983841" cy="215444"/>
          </a:xfrm>
          <a:prstGeom prst="rect">
            <a:avLst/>
          </a:prstGeom>
          <a:noFill/>
        </p:spPr>
        <p:txBody>
          <a:bodyPr wrap="square" rtlCol="0">
            <a:spAutoFit/>
          </a:bodyPr>
          <a:lstStyle/>
          <a:p>
            <a:r>
              <a:rPr lang="en-US" sz="800" dirty="0">
                <a:solidFill>
                  <a:srgbClr val="002060"/>
                </a:solidFill>
              </a:rPr>
              <a:t>*</a:t>
            </a:r>
            <a:r>
              <a:rPr lang="en-US" sz="600" dirty="0">
                <a:solidFill>
                  <a:srgbClr val="002060"/>
                </a:solidFill>
              </a:rPr>
              <a:t> as according to ACER Decision No 04/2024 (of 19 March 2024) </a:t>
            </a:r>
            <a:endParaRPr lang="en-GB" sz="600" dirty="0">
              <a:solidFill>
                <a:srgbClr val="002060"/>
              </a:solidFill>
            </a:endParaRPr>
          </a:p>
        </p:txBody>
      </p:sp>
      <p:pic>
        <p:nvPicPr>
          <p:cNvPr id="24" name="Obrázek 23">
            <a:extLst>
              <a:ext uri="{FF2B5EF4-FFF2-40B4-BE49-F238E27FC236}">
                <a16:creationId xmlns:a16="http://schemas.microsoft.com/office/drawing/2014/main" id="{40C78969-29E7-4E3D-9C05-A092B5F07558}"/>
              </a:ext>
            </a:extLst>
          </p:cNvPr>
          <p:cNvPicPr>
            <a:picLocks noChangeAspect="1"/>
          </p:cNvPicPr>
          <p:nvPr userDrawn="1"/>
        </p:nvPicPr>
        <p:blipFill>
          <a:blip r:embed="rId18"/>
          <a:stretch>
            <a:fillRect/>
          </a:stretch>
        </p:blipFill>
        <p:spPr>
          <a:xfrm>
            <a:off x="9334595" y="1066975"/>
            <a:ext cx="1439879" cy="567225"/>
          </a:xfrm>
          <a:prstGeom prst="rect">
            <a:avLst/>
          </a:prstGeom>
        </p:spPr>
      </p:pic>
      <p:pic>
        <p:nvPicPr>
          <p:cNvPr id="25" name="Obrázek 24">
            <a:extLst>
              <a:ext uri="{FF2B5EF4-FFF2-40B4-BE49-F238E27FC236}">
                <a16:creationId xmlns:a16="http://schemas.microsoft.com/office/drawing/2014/main" id="{C9F12BD0-A91B-4E9E-872F-9291D9293BFC}"/>
              </a:ext>
            </a:extLst>
          </p:cNvPr>
          <p:cNvPicPr>
            <a:picLocks noChangeAspect="1"/>
          </p:cNvPicPr>
          <p:nvPr userDrawn="1"/>
        </p:nvPicPr>
        <p:blipFill>
          <a:blip r:embed="rId19"/>
          <a:stretch>
            <a:fillRect/>
          </a:stretch>
        </p:blipFill>
        <p:spPr>
          <a:xfrm>
            <a:off x="4840923" y="1185690"/>
            <a:ext cx="1061072" cy="263872"/>
          </a:xfrm>
          <a:prstGeom prst="rect">
            <a:avLst/>
          </a:prstGeom>
        </p:spPr>
      </p:pic>
    </p:spTree>
    <p:extLst>
      <p:ext uri="{BB962C8B-B14F-4D97-AF65-F5344CB8AC3E}">
        <p14:creationId xmlns:p14="http://schemas.microsoft.com/office/powerpoint/2010/main" val="240571200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itle" preserve="1">
  <p:cSld name="CE Title Sli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FDE1041-55FA-1DC4-2A3C-898766959EC8}"/>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Folie" r:id="rId3" imgW="624" imgH="623" progId="TCLayout.ActiveDocument.1">
                  <p:embed/>
                </p:oleObj>
              </mc:Choice>
              <mc:Fallback>
                <p:oleObj name="think-cell Folie" r:id="rId3" imgW="624" imgH="623" progId="TCLayout.ActiveDocument.1">
                  <p:embed/>
                  <p:pic>
                    <p:nvPicPr>
                      <p:cNvPr id="8" name="think-cell data - do not delete" hidden="1">
                        <a:extLst>
                          <a:ext uri="{FF2B5EF4-FFF2-40B4-BE49-F238E27FC236}">
                            <a16:creationId xmlns:a16="http://schemas.microsoft.com/office/drawing/2014/main" id="{1FDE1041-55FA-1DC4-2A3C-898766959EC8}"/>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pic>
        <p:nvPicPr>
          <p:cNvPr id="7" name="Grafik 6">
            <a:extLst>
              <a:ext uri="{FF2B5EF4-FFF2-40B4-BE49-F238E27FC236}">
                <a16:creationId xmlns:a16="http://schemas.microsoft.com/office/drawing/2014/main" id="{9220E481-E0E6-7533-4AFF-683C3AEDB82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639094" y="657040"/>
            <a:ext cx="865436" cy="248752"/>
          </a:xfrm>
          <a:prstGeom prst="rect">
            <a:avLst/>
          </a:prstGeom>
        </p:spPr>
      </p:pic>
      <p:pic>
        <p:nvPicPr>
          <p:cNvPr id="16" name="Grafik 15">
            <a:extLst>
              <a:ext uri="{FF2B5EF4-FFF2-40B4-BE49-F238E27FC236}">
                <a16:creationId xmlns:a16="http://schemas.microsoft.com/office/drawing/2014/main" id="{F87EBE76-19FD-124A-3325-EF81E924155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195694" y="556332"/>
            <a:ext cx="1034973" cy="383558"/>
          </a:xfrm>
          <a:prstGeom prst="rect">
            <a:avLst/>
          </a:prstGeom>
        </p:spPr>
      </p:pic>
      <p:sp>
        <p:nvSpPr>
          <p:cNvPr id="13" name="Rechteck 12">
            <a:extLst>
              <a:ext uri="{FF2B5EF4-FFF2-40B4-BE49-F238E27FC236}">
                <a16:creationId xmlns:a16="http://schemas.microsoft.com/office/drawing/2014/main" id="{41ED27EA-E8E1-568B-1951-D2CD18D3029A}"/>
              </a:ext>
            </a:extLst>
          </p:cNvPr>
          <p:cNvSpPr/>
          <p:nvPr userDrawn="1"/>
        </p:nvSpPr>
        <p:spPr>
          <a:xfrm>
            <a:off x="-4859" y="6719780"/>
            <a:ext cx="12192000" cy="138218"/>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le 1">
            <a:extLst>
              <a:ext uri="{FF2B5EF4-FFF2-40B4-BE49-F238E27FC236}">
                <a16:creationId xmlns:a16="http://schemas.microsoft.com/office/drawing/2014/main" id="{C05BCF98-8557-ABB3-B72D-BEE3CDDB6F5D}"/>
              </a:ext>
            </a:extLst>
          </p:cNvPr>
          <p:cNvSpPr>
            <a:spLocks noGrp="1"/>
          </p:cNvSpPr>
          <p:nvPr>
            <p:ph type="ctrTitle" hasCustomPrompt="1"/>
          </p:nvPr>
        </p:nvSpPr>
        <p:spPr>
          <a:xfrm>
            <a:off x="1524000" y="2232837"/>
            <a:ext cx="9144000" cy="1277126"/>
          </a:xfrm>
        </p:spPr>
        <p:txBody>
          <a:bodyPr vert="horz" anchor="b">
            <a:normAutofit/>
          </a:bodyPr>
          <a:lstStyle>
            <a:lvl1pPr algn="ctr">
              <a:defRPr sz="3200"/>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29D3BE49-03C7-BB4F-4C31-06C7072CA14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pic>
        <p:nvPicPr>
          <p:cNvPr id="24" name="Picture 2">
            <a:extLst>
              <a:ext uri="{FF2B5EF4-FFF2-40B4-BE49-F238E27FC236}">
                <a16:creationId xmlns:a16="http://schemas.microsoft.com/office/drawing/2014/main" id="{095EF6E4-43E4-AAE3-BFC5-8D0AC4A54EA8}"/>
              </a:ext>
            </a:extLst>
          </p:cNvPr>
          <p:cNvPicPr/>
          <p:nvPr userDrawn="1"/>
        </p:nvPicPr>
        <p:blipFill>
          <a:blip r:embed="rId7">
            <a:lum contrast="72000"/>
            <a:extLst>
              <a:ext uri="{28A0092B-C50C-407E-A947-70E740481C1C}">
                <a14:useLocalDpi xmlns:a14="http://schemas.microsoft.com/office/drawing/2010/main" val="0"/>
              </a:ext>
            </a:extLst>
          </a:blip>
          <a:srcRect/>
          <a:stretch>
            <a:fillRect/>
          </a:stretch>
        </p:blipFill>
        <p:spPr bwMode="auto">
          <a:xfrm>
            <a:off x="5908216" y="412279"/>
            <a:ext cx="1956833" cy="725758"/>
          </a:xfrm>
          <a:prstGeom prst="rect">
            <a:avLst/>
          </a:prstGeom>
          <a:noFill/>
        </p:spPr>
      </p:pic>
      <p:pic>
        <p:nvPicPr>
          <p:cNvPr id="25" name="Grafik 7" descr="Bildergebnis für anre">
            <a:extLst>
              <a:ext uri="{FF2B5EF4-FFF2-40B4-BE49-F238E27FC236}">
                <a16:creationId xmlns:a16="http://schemas.microsoft.com/office/drawing/2014/main" id="{4512622B-C136-7A0D-DBEA-F8EADE6972AB}"/>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5389242" y="517112"/>
            <a:ext cx="701900" cy="471915"/>
          </a:xfrm>
          <a:prstGeom prst="rect">
            <a:avLst/>
          </a:prstGeom>
          <a:noFill/>
          <a:ln>
            <a:noFill/>
          </a:ln>
        </p:spPr>
      </p:pic>
      <p:pic>
        <p:nvPicPr>
          <p:cNvPr id="27" name="Picture 5">
            <a:hlinkClick r:id="rId9"/>
            <a:extLst>
              <a:ext uri="{FF2B5EF4-FFF2-40B4-BE49-F238E27FC236}">
                <a16:creationId xmlns:a16="http://schemas.microsoft.com/office/drawing/2014/main" id="{5B0BDE51-3546-944F-9142-41AB009D7BC9}"/>
              </a:ext>
            </a:extLst>
          </p:cNvPr>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2835809" y="1207325"/>
            <a:ext cx="1363980" cy="223840"/>
          </a:xfrm>
          <a:prstGeom prst="rect">
            <a:avLst/>
          </a:prstGeom>
          <a:noFill/>
        </p:spPr>
      </p:pic>
      <p:pic>
        <p:nvPicPr>
          <p:cNvPr id="29" name="Grafik 11" descr="http://strujaplin.com/images/logo-hera.png">
            <a:extLst>
              <a:ext uri="{FF2B5EF4-FFF2-40B4-BE49-F238E27FC236}">
                <a16:creationId xmlns:a16="http://schemas.microsoft.com/office/drawing/2014/main" id="{DB44F84D-A24E-402B-BD55-8A850E87F994}"/>
              </a:ext>
            </a:extLst>
          </p:cNvPr>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7060529" y="1065431"/>
            <a:ext cx="739123" cy="478840"/>
          </a:xfrm>
          <a:prstGeom prst="rect">
            <a:avLst/>
          </a:prstGeom>
          <a:noFill/>
          <a:ln>
            <a:noFill/>
          </a:ln>
        </p:spPr>
      </p:pic>
      <p:pic>
        <p:nvPicPr>
          <p:cNvPr id="30" name="Picture 2" descr="logo-acm-nl_tcm13-202295">
            <a:extLst>
              <a:ext uri="{FF2B5EF4-FFF2-40B4-BE49-F238E27FC236}">
                <a16:creationId xmlns:a16="http://schemas.microsoft.com/office/drawing/2014/main" id="{8B60B524-87DF-B628-4BC7-2044F0C1A186}"/>
              </a:ext>
            </a:extLst>
          </p:cNvPr>
          <p:cNvPicPr>
            <a:picLocks noChangeAspect="1" noChangeArrowheads="1"/>
          </p:cNvPicPr>
          <p:nvPr userDrawn="1"/>
        </p:nvPicPr>
        <p:blipFill>
          <a:blip r:embed="rId12"/>
          <a:srcRect/>
          <a:stretch>
            <a:fillRect/>
          </a:stretch>
        </p:blipFill>
        <p:spPr bwMode="auto">
          <a:xfrm>
            <a:off x="1309251" y="556333"/>
            <a:ext cx="1021191" cy="437653"/>
          </a:xfrm>
          <a:prstGeom prst="rect">
            <a:avLst/>
          </a:prstGeom>
          <a:noFill/>
          <a:ln w="9525">
            <a:noFill/>
            <a:miter lim="800000"/>
            <a:headEnd/>
            <a:tailEnd/>
          </a:ln>
        </p:spPr>
      </p:pic>
      <p:pic>
        <p:nvPicPr>
          <p:cNvPr id="31" name="Picture 9">
            <a:extLst>
              <a:ext uri="{FF2B5EF4-FFF2-40B4-BE49-F238E27FC236}">
                <a16:creationId xmlns:a16="http://schemas.microsoft.com/office/drawing/2014/main" id="{1DF3C595-676F-736B-45C6-6D926718F07B}"/>
              </a:ext>
            </a:extLst>
          </p:cNvPr>
          <p:cNvPicPr>
            <a:picLocks noGrp="1" noChangeAspect="1" noChangeArrowheads="1"/>
          </p:cNvPicPr>
          <p:nvPr userDrawn="1"/>
        </p:nvPicPr>
        <p:blipFill>
          <a:blip r:embed="rId13" cstate="print">
            <a:extLst>
              <a:ext uri="{28A0092B-C50C-407E-A947-70E740481C1C}">
                <a14:useLocalDpi xmlns:a14="http://schemas.microsoft.com/office/drawing/2010/main" val="0"/>
              </a:ext>
            </a:extLst>
          </a:blip>
          <a:stretch>
            <a:fillRect/>
          </a:stretch>
        </p:blipFill>
        <p:spPr bwMode="auto">
          <a:xfrm>
            <a:off x="8471614" y="680219"/>
            <a:ext cx="1197695" cy="29080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 name="Grafik 14" descr="C:\Users\zko\AppData\Local\Microsoft\Windows\INetCache\Content.Word\EC_Logo_pixel_RGB.JPG">
            <a:extLst>
              <a:ext uri="{FF2B5EF4-FFF2-40B4-BE49-F238E27FC236}">
                <a16:creationId xmlns:a16="http://schemas.microsoft.com/office/drawing/2014/main" id="{6B60DE51-D2C8-340D-045F-A6A32F3A398A}"/>
              </a:ext>
            </a:extLst>
          </p:cNvPr>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1309251" y="1165875"/>
            <a:ext cx="1226495" cy="246224"/>
          </a:xfrm>
          <a:prstGeom prst="rect">
            <a:avLst/>
          </a:prstGeom>
          <a:noFill/>
          <a:ln>
            <a:noFill/>
          </a:ln>
        </p:spPr>
      </p:pic>
      <p:pic>
        <p:nvPicPr>
          <p:cNvPr id="33" name="Grafik 15">
            <a:extLst>
              <a:ext uri="{FF2B5EF4-FFF2-40B4-BE49-F238E27FC236}">
                <a16:creationId xmlns:a16="http://schemas.microsoft.com/office/drawing/2014/main" id="{993C623E-4521-DB71-D6B4-5CAFF59CAE5C}"/>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2497903" y="682089"/>
            <a:ext cx="1608712" cy="228672"/>
          </a:xfrm>
          <a:prstGeom prst="rect">
            <a:avLst/>
          </a:prstGeom>
        </p:spPr>
      </p:pic>
      <p:pic>
        <p:nvPicPr>
          <p:cNvPr id="34" name="Grafik 16">
            <a:extLst>
              <a:ext uri="{FF2B5EF4-FFF2-40B4-BE49-F238E27FC236}">
                <a16:creationId xmlns:a16="http://schemas.microsoft.com/office/drawing/2014/main" id="{B358478B-C30A-2A76-CA03-FCCCB3D91BE8}"/>
              </a:ext>
            </a:extLst>
          </p:cNvPr>
          <p:cNvPicPr>
            <a:picLocks noChangeAspect="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7296555" y="752146"/>
            <a:ext cx="1136987" cy="146955"/>
          </a:xfrm>
          <a:prstGeom prst="rect">
            <a:avLst/>
          </a:prstGeom>
          <a:noFill/>
          <a:ln>
            <a:noFill/>
          </a:ln>
        </p:spPr>
      </p:pic>
      <p:pic>
        <p:nvPicPr>
          <p:cNvPr id="35" name="Grafik 17">
            <a:extLst>
              <a:ext uri="{FF2B5EF4-FFF2-40B4-BE49-F238E27FC236}">
                <a16:creationId xmlns:a16="http://schemas.microsoft.com/office/drawing/2014/main" id="{1EE74E35-E958-E49F-EDFE-61867FADE6F1}"/>
              </a:ext>
            </a:extLst>
          </p:cNvPr>
          <p:cNvPicPr>
            <a:picLocks noChangeAspect="1"/>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8131349" y="1112269"/>
            <a:ext cx="1074111" cy="413952"/>
          </a:xfrm>
          <a:prstGeom prst="rect">
            <a:avLst/>
          </a:prstGeom>
          <a:noFill/>
          <a:ln>
            <a:noFill/>
          </a:ln>
        </p:spPr>
      </p:pic>
      <p:pic>
        <p:nvPicPr>
          <p:cNvPr id="36" name="Grafik 18">
            <a:extLst>
              <a:ext uri="{FF2B5EF4-FFF2-40B4-BE49-F238E27FC236}">
                <a16:creationId xmlns:a16="http://schemas.microsoft.com/office/drawing/2014/main" id="{07E420F1-66C8-78B5-B2D2-7FD1D3C16C26}"/>
              </a:ext>
            </a:extLst>
          </p:cNvPr>
          <p:cNvPicPr>
            <a:picLocks noChangeAspect="1"/>
          </p:cNvPicPr>
          <p:nvPr userDrawn="1"/>
        </p:nvPicPr>
        <p:blipFill>
          <a:blip r:embed="rId18" cstate="print">
            <a:extLst>
              <a:ext uri="{28A0092B-C50C-407E-A947-70E740481C1C}">
                <a14:useLocalDpi xmlns:a14="http://schemas.microsoft.com/office/drawing/2010/main" val="0"/>
              </a:ext>
            </a:extLst>
          </a:blip>
          <a:srcRect/>
          <a:stretch>
            <a:fillRect/>
          </a:stretch>
        </p:blipFill>
        <p:spPr bwMode="auto">
          <a:xfrm>
            <a:off x="5774524" y="1178537"/>
            <a:ext cx="1096253" cy="252628"/>
          </a:xfrm>
          <a:prstGeom prst="rect">
            <a:avLst/>
          </a:prstGeom>
          <a:noFill/>
          <a:ln>
            <a:noFill/>
          </a:ln>
        </p:spPr>
      </p:pic>
      <p:sp>
        <p:nvSpPr>
          <p:cNvPr id="10" name="Szövegdoboz 24">
            <a:extLst>
              <a:ext uri="{FF2B5EF4-FFF2-40B4-BE49-F238E27FC236}">
                <a16:creationId xmlns:a16="http://schemas.microsoft.com/office/drawing/2014/main" id="{3251DACF-F338-D787-3133-C2B3F065EDF2}"/>
              </a:ext>
            </a:extLst>
          </p:cNvPr>
          <p:cNvSpPr txBox="1"/>
          <p:nvPr userDrawn="1"/>
        </p:nvSpPr>
        <p:spPr>
          <a:xfrm>
            <a:off x="10217019" y="575828"/>
            <a:ext cx="503915" cy="215444"/>
          </a:xfrm>
          <a:prstGeom prst="rect">
            <a:avLst/>
          </a:prstGeom>
        </p:spPr>
        <p:txBody>
          <a:bodyPr vert="horz" wrap="square" lIns="0" tIns="0" rIns="0" bIns="0" rtlCol="0">
            <a:spAutoFit/>
          </a:bodyPr>
          <a:lstStyle/>
          <a:p>
            <a:pPr algn="ctr"/>
            <a:r>
              <a:rPr lang="hu-HU" sz="1400" b="1" dirty="0"/>
              <a:t>*</a:t>
            </a:r>
          </a:p>
        </p:txBody>
      </p:sp>
      <p:sp>
        <p:nvSpPr>
          <p:cNvPr id="11" name="Textfeld 10">
            <a:extLst>
              <a:ext uri="{FF2B5EF4-FFF2-40B4-BE49-F238E27FC236}">
                <a16:creationId xmlns:a16="http://schemas.microsoft.com/office/drawing/2014/main" id="{59E42A18-B45B-98E0-836C-4E5083344513}"/>
              </a:ext>
            </a:extLst>
          </p:cNvPr>
          <p:cNvSpPr txBox="1"/>
          <p:nvPr userDrawn="1"/>
        </p:nvSpPr>
        <p:spPr>
          <a:xfrm>
            <a:off x="7842676" y="1634199"/>
            <a:ext cx="2983841" cy="215444"/>
          </a:xfrm>
          <a:prstGeom prst="rect">
            <a:avLst/>
          </a:prstGeom>
          <a:noFill/>
        </p:spPr>
        <p:txBody>
          <a:bodyPr wrap="square" rtlCol="0">
            <a:spAutoFit/>
          </a:bodyPr>
          <a:lstStyle/>
          <a:p>
            <a:r>
              <a:rPr lang="en-US" sz="800" dirty="0">
                <a:solidFill>
                  <a:srgbClr val="002060"/>
                </a:solidFill>
              </a:rPr>
              <a:t>*</a:t>
            </a:r>
            <a:r>
              <a:rPr lang="en-US" sz="600" dirty="0">
                <a:solidFill>
                  <a:srgbClr val="002060"/>
                </a:solidFill>
              </a:rPr>
              <a:t> as according to ACER Decision No 04/2024 (of 19 March 2024) </a:t>
            </a:r>
            <a:endParaRPr lang="en-GB" sz="600" dirty="0">
              <a:solidFill>
                <a:srgbClr val="002060"/>
              </a:solidFill>
            </a:endParaRPr>
          </a:p>
        </p:txBody>
      </p:sp>
      <p:sp>
        <p:nvSpPr>
          <p:cNvPr id="12" name="Szövegdoboz 24">
            <a:extLst>
              <a:ext uri="{FF2B5EF4-FFF2-40B4-BE49-F238E27FC236}">
                <a16:creationId xmlns:a16="http://schemas.microsoft.com/office/drawing/2014/main" id="{3CF89F6C-78D6-65A9-215B-93107083BFE2}"/>
              </a:ext>
            </a:extLst>
          </p:cNvPr>
          <p:cNvSpPr txBox="1"/>
          <p:nvPr userDrawn="1"/>
        </p:nvSpPr>
        <p:spPr>
          <a:xfrm>
            <a:off x="4922837" y="517111"/>
            <a:ext cx="503915" cy="215444"/>
          </a:xfrm>
          <a:prstGeom prst="rect">
            <a:avLst/>
          </a:prstGeom>
        </p:spPr>
        <p:txBody>
          <a:bodyPr vert="horz" wrap="square" lIns="0" tIns="0" rIns="0" bIns="0" rtlCol="0">
            <a:spAutoFit/>
          </a:bodyPr>
          <a:lstStyle/>
          <a:p>
            <a:pPr algn="ctr"/>
            <a:r>
              <a:rPr lang="hu-HU" sz="1400" b="1" dirty="0"/>
              <a:t>*</a:t>
            </a:r>
          </a:p>
        </p:txBody>
      </p:sp>
      <p:sp>
        <p:nvSpPr>
          <p:cNvPr id="15" name="Rechteck 14">
            <a:extLst>
              <a:ext uri="{FF2B5EF4-FFF2-40B4-BE49-F238E27FC236}">
                <a16:creationId xmlns:a16="http://schemas.microsoft.com/office/drawing/2014/main" id="{58737C6F-545F-C83B-122F-2F659197623A}"/>
              </a:ext>
            </a:extLst>
          </p:cNvPr>
          <p:cNvSpPr/>
          <p:nvPr userDrawn="1"/>
        </p:nvSpPr>
        <p:spPr>
          <a:xfrm>
            <a:off x="-4859" y="0"/>
            <a:ext cx="12192000" cy="138218"/>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37" name="Obrázek 36">
            <a:extLst>
              <a:ext uri="{FF2B5EF4-FFF2-40B4-BE49-F238E27FC236}">
                <a16:creationId xmlns:a16="http://schemas.microsoft.com/office/drawing/2014/main" id="{CBD89DAC-7847-4092-A911-2774D4BF92CA}"/>
              </a:ext>
            </a:extLst>
          </p:cNvPr>
          <p:cNvPicPr>
            <a:picLocks noChangeAspect="1"/>
          </p:cNvPicPr>
          <p:nvPr userDrawn="1"/>
        </p:nvPicPr>
        <p:blipFill>
          <a:blip r:embed="rId19"/>
          <a:stretch>
            <a:fillRect/>
          </a:stretch>
        </p:blipFill>
        <p:spPr>
          <a:xfrm>
            <a:off x="4499851" y="1207325"/>
            <a:ext cx="1061072" cy="263872"/>
          </a:xfrm>
          <a:prstGeom prst="rect">
            <a:avLst/>
          </a:prstGeom>
        </p:spPr>
      </p:pic>
      <p:pic>
        <p:nvPicPr>
          <p:cNvPr id="38" name="Obrázek 37">
            <a:extLst>
              <a:ext uri="{FF2B5EF4-FFF2-40B4-BE49-F238E27FC236}">
                <a16:creationId xmlns:a16="http://schemas.microsoft.com/office/drawing/2014/main" id="{7E7726EB-ACF9-4B38-A04D-D61D1CBB5889}"/>
              </a:ext>
            </a:extLst>
          </p:cNvPr>
          <p:cNvPicPr>
            <a:picLocks noChangeAspect="1"/>
          </p:cNvPicPr>
          <p:nvPr userDrawn="1"/>
        </p:nvPicPr>
        <p:blipFill>
          <a:blip r:embed="rId20"/>
          <a:stretch>
            <a:fillRect/>
          </a:stretch>
        </p:blipFill>
        <p:spPr>
          <a:xfrm>
            <a:off x="9267565" y="1073666"/>
            <a:ext cx="1439879" cy="567225"/>
          </a:xfrm>
          <a:prstGeom prst="rect">
            <a:avLst/>
          </a:prstGeom>
        </p:spPr>
      </p:pic>
    </p:spTree>
    <p:extLst>
      <p:ext uri="{BB962C8B-B14F-4D97-AF65-F5344CB8AC3E}">
        <p14:creationId xmlns:p14="http://schemas.microsoft.com/office/powerpoint/2010/main" val="145731789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BBA517F-E243-816F-E95F-89E45652E3FD}"/>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Folie" r:id="rId3" imgW="624" imgH="623" progId="TCLayout.ActiveDocument.1">
                  <p:embed/>
                </p:oleObj>
              </mc:Choice>
              <mc:Fallback>
                <p:oleObj name="think-cell Folie" r:id="rId3" imgW="624" imgH="623" progId="TCLayout.ActiveDocument.1">
                  <p:embed/>
                  <p:pic>
                    <p:nvPicPr>
                      <p:cNvPr id="9" name="think-cell data - do not delete" hidden="1">
                        <a:extLst>
                          <a:ext uri="{FF2B5EF4-FFF2-40B4-BE49-F238E27FC236}">
                            <a16:creationId xmlns:a16="http://schemas.microsoft.com/office/drawing/2014/main" id="{CBBA517F-E243-816F-E95F-89E45652E3FD}"/>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6C626E-CDBE-518C-CA7D-E5E4D78FB0FF}"/>
              </a:ext>
            </a:extLst>
          </p:cNvPr>
          <p:cNvSpPr>
            <a:spLocks noGrp="1"/>
          </p:cNvSpPr>
          <p:nvPr>
            <p:ph type="title" hasCustomPrompt="1"/>
          </p:nvPr>
        </p:nvSpPr>
        <p:spPr/>
        <p:txBody>
          <a:bodyPr vert="horz"/>
          <a:lstStyle>
            <a:lvl1pPr>
              <a:defRPr/>
            </a:lvl1pPr>
          </a:lstStyle>
          <a:p>
            <a:r>
              <a:rPr lang="en-US" dirty="0"/>
              <a:t>AGENDA</a:t>
            </a:r>
            <a:endParaRPr lang="en-GB" dirty="0"/>
          </a:p>
        </p:txBody>
      </p:sp>
      <p:sp>
        <p:nvSpPr>
          <p:cNvPr id="3" name="Date Placeholder 2">
            <a:extLst>
              <a:ext uri="{FF2B5EF4-FFF2-40B4-BE49-F238E27FC236}">
                <a16:creationId xmlns:a16="http://schemas.microsoft.com/office/drawing/2014/main" id="{C4E0FF52-2028-55B1-450F-1DEF47D47996}"/>
              </a:ext>
            </a:extLst>
          </p:cNvPr>
          <p:cNvSpPr>
            <a:spLocks noGrp="1"/>
          </p:cNvSpPr>
          <p:nvPr>
            <p:ph type="dt" sz="half" idx="10"/>
          </p:nvPr>
        </p:nvSpPr>
        <p:spPr/>
        <p:txBody>
          <a:bodyPr/>
          <a:lstStyle/>
          <a:p>
            <a:r>
              <a:rPr lang="en-GB"/>
              <a:t>23/09/2024</a:t>
            </a:r>
            <a:endParaRPr lang="en-GB" dirty="0"/>
          </a:p>
        </p:txBody>
      </p:sp>
      <p:sp>
        <p:nvSpPr>
          <p:cNvPr id="4" name="Footer Placeholder 3">
            <a:extLst>
              <a:ext uri="{FF2B5EF4-FFF2-40B4-BE49-F238E27FC236}">
                <a16:creationId xmlns:a16="http://schemas.microsoft.com/office/drawing/2014/main" id="{297FB234-9CDC-437B-4FD2-31F8BCE87402}"/>
              </a:ext>
            </a:extLst>
          </p:cNvPr>
          <p:cNvSpPr>
            <a:spLocks noGrp="1"/>
          </p:cNvSpPr>
          <p:nvPr>
            <p:ph type="ftr" sz="quarter" idx="11"/>
          </p:nvPr>
        </p:nvSpPr>
        <p:spPr/>
        <p:txBody>
          <a:bodyPr/>
          <a:lstStyle/>
          <a:p>
            <a:r>
              <a:rPr lang="en-GB"/>
              <a:t>CE/Core NRAs call</a:t>
            </a:r>
          </a:p>
        </p:txBody>
      </p:sp>
      <p:sp>
        <p:nvSpPr>
          <p:cNvPr id="5" name="Slide Number Placeholder 4">
            <a:extLst>
              <a:ext uri="{FF2B5EF4-FFF2-40B4-BE49-F238E27FC236}">
                <a16:creationId xmlns:a16="http://schemas.microsoft.com/office/drawing/2014/main" id="{265218D7-F88F-D13C-50D5-96F2A376106C}"/>
              </a:ext>
            </a:extLst>
          </p:cNvPr>
          <p:cNvSpPr>
            <a:spLocks noGrp="1"/>
          </p:cNvSpPr>
          <p:nvPr>
            <p:ph type="sldNum" sz="quarter" idx="12"/>
          </p:nvPr>
        </p:nvSpPr>
        <p:spPr/>
        <p:txBody>
          <a:bodyPr/>
          <a:lstStyle/>
          <a:p>
            <a:fld id="{F1618D91-53CD-491F-8743-B0A22B448184}" type="slidenum">
              <a:rPr lang="en-GB" smtClean="0"/>
              <a:pPr/>
              <a:t>‹#›</a:t>
            </a:fld>
            <a:endParaRPr lang="en-GB"/>
          </a:p>
        </p:txBody>
      </p:sp>
      <p:sp>
        <p:nvSpPr>
          <p:cNvPr id="7" name="Table Placeholder 6">
            <a:extLst>
              <a:ext uri="{FF2B5EF4-FFF2-40B4-BE49-F238E27FC236}">
                <a16:creationId xmlns:a16="http://schemas.microsoft.com/office/drawing/2014/main" id="{F8A103CE-C1C0-5924-DF81-671C000E219F}"/>
              </a:ext>
            </a:extLst>
          </p:cNvPr>
          <p:cNvSpPr>
            <a:spLocks noGrp="1"/>
          </p:cNvSpPr>
          <p:nvPr>
            <p:ph type="tbl" sz="quarter" idx="13"/>
          </p:nvPr>
        </p:nvSpPr>
        <p:spPr>
          <a:xfrm>
            <a:off x="581247" y="1285875"/>
            <a:ext cx="11072037" cy="4870450"/>
          </a:xfrm>
        </p:spPr>
        <p:txBody>
          <a:bodyPr/>
          <a:lstStyle>
            <a:lvl1pPr marL="0" indent="0">
              <a:buNone/>
              <a:defRPr/>
            </a:lvl1pPr>
          </a:lstStyle>
          <a:p>
            <a:endParaRPr lang="en-GB" dirty="0"/>
          </a:p>
        </p:txBody>
      </p:sp>
    </p:spTree>
    <p:extLst>
      <p:ext uri="{BB962C8B-B14F-4D97-AF65-F5344CB8AC3E}">
        <p14:creationId xmlns:p14="http://schemas.microsoft.com/office/powerpoint/2010/main" val="181794550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C6ECAB8-9A69-F64F-E03A-C0395929A794}"/>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Folie" r:id="rId3" imgW="624" imgH="623" progId="TCLayout.ActiveDocument.1">
                  <p:embed/>
                </p:oleObj>
              </mc:Choice>
              <mc:Fallback>
                <p:oleObj name="think-cell Folie" r:id="rId3" imgW="624" imgH="623" progId="TCLayout.ActiveDocument.1">
                  <p:embed/>
                  <p:pic>
                    <p:nvPicPr>
                      <p:cNvPr id="8" name="think-cell data - do not delete" hidden="1">
                        <a:extLst>
                          <a:ext uri="{FF2B5EF4-FFF2-40B4-BE49-F238E27FC236}">
                            <a16:creationId xmlns:a16="http://schemas.microsoft.com/office/drawing/2014/main" id="{0C6ECAB8-9A69-F64F-E03A-C0395929A794}"/>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5F5BFEE-F14C-B150-D70F-8B6F97D0CA5C}"/>
              </a:ext>
            </a:extLst>
          </p:cNvPr>
          <p:cNvSpPr>
            <a:spLocks noGrp="1"/>
          </p:cNvSpPr>
          <p:nvPr>
            <p:ph type="title"/>
          </p:nvPr>
        </p:nvSpPr>
        <p:spPr>
          <a:xfrm>
            <a:off x="581247" y="233915"/>
            <a:ext cx="9455888" cy="382774"/>
          </a:xfrm>
        </p:spPr>
        <p:txBody>
          <a:bodyPr vert="horz"/>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E32F1F9B-EC4E-5EB2-A7A2-5C96BBADBE13}"/>
              </a:ext>
            </a:extLst>
          </p:cNvPr>
          <p:cNvSpPr>
            <a:spLocks noGrp="1"/>
          </p:cNvSpPr>
          <p:nvPr>
            <p:ph idx="1"/>
          </p:nvPr>
        </p:nvSpPr>
        <p:spPr>
          <a:xfrm>
            <a:off x="581247" y="1350335"/>
            <a:ext cx="11072037" cy="502919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a:extLst>
              <a:ext uri="{FF2B5EF4-FFF2-40B4-BE49-F238E27FC236}">
                <a16:creationId xmlns:a16="http://schemas.microsoft.com/office/drawing/2014/main" id="{FD29DD11-E45B-55C4-9F0A-D15F9E25883D}"/>
              </a:ext>
            </a:extLst>
          </p:cNvPr>
          <p:cNvSpPr>
            <a:spLocks noGrp="1"/>
          </p:cNvSpPr>
          <p:nvPr>
            <p:ph type="dt" sz="half" idx="10"/>
          </p:nvPr>
        </p:nvSpPr>
        <p:spPr/>
        <p:txBody>
          <a:bodyPr/>
          <a:lstStyle/>
          <a:p>
            <a:r>
              <a:rPr lang="en-GB"/>
              <a:t>23/09/2024</a:t>
            </a:r>
          </a:p>
        </p:txBody>
      </p:sp>
      <p:sp>
        <p:nvSpPr>
          <p:cNvPr id="5" name="Footer Placeholder 4">
            <a:extLst>
              <a:ext uri="{FF2B5EF4-FFF2-40B4-BE49-F238E27FC236}">
                <a16:creationId xmlns:a16="http://schemas.microsoft.com/office/drawing/2014/main" id="{36FF855A-7750-E9E7-68CF-F27D4477871B}"/>
              </a:ext>
            </a:extLst>
          </p:cNvPr>
          <p:cNvSpPr>
            <a:spLocks noGrp="1"/>
          </p:cNvSpPr>
          <p:nvPr>
            <p:ph type="ftr" sz="quarter" idx="11"/>
          </p:nvPr>
        </p:nvSpPr>
        <p:spPr/>
        <p:txBody>
          <a:bodyPr/>
          <a:lstStyle/>
          <a:p>
            <a:r>
              <a:rPr lang="en-GB"/>
              <a:t>CE/Core NRAs call</a:t>
            </a:r>
          </a:p>
        </p:txBody>
      </p:sp>
      <p:sp>
        <p:nvSpPr>
          <p:cNvPr id="6" name="Slide Number Placeholder 5">
            <a:extLst>
              <a:ext uri="{FF2B5EF4-FFF2-40B4-BE49-F238E27FC236}">
                <a16:creationId xmlns:a16="http://schemas.microsoft.com/office/drawing/2014/main" id="{6F01F84A-0B9C-0C88-51AA-DC6CF8430020}"/>
              </a:ext>
            </a:extLst>
          </p:cNvPr>
          <p:cNvSpPr>
            <a:spLocks noGrp="1"/>
          </p:cNvSpPr>
          <p:nvPr>
            <p:ph type="sldNum" sz="quarter" idx="12"/>
          </p:nvPr>
        </p:nvSpPr>
        <p:spPr/>
        <p:txBody>
          <a:bodyPr/>
          <a:lstStyle/>
          <a:p>
            <a:fld id="{F1618D91-53CD-491F-8743-B0A22B448184}" type="slidenum">
              <a:rPr lang="en-GB" smtClean="0"/>
              <a:t>‹#›</a:t>
            </a:fld>
            <a:endParaRPr lang="en-GB"/>
          </a:p>
        </p:txBody>
      </p:sp>
      <p:sp>
        <p:nvSpPr>
          <p:cNvPr id="16" name="Text Placeholder 15">
            <a:extLst>
              <a:ext uri="{FF2B5EF4-FFF2-40B4-BE49-F238E27FC236}">
                <a16:creationId xmlns:a16="http://schemas.microsoft.com/office/drawing/2014/main" id="{B8697D1B-69DB-B670-6198-95AF1930DB9E}"/>
              </a:ext>
            </a:extLst>
          </p:cNvPr>
          <p:cNvSpPr>
            <a:spLocks noGrp="1"/>
          </p:cNvSpPr>
          <p:nvPr>
            <p:ph type="body" sz="quarter" idx="13" hasCustomPrompt="1"/>
          </p:nvPr>
        </p:nvSpPr>
        <p:spPr>
          <a:xfrm>
            <a:off x="583118" y="639868"/>
            <a:ext cx="9454017" cy="364123"/>
          </a:xfrm>
        </p:spPr>
        <p:txBody>
          <a:bodyPr>
            <a:noAutofit/>
          </a:bodyPr>
          <a:lstStyle>
            <a:lvl1pPr marL="0" indent="0">
              <a:buNone/>
              <a:defRPr sz="1600">
                <a:solidFill>
                  <a:schemeClr val="bg1">
                    <a:lumMod val="50000"/>
                  </a:schemeClr>
                </a:solidFill>
              </a:defRPr>
            </a:lvl1pPr>
          </a:lstStyle>
          <a:p>
            <a:pPr lvl="0"/>
            <a:r>
              <a:rPr lang="en-GB" dirty="0"/>
              <a:t>Click to add description</a:t>
            </a:r>
          </a:p>
        </p:txBody>
      </p:sp>
      <p:sp>
        <p:nvSpPr>
          <p:cNvPr id="19" name="Text Placeholder 18">
            <a:extLst>
              <a:ext uri="{FF2B5EF4-FFF2-40B4-BE49-F238E27FC236}">
                <a16:creationId xmlns:a16="http://schemas.microsoft.com/office/drawing/2014/main" id="{77B29ADD-32D5-EE7A-E04C-DC1F857A0047}"/>
              </a:ext>
            </a:extLst>
          </p:cNvPr>
          <p:cNvSpPr>
            <a:spLocks noGrp="1"/>
          </p:cNvSpPr>
          <p:nvPr>
            <p:ph type="body" sz="quarter" idx="14" hasCustomPrompt="1"/>
          </p:nvPr>
        </p:nvSpPr>
        <p:spPr>
          <a:xfrm>
            <a:off x="10150452" y="233363"/>
            <a:ext cx="1502833" cy="382774"/>
          </a:xfrm>
          <a:noFill/>
          <a:ln w="9525">
            <a:noFill/>
          </a:ln>
          <a:effectLst/>
        </p:spPr>
        <p:txBody>
          <a:bodyPr anchor="ctr">
            <a:normAutofit/>
          </a:bodyPr>
          <a:lstStyle>
            <a:lvl1pPr marL="0" indent="0" algn="ctr">
              <a:buNone/>
              <a:defRPr sz="1800">
                <a:solidFill>
                  <a:schemeClr val="bg1">
                    <a:lumMod val="50000"/>
                  </a:schemeClr>
                </a:solidFill>
              </a:defRPr>
            </a:lvl1pPr>
          </a:lstStyle>
          <a:p>
            <a:pPr lvl="0"/>
            <a:r>
              <a:rPr lang="en-GB" dirty="0"/>
              <a:t>Topic</a:t>
            </a:r>
          </a:p>
        </p:txBody>
      </p:sp>
      <p:sp>
        <p:nvSpPr>
          <p:cNvPr id="20" name="Text Placeholder 18">
            <a:extLst>
              <a:ext uri="{FF2B5EF4-FFF2-40B4-BE49-F238E27FC236}">
                <a16:creationId xmlns:a16="http://schemas.microsoft.com/office/drawing/2014/main" id="{A7A20DAB-CB23-293B-B87E-1FFA73AA2CF5}"/>
              </a:ext>
            </a:extLst>
          </p:cNvPr>
          <p:cNvSpPr>
            <a:spLocks noGrp="1"/>
          </p:cNvSpPr>
          <p:nvPr>
            <p:ph type="body" sz="quarter" idx="15" hasCustomPrompt="1"/>
          </p:nvPr>
        </p:nvSpPr>
        <p:spPr>
          <a:xfrm>
            <a:off x="10150452" y="639868"/>
            <a:ext cx="1502833" cy="364123"/>
          </a:xfrm>
          <a:noFill/>
          <a:ln w="9525">
            <a:noFill/>
          </a:ln>
          <a:effectLst/>
        </p:spPr>
        <p:txBody>
          <a:bodyPr lIns="36000" tIns="36000" rIns="36000" bIns="36000" anchor="ctr">
            <a:normAutofit/>
          </a:bodyPr>
          <a:lstStyle>
            <a:lvl1pPr marL="0" indent="0" algn="ctr">
              <a:buNone/>
              <a:defRPr sz="1200">
                <a:solidFill>
                  <a:schemeClr val="bg1">
                    <a:lumMod val="50000"/>
                  </a:schemeClr>
                </a:solidFill>
              </a:defRPr>
            </a:lvl1pPr>
          </a:lstStyle>
          <a:p>
            <a:pPr lvl="0"/>
            <a:r>
              <a:rPr lang="en-GB" dirty="0"/>
              <a:t>Presenters</a:t>
            </a:r>
          </a:p>
        </p:txBody>
      </p:sp>
      <p:cxnSp>
        <p:nvCxnSpPr>
          <p:cNvPr id="21" name="Gerader Verbinder 7">
            <a:extLst>
              <a:ext uri="{FF2B5EF4-FFF2-40B4-BE49-F238E27FC236}">
                <a16:creationId xmlns:a16="http://schemas.microsoft.com/office/drawing/2014/main" id="{B7780501-A80B-6A39-4957-67DB6479957F}"/>
              </a:ext>
            </a:extLst>
          </p:cNvPr>
          <p:cNvCxnSpPr/>
          <p:nvPr userDrawn="1"/>
        </p:nvCxnSpPr>
        <p:spPr>
          <a:xfrm>
            <a:off x="616607" y="1164468"/>
            <a:ext cx="11000828" cy="0"/>
          </a:xfrm>
          <a:prstGeom prst="line">
            <a:avLst/>
          </a:prstGeom>
          <a:ln w="12700">
            <a:solidFill>
              <a:srgbClr val="002060"/>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07478848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E_Title and Conten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C6ECAB8-9A69-F64F-E03A-C0395929A794}"/>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Folie" r:id="rId3" imgW="624" imgH="623" progId="TCLayout.ActiveDocument.1">
                  <p:embed/>
                </p:oleObj>
              </mc:Choice>
              <mc:Fallback>
                <p:oleObj name="think-cell Folie" r:id="rId3" imgW="624" imgH="623" progId="TCLayout.ActiveDocument.1">
                  <p:embed/>
                  <p:pic>
                    <p:nvPicPr>
                      <p:cNvPr id="8" name="think-cell data - do not delete" hidden="1">
                        <a:extLst>
                          <a:ext uri="{FF2B5EF4-FFF2-40B4-BE49-F238E27FC236}">
                            <a16:creationId xmlns:a16="http://schemas.microsoft.com/office/drawing/2014/main" id="{0C6ECAB8-9A69-F64F-E03A-C0395929A794}"/>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5F5BFEE-F14C-B150-D70F-8B6F97D0CA5C}"/>
              </a:ext>
            </a:extLst>
          </p:cNvPr>
          <p:cNvSpPr>
            <a:spLocks noGrp="1"/>
          </p:cNvSpPr>
          <p:nvPr>
            <p:ph type="title"/>
          </p:nvPr>
        </p:nvSpPr>
        <p:spPr>
          <a:xfrm>
            <a:off x="581247" y="233915"/>
            <a:ext cx="9455888" cy="382774"/>
          </a:xfrm>
        </p:spPr>
        <p:txBody>
          <a:bodyPr vert="horz"/>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E32F1F9B-EC4E-5EB2-A7A2-5C96BBADBE13}"/>
              </a:ext>
            </a:extLst>
          </p:cNvPr>
          <p:cNvSpPr>
            <a:spLocks noGrp="1"/>
          </p:cNvSpPr>
          <p:nvPr>
            <p:ph idx="1"/>
          </p:nvPr>
        </p:nvSpPr>
        <p:spPr>
          <a:xfrm>
            <a:off x="581247" y="1350335"/>
            <a:ext cx="11072037" cy="502919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a:extLst>
              <a:ext uri="{FF2B5EF4-FFF2-40B4-BE49-F238E27FC236}">
                <a16:creationId xmlns:a16="http://schemas.microsoft.com/office/drawing/2014/main" id="{FD29DD11-E45B-55C4-9F0A-D15F9E25883D}"/>
              </a:ext>
            </a:extLst>
          </p:cNvPr>
          <p:cNvSpPr>
            <a:spLocks noGrp="1"/>
          </p:cNvSpPr>
          <p:nvPr>
            <p:ph type="dt" sz="half" idx="10"/>
          </p:nvPr>
        </p:nvSpPr>
        <p:spPr/>
        <p:txBody>
          <a:bodyPr/>
          <a:lstStyle/>
          <a:p>
            <a:r>
              <a:rPr lang="en-GB"/>
              <a:t>23/09/2024</a:t>
            </a:r>
          </a:p>
        </p:txBody>
      </p:sp>
      <p:sp>
        <p:nvSpPr>
          <p:cNvPr id="5" name="Footer Placeholder 4">
            <a:extLst>
              <a:ext uri="{FF2B5EF4-FFF2-40B4-BE49-F238E27FC236}">
                <a16:creationId xmlns:a16="http://schemas.microsoft.com/office/drawing/2014/main" id="{36FF855A-7750-E9E7-68CF-F27D4477871B}"/>
              </a:ext>
            </a:extLst>
          </p:cNvPr>
          <p:cNvSpPr>
            <a:spLocks noGrp="1"/>
          </p:cNvSpPr>
          <p:nvPr>
            <p:ph type="ftr" sz="quarter" idx="11"/>
          </p:nvPr>
        </p:nvSpPr>
        <p:spPr/>
        <p:txBody>
          <a:bodyPr/>
          <a:lstStyle/>
          <a:p>
            <a:r>
              <a:rPr lang="en-GB"/>
              <a:t>CE/Core NRAs call</a:t>
            </a:r>
          </a:p>
        </p:txBody>
      </p:sp>
      <p:sp>
        <p:nvSpPr>
          <p:cNvPr id="6" name="Slide Number Placeholder 5">
            <a:extLst>
              <a:ext uri="{FF2B5EF4-FFF2-40B4-BE49-F238E27FC236}">
                <a16:creationId xmlns:a16="http://schemas.microsoft.com/office/drawing/2014/main" id="{6F01F84A-0B9C-0C88-51AA-DC6CF8430020}"/>
              </a:ext>
            </a:extLst>
          </p:cNvPr>
          <p:cNvSpPr>
            <a:spLocks noGrp="1"/>
          </p:cNvSpPr>
          <p:nvPr>
            <p:ph type="sldNum" sz="quarter" idx="12"/>
          </p:nvPr>
        </p:nvSpPr>
        <p:spPr/>
        <p:txBody>
          <a:bodyPr/>
          <a:lstStyle/>
          <a:p>
            <a:fld id="{F1618D91-53CD-491F-8743-B0A22B448184}" type="slidenum">
              <a:rPr lang="en-GB" smtClean="0"/>
              <a:t>‹#›</a:t>
            </a:fld>
            <a:endParaRPr lang="en-GB"/>
          </a:p>
        </p:txBody>
      </p:sp>
      <p:sp>
        <p:nvSpPr>
          <p:cNvPr id="16" name="Text Placeholder 15">
            <a:extLst>
              <a:ext uri="{FF2B5EF4-FFF2-40B4-BE49-F238E27FC236}">
                <a16:creationId xmlns:a16="http://schemas.microsoft.com/office/drawing/2014/main" id="{B8697D1B-69DB-B670-6198-95AF1930DB9E}"/>
              </a:ext>
            </a:extLst>
          </p:cNvPr>
          <p:cNvSpPr>
            <a:spLocks noGrp="1"/>
          </p:cNvSpPr>
          <p:nvPr>
            <p:ph type="body" sz="quarter" idx="13" hasCustomPrompt="1"/>
          </p:nvPr>
        </p:nvSpPr>
        <p:spPr>
          <a:xfrm>
            <a:off x="583118" y="639868"/>
            <a:ext cx="9454017" cy="364123"/>
          </a:xfrm>
        </p:spPr>
        <p:txBody>
          <a:bodyPr>
            <a:noAutofit/>
          </a:bodyPr>
          <a:lstStyle>
            <a:lvl1pPr marL="0" indent="0">
              <a:buNone/>
              <a:defRPr sz="1600">
                <a:solidFill>
                  <a:schemeClr val="bg1">
                    <a:lumMod val="50000"/>
                  </a:schemeClr>
                </a:solidFill>
              </a:defRPr>
            </a:lvl1pPr>
          </a:lstStyle>
          <a:p>
            <a:pPr lvl="0"/>
            <a:r>
              <a:rPr lang="en-GB" dirty="0"/>
              <a:t>Click to add description</a:t>
            </a:r>
          </a:p>
        </p:txBody>
      </p:sp>
      <p:sp>
        <p:nvSpPr>
          <p:cNvPr id="19" name="Text Placeholder 18">
            <a:extLst>
              <a:ext uri="{FF2B5EF4-FFF2-40B4-BE49-F238E27FC236}">
                <a16:creationId xmlns:a16="http://schemas.microsoft.com/office/drawing/2014/main" id="{77B29ADD-32D5-EE7A-E04C-DC1F857A0047}"/>
              </a:ext>
            </a:extLst>
          </p:cNvPr>
          <p:cNvSpPr>
            <a:spLocks noGrp="1"/>
          </p:cNvSpPr>
          <p:nvPr>
            <p:ph type="body" sz="quarter" idx="14" hasCustomPrompt="1"/>
          </p:nvPr>
        </p:nvSpPr>
        <p:spPr>
          <a:xfrm>
            <a:off x="10150452" y="233363"/>
            <a:ext cx="1502833" cy="382774"/>
          </a:xfrm>
          <a:noFill/>
          <a:ln w="9525">
            <a:noFill/>
          </a:ln>
          <a:effectLst/>
        </p:spPr>
        <p:txBody>
          <a:bodyPr vert="horz" lIns="91440" tIns="45720" rIns="91440" bIns="45720" rtlCol="0" anchor="ctr">
            <a:normAutofit/>
          </a:bodyPr>
          <a:lstStyle>
            <a:lvl1pPr>
              <a:defRPr lang="en-GB" sz="1800" dirty="0">
                <a:solidFill>
                  <a:schemeClr val="bg1">
                    <a:lumMod val="50000"/>
                  </a:schemeClr>
                </a:solidFill>
              </a:defRPr>
            </a:lvl1pPr>
          </a:lstStyle>
          <a:p>
            <a:pPr marL="0" lvl="0" indent="0" algn="ctr">
              <a:buNone/>
            </a:pPr>
            <a:r>
              <a:rPr lang="en-GB" dirty="0"/>
              <a:t>Topic</a:t>
            </a:r>
          </a:p>
        </p:txBody>
      </p:sp>
      <p:sp>
        <p:nvSpPr>
          <p:cNvPr id="20" name="Text Placeholder 18">
            <a:extLst>
              <a:ext uri="{FF2B5EF4-FFF2-40B4-BE49-F238E27FC236}">
                <a16:creationId xmlns:a16="http://schemas.microsoft.com/office/drawing/2014/main" id="{A7A20DAB-CB23-293B-B87E-1FFA73AA2CF5}"/>
              </a:ext>
            </a:extLst>
          </p:cNvPr>
          <p:cNvSpPr>
            <a:spLocks noGrp="1"/>
          </p:cNvSpPr>
          <p:nvPr>
            <p:ph type="body" sz="quarter" idx="15" hasCustomPrompt="1"/>
          </p:nvPr>
        </p:nvSpPr>
        <p:spPr>
          <a:xfrm>
            <a:off x="10150452" y="639867"/>
            <a:ext cx="1502833" cy="382774"/>
          </a:xfrm>
          <a:noFill/>
          <a:ln w="9525">
            <a:noFill/>
          </a:ln>
          <a:effectLst/>
        </p:spPr>
        <p:txBody>
          <a:bodyPr vert="horz" lIns="36000" tIns="36000" rIns="36000" bIns="36000" rtlCol="0" anchor="ctr">
            <a:normAutofit/>
          </a:bodyPr>
          <a:lstStyle>
            <a:lvl1pPr>
              <a:defRPr lang="en-GB" sz="1200" dirty="0">
                <a:solidFill>
                  <a:schemeClr val="bg1">
                    <a:lumMod val="50000"/>
                  </a:schemeClr>
                </a:solidFill>
              </a:defRPr>
            </a:lvl1pPr>
          </a:lstStyle>
          <a:p>
            <a:pPr marL="0" lvl="0" indent="0" algn="ctr">
              <a:buNone/>
            </a:pPr>
            <a:r>
              <a:rPr lang="en-GB" dirty="0"/>
              <a:t>Presenters</a:t>
            </a:r>
          </a:p>
        </p:txBody>
      </p:sp>
      <p:cxnSp>
        <p:nvCxnSpPr>
          <p:cNvPr id="21" name="Gerader Verbinder 7">
            <a:extLst>
              <a:ext uri="{FF2B5EF4-FFF2-40B4-BE49-F238E27FC236}">
                <a16:creationId xmlns:a16="http://schemas.microsoft.com/office/drawing/2014/main" id="{B7780501-A80B-6A39-4957-67DB6479957F}"/>
              </a:ext>
            </a:extLst>
          </p:cNvPr>
          <p:cNvCxnSpPr/>
          <p:nvPr userDrawn="1"/>
        </p:nvCxnSpPr>
        <p:spPr>
          <a:xfrm>
            <a:off x="616607" y="1164468"/>
            <a:ext cx="11000828" cy="0"/>
          </a:xfrm>
          <a:prstGeom prst="line">
            <a:avLst/>
          </a:prstGeom>
          <a:ln w="12700">
            <a:solidFill>
              <a:srgbClr val="002060"/>
            </a:solidFill>
          </a:ln>
        </p:spPr>
        <p:style>
          <a:lnRef idx="1">
            <a:schemeClr val="dk1"/>
          </a:lnRef>
          <a:fillRef idx="0">
            <a:schemeClr val="dk1"/>
          </a:fillRef>
          <a:effectRef idx="0">
            <a:schemeClr val="dk1"/>
          </a:effectRef>
          <a:fontRef idx="minor">
            <a:schemeClr val="tx1"/>
          </a:fontRef>
        </p:style>
      </p:cxnSp>
      <p:sp>
        <p:nvSpPr>
          <p:cNvPr id="7" name="Rechteck 6">
            <a:extLst>
              <a:ext uri="{FF2B5EF4-FFF2-40B4-BE49-F238E27FC236}">
                <a16:creationId xmlns:a16="http://schemas.microsoft.com/office/drawing/2014/main" id="{7A1F71EA-D37D-5DC8-CC1E-F8828292FEAF}"/>
              </a:ext>
            </a:extLst>
          </p:cNvPr>
          <p:cNvSpPr/>
          <p:nvPr userDrawn="1"/>
        </p:nvSpPr>
        <p:spPr>
          <a:xfrm>
            <a:off x="-4859" y="6719780"/>
            <a:ext cx="12192000" cy="138218"/>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 name="Rechteck 8">
            <a:extLst>
              <a:ext uri="{FF2B5EF4-FFF2-40B4-BE49-F238E27FC236}">
                <a16:creationId xmlns:a16="http://schemas.microsoft.com/office/drawing/2014/main" id="{F19FA46F-CD22-2F9C-DD94-67FE6D966F33}"/>
              </a:ext>
            </a:extLst>
          </p:cNvPr>
          <p:cNvSpPr/>
          <p:nvPr userDrawn="1"/>
        </p:nvSpPr>
        <p:spPr>
          <a:xfrm>
            <a:off x="-4859" y="0"/>
            <a:ext cx="12192000" cy="138218"/>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a:p>
        </p:txBody>
      </p:sp>
    </p:spTree>
    <p:extLst>
      <p:ext uri="{BB962C8B-B14F-4D97-AF65-F5344CB8AC3E}">
        <p14:creationId xmlns:p14="http://schemas.microsoft.com/office/powerpoint/2010/main" val="284925293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7C25FC5-B617-05B2-8379-EA23E117F2F6}"/>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Folie" r:id="rId3" imgW="624" imgH="623" progId="TCLayout.ActiveDocument.1">
                  <p:embed/>
                </p:oleObj>
              </mc:Choice>
              <mc:Fallback>
                <p:oleObj name="think-cell Folie" r:id="rId3" imgW="624" imgH="623" progId="TCLayout.ActiveDocument.1">
                  <p:embed/>
                  <p:pic>
                    <p:nvPicPr>
                      <p:cNvPr id="8" name="think-cell data - do not delete" hidden="1">
                        <a:extLst>
                          <a:ext uri="{FF2B5EF4-FFF2-40B4-BE49-F238E27FC236}">
                            <a16:creationId xmlns:a16="http://schemas.microsoft.com/office/drawing/2014/main" id="{27C25FC5-B617-05B2-8379-EA23E117F2F6}"/>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6CDFCB5-CE25-4132-C30A-4749DF2882FD}"/>
              </a:ext>
            </a:extLst>
          </p:cNvPr>
          <p:cNvSpPr>
            <a:spLocks noGrp="1"/>
          </p:cNvSpPr>
          <p:nvPr>
            <p:ph type="title"/>
          </p:nvPr>
        </p:nvSpPr>
        <p:spPr>
          <a:xfrm>
            <a:off x="831851" y="1709739"/>
            <a:ext cx="10515600" cy="2852737"/>
          </a:xfrm>
        </p:spPr>
        <p:txBody>
          <a:bodyPr vert="horz" anchor="b"/>
          <a:lstStyle>
            <a:lvl1pPr algn="ctr" defTabSz="914400" rtl="0" eaLnBrk="1" latinLnBrk="0" hangingPunct="1">
              <a:lnSpc>
                <a:spcPct val="90000"/>
              </a:lnSpc>
              <a:spcBef>
                <a:spcPct val="0"/>
              </a:spcBef>
              <a:buNone/>
              <a:defRPr lang="en-GB" sz="3200" kern="1200" dirty="0">
                <a:solidFill>
                  <a:srgbClr val="002060"/>
                </a:solidFill>
                <a:latin typeface="+mj-lt"/>
                <a:ea typeface="+mj-ea"/>
                <a:cs typeface="+mj-cs"/>
              </a:defRPr>
            </a:lvl1p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B1A1C3DF-09D7-3663-BEA6-CD0263E9DC7D}"/>
              </a:ext>
            </a:extLst>
          </p:cNvPr>
          <p:cNvSpPr>
            <a:spLocks noGrp="1"/>
          </p:cNvSpPr>
          <p:nvPr>
            <p:ph type="body" idx="1"/>
          </p:nvPr>
        </p:nvSpPr>
        <p:spPr>
          <a:xfrm>
            <a:off x="831851" y="4589464"/>
            <a:ext cx="10515600" cy="1500187"/>
          </a:xfrm>
        </p:spPr>
        <p:txBody>
          <a:bodyPr/>
          <a:lstStyle>
            <a:lvl1pPr marL="0" indent="0" algn="ctr">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dirty="0"/>
              <a:t>Click to edit Master text styles</a:t>
            </a:r>
          </a:p>
        </p:txBody>
      </p:sp>
      <p:sp>
        <p:nvSpPr>
          <p:cNvPr id="4" name="Date Placeholder 3">
            <a:extLst>
              <a:ext uri="{FF2B5EF4-FFF2-40B4-BE49-F238E27FC236}">
                <a16:creationId xmlns:a16="http://schemas.microsoft.com/office/drawing/2014/main" id="{47E493D7-C098-4614-E2EF-D3510D3FCBB5}"/>
              </a:ext>
            </a:extLst>
          </p:cNvPr>
          <p:cNvSpPr>
            <a:spLocks noGrp="1"/>
          </p:cNvSpPr>
          <p:nvPr>
            <p:ph type="dt" sz="half" idx="10"/>
          </p:nvPr>
        </p:nvSpPr>
        <p:spPr/>
        <p:txBody>
          <a:bodyPr/>
          <a:lstStyle/>
          <a:p>
            <a:r>
              <a:rPr lang="en-GB"/>
              <a:t>23/09/2024</a:t>
            </a:r>
          </a:p>
        </p:txBody>
      </p:sp>
      <p:sp>
        <p:nvSpPr>
          <p:cNvPr id="5" name="Footer Placeholder 4">
            <a:extLst>
              <a:ext uri="{FF2B5EF4-FFF2-40B4-BE49-F238E27FC236}">
                <a16:creationId xmlns:a16="http://schemas.microsoft.com/office/drawing/2014/main" id="{26E7F0EF-1A8F-FCFE-9F27-80EC50B80CF5}"/>
              </a:ext>
            </a:extLst>
          </p:cNvPr>
          <p:cNvSpPr>
            <a:spLocks noGrp="1"/>
          </p:cNvSpPr>
          <p:nvPr>
            <p:ph type="ftr" sz="quarter" idx="11"/>
          </p:nvPr>
        </p:nvSpPr>
        <p:spPr/>
        <p:txBody>
          <a:bodyPr/>
          <a:lstStyle/>
          <a:p>
            <a:r>
              <a:rPr lang="en-GB"/>
              <a:t>CE/Core NRAs call</a:t>
            </a:r>
          </a:p>
        </p:txBody>
      </p:sp>
      <p:sp>
        <p:nvSpPr>
          <p:cNvPr id="6" name="Slide Number Placeholder 5">
            <a:extLst>
              <a:ext uri="{FF2B5EF4-FFF2-40B4-BE49-F238E27FC236}">
                <a16:creationId xmlns:a16="http://schemas.microsoft.com/office/drawing/2014/main" id="{A44BB375-6A1D-5E6E-0197-F7285768B763}"/>
              </a:ext>
            </a:extLst>
          </p:cNvPr>
          <p:cNvSpPr>
            <a:spLocks noGrp="1"/>
          </p:cNvSpPr>
          <p:nvPr>
            <p:ph type="sldNum" sz="quarter" idx="12"/>
          </p:nvPr>
        </p:nvSpPr>
        <p:spPr/>
        <p:txBody>
          <a:bodyPr/>
          <a:lstStyle/>
          <a:p>
            <a:fld id="{F1618D91-53CD-491F-8743-B0A22B448184}" type="slidenum">
              <a:rPr lang="en-GB" smtClean="0"/>
              <a:t>‹#›</a:t>
            </a:fld>
            <a:endParaRPr lang="en-GB"/>
          </a:p>
        </p:txBody>
      </p:sp>
    </p:spTree>
    <p:extLst>
      <p:ext uri="{BB962C8B-B14F-4D97-AF65-F5344CB8AC3E}">
        <p14:creationId xmlns:p14="http://schemas.microsoft.com/office/powerpoint/2010/main" val="105499765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B179D17-BD7D-3697-7637-E890C8C52B43}"/>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Folie" r:id="rId3" imgW="624" imgH="623" progId="TCLayout.ActiveDocument.1">
                  <p:embed/>
                </p:oleObj>
              </mc:Choice>
              <mc:Fallback>
                <p:oleObj name="think-cell Folie" r:id="rId3" imgW="624" imgH="623" progId="TCLayout.ActiveDocument.1">
                  <p:embed/>
                  <p:pic>
                    <p:nvPicPr>
                      <p:cNvPr id="9" name="think-cell data - do not delete" hidden="1">
                        <a:extLst>
                          <a:ext uri="{FF2B5EF4-FFF2-40B4-BE49-F238E27FC236}">
                            <a16:creationId xmlns:a16="http://schemas.microsoft.com/office/drawing/2014/main" id="{1B179D17-BD7D-3697-7637-E890C8C52B43}"/>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C73407D-0171-7F21-2844-36BE3A25CA16}"/>
              </a:ext>
            </a:extLst>
          </p:cNvPr>
          <p:cNvSpPr>
            <a:spLocks noGrp="1"/>
          </p:cNvSpPr>
          <p:nvPr>
            <p:ph type="title"/>
          </p:nvPr>
        </p:nvSpPr>
        <p:spPr>
          <a:xfrm>
            <a:off x="581247" y="233915"/>
            <a:ext cx="9342475" cy="382774"/>
          </a:xfrm>
        </p:spPr>
        <p:txBody>
          <a:bodyPr vert="horz"/>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0A920170-BC57-E495-3B33-DB637D2E411C}"/>
              </a:ext>
            </a:extLst>
          </p:cNvPr>
          <p:cNvSpPr>
            <a:spLocks noGrp="1"/>
          </p:cNvSpPr>
          <p:nvPr>
            <p:ph sz="half" idx="1"/>
          </p:nvPr>
        </p:nvSpPr>
        <p:spPr>
          <a:xfrm>
            <a:off x="581248" y="1825625"/>
            <a:ext cx="5413153"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a:extLst>
              <a:ext uri="{FF2B5EF4-FFF2-40B4-BE49-F238E27FC236}">
                <a16:creationId xmlns:a16="http://schemas.microsoft.com/office/drawing/2014/main" id="{14244D70-B20F-19F5-78B8-A470120E3F4C}"/>
              </a:ext>
            </a:extLst>
          </p:cNvPr>
          <p:cNvSpPr>
            <a:spLocks noGrp="1"/>
          </p:cNvSpPr>
          <p:nvPr>
            <p:ph sz="half" idx="2"/>
          </p:nvPr>
        </p:nvSpPr>
        <p:spPr>
          <a:xfrm>
            <a:off x="6096001" y="1825625"/>
            <a:ext cx="5557283"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74749B49-65F1-1041-BBF8-B46EA02CD622}"/>
              </a:ext>
            </a:extLst>
          </p:cNvPr>
          <p:cNvSpPr>
            <a:spLocks noGrp="1"/>
          </p:cNvSpPr>
          <p:nvPr>
            <p:ph type="dt" sz="half" idx="10"/>
          </p:nvPr>
        </p:nvSpPr>
        <p:spPr/>
        <p:txBody>
          <a:bodyPr/>
          <a:lstStyle/>
          <a:p>
            <a:r>
              <a:rPr lang="en-GB"/>
              <a:t>23/09/2024</a:t>
            </a:r>
          </a:p>
        </p:txBody>
      </p:sp>
      <p:sp>
        <p:nvSpPr>
          <p:cNvPr id="6" name="Footer Placeholder 5">
            <a:extLst>
              <a:ext uri="{FF2B5EF4-FFF2-40B4-BE49-F238E27FC236}">
                <a16:creationId xmlns:a16="http://schemas.microsoft.com/office/drawing/2014/main" id="{E48E996D-881C-7F83-BB4B-B8D3B0EDAD98}"/>
              </a:ext>
            </a:extLst>
          </p:cNvPr>
          <p:cNvSpPr>
            <a:spLocks noGrp="1"/>
          </p:cNvSpPr>
          <p:nvPr>
            <p:ph type="ftr" sz="quarter" idx="11"/>
          </p:nvPr>
        </p:nvSpPr>
        <p:spPr/>
        <p:txBody>
          <a:bodyPr/>
          <a:lstStyle/>
          <a:p>
            <a:r>
              <a:rPr lang="en-GB"/>
              <a:t>CE/Core NRAs call</a:t>
            </a:r>
          </a:p>
        </p:txBody>
      </p:sp>
      <p:sp>
        <p:nvSpPr>
          <p:cNvPr id="7" name="Slide Number Placeholder 6">
            <a:extLst>
              <a:ext uri="{FF2B5EF4-FFF2-40B4-BE49-F238E27FC236}">
                <a16:creationId xmlns:a16="http://schemas.microsoft.com/office/drawing/2014/main" id="{2791A356-2BF0-8B01-879A-339C2F795D60}"/>
              </a:ext>
            </a:extLst>
          </p:cNvPr>
          <p:cNvSpPr>
            <a:spLocks noGrp="1"/>
          </p:cNvSpPr>
          <p:nvPr>
            <p:ph type="sldNum" sz="quarter" idx="12"/>
          </p:nvPr>
        </p:nvSpPr>
        <p:spPr/>
        <p:txBody>
          <a:bodyPr/>
          <a:lstStyle/>
          <a:p>
            <a:fld id="{F1618D91-53CD-491F-8743-B0A22B448184}" type="slidenum">
              <a:rPr lang="en-GB" smtClean="0"/>
              <a:t>‹#›</a:t>
            </a:fld>
            <a:endParaRPr lang="en-GB"/>
          </a:p>
        </p:txBody>
      </p:sp>
      <p:sp>
        <p:nvSpPr>
          <p:cNvPr id="10" name="Text Placeholder 18">
            <a:extLst>
              <a:ext uri="{FF2B5EF4-FFF2-40B4-BE49-F238E27FC236}">
                <a16:creationId xmlns:a16="http://schemas.microsoft.com/office/drawing/2014/main" id="{D9C0096A-9656-EB8F-7462-78838296E18C}"/>
              </a:ext>
            </a:extLst>
          </p:cNvPr>
          <p:cNvSpPr>
            <a:spLocks noGrp="1"/>
          </p:cNvSpPr>
          <p:nvPr>
            <p:ph type="body" sz="quarter" idx="14" hasCustomPrompt="1"/>
          </p:nvPr>
        </p:nvSpPr>
        <p:spPr>
          <a:xfrm>
            <a:off x="10150452" y="233363"/>
            <a:ext cx="1502833" cy="382774"/>
          </a:xfrm>
          <a:noFill/>
          <a:ln w="9525">
            <a:noFill/>
          </a:ln>
          <a:effectLst/>
        </p:spPr>
        <p:txBody>
          <a:bodyPr anchor="ctr">
            <a:normAutofit/>
          </a:bodyPr>
          <a:lstStyle>
            <a:lvl1pPr marL="0" indent="0" algn="ctr">
              <a:buNone/>
              <a:defRPr sz="1800"/>
            </a:lvl1pPr>
          </a:lstStyle>
          <a:p>
            <a:pPr lvl="0"/>
            <a:r>
              <a:rPr lang="en-GB" dirty="0"/>
              <a:t>Topic</a:t>
            </a:r>
          </a:p>
        </p:txBody>
      </p:sp>
      <p:sp>
        <p:nvSpPr>
          <p:cNvPr id="11" name="Text Placeholder 18">
            <a:extLst>
              <a:ext uri="{FF2B5EF4-FFF2-40B4-BE49-F238E27FC236}">
                <a16:creationId xmlns:a16="http://schemas.microsoft.com/office/drawing/2014/main" id="{19735F2A-1E1F-1EE4-F6C5-4044FB67A566}"/>
              </a:ext>
            </a:extLst>
          </p:cNvPr>
          <p:cNvSpPr>
            <a:spLocks noGrp="1"/>
          </p:cNvSpPr>
          <p:nvPr>
            <p:ph type="body" sz="quarter" idx="15" hasCustomPrompt="1"/>
          </p:nvPr>
        </p:nvSpPr>
        <p:spPr>
          <a:xfrm>
            <a:off x="10150452" y="639867"/>
            <a:ext cx="1502833" cy="382774"/>
          </a:xfrm>
          <a:noFill/>
          <a:ln w="9525">
            <a:noFill/>
          </a:ln>
          <a:effectLst/>
        </p:spPr>
        <p:txBody>
          <a:bodyPr anchor="ctr">
            <a:normAutofit/>
          </a:bodyPr>
          <a:lstStyle>
            <a:lvl1pPr marL="0" indent="0" algn="ctr">
              <a:buNone/>
              <a:defRPr sz="1200"/>
            </a:lvl1pPr>
          </a:lstStyle>
          <a:p>
            <a:pPr lvl="0"/>
            <a:r>
              <a:rPr lang="en-GB" dirty="0"/>
              <a:t>Presenters</a:t>
            </a:r>
          </a:p>
        </p:txBody>
      </p:sp>
      <p:cxnSp>
        <p:nvCxnSpPr>
          <p:cNvPr id="12" name="Gerader Verbinder 7">
            <a:extLst>
              <a:ext uri="{FF2B5EF4-FFF2-40B4-BE49-F238E27FC236}">
                <a16:creationId xmlns:a16="http://schemas.microsoft.com/office/drawing/2014/main" id="{7C2CD347-767E-DE94-2CCB-3466C23FA865}"/>
              </a:ext>
            </a:extLst>
          </p:cNvPr>
          <p:cNvCxnSpPr/>
          <p:nvPr userDrawn="1"/>
        </p:nvCxnSpPr>
        <p:spPr>
          <a:xfrm>
            <a:off x="581247" y="1153837"/>
            <a:ext cx="11000828" cy="0"/>
          </a:xfrm>
          <a:prstGeom prst="line">
            <a:avLst/>
          </a:prstGeom>
          <a:ln w="12700">
            <a:solidFill>
              <a:srgbClr val="002060"/>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9153496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ntent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Slide title</a:t>
            </a:r>
            <a:endParaRPr lang="en-US" dirty="0"/>
          </a:p>
        </p:txBody>
      </p:sp>
      <p:sp>
        <p:nvSpPr>
          <p:cNvPr id="6" name="Slide Number Placeholder 5"/>
          <p:cNvSpPr>
            <a:spLocks noGrp="1"/>
          </p:cNvSpPr>
          <p:nvPr>
            <p:ph type="sldNum" sz="quarter" idx="12"/>
          </p:nvPr>
        </p:nvSpPr>
        <p:spPr/>
        <p:txBody>
          <a:bodyPr/>
          <a:lstStyle/>
          <a:p>
            <a:fld id="{68E16D21-2873-7F4D-BC1C-4DCC7B7156B8}" type="slidenum">
              <a:rPr lang="en-SI" smtClean="0"/>
              <a:t>‹#›</a:t>
            </a:fld>
            <a:endParaRPr lang="en-SI"/>
          </a:p>
        </p:txBody>
      </p:sp>
      <p:sp>
        <p:nvSpPr>
          <p:cNvPr id="7" name="Text Placeholder 4">
            <a:extLst>
              <a:ext uri="{FF2B5EF4-FFF2-40B4-BE49-F238E27FC236}">
                <a16:creationId xmlns:a16="http://schemas.microsoft.com/office/drawing/2014/main" id="{D1E226AE-EA6F-8E04-A71F-F8CF29FE20BA}"/>
              </a:ext>
            </a:extLst>
          </p:cNvPr>
          <p:cNvSpPr>
            <a:spLocks noGrp="1"/>
          </p:cNvSpPr>
          <p:nvPr>
            <p:ph type="body" sz="quarter" idx="13"/>
          </p:nvPr>
        </p:nvSpPr>
        <p:spPr>
          <a:xfrm>
            <a:off x="702150" y="1419699"/>
            <a:ext cx="10794526" cy="449373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Text Placeholder 3">
            <a:extLst>
              <a:ext uri="{FF2B5EF4-FFF2-40B4-BE49-F238E27FC236}">
                <a16:creationId xmlns:a16="http://schemas.microsoft.com/office/drawing/2014/main" id="{E1572446-B181-0CBD-2EE2-58A73F2D0F1B}"/>
              </a:ext>
            </a:extLst>
          </p:cNvPr>
          <p:cNvSpPr>
            <a:spLocks noGrp="1"/>
          </p:cNvSpPr>
          <p:nvPr>
            <p:ph type="body" sz="quarter" idx="14" hasCustomPrompt="1"/>
          </p:nvPr>
        </p:nvSpPr>
        <p:spPr>
          <a:xfrm>
            <a:off x="701675" y="6281998"/>
            <a:ext cx="10795000" cy="576002"/>
          </a:xfrm>
        </p:spPr>
        <p:txBody>
          <a:bodyPr anchor="ctr"/>
          <a:lstStyle>
            <a:lvl1pPr marL="0" indent="0">
              <a:buNone/>
              <a:defRPr sz="1000">
                <a:solidFill>
                  <a:schemeClr val="tx1">
                    <a:lumMod val="50000"/>
                    <a:lumOff val="50000"/>
                  </a:schemeClr>
                </a:solidFill>
              </a:defRPr>
            </a:lvl1pPr>
            <a:lvl5pPr marL="864000" indent="0">
              <a:buNone/>
              <a:defRPr/>
            </a:lvl5pPr>
          </a:lstStyle>
          <a:p>
            <a:pPr lvl="0"/>
            <a:r>
              <a:rPr lang="en-GB" sz="1000" dirty="0"/>
              <a:t>Note: </a:t>
            </a:r>
            <a:endParaRPr lang="en-GB" dirty="0"/>
          </a:p>
        </p:txBody>
      </p:sp>
    </p:spTree>
    <p:extLst>
      <p:ext uri="{BB962C8B-B14F-4D97-AF65-F5344CB8AC3E}">
        <p14:creationId xmlns:p14="http://schemas.microsoft.com/office/powerpoint/2010/main" val="2986943046"/>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4F73E8D-F18D-435E-2041-08BA912E814A}"/>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Folie" r:id="rId3" imgW="624" imgH="623" progId="TCLayout.ActiveDocument.1">
                  <p:embed/>
                </p:oleObj>
              </mc:Choice>
              <mc:Fallback>
                <p:oleObj name="think-cell Folie" r:id="rId3" imgW="624" imgH="623" progId="TCLayout.ActiveDocument.1">
                  <p:embed/>
                  <p:pic>
                    <p:nvPicPr>
                      <p:cNvPr id="11" name="think-cell data - do not delete" hidden="1">
                        <a:extLst>
                          <a:ext uri="{FF2B5EF4-FFF2-40B4-BE49-F238E27FC236}">
                            <a16:creationId xmlns:a16="http://schemas.microsoft.com/office/drawing/2014/main" id="{14F73E8D-F18D-435E-2041-08BA912E814A}"/>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73552A-34B9-1274-9649-AE2166289F37}"/>
              </a:ext>
            </a:extLst>
          </p:cNvPr>
          <p:cNvSpPr>
            <a:spLocks noGrp="1"/>
          </p:cNvSpPr>
          <p:nvPr>
            <p:ph type="title" hasCustomPrompt="1"/>
          </p:nvPr>
        </p:nvSpPr>
        <p:spPr>
          <a:xfrm>
            <a:off x="840317" y="365126"/>
            <a:ext cx="10515600" cy="1325563"/>
          </a:xfrm>
        </p:spPr>
        <p:txBody>
          <a:bodyPr vert="horz"/>
          <a:lstStyle>
            <a:lvl1pPr>
              <a:defRPr b="0"/>
            </a:lvl1p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34A63B17-C096-BFD9-EF0D-A29860CD6175}"/>
              </a:ext>
            </a:extLst>
          </p:cNvPr>
          <p:cNvSpPr>
            <a:spLocks noGrp="1"/>
          </p:cNvSpPr>
          <p:nvPr>
            <p:ph type="body" idx="1" hasCustomPrompt="1"/>
          </p:nvPr>
        </p:nvSpPr>
        <p:spPr>
          <a:xfrm>
            <a:off x="840318" y="1681163"/>
            <a:ext cx="5158316" cy="823912"/>
          </a:xfrm>
        </p:spPr>
        <p:txBody>
          <a:bodyPr anchor="ctr">
            <a:normAutofit/>
          </a:bodyPr>
          <a:lstStyle>
            <a:lvl1pPr marL="0" indent="0">
              <a:buNone/>
              <a:defRPr lang="en-US" sz="2200" b="0" kern="1200" dirty="0">
                <a:solidFill>
                  <a:srgbClr val="002060"/>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000"/>
              </a:spcBef>
              <a:buFont typeface="Arial" panose="020B0604020202020204" pitchFamily="34" charset="0"/>
              <a:buNone/>
              <a:tabLst>
                <a:tab pos="266700" algn="l"/>
              </a:tabLst>
            </a:pPr>
            <a:r>
              <a:rPr lang="en-US" dirty="0"/>
              <a:t>Click to edit Master text styles</a:t>
            </a:r>
          </a:p>
        </p:txBody>
      </p:sp>
      <p:sp>
        <p:nvSpPr>
          <p:cNvPr id="4" name="Content Placeholder 3">
            <a:extLst>
              <a:ext uri="{FF2B5EF4-FFF2-40B4-BE49-F238E27FC236}">
                <a16:creationId xmlns:a16="http://schemas.microsoft.com/office/drawing/2014/main" id="{12EBE1F6-7CBE-3606-3054-25317AF2E69C}"/>
              </a:ext>
            </a:extLst>
          </p:cNvPr>
          <p:cNvSpPr>
            <a:spLocks noGrp="1"/>
          </p:cNvSpPr>
          <p:nvPr>
            <p:ph sz="half" idx="2"/>
          </p:nvPr>
        </p:nvSpPr>
        <p:spPr>
          <a:xfrm>
            <a:off x="840318" y="2505075"/>
            <a:ext cx="5158316" cy="3684588"/>
          </a:xfrm>
        </p:spPr>
        <p:txBody>
          <a:bodyPr/>
          <a:lstStyle>
            <a:lvl1pPr>
              <a:defRPr sz="2000"/>
            </a:lvl1pPr>
            <a:lvl2pPr>
              <a:defRPr sz="2000"/>
            </a:lvl2pPr>
            <a:lvl3pPr>
              <a:defRPr sz="18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4">
            <a:extLst>
              <a:ext uri="{FF2B5EF4-FFF2-40B4-BE49-F238E27FC236}">
                <a16:creationId xmlns:a16="http://schemas.microsoft.com/office/drawing/2014/main" id="{BD18A216-99C6-8028-580E-1AE8540F8AD4}"/>
              </a:ext>
            </a:extLst>
          </p:cNvPr>
          <p:cNvSpPr>
            <a:spLocks noGrp="1"/>
          </p:cNvSpPr>
          <p:nvPr>
            <p:ph type="body" sz="quarter" idx="3" hasCustomPrompt="1"/>
          </p:nvPr>
        </p:nvSpPr>
        <p:spPr>
          <a:xfrm>
            <a:off x="6172200" y="1681163"/>
            <a:ext cx="5183717" cy="823912"/>
          </a:xfrm>
        </p:spPr>
        <p:txBody>
          <a:bodyPr anchor="ctr">
            <a:normAutofit/>
          </a:bodyPr>
          <a:lstStyle>
            <a:lvl1pPr marL="0" indent="0">
              <a:buNone/>
              <a:defRPr sz="2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DCBDA53D-703A-500F-4FC4-648302622502}"/>
              </a:ext>
            </a:extLst>
          </p:cNvPr>
          <p:cNvSpPr>
            <a:spLocks noGrp="1"/>
          </p:cNvSpPr>
          <p:nvPr>
            <p:ph sz="quarter" idx="4"/>
          </p:nvPr>
        </p:nvSpPr>
        <p:spPr>
          <a:xfrm>
            <a:off x="6172200" y="2505075"/>
            <a:ext cx="5183717" cy="3684588"/>
          </a:xfrm>
        </p:spPr>
        <p:txBody>
          <a:bodyPr/>
          <a:lstStyle>
            <a:lvl1pPr>
              <a:defRPr sz="2000"/>
            </a:lvl1pPr>
            <a:lvl2pPr>
              <a:defRPr sz="2000"/>
            </a:lvl2pPr>
            <a:lvl3pPr>
              <a:defRPr sz="18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Date Placeholder 6">
            <a:extLst>
              <a:ext uri="{FF2B5EF4-FFF2-40B4-BE49-F238E27FC236}">
                <a16:creationId xmlns:a16="http://schemas.microsoft.com/office/drawing/2014/main" id="{28CD6250-32C1-5167-4063-3E072C674D1F}"/>
              </a:ext>
            </a:extLst>
          </p:cNvPr>
          <p:cNvSpPr>
            <a:spLocks noGrp="1"/>
          </p:cNvSpPr>
          <p:nvPr>
            <p:ph type="dt" sz="half" idx="10"/>
          </p:nvPr>
        </p:nvSpPr>
        <p:spPr/>
        <p:txBody>
          <a:bodyPr/>
          <a:lstStyle/>
          <a:p>
            <a:r>
              <a:rPr lang="en-GB"/>
              <a:t>23/09/2024</a:t>
            </a:r>
          </a:p>
        </p:txBody>
      </p:sp>
      <p:sp>
        <p:nvSpPr>
          <p:cNvPr id="8" name="Footer Placeholder 7">
            <a:extLst>
              <a:ext uri="{FF2B5EF4-FFF2-40B4-BE49-F238E27FC236}">
                <a16:creationId xmlns:a16="http://schemas.microsoft.com/office/drawing/2014/main" id="{B2FD654E-C018-6F55-E60F-5490771D0940}"/>
              </a:ext>
            </a:extLst>
          </p:cNvPr>
          <p:cNvSpPr>
            <a:spLocks noGrp="1"/>
          </p:cNvSpPr>
          <p:nvPr>
            <p:ph type="ftr" sz="quarter" idx="11"/>
          </p:nvPr>
        </p:nvSpPr>
        <p:spPr/>
        <p:txBody>
          <a:bodyPr/>
          <a:lstStyle/>
          <a:p>
            <a:r>
              <a:rPr lang="en-GB"/>
              <a:t>CE/Core NRAs call</a:t>
            </a:r>
          </a:p>
        </p:txBody>
      </p:sp>
      <p:sp>
        <p:nvSpPr>
          <p:cNvPr id="9" name="Slide Number Placeholder 8">
            <a:extLst>
              <a:ext uri="{FF2B5EF4-FFF2-40B4-BE49-F238E27FC236}">
                <a16:creationId xmlns:a16="http://schemas.microsoft.com/office/drawing/2014/main" id="{CA25DEC2-DC36-1633-FC38-A229E29794CE}"/>
              </a:ext>
            </a:extLst>
          </p:cNvPr>
          <p:cNvSpPr>
            <a:spLocks noGrp="1"/>
          </p:cNvSpPr>
          <p:nvPr>
            <p:ph type="sldNum" sz="quarter" idx="12"/>
          </p:nvPr>
        </p:nvSpPr>
        <p:spPr/>
        <p:txBody>
          <a:bodyPr/>
          <a:lstStyle/>
          <a:p>
            <a:fld id="{F1618D91-53CD-491F-8743-B0A22B448184}" type="slidenum">
              <a:rPr lang="en-GB" smtClean="0"/>
              <a:t>‹#›</a:t>
            </a:fld>
            <a:endParaRPr lang="en-GB"/>
          </a:p>
        </p:txBody>
      </p:sp>
    </p:spTree>
    <p:extLst>
      <p:ext uri="{BB962C8B-B14F-4D97-AF65-F5344CB8AC3E}">
        <p14:creationId xmlns:p14="http://schemas.microsoft.com/office/powerpoint/2010/main" val="243635947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04EA70-89F3-2E21-11CD-57B44AFEE3FA}"/>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6AADFD20-1C98-975F-FBDB-CB52AEFD2DF4}"/>
              </a:ext>
            </a:extLst>
          </p:cNvPr>
          <p:cNvSpPr>
            <a:spLocks noGrp="1"/>
          </p:cNvSpPr>
          <p:nvPr>
            <p:ph type="dt" sz="half" idx="10"/>
          </p:nvPr>
        </p:nvSpPr>
        <p:spPr/>
        <p:txBody>
          <a:bodyPr/>
          <a:lstStyle/>
          <a:p>
            <a:r>
              <a:rPr lang="en-GB"/>
              <a:t>23/09/2024</a:t>
            </a:r>
          </a:p>
        </p:txBody>
      </p:sp>
      <p:sp>
        <p:nvSpPr>
          <p:cNvPr id="4" name="Footer Placeholder 3">
            <a:extLst>
              <a:ext uri="{FF2B5EF4-FFF2-40B4-BE49-F238E27FC236}">
                <a16:creationId xmlns:a16="http://schemas.microsoft.com/office/drawing/2014/main" id="{602A6456-1974-A891-D2E2-2B4B0A455100}"/>
              </a:ext>
            </a:extLst>
          </p:cNvPr>
          <p:cNvSpPr>
            <a:spLocks noGrp="1"/>
          </p:cNvSpPr>
          <p:nvPr>
            <p:ph type="ftr" sz="quarter" idx="11"/>
          </p:nvPr>
        </p:nvSpPr>
        <p:spPr/>
        <p:txBody>
          <a:bodyPr/>
          <a:lstStyle/>
          <a:p>
            <a:r>
              <a:rPr lang="en-GB"/>
              <a:t>CE/Core NRAs call</a:t>
            </a:r>
          </a:p>
        </p:txBody>
      </p:sp>
      <p:sp>
        <p:nvSpPr>
          <p:cNvPr id="5" name="Slide Number Placeholder 4">
            <a:extLst>
              <a:ext uri="{FF2B5EF4-FFF2-40B4-BE49-F238E27FC236}">
                <a16:creationId xmlns:a16="http://schemas.microsoft.com/office/drawing/2014/main" id="{D655EDB9-AF17-2FE1-5630-1C4210130563}"/>
              </a:ext>
            </a:extLst>
          </p:cNvPr>
          <p:cNvSpPr>
            <a:spLocks noGrp="1"/>
          </p:cNvSpPr>
          <p:nvPr>
            <p:ph type="sldNum" sz="quarter" idx="12"/>
          </p:nvPr>
        </p:nvSpPr>
        <p:spPr/>
        <p:txBody>
          <a:bodyPr/>
          <a:lstStyle/>
          <a:p>
            <a:fld id="{F1618D91-53CD-491F-8743-B0A22B448184}" type="slidenum">
              <a:rPr lang="en-GB" smtClean="0"/>
              <a:t>‹#›</a:t>
            </a:fld>
            <a:endParaRPr lang="en-GB"/>
          </a:p>
        </p:txBody>
      </p:sp>
      <p:cxnSp>
        <p:nvCxnSpPr>
          <p:cNvPr id="6" name="Gerader Verbinder 7">
            <a:extLst>
              <a:ext uri="{FF2B5EF4-FFF2-40B4-BE49-F238E27FC236}">
                <a16:creationId xmlns:a16="http://schemas.microsoft.com/office/drawing/2014/main" id="{7435CF8E-F467-9E5C-39BB-AE4D5A85EB4A}"/>
              </a:ext>
            </a:extLst>
          </p:cNvPr>
          <p:cNvCxnSpPr/>
          <p:nvPr userDrawn="1"/>
        </p:nvCxnSpPr>
        <p:spPr>
          <a:xfrm>
            <a:off x="581247" y="1153837"/>
            <a:ext cx="11000828" cy="0"/>
          </a:xfrm>
          <a:prstGeom prst="line">
            <a:avLst/>
          </a:prstGeom>
          <a:ln w="12700">
            <a:solidFill>
              <a:srgbClr val="002060"/>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16431706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6314AE6-6716-1198-7B76-BE971BED7AA7}"/>
              </a:ext>
            </a:extLst>
          </p:cNvPr>
          <p:cNvSpPr>
            <a:spLocks noGrp="1"/>
          </p:cNvSpPr>
          <p:nvPr>
            <p:ph type="dt" sz="half" idx="10"/>
          </p:nvPr>
        </p:nvSpPr>
        <p:spPr/>
        <p:txBody>
          <a:bodyPr/>
          <a:lstStyle/>
          <a:p>
            <a:r>
              <a:rPr lang="en-GB"/>
              <a:t>23/09/2024</a:t>
            </a:r>
          </a:p>
        </p:txBody>
      </p:sp>
      <p:sp>
        <p:nvSpPr>
          <p:cNvPr id="3" name="Footer Placeholder 2">
            <a:extLst>
              <a:ext uri="{FF2B5EF4-FFF2-40B4-BE49-F238E27FC236}">
                <a16:creationId xmlns:a16="http://schemas.microsoft.com/office/drawing/2014/main" id="{922B0330-0DFB-E618-3C6A-CF8F26483508}"/>
              </a:ext>
            </a:extLst>
          </p:cNvPr>
          <p:cNvSpPr>
            <a:spLocks noGrp="1"/>
          </p:cNvSpPr>
          <p:nvPr>
            <p:ph type="ftr" sz="quarter" idx="11"/>
          </p:nvPr>
        </p:nvSpPr>
        <p:spPr/>
        <p:txBody>
          <a:bodyPr/>
          <a:lstStyle/>
          <a:p>
            <a:r>
              <a:rPr lang="en-GB"/>
              <a:t>CE/Core NRAs call</a:t>
            </a:r>
          </a:p>
        </p:txBody>
      </p:sp>
      <p:sp>
        <p:nvSpPr>
          <p:cNvPr id="4" name="Slide Number Placeholder 3">
            <a:extLst>
              <a:ext uri="{FF2B5EF4-FFF2-40B4-BE49-F238E27FC236}">
                <a16:creationId xmlns:a16="http://schemas.microsoft.com/office/drawing/2014/main" id="{8BA9F7DD-6425-4769-80C6-602EF0B9D63A}"/>
              </a:ext>
            </a:extLst>
          </p:cNvPr>
          <p:cNvSpPr>
            <a:spLocks noGrp="1"/>
          </p:cNvSpPr>
          <p:nvPr>
            <p:ph type="sldNum" sz="quarter" idx="12"/>
          </p:nvPr>
        </p:nvSpPr>
        <p:spPr/>
        <p:txBody>
          <a:bodyPr/>
          <a:lstStyle/>
          <a:p>
            <a:fld id="{F1618D91-53CD-491F-8743-B0A22B448184}" type="slidenum">
              <a:rPr lang="en-GB" smtClean="0"/>
              <a:t>‹#›</a:t>
            </a:fld>
            <a:endParaRPr lang="en-GB"/>
          </a:p>
        </p:txBody>
      </p:sp>
    </p:spTree>
    <p:extLst>
      <p:ext uri="{BB962C8B-B14F-4D97-AF65-F5344CB8AC3E}">
        <p14:creationId xmlns:p14="http://schemas.microsoft.com/office/powerpoint/2010/main" val="232408991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C246B18-304C-E0BB-891F-863BBFA2F723}"/>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Folie" r:id="rId3" imgW="624" imgH="623" progId="TCLayout.ActiveDocument.1">
                  <p:embed/>
                </p:oleObj>
              </mc:Choice>
              <mc:Fallback>
                <p:oleObj name="think-cell Folie" r:id="rId3" imgW="624" imgH="623" progId="TCLayout.ActiveDocument.1">
                  <p:embed/>
                  <p:pic>
                    <p:nvPicPr>
                      <p:cNvPr id="9" name="think-cell data - do not delete" hidden="1">
                        <a:extLst>
                          <a:ext uri="{FF2B5EF4-FFF2-40B4-BE49-F238E27FC236}">
                            <a16:creationId xmlns:a16="http://schemas.microsoft.com/office/drawing/2014/main" id="{9C246B18-304C-E0BB-891F-863BBFA2F723}"/>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94461F4-6057-44FD-F321-FD999DBCB6B7}"/>
              </a:ext>
            </a:extLst>
          </p:cNvPr>
          <p:cNvSpPr>
            <a:spLocks noGrp="1"/>
          </p:cNvSpPr>
          <p:nvPr>
            <p:ph type="title" hasCustomPrompt="1"/>
          </p:nvPr>
        </p:nvSpPr>
        <p:spPr>
          <a:xfrm>
            <a:off x="840318" y="457200"/>
            <a:ext cx="3932767" cy="1600200"/>
          </a:xfrm>
        </p:spPr>
        <p:txBody>
          <a:bodyPr vert="horz" anchor="ctr"/>
          <a:lstStyle>
            <a:lvl1pPr>
              <a:defRPr sz="2000"/>
            </a:lvl1p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1F157DB2-84DD-1E0B-705A-0A5DF06DDFFE}"/>
              </a:ext>
            </a:extLst>
          </p:cNvPr>
          <p:cNvSpPr>
            <a:spLocks noGrp="1"/>
          </p:cNvSpPr>
          <p:nvPr>
            <p:ph idx="1"/>
          </p:nvPr>
        </p:nvSpPr>
        <p:spPr>
          <a:xfrm>
            <a:off x="5183717" y="987426"/>
            <a:ext cx="6172200" cy="4873625"/>
          </a:xfrm>
        </p:spPr>
        <p:txBody>
          <a:bodyPr/>
          <a:lstStyle>
            <a:lvl1pPr>
              <a:defRPr sz="2000"/>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3">
            <a:extLst>
              <a:ext uri="{FF2B5EF4-FFF2-40B4-BE49-F238E27FC236}">
                <a16:creationId xmlns:a16="http://schemas.microsoft.com/office/drawing/2014/main" id="{BE549E85-14D1-56D5-2113-BE4A57D0AAD4}"/>
              </a:ext>
            </a:extLst>
          </p:cNvPr>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90A2FF4-7A91-A68F-047A-F25ABEDFB3CE}"/>
              </a:ext>
            </a:extLst>
          </p:cNvPr>
          <p:cNvSpPr>
            <a:spLocks noGrp="1"/>
          </p:cNvSpPr>
          <p:nvPr>
            <p:ph type="dt" sz="half" idx="10"/>
          </p:nvPr>
        </p:nvSpPr>
        <p:spPr/>
        <p:txBody>
          <a:bodyPr/>
          <a:lstStyle/>
          <a:p>
            <a:r>
              <a:rPr lang="en-GB"/>
              <a:t>23/09/2024</a:t>
            </a:r>
          </a:p>
        </p:txBody>
      </p:sp>
      <p:sp>
        <p:nvSpPr>
          <p:cNvPr id="6" name="Footer Placeholder 5">
            <a:extLst>
              <a:ext uri="{FF2B5EF4-FFF2-40B4-BE49-F238E27FC236}">
                <a16:creationId xmlns:a16="http://schemas.microsoft.com/office/drawing/2014/main" id="{AF41FB32-177E-ED8B-AA21-E191C6856079}"/>
              </a:ext>
            </a:extLst>
          </p:cNvPr>
          <p:cNvSpPr>
            <a:spLocks noGrp="1"/>
          </p:cNvSpPr>
          <p:nvPr>
            <p:ph type="ftr" sz="quarter" idx="11"/>
          </p:nvPr>
        </p:nvSpPr>
        <p:spPr/>
        <p:txBody>
          <a:bodyPr/>
          <a:lstStyle/>
          <a:p>
            <a:r>
              <a:rPr lang="en-GB"/>
              <a:t>CE/Core NRAs call</a:t>
            </a:r>
          </a:p>
        </p:txBody>
      </p:sp>
      <p:sp>
        <p:nvSpPr>
          <p:cNvPr id="7" name="Slide Number Placeholder 6">
            <a:extLst>
              <a:ext uri="{FF2B5EF4-FFF2-40B4-BE49-F238E27FC236}">
                <a16:creationId xmlns:a16="http://schemas.microsoft.com/office/drawing/2014/main" id="{95F5448D-AE47-F003-CCB7-621F52551BB7}"/>
              </a:ext>
            </a:extLst>
          </p:cNvPr>
          <p:cNvSpPr>
            <a:spLocks noGrp="1"/>
          </p:cNvSpPr>
          <p:nvPr>
            <p:ph type="sldNum" sz="quarter" idx="12"/>
          </p:nvPr>
        </p:nvSpPr>
        <p:spPr/>
        <p:txBody>
          <a:bodyPr/>
          <a:lstStyle/>
          <a:p>
            <a:fld id="{F1618D91-53CD-491F-8743-B0A22B448184}" type="slidenum">
              <a:rPr lang="en-GB" smtClean="0"/>
              <a:t>‹#›</a:t>
            </a:fld>
            <a:endParaRPr lang="en-GB"/>
          </a:p>
        </p:txBody>
      </p:sp>
    </p:spTree>
    <p:extLst>
      <p:ext uri="{BB962C8B-B14F-4D97-AF65-F5344CB8AC3E}">
        <p14:creationId xmlns:p14="http://schemas.microsoft.com/office/powerpoint/2010/main" val="78264115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560E6A7-CF13-77BF-A882-C5EBE5294B5D}"/>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Folie" r:id="rId3" imgW="624" imgH="623" progId="TCLayout.ActiveDocument.1">
                  <p:embed/>
                </p:oleObj>
              </mc:Choice>
              <mc:Fallback>
                <p:oleObj name="think-cell Folie" r:id="rId3" imgW="624" imgH="623" progId="TCLayout.ActiveDocument.1">
                  <p:embed/>
                  <p:pic>
                    <p:nvPicPr>
                      <p:cNvPr id="9" name="think-cell data - do not delete" hidden="1">
                        <a:extLst>
                          <a:ext uri="{FF2B5EF4-FFF2-40B4-BE49-F238E27FC236}">
                            <a16:creationId xmlns:a16="http://schemas.microsoft.com/office/drawing/2014/main" id="{F560E6A7-CF13-77BF-A882-C5EBE5294B5D}"/>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7248C22-7839-CFA2-10AD-FB44E797DCEA}"/>
              </a:ext>
            </a:extLst>
          </p:cNvPr>
          <p:cNvSpPr>
            <a:spLocks noGrp="1"/>
          </p:cNvSpPr>
          <p:nvPr>
            <p:ph type="title" hasCustomPrompt="1"/>
          </p:nvPr>
        </p:nvSpPr>
        <p:spPr>
          <a:xfrm>
            <a:off x="840318" y="457200"/>
            <a:ext cx="3932767" cy="1600200"/>
          </a:xfrm>
        </p:spPr>
        <p:txBody>
          <a:bodyPr vert="horz" anchor="ctr"/>
          <a:lstStyle>
            <a:lvl1pPr>
              <a:defRPr sz="2000"/>
            </a:lvl1pPr>
          </a:lstStyle>
          <a:p>
            <a:r>
              <a:rPr lang="en-US" dirty="0"/>
              <a:t>Click to edit Master title style</a:t>
            </a:r>
            <a:endParaRPr lang="en-GB" dirty="0"/>
          </a:p>
        </p:txBody>
      </p:sp>
      <p:sp>
        <p:nvSpPr>
          <p:cNvPr id="3" name="Picture Placeholder 2">
            <a:extLst>
              <a:ext uri="{FF2B5EF4-FFF2-40B4-BE49-F238E27FC236}">
                <a16:creationId xmlns:a16="http://schemas.microsoft.com/office/drawing/2014/main" id="{352B16CA-96F9-0906-B8D7-440E57D47176}"/>
              </a:ext>
            </a:extLst>
          </p:cNvPr>
          <p:cNvSpPr>
            <a:spLocks noGrp="1"/>
          </p:cNvSpPr>
          <p:nvPr>
            <p:ph type="pic" idx="1"/>
          </p:nvPr>
        </p:nvSpPr>
        <p:spPr>
          <a:xfrm>
            <a:off x="5183717" y="987426"/>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a:extLst>
              <a:ext uri="{FF2B5EF4-FFF2-40B4-BE49-F238E27FC236}">
                <a16:creationId xmlns:a16="http://schemas.microsoft.com/office/drawing/2014/main" id="{1E3E86AE-7DD2-16F7-3D5A-961640D4800D}"/>
              </a:ext>
            </a:extLst>
          </p:cNvPr>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6B596D8-01C8-86A7-08E7-59BED858B55A}"/>
              </a:ext>
            </a:extLst>
          </p:cNvPr>
          <p:cNvSpPr>
            <a:spLocks noGrp="1"/>
          </p:cNvSpPr>
          <p:nvPr>
            <p:ph type="dt" sz="half" idx="10"/>
          </p:nvPr>
        </p:nvSpPr>
        <p:spPr/>
        <p:txBody>
          <a:bodyPr/>
          <a:lstStyle/>
          <a:p>
            <a:r>
              <a:rPr lang="en-GB"/>
              <a:t>23/09/2024</a:t>
            </a:r>
          </a:p>
        </p:txBody>
      </p:sp>
      <p:sp>
        <p:nvSpPr>
          <p:cNvPr id="6" name="Footer Placeholder 5">
            <a:extLst>
              <a:ext uri="{FF2B5EF4-FFF2-40B4-BE49-F238E27FC236}">
                <a16:creationId xmlns:a16="http://schemas.microsoft.com/office/drawing/2014/main" id="{D54E09AB-7D52-53F1-5A04-5613726FE3C0}"/>
              </a:ext>
            </a:extLst>
          </p:cNvPr>
          <p:cNvSpPr>
            <a:spLocks noGrp="1"/>
          </p:cNvSpPr>
          <p:nvPr>
            <p:ph type="ftr" sz="quarter" idx="11"/>
          </p:nvPr>
        </p:nvSpPr>
        <p:spPr/>
        <p:txBody>
          <a:bodyPr/>
          <a:lstStyle/>
          <a:p>
            <a:r>
              <a:rPr lang="en-GB"/>
              <a:t>CE/Core NRAs call</a:t>
            </a:r>
          </a:p>
        </p:txBody>
      </p:sp>
      <p:sp>
        <p:nvSpPr>
          <p:cNvPr id="7" name="Slide Number Placeholder 6">
            <a:extLst>
              <a:ext uri="{FF2B5EF4-FFF2-40B4-BE49-F238E27FC236}">
                <a16:creationId xmlns:a16="http://schemas.microsoft.com/office/drawing/2014/main" id="{C938FC1A-0C14-B011-C83C-45B2DFB131E2}"/>
              </a:ext>
            </a:extLst>
          </p:cNvPr>
          <p:cNvSpPr>
            <a:spLocks noGrp="1"/>
          </p:cNvSpPr>
          <p:nvPr>
            <p:ph type="sldNum" sz="quarter" idx="12"/>
          </p:nvPr>
        </p:nvSpPr>
        <p:spPr/>
        <p:txBody>
          <a:bodyPr/>
          <a:lstStyle/>
          <a:p>
            <a:fld id="{F1618D91-53CD-491F-8743-B0A22B448184}" type="slidenum">
              <a:rPr lang="en-GB" smtClean="0"/>
              <a:t>‹#›</a:t>
            </a:fld>
            <a:endParaRPr lang="en-GB"/>
          </a:p>
        </p:txBody>
      </p:sp>
    </p:spTree>
    <p:extLst>
      <p:ext uri="{BB962C8B-B14F-4D97-AF65-F5344CB8AC3E}">
        <p14:creationId xmlns:p14="http://schemas.microsoft.com/office/powerpoint/2010/main" val="65479764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9678A2-3F6E-5F6B-60CE-D0562C549FDE}"/>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8BF6ACAF-E359-2CA8-0065-1629BAC535F3}"/>
              </a:ext>
            </a:extLst>
          </p:cNvPr>
          <p:cNvSpPr>
            <a:spLocks noGrp="1"/>
          </p:cNvSpPr>
          <p:nvPr>
            <p:ph type="body" orient="vert" idx="1"/>
          </p:nvPr>
        </p:nvSpPr>
        <p:spPr/>
        <p:txBody>
          <a:bodyPr vert="eaVert"/>
          <a:lstStyle>
            <a:lvl3pPr>
              <a:defRPr sz="18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a:extLst>
              <a:ext uri="{FF2B5EF4-FFF2-40B4-BE49-F238E27FC236}">
                <a16:creationId xmlns:a16="http://schemas.microsoft.com/office/drawing/2014/main" id="{A288873F-C92A-772F-C8BD-31AACE0442EE}"/>
              </a:ext>
            </a:extLst>
          </p:cNvPr>
          <p:cNvSpPr>
            <a:spLocks noGrp="1"/>
          </p:cNvSpPr>
          <p:nvPr>
            <p:ph type="dt" sz="half" idx="10"/>
          </p:nvPr>
        </p:nvSpPr>
        <p:spPr/>
        <p:txBody>
          <a:bodyPr/>
          <a:lstStyle/>
          <a:p>
            <a:r>
              <a:rPr lang="en-GB"/>
              <a:t>23/09/2024</a:t>
            </a:r>
          </a:p>
        </p:txBody>
      </p:sp>
      <p:sp>
        <p:nvSpPr>
          <p:cNvPr id="5" name="Footer Placeholder 4">
            <a:extLst>
              <a:ext uri="{FF2B5EF4-FFF2-40B4-BE49-F238E27FC236}">
                <a16:creationId xmlns:a16="http://schemas.microsoft.com/office/drawing/2014/main" id="{80792460-7F3D-891F-7C89-20F8EEF7368A}"/>
              </a:ext>
            </a:extLst>
          </p:cNvPr>
          <p:cNvSpPr>
            <a:spLocks noGrp="1"/>
          </p:cNvSpPr>
          <p:nvPr>
            <p:ph type="ftr" sz="quarter" idx="11"/>
          </p:nvPr>
        </p:nvSpPr>
        <p:spPr/>
        <p:txBody>
          <a:bodyPr/>
          <a:lstStyle/>
          <a:p>
            <a:r>
              <a:rPr lang="en-GB"/>
              <a:t>CE/Core NRAs call</a:t>
            </a:r>
          </a:p>
        </p:txBody>
      </p:sp>
      <p:sp>
        <p:nvSpPr>
          <p:cNvPr id="6" name="Slide Number Placeholder 5">
            <a:extLst>
              <a:ext uri="{FF2B5EF4-FFF2-40B4-BE49-F238E27FC236}">
                <a16:creationId xmlns:a16="http://schemas.microsoft.com/office/drawing/2014/main" id="{7F246C5F-78BD-5C15-732D-348AEFFC64A3}"/>
              </a:ext>
            </a:extLst>
          </p:cNvPr>
          <p:cNvSpPr>
            <a:spLocks noGrp="1"/>
          </p:cNvSpPr>
          <p:nvPr>
            <p:ph type="sldNum" sz="quarter" idx="12"/>
          </p:nvPr>
        </p:nvSpPr>
        <p:spPr/>
        <p:txBody>
          <a:bodyPr/>
          <a:lstStyle/>
          <a:p>
            <a:fld id="{F1618D91-53CD-491F-8743-B0A22B448184}" type="slidenum">
              <a:rPr lang="en-GB" smtClean="0"/>
              <a:t>‹#›</a:t>
            </a:fld>
            <a:endParaRPr lang="en-GB"/>
          </a:p>
        </p:txBody>
      </p:sp>
    </p:spTree>
    <p:extLst>
      <p:ext uri="{BB962C8B-B14F-4D97-AF65-F5344CB8AC3E}">
        <p14:creationId xmlns:p14="http://schemas.microsoft.com/office/powerpoint/2010/main" val="40573344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6483497-D8BC-3D45-9580-C3A555E64E04}"/>
              </a:ext>
            </a:extLst>
          </p:cNvPr>
          <p:cNvSpPr>
            <a:spLocks noGrp="1"/>
          </p:cNvSpPr>
          <p:nvPr>
            <p:ph type="title" orient="vert"/>
          </p:nvPr>
        </p:nvSpPr>
        <p:spPr>
          <a:xfrm>
            <a:off x="8724901" y="365125"/>
            <a:ext cx="2628900" cy="5811838"/>
          </a:xfrm>
        </p:spPr>
        <p:txBody>
          <a:bodyPr vert="eaVert"/>
          <a:lstStyle/>
          <a:p>
            <a:r>
              <a:rPr lang="en-US" dirty="0"/>
              <a:t>Click to edit Master title style</a:t>
            </a:r>
            <a:endParaRPr lang="en-GB" dirty="0"/>
          </a:p>
        </p:txBody>
      </p:sp>
      <p:sp>
        <p:nvSpPr>
          <p:cNvPr id="3" name="Vertical Text Placeholder 2">
            <a:extLst>
              <a:ext uri="{FF2B5EF4-FFF2-40B4-BE49-F238E27FC236}">
                <a16:creationId xmlns:a16="http://schemas.microsoft.com/office/drawing/2014/main" id="{682E7EDE-3AB9-0EFD-643B-75ACBA79B5F3}"/>
              </a:ext>
            </a:extLst>
          </p:cNvPr>
          <p:cNvSpPr>
            <a:spLocks noGrp="1"/>
          </p:cNvSpPr>
          <p:nvPr>
            <p:ph type="body" orient="vert" idx="1"/>
          </p:nvPr>
        </p:nvSpPr>
        <p:spPr>
          <a:xfrm>
            <a:off x="838201" y="365125"/>
            <a:ext cx="7683500" cy="5811838"/>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a:extLst>
              <a:ext uri="{FF2B5EF4-FFF2-40B4-BE49-F238E27FC236}">
                <a16:creationId xmlns:a16="http://schemas.microsoft.com/office/drawing/2014/main" id="{F67CE41B-52C6-6EFD-FB8D-86702AA6CB6B}"/>
              </a:ext>
            </a:extLst>
          </p:cNvPr>
          <p:cNvSpPr>
            <a:spLocks noGrp="1"/>
          </p:cNvSpPr>
          <p:nvPr>
            <p:ph type="dt" sz="half" idx="10"/>
          </p:nvPr>
        </p:nvSpPr>
        <p:spPr/>
        <p:txBody>
          <a:bodyPr/>
          <a:lstStyle/>
          <a:p>
            <a:r>
              <a:rPr lang="en-GB" dirty="0"/>
              <a:t>23/09/2024</a:t>
            </a:r>
          </a:p>
        </p:txBody>
      </p:sp>
      <p:sp>
        <p:nvSpPr>
          <p:cNvPr id="5" name="Footer Placeholder 4">
            <a:extLst>
              <a:ext uri="{FF2B5EF4-FFF2-40B4-BE49-F238E27FC236}">
                <a16:creationId xmlns:a16="http://schemas.microsoft.com/office/drawing/2014/main" id="{6268EA5B-9D3B-2081-B464-1586BBEF5941}"/>
              </a:ext>
            </a:extLst>
          </p:cNvPr>
          <p:cNvSpPr>
            <a:spLocks noGrp="1"/>
          </p:cNvSpPr>
          <p:nvPr>
            <p:ph type="ftr" sz="quarter" idx="11"/>
          </p:nvPr>
        </p:nvSpPr>
        <p:spPr/>
        <p:txBody>
          <a:bodyPr/>
          <a:lstStyle/>
          <a:p>
            <a:r>
              <a:rPr lang="en-GB" dirty="0"/>
              <a:t>CE/Core NRAs call</a:t>
            </a:r>
          </a:p>
        </p:txBody>
      </p:sp>
      <p:sp>
        <p:nvSpPr>
          <p:cNvPr id="6" name="Slide Number Placeholder 5">
            <a:extLst>
              <a:ext uri="{FF2B5EF4-FFF2-40B4-BE49-F238E27FC236}">
                <a16:creationId xmlns:a16="http://schemas.microsoft.com/office/drawing/2014/main" id="{85E26D0B-8042-FBAD-1359-9F63C065F984}"/>
              </a:ext>
            </a:extLst>
          </p:cNvPr>
          <p:cNvSpPr>
            <a:spLocks noGrp="1"/>
          </p:cNvSpPr>
          <p:nvPr>
            <p:ph type="sldNum" sz="quarter" idx="12"/>
          </p:nvPr>
        </p:nvSpPr>
        <p:spPr/>
        <p:txBody>
          <a:bodyPr/>
          <a:lstStyle/>
          <a:p>
            <a:fld id="{F1618D91-53CD-491F-8743-B0A22B448184}" type="slidenum">
              <a:rPr lang="en-GB" smtClean="0"/>
              <a:t>‹#›</a:t>
            </a:fld>
            <a:endParaRPr lang="en-GB"/>
          </a:p>
        </p:txBody>
      </p:sp>
    </p:spTree>
    <p:extLst>
      <p:ext uri="{BB962C8B-B14F-4D97-AF65-F5344CB8AC3E}">
        <p14:creationId xmlns:p14="http://schemas.microsoft.com/office/powerpoint/2010/main" val="203443055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offee Break">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8DCFC93-B6DF-D478-817D-C2DDC0B6E765}"/>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Folie" r:id="rId3" imgW="624" imgH="623" progId="TCLayout.ActiveDocument.1">
                  <p:embed/>
                </p:oleObj>
              </mc:Choice>
              <mc:Fallback>
                <p:oleObj name="think-cell Folie" r:id="rId3" imgW="624" imgH="623" progId="TCLayout.ActiveDocument.1">
                  <p:embed/>
                  <p:pic>
                    <p:nvPicPr>
                      <p:cNvPr id="7" name="think-cell data - do not delete" hidden="1">
                        <a:extLst>
                          <a:ext uri="{FF2B5EF4-FFF2-40B4-BE49-F238E27FC236}">
                            <a16:creationId xmlns:a16="http://schemas.microsoft.com/office/drawing/2014/main" id="{88DCFC93-B6DF-D478-817D-C2DDC0B6E765}"/>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4AF8ED7-B4ED-C1B0-2597-84772D035730}"/>
              </a:ext>
            </a:extLst>
          </p:cNvPr>
          <p:cNvSpPr>
            <a:spLocks noGrp="1"/>
          </p:cNvSpPr>
          <p:nvPr>
            <p:ph type="title" hasCustomPrompt="1"/>
          </p:nvPr>
        </p:nvSpPr>
        <p:spPr>
          <a:xfrm>
            <a:off x="9056234" y="1385412"/>
            <a:ext cx="1630325" cy="446276"/>
          </a:xfrm>
        </p:spPr>
        <p:txBody>
          <a:bodyPr vert="horz">
            <a:noAutofit/>
          </a:bodyPr>
          <a:lstStyle>
            <a:lvl1pPr marL="0" algn="ctr" defTabSz="457200" rtl="0" eaLnBrk="1" latinLnBrk="0" hangingPunct="1">
              <a:defRPr lang="en-GB" sz="2400" b="1" i="0" kern="1200" dirty="0">
                <a:solidFill>
                  <a:srgbClr val="002060"/>
                </a:solidFill>
                <a:effectLst>
                  <a:outerShdw blurRad="38100" dist="38100" dir="2700000" algn="tl">
                    <a:srgbClr val="000000">
                      <a:alpha val="43137"/>
                    </a:srgbClr>
                  </a:outerShdw>
                </a:effectLst>
                <a:latin typeface="+mj-lt"/>
                <a:ea typeface="+mn-ea"/>
                <a:cs typeface="+mn-cs"/>
              </a:defRPr>
            </a:lvl1pPr>
          </a:lstStyle>
          <a:p>
            <a:r>
              <a:rPr lang="de-DE" dirty="0" err="1"/>
              <a:t>hh:mm</a:t>
            </a:r>
            <a:endParaRPr lang="en-GB" dirty="0"/>
          </a:p>
        </p:txBody>
      </p:sp>
      <p:pic>
        <p:nvPicPr>
          <p:cNvPr id="8" name="Grafik 7" descr="Kaffee Silhouette">
            <a:extLst>
              <a:ext uri="{FF2B5EF4-FFF2-40B4-BE49-F238E27FC236}">
                <a16:creationId xmlns:a16="http://schemas.microsoft.com/office/drawing/2014/main" id="{10728FB2-6CFF-7C79-D37A-7535C34C4071}"/>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16073" y="729504"/>
            <a:ext cx="5127812" cy="3845859"/>
          </a:xfrm>
          <a:prstGeom prst="rect">
            <a:avLst/>
          </a:prstGeom>
        </p:spPr>
      </p:pic>
      <p:pic>
        <p:nvPicPr>
          <p:cNvPr id="10" name="Grafik 9" descr="Tee Silhouette">
            <a:extLst>
              <a:ext uri="{FF2B5EF4-FFF2-40B4-BE49-F238E27FC236}">
                <a16:creationId xmlns:a16="http://schemas.microsoft.com/office/drawing/2014/main" id="{AD94619A-92B7-B370-A944-C43867DFA741}"/>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996915" y="2528047"/>
            <a:ext cx="5127812" cy="3845859"/>
          </a:xfrm>
          <a:prstGeom prst="rect">
            <a:avLst/>
          </a:prstGeom>
        </p:spPr>
      </p:pic>
      <p:sp>
        <p:nvSpPr>
          <p:cNvPr id="5" name="TextBox 4">
            <a:extLst>
              <a:ext uri="{FF2B5EF4-FFF2-40B4-BE49-F238E27FC236}">
                <a16:creationId xmlns:a16="http://schemas.microsoft.com/office/drawing/2014/main" id="{48465CE4-2DA4-F34E-B618-A4489D4686CD}"/>
              </a:ext>
            </a:extLst>
          </p:cNvPr>
          <p:cNvSpPr txBox="1"/>
          <p:nvPr userDrawn="1"/>
        </p:nvSpPr>
        <p:spPr>
          <a:xfrm>
            <a:off x="7074196" y="918588"/>
            <a:ext cx="4401733" cy="892552"/>
          </a:xfrm>
          <a:prstGeom prst="rect">
            <a:avLst/>
          </a:prstGeom>
          <a:noFill/>
        </p:spPr>
        <p:txBody>
          <a:bodyPr wrap="square" rtlCol="0">
            <a:spAutoFit/>
          </a:bodyPr>
          <a:lstStyle/>
          <a:p>
            <a:r>
              <a:rPr lang="en-GB" sz="3200" b="1" i="0" dirty="0">
                <a:solidFill>
                  <a:srgbClr val="002060"/>
                </a:solidFill>
                <a:effectLst>
                  <a:outerShdw blurRad="38100" dist="38100" dir="2700000" algn="tl">
                    <a:srgbClr val="000000">
                      <a:alpha val="43137"/>
                    </a:srgbClr>
                  </a:outerShdw>
                </a:effectLst>
                <a:latin typeface="+mj-lt"/>
              </a:rPr>
              <a:t>SHORT BREAK</a:t>
            </a:r>
          </a:p>
          <a:p>
            <a:r>
              <a:rPr lang="en-GB" sz="2000" b="1" i="0" dirty="0">
                <a:solidFill>
                  <a:srgbClr val="002060"/>
                </a:solidFill>
                <a:effectLst>
                  <a:outerShdw blurRad="38100" dist="38100" dir="2700000" algn="tl">
                    <a:srgbClr val="000000">
                      <a:alpha val="43137"/>
                    </a:srgbClr>
                  </a:outerShdw>
                </a:effectLst>
                <a:latin typeface="+mj-lt"/>
              </a:rPr>
              <a:t>  we start at</a:t>
            </a:r>
          </a:p>
        </p:txBody>
      </p:sp>
    </p:spTree>
    <p:extLst>
      <p:ext uri="{BB962C8B-B14F-4D97-AF65-F5344CB8AC3E}">
        <p14:creationId xmlns:p14="http://schemas.microsoft.com/office/powerpoint/2010/main" val="269239802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Lunch Break">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8DD1179-D5C2-21E7-179E-39F606D42001}"/>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Folie" r:id="rId3" imgW="624" imgH="623" progId="TCLayout.ActiveDocument.1">
                  <p:embed/>
                </p:oleObj>
              </mc:Choice>
              <mc:Fallback>
                <p:oleObj name="think-cell Folie" r:id="rId3" imgW="624" imgH="623" progId="TCLayout.ActiveDocument.1">
                  <p:embed/>
                  <p:pic>
                    <p:nvPicPr>
                      <p:cNvPr id="7" name="think-cell data - do not delete" hidden="1">
                        <a:extLst>
                          <a:ext uri="{FF2B5EF4-FFF2-40B4-BE49-F238E27FC236}">
                            <a16:creationId xmlns:a16="http://schemas.microsoft.com/office/drawing/2014/main" id="{48DD1179-D5C2-21E7-179E-39F606D42001}"/>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pic>
        <p:nvPicPr>
          <p:cNvPr id="5" name="Grafik 4" descr="Tisch decken Silhouette">
            <a:extLst>
              <a:ext uri="{FF2B5EF4-FFF2-40B4-BE49-F238E27FC236}">
                <a16:creationId xmlns:a16="http://schemas.microsoft.com/office/drawing/2014/main" id="{68A989B2-67EE-94B1-595C-96EAA6FDFA23}"/>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416423" y="942110"/>
            <a:ext cx="7394180" cy="5545635"/>
          </a:xfrm>
          <a:prstGeom prst="rect">
            <a:avLst/>
          </a:prstGeom>
        </p:spPr>
      </p:pic>
      <p:sp>
        <p:nvSpPr>
          <p:cNvPr id="2" name="Titel 1">
            <a:extLst>
              <a:ext uri="{FF2B5EF4-FFF2-40B4-BE49-F238E27FC236}">
                <a16:creationId xmlns:a16="http://schemas.microsoft.com/office/drawing/2014/main" id="{3637E174-E91A-A15C-C8DA-8E0BE46E0D5A}"/>
              </a:ext>
            </a:extLst>
          </p:cNvPr>
          <p:cNvSpPr>
            <a:spLocks noGrp="1"/>
          </p:cNvSpPr>
          <p:nvPr>
            <p:ph type="title" hasCustomPrompt="1"/>
          </p:nvPr>
        </p:nvSpPr>
        <p:spPr>
          <a:xfrm>
            <a:off x="9056234" y="1385412"/>
            <a:ext cx="1630325" cy="446276"/>
          </a:xfrm>
        </p:spPr>
        <p:txBody>
          <a:bodyPr vert="horz">
            <a:noAutofit/>
          </a:bodyPr>
          <a:lstStyle>
            <a:lvl1pPr marL="0" algn="ctr" defTabSz="457200" rtl="0" eaLnBrk="1" latinLnBrk="0" hangingPunct="1">
              <a:defRPr lang="en-GB" sz="2400" b="1" i="0" kern="1200" dirty="0">
                <a:solidFill>
                  <a:srgbClr val="002060"/>
                </a:solidFill>
                <a:effectLst>
                  <a:outerShdw blurRad="38100" dist="38100" dir="2700000" algn="tl">
                    <a:srgbClr val="000000">
                      <a:alpha val="43137"/>
                    </a:srgbClr>
                  </a:outerShdw>
                </a:effectLst>
                <a:latin typeface="+mj-lt"/>
                <a:ea typeface="+mn-ea"/>
                <a:cs typeface="+mn-cs"/>
              </a:defRPr>
            </a:lvl1pPr>
          </a:lstStyle>
          <a:p>
            <a:r>
              <a:rPr lang="de-DE" dirty="0" err="1"/>
              <a:t>hh:mm</a:t>
            </a:r>
            <a:endParaRPr lang="en-GB" dirty="0"/>
          </a:p>
        </p:txBody>
      </p:sp>
      <p:sp>
        <p:nvSpPr>
          <p:cNvPr id="3" name="TextBox 4">
            <a:extLst>
              <a:ext uri="{FF2B5EF4-FFF2-40B4-BE49-F238E27FC236}">
                <a16:creationId xmlns:a16="http://schemas.microsoft.com/office/drawing/2014/main" id="{E04BB482-EE44-4D43-844A-E8D7BEDF11E3}"/>
              </a:ext>
            </a:extLst>
          </p:cNvPr>
          <p:cNvSpPr txBox="1"/>
          <p:nvPr userDrawn="1"/>
        </p:nvSpPr>
        <p:spPr>
          <a:xfrm>
            <a:off x="7074196" y="918588"/>
            <a:ext cx="4401733" cy="892552"/>
          </a:xfrm>
          <a:prstGeom prst="rect">
            <a:avLst/>
          </a:prstGeom>
          <a:noFill/>
        </p:spPr>
        <p:txBody>
          <a:bodyPr wrap="square" rtlCol="0">
            <a:spAutoFit/>
          </a:bodyPr>
          <a:lstStyle/>
          <a:p>
            <a:r>
              <a:rPr lang="en-GB" sz="3200" b="1" i="0" dirty="0">
                <a:solidFill>
                  <a:srgbClr val="002060"/>
                </a:solidFill>
                <a:effectLst>
                  <a:outerShdw blurRad="38100" dist="38100" dir="2700000" algn="tl">
                    <a:srgbClr val="000000">
                      <a:alpha val="43137"/>
                    </a:srgbClr>
                  </a:outerShdw>
                </a:effectLst>
                <a:latin typeface="+mj-lt"/>
              </a:rPr>
              <a:t>LUNCH BREAK</a:t>
            </a:r>
          </a:p>
          <a:p>
            <a:r>
              <a:rPr lang="en-GB" sz="2000" b="1" i="0" dirty="0">
                <a:solidFill>
                  <a:srgbClr val="002060"/>
                </a:solidFill>
                <a:effectLst>
                  <a:outerShdw blurRad="38100" dist="38100" dir="2700000" algn="tl">
                    <a:srgbClr val="000000">
                      <a:alpha val="43137"/>
                    </a:srgbClr>
                  </a:outerShdw>
                </a:effectLst>
                <a:latin typeface="+mj-lt"/>
              </a:rPr>
              <a:t>  we start at</a:t>
            </a:r>
          </a:p>
        </p:txBody>
      </p:sp>
    </p:spTree>
    <p:extLst>
      <p:ext uri="{BB962C8B-B14F-4D97-AF65-F5344CB8AC3E}">
        <p14:creationId xmlns:p14="http://schemas.microsoft.com/office/powerpoint/2010/main" val="89205946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adios">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CB2E0B7-01F0-53C3-1CFF-8CABED8A370B}"/>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Folie" r:id="rId3" imgW="624" imgH="623" progId="TCLayout.ActiveDocument.1">
                  <p:embed/>
                </p:oleObj>
              </mc:Choice>
              <mc:Fallback>
                <p:oleObj name="think-cell Folie" r:id="rId3" imgW="624" imgH="623" progId="TCLayout.ActiveDocument.1">
                  <p:embed/>
                  <p:pic>
                    <p:nvPicPr>
                      <p:cNvPr id="4" name="think-cell data - do not delete" hidden="1">
                        <a:extLst>
                          <a:ext uri="{FF2B5EF4-FFF2-40B4-BE49-F238E27FC236}">
                            <a16:creationId xmlns:a16="http://schemas.microsoft.com/office/drawing/2014/main" id="{2CB2E0B7-01F0-53C3-1CFF-8CABED8A370B}"/>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E3C35DC-86AB-ECC4-5A36-5033E49C6890}"/>
              </a:ext>
            </a:extLst>
          </p:cNvPr>
          <p:cNvSpPr>
            <a:spLocks noGrp="1"/>
          </p:cNvSpPr>
          <p:nvPr>
            <p:ph type="title" hasCustomPrompt="1"/>
          </p:nvPr>
        </p:nvSpPr>
        <p:spPr>
          <a:xfrm>
            <a:off x="616607" y="3429001"/>
            <a:ext cx="11000828" cy="696419"/>
          </a:xfrm>
        </p:spPr>
        <p:txBody>
          <a:bodyPr vert="horz"/>
          <a:lstStyle>
            <a:lvl1pPr algn="ctr">
              <a:defRPr/>
            </a:lvl1pPr>
          </a:lstStyle>
          <a:p>
            <a:r>
              <a:rPr lang="de-DE" dirty="0"/>
              <a:t>Edit title</a:t>
            </a:r>
            <a:endParaRPr lang="en-GB" dirty="0"/>
          </a:p>
        </p:txBody>
      </p:sp>
      <p:pic>
        <p:nvPicPr>
          <p:cNvPr id="3" name="Grafik 2">
            <a:extLst>
              <a:ext uri="{FF2B5EF4-FFF2-40B4-BE49-F238E27FC236}">
                <a16:creationId xmlns:a16="http://schemas.microsoft.com/office/drawing/2014/main" id="{90B35FE3-82B2-7420-F48B-1470CF69DC5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257507" y="632506"/>
            <a:ext cx="865436" cy="248752"/>
          </a:xfrm>
          <a:prstGeom prst="rect">
            <a:avLst/>
          </a:prstGeom>
        </p:spPr>
      </p:pic>
      <p:pic>
        <p:nvPicPr>
          <p:cNvPr id="20" name="Picture 2">
            <a:extLst>
              <a:ext uri="{FF2B5EF4-FFF2-40B4-BE49-F238E27FC236}">
                <a16:creationId xmlns:a16="http://schemas.microsoft.com/office/drawing/2014/main" id="{F6A50E2D-D3F1-0395-A2E0-05842A82D40E}"/>
              </a:ext>
            </a:extLst>
          </p:cNvPr>
          <p:cNvPicPr/>
          <p:nvPr userDrawn="1"/>
        </p:nvPicPr>
        <p:blipFill>
          <a:blip r:embed="rId6">
            <a:lum contrast="72000"/>
            <a:extLst>
              <a:ext uri="{28A0092B-C50C-407E-A947-70E740481C1C}">
                <a14:useLocalDpi xmlns:a14="http://schemas.microsoft.com/office/drawing/2010/main" val="0"/>
              </a:ext>
            </a:extLst>
          </a:blip>
          <a:srcRect/>
          <a:stretch>
            <a:fillRect/>
          </a:stretch>
        </p:blipFill>
        <p:spPr bwMode="auto">
          <a:xfrm>
            <a:off x="5429056" y="428393"/>
            <a:ext cx="1956833" cy="725758"/>
          </a:xfrm>
          <a:prstGeom prst="rect">
            <a:avLst/>
          </a:prstGeom>
          <a:noFill/>
        </p:spPr>
      </p:pic>
      <p:pic>
        <p:nvPicPr>
          <p:cNvPr id="21" name="Grafik 7" descr="Bildergebnis für anre">
            <a:extLst>
              <a:ext uri="{FF2B5EF4-FFF2-40B4-BE49-F238E27FC236}">
                <a16:creationId xmlns:a16="http://schemas.microsoft.com/office/drawing/2014/main" id="{08827374-ACA0-B714-F20B-E014DC52B5EA}"/>
              </a:ext>
            </a:extLst>
          </p:cNvPr>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4752166" y="515206"/>
            <a:ext cx="701900" cy="471915"/>
          </a:xfrm>
          <a:prstGeom prst="rect">
            <a:avLst/>
          </a:prstGeom>
          <a:noFill/>
          <a:ln>
            <a:noFill/>
          </a:ln>
        </p:spPr>
      </p:pic>
      <p:pic>
        <p:nvPicPr>
          <p:cNvPr id="23" name="Picture 5">
            <a:hlinkClick r:id="rId8"/>
            <a:extLst>
              <a:ext uri="{FF2B5EF4-FFF2-40B4-BE49-F238E27FC236}">
                <a16:creationId xmlns:a16="http://schemas.microsoft.com/office/drawing/2014/main" id="{D3EC28A1-E4EA-12FE-5D78-9D8BD75FB082}"/>
              </a:ext>
            </a:extLst>
          </p:cNvPr>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3213931" y="1195831"/>
            <a:ext cx="1363980" cy="223840"/>
          </a:xfrm>
          <a:prstGeom prst="rect">
            <a:avLst/>
          </a:prstGeom>
          <a:noFill/>
        </p:spPr>
      </p:pic>
      <p:pic>
        <p:nvPicPr>
          <p:cNvPr id="25" name="Grafik 11" descr="http://strujaplin.com/images/logo-hera.png">
            <a:extLst>
              <a:ext uri="{FF2B5EF4-FFF2-40B4-BE49-F238E27FC236}">
                <a16:creationId xmlns:a16="http://schemas.microsoft.com/office/drawing/2014/main" id="{7F612E02-69E6-F983-FED7-8205B211FB24}"/>
              </a:ext>
            </a:extLst>
          </p:cNvPr>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7250308" y="1077095"/>
            <a:ext cx="739123" cy="478840"/>
          </a:xfrm>
          <a:prstGeom prst="rect">
            <a:avLst/>
          </a:prstGeom>
          <a:noFill/>
          <a:ln>
            <a:noFill/>
          </a:ln>
        </p:spPr>
      </p:pic>
      <p:pic>
        <p:nvPicPr>
          <p:cNvPr id="26" name="Picture 2" descr="logo-acm-nl_tcm13-202295">
            <a:extLst>
              <a:ext uri="{FF2B5EF4-FFF2-40B4-BE49-F238E27FC236}">
                <a16:creationId xmlns:a16="http://schemas.microsoft.com/office/drawing/2014/main" id="{E2A2897E-BBE8-088A-3292-3203FA8937BF}"/>
              </a:ext>
            </a:extLst>
          </p:cNvPr>
          <p:cNvPicPr>
            <a:picLocks noChangeAspect="1" noChangeArrowheads="1"/>
          </p:cNvPicPr>
          <p:nvPr userDrawn="1"/>
        </p:nvPicPr>
        <p:blipFill>
          <a:blip r:embed="rId11"/>
          <a:srcRect/>
          <a:stretch>
            <a:fillRect/>
          </a:stretch>
        </p:blipFill>
        <p:spPr bwMode="auto">
          <a:xfrm>
            <a:off x="1833538" y="532338"/>
            <a:ext cx="1021191" cy="437653"/>
          </a:xfrm>
          <a:prstGeom prst="rect">
            <a:avLst/>
          </a:prstGeom>
          <a:noFill/>
          <a:ln w="9525">
            <a:noFill/>
            <a:miter lim="800000"/>
            <a:headEnd/>
            <a:tailEnd/>
          </a:ln>
        </p:spPr>
      </p:pic>
      <p:pic>
        <p:nvPicPr>
          <p:cNvPr id="27" name="Picture 9">
            <a:extLst>
              <a:ext uri="{FF2B5EF4-FFF2-40B4-BE49-F238E27FC236}">
                <a16:creationId xmlns:a16="http://schemas.microsoft.com/office/drawing/2014/main" id="{8BDF9312-C190-E060-59C9-EB54A01AB61D}"/>
              </a:ext>
            </a:extLst>
          </p:cNvPr>
          <p:cNvPicPr>
            <a:picLocks noGrp="1" noChangeAspect="1" noChangeArrowheads="1"/>
          </p:cNvPicPr>
          <p:nvPr userDrawn="1"/>
        </p:nvPicPr>
        <p:blipFill>
          <a:blip r:embed="rId12" cstate="print">
            <a:extLst>
              <a:ext uri="{28A0092B-C50C-407E-A947-70E740481C1C}">
                <a14:useLocalDpi xmlns:a14="http://schemas.microsoft.com/office/drawing/2010/main" val="0"/>
              </a:ext>
            </a:extLst>
          </a:blip>
          <a:stretch>
            <a:fillRect/>
          </a:stretch>
        </p:blipFill>
        <p:spPr bwMode="auto">
          <a:xfrm>
            <a:off x="7937617" y="675332"/>
            <a:ext cx="1197695" cy="29080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Grafik 14" descr="C:\Users\zko\AppData\Local\Microsoft\Windows\INetCache\Content.Word\EC_Logo_pixel_RGB.JPG">
            <a:extLst>
              <a:ext uri="{FF2B5EF4-FFF2-40B4-BE49-F238E27FC236}">
                <a16:creationId xmlns:a16="http://schemas.microsoft.com/office/drawing/2014/main" id="{D7473EFA-10A7-7819-7EF4-495637928062}"/>
              </a:ext>
            </a:extLst>
          </p:cNvPr>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861197" y="1196133"/>
            <a:ext cx="1226495" cy="246224"/>
          </a:xfrm>
          <a:prstGeom prst="rect">
            <a:avLst/>
          </a:prstGeom>
          <a:noFill/>
          <a:ln>
            <a:noFill/>
          </a:ln>
        </p:spPr>
      </p:pic>
      <p:pic>
        <p:nvPicPr>
          <p:cNvPr id="29" name="Grafik 15">
            <a:extLst>
              <a:ext uri="{FF2B5EF4-FFF2-40B4-BE49-F238E27FC236}">
                <a16:creationId xmlns:a16="http://schemas.microsoft.com/office/drawing/2014/main" id="{C1BBCD1F-4276-EFB7-DE6E-A72340C4CB64}"/>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2981836" y="637972"/>
            <a:ext cx="1608712" cy="228672"/>
          </a:xfrm>
          <a:prstGeom prst="rect">
            <a:avLst/>
          </a:prstGeom>
        </p:spPr>
      </p:pic>
      <p:pic>
        <p:nvPicPr>
          <p:cNvPr id="30" name="Grafik 16">
            <a:extLst>
              <a:ext uri="{FF2B5EF4-FFF2-40B4-BE49-F238E27FC236}">
                <a16:creationId xmlns:a16="http://schemas.microsoft.com/office/drawing/2014/main" id="{16C682F9-31D9-6CE8-CA7C-11561141940F}"/>
              </a:ext>
            </a:extLst>
          </p:cNvPr>
          <p:cNvPicPr>
            <a:picLocks noChangeAspect="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6763741" y="734304"/>
            <a:ext cx="1136987" cy="146955"/>
          </a:xfrm>
          <a:prstGeom prst="rect">
            <a:avLst/>
          </a:prstGeom>
          <a:noFill/>
          <a:ln>
            <a:noFill/>
          </a:ln>
        </p:spPr>
      </p:pic>
      <p:pic>
        <p:nvPicPr>
          <p:cNvPr id="31" name="Grafik 17">
            <a:extLst>
              <a:ext uri="{FF2B5EF4-FFF2-40B4-BE49-F238E27FC236}">
                <a16:creationId xmlns:a16="http://schemas.microsoft.com/office/drawing/2014/main" id="{D384DF5B-901B-7415-5E19-F2B204204989}"/>
              </a:ext>
            </a:extLst>
          </p:cNvPr>
          <p:cNvPicPr>
            <a:picLocks noChangeAspect="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8074771" y="1118137"/>
            <a:ext cx="1074111" cy="413952"/>
          </a:xfrm>
          <a:prstGeom prst="rect">
            <a:avLst/>
          </a:prstGeom>
          <a:noFill/>
          <a:ln>
            <a:noFill/>
          </a:ln>
        </p:spPr>
      </p:pic>
      <p:pic>
        <p:nvPicPr>
          <p:cNvPr id="32" name="Grafik 18">
            <a:extLst>
              <a:ext uri="{FF2B5EF4-FFF2-40B4-BE49-F238E27FC236}">
                <a16:creationId xmlns:a16="http://schemas.microsoft.com/office/drawing/2014/main" id="{E0A047F0-5BC9-320A-F90B-CCFDF7A81841}"/>
              </a:ext>
            </a:extLst>
          </p:cNvPr>
          <p:cNvPicPr>
            <a:picLocks noChangeAspect="1"/>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6007838" y="1209863"/>
            <a:ext cx="1096253" cy="252628"/>
          </a:xfrm>
          <a:prstGeom prst="rect">
            <a:avLst/>
          </a:prstGeom>
          <a:noFill/>
          <a:ln>
            <a:noFill/>
          </a:ln>
        </p:spPr>
      </p:pic>
      <p:sp>
        <p:nvSpPr>
          <p:cNvPr id="33" name="Szövegdoboz 24">
            <a:extLst>
              <a:ext uri="{FF2B5EF4-FFF2-40B4-BE49-F238E27FC236}">
                <a16:creationId xmlns:a16="http://schemas.microsoft.com/office/drawing/2014/main" id="{0A4FE3B9-4715-88DF-5A69-4ECBBA2D4354}"/>
              </a:ext>
            </a:extLst>
          </p:cNvPr>
          <p:cNvSpPr txBox="1"/>
          <p:nvPr userDrawn="1"/>
        </p:nvSpPr>
        <p:spPr>
          <a:xfrm>
            <a:off x="9869981" y="595803"/>
            <a:ext cx="503915" cy="215444"/>
          </a:xfrm>
          <a:prstGeom prst="rect">
            <a:avLst/>
          </a:prstGeom>
        </p:spPr>
        <p:txBody>
          <a:bodyPr vert="horz" wrap="square" lIns="0" tIns="0" rIns="0" bIns="0" rtlCol="0">
            <a:spAutoFit/>
          </a:bodyPr>
          <a:lstStyle/>
          <a:p>
            <a:pPr algn="ctr"/>
            <a:r>
              <a:rPr lang="hu-HU" sz="1400" b="1" dirty="0"/>
              <a:t>*</a:t>
            </a:r>
          </a:p>
        </p:txBody>
      </p:sp>
      <p:sp>
        <p:nvSpPr>
          <p:cNvPr id="34" name="Textfeld 33">
            <a:extLst>
              <a:ext uri="{FF2B5EF4-FFF2-40B4-BE49-F238E27FC236}">
                <a16:creationId xmlns:a16="http://schemas.microsoft.com/office/drawing/2014/main" id="{98B65530-9384-52B8-EB62-D08AE7E99220}"/>
              </a:ext>
            </a:extLst>
          </p:cNvPr>
          <p:cNvSpPr txBox="1"/>
          <p:nvPr userDrawn="1"/>
        </p:nvSpPr>
        <p:spPr>
          <a:xfrm>
            <a:off x="7774942" y="1634199"/>
            <a:ext cx="2983841" cy="215444"/>
          </a:xfrm>
          <a:prstGeom prst="rect">
            <a:avLst/>
          </a:prstGeom>
          <a:noFill/>
        </p:spPr>
        <p:txBody>
          <a:bodyPr wrap="square" rtlCol="0">
            <a:spAutoFit/>
          </a:bodyPr>
          <a:lstStyle/>
          <a:p>
            <a:r>
              <a:rPr lang="en-US" sz="800" dirty="0">
                <a:solidFill>
                  <a:srgbClr val="002060"/>
                </a:solidFill>
              </a:rPr>
              <a:t>*</a:t>
            </a:r>
            <a:r>
              <a:rPr lang="en-US" sz="600" dirty="0">
                <a:solidFill>
                  <a:srgbClr val="002060"/>
                </a:solidFill>
              </a:rPr>
              <a:t> as according to ACER Decision No 04/2024 (of 19 March 2024) </a:t>
            </a:r>
            <a:endParaRPr lang="en-GB" sz="600" dirty="0">
              <a:solidFill>
                <a:srgbClr val="002060"/>
              </a:solidFill>
            </a:endParaRPr>
          </a:p>
        </p:txBody>
      </p:sp>
      <p:pic>
        <p:nvPicPr>
          <p:cNvPr id="35" name="Grafik 34">
            <a:extLst>
              <a:ext uri="{FF2B5EF4-FFF2-40B4-BE49-F238E27FC236}">
                <a16:creationId xmlns:a16="http://schemas.microsoft.com/office/drawing/2014/main" id="{014AB671-8226-6D74-1C6F-3B49CAE7E9F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814865" y="5381632"/>
            <a:ext cx="865436" cy="248752"/>
          </a:xfrm>
          <a:prstGeom prst="rect">
            <a:avLst/>
          </a:prstGeom>
        </p:spPr>
      </p:pic>
      <p:pic>
        <p:nvPicPr>
          <p:cNvPr id="36" name="Grafik 35">
            <a:extLst>
              <a:ext uri="{FF2B5EF4-FFF2-40B4-BE49-F238E27FC236}">
                <a16:creationId xmlns:a16="http://schemas.microsoft.com/office/drawing/2014/main" id="{0E66E5EF-96AC-6BC7-94EC-903A97877B91}"/>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4371464" y="5280924"/>
            <a:ext cx="1034973" cy="383558"/>
          </a:xfrm>
          <a:prstGeom prst="rect">
            <a:avLst/>
          </a:prstGeom>
        </p:spPr>
      </p:pic>
      <p:pic>
        <p:nvPicPr>
          <p:cNvPr id="37" name="Picture 2">
            <a:extLst>
              <a:ext uri="{FF2B5EF4-FFF2-40B4-BE49-F238E27FC236}">
                <a16:creationId xmlns:a16="http://schemas.microsoft.com/office/drawing/2014/main" id="{2762D195-E3C0-3870-66EE-84ADC41CF087}"/>
              </a:ext>
            </a:extLst>
          </p:cNvPr>
          <p:cNvPicPr/>
          <p:nvPr userDrawn="1"/>
        </p:nvPicPr>
        <p:blipFill>
          <a:blip r:embed="rId6">
            <a:lum contrast="72000"/>
            <a:extLst>
              <a:ext uri="{28A0092B-C50C-407E-A947-70E740481C1C}">
                <a14:useLocalDpi xmlns:a14="http://schemas.microsoft.com/office/drawing/2010/main" val="0"/>
              </a:ext>
            </a:extLst>
          </a:blip>
          <a:srcRect/>
          <a:stretch>
            <a:fillRect/>
          </a:stretch>
        </p:blipFill>
        <p:spPr bwMode="auto">
          <a:xfrm>
            <a:off x="6083986" y="5136871"/>
            <a:ext cx="1956833" cy="725758"/>
          </a:xfrm>
          <a:prstGeom prst="rect">
            <a:avLst/>
          </a:prstGeom>
          <a:noFill/>
        </p:spPr>
      </p:pic>
      <p:pic>
        <p:nvPicPr>
          <p:cNvPr id="38" name="Grafik 7" descr="Bildergebnis für anre">
            <a:extLst>
              <a:ext uri="{FF2B5EF4-FFF2-40B4-BE49-F238E27FC236}">
                <a16:creationId xmlns:a16="http://schemas.microsoft.com/office/drawing/2014/main" id="{DF753186-83BD-20CA-FC84-3DFE096D4131}"/>
              </a:ext>
            </a:extLst>
          </p:cNvPr>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5565013" y="5241704"/>
            <a:ext cx="701900" cy="471915"/>
          </a:xfrm>
          <a:prstGeom prst="rect">
            <a:avLst/>
          </a:prstGeom>
          <a:noFill/>
          <a:ln>
            <a:noFill/>
          </a:ln>
        </p:spPr>
      </p:pic>
      <p:pic>
        <p:nvPicPr>
          <p:cNvPr id="40" name="Picture 5">
            <a:hlinkClick r:id="rId8"/>
            <a:extLst>
              <a:ext uri="{FF2B5EF4-FFF2-40B4-BE49-F238E27FC236}">
                <a16:creationId xmlns:a16="http://schemas.microsoft.com/office/drawing/2014/main" id="{7FC28E31-45DD-2FFD-8716-C4D4D0F0DE7A}"/>
              </a:ext>
            </a:extLst>
          </p:cNvPr>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3213931" y="5931917"/>
            <a:ext cx="1363980" cy="223840"/>
          </a:xfrm>
          <a:prstGeom prst="rect">
            <a:avLst/>
          </a:prstGeom>
          <a:noFill/>
        </p:spPr>
      </p:pic>
      <p:pic>
        <p:nvPicPr>
          <p:cNvPr id="42" name="Grafik 11" descr="http://strujaplin.com/images/logo-hera.png">
            <a:extLst>
              <a:ext uri="{FF2B5EF4-FFF2-40B4-BE49-F238E27FC236}">
                <a16:creationId xmlns:a16="http://schemas.microsoft.com/office/drawing/2014/main" id="{89502191-9C9B-F2C3-EC46-578E79349C10}"/>
              </a:ext>
            </a:extLst>
          </p:cNvPr>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7250308" y="5820235"/>
            <a:ext cx="739123" cy="478840"/>
          </a:xfrm>
          <a:prstGeom prst="rect">
            <a:avLst/>
          </a:prstGeom>
          <a:noFill/>
          <a:ln>
            <a:noFill/>
          </a:ln>
        </p:spPr>
      </p:pic>
      <p:pic>
        <p:nvPicPr>
          <p:cNvPr id="43" name="Picture 2" descr="logo-acm-nl_tcm13-202295">
            <a:extLst>
              <a:ext uri="{FF2B5EF4-FFF2-40B4-BE49-F238E27FC236}">
                <a16:creationId xmlns:a16="http://schemas.microsoft.com/office/drawing/2014/main" id="{1CBB36CB-E0C4-194C-BFDE-AAF3E5873188}"/>
              </a:ext>
            </a:extLst>
          </p:cNvPr>
          <p:cNvPicPr>
            <a:picLocks noChangeAspect="1" noChangeArrowheads="1"/>
          </p:cNvPicPr>
          <p:nvPr userDrawn="1"/>
        </p:nvPicPr>
        <p:blipFill>
          <a:blip r:embed="rId11"/>
          <a:srcRect/>
          <a:stretch>
            <a:fillRect/>
          </a:stretch>
        </p:blipFill>
        <p:spPr bwMode="auto">
          <a:xfrm>
            <a:off x="1485022" y="5280925"/>
            <a:ext cx="1021191" cy="437653"/>
          </a:xfrm>
          <a:prstGeom prst="rect">
            <a:avLst/>
          </a:prstGeom>
          <a:noFill/>
          <a:ln w="9525">
            <a:noFill/>
            <a:miter lim="800000"/>
            <a:headEnd/>
            <a:tailEnd/>
          </a:ln>
        </p:spPr>
      </p:pic>
      <p:pic>
        <p:nvPicPr>
          <p:cNvPr id="44" name="Picture 9">
            <a:extLst>
              <a:ext uri="{FF2B5EF4-FFF2-40B4-BE49-F238E27FC236}">
                <a16:creationId xmlns:a16="http://schemas.microsoft.com/office/drawing/2014/main" id="{FD19C298-67BF-3C1A-C956-F568A1C4BD4C}"/>
              </a:ext>
            </a:extLst>
          </p:cNvPr>
          <p:cNvPicPr>
            <a:picLocks noGrp="1" noChangeAspect="1" noChangeArrowheads="1"/>
          </p:cNvPicPr>
          <p:nvPr userDrawn="1"/>
        </p:nvPicPr>
        <p:blipFill>
          <a:blip r:embed="rId12" cstate="print">
            <a:extLst>
              <a:ext uri="{28A0092B-C50C-407E-A947-70E740481C1C}">
                <a14:useLocalDpi xmlns:a14="http://schemas.microsoft.com/office/drawing/2010/main" val="0"/>
              </a:ext>
            </a:extLst>
          </a:blip>
          <a:stretch>
            <a:fillRect/>
          </a:stretch>
        </p:blipFill>
        <p:spPr bwMode="auto">
          <a:xfrm>
            <a:off x="8647385" y="5404811"/>
            <a:ext cx="1197695" cy="29080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Grafik 14" descr="C:\Users\zko\AppData\Local\Microsoft\Windows\INetCache\Content.Word\EC_Logo_pixel_RGB.JPG">
            <a:extLst>
              <a:ext uri="{FF2B5EF4-FFF2-40B4-BE49-F238E27FC236}">
                <a16:creationId xmlns:a16="http://schemas.microsoft.com/office/drawing/2014/main" id="{14755967-1538-7ED5-8586-7BC4BE7C3064}"/>
              </a:ext>
            </a:extLst>
          </p:cNvPr>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868002" y="5920725"/>
            <a:ext cx="1226495" cy="246224"/>
          </a:xfrm>
          <a:prstGeom prst="rect">
            <a:avLst/>
          </a:prstGeom>
          <a:noFill/>
          <a:ln>
            <a:noFill/>
          </a:ln>
        </p:spPr>
      </p:pic>
      <p:pic>
        <p:nvPicPr>
          <p:cNvPr id="46" name="Grafik 15">
            <a:extLst>
              <a:ext uri="{FF2B5EF4-FFF2-40B4-BE49-F238E27FC236}">
                <a16:creationId xmlns:a16="http://schemas.microsoft.com/office/drawing/2014/main" id="{B17E9C2A-744B-84E0-81FD-B7EE852D4410}"/>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2673673" y="5406681"/>
            <a:ext cx="1608712" cy="228672"/>
          </a:xfrm>
          <a:prstGeom prst="rect">
            <a:avLst/>
          </a:prstGeom>
        </p:spPr>
      </p:pic>
      <p:pic>
        <p:nvPicPr>
          <p:cNvPr id="47" name="Grafik 16">
            <a:extLst>
              <a:ext uri="{FF2B5EF4-FFF2-40B4-BE49-F238E27FC236}">
                <a16:creationId xmlns:a16="http://schemas.microsoft.com/office/drawing/2014/main" id="{782A7DCE-CDDF-7202-5E7B-D4D7A2CC0466}"/>
              </a:ext>
            </a:extLst>
          </p:cNvPr>
          <p:cNvPicPr>
            <a:picLocks noChangeAspect="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7472325" y="5476738"/>
            <a:ext cx="1136987" cy="146955"/>
          </a:xfrm>
          <a:prstGeom prst="rect">
            <a:avLst/>
          </a:prstGeom>
          <a:noFill/>
          <a:ln>
            <a:noFill/>
          </a:ln>
        </p:spPr>
      </p:pic>
      <p:pic>
        <p:nvPicPr>
          <p:cNvPr id="48" name="Grafik 17">
            <a:extLst>
              <a:ext uri="{FF2B5EF4-FFF2-40B4-BE49-F238E27FC236}">
                <a16:creationId xmlns:a16="http://schemas.microsoft.com/office/drawing/2014/main" id="{384CBB0B-C651-1FA3-5C30-E8412E560AA8}"/>
              </a:ext>
            </a:extLst>
          </p:cNvPr>
          <p:cNvPicPr>
            <a:picLocks noChangeAspect="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8074771" y="5836860"/>
            <a:ext cx="1074111" cy="413952"/>
          </a:xfrm>
          <a:prstGeom prst="rect">
            <a:avLst/>
          </a:prstGeom>
          <a:noFill/>
          <a:ln>
            <a:noFill/>
          </a:ln>
        </p:spPr>
      </p:pic>
      <p:pic>
        <p:nvPicPr>
          <p:cNvPr id="49" name="Grafik 18">
            <a:extLst>
              <a:ext uri="{FF2B5EF4-FFF2-40B4-BE49-F238E27FC236}">
                <a16:creationId xmlns:a16="http://schemas.microsoft.com/office/drawing/2014/main" id="{FE747BE9-8863-C010-E535-7F600BD1D78A}"/>
              </a:ext>
            </a:extLst>
          </p:cNvPr>
          <p:cNvPicPr>
            <a:picLocks noChangeAspect="1"/>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6007838" y="5903129"/>
            <a:ext cx="1096253" cy="252628"/>
          </a:xfrm>
          <a:prstGeom prst="rect">
            <a:avLst/>
          </a:prstGeom>
          <a:noFill/>
          <a:ln>
            <a:noFill/>
          </a:ln>
        </p:spPr>
      </p:pic>
      <p:sp>
        <p:nvSpPr>
          <p:cNvPr id="50" name="Szövegdoboz 24">
            <a:extLst>
              <a:ext uri="{FF2B5EF4-FFF2-40B4-BE49-F238E27FC236}">
                <a16:creationId xmlns:a16="http://schemas.microsoft.com/office/drawing/2014/main" id="{33B93E42-FD6C-E993-A76D-1120D638DDE0}"/>
              </a:ext>
            </a:extLst>
          </p:cNvPr>
          <p:cNvSpPr txBox="1"/>
          <p:nvPr userDrawn="1"/>
        </p:nvSpPr>
        <p:spPr>
          <a:xfrm>
            <a:off x="10392789" y="5300420"/>
            <a:ext cx="503915" cy="215444"/>
          </a:xfrm>
          <a:prstGeom prst="rect">
            <a:avLst/>
          </a:prstGeom>
        </p:spPr>
        <p:txBody>
          <a:bodyPr vert="horz" wrap="square" lIns="0" tIns="0" rIns="0" bIns="0" rtlCol="0">
            <a:spAutoFit/>
          </a:bodyPr>
          <a:lstStyle/>
          <a:p>
            <a:pPr algn="ctr"/>
            <a:r>
              <a:rPr lang="hu-HU" sz="1400" b="1" dirty="0"/>
              <a:t>*</a:t>
            </a:r>
          </a:p>
        </p:txBody>
      </p:sp>
      <p:sp>
        <p:nvSpPr>
          <p:cNvPr id="51" name="Textfeld 50">
            <a:extLst>
              <a:ext uri="{FF2B5EF4-FFF2-40B4-BE49-F238E27FC236}">
                <a16:creationId xmlns:a16="http://schemas.microsoft.com/office/drawing/2014/main" id="{8B200A40-B7D7-A712-ED46-B629AD2A64B1}"/>
              </a:ext>
            </a:extLst>
          </p:cNvPr>
          <p:cNvSpPr txBox="1"/>
          <p:nvPr userDrawn="1"/>
        </p:nvSpPr>
        <p:spPr>
          <a:xfrm>
            <a:off x="8018446" y="6358791"/>
            <a:ext cx="2983841" cy="215444"/>
          </a:xfrm>
          <a:prstGeom prst="rect">
            <a:avLst/>
          </a:prstGeom>
          <a:noFill/>
        </p:spPr>
        <p:txBody>
          <a:bodyPr wrap="square" rtlCol="0">
            <a:spAutoFit/>
          </a:bodyPr>
          <a:lstStyle/>
          <a:p>
            <a:r>
              <a:rPr lang="en-US" sz="800" dirty="0">
                <a:solidFill>
                  <a:srgbClr val="002060"/>
                </a:solidFill>
              </a:rPr>
              <a:t>*</a:t>
            </a:r>
            <a:r>
              <a:rPr lang="en-US" sz="600" dirty="0">
                <a:solidFill>
                  <a:srgbClr val="002060"/>
                </a:solidFill>
              </a:rPr>
              <a:t> as according to ACER Decision No 04/2024 (of 19 March 2024) </a:t>
            </a:r>
            <a:endParaRPr lang="en-GB" sz="600" dirty="0">
              <a:solidFill>
                <a:srgbClr val="002060"/>
              </a:solidFill>
            </a:endParaRPr>
          </a:p>
        </p:txBody>
      </p:sp>
      <p:sp>
        <p:nvSpPr>
          <p:cNvPr id="52" name="Szövegdoboz 24">
            <a:extLst>
              <a:ext uri="{FF2B5EF4-FFF2-40B4-BE49-F238E27FC236}">
                <a16:creationId xmlns:a16="http://schemas.microsoft.com/office/drawing/2014/main" id="{91A16386-5887-D8E2-C760-3C95112B971D}"/>
              </a:ext>
            </a:extLst>
          </p:cNvPr>
          <p:cNvSpPr txBox="1"/>
          <p:nvPr userDrawn="1"/>
        </p:nvSpPr>
        <p:spPr>
          <a:xfrm>
            <a:off x="5098608" y="5241703"/>
            <a:ext cx="503915" cy="215444"/>
          </a:xfrm>
          <a:prstGeom prst="rect">
            <a:avLst/>
          </a:prstGeom>
        </p:spPr>
        <p:txBody>
          <a:bodyPr vert="horz" wrap="square" lIns="0" tIns="0" rIns="0" bIns="0" rtlCol="0">
            <a:spAutoFit/>
          </a:bodyPr>
          <a:lstStyle/>
          <a:p>
            <a:pPr algn="ctr"/>
            <a:r>
              <a:rPr lang="hu-HU" sz="1400" b="1" dirty="0"/>
              <a:t>*</a:t>
            </a:r>
          </a:p>
        </p:txBody>
      </p:sp>
      <p:pic>
        <p:nvPicPr>
          <p:cNvPr id="55" name="Obrázek 54">
            <a:extLst>
              <a:ext uri="{FF2B5EF4-FFF2-40B4-BE49-F238E27FC236}">
                <a16:creationId xmlns:a16="http://schemas.microsoft.com/office/drawing/2014/main" id="{BC72C8A1-0684-4BE2-B13A-4CCE1505B138}"/>
              </a:ext>
            </a:extLst>
          </p:cNvPr>
          <p:cNvPicPr>
            <a:picLocks noChangeAspect="1"/>
          </p:cNvPicPr>
          <p:nvPr userDrawn="1"/>
        </p:nvPicPr>
        <p:blipFill>
          <a:blip r:embed="rId19"/>
          <a:stretch>
            <a:fillRect/>
          </a:stretch>
        </p:blipFill>
        <p:spPr>
          <a:xfrm>
            <a:off x="4749601" y="1198619"/>
            <a:ext cx="1061072" cy="263872"/>
          </a:xfrm>
          <a:prstGeom prst="rect">
            <a:avLst/>
          </a:prstGeom>
        </p:spPr>
      </p:pic>
      <p:pic>
        <p:nvPicPr>
          <p:cNvPr id="56" name="Obrázek 55">
            <a:extLst>
              <a:ext uri="{FF2B5EF4-FFF2-40B4-BE49-F238E27FC236}">
                <a16:creationId xmlns:a16="http://schemas.microsoft.com/office/drawing/2014/main" id="{5FC06ED6-A515-4C41-A188-73A2218E96E1}"/>
              </a:ext>
            </a:extLst>
          </p:cNvPr>
          <p:cNvPicPr>
            <a:picLocks noChangeAspect="1"/>
          </p:cNvPicPr>
          <p:nvPr userDrawn="1"/>
        </p:nvPicPr>
        <p:blipFill>
          <a:blip r:embed="rId19"/>
          <a:stretch>
            <a:fillRect/>
          </a:stretch>
        </p:blipFill>
        <p:spPr>
          <a:xfrm>
            <a:off x="4729789" y="5935017"/>
            <a:ext cx="1061072" cy="263872"/>
          </a:xfrm>
          <a:prstGeom prst="rect">
            <a:avLst/>
          </a:prstGeom>
        </p:spPr>
      </p:pic>
      <p:pic>
        <p:nvPicPr>
          <p:cNvPr id="57" name="Obrázek 56">
            <a:extLst>
              <a:ext uri="{FF2B5EF4-FFF2-40B4-BE49-F238E27FC236}">
                <a16:creationId xmlns:a16="http://schemas.microsoft.com/office/drawing/2014/main" id="{DB46FC47-766C-45C1-BE6A-D0A3C0F2B1CB}"/>
              </a:ext>
            </a:extLst>
          </p:cNvPr>
          <p:cNvPicPr>
            <a:picLocks noChangeAspect="1"/>
          </p:cNvPicPr>
          <p:nvPr userDrawn="1"/>
        </p:nvPicPr>
        <p:blipFill>
          <a:blip r:embed="rId20"/>
          <a:stretch>
            <a:fillRect/>
          </a:stretch>
        </p:blipFill>
        <p:spPr>
          <a:xfrm>
            <a:off x="9204869" y="1077096"/>
            <a:ext cx="1439879" cy="567225"/>
          </a:xfrm>
          <a:prstGeom prst="rect">
            <a:avLst/>
          </a:prstGeom>
        </p:spPr>
      </p:pic>
      <p:pic>
        <p:nvPicPr>
          <p:cNvPr id="58" name="Obrázek 57">
            <a:extLst>
              <a:ext uri="{FF2B5EF4-FFF2-40B4-BE49-F238E27FC236}">
                <a16:creationId xmlns:a16="http://schemas.microsoft.com/office/drawing/2014/main" id="{63B682D0-8CFB-4837-A40D-5BB92B275CED}"/>
              </a:ext>
            </a:extLst>
          </p:cNvPr>
          <p:cNvPicPr>
            <a:picLocks noChangeAspect="1"/>
          </p:cNvPicPr>
          <p:nvPr userDrawn="1"/>
        </p:nvPicPr>
        <p:blipFill>
          <a:blip r:embed="rId20"/>
          <a:stretch>
            <a:fillRect/>
          </a:stretch>
        </p:blipFill>
        <p:spPr>
          <a:xfrm>
            <a:off x="9257507" y="5760225"/>
            <a:ext cx="1439879" cy="567225"/>
          </a:xfrm>
          <a:prstGeom prst="rect">
            <a:avLst/>
          </a:prstGeom>
        </p:spPr>
      </p:pic>
    </p:spTree>
    <p:extLst>
      <p:ext uri="{BB962C8B-B14F-4D97-AF65-F5344CB8AC3E}">
        <p14:creationId xmlns:p14="http://schemas.microsoft.com/office/powerpoint/2010/main" val="22722953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dia">
    <p:spTree>
      <p:nvGrpSpPr>
        <p:cNvPr id="1" name=""/>
        <p:cNvGrpSpPr/>
        <p:nvPr/>
      </p:nvGrpSpPr>
      <p:grpSpPr>
        <a:xfrm>
          <a:off x="0" y="0"/>
          <a:ext cx="0" cy="0"/>
          <a:chOff x="0" y="0"/>
          <a:chExt cx="0" cy="0"/>
        </a:xfrm>
      </p:grpSpPr>
      <p:pic>
        <p:nvPicPr>
          <p:cNvPr id="7" name="Afbeelding 11">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rcRect l="3690" t="2" r="14053" b="31052"/>
          <a:stretch>
            <a:fillRect/>
          </a:stretch>
        </p:blipFill>
        <p:spPr bwMode="auto">
          <a:xfrm>
            <a:off x="5162552" y="1782234"/>
            <a:ext cx="7029449" cy="5075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title" hasCustomPrompt="1"/>
          </p:nvPr>
        </p:nvSpPr>
        <p:spPr>
          <a:xfrm>
            <a:off x="431371" y="2516901"/>
            <a:ext cx="7968885" cy="1824203"/>
          </a:xfrm>
        </p:spPr>
        <p:txBody>
          <a:bodyPr/>
          <a:lstStyle>
            <a:lvl1pPr>
              <a:defRPr>
                <a:solidFill>
                  <a:schemeClr val="accent1"/>
                </a:solidFill>
              </a:defRPr>
            </a:lvl1pPr>
          </a:lstStyle>
          <a:p>
            <a:r>
              <a:rPr lang="nl-NL" altLang="nl-NL" dirty="0"/>
              <a:t>Plaats hier de titel van je presentatie</a:t>
            </a:r>
            <a:endParaRPr lang="nl-NL" dirty="0"/>
          </a:p>
        </p:txBody>
      </p:sp>
      <p:sp>
        <p:nvSpPr>
          <p:cNvPr id="5" name="Tijdelijke aanduiding voor tekst 4"/>
          <p:cNvSpPr>
            <a:spLocks noGrp="1"/>
          </p:cNvSpPr>
          <p:nvPr>
            <p:ph type="body" sz="quarter" idx="10" hasCustomPrompt="1"/>
          </p:nvPr>
        </p:nvSpPr>
        <p:spPr>
          <a:xfrm>
            <a:off x="431371" y="4388677"/>
            <a:ext cx="7968885" cy="369332"/>
          </a:xfrm>
        </p:spPr>
        <p:txBody>
          <a:bodyPr/>
          <a:lstStyle>
            <a:lvl1pPr>
              <a:defRPr/>
            </a:lvl1pPr>
          </a:lstStyle>
          <a:p>
            <a:pPr lvl="0"/>
            <a:r>
              <a:rPr lang="nl-NL" altLang="nl-NL" dirty="0"/>
              <a:t>Plaats hier bijvoorbeeld je voor- en achternaam</a:t>
            </a:r>
          </a:p>
        </p:txBody>
      </p:sp>
      <p:sp>
        <p:nvSpPr>
          <p:cNvPr id="8" name="Tekstvak 10">
            <a:extLst>
              <a:ext uri="{C183D7F6-B498-43B3-948B-1728B52AA6E4}">
                <adec:decorative xmlns:adec="http://schemas.microsoft.com/office/drawing/2017/decorative" val="1"/>
              </a:ext>
            </a:extLst>
          </p:cNvPr>
          <p:cNvSpPr txBox="1">
            <a:spLocks noChangeArrowheads="1"/>
          </p:cNvSpPr>
          <p:nvPr userDrawn="1"/>
        </p:nvSpPr>
        <p:spPr bwMode="auto">
          <a:xfrm>
            <a:off x="444501" y="6405034"/>
            <a:ext cx="5185833" cy="297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r>
              <a:rPr lang="nl-NL" altLang="nl-NL" sz="1333" b="1" dirty="0">
                <a:solidFill>
                  <a:srgbClr val="007FAE"/>
                </a:solidFill>
              </a:rPr>
              <a:t>Markten goed laten werken voor mensen en bedrijven</a:t>
            </a:r>
          </a:p>
        </p:txBody>
      </p:sp>
      <p:pic>
        <p:nvPicPr>
          <p:cNvPr id="9" name="Afbeelding 11" descr="Logo van de Autoriteit Consument &amp; Markt (ACM)"/>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652434" y="0"/>
            <a:ext cx="2887133" cy="1797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3913234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7A1C639-99B2-4A4E-A848-FCDF8B8CE19B}"/>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I"/>
          </a:p>
        </p:txBody>
      </p:sp>
      <p:cxnSp>
        <p:nvCxnSpPr>
          <p:cNvPr id="12" name="Straight Connector 11">
            <a:extLst>
              <a:ext uri="{FF2B5EF4-FFF2-40B4-BE49-F238E27FC236}">
                <a16:creationId xmlns:a16="http://schemas.microsoft.com/office/drawing/2014/main" id="{CF8C5567-1597-6746-A572-07785B31B403}"/>
              </a:ext>
            </a:extLst>
          </p:cNvPr>
          <p:cNvCxnSpPr>
            <a:cxnSpLocks/>
          </p:cNvCxnSpPr>
          <p:nvPr/>
        </p:nvCxnSpPr>
        <p:spPr>
          <a:xfrm>
            <a:off x="4430966" y="729000"/>
            <a:ext cx="0" cy="540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694D6CEC-7C5A-3644-8542-9DB48BE16B98}"/>
              </a:ext>
            </a:extLst>
          </p:cNvPr>
          <p:cNvSpPr>
            <a:spLocks noGrp="1"/>
          </p:cNvSpPr>
          <p:nvPr>
            <p:ph type="ctrTitle" hasCustomPrompt="1"/>
          </p:nvPr>
        </p:nvSpPr>
        <p:spPr>
          <a:xfrm>
            <a:off x="5114930" y="729000"/>
            <a:ext cx="6372220" cy="3273362"/>
          </a:xfrm>
        </p:spPr>
        <p:txBody>
          <a:bodyPr anchor="ctr">
            <a:normAutofit/>
          </a:bodyPr>
          <a:lstStyle>
            <a:lvl1pPr algn="l">
              <a:defRPr sz="4500">
                <a:solidFill>
                  <a:schemeClr val="tx1"/>
                </a:solidFill>
              </a:defRPr>
            </a:lvl1pPr>
          </a:lstStyle>
          <a:p>
            <a:r>
              <a:rPr lang="en-SI" dirty="0"/>
              <a:t>Title of the presentation background image</a:t>
            </a:r>
            <a:endParaRPr lang="en-US" dirty="0"/>
          </a:p>
        </p:txBody>
      </p:sp>
      <p:sp>
        <p:nvSpPr>
          <p:cNvPr id="14" name="Subtitle 2">
            <a:extLst>
              <a:ext uri="{FF2B5EF4-FFF2-40B4-BE49-F238E27FC236}">
                <a16:creationId xmlns:a16="http://schemas.microsoft.com/office/drawing/2014/main" id="{ED035378-5C01-FC45-A1F5-C4ADE23D9232}"/>
              </a:ext>
            </a:extLst>
          </p:cNvPr>
          <p:cNvSpPr>
            <a:spLocks noGrp="1"/>
          </p:cNvSpPr>
          <p:nvPr>
            <p:ph type="subTitle" idx="1" hasCustomPrompt="1"/>
          </p:nvPr>
        </p:nvSpPr>
        <p:spPr>
          <a:xfrm>
            <a:off x="5114930" y="4234934"/>
            <a:ext cx="6449470" cy="1271201"/>
          </a:xfrm>
        </p:spPr>
        <p:txBody>
          <a:bodyPr anchor="t">
            <a:norm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a:p>
            <a:r>
              <a:rPr lang="en-GB" dirty="0"/>
              <a:t>Speaker Name</a:t>
            </a:r>
          </a:p>
          <a:p>
            <a:r>
              <a:rPr lang="en-GB" dirty="0"/>
              <a:t>Date and Location</a:t>
            </a:r>
            <a:endParaRPr lang="en-US" dirty="0"/>
          </a:p>
        </p:txBody>
      </p:sp>
      <p:pic>
        <p:nvPicPr>
          <p:cNvPr id="7" name="Picture 6" descr="A picture containing graphical user interface&#10;&#10;Description automatically generated">
            <a:extLst>
              <a:ext uri="{FF2B5EF4-FFF2-40B4-BE49-F238E27FC236}">
                <a16:creationId xmlns:a16="http://schemas.microsoft.com/office/drawing/2014/main" id="{94A4C6FB-EF59-2346-BFA1-FB3C5245B187}"/>
              </a:ext>
            </a:extLst>
          </p:cNvPr>
          <p:cNvPicPr>
            <a:picLocks noChangeAspect="1"/>
          </p:cNvPicPr>
          <p:nvPr/>
        </p:nvPicPr>
        <p:blipFill>
          <a:blip r:embed="rId2"/>
          <a:stretch>
            <a:fillRect/>
          </a:stretch>
        </p:blipFill>
        <p:spPr>
          <a:xfrm>
            <a:off x="0" y="177106"/>
            <a:ext cx="4411916" cy="2160000"/>
          </a:xfrm>
          <a:prstGeom prst="rect">
            <a:avLst/>
          </a:prstGeom>
        </p:spPr>
      </p:pic>
      <p:sp>
        <p:nvSpPr>
          <p:cNvPr id="8" name="Rectangle 7">
            <a:extLst>
              <a:ext uri="{FF2B5EF4-FFF2-40B4-BE49-F238E27FC236}">
                <a16:creationId xmlns:a16="http://schemas.microsoft.com/office/drawing/2014/main" id="{0672E73E-3525-BB44-983C-F70D53BE1A0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I"/>
          </a:p>
        </p:txBody>
      </p:sp>
      <p:cxnSp>
        <p:nvCxnSpPr>
          <p:cNvPr id="9" name="Straight Connector 8">
            <a:extLst>
              <a:ext uri="{FF2B5EF4-FFF2-40B4-BE49-F238E27FC236}">
                <a16:creationId xmlns:a16="http://schemas.microsoft.com/office/drawing/2014/main" id="{AA045888-6C49-FA42-9E30-31F472686958}"/>
              </a:ext>
            </a:extLst>
          </p:cNvPr>
          <p:cNvCxnSpPr>
            <a:cxnSpLocks/>
          </p:cNvCxnSpPr>
          <p:nvPr userDrawn="1"/>
        </p:nvCxnSpPr>
        <p:spPr>
          <a:xfrm>
            <a:off x="4430966" y="729000"/>
            <a:ext cx="0" cy="540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Picture 10" descr="A picture containing graphical user interface&#10;&#10;Description automatically generated">
            <a:extLst>
              <a:ext uri="{FF2B5EF4-FFF2-40B4-BE49-F238E27FC236}">
                <a16:creationId xmlns:a16="http://schemas.microsoft.com/office/drawing/2014/main" id="{1A3E8283-122A-EE4D-BF9E-A31130558568}"/>
              </a:ext>
            </a:extLst>
          </p:cNvPr>
          <p:cNvPicPr>
            <a:picLocks noChangeAspect="1"/>
          </p:cNvPicPr>
          <p:nvPr userDrawn="1"/>
        </p:nvPicPr>
        <p:blipFill>
          <a:blip r:embed="rId2"/>
          <a:stretch>
            <a:fillRect/>
          </a:stretch>
        </p:blipFill>
        <p:spPr>
          <a:xfrm>
            <a:off x="0" y="177106"/>
            <a:ext cx="4411916" cy="2160000"/>
          </a:xfrm>
          <a:prstGeom prst="rect">
            <a:avLst/>
          </a:prstGeom>
        </p:spPr>
      </p:pic>
    </p:spTree>
    <p:extLst>
      <p:ext uri="{BB962C8B-B14F-4D97-AF65-F5344CB8AC3E}">
        <p14:creationId xmlns:p14="http://schemas.microsoft.com/office/powerpoint/2010/main" val="273275909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itle Slide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1E58104-D31B-2A46-9D9A-EA9CD0F81CF7}"/>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I"/>
          </a:p>
        </p:txBody>
      </p:sp>
      <p:pic>
        <p:nvPicPr>
          <p:cNvPr id="9" name="Picture 8">
            <a:extLst>
              <a:ext uri="{FF2B5EF4-FFF2-40B4-BE49-F238E27FC236}">
                <a16:creationId xmlns:a16="http://schemas.microsoft.com/office/drawing/2014/main" id="{3C84888C-D5DC-CE40-B058-C4F8A1386EDB}"/>
              </a:ext>
            </a:extLst>
          </p:cNvPr>
          <p:cNvPicPr>
            <a:picLocks noChangeAspect="1"/>
          </p:cNvPicPr>
          <p:nvPr/>
        </p:nvPicPr>
        <p:blipFill>
          <a:blip r:embed="rId2"/>
          <a:srcRect/>
          <a:stretch/>
        </p:blipFill>
        <p:spPr>
          <a:xfrm>
            <a:off x="2345" y="177106"/>
            <a:ext cx="4407226" cy="2160000"/>
          </a:xfrm>
          <a:prstGeom prst="rect">
            <a:avLst/>
          </a:prstGeom>
        </p:spPr>
      </p:pic>
      <p:cxnSp>
        <p:nvCxnSpPr>
          <p:cNvPr id="12" name="Straight Connector 11">
            <a:extLst>
              <a:ext uri="{FF2B5EF4-FFF2-40B4-BE49-F238E27FC236}">
                <a16:creationId xmlns:a16="http://schemas.microsoft.com/office/drawing/2014/main" id="{CF8C5567-1597-6746-A572-07785B31B403}"/>
              </a:ext>
            </a:extLst>
          </p:cNvPr>
          <p:cNvCxnSpPr>
            <a:cxnSpLocks/>
          </p:cNvCxnSpPr>
          <p:nvPr/>
        </p:nvCxnSpPr>
        <p:spPr>
          <a:xfrm>
            <a:off x="4430966" y="729000"/>
            <a:ext cx="0" cy="5400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5591749C-D1A3-984F-AFA4-5ECC1907F0E1}"/>
              </a:ext>
            </a:extLst>
          </p:cNvPr>
          <p:cNvSpPr>
            <a:spLocks noGrp="1"/>
          </p:cNvSpPr>
          <p:nvPr>
            <p:ph type="ctrTitle" hasCustomPrompt="1"/>
          </p:nvPr>
        </p:nvSpPr>
        <p:spPr>
          <a:xfrm>
            <a:off x="5114930" y="729000"/>
            <a:ext cx="6372220" cy="3273362"/>
          </a:xfrm>
        </p:spPr>
        <p:txBody>
          <a:bodyPr anchor="ctr">
            <a:normAutofit/>
          </a:bodyPr>
          <a:lstStyle>
            <a:lvl1pPr algn="l">
              <a:defRPr sz="4500">
                <a:solidFill>
                  <a:schemeClr val="bg1"/>
                </a:solidFill>
              </a:defRPr>
            </a:lvl1pPr>
          </a:lstStyle>
          <a:p>
            <a:r>
              <a:rPr lang="en-SI" dirty="0"/>
              <a:t>Title of the presentation background image</a:t>
            </a:r>
            <a:endParaRPr lang="en-US" dirty="0"/>
          </a:p>
        </p:txBody>
      </p:sp>
      <p:sp>
        <p:nvSpPr>
          <p:cNvPr id="10" name="Subtitle 2">
            <a:extLst>
              <a:ext uri="{FF2B5EF4-FFF2-40B4-BE49-F238E27FC236}">
                <a16:creationId xmlns:a16="http://schemas.microsoft.com/office/drawing/2014/main" id="{8EE8584F-776F-CE43-B82A-08901CB04C7B}"/>
              </a:ext>
            </a:extLst>
          </p:cNvPr>
          <p:cNvSpPr>
            <a:spLocks noGrp="1"/>
          </p:cNvSpPr>
          <p:nvPr>
            <p:ph type="subTitle" idx="1" hasCustomPrompt="1"/>
          </p:nvPr>
        </p:nvSpPr>
        <p:spPr>
          <a:xfrm>
            <a:off x="5114930" y="4234934"/>
            <a:ext cx="6449470" cy="1271201"/>
          </a:xfrm>
        </p:spPr>
        <p:txBody>
          <a:bodyPr anchor="t">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a:p>
            <a:r>
              <a:rPr lang="en-GB" dirty="0"/>
              <a:t>Speaker Name</a:t>
            </a:r>
          </a:p>
          <a:p>
            <a:r>
              <a:rPr lang="en-GB" dirty="0"/>
              <a:t>Date and Location</a:t>
            </a:r>
            <a:endParaRPr lang="en-US" dirty="0"/>
          </a:p>
        </p:txBody>
      </p:sp>
      <p:sp>
        <p:nvSpPr>
          <p:cNvPr id="7" name="Rectangle 6">
            <a:extLst>
              <a:ext uri="{FF2B5EF4-FFF2-40B4-BE49-F238E27FC236}">
                <a16:creationId xmlns:a16="http://schemas.microsoft.com/office/drawing/2014/main" id="{C15928C1-AE23-4C47-B754-890FE727450B}"/>
              </a:ext>
            </a:extLst>
          </p:cNvPr>
          <p:cNvSpPr/>
          <p:nvPr userDrawn="1"/>
        </p:nvSpPr>
        <p:spPr>
          <a:xfrm>
            <a:off x="0" y="0"/>
            <a:ext cx="12192000" cy="6858000"/>
          </a:xfrm>
          <a:prstGeom prst="rect">
            <a:avLst/>
          </a:prstGeom>
          <a:solidFill>
            <a:srgbClr val="3678BD"/>
          </a:solidFill>
          <a:ln>
            <a:solidFill>
              <a:srgbClr val="3678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I"/>
          </a:p>
        </p:txBody>
      </p:sp>
      <p:pic>
        <p:nvPicPr>
          <p:cNvPr id="8" name="Picture 7">
            <a:extLst>
              <a:ext uri="{FF2B5EF4-FFF2-40B4-BE49-F238E27FC236}">
                <a16:creationId xmlns:a16="http://schemas.microsoft.com/office/drawing/2014/main" id="{5738795F-832F-7A41-BFE2-2AA1C1E129B9}"/>
              </a:ext>
            </a:extLst>
          </p:cNvPr>
          <p:cNvPicPr>
            <a:picLocks noChangeAspect="1"/>
          </p:cNvPicPr>
          <p:nvPr userDrawn="1"/>
        </p:nvPicPr>
        <p:blipFill>
          <a:blip r:embed="rId2"/>
          <a:srcRect/>
          <a:stretch/>
        </p:blipFill>
        <p:spPr>
          <a:xfrm>
            <a:off x="2345" y="177106"/>
            <a:ext cx="4407226" cy="2160000"/>
          </a:xfrm>
          <a:prstGeom prst="rect">
            <a:avLst/>
          </a:prstGeom>
        </p:spPr>
      </p:pic>
      <p:cxnSp>
        <p:nvCxnSpPr>
          <p:cNvPr id="13" name="Straight Connector 12">
            <a:extLst>
              <a:ext uri="{FF2B5EF4-FFF2-40B4-BE49-F238E27FC236}">
                <a16:creationId xmlns:a16="http://schemas.microsoft.com/office/drawing/2014/main" id="{79C0C623-2D29-9141-8B28-8E51290D708C}"/>
              </a:ext>
            </a:extLst>
          </p:cNvPr>
          <p:cNvCxnSpPr>
            <a:cxnSpLocks/>
          </p:cNvCxnSpPr>
          <p:nvPr userDrawn="1"/>
        </p:nvCxnSpPr>
        <p:spPr>
          <a:xfrm>
            <a:off x="4430966" y="729000"/>
            <a:ext cx="0" cy="5400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360730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itle Slide Renewables">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6A29079-BBF9-2449-9D35-924610060F05}"/>
              </a:ext>
            </a:extLst>
          </p:cNvPr>
          <p:cNvPicPr>
            <a:picLocks noChangeAspect="1"/>
          </p:cNvPicPr>
          <p:nvPr/>
        </p:nvPicPr>
        <p:blipFill>
          <a:blip r:embed="rId2"/>
          <a:srcRect/>
          <a:stretch/>
        </p:blipFill>
        <p:spPr>
          <a:xfrm>
            <a:off x="0" y="0"/>
            <a:ext cx="12192000" cy="6858000"/>
          </a:xfrm>
          <a:prstGeom prst="rect">
            <a:avLst/>
          </a:prstGeom>
        </p:spPr>
      </p:pic>
      <p:sp>
        <p:nvSpPr>
          <p:cNvPr id="2" name="Title 1"/>
          <p:cNvSpPr>
            <a:spLocks noGrp="1"/>
          </p:cNvSpPr>
          <p:nvPr>
            <p:ph type="ctrTitle" hasCustomPrompt="1"/>
          </p:nvPr>
        </p:nvSpPr>
        <p:spPr>
          <a:xfrm>
            <a:off x="5114930" y="729000"/>
            <a:ext cx="6372220" cy="3273362"/>
          </a:xfrm>
        </p:spPr>
        <p:txBody>
          <a:bodyPr anchor="ctr">
            <a:normAutofit/>
          </a:bodyPr>
          <a:lstStyle>
            <a:lvl1pPr algn="l">
              <a:defRPr sz="4500">
                <a:solidFill>
                  <a:schemeClr val="tx1"/>
                </a:solidFill>
              </a:defRPr>
            </a:lvl1pPr>
          </a:lstStyle>
          <a:p>
            <a:r>
              <a:rPr lang="en-SI" dirty="0"/>
              <a:t>Title of the presentation background image</a:t>
            </a:r>
            <a:endParaRPr lang="en-US" dirty="0"/>
          </a:p>
        </p:txBody>
      </p:sp>
      <p:pic>
        <p:nvPicPr>
          <p:cNvPr id="9" name="Picture 8" descr="A picture containing graphical user interface&#10;&#10;Description automatically generated">
            <a:extLst>
              <a:ext uri="{FF2B5EF4-FFF2-40B4-BE49-F238E27FC236}">
                <a16:creationId xmlns:a16="http://schemas.microsoft.com/office/drawing/2014/main" id="{3C84888C-D5DC-CE40-B058-C4F8A1386EDB}"/>
              </a:ext>
            </a:extLst>
          </p:cNvPr>
          <p:cNvPicPr>
            <a:picLocks noChangeAspect="1"/>
          </p:cNvPicPr>
          <p:nvPr/>
        </p:nvPicPr>
        <p:blipFill>
          <a:blip r:embed="rId3"/>
          <a:stretch>
            <a:fillRect/>
          </a:stretch>
        </p:blipFill>
        <p:spPr>
          <a:xfrm>
            <a:off x="0" y="177106"/>
            <a:ext cx="4411916" cy="2160000"/>
          </a:xfrm>
          <a:prstGeom prst="rect">
            <a:avLst/>
          </a:prstGeom>
        </p:spPr>
      </p:pic>
      <p:cxnSp>
        <p:nvCxnSpPr>
          <p:cNvPr id="12" name="Straight Connector 11">
            <a:extLst>
              <a:ext uri="{FF2B5EF4-FFF2-40B4-BE49-F238E27FC236}">
                <a16:creationId xmlns:a16="http://schemas.microsoft.com/office/drawing/2014/main" id="{CF8C5567-1597-6746-A572-07785B31B403}"/>
              </a:ext>
            </a:extLst>
          </p:cNvPr>
          <p:cNvCxnSpPr>
            <a:cxnSpLocks/>
          </p:cNvCxnSpPr>
          <p:nvPr/>
        </p:nvCxnSpPr>
        <p:spPr>
          <a:xfrm>
            <a:off x="4430966" y="729000"/>
            <a:ext cx="0" cy="540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ubtitle 2">
            <a:extLst>
              <a:ext uri="{FF2B5EF4-FFF2-40B4-BE49-F238E27FC236}">
                <a16:creationId xmlns:a16="http://schemas.microsoft.com/office/drawing/2014/main" id="{49C593FC-B38D-F24A-AAA6-81EAFBB41B12}"/>
              </a:ext>
            </a:extLst>
          </p:cNvPr>
          <p:cNvSpPr>
            <a:spLocks noGrp="1"/>
          </p:cNvSpPr>
          <p:nvPr>
            <p:ph type="subTitle" idx="1" hasCustomPrompt="1"/>
          </p:nvPr>
        </p:nvSpPr>
        <p:spPr>
          <a:xfrm>
            <a:off x="5114930" y="4234934"/>
            <a:ext cx="6449470" cy="1271201"/>
          </a:xfrm>
        </p:spPr>
        <p:txBody>
          <a:bodyPr anchor="t">
            <a:norm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a:p>
            <a:r>
              <a:rPr lang="en-GB" dirty="0"/>
              <a:t>Speaker Name</a:t>
            </a:r>
          </a:p>
          <a:p>
            <a:r>
              <a:rPr lang="en-GB" dirty="0"/>
              <a:t>Date and Location</a:t>
            </a:r>
            <a:endParaRPr lang="en-US" dirty="0"/>
          </a:p>
        </p:txBody>
      </p:sp>
      <p:pic>
        <p:nvPicPr>
          <p:cNvPr id="7" name="Picture 6">
            <a:extLst>
              <a:ext uri="{FF2B5EF4-FFF2-40B4-BE49-F238E27FC236}">
                <a16:creationId xmlns:a16="http://schemas.microsoft.com/office/drawing/2014/main" id="{625245AF-6641-7A4E-B23C-A79A6745B240}"/>
              </a:ext>
            </a:extLst>
          </p:cNvPr>
          <p:cNvPicPr>
            <a:picLocks noChangeAspect="1"/>
          </p:cNvPicPr>
          <p:nvPr userDrawn="1"/>
        </p:nvPicPr>
        <p:blipFill>
          <a:blip r:embed="rId2"/>
          <a:srcRect/>
          <a:stretch/>
        </p:blipFill>
        <p:spPr>
          <a:xfrm>
            <a:off x="0" y="0"/>
            <a:ext cx="12192000" cy="6858000"/>
          </a:xfrm>
          <a:prstGeom prst="rect">
            <a:avLst/>
          </a:prstGeom>
        </p:spPr>
      </p:pic>
      <p:pic>
        <p:nvPicPr>
          <p:cNvPr id="10" name="Picture 9" descr="A picture containing graphical user interface&#10;&#10;Description automatically generated">
            <a:extLst>
              <a:ext uri="{FF2B5EF4-FFF2-40B4-BE49-F238E27FC236}">
                <a16:creationId xmlns:a16="http://schemas.microsoft.com/office/drawing/2014/main" id="{A4D4D13F-CFA2-0543-9CCE-43109CFF0D08}"/>
              </a:ext>
            </a:extLst>
          </p:cNvPr>
          <p:cNvPicPr>
            <a:picLocks noChangeAspect="1"/>
          </p:cNvPicPr>
          <p:nvPr userDrawn="1"/>
        </p:nvPicPr>
        <p:blipFill>
          <a:blip r:embed="rId3"/>
          <a:stretch>
            <a:fillRect/>
          </a:stretch>
        </p:blipFill>
        <p:spPr>
          <a:xfrm>
            <a:off x="0" y="177106"/>
            <a:ext cx="4411916" cy="2160000"/>
          </a:xfrm>
          <a:prstGeom prst="rect">
            <a:avLst/>
          </a:prstGeom>
        </p:spPr>
      </p:pic>
      <p:cxnSp>
        <p:nvCxnSpPr>
          <p:cNvPr id="11" name="Straight Connector 10">
            <a:extLst>
              <a:ext uri="{FF2B5EF4-FFF2-40B4-BE49-F238E27FC236}">
                <a16:creationId xmlns:a16="http://schemas.microsoft.com/office/drawing/2014/main" id="{8EEF1F50-700F-AD4F-8758-1949A3E3D040}"/>
              </a:ext>
            </a:extLst>
          </p:cNvPr>
          <p:cNvCxnSpPr>
            <a:cxnSpLocks/>
          </p:cNvCxnSpPr>
          <p:nvPr userDrawn="1"/>
        </p:nvCxnSpPr>
        <p:spPr>
          <a:xfrm>
            <a:off x="4430966" y="729000"/>
            <a:ext cx="0" cy="540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778237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itle Slide Glob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6A29079-BBF9-2449-9D35-924610060F05}"/>
              </a:ext>
            </a:extLst>
          </p:cNvPr>
          <p:cNvPicPr>
            <a:picLocks noChangeAspect="1"/>
          </p:cNvPicPr>
          <p:nvPr/>
        </p:nvPicPr>
        <p:blipFill>
          <a:blip r:embed="rId2"/>
          <a:srcRect/>
          <a:stretch/>
        </p:blipFill>
        <p:spPr>
          <a:xfrm>
            <a:off x="0" y="0"/>
            <a:ext cx="12192000" cy="6858000"/>
          </a:xfrm>
          <a:prstGeom prst="rect">
            <a:avLst/>
          </a:prstGeom>
        </p:spPr>
      </p:pic>
      <p:pic>
        <p:nvPicPr>
          <p:cNvPr id="9" name="Picture 8" descr="A picture containing graphical user interface&#10;&#10;Description automatically generated">
            <a:extLst>
              <a:ext uri="{FF2B5EF4-FFF2-40B4-BE49-F238E27FC236}">
                <a16:creationId xmlns:a16="http://schemas.microsoft.com/office/drawing/2014/main" id="{3C84888C-D5DC-CE40-B058-C4F8A1386EDB}"/>
              </a:ext>
            </a:extLst>
          </p:cNvPr>
          <p:cNvPicPr>
            <a:picLocks noChangeAspect="1"/>
          </p:cNvPicPr>
          <p:nvPr/>
        </p:nvPicPr>
        <p:blipFill>
          <a:blip r:embed="rId3"/>
          <a:stretch>
            <a:fillRect/>
          </a:stretch>
        </p:blipFill>
        <p:spPr>
          <a:xfrm>
            <a:off x="0" y="177106"/>
            <a:ext cx="4411916" cy="2160000"/>
          </a:xfrm>
          <a:prstGeom prst="rect">
            <a:avLst/>
          </a:prstGeom>
        </p:spPr>
      </p:pic>
      <p:cxnSp>
        <p:nvCxnSpPr>
          <p:cNvPr id="12" name="Straight Connector 11">
            <a:extLst>
              <a:ext uri="{FF2B5EF4-FFF2-40B4-BE49-F238E27FC236}">
                <a16:creationId xmlns:a16="http://schemas.microsoft.com/office/drawing/2014/main" id="{CF8C5567-1597-6746-A572-07785B31B403}"/>
              </a:ext>
            </a:extLst>
          </p:cNvPr>
          <p:cNvCxnSpPr>
            <a:cxnSpLocks/>
          </p:cNvCxnSpPr>
          <p:nvPr/>
        </p:nvCxnSpPr>
        <p:spPr>
          <a:xfrm>
            <a:off x="4430966" y="729000"/>
            <a:ext cx="0" cy="5400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5591749C-D1A3-984F-AFA4-5ECC1907F0E1}"/>
              </a:ext>
            </a:extLst>
          </p:cNvPr>
          <p:cNvSpPr>
            <a:spLocks noGrp="1"/>
          </p:cNvSpPr>
          <p:nvPr>
            <p:ph type="ctrTitle" hasCustomPrompt="1"/>
          </p:nvPr>
        </p:nvSpPr>
        <p:spPr>
          <a:xfrm>
            <a:off x="5114930" y="729000"/>
            <a:ext cx="6372220" cy="3273362"/>
          </a:xfrm>
        </p:spPr>
        <p:txBody>
          <a:bodyPr anchor="ctr">
            <a:normAutofit/>
          </a:bodyPr>
          <a:lstStyle>
            <a:lvl1pPr algn="l">
              <a:defRPr sz="4500">
                <a:solidFill>
                  <a:schemeClr val="bg1"/>
                </a:solidFill>
              </a:defRPr>
            </a:lvl1pPr>
          </a:lstStyle>
          <a:p>
            <a:r>
              <a:rPr lang="en-SI" dirty="0"/>
              <a:t>Title of the presentation background image</a:t>
            </a:r>
            <a:endParaRPr lang="en-US" dirty="0"/>
          </a:p>
        </p:txBody>
      </p:sp>
      <p:sp>
        <p:nvSpPr>
          <p:cNvPr id="8" name="Subtitle 2">
            <a:extLst>
              <a:ext uri="{FF2B5EF4-FFF2-40B4-BE49-F238E27FC236}">
                <a16:creationId xmlns:a16="http://schemas.microsoft.com/office/drawing/2014/main" id="{DB95523F-D147-4043-8292-0F1CB1A9890A}"/>
              </a:ext>
            </a:extLst>
          </p:cNvPr>
          <p:cNvSpPr>
            <a:spLocks noGrp="1"/>
          </p:cNvSpPr>
          <p:nvPr>
            <p:ph type="subTitle" idx="1" hasCustomPrompt="1"/>
          </p:nvPr>
        </p:nvSpPr>
        <p:spPr>
          <a:xfrm>
            <a:off x="5114930" y="4234934"/>
            <a:ext cx="6449470" cy="1271201"/>
          </a:xfrm>
        </p:spPr>
        <p:txBody>
          <a:bodyPr anchor="t">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a:p>
            <a:r>
              <a:rPr lang="en-GB" dirty="0"/>
              <a:t>Speaker Name</a:t>
            </a:r>
          </a:p>
          <a:p>
            <a:r>
              <a:rPr lang="en-GB" dirty="0"/>
              <a:t>Date and Location</a:t>
            </a:r>
            <a:endParaRPr lang="en-US" dirty="0"/>
          </a:p>
        </p:txBody>
      </p:sp>
      <p:pic>
        <p:nvPicPr>
          <p:cNvPr id="7" name="Picture 6">
            <a:extLst>
              <a:ext uri="{FF2B5EF4-FFF2-40B4-BE49-F238E27FC236}">
                <a16:creationId xmlns:a16="http://schemas.microsoft.com/office/drawing/2014/main" id="{C932859F-D5F4-A040-A623-C48B68772D84}"/>
              </a:ext>
            </a:extLst>
          </p:cNvPr>
          <p:cNvPicPr>
            <a:picLocks noChangeAspect="1"/>
          </p:cNvPicPr>
          <p:nvPr userDrawn="1"/>
        </p:nvPicPr>
        <p:blipFill>
          <a:blip r:embed="rId4"/>
          <a:srcRect/>
          <a:stretch/>
        </p:blipFill>
        <p:spPr>
          <a:xfrm>
            <a:off x="0" y="0"/>
            <a:ext cx="12192000" cy="6858000"/>
          </a:xfrm>
          <a:prstGeom prst="rect">
            <a:avLst/>
          </a:prstGeom>
        </p:spPr>
      </p:pic>
      <p:pic>
        <p:nvPicPr>
          <p:cNvPr id="10" name="Picture 9" descr="A picture containing graphical user interface&#10;&#10;Description automatically generated">
            <a:extLst>
              <a:ext uri="{FF2B5EF4-FFF2-40B4-BE49-F238E27FC236}">
                <a16:creationId xmlns:a16="http://schemas.microsoft.com/office/drawing/2014/main" id="{4002CDB1-8A22-DE41-8438-596048C93852}"/>
              </a:ext>
            </a:extLst>
          </p:cNvPr>
          <p:cNvPicPr>
            <a:picLocks noChangeAspect="1"/>
          </p:cNvPicPr>
          <p:nvPr userDrawn="1"/>
        </p:nvPicPr>
        <p:blipFill>
          <a:blip r:embed="rId3"/>
          <a:stretch>
            <a:fillRect/>
          </a:stretch>
        </p:blipFill>
        <p:spPr>
          <a:xfrm>
            <a:off x="0" y="177106"/>
            <a:ext cx="4411916" cy="2160000"/>
          </a:xfrm>
          <a:prstGeom prst="rect">
            <a:avLst/>
          </a:prstGeom>
        </p:spPr>
      </p:pic>
      <p:cxnSp>
        <p:nvCxnSpPr>
          <p:cNvPr id="13" name="Straight Connector 12">
            <a:extLst>
              <a:ext uri="{FF2B5EF4-FFF2-40B4-BE49-F238E27FC236}">
                <a16:creationId xmlns:a16="http://schemas.microsoft.com/office/drawing/2014/main" id="{656049DD-4F2F-B546-BAC1-DA9580223C20}"/>
              </a:ext>
            </a:extLst>
          </p:cNvPr>
          <p:cNvCxnSpPr>
            <a:cxnSpLocks/>
          </p:cNvCxnSpPr>
          <p:nvPr userDrawn="1"/>
        </p:nvCxnSpPr>
        <p:spPr>
          <a:xfrm>
            <a:off x="4430966" y="729000"/>
            <a:ext cx="0" cy="5400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288808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itle Slide REMI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6A29079-BBF9-2449-9D35-924610060F05}"/>
              </a:ext>
            </a:extLst>
          </p:cNvPr>
          <p:cNvPicPr>
            <a:picLocks noChangeAspect="1"/>
          </p:cNvPicPr>
          <p:nvPr/>
        </p:nvPicPr>
        <p:blipFill>
          <a:blip r:embed="rId2"/>
          <a:srcRect/>
          <a:stretch/>
        </p:blipFill>
        <p:spPr>
          <a:xfrm>
            <a:off x="0" y="0"/>
            <a:ext cx="12192000" cy="6858000"/>
          </a:xfrm>
          <a:prstGeom prst="rect">
            <a:avLst/>
          </a:prstGeom>
        </p:spPr>
      </p:pic>
      <p:pic>
        <p:nvPicPr>
          <p:cNvPr id="9" name="Picture 8">
            <a:extLst>
              <a:ext uri="{FF2B5EF4-FFF2-40B4-BE49-F238E27FC236}">
                <a16:creationId xmlns:a16="http://schemas.microsoft.com/office/drawing/2014/main" id="{3C84888C-D5DC-CE40-B058-C4F8A1386EDB}"/>
              </a:ext>
            </a:extLst>
          </p:cNvPr>
          <p:cNvPicPr>
            <a:picLocks noChangeAspect="1"/>
          </p:cNvPicPr>
          <p:nvPr/>
        </p:nvPicPr>
        <p:blipFill>
          <a:blip r:embed="rId3"/>
          <a:srcRect/>
          <a:stretch/>
        </p:blipFill>
        <p:spPr>
          <a:xfrm>
            <a:off x="2345" y="177106"/>
            <a:ext cx="4407226" cy="2160000"/>
          </a:xfrm>
          <a:prstGeom prst="rect">
            <a:avLst/>
          </a:prstGeom>
        </p:spPr>
      </p:pic>
      <p:cxnSp>
        <p:nvCxnSpPr>
          <p:cNvPr id="12" name="Straight Connector 11">
            <a:extLst>
              <a:ext uri="{FF2B5EF4-FFF2-40B4-BE49-F238E27FC236}">
                <a16:creationId xmlns:a16="http://schemas.microsoft.com/office/drawing/2014/main" id="{CF8C5567-1597-6746-A572-07785B31B403}"/>
              </a:ext>
            </a:extLst>
          </p:cNvPr>
          <p:cNvCxnSpPr>
            <a:cxnSpLocks/>
          </p:cNvCxnSpPr>
          <p:nvPr/>
        </p:nvCxnSpPr>
        <p:spPr>
          <a:xfrm>
            <a:off x="4430966" y="729000"/>
            <a:ext cx="0" cy="5400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5591749C-D1A3-984F-AFA4-5ECC1907F0E1}"/>
              </a:ext>
            </a:extLst>
          </p:cNvPr>
          <p:cNvSpPr>
            <a:spLocks noGrp="1"/>
          </p:cNvSpPr>
          <p:nvPr>
            <p:ph type="ctrTitle" hasCustomPrompt="1"/>
          </p:nvPr>
        </p:nvSpPr>
        <p:spPr>
          <a:xfrm>
            <a:off x="5114930" y="729000"/>
            <a:ext cx="6372220" cy="3273362"/>
          </a:xfrm>
        </p:spPr>
        <p:txBody>
          <a:bodyPr anchor="ctr">
            <a:normAutofit/>
          </a:bodyPr>
          <a:lstStyle>
            <a:lvl1pPr algn="l">
              <a:defRPr sz="4500">
                <a:solidFill>
                  <a:schemeClr val="bg1"/>
                </a:solidFill>
              </a:defRPr>
            </a:lvl1pPr>
          </a:lstStyle>
          <a:p>
            <a:r>
              <a:rPr lang="en-SI" dirty="0"/>
              <a:t>Title of the presentation on renewable energy background image</a:t>
            </a:r>
            <a:endParaRPr lang="en-US" dirty="0"/>
          </a:p>
        </p:txBody>
      </p:sp>
      <p:sp>
        <p:nvSpPr>
          <p:cNvPr id="7" name="Subtitle 2">
            <a:extLst>
              <a:ext uri="{FF2B5EF4-FFF2-40B4-BE49-F238E27FC236}">
                <a16:creationId xmlns:a16="http://schemas.microsoft.com/office/drawing/2014/main" id="{D60C75DC-8031-B34F-8CD7-0B5EA60E28A1}"/>
              </a:ext>
            </a:extLst>
          </p:cNvPr>
          <p:cNvSpPr>
            <a:spLocks noGrp="1"/>
          </p:cNvSpPr>
          <p:nvPr>
            <p:ph type="subTitle" idx="1" hasCustomPrompt="1"/>
          </p:nvPr>
        </p:nvSpPr>
        <p:spPr>
          <a:xfrm>
            <a:off x="5114930" y="4234934"/>
            <a:ext cx="6449470" cy="1271201"/>
          </a:xfrm>
        </p:spPr>
        <p:txBody>
          <a:bodyPr anchor="t">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a:p>
            <a:r>
              <a:rPr lang="en-GB" dirty="0"/>
              <a:t>Speaker Name</a:t>
            </a:r>
          </a:p>
          <a:p>
            <a:r>
              <a:rPr lang="en-GB" dirty="0"/>
              <a:t>Date and Location</a:t>
            </a:r>
            <a:endParaRPr lang="en-US" dirty="0"/>
          </a:p>
        </p:txBody>
      </p:sp>
      <p:pic>
        <p:nvPicPr>
          <p:cNvPr id="8" name="Picture 7">
            <a:extLst>
              <a:ext uri="{FF2B5EF4-FFF2-40B4-BE49-F238E27FC236}">
                <a16:creationId xmlns:a16="http://schemas.microsoft.com/office/drawing/2014/main" id="{D5CD2130-0C59-A24E-87B6-47C3253CAE7F}"/>
              </a:ext>
            </a:extLst>
          </p:cNvPr>
          <p:cNvPicPr>
            <a:picLocks noChangeAspect="1"/>
          </p:cNvPicPr>
          <p:nvPr userDrawn="1"/>
        </p:nvPicPr>
        <p:blipFill>
          <a:blip r:embed="rId2"/>
          <a:srcRect/>
          <a:stretch/>
        </p:blipFill>
        <p:spPr>
          <a:xfrm>
            <a:off x="0" y="0"/>
            <a:ext cx="12192000" cy="6858000"/>
          </a:xfrm>
          <a:prstGeom prst="rect">
            <a:avLst/>
          </a:prstGeom>
        </p:spPr>
      </p:pic>
      <p:pic>
        <p:nvPicPr>
          <p:cNvPr id="10" name="Picture 9">
            <a:extLst>
              <a:ext uri="{FF2B5EF4-FFF2-40B4-BE49-F238E27FC236}">
                <a16:creationId xmlns:a16="http://schemas.microsoft.com/office/drawing/2014/main" id="{8E5E6D44-AD3D-734B-8CDF-7885FFE9E6CB}"/>
              </a:ext>
            </a:extLst>
          </p:cNvPr>
          <p:cNvPicPr>
            <a:picLocks noChangeAspect="1"/>
          </p:cNvPicPr>
          <p:nvPr userDrawn="1"/>
        </p:nvPicPr>
        <p:blipFill>
          <a:blip r:embed="rId3"/>
          <a:srcRect/>
          <a:stretch/>
        </p:blipFill>
        <p:spPr>
          <a:xfrm>
            <a:off x="2345" y="177106"/>
            <a:ext cx="4407226" cy="2160000"/>
          </a:xfrm>
          <a:prstGeom prst="rect">
            <a:avLst/>
          </a:prstGeom>
        </p:spPr>
      </p:pic>
      <p:cxnSp>
        <p:nvCxnSpPr>
          <p:cNvPr id="13" name="Straight Connector 12">
            <a:extLst>
              <a:ext uri="{FF2B5EF4-FFF2-40B4-BE49-F238E27FC236}">
                <a16:creationId xmlns:a16="http://schemas.microsoft.com/office/drawing/2014/main" id="{5DE95D42-62A6-3A49-9013-2E0E801F3882}"/>
              </a:ext>
            </a:extLst>
          </p:cNvPr>
          <p:cNvCxnSpPr>
            <a:cxnSpLocks/>
          </p:cNvCxnSpPr>
          <p:nvPr userDrawn="1"/>
        </p:nvCxnSpPr>
        <p:spPr>
          <a:xfrm>
            <a:off x="4430966" y="729000"/>
            <a:ext cx="0" cy="5400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6659539"/>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Title Slide GAS">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6A29079-BBF9-2449-9D35-924610060F05}"/>
              </a:ext>
            </a:extLst>
          </p:cNvPr>
          <p:cNvPicPr>
            <a:picLocks noChangeAspect="1"/>
          </p:cNvPicPr>
          <p:nvPr/>
        </p:nvPicPr>
        <p:blipFill>
          <a:blip r:embed="rId2"/>
          <a:srcRect/>
          <a:stretch/>
        </p:blipFill>
        <p:spPr>
          <a:xfrm>
            <a:off x="600" y="337"/>
            <a:ext cx="12192000" cy="6858000"/>
          </a:xfrm>
          <a:prstGeom prst="rect">
            <a:avLst/>
          </a:prstGeom>
        </p:spPr>
      </p:pic>
      <p:pic>
        <p:nvPicPr>
          <p:cNvPr id="9" name="Picture 8">
            <a:extLst>
              <a:ext uri="{FF2B5EF4-FFF2-40B4-BE49-F238E27FC236}">
                <a16:creationId xmlns:a16="http://schemas.microsoft.com/office/drawing/2014/main" id="{3C84888C-D5DC-CE40-B058-C4F8A1386EDB}"/>
              </a:ext>
            </a:extLst>
          </p:cNvPr>
          <p:cNvPicPr>
            <a:picLocks noChangeAspect="1"/>
          </p:cNvPicPr>
          <p:nvPr/>
        </p:nvPicPr>
        <p:blipFill>
          <a:blip r:embed="rId3"/>
          <a:srcRect/>
          <a:stretch/>
        </p:blipFill>
        <p:spPr>
          <a:xfrm>
            <a:off x="2345" y="177106"/>
            <a:ext cx="4407226" cy="2160000"/>
          </a:xfrm>
          <a:prstGeom prst="rect">
            <a:avLst/>
          </a:prstGeom>
        </p:spPr>
      </p:pic>
      <p:cxnSp>
        <p:nvCxnSpPr>
          <p:cNvPr id="12" name="Straight Connector 11">
            <a:extLst>
              <a:ext uri="{FF2B5EF4-FFF2-40B4-BE49-F238E27FC236}">
                <a16:creationId xmlns:a16="http://schemas.microsoft.com/office/drawing/2014/main" id="{CF8C5567-1597-6746-A572-07785B31B403}"/>
              </a:ext>
            </a:extLst>
          </p:cNvPr>
          <p:cNvCxnSpPr>
            <a:cxnSpLocks/>
          </p:cNvCxnSpPr>
          <p:nvPr/>
        </p:nvCxnSpPr>
        <p:spPr>
          <a:xfrm>
            <a:off x="4430966" y="729000"/>
            <a:ext cx="0" cy="5400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5591749C-D1A3-984F-AFA4-5ECC1907F0E1}"/>
              </a:ext>
            </a:extLst>
          </p:cNvPr>
          <p:cNvSpPr>
            <a:spLocks noGrp="1"/>
          </p:cNvSpPr>
          <p:nvPr>
            <p:ph type="ctrTitle" hasCustomPrompt="1"/>
          </p:nvPr>
        </p:nvSpPr>
        <p:spPr>
          <a:xfrm>
            <a:off x="5114930" y="729000"/>
            <a:ext cx="6372220" cy="3273362"/>
          </a:xfrm>
        </p:spPr>
        <p:txBody>
          <a:bodyPr anchor="ctr">
            <a:normAutofit/>
          </a:bodyPr>
          <a:lstStyle>
            <a:lvl1pPr algn="l">
              <a:defRPr sz="4500">
                <a:solidFill>
                  <a:schemeClr val="bg1"/>
                </a:solidFill>
              </a:defRPr>
            </a:lvl1pPr>
          </a:lstStyle>
          <a:p>
            <a:r>
              <a:rPr lang="en-SI" dirty="0"/>
              <a:t>Title of the presentation background image</a:t>
            </a:r>
            <a:endParaRPr lang="en-US" dirty="0"/>
          </a:p>
        </p:txBody>
      </p:sp>
      <p:sp>
        <p:nvSpPr>
          <p:cNvPr id="7" name="Subtitle 2">
            <a:extLst>
              <a:ext uri="{FF2B5EF4-FFF2-40B4-BE49-F238E27FC236}">
                <a16:creationId xmlns:a16="http://schemas.microsoft.com/office/drawing/2014/main" id="{D60C75DC-8031-B34F-8CD7-0B5EA60E28A1}"/>
              </a:ext>
            </a:extLst>
          </p:cNvPr>
          <p:cNvSpPr>
            <a:spLocks noGrp="1"/>
          </p:cNvSpPr>
          <p:nvPr>
            <p:ph type="subTitle" idx="1" hasCustomPrompt="1"/>
          </p:nvPr>
        </p:nvSpPr>
        <p:spPr>
          <a:xfrm>
            <a:off x="5114930" y="4234934"/>
            <a:ext cx="6449470" cy="1271201"/>
          </a:xfrm>
        </p:spPr>
        <p:txBody>
          <a:bodyPr anchor="t">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a:p>
            <a:r>
              <a:rPr lang="en-GB" dirty="0"/>
              <a:t>Speaker Name</a:t>
            </a:r>
          </a:p>
          <a:p>
            <a:r>
              <a:rPr lang="en-GB" dirty="0"/>
              <a:t>Date and Location</a:t>
            </a:r>
            <a:endParaRPr lang="en-US" dirty="0"/>
          </a:p>
        </p:txBody>
      </p:sp>
      <p:pic>
        <p:nvPicPr>
          <p:cNvPr id="8" name="Picture 7">
            <a:extLst>
              <a:ext uri="{FF2B5EF4-FFF2-40B4-BE49-F238E27FC236}">
                <a16:creationId xmlns:a16="http://schemas.microsoft.com/office/drawing/2014/main" id="{4E1B9A39-2722-B14F-B50F-862F6D69565F}"/>
              </a:ext>
            </a:extLst>
          </p:cNvPr>
          <p:cNvPicPr>
            <a:picLocks noChangeAspect="1"/>
          </p:cNvPicPr>
          <p:nvPr userDrawn="1"/>
        </p:nvPicPr>
        <p:blipFill>
          <a:blip r:embed="rId2"/>
          <a:srcRect/>
          <a:stretch/>
        </p:blipFill>
        <p:spPr>
          <a:xfrm>
            <a:off x="600" y="337"/>
            <a:ext cx="12192000" cy="6858000"/>
          </a:xfrm>
          <a:prstGeom prst="rect">
            <a:avLst/>
          </a:prstGeom>
        </p:spPr>
      </p:pic>
      <p:pic>
        <p:nvPicPr>
          <p:cNvPr id="10" name="Picture 9">
            <a:extLst>
              <a:ext uri="{FF2B5EF4-FFF2-40B4-BE49-F238E27FC236}">
                <a16:creationId xmlns:a16="http://schemas.microsoft.com/office/drawing/2014/main" id="{20989843-35E4-554E-857E-B8B4D858E4D6}"/>
              </a:ext>
            </a:extLst>
          </p:cNvPr>
          <p:cNvPicPr>
            <a:picLocks noChangeAspect="1"/>
          </p:cNvPicPr>
          <p:nvPr userDrawn="1"/>
        </p:nvPicPr>
        <p:blipFill>
          <a:blip r:embed="rId3"/>
          <a:srcRect/>
          <a:stretch/>
        </p:blipFill>
        <p:spPr>
          <a:xfrm>
            <a:off x="2345" y="177106"/>
            <a:ext cx="4407226" cy="2160000"/>
          </a:xfrm>
          <a:prstGeom prst="rect">
            <a:avLst/>
          </a:prstGeom>
        </p:spPr>
      </p:pic>
      <p:cxnSp>
        <p:nvCxnSpPr>
          <p:cNvPr id="13" name="Straight Connector 12">
            <a:extLst>
              <a:ext uri="{FF2B5EF4-FFF2-40B4-BE49-F238E27FC236}">
                <a16:creationId xmlns:a16="http://schemas.microsoft.com/office/drawing/2014/main" id="{CD6A3406-20DF-EC41-B915-E2FEFD2C7051}"/>
              </a:ext>
            </a:extLst>
          </p:cNvPr>
          <p:cNvCxnSpPr>
            <a:cxnSpLocks/>
          </p:cNvCxnSpPr>
          <p:nvPr userDrawn="1"/>
        </p:nvCxnSpPr>
        <p:spPr>
          <a:xfrm>
            <a:off x="4430966" y="729000"/>
            <a:ext cx="0" cy="5400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0297527"/>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1"/>
                </a:solidFill>
              </a:defRPr>
            </a:lvl1pPr>
          </a:lstStyle>
          <a:p>
            <a:r>
              <a:rPr lang="sl-SI" dirty="0"/>
              <a:t>Agenda</a:t>
            </a:r>
            <a:endParaRPr lang="en-US" dirty="0"/>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68E16D21-2873-7F4D-BC1C-4DCC7B7156B8}" type="slidenum">
              <a:rPr lang="en-SI" smtClean="0"/>
              <a:pPr/>
              <a:t>‹#›</a:t>
            </a:fld>
            <a:endParaRPr lang="en-SI" dirty="0"/>
          </a:p>
        </p:txBody>
      </p:sp>
      <p:sp>
        <p:nvSpPr>
          <p:cNvPr id="8" name="Content Placeholder 2">
            <a:extLst>
              <a:ext uri="{FF2B5EF4-FFF2-40B4-BE49-F238E27FC236}">
                <a16:creationId xmlns:a16="http://schemas.microsoft.com/office/drawing/2014/main" id="{1426D3AD-FEF8-4340-934D-46D6144F23EA}"/>
              </a:ext>
            </a:extLst>
          </p:cNvPr>
          <p:cNvSpPr>
            <a:spLocks noGrp="1"/>
          </p:cNvSpPr>
          <p:nvPr>
            <p:ph idx="1" hasCustomPrompt="1"/>
          </p:nvPr>
        </p:nvSpPr>
        <p:spPr>
          <a:xfrm>
            <a:off x="712572" y="1427034"/>
            <a:ext cx="8734362" cy="4351338"/>
          </a:xfrm>
        </p:spPr>
        <p:txBody>
          <a:bodyPr/>
          <a:lstStyle>
            <a:lvl1pPr marL="342900" indent="-342900">
              <a:buClr>
                <a:srgbClr val="3678BD"/>
              </a:buClr>
              <a:buFont typeface="Arial" panose="020B0604020202020204" pitchFamily="34" charset="0"/>
              <a:buChar char="•"/>
              <a:defRPr b="1"/>
            </a:lvl1pPr>
            <a:lvl2pPr marL="457200" indent="0">
              <a:buNone/>
              <a:defRPr/>
            </a:lvl2pPr>
            <a:lvl3pPr marL="914400" indent="0">
              <a:buNone/>
              <a:defRPr/>
            </a:lvl3pPr>
            <a:lvl4pPr marL="1371600" indent="0">
              <a:buNone/>
              <a:defRPr/>
            </a:lvl4pPr>
            <a:lvl5pPr marL="1828800" indent="0">
              <a:buNone/>
              <a:defRPr/>
            </a:lvl5pPr>
          </a:lstStyle>
          <a:p>
            <a:pPr lvl="0"/>
            <a:r>
              <a:rPr lang="en-GB" dirty="0"/>
              <a:t>Agenda item number one</a:t>
            </a:r>
          </a:p>
          <a:p>
            <a:pPr lvl="0"/>
            <a:r>
              <a:rPr lang="en-GB" dirty="0"/>
              <a:t>Agenda item number two</a:t>
            </a:r>
          </a:p>
          <a:p>
            <a:pPr lvl="0"/>
            <a:r>
              <a:rPr lang="en-GB" dirty="0"/>
              <a:t>Agenda item number three</a:t>
            </a:r>
          </a:p>
        </p:txBody>
      </p:sp>
    </p:spTree>
    <p:extLst>
      <p:ext uri="{BB962C8B-B14F-4D97-AF65-F5344CB8AC3E}">
        <p14:creationId xmlns:p14="http://schemas.microsoft.com/office/powerpoint/2010/main" val="2656684175"/>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secHead" preserve="1">
  <p:cSld name="Section Header Wh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96000" y="1066800"/>
            <a:ext cx="10800000" cy="3084787"/>
          </a:xfrm>
        </p:spPr>
        <p:txBody>
          <a:bodyPr anchor="ctr">
            <a:normAutofit/>
          </a:bodyPr>
          <a:lstStyle>
            <a:lvl1pPr algn="l">
              <a:defRPr sz="6000"/>
            </a:lvl1pPr>
          </a:lstStyle>
          <a:p>
            <a:r>
              <a:rPr lang="en-GB" dirty="0"/>
              <a:t>Section title</a:t>
            </a:r>
            <a:endParaRPr lang="en-US" dirty="0"/>
          </a:p>
        </p:txBody>
      </p:sp>
      <p:sp>
        <p:nvSpPr>
          <p:cNvPr id="3" name="Text Placeholder 2"/>
          <p:cNvSpPr>
            <a:spLocks noGrp="1"/>
          </p:cNvSpPr>
          <p:nvPr>
            <p:ph type="body" idx="1" hasCustomPrompt="1"/>
          </p:nvPr>
        </p:nvSpPr>
        <p:spPr>
          <a:xfrm>
            <a:off x="694800" y="4410075"/>
            <a:ext cx="10800000" cy="1476376"/>
          </a:xfrm>
        </p:spPr>
        <p:txBody>
          <a:bodyPr>
            <a:norm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ection subtitle / Speaker</a:t>
            </a:r>
          </a:p>
        </p:txBody>
      </p:sp>
      <p:sp>
        <p:nvSpPr>
          <p:cNvPr id="6" name="Slide Number Placeholder 5"/>
          <p:cNvSpPr>
            <a:spLocks noGrp="1"/>
          </p:cNvSpPr>
          <p:nvPr>
            <p:ph type="sldNum" sz="quarter" idx="12"/>
          </p:nvPr>
        </p:nvSpPr>
        <p:spPr/>
        <p:txBody>
          <a:bodyPr/>
          <a:lstStyle/>
          <a:p>
            <a:fld id="{68E16D21-2873-7F4D-BC1C-4DCC7B7156B8}" type="slidenum">
              <a:rPr lang="en-SI" smtClean="0"/>
              <a:t>‹#›</a:t>
            </a:fld>
            <a:endParaRPr lang="en-SI"/>
          </a:p>
        </p:txBody>
      </p:sp>
      <p:cxnSp>
        <p:nvCxnSpPr>
          <p:cNvPr id="7" name="Straight Connector 6">
            <a:extLst>
              <a:ext uri="{FF2B5EF4-FFF2-40B4-BE49-F238E27FC236}">
                <a16:creationId xmlns:a16="http://schemas.microsoft.com/office/drawing/2014/main" id="{AFCD5DFA-08FC-8B49-A7E1-FB3F1B9A3465}"/>
              </a:ext>
            </a:extLst>
          </p:cNvPr>
          <p:cNvCxnSpPr>
            <a:cxnSpLocks/>
          </p:cNvCxnSpPr>
          <p:nvPr/>
        </p:nvCxnSpPr>
        <p:spPr>
          <a:xfrm>
            <a:off x="696000" y="4166100"/>
            <a:ext cx="1080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8F4285B-4D3D-5548-9399-8AD26F3535EF}"/>
              </a:ext>
            </a:extLst>
          </p:cNvPr>
          <p:cNvCxnSpPr>
            <a:cxnSpLocks/>
          </p:cNvCxnSpPr>
          <p:nvPr userDrawn="1"/>
        </p:nvCxnSpPr>
        <p:spPr>
          <a:xfrm>
            <a:off x="696000" y="4166100"/>
            <a:ext cx="1080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85217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Section Header Whit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68E16D21-2873-7F4D-BC1C-4DCC7B7156B8}" type="slidenum">
              <a:rPr lang="en-SI" smtClean="0"/>
              <a:t>‹#›</a:t>
            </a:fld>
            <a:endParaRPr lang="en-SI"/>
          </a:p>
        </p:txBody>
      </p:sp>
      <p:cxnSp>
        <p:nvCxnSpPr>
          <p:cNvPr id="7" name="Straight Connector 6">
            <a:extLst>
              <a:ext uri="{FF2B5EF4-FFF2-40B4-BE49-F238E27FC236}">
                <a16:creationId xmlns:a16="http://schemas.microsoft.com/office/drawing/2014/main" id="{AFCD5DFA-08FC-8B49-A7E1-FB3F1B9A3465}"/>
              </a:ext>
            </a:extLst>
          </p:cNvPr>
          <p:cNvCxnSpPr>
            <a:cxnSpLocks/>
          </p:cNvCxnSpPr>
          <p:nvPr/>
        </p:nvCxnSpPr>
        <p:spPr>
          <a:xfrm>
            <a:off x="696000" y="4166100"/>
            <a:ext cx="1080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8F4285B-4D3D-5548-9399-8AD26F3535EF}"/>
              </a:ext>
            </a:extLst>
          </p:cNvPr>
          <p:cNvCxnSpPr>
            <a:cxnSpLocks/>
          </p:cNvCxnSpPr>
          <p:nvPr userDrawn="1"/>
        </p:nvCxnSpPr>
        <p:spPr>
          <a:xfrm>
            <a:off x="696000" y="4166100"/>
            <a:ext cx="1080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32139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secHead" preserve="1">
  <p:cSld name="Section Header Blu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CEC7484-A3E3-C74A-BC15-3E18069ACD90}"/>
              </a:ext>
            </a:extLst>
          </p:cNvPr>
          <p:cNvSpPr/>
          <p:nvPr/>
        </p:nvSpPr>
        <p:spPr>
          <a:xfrm>
            <a:off x="-9524" y="1057274"/>
            <a:ext cx="12201524" cy="52247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I" dirty="0">
              <a:latin typeface="Arial" panose="020B0604020202020204" pitchFamily="34" charset="0"/>
              <a:cs typeface="Arial" panose="020B0604020202020204" pitchFamily="34" charset="0"/>
            </a:endParaRPr>
          </a:p>
        </p:txBody>
      </p:sp>
      <p:sp>
        <p:nvSpPr>
          <p:cNvPr id="2" name="Title 1"/>
          <p:cNvSpPr>
            <a:spLocks noGrp="1"/>
          </p:cNvSpPr>
          <p:nvPr>
            <p:ph type="title" hasCustomPrompt="1"/>
          </p:nvPr>
        </p:nvSpPr>
        <p:spPr>
          <a:xfrm>
            <a:off x="696000" y="1057274"/>
            <a:ext cx="10800000" cy="3094314"/>
          </a:xfrm>
        </p:spPr>
        <p:txBody>
          <a:bodyPr anchor="ctr">
            <a:normAutofit/>
          </a:bodyPr>
          <a:lstStyle>
            <a:lvl1pPr algn="l">
              <a:defRPr sz="6000">
                <a:solidFill>
                  <a:schemeClr val="bg1"/>
                </a:solidFill>
              </a:defRPr>
            </a:lvl1pPr>
          </a:lstStyle>
          <a:p>
            <a:r>
              <a:rPr lang="en-GB" dirty="0"/>
              <a:t>Section title</a:t>
            </a:r>
            <a:endParaRPr lang="en-US" dirty="0"/>
          </a:p>
        </p:txBody>
      </p:sp>
      <p:sp>
        <p:nvSpPr>
          <p:cNvPr id="3" name="Text Placeholder 2"/>
          <p:cNvSpPr>
            <a:spLocks noGrp="1"/>
          </p:cNvSpPr>
          <p:nvPr>
            <p:ph type="body" idx="1" hasCustomPrompt="1"/>
          </p:nvPr>
        </p:nvSpPr>
        <p:spPr>
          <a:xfrm>
            <a:off x="696000" y="4410075"/>
            <a:ext cx="10800000" cy="1476376"/>
          </a:xfrm>
        </p:spPr>
        <p:txBody>
          <a:bodyPr>
            <a:normAutofit/>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ection subtitle / Speaker</a:t>
            </a:r>
          </a:p>
        </p:txBody>
      </p:sp>
      <p:sp>
        <p:nvSpPr>
          <p:cNvPr id="6" name="Slide Number Placeholder 5"/>
          <p:cNvSpPr>
            <a:spLocks noGrp="1"/>
          </p:cNvSpPr>
          <p:nvPr>
            <p:ph type="sldNum" sz="quarter" idx="12"/>
          </p:nvPr>
        </p:nvSpPr>
        <p:spPr/>
        <p:txBody>
          <a:bodyPr/>
          <a:lstStyle/>
          <a:p>
            <a:fld id="{68E16D21-2873-7F4D-BC1C-4DCC7B7156B8}" type="slidenum">
              <a:rPr lang="en-SI" smtClean="0"/>
              <a:t>‹#›</a:t>
            </a:fld>
            <a:endParaRPr lang="en-SI"/>
          </a:p>
        </p:txBody>
      </p:sp>
      <p:cxnSp>
        <p:nvCxnSpPr>
          <p:cNvPr id="7" name="Straight Connector 6">
            <a:extLst>
              <a:ext uri="{FF2B5EF4-FFF2-40B4-BE49-F238E27FC236}">
                <a16:creationId xmlns:a16="http://schemas.microsoft.com/office/drawing/2014/main" id="{AFCD5DFA-08FC-8B49-A7E1-FB3F1B9A3465}"/>
              </a:ext>
            </a:extLst>
          </p:cNvPr>
          <p:cNvCxnSpPr>
            <a:cxnSpLocks/>
          </p:cNvCxnSpPr>
          <p:nvPr/>
        </p:nvCxnSpPr>
        <p:spPr>
          <a:xfrm>
            <a:off x="696000" y="4166100"/>
            <a:ext cx="10800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2857FDB7-1C3A-C549-A253-EB50D4889C5F}"/>
              </a:ext>
            </a:extLst>
          </p:cNvPr>
          <p:cNvSpPr/>
          <p:nvPr userDrawn="1"/>
        </p:nvSpPr>
        <p:spPr>
          <a:xfrm>
            <a:off x="-9524" y="1057274"/>
            <a:ext cx="12201524" cy="5224724"/>
          </a:xfrm>
          <a:prstGeom prst="rect">
            <a:avLst/>
          </a:prstGeom>
          <a:solidFill>
            <a:srgbClr val="3678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I" dirty="0">
              <a:latin typeface="Arial" panose="020B0604020202020204" pitchFamily="34" charset="0"/>
              <a:cs typeface="Arial" panose="020B0604020202020204" pitchFamily="34" charset="0"/>
            </a:endParaRPr>
          </a:p>
        </p:txBody>
      </p:sp>
      <p:cxnSp>
        <p:nvCxnSpPr>
          <p:cNvPr id="10" name="Straight Connector 9">
            <a:extLst>
              <a:ext uri="{FF2B5EF4-FFF2-40B4-BE49-F238E27FC236}">
                <a16:creationId xmlns:a16="http://schemas.microsoft.com/office/drawing/2014/main" id="{ED00337A-AC4A-D343-827D-292CAE51444C}"/>
              </a:ext>
            </a:extLst>
          </p:cNvPr>
          <p:cNvCxnSpPr>
            <a:cxnSpLocks/>
          </p:cNvCxnSpPr>
          <p:nvPr userDrawn="1"/>
        </p:nvCxnSpPr>
        <p:spPr>
          <a:xfrm>
            <a:off x="696000" y="4166100"/>
            <a:ext cx="10800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9448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oofdstukdia">
    <p:spTree>
      <p:nvGrpSpPr>
        <p:cNvPr id="1" name=""/>
        <p:cNvGrpSpPr/>
        <p:nvPr/>
      </p:nvGrpSpPr>
      <p:grpSpPr>
        <a:xfrm>
          <a:off x="0" y="0"/>
          <a:ext cx="0" cy="0"/>
          <a:chOff x="0" y="0"/>
          <a:chExt cx="0" cy="0"/>
        </a:xfrm>
      </p:grpSpPr>
      <p:sp>
        <p:nvSpPr>
          <p:cNvPr id="4" name="Rechthoek 3">
            <a:extLst>
              <a:ext uri="{C183D7F6-B498-43B3-948B-1728B52AA6E4}">
                <adec:decorative xmlns:adec="http://schemas.microsoft.com/office/drawing/2017/decorative" val="1"/>
              </a:ext>
            </a:extLst>
          </p:cNvPr>
          <p:cNvSpPr/>
          <p:nvPr userDrawn="1"/>
        </p:nvSpPr>
        <p:spPr>
          <a:xfrm>
            <a:off x="0" y="6400801"/>
            <a:ext cx="12192000" cy="455084"/>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nl-NL"/>
          </a:p>
        </p:txBody>
      </p:sp>
      <p:sp>
        <p:nvSpPr>
          <p:cNvPr id="6" name="Rechthoek 5">
            <a:extLst>
              <a:ext uri="{C183D7F6-B498-43B3-948B-1728B52AA6E4}">
                <adec:decorative xmlns:adec="http://schemas.microsoft.com/office/drawing/2017/decorative" val="1"/>
              </a:ext>
            </a:extLst>
          </p:cNvPr>
          <p:cNvSpPr/>
          <p:nvPr userDrawn="1"/>
        </p:nvSpPr>
        <p:spPr>
          <a:xfrm>
            <a:off x="0" y="1028701"/>
            <a:ext cx="12192000" cy="5372100"/>
          </a:xfrm>
          <a:prstGeom prst="rect">
            <a:avLst/>
          </a:prstGeom>
          <a:solidFill>
            <a:srgbClr val="5F1F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sp>
        <p:nvSpPr>
          <p:cNvPr id="2" name="Titel 1"/>
          <p:cNvSpPr>
            <a:spLocks noGrp="1"/>
          </p:cNvSpPr>
          <p:nvPr>
            <p:ph type="title" hasCustomPrompt="1"/>
          </p:nvPr>
        </p:nvSpPr>
        <p:spPr>
          <a:xfrm>
            <a:off x="431371" y="2516901"/>
            <a:ext cx="10657184" cy="1824203"/>
          </a:xfrm>
        </p:spPr>
        <p:txBody>
          <a:bodyPr/>
          <a:lstStyle>
            <a:lvl1pPr>
              <a:defRPr>
                <a:solidFill>
                  <a:schemeClr val="bg1"/>
                </a:solidFill>
              </a:defRPr>
            </a:lvl1pPr>
          </a:lstStyle>
          <a:p>
            <a:r>
              <a:rPr lang="nl-NL" dirty="0"/>
              <a:t>Plaats hier de titel van je hoofdstuk</a:t>
            </a:r>
          </a:p>
        </p:txBody>
      </p:sp>
      <p:sp>
        <p:nvSpPr>
          <p:cNvPr id="5" name="Tijdelijke aanduiding voor tekst 4"/>
          <p:cNvSpPr>
            <a:spLocks noGrp="1"/>
          </p:cNvSpPr>
          <p:nvPr>
            <p:ph type="body" sz="quarter" idx="10" hasCustomPrompt="1"/>
          </p:nvPr>
        </p:nvSpPr>
        <p:spPr>
          <a:xfrm>
            <a:off x="431371" y="4388677"/>
            <a:ext cx="10657184" cy="369332"/>
          </a:xfrm>
        </p:spPr>
        <p:txBody>
          <a:bodyPr/>
          <a:lstStyle>
            <a:lvl1pPr>
              <a:defRPr baseline="0">
                <a:solidFill>
                  <a:schemeClr val="bg1"/>
                </a:solidFill>
              </a:defRPr>
            </a:lvl1pPr>
          </a:lstStyle>
          <a:p>
            <a:pPr lvl="0"/>
            <a:r>
              <a:rPr lang="nl-NL" dirty="0"/>
              <a:t>Plaats hier eventueel een ondertitel</a:t>
            </a:r>
          </a:p>
        </p:txBody>
      </p:sp>
      <p:sp>
        <p:nvSpPr>
          <p:cNvPr id="8" name="Tijdelijke aanduiding voor dianummer 12"/>
          <p:cNvSpPr>
            <a:spLocks noGrp="1"/>
          </p:cNvSpPr>
          <p:nvPr>
            <p:ph type="sldNum" sz="quarter" idx="11"/>
          </p:nvPr>
        </p:nvSpPr>
        <p:spPr/>
        <p:txBody>
          <a:bodyPr/>
          <a:lstStyle>
            <a:lvl1pPr algn="ctr">
              <a:defRPr sz="1333" b="1" smtClean="0">
                <a:solidFill>
                  <a:srgbClr val="007FAE"/>
                </a:solidFill>
              </a:defRPr>
            </a:lvl1pPr>
          </a:lstStyle>
          <a:p>
            <a:pPr>
              <a:defRPr/>
            </a:pPr>
            <a:fld id="{064A29A8-8B53-428C-86C9-C4919921B72D}" type="slidenum">
              <a:rPr lang="nl-NL"/>
              <a:pPr>
                <a:defRPr/>
              </a:pPr>
              <a:t>‹#›</a:t>
            </a:fld>
            <a:endParaRPr lang="nl-NL" dirty="0"/>
          </a:p>
        </p:txBody>
      </p:sp>
      <p:sp>
        <p:nvSpPr>
          <p:cNvPr id="9" name="Tijdelijke aanduiding voor datum 6"/>
          <p:cNvSpPr>
            <a:spLocks noGrp="1"/>
          </p:cNvSpPr>
          <p:nvPr>
            <p:ph type="dt" sz="half" idx="12"/>
          </p:nvPr>
        </p:nvSpPr>
        <p:spPr>
          <a:xfrm>
            <a:off x="8434918" y="6400801"/>
            <a:ext cx="2942167" cy="455084"/>
          </a:xfrm>
        </p:spPr>
        <p:txBody>
          <a:bodyPr/>
          <a:lstStyle>
            <a:lvl1pPr algn="r">
              <a:defRPr sz="1333" dirty="0">
                <a:solidFill>
                  <a:schemeClr val="accent4"/>
                </a:solidFill>
                <a:latin typeface="Arial" panose="020B0604020202020204" pitchFamily="34" charset="0"/>
                <a:cs typeface="Arial" panose="020B0604020202020204" pitchFamily="34" charset="0"/>
              </a:defRPr>
            </a:lvl1pPr>
          </a:lstStyle>
          <a:p>
            <a:pPr>
              <a:defRPr/>
            </a:pPr>
            <a:endParaRPr lang="nl-NL"/>
          </a:p>
        </p:txBody>
      </p:sp>
      <p:sp>
        <p:nvSpPr>
          <p:cNvPr id="10" name="Tijdelijke aanduiding voor voettekst 11"/>
          <p:cNvSpPr>
            <a:spLocks noGrp="1"/>
          </p:cNvSpPr>
          <p:nvPr>
            <p:ph type="ftr" sz="quarter" idx="13"/>
          </p:nvPr>
        </p:nvSpPr>
        <p:spPr/>
        <p:txBody>
          <a:bodyPr/>
          <a:lstStyle>
            <a:lvl1pPr algn="l">
              <a:defRPr sz="1333" b="1" dirty="0" smtClean="0">
                <a:solidFill>
                  <a:srgbClr val="007FAE"/>
                </a:solidFill>
                <a:latin typeface="Arial" panose="020B0604020202020204" pitchFamily="34" charset="0"/>
                <a:cs typeface="Arial" panose="020B0604020202020204" pitchFamily="34" charset="0"/>
              </a:defRPr>
            </a:lvl1pPr>
          </a:lstStyle>
          <a:p>
            <a:pPr>
              <a:defRPr/>
            </a:pPr>
            <a:endParaRPr lang="nl-NL"/>
          </a:p>
        </p:txBody>
      </p:sp>
      <p:pic>
        <p:nvPicPr>
          <p:cNvPr id="11" name="Afbeelding 11">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70500" y="1"/>
            <a:ext cx="1651000" cy="102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58452117"/>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secHead" preserve="1">
  <p:cSld name="Section Header Gree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CEC7484-A3E3-C74A-BC15-3E18069ACD90}"/>
              </a:ext>
            </a:extLst>
          </p:cNvPr>
          <p:cNvSpPr/>
          <p:nvPr/>
        </p:nvSpPr>
        <p:spPr>
          <a:xfrm>
            <a:off x="0" y="1057274"/>
            <a:ext cx="12192000" cy="522472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I" dirty="0"/>
          </a:p>
        </p:txBody>
      </p:sp>
      <p:sp>
        <p:nvSpPr>
          <p:cNvPr id="2" name="Title 1"/>
          <p:cNvSpPr>
            <a:spLocks noGrp="1"/>
          </p:cNvSpPr>
          <p:nvPr>
            <p:ph type="title" hasCustomPrompt="1"/>
          </p:nvPr>
        </p:nvSpPr>
        <p:spPr>
          <a:xfrm>
            <a:off x="696000" y="1057273"/>
            <a:ext cx="10800000" cy="3094314"/>
          </a:xfrm>
        </p:spPr>
        <p:txBody>
          <a:bodyPr anchor="ctr">
            <a:normAutofit/>
          </a:bodyPr>
          <a:lstStyle>
            <a:lvl1pPr algn="l">
              <a:defRPr sz="6000">
                <a:solidFill>
                  <a:schemeClr val="bg1"/>
                </a:solidFill>
              </a:defRPr>
            </a:lvl1pPr>
          </a:lstStyle>
          <a:p>
            <a:r>
              <a:rPr lang="en-GB" dirty="0"/>
              <a:t>Section title</a:t>
            </a:r>
            <a:endParaRPr lang="en-US" dirty="0"/>
          </a:p>
        </p:txBody>
      </p:sp>
      <p:sp>
        <p:nvSpPr>
          <p:cNvPr id="3" name="Text Placeholder 2"/>
          <p:cNvSpPr>
            <a:spLocks noGrp="1"/>
          </p:cNvSpPr>
          <p:nvPr>
            <p:ph type="body" idx="1" hasCustomPrompt="1"/>
          </p:nvPr>
        </p:nvSpPr>
        <p:spPr>
          <a:xfrm>
            <a:off x="696000" y="4410075"/>
            <a:ext cx="10776000" cy="1476376"/>
          </a:xfrm>
        </p:spPr>
        <p:txBody>
          <a:bodyPr>
            <a:normAutofit/>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ection subtitle / Speaker</a:t>
            </a:r>
          </a:p>
        </p:txBody>
      </p:sp>
      <p:sp>
        <p:nvSpPr>
          <p:cNvPr id="6" name="Slide Number Placeholder 5"/>
          <p:cNvSpPr>
            <a:spLocks noGrp="1"/>
          </p:cNvSpPr>
          <p:nvPr>
            <p:ph type="sldNum" sz="quarter" idx="12"/>
          </p:nvPr>
        </p:nvSpPr>
        <p:spPr/>
        <p:txBody>
          <a:bodyPr/>
          <a:lstStyle/>
          <a:p>
            <a:fld id="{68E16D21-2873-7F4D-BC1C-4DCC7B7156B8}" type="slidenum">
              <a:rPr lang="en-SI" smtClean="0"/>
              <a:t>‹#›</a:t>
            </a:fld>
            <a:endParaRPr lang="en-SI"/>
          </a:p>
        </p:txBody>
      </p:sp>
      <p:cxnSp>
        <p:nvCxnSpPr>
          <p:cNvPr id="7" name="Straight Connector 6">
            <a:extLst>
              <a:ext uri="{FF2B5EF4-FFF2-40B4-BE49-F238E27FC236}">
                <a16:creationId xmlns:a16="http://schemas.microsoft.com/office/drawing/2014/main" id="{AFCD5DFA-08FC-8B49-A7E1-FB3F1B9A3465}"/>
              </a:ext>
            </a:extLst>
          </p:cNvPr>
          <p:cNvCxnSpPr>
            <a:cxnSpLocks/>
          </p:cNvCxnSpPr>
          <p:nvPr/>
        </p:nvCxnSpPr>
        <p:spPr>
          <a:xfrm>
            <a:off x="696000" y="4166100"/>
            <a:ext cx="10800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766E8835-A464-844A-9F9C-F68DF4DB45A8}"/>
              </a:ext>
            </a:extLst>
          </p:cNvPr>
          <p:cNvSpPr/>
          <p:nvPr userDrawn="1"/>
        </p:nvSpPr>
        <p:spPr>
          <a:xfrm>
            <a:off x="0" y="1057274"/>
            <a:ext cx="12192000" cy="5224724"/>
          </a:xfrm>
          <a:prstGeom prst="rect">
            <a:avLst/>
          </a:prstGeom>
          <a:solidFill>
            <a:srgbClr val="96CD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I" dirty="0"/>
          </a:p>
        </p:txBody>
      </p:sp>
      <p:cxnSp>
        <p:nvCxnSpPr>
          <p:cNvPr id="10" name="Straight Connector 9">
            <a:extLst>
              <a:ext uri="{FF2B5EF4-FFF2-40B4-BE49-F238E27FC236}">
                <a16:creationId xmlns:a16="http://schemas.microsoft.com/office/drawing/2014/main" id="{B2149027-1E91-A641-9F78-DEE96BEF964E}"/>
              </a:ext>
            </a:extLst>
          </p:cNvPr>
          <p:cNvCxnSpPr>
            <a:cxnSpLocks/>
          </p:cNvCxnSpPr>
          <p:nvPr userDrawn="1"/>
        </p:nvCxnSpPr>
        <p:spPr>
          <a:xfrm>
            <a:off x="696000" y="4166100"/>
            <a:ext cx="10800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752354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Slide title</a:t>
            </a:r>
            <a:endParaRPr lang="en-US" dirty="0"/>
          </a:p>
        </p:txBody>
      </p:sp>
      <p:sp>
        <p:nvSpPr>
          <p:cNvPr id="6" name="Slide Number Placeholder 5"/>
          <p:cNvSpPr>
            <a:spLocks noGrp="1"/>
          </p:cNvSpPr>
          <p:nvPr>
            <p:ph type="sldNum" sz="quarter" idx="12"/>
          </p:nvPr>
        </p:nvSpPr>
        <p:spPr/>
        <p:txBody>
          <a:bodyPr/>
          <a:lstStyle/>
          <a:p>
            <a:fld id="{68E16D21-2873-7F4D-BC1C-4DCC7B7156B8}" type="slidenum">
              <a:rPr lang="en-SI" smtClean="0"/>
              <a:t>‹#›</a:t>
            </a:fld>
            <a:endParaRPr lang="en-SI"/>
          </a:p>
        </p:txBody>
      </p:sp>
      <p:sp>
        <p:nvSpPr>
          <p:cNvPr id="7" name="Text Placeholder 4">
            <a:extLst>
              <a:ext uri="{FF2B5EF4-FFF2-40B4-BE49-F238E27FC236}">
                <a16:creationId xmlns:a16="http://schemas.microsoft.com/office/drawing/2014/main" id="{D1E226AE-EA6F-8E04-A71F-F8CF29FE20BA}"/>
              </a:ext>
            </a:extLst>
          </p:cNvPr>
          <p:cNvSpPr>
            <a:spLocks noGrp="1"/>
          </p:cNvSpPr>
          <p:nvPr>
            <p:ph type="body" sz="quarter" idx="13"/>
          </p:nvPr>
        </p:nvSpPr>
        <p:spPr>
          <a:xfrm>
            <a:off x="702150" y="1419699"/>
            <a:ext cx="10794526" cy="449373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Text Placeholder 3">
            <a:extLst>
              <a:ext uri="{FF2B5EF4-FFF2-40B4-BE49-F238E27FC236}">
                <a16:creationId xmlns:a16="http://schemas.microsoft.com/office/drawing/2014/main" id="{E1572446-B181-0CBD-2EE2-58A73F2D0F1B}"/>
              </a:ext>
            </a:extLst>
          </p:cNvPr>
          <p:cNvSpPr>
            <a:spLocks noGrp="1"/>
          </p:cNvSpPr>
          <p:nvPr>
            <p:ph type="body" sz="quarter" idx="14" hasCustomPrompt="1"/>
          </p:nvPr>
        </p:nvSpPr>
        <p:spPr>
          <a:xfrm>
            <a:off x="701675" y="6281998"/>
            <a:ext cx="10795000" cy="576002"/>
          </a:xfrm>
        </p:spPr>
        <p:txBody>
          <a:bodyPr anchor="ctr"/>
          <a:lstStyle>
            <a:lvl1pPr marL="0" indent="0">
              <a:buNone/>
              <a:defRPr sz="1000">
                <a:solidFill>
                  <a:schemeClr val="tx1">
                    <a:lumMod val="50000"/>
                    <a:lumOff val="50000"/>
                  </a:schemeClr>
                </a:solidFill>
              </a:defRPr>
            </a:lvl1pPr>
            <a:lvl5pPr marL="864000" indent="0">
              <a:buNone/>
              <a:defRPr/>
            </a:lvl5pPr>
          </a:lstStyle>
          <a:p>
            <a:pPr lvl="0"/>
            <a:r>
              <a:rPr lang="en-GB" sz="1000" dirty="0"/>
              <a:t>Note: </a:t>
            </a:r>
            <a:endParaRPr lang="en-GB" dirty="0"/>
          </a:p>
        </p:txBody>
      </p:sp>
    </p:spTree>
    <p:extLst>
      <p:ext uri="{BB962C8B-B14F-4D97-AF65-F5344CB8AC3E}">
        <p14:creationId xmlns:p14="http://schemas.microsoft.com/office/powerpoint/2010/main" val="178301844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Slide title</a:t>
            </a:r>
            <a:endParaRPr lang="en-US" dirty="0"/>
          </a:p>
        </p:txBody>
      </p:sp>
      <p:sp>
        <p:nvSpPr>
          <p:cNvPr id="7" name="Slide Number Placeholder 6"/>
          <p:cNvSpPr>
            <a:spLocks noGrp="1"/>
          </p:cNvSpPr>
          <p:nvPr>
            <p:ph type="sldNum" sz="quarter" idx="12"/>
          </p:nvPr>
        </p:nvSpPr>
        <p:spPr/>
        <p:txBody>
          <a:bodyPr/>
          <a:lstStyle/>
          <a:p>
            <a:fld id="{68E16D21-2873-7F4D-BC1C-4DCC7B7156B8}" type="slidenum">
              <a:rPr lang="en-SI" smtClean="0"/>
              <a:t>‹#›</a:t>
            </a:fld>
            <a:endParaRPr lang="en-SI"/>
          </a:p>
        </p:txBody>
      </p:sp>
      <p:sp>
        <p:nvSpPr>
          <p:cNvPr id="6" name="Text Placeholder 5">
            <a:extLst>
              <a:ext uri="{FF2B5EF4-FFF2-40B4-BE49-F238E27FC236}">
                <a16:creationId xmlns:a16="http://schemas.microsoft.com/office/drawing/2014/main" id="{606F9BC4-CF8C-772F-9195-B814823DA3D7}"/>
              </a:ext>
            </a:extLst>
          </p:cNvPr>
          <p:cNvSpPr>
            <a:spLocks noGrp="1"/>
          </p:cNvSpPr>
          <p:nvPr>
            <p:ph type="body" sz="quarter" idx="13"/>
          </p:nvPr>
        </p:nvSpPr>
        <p:spPr>
          <a:xfrm>
            <a:off x="702148" y="1419225"/>
            <a:ext cx="5112000" cy="449373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9" name="Text Placeholder 8">
            <a:extLst>
              <a:ext uri="{FF2B5EF4-FFF2-40B4-BE49-F238E27FC236}">
                <a16:creationId xmlns:a16="http://schemas.microsoft.com/office/drawing/2014/main" id="{03B23C84-6C45-F328-5274-82F5E437B8DA}"/>
              </a:ext>
            </a:extLst>
          </p:cNvPr>
          <p:cNvSpPr>
            <a:spLocks noGrp="1"/>
          </p:cNvSpPr>
          <p:nvPr>
            <p:ph type="body" sz="quarter" idx="14"/>
          </p:nvPr>
        </p:nvSpPr>
        <p:spPr>
          <a:xfrm>
            <a:off x="6384879" y="1419225"/>
            <a:ext cx="5111795" cy="449421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Text Placeholder 3">
            <a:extLst>
              <a:ext uri="{FF2B5EF4-FFF2-40B4-BE49-F238E27FC236}">
                <a16:creationId xmlns:a16="http://schemas.microsoft.com/office/drawing/2014/main" id="{4A43C831-5902-7C03-465A-7D4F43C5DB32}"/>
              </a:ext>
            </a:extLst>
          </p:cNvPr>
          <p:cNvSpPr>
            <a:spLocks noGrp="1"/>
          </p:cNvSpPr>
          <p:nvPr>
            <p:ph type="body" sz="quarter" idx="15" hasCustomPrompt="1"/>
          </p:nvPr>
        </p:nvSpPr>
        <p:spPr>
          <a:xfrm>
            <a:off x="701675" y="6281998"/>
            <a:ext cx="10795000" cy="576002"/>
          </a:xfrm>
        </p:spPr>
        <p:txBody>
          <a:bodyPr anchor="ctr"/>
          <a:lstStyle>
            <a:lvl1pPr marL="0" indent="0">
              <a:buNone/>
              <a:defRPr sz="1000">
                <a:solidFill>
                  <a:schemeClr val="tx1">
                    <a:lumMod val="50000"/>
                    <a:lumOff val="50000"/>
                  </a:schemeClr>
                </a:solidFill>
              </a:defRPr>
            </a:lvl1pPr>
            <a:lvl5pPr marL="864000" indent="0">
              <a:buNone/>
              <a:defRPr/>
            </a:lvl5pPr>
          </a:lstStyle>
          <a:p>
            <a:pPr lvl="0"/>
            <a:r>
              <a:rPr lang="en-GB" sz="1000" dirty="0"/>
              <a:t>Note: </a:t>
            </a:r>
            <a:endParaRPr lang="en-GB" dirty="0"/>
          </a:p>
        </p:txBody>
      </p:sp>
    </p:spTree>
    <p:extLst>
      <p:ext uri="{BB962C8B-B14F-4D97-AF65-F5344CB8AC3E}">
        <p14:creationId xmlns:p14="http://schemas.microsoft.com/office/powerpoint/2010/main" val="288667978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ontent 3">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Slide title</a:t>
            </a:r>
            <a:endParaRPr lang="en-US" dirty="0"/>
          </a:p>
        </p:txBody>
      </p:sp>
      <p:sp>
        <p:nvSpPr>
          <p:cNvPr id="7" name="Slide Number Placeholder 6"/>
          <p:cNvSpPr>
            <a:spLocks noGrp="1"/>
          </p:cNvSpPr>
          <p:nvPr>
            <p:ph type="sldNum" sz="quarter" idx="12"/>
          </p:nvPr>
        </p:nvSpPr>
        <p:spPr/>
        <p:txBody>
          <a:bodyPr/>
          <a:lstStyle/>
          <a:p>
            <a:fld id="{68E16D21-2873-7F4D-BC1C-4DCC7B7156B8}" type="slidenum">
              <a:rPr lang="en-SI" smtClean="0"/>
              <a:t>‹#›</a:t>
            </a:fld>
            <a:endParaRPr lang="en-SI"/>
          </a:p>
        </p:txBody>
      </p:sp>
      <p:sp>
        <p:nvSpPr>
          <p:cNvPr id="5" name="Text Placeholder 4">
            <a:extLst>
              <a:ext uri="{FF2B5EF4-FFF2-40B4-BE49-F238E27FC236}">
                <a16:creationId xmlns:a16="http://schemas.microsoft.com/office/drawing/2014/main" id="{19E5510D-5894-8F60-D6F3-33AF0FF0ED26}"/>
              </a:ext>
            </a:extLst>
          </p:cNvPr>
          <p:cNvSpPr>
            <a:spLocks noGrp="1"/>
          </p:cNvSpPr>
          <p:nvPr>
            <p:ph type="body" sz="quarter" idx="15"/>
          </p:nvPr>
        </p:nvSpPr>
        <p:spPr>
          <a:xfrm>
            <a:off x="695325" y="1412875"/>
            <a:ext cx="3365500" cy="450056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0" name="Text Placeholder 9">
            <a:extLst>
              <a:ext uri="{FF2B5EF4-FFF2-40B4-BE49-F238E27FC236}">
                <a16:creationId xmlns:a16="http://schemas.microsoft.com/office/drawing/2014/main" id="{7FE2512C-21AA-E327-5D03-1A8133AB4EF7}"/>
              </a:ext>
            </a:extLst>
          </p:cNvPr>
          <p:cNvSpPr>
            <a:spLocks noGrp="1"/>
          </p:cNvSpPr>
          <p:nvPr>
            <p:ph type="body" sz="quarter" idx="16"/>
          </p:nvPr>
        </p:nvSpPr>
        <p:spPr>
          <a:xfrm>
            <a:off x="4447062" y="1419699"/>
            <a:ext cx="3305175" cy="450056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2" name="Text Placeholder 11">
            <a:extLst>
              <a:ext uri="{FF2B5EF4-FFF2-40B4-BE49-F238E27FC236}">
                <a16:creationId xmlns:a16="http://schemas.microsoft.com/office/drawing/2014/main" id="{6FE08F91-3F0D-F589-D0B0-A13BABD2C709}"/>
              </a:ext>
            </a:extLst>
          </p:cNvPr>
          <p:cNvSpPr>
            <a:spLocks noGrp="1"/>
          </p:cNvSpPr>
          <p:nvPr>
            <p:ph type="body" sz="quarter" idx="17"/>
          </p:nvPr>
        </p:nvSpPr>
        <p:spPr>
          <a:xfrm>
            <a:off x="8184000" y="1419698"/>
            <a:ext cx="3312000" cy="450056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Text Placeholder 3">
            <a:extLst>
              <a:ext uri="{FF2B5EF4-FFF2-40B4-BE49-F238E27FC236}">
                <a16:creationId xmlns:a16="http://schemas.microsoft.com/office/drawing/2014/main" id="{4A58DCCE-751B-B938-3B67-49ABF3AFEC84}"/>
              </a:ext>
            </a:extLst>
          </p:cNvPr>
          <p:cNvSpPr>
            <a:spLocks noGrp="1"/>
          </p:cNvSpPr>
          <p:nvPr>
            <p:ph type="body" sz="quarter" idx="14" hasCustomPrompt="1"/>
          </p:nvPr>
        </p:nvSpPr>
        <p:spPr>
          <a:xfrm>
            <a:off x="701675" y="6281998"/>
            <a:ext cx="10795000" cy="576002"/>
          </a:xfrm>
        </p:spPr>
        <p:txBody>
          <a:bodyPr anchor="ctr"/>
          <a:lstStyle>
            <a:lvl1pPr marL="0" indent="0">
              <a:buNone/>
              <a:defRPr sz="1000">
                <a:solidFill>
                  <a:schemeClr val="tx1">
                    <a:lumMod val="50000"/>
                    <a:lumOff val="50000"/>
                  </a:schemeClr>
                </a:solidFill>
              </a:defRPr>
            </a:lvl1pPr>
            <a:lvl5pPr marL="864000" indent="0">
              <a:buNone/>
              <a:defRPr/>
            </a:lvl5pPr>
          </a:lstStyle>
          <a:p>
            <a:pPr lvl="0"/>
            <a:r>
              <a:rPr lang="en-GB" sz="1000" dirty="0"/>
              <a:t>Note: </a:t>
            </a:r>
            <a:endParaRPr lang="en-GB" dirty="0"/>
          </a:p>
        </p:txBody>
      </p:sp>
    </p:spTree>
    <p:extLst>
      <p:ext uri="{BB962C8B-B14F-4D97-AF65-F5344CB8AC3E}">
        <p14:creationId xmlns:p14="http://schemas.microsoft.com/office/powerpoint/2010/main" val="3915404809"/>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ontent 4">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Slide title</a:t>
            </a:r>
            <a:endParaRPr lang="en-US" dirty="0"/>
          </a:p>
        </p:txBody>
      </p:sp>
      <p:sp>
        <p:nvSpPr>
          <p:cNvPr id="7" name="Slide Number Placeholder 6"/>
          <p:cNvSpPr>
            <a:spLocks noGrp="1"/>
          </p:cNvSpPr>
          <p:nvPr>
            <p:ph type="sldNum" sz="quarter" idx="12"/>
          </p:nvPr>
        </p:nvSpPr>
        <p:spPr/>
        <p:txBody>
          <a:bodyPr/>
          <a:lstStyle/>
          <a:p>
            <a:fld id="{68E16D21-2873-7F4D-BC1C-4DCC7B7156B8}" type="slidenum">
              <a:rPr lang="en-SI" smtClean="0"/>
              <a:t>‹#›</a:t>
            </a:fld>
            <a:endParaRPr lang="en-SI"/>
          </a:p>
        </p:txBody>
      </p:sp>
      <p:sp>
        <p:nvSpPr>
          <p:cNvPr id="9" name="Text Placeholder 8">
            <a:extLst>
              <a:ext uri="{FF2B5EF4-FFF2-40B4-BE49-F238E27FC236}">
                <a16:creationId xmlns:a16="http://schemas.microsoft.com/office/drawing/2014/main" id="{7ABD817F-10FF-7F40-06F2-230C128282CA}"/>
              </a:ext>
            </a:extLst>
          </p:cNvPr>
          <p:cNvSpPr>
            <a:spLocks noGrp="1"/>
          </p:cNvSpPr>
          <p:nvPr>
            <p:ph type="body" sz="quarter" idx="15"/>
          </p:nvPr>
        </p:nvSpPr>
        <p:spPr>
          <a:xfrm>
            <a:off x="702149" y="1419698"/>
            <a:ext cx="3365500" cy="449897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1" name="Text Placeholder 10">
            <a:extLst>
              <a:ext uri="{FF2B5EF4-FFF2-40B4-BE49-F238E27FC236}">
                <a16:creationId xmlns:a16="http://schemas.microsoft.com/office/drawing/2014/main" id="{3E635199-6F05-644F-3150-FD4678CFF3C8}"/>
              </a:ext>
            </a:extLst>
          </p:cNvPr>
          <p:cNvSpPr>
            <a:spLocks noGrp="1"/>
          </p:cNvSpPr>
          <p:nvPr>
            <p:ph type="body" sz="quarter" idx="16"/>
          </p:nvPr>
        </p:nvSpPr>
        <p:spPr>
          <a:xfrm>
            <a:off x="4447062" y="1419699"/>
            <a:ext cx="7056437" cy="450056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Text Placeholder 3">
            <a:extLst>
              <a:ext uri="{FF2B5EF4-FFF2-40B4-BE49-F238E27FC236}">
                <a16:creationId xmlns:a16="http://schemas.microsoft.com/office/drawing/2014/main" id="{8E52891B-56CE-F625-1329-1183C5116576}"/>
              </a:ext>
            </a:extLst>
          </p:cNvPr>
          <p:cNvSpPr>
            <a:spLocks noGrp="1"/>
          </p:cNvSpPr>
          <p:nvPr>
            <p:ph type="body" sz="quarter" idx="14" hasCustomPrompt="1"/>
          </p:nvPr>
        </p:nvSpPr>
        <p:spPr>
          <a:xfrm>
            <a:off x="701675" y="6281998"/>
            <a:ext cx="10795000" cy="576002"/>
          </a:xfrm>
        </p:spPr>
        <p:txBody>
          <a:bodyPr anchor="ctr"/>
          <a:lstStyle>
            <a:lvl1pPr marL="0" indent="0">
              <a:buNone/>
              <a:defRPr sz="1000">
                <a:solidFill>
                  <a:schemeClr val="tx1">
                    <a:lumMod val="50000"/>
                    <a:lumOff val="50000"/>
                  </a:schemeClr>
                </a:solidFill>
              </a:defRPr>
            </a:lvl1pPr>
            <a:lvl5pPr marL="864000" indent="0">
              <a:buNone/>
              <a:defRPr/>
            </a:lvl5pPr>
          </a:lstStyle>
          <a:p>
            <a:pPr lvl="0"/>
            <a:r>
              <a:rPr lang="en-GB" sz="1000" dirty="0"/>
              <a:t>Note: </a:t>
            </a:r>
            <a:endParaRPr lang="en-GB" dirty="0"/>
          </a:p>
        </p:txBody>
      </p:sp>
    </p:spTree>
    <p:extLst>
      <p:ext uri="{BB962C8B-B14F-4D97-AF65-F5344CB8AC3E}">
        <p14:creationId xmlns:p14="http://schemas.microsoft.com/office/powerpoint/2010/main" val="1610875415"/>
      </p:ext>
    </p:extLst>
  </p:cSld>
  <p:clrMapOvr>
    <a:masterClrMapping/>
  </p:clrMapOvr>
  <p:extLst>
    <p:ext uri="{DCECCB84-F9BA-43D5-87BE-67443E8EF086}">
      <p15:sldGuideLst xmlns:p15="http://schemas.microsoft.com/office/powerpoint/2012/main">
        <p15:guide id="2" pos="438">
          <p15:clr>
            <a:srgbClr val="FBAE40"/>
          </p15:clr>
        </p15:guide>
        <p15:guide id="3" pos="7242">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ontent 5">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Slide title</a:t>
            </a:r>
            <a:endParaRPr lang="en-US" dirty="0"/>
          </a:p>
        </p:txBody>
      </p:sp>
      <p:sp>
        <p:nvSpPr>
          <p:cNvPr id="7" name="Slide Number Placeholder 6"/>
          <p:cNvSpPr>
            <a:spLocks noGrp="1"/>
          </p:cNvSpPr>
          <p:nvPr>
            <p:ph type="sldNum" sz="quarter" idx="12"/>
          </p:nvPr>
        </p:nvSpPr>
        <p:spPr/>
        <p:txBody>
          <a:bodyPr/>
          <a:lstStyle/>
          <a:p>
            <a:fld id="{68E16D21-2873-7F4D-BC1C-4DCC7B7156B8}" type="slidenum">
              <a:rPr lang="en-SI" smtClean="0"/>
              <a:t>‹#›</a:t>
            </a:fld>
            <a:endParaRPr lang="en-SI"/>
          </a:p>
        </p:txBody>
      </p:sp>
      <p:sp>
        <p:nvSpPr>
          <p:cNvPr id="9" name="Text Placeholder 8">
            <a:extLst>
              <a:ext uri="{FF2B5EF4-FFF2-40B4-BE49-F238E27FC236}">
                <a16:creationId xmlns:a16="http://schemas.microsoft.com/office/drawing/2014/main" id="{7ABD817F-10FF-7F40-06F2-230C128282CA}"/>
              </a:ext>
            </a:extLst>
          </p:cNvPr>
          <p:cNvSpPr>
            <a:spLocks noGrp="1"/>
          </p:cNvSpPr>
          <p:nvPr>
            <p:ph type="body" sz="quarter" idx="15"/>
          </p:nvPr>
        </p:nvSpPr>
        <p:spPr>
          <a:xfrm>
            <a:off x="8131649" y="1424687"/>
            <a:ext cx="3365500" cy="449897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Text Placeholder 10">
            <a:extLst>
              <a:ext uri="{FF2B5EF4-FFF2-40B4-BE49-F238E27FC236}">
                <a16:creationId xmlns:a16="http://schemas.microsoft.com/office/drawing/2014/main" id="{3E635199-6F05-644F-3150-FD4678CFF3C8}"/>
              </a:ext>
            </a:extLst>
          </p:cNvPr>
          <p:cNvSpPr>
            <a:spLocks noGrp="1"/>
          </p:cNvSpPr>
          <p:nvPr>
            <p:ph type="body" sz="quarter" idx="16"/>
          </p:nvPr>
        </p:nvSpPr>
        <p:spPr>
          <a:xfrm>
            <a:off x="701675" y="1419699"/>
            <a:ext cx="7056437" cy="450056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Text Placeholder 3">
            <a:extLst>
              <a:ext uri="{FF2B5EF4-FFF2-40B4-BE49-F238E27FC236}">
                <a16:creationId xmlns:a16="http://schemas.microsoft.com/office/drawing/2014/main" id="{8E52891B-56CE-F625-1329-1183C5116576}"/>
              </a:ext>
            </a:extLst>
          </p:cNvPr>
          <p:cNvSpPr>
            <a:spLocks noGrp="1"/>
          </p:cNvSpPr>
          <p:nvPr>
            <p:ph type="body" sz="quarter" idx="14" hasCustomPrompt="1"/>
          </p:nvPr>
        </p:nvSpPr>
        <p:spPr>
          <a:xfrm>
            <a:off x="701675" y="6281998"/>
            <a:ext cx="10795000" cy="576002"/>
          </a:xfrm>
        </p:spPr>
        <p:txBody>
          <a:bodyPr anchor="ctr"/>
          <a:lstStyle>
            <a:lvl1pPr marL="0" indent="0">
              <a:buNone/>
              <a:defRPr sz="1000">
                <a:solidFill>
                  <a:schemeClr val="tx1">
                    <a:lumMod val="50000"/>
                    <a:lumOff val="50000"/>
                  </a:schemeClr>
                </a:solidFill>
              </a:defRPr>
            </a:lvl1pPr>
            <a:lvl5pPr marL="864000" indent="0">
              <a:buNone/>
              <a:defRPr/>
            </a:lvl5pPr>
          </a:lstStyle>
          <a:p>
            <a:pPr lvl="0"/>
            <a:r>
              <a:rPr lang="en-GB" sz="1000" dirty="0"/>
              <a:t>Note: </a:t>
            </a:r>
            <a:endParaRPr lang="en-GB" dirty="0"/>
          </a:p>
        </p:txBody>
      </p:sp>
    </p:spTree>
    <p:extLst>
      <p:ext uri="{BB962C8B-B14F-4D97-AF65-F5344CB8AC3E}">
        <p14:creationId xmlns:p14="http://schemas.microsoft.com/office/powerpoint/2010/main" val="1510152377"/>
      </p:ext>
    </p:extLst>
  </p:cSld>
  <p:clrMapOvr>
    <a:masterClrMapping/>
  </p:clrMapOvr>
  <p:extLst>
    <p:ext uri="{DCECCB84-F9BA-43D5-87BE-67443E8EF086}">
      <p15:sldGuideLst xmlns:p15="http://schemas.microsoft.com/office/powerpoint/2012/main">
        <p15:guide id="2" pos="438">
          <p15:clr>
            <a:srgbClr val="FBAE40"/>
          </p15:clr>
        </p15:guide>
        <p15:guide id="3" pos="7242">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End Slide ACER Vacancie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CEC7484-A3E3-C74A-BC15-3E18069ACD90}"/>
              </a:ext>
            </a:extLst>
          </p:cNvPr>
          <p:cNvSpPr/>
          <p:nvPr/>
        </p:nvSpPr>
        <p:spPr>
          <a:xfrm>
            <a:off x="-9524" y="0"/>
            <a:ext cx="12201524" cy="5362575"/>
          </a:xfrm>
          <a:prstGeom prst="rect">
            <a:avLst/>
          </a:prstGeom>
          <a:solidFill>
            <a:srgbClr val="3678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I" dirty="0">
              <a:latin typeface="Arial" panose="020B0604020202020204" pitchFamily="34" charset="0"/>
              <a:cs typeface="Arial" panose="020B0604020202020204" pitchFamily="34" charset="0"/>
            </a:endParaRPr>
          </a:p>
        </p:txBody>
      </p:sp>
      <p:pic>
        <p:nvPicPr>
          <p:cNvPr id="23" name="Picture 22" descr="A bright light in the dark&#10;&#10;Description automatically generated">
            <a:extLst>
              <a:ext uri="{FF2B5EF4-FFF2-40B4-BE49-F238E27FC236}">
                <a16:creationId xmlns:a16="http://schemas.microsoft.com/office/drawing/2014/main" id="{69271CE8-BA44-0305-7390-F6BFE747AE8E}"/>
              </a:ext>
            </a:extLst>
          </p:cNvPr>
          <p:cNvPicPr>
            <a:picLocks noChangeAspect="1"/>
          </p:cNvPicPr>
          <p:nvPr userDrawn="1"/>
        </p:nvPicPr>
        <p:blipFill rotWithShape="1">
          <a:blip r:embed="rId2"/>
          <a:srcRect r="34106" b="19048"/>
          <a:stretch/>
        </p:blipFill>
        <p:spPr>
          <a:xfrm>
            <a:off x="6358727" y="118270"/>
            <a:ext cx="5833270" cy="4580729"/>
          </a:xfrm>
          <a:prstGeom prst="rect">
            <a:avLst/>
          </a:prstGeom>
        </p:spPr>
      </p:pic>
      <p:sp>
        <p:nvSpPr>
          <p:cNvPr id="2" name="Title 1"/>
          <p:cNvSpPr>
            <a:spLocks noGrp="1"/>
          </p:cNvSpPr>
          <p:nvPr>
            <p:ph type="title" hasCustomPrompt="1"/>
          </p:nvPr>
        </p:nvSpPr>
        <p:spPr>
          <a:xfrm>
            <a:off x="696000" y="1057274"/>
            <a:ext cx="10800000" cy="3094314"/>
          </a:xfrm>
        </p:spPr>
        <p:txBody>
          <a:bodyPr anchor="ctr">
            <a:normAutofit/>
          </a:bodyPr>
          <a:lstStyle>
            <a:lvl1pPr algn="l">
              <a:defRPr sz="6000">
                <a:solidFill>
                  <a:schemeClr val="bg1"/>
                </a:solidFill>
              </a:defRPr>
            </a:lvl1pPr>
          </a:lstStyle>
          <a:p>
            <a:r>
              <a:rPr lang="en-GB" dirty="0"/>
              <a:t>Thank you.</a:t>
            </a:r>
            <a:br>
              <a:rPr lang="en-GB" dirty="0"/>
            </a:br>
            <a:r>
              <a:rPr lang="en-GB" dirty="0"/>
              <a:t>Any questions?</a:t>
            </a:r>
            <a:endParaRPr lang="en-US" dirty="0"/>
          </a:p>
        </p:txBody>
      </p:sp>
      <p:sp>
        <p:nvSpPr>
          <p:cNvPr id="9" name="Rectangle 8">
            <a:extLst>
              <a:ext uri="{FF2B5EF4-FFF2-40B4-BE49-F238E27FC236}">
                <a16:creationId xmlns:a16="http://schemas.microsoft.com/office/drawing/2014/main" id="{48F1D9E9-0C93-624B-9861-30471BCD6B8F}"/>
              </a:ext>
            </a:extLst>
          </p:cNvPr>
          <p:cNvSpPr/>
          <p:nvPr userDrawn="1"/>
        </p:nvSpPr>
        <p:spPr>
          <a:xfrm>
            <a:off x="-9524" y="4698000"/>
            <a:ext cx="12200400" cy="216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I" dirty="0">
              <a:latin typeface="Arial" panose="020B0604020202020204" pitchFamily="34" charset="0"/>
              <a:cs typeface="Arial" panose="020B0604020202020204" pitchFamily="34" charset="0"/>
            </a:endParaRPr>
          </a:p>
        </p:txBody>
      </p:sp>
      <p:pic>
        <p:nvPicPr>
          <p:cNvPr id="10" name="Picture 9" descr="A picture containing graphical user interface&#10;&#10;Description automatically generated">
            <a:extLst>
              <a:ext uri="{FF2B5EF4-FFF2-40B4-BE49-F238E27FC236}">
                <a16:creationId xmlns:a16="http://schemas.microsoft.com/office/drawing/2014/main" id="{EA9C4BA8-0AF4-D648-AE98-33A2D2A473CF}"/>
              </a:ext>
            </a:extLst>
          </p:cNvPr>
          <p:cNvPicPr>
            <a:picLocks noChangeAspect="1"/>
          </p:cNvPicPr>
          <p:nvPr/>
        </p:nvPicPr>
        <p:blipFill>
          <a:blip r:embed="rId3"/>
          <a:stretch>
            <a:fillRect/>
          </a:stretch>
        </p:blipFill>
        <p:spPr>
          <a:xfrm>
            <a:off x="0" y="4698000"/>
            <a:ext cx="4411916" cy="2160000"/>
          </a:xfrm>
          <a:prstGeom prst="rect">
            <a:avLst/>
          </a:prstGeom>
        </p:spPr>
      </p:pic>
      <p:cxnSp>
        <p:nvCxnSpPr>
          <p:cNvPr id="5" name="Straight Connector 4">
            <a:extLst>
              <a:ext uri="{FF2B5EF4-FFF2-40B4-BE49-F238E27FC236}">
                <a16:creationId xmlns:a16="http://schemas.microsoft.com/office/drawing/2014/main" id="{7B12CBEB-0DAC-8F4B-9A0A-2BFD123ED617}"/>
              </a:ext>
            </a:extLst>
          </p:cNvPr>
          <p:cNvCxnSpPr/>
          <p:nvPr/>
        </p:nvCxnSpPr>
        <p:spPr>
          <a:xfrm>
            <a:off x="4411916" y="5219700"/>
            <a:ext cx="0" cy="110308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EC4F1F8D-6A04-F7BD-FB1E-02CD5F52A6E0}"/>
              </a:ext>
            </a:extLst>
          </p:cNvPr>
          <p:cNvSpPr txBox="1">
            <a:spLocks/>
          </p:cNvSpPr>
          <p:nvPr userDrawn="1"/>
        </p:nvSpPr>
        <p:spPr>
          <a:xfrm>
            <a:off x="9019848" y="5800726"/>
            <a:ext cx="2747156" cy="522056"/>
          </a:xfrm>
          <a:prstGeom prst="rect">
            <a:avLst/>
          </a:prstGeom>
        </p:spPr>
        <p:txBody>
          <a:bodyPr vert="horz" lIns="0" tIns="0" rIns="0" bIns="0" rtlCol="0" anchor="b">
            <a:normAutofit/>
          </a:bodyPr>
          <a:lstStyle>
            <a:lvl1pPr algn="l" defTabSz="914400" rtl="0" eaLnBrk="1" latinLnBrk="0" hangingPunct="1">
              <a:lnSpc>
                <a:spcPct val="90000"/>
              </a:lnSpc>
              <a:spcBef>
                <a:spcPct val="0"/>
              </a:spcBef>
              <a:buNone/>
              <a:defRPr sz="4500" b="0" i="0" kern="1200" spc="-150">
                <a:solidFill>
                  <a:schemeClr val="tx1"/>
                </a:solidFill>
                <a:latin typeface="Inter" panose="020B0502030000000004" pitchFamily="34" charset="0"/>
                <a:ea typeface="Inter" panose="020B0502030000000004" pitchFamily="34" charset="0"/>
                <a:cs typeface="Inter" panose="020B0502030000000004" pitchFamily="34" charset="0"/>
              </a:defRPr>
            </a:lvl1pPr>
          </a:lstStyle>
          <a:p>
            <a:pPr>
              <a:lnSpc>
                <a:spcPts val="1800"/>
              </a:lnSpc>
            </a:pPr>
            <a:r>
              <a:rPr lang="en-GB" sz="1300" spc="0" dirty="0">
                <a:latin typeface="Arial" panose="020B0604020202020204" pitchFamily="34" charset="0"/>
                <a:ea typeface="Inter" panose="020B0502030000000004" pitchFamily="34" charset="0"/>
                <a:cs typeface="Arial" panose="020B0604020202020204" pitchFamily="34" charset="0"/>
              </a:rPr>
              <a:t>@eu-acer.bsky.social‬</a:t>
            </a:r>
          </a:p>
          <a:p>
            <a:pPr>
              <a:lnSpc>
                <a:spcPts val="1800"/>
              </a:lnSpc>
            </a:pPr>
            <a:r>
              <a:rPr lang="en-GB" sz="1300" spc="0" dirty="0">
                <a:latin typeface="Arial" panose="020B0604020202020204" pitchFamily="34" charset="0"/>
                <a:ea typeface="Inter" panose="020B0502030000000004" pitchFamily="34" charset="0"/>
                <a:cs typeface="Arial" panose="020B0604020202020204" pitchFamily="34" charset="0"/>
              </a:rPr>
              <a:t>linkedin.com/company/</a:t>
            </a:r>
            <a:r>
              <a:rPr lang="sl-SI" sz="1300" spc="0" dirty="0">
                <a:latin typeface="Arial" panose="020B0604020202020204" pitchFamily="34" charset="0"/>
                <a:ea typeface="Inter" panose="020B0502030000000004" pitchFamily="34" charset="0"/>
                <a:cs typeface="Arial" panose="020B0604020202020204" pitchFamily="34" charset="0"/>
              </a:rPr>
              <a:t>eu</a:t>
            </a:r>
            <a:r>
              <a:rPr lang="en-GB" sz="1300" spc="0" dirty="0">
                <a:latin typeface="Arial" panose="020B0604020202020204" pitchFamily="34" charset="0"/>
                <a:ea typeface="Inter" panose="020B0502030000000004" pitchFamily="34" charset="0"/>
                <a:cs typeface="Arial" panose="020B0604020202020204" pitchFamily="34" charset="0"/>
              </a:rPr>
              <a:t>-</a:t>
            </a:r>
            <a:r>
              <a:rPr lang="sl-SI" sz="1300" spc="0" dirty="0">
                <a:latin typeface="Arial" panose="020B0604020202020204" pitchFamily="34" charset="0"/>
                <a:ea typeface="Inter" panose="020B0502030000000004" pitchFamily="34" charset="0"/>
                <a:cs typeface="Arial" panose="020B0604020202020204" pitchFamily="34" charset="0"/>
              </a:rPr>
              <a:t>acer</a:t>
            </a:r>
            <a:endParaRPr lang="en-GB" sz="1300" spc="0" dirty="0">
              <a:latin typeface="Arial" panose="020B0604020202020204" pitchFamily="34" charset="0"/>
              <a:ea typeface="Inter" panose="020B0502030000000004" pitchFamily="34" charset="0"/>
              <a:cs typeface="Arial" panose="020B0604020202020204" pitchFamily="34" charset="0"/>
            </a:endParaRPr>
          </a:p>
        </p:txBody>
      </p:sp>
      <p:grpSp>
        <p:nvGrpSpPr>
          <p:cNvPr id="7" name="Group 6">
            <a:extLst>
              <a:ext uri="{FF2B5EF4-FFF2-40B4-BE49-F238E27FC236}">
                <a16:creationId xmlns:a16="http://schemas.microsoft.com/office/drawing/2014/main" id="{3B1C5CD0-60DE-4903-A668-5BDD545C7A18}"/>
              </a:ext>
            </a:extLst>
          </p:cNvPr>
          <p:cNvGrpSpPr/>
          <p:nvPr userDrawn="1"/>
        </p:nvGrpSpPr>
        <p:grpSpPr>
          <a:xfrm>
            <a:off x="5993437" y="5800726"/>
            <a:ext cx="2563387" cy="529025"/>
            <a:chOff x="6806479" y="5800726"/>
            <a:chExt cx="2563387" cy="529025"/>
          </a:xfrm>
        </p:grpSpPr>
        <p:sp>
          <p:nvSpPr>
            <p:cNvPr id="11" name="Title 1">
              <a:extLst>
                <a:ext uri="{FF2B5EF4-FFF2-40B4-BE49-F238E27FC236}">
                  <a16:creationId xmlns:a16="http://schemas.microsoft.com/office/drawing/2014/main" id="{AB1F54ED-67EF-C16A-BE17-DB8FC07C4E5B}"/>
                </a:ext>
              </a:extLst>
            </p:cNvPr>
            <p:cNvSpPr txBox="1">
              <a:spLocks/>
            </p:cNvSpPr>
            <p:nvPr userDrawn="1"/>
          </p:nvSpPr>
          <p:spPr>
            <a:xfrm>
              <a:off x="7062279" y="5800726"/>
              <a:ext cx="2307587" cy="522056"/>
            </a:xfrm>
            <a:prstGeom prst="rect">
              <a:avLst/>
            </a:prstGeom>
          </p:spPr>
          <p:txBody>
            <a:bodyPr vert="horz" lIns="0" tIns="0" rIns="0" bIns="0" rtlCol="0" anchor="b">
              <a:normAutofit/>
            </a:bodyPr>
            <a:lstStyle>
              <a:lvl1pPr algn="l" defTabSz="914400" rtl="0" eaLnBrk="1" latinLnBrk="0" hangingPunct="1">
                <a:lnSpc>
                  <a:spcPct val="90000"/>
                </a:lnSpc>
                <a:spcBef>
                  <a:spcPct val="0"/>
                </a:spcBef>
                <a:buNone/>
                <a:defRPr sz="4500" b="0" i="0" kern="1200" spc="-150">
                  <a:solidFill>
                    <a:schemeClr val="tx1"/>
                  </a:solidFill>
                  <a:latin typeface="Inter" panose="020B0502030000000004" pitchFamily="34" charset="0"/>
                  <a:ea typeface="Inter" panose="020B0502030000000004" pitchFamily="34" charset="0"/>
                  <a:cs typeface="Inter" panose="020B0502030000000004" pitchFamily="34" charset="0"/>
                </a:defRPr>
              </a:lvl1pPr>
            </a:lstStyle>
            <a:p>
              <a:pPr>
                <a:lnSpc>
                  <a:spcPts val="1800"/>
                </a:lnSpc>
              </a:pPr>
              <a:r>
                <a:rPr lang="en-GB" sz="1300" u="none" spc="0" dirty="0" err="1">
                  <a:latin typeface="Arial" panose="020B0604020202020204" pitchFamily="34" charset="0"/>
                  <a:ea typeface="Inter" panose="020B0502030000000004" pitchFamily="34" charset="0"/>
                  <a:cs typeface="Arial" panose="020B0604020202020204" pitchFamily="34" charset="0"/>
                </a:rPr>
                <a:t>info@acer.europa.eu</a:t>
              </a:r>
              <a:endParaRPr lang="en-GB" sz="1300" u="none" spc="0" dirty="0">
                <a:latin typeface="Arial" panose="020B0604020202020204" pitchFamily="34" charset="0"/>
                <a:ea typeface="Inter" panose="020B0502030000000004" pitchFamily="34" charset="0"/>
                <a:cs typeface="Arial" panose="020B0604020202020204" pitchFamily="34" charset="0"/>
              </a:endParaRPr>
            </a:p>
            <a:p>
              <a:pPr>
                <a:lnSpc>
                  <a:spcPts val="1800"/>
                </a:lnSpc>
              </a:pPr>
              <a:r>
                <a:rPr lang="en-GB" sz="1300" spc="0" dirty="0">
                  <a:latin typeface="Arial" panose="020B0604020202020204" pitchFamily="34" charset="0"/>
                  <a:ea typeface="Inter" panose="020B0502030000000004" pitchFamily="34" charset="0"/>
                  <a:cs typeface="Arial" panose="020B0604020202020204" pitchFamily="34" charset="0"/>
                </a:rPr>
                <a:t>acer.europa.eu</a:t>
              </a:r>
              <a:endParaRPr lang="en-SI" sz="1300" spc="0" dirty="0">
                <a:latin typeface="Arial" panose="020B0604020202020204" pitchFamily="34" charset="0"/>
                <a:ea typeface="Inter" panose="020B0502030000000004" pitchFamily="34" charset="0"/>
                <a:cs typeface="Arial" panose="020B0604020202020204" pitchFamily="34" charset="0"/>
              </a:endParaRPr>
            </a:p>
          </p:txBody>
        </p:sp>
        <p:pic>
          <p:nvPicPr>
            <p:cNvPr id="12" name="Picture 11">
              <a:extLst>
                <a:ext uri="{FF2B5EF4-FFF2-40B4-BE49-F238E27FC236}">
                  <a16:creationId xmlns:a16="http://schemas.microsoft.com/office/drawing/2014/main" id="{A8816656-D67F-45E6-4ED8-BB5CA6701B34}"/>
                </a:ext>
              </a:extLst>
            </p:cNvPr>
            <p:cNvPicPr>
              <a:picLocks noChangeAspect="1"/>
            </p:cNvPicPr>
            <p:nvPr userDrawn="1"/>
          </p:nvPicPr>
          <p:blipFill>
            <a:blip r:embed="rId4"/>
            <a:stretch>
              <a:fillRect/>
            </a:stretch>
          </p:blipFill>
          <p:spPr>
            <a:xfrm>
              <a:off x="6808398" y="5925525"/>
              <a:ext cx="180000" cy="180000"/>
            </a:xfrm>
            <a:prstGeom prst="rect">
              <a:avLst/>
            </a:prstGeom>
          </p:spPr>
        </p:pic>
        <p:pic>
          <p:nvPicPr>
            <p:cNvPr id="13" name="Picture 12">
              <a:extLst>
                <a:ext uri="{FF2B5EF4-FFF2-40B4-BE49-F238E27FC236}">
                  <a16:creationId xmlns:a16="http://schemas.microsoft.com/office/drawing/2014/main" id="{BD1B88CA-E5E0-282A-8F07-9F75DEAC527D}"/>
                </a:ext>
              </a:extLst>
            </p:cNvPr>
            <p:cNvPicPr>
              <a:picLocks noChangeAspect="1"/>
            </p:cNvPicPr>
            <p:nvPr userDrawn="1"/>
          </p:nvPicPr>
          <p:blipFill>
            <a:blip r:embed="rId5"/>
            <a:stretch>
              <a:fillRect/>
            </a:stretch>
          </p:blipFill>
          <p:spPr>
            <a:xfrm>
              <a:off x="6806479" y="6149751"/>
              <a:ext cx="180000" cy="180000"/>
            </a:xfrm>
            <a:prstGeom prst="rect">
              <a:avLst/>
            </a:prstGeom>
          </p:spPr>
        </p:pic>
      </p:grpSp>
      <p:sp>
        <p:nvSpPr>
          <p:cNvPr id="18" name="Rectangle 17">
            <a:hlinkClick r:id="rId6"/>
            <a:extLst>
              <a:ext uri="{FF2B5EF4-FFF2-40B4-BE49-F238E27FC236}">
                <a16:creationId xmlns:a16="http://schemas.microsoft.com/office/drawing/2014/main" id="{828AE29B-B177-153A-29B9-33BF40CB0789}"/>
              </a:ext>
            </a:extLst>
          </p:cNvPr>
          <p:cNvSpPr/>
          <p:nvPr userDrawn="1"/>
        </p:nvSpPr>
        <p:spPr>
          <a:xfrm>
            <a:off x="5959475" y="5925525"/>
            <a:ext cx="1892299" cy="16567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9" name="Rectangle 18">
            <a:hlinkClick r:id="rId7"/>
            <a:extLst>
              <a:ext uri="{FF2B5EF4-FFF2-40B4-BE49-F238E27FC236}">
                <a16:creationId xmlns:a16="http://schemas.microsoft.com/office/drawing/2014/main" id="{19F1626E-8FCA-4B04-ABBA-5FFDEF995347}"/>
              </a:ext>
            </a:extLst>
          </p:cNvPr>
          <p:cNvSpPr/>
          <p:nvPr userDrawn="1"/>
        </p:nvSpPr>
        <p:spPr>
          <a:xfrm>
            <a:off x="5998440" y="6157110"/>
            <a:ext cx="1383436" cy="16567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0" name="Picture 19" descr="Icon&#10;&#10;Description automatically generated">
            <a:extLst>
              <a:ext uri="{FF2B5EF4-FFF2-40B4-BE49-F238E27FC236}">
                <a16:creationId xmlns:a16="http://schemas.microsoft.com/office/drawing/2014/main" id="{0F80A4FF-6690-55FF-FD64-A1AA0FF817AC}"/>
              </a:ext>
            </a:extLst>
          </p:cNvPr>
          <p:cNvPicPr>
            <a:picLocks noChangeAspect="1"/>
          </p:cNvPicPr>
          <p:nvPr userDrawn="1"/>
        </p:nvPicPr>
        <p:blipFill rotWithShape="1">
          <a:blip r:embed="rId8"/>
          <a:srcRect r="12743"/>
          <a:stretch/>
        </p:blipFill>
        <p:spPr>
          <a:xfrm>
            <a:off x="8781798" y="6144981"/>
            <a:ext cx="181555" cy="175836"/>
          </a:xfrm>
          <a:prstGeom prst="rect">
            <a:avLst/>
          </a:prstGeom>
        </p:spPr>
      </p:pic>
      <p:pic>
        <p:nvPicPr>
          <p:cNvPr id="27" name="Picture 26" descr="A blue butterfly on a black background&#10;&#10;AI-generated content may be incorrect.">
            <a:extLst>
              <a:ext uri="{FF2B5EF4-FFF2-40B4-BE49-F238E27FC236}">
                <a16:creationId xmlns:a16="http://schemas.microsoft.com/office/drawing/2014/main" id="{A5B5C33B-67F2-70B9-9D7D-A1E84BF037B1}"/>
              </a:ext>
            </a:extLst>
          </p:cNvPr>
          <p:cNvPicPr>
            <a:picLocks noChangeAspect="1"/>
          </p:cNvPicPr>
          <p:nvPr userDrawn="1"/>
        </p:nvPicPr>
        <p:blipFill>
          <a:blip r:embed="rId9"/>
          <a:srcRect l="16150" t="16771" r="15125" b="16972"/>
          <a:stretch>
            <a:fillRect/>
          </a:stretch>
        </p:blipFill>
        <p:spPr>
          <a:xfrm>
            <a:off x="8764587" y="5901044"/>
            <a:ext cx="211137" cy="203554"/>
          </a:xfrm>
          <a:prstGeom prst="rect">
            <a:avLst/>
          </a:prstGeom>
        </p:spPr>
      </p:pic>
      <p:grpSp>
        <p:nvGrpSpPr>
          <p:cNvPr id="3" name="Group 2">
            <a:extLst>
              <a:ext uri="{FF2B5EF4-FFF2-40B4-BE49-F238E27FC236}">
                <a16:creationId xmlns:a16="http://schemas.microsoft.com/office/drawing/2014/main" id="{F80A14BB-2679-F3DD-A36D-44B2E0CB7742}"/>
              </a:ext>
            </a:extLst>
          </p:cNvPr>
          <p:cNvGrpSpPr/>
          <p:nvPr userDrawn="1"/>
        </p:nvGrpSpPr>
        <p:grpSpPr>
          <a:xfrm>
            <a:off x="7965692" y="0"/>
            <a:ext cx="4048125" cy="4129420"/>
            <a:chOff x="7699684" y="-5809"/>
            <a:chExt cx="4048125" cy="4129420"/>
          </a:xfrm>
        </p:grpSpPr>
        <p:grpSp>
          <p:nvGrpSpPr>
            <p:cNvPr id="6" name="Group 5">
              <a:extLst>
                <a:ext uri="{FF2B5EF4-FFF2-40B4-BE49-F238E27FC236}">
                  <a16:creationId xmlns:a16="http://schemas.microsoft.com/office/drawing/2014/main" id="{3A281CAB-D855-05CB-DA50-AD6F60511629}"/>
                </a:ext>
              </a:extLst>
            </p:cNvPr>
            <p:cNvGrpSpPr/>
            <p:nvPr/>
          </p:nvGrpSpPr>
          <p:grpSpPr>
            <a:xfrm>
              <a:off x="8897510" y="0"/>
              <a:ext cx="1887489" cy="3652156"/>
              <a:chOff x="8897510" y="0"/>
              <a:chExt cx="1887489" cy="3652156"/>
            </a:xfrm>
          </p:grpSpPr>
          <p:cxnSp>
            <p:nvCxnSpPr>
              <p:cNvPr id="15" name="Straight Connector 14">
                <a:extLst>
                  <a:ext uri="{FF2B5EF4-FFF2-40B4-BE49-F238E27FC236}">
                    <a16:creationId xmlns:a16="http://schemas.microsoft.com/office/drawing/2014/main" id="{789FA348-F868-163C-0A2E-5EF7BB226904}"/>
                  </a:ext>
                </a:extLst>
              </p:cNvPr>
              <p:cNvCxnSpPr>
                <a:cxnSpLocks/>
              </p:cNvCxnSpPr>
              <p:nvPr/>
            </p:nvCxnSpPr>
            <p:spPr>
              <a:xfrm>
                <a:off x="9828167" y="0"/>
                <a:ext cx="0" cy="2070100"/>
              </a:xfrm>
              <a:prstGeom prst="line">
                <a:avLst/>
              </a:prstGeom>
              <a:ln w="38100">
                <a:solidFill>
                  <a:srgbClr val="969998"/>
                </a:solidFill>
              </a:ln>
            </p:spPr>
            <p:style>
              <a:lnRef idx="1">
                <a:schemeClr val="accent1"/>
              </a:lnRef>
              <a:fillRef idx="0">
                <a:schemeClr val="accent1"/>
              </a:fillRef>
              <a:effectRef idx="0">
                <a:schemeClr val="accent1"/>
              </a:effectRef>
              <a:fontRef idx="minor">
                <a:schemeClr val="tx1"/>
              </a:fontRef>
            </p:style>
          </p:cxnSp>
          <p:pic>
            <p:nvPicPr>
              <p:cNvPr id="17" name="Picture 16" descr="A light bulb with a silver cap&#10;&#10;Description automatically generated">
                <a:extLst>
                  <a:ext uri="{FF2B5EF4-FFF2-40B4-BE49-F238E27FC236}">
                    <a16:creationId xmlns:a16="http://schemas.microsoft.com/office/drawing/2014/main" id="{45CCA183-CA4B-AD2F-140F-73E03B282905}"/>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8897510" y="1017478"/>
                <a:ext cx="1887489" cy="2634678"/>
              </a:xfrm>
              <a:prstGeom prst="rect">
                <a:avLst/>
              </a:prstGeom>
            </p:spPr>
          </p:pic>
          <p:sp>
            <p:nvSpPr>
              <p:cNvPr id="21" name="Rectangle 20">
                <a:extLst>
                  <a:ext uri="{FF2B5EF4-FFF2-40B4-BE49-F238E27FC236}">
                    <a16:creationId xmlns:a16="http://schemas.microsoft.com/office/drawing/2014/main" id="{C0E9D9E5-6F51-9DF3-9D04-215E3B55A4C9}"/>
                  </a:ext>
                </a:extLst>
              </p:cNvPr>
              <p:cNvSpPr/>
              <p:nvPr/>
            </p:nvSpPr>
            <p:spPr>
              <a:xfrm>
                <a:off x="9178096" y="2436336"/>
                <a:ext cx="1307265" cy="923330"/>
              </a:xfrm>
              <a:prstGeom prst="rect">
                <a:avLst/>
              </a:prstGeom>
            </p:spPr>
            <p:txBody>
              <a:bodyPr wrap="square">
                <a:spAutoFit/>
              </a:bodyPr>
              <a:lstStyle/>
              <a:p>
                <a:pPr algn="ctr"/>
                <a:r>
                  <a:rPr lang="sl-SI" sz="1200" b="1" dirty="0">
                    <a:solidFill>
                      <a:srgbClr val="3678BD"/>
                    </a:solidFill>
                  </a:rPr>
                  <a:t>ACER is hiring!</a:t>
                </a:r>
                <a:br>
                  <a:rPr lang="sl-SI" sz="1200" b="1" dirty="0">
                    <a:solidFill>
                      <a:srgbClr val="3678BD"/>
                    </a:solidFill>
                  </a:rPr>
                </a:br>
                <a:br>
                  <a:rPr lang="sl-SI" sz="500" b="1" dirty="0">
                    <a:solidFill>
                      <a:srgbClr val="3678BD"/>
                    </a:solidFill>
                  </a:rPr>
                </a:br>
                <a:r>
                  <a:rPr lang="sl-SI" sz="1200" b="1" dirty="0">
                    <a:solidFill>
                      <a:srgbClr val="3678BD"/>
                    </a:solidFill>
                  </a:rPr>
                  <a:t>Visit our</a:t>
                </a:r>
                <a:br>
                  <a:rPr lang="sl-SI" sz="1200" b="1" dirty="0">
                    <a:solidFill>
                      <a:srgbClr val="3678BD"/>
                    </a:solidFill>
                  </a:rPr>
                </a:br>
                <a:r>
                  <a:rPr lang="sl-SI" sz="1200" b="1" dirty="0">
                    <a:solidFill>
                      <a:srgbClr val="3678BD"/>
                    </a:solidFill>
                  </a:rPr>
                  <a:t>vacancies page.</a:t>
                </a:r>
                <a:endParaRPr lang="en-GB" sz="1200" b="1" dirty="0">
                  <a:solidFill>
                    <a:srgbClr val="3678BD"/>
                  </a:solidFill>
                </a:endParaRPr>
              </a:p>
            </p:txBody>
          </p:sp>
        </p:grpSp>
        <p:sp>
          <p:nvSpPr>
            <p:cNvPr id="14" name="Rectangle 13">
              <a:hlinkClick r:id="rId11"/>
              <a:extLst>
                <a:ext uri="{FF2B5EF4-FFF2-40B4-BE49-F238E27FC236}">
                  <a16:creationId xmlns:a16="http://schemas.microsoft.com/office/drawing/2014/main" id="{5A6A5C22-78B5-4619-73E4-C4E79512D34A}"/>
                </a:ext>
              </a:extLst>
            </p:cNvPr>
            <p:cNvSpPr/>
            <p:nvPr/>
          </p:nvSpPr>
          <p:spPr>
            <a:xfrm>
              <a:off x="7699684" y="-5809"/>
              <a:ext cx="4048125" cy="41294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noFill/>
              </a:endParaRPr>
            </a:p>
          </p:txBody>
        </p:sp>
      </p:grpSp>
      <p:sp>
        <p:nvSpPr>
          <p:cNvPr id="25" name="Rectangle 24">
            <a:hlinkClick r:id="rId11"/>
            <a:extLst>
              <a:ext uri="{FF2B5EF4-FFF2-40B4-BE49-F238E27FC236}">
                <a16:creationId xmlns:a16="http://schemas.microsoft.com/office/drawing/2014/main" id="{6EB01A4E-1E75-F066-F01C-3348107FABC3}"/>
              </a:ext>
            </a:extLst>
          </p:cNvPr>
          <p:cNvSpPr/>
          <p:nvPr userDrawn="1"/>
        </p:nvSpPr>
        <p:spPr>
          <a:xfrm>
            <a:off x="7957390" y="-1953"/>
            <a:ext cx="4216400" cy="470262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noFill/>
            </a:endParaRPr>
          </a:p>
        </p:txBody>
      </p:sp>
    </p:spTree>
    <p:extLst>
      <p:ext uri="{BB962C8B-B14F-4D97-AF65-F5344CB8AC3E}">
        <p14:creationId xmlns:p14="http://schemas.microsoft.com/office/powerpoint/2010/main" val="3455160608"/>
      </p:ext>
    </p:extLst>
  </p:cSld>
  <p:clrMapOvr>
    <a:masterClrMapping/>
  </p:clrMapOvr>
  <p:hf hdr="0" ftr="0" dt="0"/>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1_End Slide ACER Vacancie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CEC7484-A3E3-C74A-BC15-3E18069ACD90}"/>
              </a:ext>
            </a:extLst>
          </p:cNvPr>
          <p:cNvSpPr/>
          <p:nvPr/>
        </p:nvSpPr>
        <p:spPr>
          <a:xfrm>
            <a:off x="-9524" y="0"/>
            <a:ext cx="12201524" cy="5362575"/>
          </a:xfrm>
          <a:prstGeom prst="rect">
            <a:avLst/>
          </a:prstGeom>
          <a:solidFill>
            <a:srgbClr val="3678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I" dirty="0">
              <a:latin typeface="Arial" panose="020B0604020202020204" pitchFamily="34" charset="0"/>
              <a:cs typeface="Arial" panose="020B0604020202020204" pitchFamily="34" charset="0"/>
            </a:endParaRPr>
          </a:p>
        </p:txBody>
      </p:sp>
      <p:sp>
        <p:nvSpPr>
          <p:cNvPr id="2" name="Title 1"/>
          <p:cNvSpPr>
            <a:spLocks noGrp="1"/>
          </p:cNvSpPr>
          <p:nvPr>
            <p:ph type="title" hasCustomPrompt="1"/>
          </p:nvPr>
        </p:nvSpPr>
        <p:spPr>
          <a:xfrm>
            <a:off x="696000" y="1057274"/>
            <a:ext cx="10800000" cy="3094314"/>
          </a:xfrm>
        </p:spPr>
        <p:txBody>
          <a:bodyPr anchor="ctr">
            <a:normAutofit/>
          </a:bodyPr>
          <a:lstStyle>
            <a:lvl1pPr algn="l">
              <a:defRPr sz="6000">
                <a:solidFill>
                  <a:schemeClr val="bg1"/>
                </a:solidFill>
              </a:defRPr>
            </a:lvl1pPr>
          </a:lstStyle>
          <a:p>
            <a:r>
              <a:rPr lang="en-GB" dirty="0"/>
              <a:t>Thank you.</a:t>
            </a:r>
            <a:br>
              <a:rPr lang="en-GB" dirty="0"/>
            </a:br>
            <a:r>
              <a:rPr lang="en-GB" dirty="0"/>
              <a:t>Any questions?</a:t>
            </a:r>
            <a:endParaRPr lang="en-US" dirty="0"/>
          </a:p>
        </p:txBody>
      </p:sp>
      <p:sp>
        <p:nvSpPr>
          <p:cNvPr id="9" name="Rectangle 8">
            <a:extLst>
              <a:ext uri="{FF2B5EF4-FFF2-40B4-BE49-F238E27FC236}">
                <a16:creationId xmlns:a16="http://schemas.microsoft.com/office/drawing/2014/main" id="{48F1D9E9-0C93-624B-9861-30471BCD6B8F}"/>
              </a:ext>
            </a:extLst>
          </p:cNvPr>
          <p:cNvSpPr/>
          <p:nvPr userDrawn="1"/>
        </p:nvSpPr>
        <p:spPr>
          <a:xfrm>
            <a:off x="-9524" y="4698000"/>
            <a:ext cx="12200400" cy="216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I" dirty="0">
              <a:latin typeface="Arial" panose="020B0604020202020204" pitchFamily="34" charset="0"/>
              <a:cs typeface="Arial" panose="020B0604020202020204" pitchFamily="34" charset="0"/>
            </a:endParaRPr>
          </a:p>
        </p:txBody>
      </p:sp>
      <p:pic>
        <p:nvPicPr>
          <p:cNvPr id="10" name="Picture 9" descr="A picture containing graphical user interface&#10;&#10;Description automatically generated">
            <a:extLst>
              <a:ext uri="{FF2B5EF4-FFF2-40B4-BE49-F238E27FC236}">
                <a16:creationId xmlns:a16="http://schemas.microsoft.com/office/drawing/2014/main" id="{EA9C4BA8-0AF4-D648-AE98-33A2D2A473CF}"/>
              </a:ext>
            </a:extLst>
          </p:cNvPr>
          <p:cNvPicPr>
            <a:picLocks noChangeAspect="1"/>
          </p:cNvPicPr>
          <p:nvPr/>
        </p:nvPicPr>
        <p:blipFill>
          <a:blip r:embed="rId2"/>
          <a:stretch>
            <a:fillRect/>
          </a:stretch>
        </p:blipFill>
        <p:spPr>
          <a:xfrm>
            <a:off x="0" y="4698000"/>
            <a:ext cx="4411916" cy="2160000"/>
          </a:xfrm>
          <a:prstGeom prst="rect">
            <a:avLst/>
          </a:prstGeom>
        </p:spPr>
      </p:pic>
      <p:cxnSp>
        <p:nvCxnSpPr>
          <p:cNvPr id="5" name="Straight Connector 4">
            <a:extLst>
              <a:ext uri="{FF2B5EF4-FFF2-40B4-BE49-F238E27FC236}">
                <a16:creationId xmlns:a16="http://schemas.microsoft.com/office/drawing/2014/main" id="{7B12CBEB-0DAC-8F4B-9A0A-2BFD123ED617}"/>
              </a:ext>
            </a:extLst>
          </p:cNvPr>
          <p:cNvCxnSpPr/>
          <p:nvPr/>
        </p:nvCxnSpPr>
        <p:spPr>
          <a:xfrm>
            <a:off x="4411916" y="5219700"/>
            <a:ext cx="0" cy="110308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EC4F1F8D-6A04-F7BD-FB1E-02CD5F52A6E0}"/>
              </a:ext>
            </a:extLst>
          </p:cNvPr>
          <p:cNvSpPr txBox="1">
            <a:spLocks/>
          </p:cNvSpPr>
          <p:nvPr userDrawn="1"/>
        </p:nvSpPr>
        <p:spPr>
          <a:xfrm>
            <a:off x="9019848" y="5800726"/>
            <a:ext cx="2747156" cy="522056"/>
          </a:xfrm>
          <a:prstGeom prst="rect">
            <a:avLst/>
          </a:prstGeom>
        </p:spPr>
        <p:txBody>
          <a:bodyPr vert="horz" lIns="0" tIns="0" rIns="0" bIns="0" rtlCol="0" anchor="b">
            <a:normAutofit/>
          </a:bodyPr>
          <a:lstStyle>
            <a:lvl1pPr algn="l" defTabSz="914400" rtl="0" eaLnBrk="1" latinLnBrk="0" hangingPunct="1">
              <a:lnSpc>
                <a:spcPct val="90000"/>
              </a:lnSpc>
              <a:spcBef>
                <a:spcPct val="0"/>
              </a:spcBef>
              <a:buNone/>
              <a:defRPr sz="4500" b="0" i="0" kern="1200" spc="-150">
                <a:solidFill>
                  <a:schemeClr val="tx1"/>
                </a:solidFill>
                <a:latin typeface="Inter" panose="020B0502030000000004" pitchFamily="34" charset="0"/>
                <a:ea typeface="Inter" panose="020B0502030000000004" pitchFamily="34" charset="0"/>
                <a:cs typeface="Inter" panose="020B0502030000000004" pitchFamily="34" charset="0"/>
              </a:defRPr>
            </a:lvl1pPr>
          </a:lstStyle>
          <a:p>
            <a:pPr>
              <a:lnSpc>
                <a:spcPts val="1800"/>
              </a:lnSpc>
            </a:pPr>
            <a:r>
              <a:rPr lang="en-GB" sz="1300" spc="0" dirty="0">
                <a:latin typeface="Arial" panose="020B0604020202020204" pitchFamily="34" charset="0"/>
                <a:ea typeface="Inter" panose="020B0502030000000004" pitchFamily="34" charset="0"/>
                <a:cs typeface="Arial" panose="020B0604020202020204" pitchFamily="34" charset="0"/>
              </a:rPr>
              <a:t>@eu-acer.bsky.social‬</a:t>
            </a:r>
          </a:p>
          <a:p>
            <a:pPr>
              <a:lnSpc>
                <a:spcPts val="1800"/>
              </a:lnSpc>
            </a:pPr>
            <a:r>
              <a:rPr lang="en-GB" sz="1300" spc="0" dirty="0">
                <a:latin typeface="Arial" panose="020B0604020202020204" pitchFamily="34" charset="0"/>
                <a:ea typeface="Inter" panose="020B0502030000000004" pitchFamily="34" charset="0"/>
                <a:cs typeface="Arial" panose="020B0604020202020204" pitchFamily="34" charset="0"/>
              </a:rPr>
              <a:t>linkedin.com/company/</a:t>
            </a:r>
            <a:r>
              <a:rPr lang="sl-SI" sz="1300" spc="0" dirty="0">
                <a:latin typeface="Arial" panose="020B0604020202020204" pitchFamily="34" charset="0"/>
                <a:ea typeface="Inter" panose="020B0502030000000004" pitchFamily="34" charset="0"/>
                <a:cs typeface="Arial" panose="020B0604020202020204" pitchFamily="34" charset="0"/>
              </a:rPr>
              <a:t>eu</a:t>
            </a:r>
            <a:r>
              <a:rPr lang="en-GB" sz="1300" spc="0" dirty="0">
                <a:latin typeface="Arial" panose="020B0604020202020204" pitchFamily="34" charset="0"/>
                <a:ea typeface="Inter" panose="020B0502030000000004" pitchFamily="34" charset="0"/>
                <a:cs typeface="Arial" panose="020B0604020202020204" pitchFamily="34" charset="0"/>
              </a:rPr>
              <a:t>-</a:t>
            </a:r>
            <a:r>
              <a:rPr lang="sl-SI" sz="1300" spc="0" dirty="0">
                <a:latin typeface="Arial" panose="020B0604020202020204" pitchFamily="34" charset="0"/>
                <a:ea typeface="Inter" panose="020B0502030000000004" pitchFamily="34" charset="0"/>
                <a:cs typeface="Arial" panose="020B0604020202020204" pitchFamily="34" charset="0"/>
              </a:rPr>
              <a:t>acer</a:t>
            </a:r>
            <a:endParaRPr lang="en-GB" sz="1300" spc="0" dirty="0">
              <a:latin typeface="Arial" panose="020B0604020202020204" pitchFamily="34" charset="0"/>
              <a:ea typeface="Inter" panose="020B0502030000000004" pitchFamily="34" charset="0"/>
              <a:cs typeface="Arial" panose="020B0604020202020204" pitchFamily="34" charset="0"/>
            </a:endParaRPr>
          </a:p>
        </p:txBody>
      </p:sp>
      <p:grpSp>
        <p:nvGrpSpPr>
          <p:cNvPr id="7" name="Group 6">
            <a:extLst>
              <a:ext uri="{FF2B5EF4-FFF2-40B4-BE49-F238E27FC236}">
                <a16:creationId xmlns:a16="http://schemas.microsoft.com/office/drawing/2014/main" id="{3B1C5CD0-60DE-4903-A668-5BDD545C7A18}"/>
              </a:ext>
            </a:extLst>
          </p:cNvPr>
          <p:cNvGrpSpPr/>
          <p:nvPr userDrawn="1"/>
        </p:nvGrpSpPr>
        <p:grpSpPr>
          <a:xfrm>
            <a:off x="5993437" y="5800726"/>
            <a:ext cx="2563387" cy="529025"/>
            <a:chOff x="6806479" y="5800726"/>
            <a:chExt cx="2563387" cy="529025"/>
          </a:xfrm>
        </p:grpSpPr>
        <p:sp>
          <p:nvSpPr>
            <p:cNvPr id="11" name="Title 1">
              <a:extLst>
                <a:ext uri="{FF2B5EF4-FFF2-40B4-BE49-F238E27FC236}">
                  <a16:creationId xmlns:a16="http://schemas.microsoft.com/office/drawing/2014/main" id="{AB1F54ED-67EF-C16A-BE17-DB8FC07C4E5B}"/>
                </a:ext>
              </a:extLst>
            </p:cNvPr>
            <p:cNvSpPr txBox="1">
              <a:spLocks/>
            </p:cNvSpPr>
            <p:nvPr userDrawn="1"/>
          </p:nvSpPr>
          <p:spPr>
            <a:xfrm>
              <a:off x="7062279" y="5800726"/>
              <a:ext cx="2307587" cy="522056"/>
            </a:xfrm>
            <a:prstGeom prst="rect">
              <a:avLst/>
            </a:prstGeom>
          </p:spPr>
          <p:txBody>
            <a:bodyPr vert="horz" lIns="0" tIns="0" rIns="0" bIns="0" rtlCol="0" anchor="b">
              <a:normAutofit/>
            </a:bodyPr>
            <a:lstStyle>
              <a:lvl1pPr algn="l" defTabSz="914400" rtl="0" eaLnBrk="1" latinLnBrk="0" hangingPunct="1">
                <a:lnSpc>
                  <a:spcPct val="90000"/>
                </a:lnSpc>
                <a:spcBef>
                  <a:spcPct val="0"/>
                </a:spcBef>
                <a:buNone/>
                <a:defRPr sz="4500" b="0" i="0" kern="1200" spc="-150">
                  <a:solidFill>
                    <a:schemeClr val="tx1"/>
                  </a:solidFill>
                  <a:latin typeface="Inter" panose="020B0502030000000004" pitchFamily="34" charset="0"/>
                  <a:ea typeface="Inter" panose="020B0502030000000004" pitchFamily="34" charset="0"/>
                  <a:cs typeface="Inter" panose="020B0502030000000004" pitchFamily="34" charset="0"/>
                </a:defRPr>
              </a:lvl1pPr>
            </a:lstStyle>
            <a:p>
              <a:pPr>
                <a:lnSpc>
                  <a:spcPts val="1800"/>
                </a:lnSpc>
              </a:pPr>
              <a:r>
                <a:rPr lang="en-GB" sz="1300" u="none" spc="0" dirty="0" err="1">
                  <a:latin typeface="Arial" panose="020B0604020202020204" pitchFamily="34" charset="0"/>
                  <a:ea typeface="Inter" panose="020B0502030000000004" pitchFamily="34" charset="0"/>
                  <a:cs typeface="Arial" panose="020B0604020202020204" pitchFamily="34" charset="0"/>
                </a:rPr>
                <a:t>info@acer.europa.eu</a:t>
              </a:r>
              <a:endParaRPr lang="en-GB" sz="1300" u="none" spc="0" dirty="0">
                <a:latin typeface="Arial" panose="020B0604020202020204" pitchFamily="34" charset="0"/>
                <a:ea typeface="Inter" panose="020B0502030000000004" pitchFamily="34" charset="0"/>
                <a:cs typeface="Arial" panose="020B0604020202020204" pitchFamily="34" charset="0"/>
              </a:endParaRPr>
            </a:p>
            <a:p>
              <a:pPr>
                <a:lnSpc>
                  <a:spcPts val="1800"/>
                </a:lnSpc>
              </a:pPr>
              <a:r>
                <a:rPr lang="en-GB" sz="1300" spc="0" dirty="0">
                  <a:latin typeface="Arial" panose="020B0604020202020204" pitchFamily="34" charset="0"/>
                  <a:ea typeface="Inter" panose="020B0502030000000004" pitchFamily="34" charset="0"/>
                  <a:cs typeface="Arial" panose="020B0604020202020204" pitchFamily="34" charset="0"/>
                </a:rPr>
                <a:t>acer.europa.eu</a:t>
              </a:r>
              <a:endParaRPr lang="en-SI" sz="1300" spc="0" dirty="0">
                <a:latin typeface="Arial" panose="020B0604020202020204" pitchFamily="34" charset="0"/>
                <a:ea typeface="Inter" panose="020B0502030000000004" pitchFamily="34" charset="0"/>
                <a:cs typeface="Arial" panose="020B0604020202020204" pitchFamily="34" charset="0"/>
              </a:endParaRPr>
            </a:p>
          </p:txBody>
        </p:sp>
        <p:pic>
          <p:nvPicPr>
            <p:cNvPr id="12" name="Picture 11">
              <a:extLst>
                <a:ext uri="{FF2B5EF4-FFF2-40B4-BE49-F238E27FC236}">
                  <a16:creationId xmlns:a16="http://schemas.microsoft.com/office/drawing/2014/main" id="{A8816656-D67F-45E6-4ED8-BB5CA6701B34}"/>
                </a:ext>
              </a:extLst>
            </p:cNvPr>
            <p:cNvPicPr>
              <a:picLocks noChangeAspect="1"/>
            </p:cNvPicPr>
            <p:nvPr userDrawn="1"/>
          </p:nvPicPr>
          <p:blipFill>
            <a:blip r:embed="rId3"/>
            <a:stretch>
              <a:fillRect/>
            </a:stretch>
          </p:blipFill>
          <p:spPr>
            <a:xfrm>
              <a:off x="6808398" y="5925525"/>
              <a:ext cx="180000" cy="180000"/>
            </a:xfrm>
            <a:prstGeom prst="rect">
              <a:avLst/>
            </a:prstGeom>
          </p:spPr>
        </p:pic>
        <p:pic>
          <p:nvPicPr>
            <p:cNvPr id="13" name="Picture 12">
              <a:extLst>
                <a:ext uri="{FF2B5EF4-FFF2-40B4-BE49-F238E27FC236}">
                  <a16:creationId xmlns:a16="http://schemas.microsoft.com/office/drawing/2014/main" id="{BD1B88CA-E5E0-282A-8F07-9F75DEAC527D}"/>
                </a:ext>
              </a:extLst>
            </p:cNvPr>
            <p:cNvPicPr>
              <a:picLocks noChangeAspect="1"/>
            </p:cNvPicPr>
            <p:nvPr userDrawn="1"/>
          </p:nvPicPr>
          <p:blipFill>
            <a:blip r:embed="rId4"/>
            <a:stretch>
              <a:fillRect/>
            </a:stretch>
          </p:blipFill>
          <p:spPr>
            <a:xfrm>
              <a:off x="6806479" y="6149751"/>
              <a:ext cx="180000" cy="180000"/>
            </a:xfrm>
            <a:prstGeom prst="rect">
              <a:avLst/>
            </a:prstGeom>
          </p:spPr>
        </p:pic>
      </p:grpSp>
      <p:sp>
        <p:nvSpPr>
          <p:cNvPr id="18" name="Rectangle 17">
            <a:hlinkClick r:id="rId5"/>
            <a:extLst>
              <a:ext uri="{FF2B5EF4-FFF2-40B4-BE49-F238E27FC236}">
                <a16:creationId xmlns:a16="http://schemas.microsoft.com/office/drawing/2014/main" id="{828AE29B-B177-153A-29B9-33BF40CB0789}"/>
              </a:ext>
            </a:extLst>
          </p:cNvPr>
          <p:cNvSpPr/>
          <p:nvPr userDrawn="1"/>
        </p:nvSpPr>
        <p:spPr>
          <a:xfrm>
            <a:off x="5959475" y="5925525"/>
            <a:ext cx="1892299" cy="16567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9" name="Rectangle 18">
            <a:hlinkClick r:id="rId6"/>
            <a:extLst>
              <a:ext uri="{FF2B5EF4-FFF2-40B4-BE49-F238E27FC236}">
                <a16:creationId xmlns:a16="http://schemas.microsoft.com/office/drawing/2014/main" id="{19F1626E-8FCA-4B04-ABBA-5FFDEF995347}"/>
              </a:ext>
            </a:extLst>
          </p:cNvPr>
          <p:cNvSpPr/>
          <p:nvPr userDrawn="1"/>
        </p:nvSpPr>
        <p:spPr>
          <a:xfrm>
            <a:off x="5998440" y="6157110"/>
            <a:ext cx="1383436" cy="16567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0" name="Picture 19" descr="Icon&#10;&#10;Description automatically generated">
            <a:extLst>
              <a:ext uri="{FF2B5EF4-FFF2-40B4-BE49-F238E27FC236}">
                <a16:creationId xmlns:a16="http://schemas.microsoft.com/office/drawing/2014/main" id="{0F80A4FF-6690-55FF-FD64-A1AA0FF817AC}"/>
              </a:ext>
            </a:extLst>
          </p:cNvPr>
          <p:cNvPicPr>
            <a:picLocks noChangeAspect="1"/>
          </p:cNvPicPr>
          <p:nvPr userDrawn="1"/>
        </p:nvPicPr>
        <p:blipFill rotWithShape="1">
          <a:blip r:embed="rId7"/>
          <a:srcRect r="12743"/>
          <a:stretch/>
        </p:blipFill>
        <p:spPr>
          <a:xfrm>
            <a:off x="8781798" y="6144981"/>
            <a:ext cx="181555" cy="175836"/>
          </a:xfrm>
          <a:prstGeom prst="rect">
            <a:avLst/>
          </a:prstGeom>
        </p:spPr>
      </p:pic>
      <p:sp>
        <p:nvSpPr>
          <p:cNvPr id="24" name="Rectangle 23">
            <a:hlinkClick r:id="rId8"/>
            <a:extLst>
              <a:ext uri="{FF2B5EF4-FFF2-40B4-BE49-F238E27FC236}">
                <a16:creationId xmlns:a16="http://schemas.microsoft.com/office/drawing/2014/main" id="{F41C04BB-ADE7-5B91-5B50-E540BB16B5B7}"/>
              </a:ext>
            </a:extLst>
          </p:cNvPr>
          <p:cNvSpPr/>
          <p:nvPr userDrawn="1"/>
        </p:nvSpPr>
        <p:spPr>
          <a:xfrm>
            <a:off x="8781798" y="6137051"/>
            <a:ext cx="2502151" cy="16567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7" name="Picture 26" descr="A blue butterfly on a black background&#10;&#10;AI-generated content may be incorrect.">
            <a:extLst>
              <a:ext uri="{FF2B5EF4-FFF2-40B4-BE49-F238E27FC236}">
                <a16:creationId xmlns:a16="http://schemas.microsoft.com/office/drawing/2014/main" id="{A5B5C33B-67F2-70B9-9D7D-A1E84BF037B1}"/>
              </a:ext>
            </a:extLst>
          </p:cNvPr>
          <p:cNvPicPr>
            <a:picLocks noChangeAspect="1"/>
          </p:cNvPicPr>
          <p:nvPr userDrawn="1"/>
        </p:nvPicPr>
        <p:blipFill>
          <a:blip r:embed="rId9"/>
          <a:srcRect l="16150" t="16771" r="15125" b="16972"/>
          <a:stretch>
            <a:fillRect/>
          </a:stretch>
        </p:blipFill>
        <p:spPr>
          <a:xfrm>
            <a:off x="8764587" y="5901044"/>
            <a:ext cx="211137" cy="203554"/>
          </a:xfrm>
          <a:prstGeom prst="rect">
            <a:avLst/>
          </a:prstGeom>
        </p:spPr>
      </p:pic>
    </p:spTree>
    <p:extLst>
      <p:ext uri="{BB962C8B-B14F-4D97-AF65-F5344CB8AC3E}">
        <p14:creationId xmlns:p14="http://schemas.microsoft.com/office/powerpoint/2010/main" val="4058937371"/>
      </p:ext>
    </p:extLst>
  </p:cSld>
  <p:clrMapOvr>
    <a:masterClrMapping/>
  </p:clrMapOvr>
  <p:hf hdr="0" ftr="0" dt="0"/>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7A1C639-99B2-4A4E-A848-FCDF8B8CE19B}"/>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I"/>
          </a:p>
        </p:txBody>
      </p:sp>
      <p:cxnSp>
        <p:nvCxnSpPr>
          <p:cNvPr id="12" name="Straight Connector 11">
            <a:extLst>
              <a:ext uri="{FF2B5EF4-FFF2-40B4-BE49-F238E27FC236}">
                <a16:creationId xmlns:a16="http://schemas.microsoft.com/office/drawing/2014/main" id="{CF8C5567-1597-6746-A572-07785B31B403}"/>
              </a:ext>
            </a:extLst>
          </p:cNvPr>
          <p:cNvCxnSpPr>
            <a:cxnSpLocks/>
          </p:cNvCxnSpPr>
          <p:nvPr userDrawn="1"/>
        </p:nvCxnSpPr>
        <p:spPr>
          <a:xfrm>
            <a:off x="4430966" y="729000"/>
            <a:ext cx="0" cy="540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694D6CEC-7C5A-3644-8542-9DB48BE16B98}"/>
              </a:ext>
            </a:extLst>
          </p:cNvPr>
          <p:cNvSpPr>
            <a:spLocks noGrp="1"/>
          </p:cNvSpPr>
          <p:nvPr>
            <p:ph type="ctrTitle" hasCustomPrompt="1"/>
          </p:nvPr>
        </p:nvSpPr>
        <p:spPr>
          <a:xfrm>
            <a:off x="5114930" y="729000"/>
            <a:ext cx="6372220" cy="3273362"/>
          </a:xfrm>
        </p:spPr>
        <p:txBody>
          <a:bodyPr anchor="ctr">
            <a:normAutofit/>
          </a:bodyPr>
          <a:lstStyle>
            <a:lvl1pPr algn="l">
              <a:defRPr sz="4500">
                <a:solidFill>
                  <a:schemeClr val="tx1"/>
                </a:solidFill>
              </a:defRPr>
            </a:lvl1pPr>
          </a:lstStyle>
          <a:p>
            <a:r>
              <a:rPr lang="en-SI" dirty="0"/>
              <a:t>Title of the presentation</a:t>
            </a:r>
            <a:endParaRPr lang="en-US" dirty="0"/>
          </a:p>
        </p:txBody>
      </p:sp>
      <p:sp>
        <p:nvSpPr>
          <p:cNvPr id="14" name="Subtitle 2">
            <a:extLst>
              <a:ext uri="{FF2B5EF4-FFF2-40B4-BE49-F238E27FC236}">
                <a16:creationId xmlns:a16="http://schemas.microsoft.com/office/drawing/2014/main" id="{ED035378-5C01-FC45-A1F5-C4ADE23D9232}"/>
              </a:ext>
            </a:extLst>
          </p:cNvPr>
          <p:cNvSpPr>
            <a:spLocks noGrp="1"/>
          </p:cNvSpPr>
          <p:nvPr>
            <p:ph type="subTitle" idx="1" hasCustomPrompt="1"/>
          </p:nvPr>
        </p:nvSpPr>
        <p:spPr>
          <a:xfrm>
            <a:off x="5114930" y="4234934"/>
            <a:ext cx="6449470" cy="1271201"/>
          </a:xfrm>
        </p:spPr>
        <p:txBody>
          <a:bodyPr anchor="t">
            <a:normAutofit/>
          </a:bodyPr>
          <a:lstStyle>
            <a:lvl1pPr marL="0" indent="0" algn="l">
              <a:buNone/>
              <a:defRPr sz="2000" i="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a:p>
            <a:r>
              <a:rPr lang="en-GB" dirty="0"/>
              <a:t>Speaker Name</a:t>
            </a:r>
          </a:p>
          <a:p>
            <a:r>
              <a:rPr lang="en-GB" dirty="0"/>
              <a:t>Date and Location</a:t>
            </a:r>
            <a:endParaRPr lang="en-US" dirty="0"/>
          </a:p>
        </p:txBody>
      </p:sp>
      <p:pic>
        <p:nvPicPr>
          <p:cNvPr id="7" name="Picture 6" descr="A picture containing graphical user interface&#10;&#10;Description automatically generated">
            <a:extLst>
              <a:ext uri="{FF2B5EF4-FFF2-40B4-BE49-F238E27FC236}">
                <a16:creationId xmlns:a16="http://schemas.microsoft.com/office/drawing/2014/main" id="{94A4C6FB-EF59-2346-BFA1-FB3C5245B187}"/>
              </a:ext>
            </a:extLst>
          </p:cNvPr>
          <p:cNvPicPr>
            <a:picLocks noChangeAspect="1"/>
          </p:cNvPicPr>
          <p:nvPr userDrawn="1"/>
        </p:nvPicPr>
        <p:blipFill>
          <a:blip r:embed="rId2"/>
          <a:stretch>
            <a:fillRect/>
          </a:stretch>
        </p:blipFill>
        <p:spPr>
          <a:xfrm>
            <a:off x="0" y="177106"/>
            <a:ext cx="4411916" cy="2160000"/>
          </a:xfrm>
          <a:prstGeom prst="rect">
            <a:avLst/>
          </a:prstGeom>
        </p:spPr>
      </p:pic>
    </p:spTree>
    <p:extLst>
      <p:ext uri="{BB962C8B-B14F-4D97-AF65-F5344CB8AC3E}">
        <p14:creationId xmlns:p14="http://schemas.microsoft.com/office/powerpoint/2010/main" val="756616572"/>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Title Slide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1E58104-D31B-2A46-9D9A-EA9CD0F81CF7}"/>
              </a:ext>
            </a:extLst>
          </p:cNvPr>
          <p:cNvSpPr/>
          <p:nvPr userDrawn="1"/>
        </p:nvSpPr>
        <p:spPr>
          <a:xfrm>
            <a:off x="0" y="0"/>
            <a:ext cx="12192000" cy="6858000"/>
          </a:xfrm>
          <a:prstGeom prst="rect">
            <a:avLst/>
          </a:prstGeom>
          <a:solidFill>
            <a:srgbClr val="3678B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I"/>
          </a:p>
        </p:txBody>
      </p:sp>
      <p:pic>
        <p:nvPicPr>
          <p:cNvPr id="9" name="Picture 8">
            <a:extLst>
              <a:ext uri="{FF2B5EF4-FFF2-40B4-BE49-F238E27FC236}">
                <a16:creationId xmlns:a16="http://schemas.microsoft.com/office/drawing/2014/main" id="{3C84888C-D5DC-CE40-B058-C4F8A1386EDB}"/>
              </a:ext>
            </a:extLst>
          </p:cNvPr>
          <p:cNvPicPr>
            <a:picLocks noChangeAspect="1"/>
          </p:cNvPicPr>
          <p:nvPr userDrawn="1"/>
        </p:nvPicPr>
        <p:blipFill>
          <a:blip r:embed="rId2"/>
          <a:srcRect/>
          <a:stretch/>
        </p:blipFill>
        <p:spPr>
          <a:xfrm>
            <a:off x="2345" y="177106"/>
            <a:ext cx="4407226" cy="2160000"/>
          </a:xfrm>
          <a:prstGeom prst="rect">
            <a:avLst/>
          </a:prstGeom>
        </p:spPr>
      </p:pic>
      <p:cxnSp>
        <p:nvCxnSpPr>
          <p:cNvPr id="12" name="Straight Connector 11">
            <a:extLst>
              <a:ext uri="{FF2B5EF4-FFF2-40B4-BE49-F238E27FC236}">
                <a16:creationId xmlns:a16="http://schemas.microsoft.com/office/drawing/2014/main" id="{CF8C5567-1597-6746-A572-07785B31B403}"/>
              </a:ext>
            </a:extLst>
          </p:cNvPr>
          <p:cNvCxnSpPr>
            <a:cxnSpLocks/>
          </p:cNvCxnSpPr>
          <p:nvPr userDrawn="1"/>
        </p:nvCxnSpPr>
        <p:spPr>
          <a:xfrm>
            <a:off x="4430966" y="729000"/>
            <a:ext cx="0" cy="5400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5591749C-D1A3-984F-AFA4-5ECC1907F0E1}"/>
              </a:ext>
            </a:extLst>
          </p:cNvPr>
          <p:cNvSpPr>
            <a:spLocks noGrp="1"/>
          </p:cNvSpPr>
          <p:nvPr>
            <p:ph type="ctrTitle" hasCustomPrompt="1"/>
          </p:nvPr>
        </p:nvSpPr>
        <p:spPr>
          <a:xfrm>
            <a:off x="5114930" y="729000"/>
            <a:ext cx="6372220" cy="3273362"/>
          </a:xfrm>
        </p:spPr>
        <p:txBody>
          <a:bodyPr anchor="ctr">
            <a:normAutofit/>
          </a:bodyPr>
          <a:lstStyle>
            <a:lvl1pPr algn="l">
              <a:defRPr sz="4500">
                <a:solidFill>
                  <a:schemeClr val="bg1"/>
                </a:solidFill>
              </a:defRPr>
            </a:lvl1pPr>
          </a:lstStyle>
          <a:p>
            <a:r>
              <a:rPr lang="en-SI" dirty="0"/>
              <a:t>Title of the presentation</a:t>
            </a:r>
            <a:endParaRPr lang="en-US" dirty="0"/>
          </a:p>
        </p:txBody>
      </p:sp>
      <p:sp>
        <p:nvSpPr>
          <p:cNvPr id="10" name="Subtitle 2">
            <a:extLst>
              <a:ext uri="{FF2B5EF4-FFF2-40B4-BE49-F238E27FC236}">
                <a16:creationId xmlns:a16="http://schemas.microsoft.com/office/drawing/2014/main" id="{8EE8584F-776F-CE43-B82A-08901CB04C7B}"/>
              </a:ext>
            </a:extLst>
          </p:cNvPr>
          <p:cNvSpPr>
            <a:spLocks noGrp="1"/>
          </p:cNvSpPr>
          <p:nvPr>
            <p:ph type="subTitle" idx="1" hasCustomPrompt="1"/>
          </p:nvPr>
        </p:nvSpPr>
        <p:spPr>
          <a:xfrm>
            <a:off x="5114930" y="4234934"/>
            <a:ext cx="6449470" cy="1271201"/>
          </a:xfrm>
        </p:spPr>
        <p:txBody>
          <a:bodyPr anchor="t">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a:p>
            <a:r>
              <a:rPr lang="en-GB" dirty="0"/>
              <a:t>Speaker Name</a:t>
            </a:r>
          </a:p>
          <a:p>
            <a:r>
              <a:rPr lang="en-GB" dirty="0"/>
              <a:t>Date and Location</a:t>
            </a:r>
            <a:endParaRPr lang="en-US" dirty="0"/>
          </a:p>
        </p:txBody>
      </p:sp>
    </p:spTree>
    <p:extLst>
      <p:ext uri="{BB962C8B-B14F-4D97-AF65-F5344CB8AC3E}">
        <p14:creationId xmlns:p14="http://schemas.microsoft.com/office/powerpoint/2010/main" val="23874121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en tekst">
    <p:spTree>
      <p:nvGrpSpPr>
        <p:cNvPr id="1" name=""/>
        <p:cNvGrpSpPr/>
        <p:nvPr/>
      </p:nvGrpSpPr>
      <p:grpSpPr>
        <a:xfrm>
          <a:off x="0" y="0"/>
          <a:ext cx="0" cy="0"/>
          <a:chOff x="0" y="0"/>
          <a:chExt cx="0" cy="0"/>
        </a:xfrm>
      </p:grpSpPr>
      <p:sp>
        <p:nvSpPr>
          <p:cNvPr id="4" name="Rechthoek 3">
            <a:extLst>
              <a:ext uri="{C183D7F6-B498-43B3-948B-1728B52AA6E4}">
                <adec:decorative xmlns:adec="http://schemas.microsoft.com/office/drawing/2017/decorative" val="1"/>
              </a:ext>
            </a:extLst>
          </p:cNvPr>
          <p:cNvSpPr/>
          <p:nvPr userDrawn="1"/>
        </p:nvSpPr>
        <p:spPr>
          <a:xfrm>
            <a:off x="0" y="6400801"/>
            <a:ext cx="12192000" cy="455084"/>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nl-NL"/>
          </a:p>
        </p:txBody>
      </p:sp>
      <p:sp>
        <p:nvSpPr>
          <p:cNvPr id="23" name="Tijdelijke aanduiding voor tekst 22"/>
          <p:cNvSpPr>
            <a:spLocks noGrp="1"/>
          </p:cNvSpPr>
          <p:nvPr>
            <p:ph type="body" sz="quarter" idx="18" hasCustomPrompt="1"/>
          </p:nvPr>
        </p:nvSpPr>
        <p:spPr>
          <a:xfrm>
            <a:off x="431371" y="1411832"/>
            <a:ext cx="11233248" cy="4988983"/>
          </a:xfrm>
        </p:spPr>
        <p:txBody>
          <a:bodyPr/>
          <a:lstStyle>
            <a:lvl1pPr>
              <a:defRPr baseline="0">
                <a:solidFill>
                  <a:schemeClr val="bg2">
                    <a:lumMod val="10000"/>
                  </a:schemeClr>
                </a:solidFill>
              </a:defRPr>
            </a:lvl1pPr>
            <a:lvl2pPr>
              <a:defRPr sz="2667">
                <a:solidFill>
                  <a:schemeClr val="bg2">
                    <a:lumMod val="10000"/>
                  </a:schemeClr>
                </a:solidFill>
              </a:defRPr>
            </a:lvl2pPr>
            <a:lvl3pPr>
              <a:defRPr sz="2400">
                <a:solidFill>
                  <a:schemeClr val="bg2">
                    <a:lumMod val="10000"/>
                  </a:schemeClr>
                </a:solidFill>
              </a:defRPr>
            </a:lvl3pPr>
            <a:lvl4pPr>
              <a:defRPr sz="2133">
                <a:solidFill>
                  <a:schemeClr val="bg2">
                    <a:lumMod val="10000"/>
                  </a:schemeClr>
                </a:solidFill>
              </a:defRPr>
            </a:lvl4pPr>
            <a:lvl5pPr>
              <a:defRPr sz="1867">
                <a:solidFill>
                  <a:schemeClr val="bg2">
                    <a:lumMod val="10000"/>
                  </a:schemeClr>
                </a:solidFill>
              </a:defRPr>
            </a:lvl5pPr>
          </a:lstStyle>
          <a:p>
            <a:pPr lvl="0"/>
            <a:r>
              <a:rPr lang="nl-NL" dirty="0" err="1"/>
              <a:t>Bullet</a:t>
            </a:r>
            <a:r>
              <a:rPr lang="nl-NL" dirty="0"/>
              <a:t> niveau 1</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2" name="Titel 1"/>
          <p:cNvSpPr>
            <a:spLocks noGrp="1"/>
          </p:cNvSpPr>
          <p:nvPr>
            <p:ph type="title" hasCustomPrompt="1"/>
          </p:nvPr>
        </p:nvSpPr>
        <p:spPr/>
        <p:txBody>
          <a:bodyPr/>
          <a:lstStyle>
            <a:lvl1pPr>
              <a:defRPr>
                <a:solidFill>
                  <a:schemeClr val="accent1"/>
                </a:solidFill>
              </a:defRPr>
            </a:lvl1pPr>
          </a:lstStyle>
          <a:p>
            <a:r>
              <a:rPr lang="nl-NL" altLang="nl-NL" dirty="0"/>
              <a:t>Plaats hier de titel van je dia</a:t>
            </a:r>
            <a:endParaRPr lang="nl-NL" dirty="0"/>
          </a:p>
        </p:txBody>
      </p:sp>
      <p:sp>
        <p:nvSpPr>
          <p:cNvPr id="5" name="Tijdelijke aanduiding voor dianummer 12"/>
          <p:cNvSpPr>
            <a:spLocks noGrp="1"/>
          </p:cNvSpPr>
          <p:nvPr>
            <p:ph type="sldNum" sz="quarter" idx="19"/>
          </p:nvPr>
        </p:nvSpPr>
        <p:spPr/>
        <p:txBody>
          <a:bodyPr/>
          <a:lstStyle>
            <a:lvl1pPr algn="ctr">
              <a:defRPr sz="1333" b="1" smtClean="0">
                <a:solidFill>
                  <a:srgbClr val="007FAE"/>
                </a:solidFill>
              </a:defRPr>
            </a:lvl1pPr>
          </a:lstStyle>
          <a:p>
            <a:pPr>
              <a:defRPr/>
            </a:pPr>
            <a:fld id="{EF9D50FF-71E8-491A-8946-D4698ABC509D}" type="slidenum">
              <a:rPr lang="nl-NL"/>
              <a:pPr>
                <a:defRPr/>
              </a:pPr>
              <a:t>‹#›</a:t>
            </a:fld>
            <a:endParaRPr lang="nl-NL" dirty="0"/>
          </a:p>
        </p:txBody>
      </p:sp>
      <p:sp>
        <p:nvSpPr>
          <p:cNvPr id="6" name="Tijdelijke aanduiding voor datum 6"/>
          <p:cNvSpPr>
            <a:spLocks noGrp="1"/>
          </p:cNvSpPr>
          <p:nvPr>
            <p:ph type="dt" sz="half" idx="20"/>
          </p:nvPr>
        </p:nvSpPr>
        <p:spPr>
          <a:xfrm>
            <a:off x="8434918" y="6400801"/>
            <a:ext cx="2942167" cy="455084"/>
          </a:xfrm>
        </p:spPr>
        <p:txBody>
          <a:bodyPr/>
          <a:lstStyle>
            <a:lvl1pPr algn="r">
              <a:defRPr sz="1333" dirty="0">
                <a:solidFill>
                  <a:schemeClr val="accent4"/>
                </a:solidFill>
                <a:latin typeface="Arial" panose="020B0604020202020204" pitchFamily="34" charset="0"/>
                <a:cs typeface="Arial" panose="020B0604020202020204" pitchFamily="34" charset="0"/>
              </a:defRPr>
            </a:lvl1pPr>
          </a:lstStyle>
          <a:p>
            <a:pPr>
              <a:defRPr/>
            </a:pPr>
            <a:endParaRPr lang="nl-NL"/>
          </a:p>
        </p:txBody>
      </p:sp>
      <p:sp>
        <p:nvSpPr>
          <p:cNvPr id="7" name="Tijdelijke aanduiding voor voettekst 11"/>
          <p:cNvSpPr>
            <a:spLocks noGrp="1"/>
          </p:cNvSpPr>
          <p:nvPr>
            <p:ph type="ftr" sz="quarter" idx="21"/>
          </p:nvPr>
        </p:nvSpPr>
        <p:spPr/>
        <p:txBody>
          <a:bodyPr/>
          <a:lstStyle>
            <a:lvl1pPr algn="l">
              <a:defRPr sz="1333" b="1" dirty="0" smtClean="0">
                <a:solidFill>
                  <a:srgbClr val="007FAE"/>
                </a:solidFill>
                <a:latin typeface="Arial" panose="020B0604020202020204" pitchFamily="34" charset="0"/>
                <a:cs typeface="Arial" panose="020B0604020202020204" pitchFamily="34" charset="0"/>
              </a:defRPr>
            </a:lvl1pPr>
          </a:lstStyle>
          <a:p>
            <a:pPr>
              <a:defRPr/>
            </a:pPr>
            <a:endParaRPr lang="nl-NL"/>
          </a:p>
        </p:txBody>
      </p:sp>
    </p:spTree>
    <p:extLst>
      <p:ext uri="{BB962C8B-B14F-4D97-AF65-F5344CB8AC3E}">
        <p14:creationId xmlns:p14="http://schemas.microsoft.com/office/powerpoint/2010/main" val="398060056"/>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Title Slide Renewables">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6A29079-BBF9-2449-9D35-924610060F05}"/>
              </a:ext>
            </a:extLst>
          </p:cNvPr>
          <p:cNvPicPr>
            <a:picLocks noChangeAspect="1"/>
          </p:cNvPicPr>
          <p:nvPr userDrawn="1"/>
        </p:nvPicPr>
        <p:blipFill>
          <a:blip r:embed="rId2"/>
          <a:srcRect/>
          <a:stretch/>
        </p:blipFill>
        <p:spPr>
          <a:xfrm>
            <a:off x="0" y="0"/>
            <a:ext cx="12192000" cy="6858000"/>
          </a:xfrm>
          <a:prstGeom prst="rect">
            <a:avLst/>
          </a:prstGeom>
        </p:spPr>
      </p:pic>
      <p:sp>
        <p:nvSpPr>
          <p:cNvPr id="2" name="Title 1"/>
          <p:cNvSpPr>
            <a:spLocks noGrp="1"/>
          </p:cNvSpPr>
          <p:nvPr>
            <p:ph type="ctrTitle" hasCustomPrompt="1"/>
          </p:nvPr>
        </p:nvSpPr>
        <p:spPr>
          <a:xfrm>
            <a:off x="5114930" y="729000"/>
            <a:ext cx="6372220" cy="3273362"/>
          </a:xfrm>
        </p:spPr>
        <p:txBody>
          <a:bodyPr anchor="ctr">
            <a:normAutofit/>
          </a:bodyPr>
          <a:lstStyle>
            <a:lvl1pPr algn="l">
              <a:defRPr sz="4500">
                <a:solidFill>
                  <a:schemeClr val="tx1"/>
                </a:solidFill>
              </a:defRPr>
            </a:lvl1pPr>
          </a:lstStyle>
          <a:p>
            <a:r>
              <a:rPr lang="en-SI" dirty="0"/>
              <a:t>Title of the presentation</a:t>
            </a:r>
            <a:endParaRPr lang="en-US" dirty="0"/>
          </a:p>
        </p:txBody>
      </p:sp>
      <p:pic>
        <p:nvPicPr>
          <p:cNvPr id="9" name="Picture 8" descr="A picture containing graphical user interface&#10;&#10;Description automatically generated">
            <a:extLst>
              <a:ext uri="{FF2B5EF4-FFF2-40B4-BE49-F238E27FC236}">
                <a16:creationId xmlns:a16="http://schemas.microsoft.com/office/drawing/2014/main" id="{3C84888C-D5DC-CE40-B058-C4F8A1386EDB}"/>
              </a:ext>
            </a:extLst>
          </p:cNvPr>
          <p:cNvPicPr>
            <a:picLocks noChangeAspect="1"/>
          </p:cNvPicPr>
          <p:nvPr userDrawn="1"/>
        </p:nvPicPr>
        <p:blipFill>
          <a:blip r:embed="rId3"/>
          <a:stretch>
            <a:fillRect/>
          </a:stretch>
        </p:blipFill>
        <p:spPr>
          <a:xfrm>
            <a:off x="0" y="177106"/>
            <a:ext cx="4411916" cy="2160000"/>
          </a:xfrm>
          <a:prstGeom prst="rect">
            <a:avLst/>
          </a:prstGeom>
        </p:spPr>
      </p:pic>
      <p:cxnSp>
        <p:nvCxnSpPr>
          <p:cNvPr id="12" name="Straight Connector 11">
            <a:extLst>
              <a:ext uri="{FF2B5EF4-FFF2-40B4-BE49-F238E27FC236}">
                <a16:creationId xmlns:a16="http://schemas.microsoft.com/office/drawing/2014/main" id="{CF8C5567-1597-6746-A572-07785B31B403}"/>
              </a:ext>
            </a:extLst>
          </p:cNvPr>
          <p:cNvCxnSpPr>
            <a:cxnSpLocks/>
          </p:cNvCxnSpPr>
          <p:nvPr userDrawn="1"/>
        </p:nvCxnSpPr>
        <p:spPr>
          <a:xfrm>
            <a:off x="4430966" y="729000"/>
            <a:ext cx="0" cy="540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ubtitle 2">
            <a:extLst>
              <a:ext uri="{FF2B5EF4-FFF2-40B4-BE49-F238E27FC236}">
                <a16:creationId xmlns:a16="http://schemas.microsoft.com/office/drawing/2014/main" id="{49C593FC-B38D-F24A-AAA6-81EAFBB41B12}"/>
              </a:ext>
            </a:extLst>
          </p:cNvPr>
          <p:cNvSpPr>
            <a:spLocks noGrp="1"/>
          </p:cNvSpPr>
          <p:nvPr>
            <p:ph type="subTitle" idx="1" hasCustomPrompt="1"/>
          </p:nvPr>
        </p:nvSpPr>
        <p:spPr>
          <a:xfrm>
            <a:off x="5114930" y="4234934"/>
            <a:ext cx="6449470" cy="1271201"/>
          </a:xfrm>
        </p:spPr>
        <p:txBody>
          <a:bodyPr anchor="t">
            <a:norm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a:p>
            <a:r>
              <a:rPr lang="en-GB" dirty="0"/>
              <a:t>Speaker Name</a:t>
            </a:r>
          </a:p>
          <a:p>
            <a:r>
              <a:rPr lang="en-GB" dirty="0"/>
              <a:t>Date and Location</a:t>
            </a:r>
            <a:endParaRPr lang="en-US" dirty="0"/>
          </a:p>
        </p:txBody>
      </p:sp>
    </p:spTree>
    <p:extLst>
      <p:ext uri="{BB962C8B-B14F-4D97-AF65-F5344CB8AC3E}">
        <p14:creationId xmlns:p14="http://schemas.microsoft.com/office/powerpoint/2010/main" val="401667239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Title Slide Glob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6A29079-BBF9-2449-9D35-924610060F05}"/>
              </a:ext>
            </a:extLst>
          </p:cNvPr>
          <p:cNvPicPr>
            <a:picLocks noChangeAspect="1"/>
          </p:cNvPicPr>
          <p:nvPr userDrawn="1"/>
        </p:nvPicPr>
        <p:blipFill>
          <a:blip r:embed="rId2"/>
          <a:srcRect/>
          <a:stretch/>
        </p:blipFill>
        <p:spPr>
          <a:xfrm>
            <a:off x="0" y="0"/>
            <a:ext cx="12192000" cy="6858000"/>
          </a:xfrm>
          <a:prstGeom prst="rect">
            <a:avLst/>
          </a:prstGeom>
        </p:spPr>
      </p:pic>
      <p:pic>
        <p:nvPicPr>
          <p:cNvPr id="9" name="Picture 8" descr="A picture containing graphical user interface&#10;&#10;Description automatically generated">
            <a:extLst>
              <a:ext uri="{FF2B5EF4-FFF2-40B4-BE49-F238E27FC236}">
                <a16:creationId xmlns:a16="http://schemas.microsoft.com/office/drawing/2014/main" id="{3C84888C-D5DC-CE40-B058-C4F8A1386EDB}"/>
              </a:ext>
            </a:extLst>
          </p:cNvPr>
          <p:cNvPicPr>
            <a:picLocks noChangeAspect="1"/>
          </p:cNvPicPr>
          <p:nvPr userDrawn="1"/>
        </p:nvPicPr>
        <p:blipFill>
          <a:blip r:embed="rId3"/>
          <a:stretch>
            <a:fillRect/>
          </a:stretch>
        </p:blipFill>
        <p:spPr>
          <a:xfrm>
            <a:off x="0" y="177106"/>
            <a:ext cx="4411916" cy="2160000"/>
          </a:xfrm>
          <a:prstGeom prst="rect">
            <a:avLst/>
          </a:prstGeom>
        </p:spPr>
      </p:pic>
      <p:cxnSp>
        <p:nvCxnSpPr>
          <p:cNvPr id="12" name="Straight Connector 11">
            <a:extLst>
              <a:ext uri="{FF2B5EF4-FFF2-40B4-BE49-F238E27FC236}">
                <a16:creationId xmlns:a16="http://schemas.microsoft.com/office/drawing/2014/main" id="{CF8C5567-1597-6746-A572-07785B31B403}"/>
              </a:ext>
            </a:extLst>
          </p:cNvPr>
          <p:cNvCxnSpPr>
            <a:cxnSpLocks/>
          </p:cNvCxnSpPr>
          <p:nvPr userDrawn="1"/>
        </p:nvCxnSpPr>
        <p:spPr>
          <a:xfrm>
            <a:off x="4430966" y="729000"/>
            <a:ext cx="0" cy="5400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5591749C-D1A3-984F-AFA4-5ECC1907F0E1}"/>
              </a:ext>
            </a:extLst>
          </p:cNvPr>
          <p:cNvSpPr>
            <a:spLocks noGrp="1"/>
          </p:cNvSpPr>
          <p:nvPr>
            <p:ph type="ctrTitle" hasCustomPrompt="1"/>
          </p:nvPr>
        </p:nvSpPr>
        <p:spPr>
          <a:xfrm>
            <a:off x="5114930" y="729000"/>
            <a:ext cx="6372220" cy="3273362"/>
          </a:xfrm>
        </p:spPr>
        <p:txBody>
          <a:bodyPr anchor="ctr">
            <a:normAutofit/>
          </a:bodyPr>
          <a:lstStyle>
            <a:lvl1pPr algn="l">
              <a:defRPr sz="4500">
                <a:solidFill>
                  <a:schemeClr val="bg1"/>
                </a:solidFill>
              </a:defRPr>
            </a:lvl1pPr>
          </a:lstStyle>
          <a:p>
            <a:r>
              <a:rPr lang="en-SI" dirty="0"/>
              <a:t>Title of the presentation</a:t>
            </a:r>
            <a:endParaRPr lang="en-US" dirty="0"/>
          </a:p>
        </p:txBody>
      </p:sp>
      <p:sp>
        <p:nvSpPr>
          <p:cNvPr id="8" name="Subtitle 2">
            <a:extLst>
              <a:ext uri="{FF2B5EF4-FFF2-40B4-BE49-F238E27FC236}">
                <a16:creationId xmlns:a16="http://schemas.microsoft.com/office/drawing/2014/main" id="{DB95523F-D147-4043-8292-0F1CB1A9890A}"/>
              </a:ext>
            </a:extLst>
          </p:cNvPr>
          <p:cNvSpPr>
            <a:spLocks noGrp="1"/>
          </p:cNvSpPr>
          <p:nvPr>
            <p:ph type="subTitle" idx="1" hasCustomPrompt="1"/>
          </p:nvPr>
        </p:nvSpPr>
        <p:spPr>
          <a:xfrm>
            <a:off x="5114930" y="4234934"/>
            <a:ext cx="6449470" cy="1271201"/>
          </a:xfrm>
        </p:spPr>
        <p:txBody>
          <a:bodyPr anchor="t">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a:p>
            <a:r>
              <a:rPr lang="en-GB" dirty="0"/>
              <a:t>Speaker Name</a:t>
            </a:r>
          </a:p>
          <a:p>
            <a:r>
              <a:rPr lang="en-GB" dirty="0"/>
              <a:t>Date and Location</a:t>
            </a:r>
            <a:endParaRPr lang="en-US" dirty="0"/>
          </a:p>
        </p:txBody>
      </p:sp>
    </p:spTree>
    <p:extLst>
      <p:ext uri="{BB962C8B-B14F-4D97-AF65-F5344CB8AC3E}">
        <p14:creationId xmlns:p14="http://schemas.microsoft.com/office/powerpoint/2010/main" val="1967305727"/>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Title Slide REMI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6A29079-BBF9-2449-9D35-924610060F05}"/>
              </a:ext>
            </a:extLst>
          </p:cNvPr>
          <p:cNvPicPr>
            <a:picLocks noChangeAspect="1"/>
          </p:cNvPicPr>
          <p:nvPr userDrawn="1"/>
        </p:nvPicPr>
        <p:blipFill>
          <a:blip r:embed="rId2"/>
          <a:srcRect/>
          <a:stretch/>
        </p:blipFill>
        <p:spPr>
          <a:xfrm>
            <a:off x="0" y="0"/>
            <a:ext cx="12192000" cy="6858000"/>
          </a:xfrm>
          <a:prstGeom prst="rect">
            <a:avLst/>
          </a:prstGeom>
        </p:spPr>
      </p:pic>
      <p:pic>
        <p:nvPicPr>
          <p:cNvPr id="9" name="Picture 8">
            <a:extLst>
              <a:ext uri="{FF2B5EF4-FFF2-40B4-BE49-F238E27FC236}">
                <a16:creationId xmlns:a16="http://schemas.microsoft.com/office/drawing/2014/main" id="{3C84888C-D5DC-CE40-B058-C4F8A1386EDB}"/>
              </a:ext>
            </a:extLst>
          </p:cNvPr>
          <p:cNvPicPr>
            <a:picLocks noChangeAspect="1"/>
          </p:cNvPicPr>
          <p:nvPr userDrawn="1"/>
        </p:nvPicPr>
        <p:blipFill>
          <a:blip r:embed="rId3"/>
          <a:srcRect/>
          <a:stretch/>
        </p:blipFill>
        <p:spPr>
          <a:xfrm>
            <a:off x="2345" y="177106"/>
            <a:ext cx="4407226" cy="2160000"/>
          </a:xfrm>
          <a:prstGeom prst="rect">
            <a:avLst/>
          </a:prstGeom>
        </p:spPr>
      </p:pic>
      <p:cxnSp>
        <p:nvCxnSpPr>
          <p:cNvPr id="12" name="Straight Connector 11">
            <a:extLst>
              <a:ext uri="{FF2B5EF4-FFF2-40B4-BE49-F238E27FC236}">
                <a16:creationId xmlns:a16="http://schemas.microsoft.com/office/drawing/2014/main" id="{CF8C5567-1597-6746-A572-07785B31B403}"/>
              </a:ext>
            </a:extLst>
          </p:cNvPr>
          <p:cNvCxnSpPr>
            <a:cxnSpLocks/>
          </p:cNvCxnSpPr>
          <p:nvPr userDrawn="1"/>
        </p:nvCxnSpPr>
        <p:spPr>
          <a:xfrm>
            <a:off x="4430966" y="729000"/>
            <a:ext cx="0" cy="5400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5591749C-D1A3-984F-AFA4-5ECC1907F0E1}"/>
              </a:ext>
            </a:extLst>
          </p:cNvPr>
          <p:cNvSpPr>
            <a:spLocks noGrp="1"/>
          </p:cNvSpPr>
          <p:nvPr>
            <p:ph type="ctrTitle" hasCustomPrompt="1"/>
          </p:nvPr>
        </p:nvSpPr>
        <p:spPr>
          <a:xfrm>
            <a:off x="5114930" y="729000"/>
            <a:ext cx="6372220" cy="3273362"/>
          </a:xfrm>
        </p:spPr>
        <p:txBody>
          <a:bodyPr anchor="ctr">
            <a:normAutofit/>
          </a:bodyPr>
          <a:lstStyle>
            <a:lvl1pPr algn="l">
              <a:defRPr sz="4500">
                <a:solidFill>
                  <a:schemeClr val="bg1"/>
                </a:solidFill>
              </a:defRPr>
            </a:lvl1pPr>
          </a:lstStyle>
          <a:p>
            <a:r>
              <a:rPr lang="en-SI" dirty="0"/>
              <a:t>Title of the presentation</a:t>
            </a:r>
            <a:endParaRPr lang="en-US" dirty="0"/>
          </a:p>
        </p:txBody>
      </p:sp>
      <p:sp>
        <p:nvSpPr>
          <p:cNvPr id="7" name="Subtitle 2">
            <a:extLst>
              <a:ext uri="{FF2B5EF4-FFF2-40B4-BE49-F238E27FC236}">
                <a16:creationId xmlns:a16="http://schemas.microsoft.com/office/drawing/2014/main" id="{D60C75DC-8031-B34F-8CD7-0B5EA60E28A1}"/>
              </a:ext>
            </a:extLst>
          </p:cNvPr>
          <p:cNvSpPr>
            <a:spLocks noGrp="1"/>
          </p:cNvSpPr>
          <p:nvPr>
            <p:ph type="subTitle" idx="1" hasCustomPrompt="1"/>
          </p:nvPr>
        </p:nvSpPr>
        <p:spPr>
          <a:xfrm>
            <a:off x="5114930" y="4234934"/>
            <a:ext cx="6449470" cy="1271201"/>
          </a:xfrm>
        </p:spPr>
        <p:txBody>
          <a:bodyPr anchor="t">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a:p>
            <a:r>
              <a:rPr lang="en-GB" dirty="0"/>
              <a:t>Speaker Name</a:t>
            </a:r>
          </a:p>
          <a:p>
            <a:r>
              <a:rPr lang="en-GB" dirty="0"/>
              <a:t>Date and Location</a:t>
            </a:r>
            <a:endParaRPr lang="en-US" dirty="0"/>
          </a:p>
        </p:txBody>
      </p:sp>
    </p:spTree>
    <p:extLst>
      <p:ext uri="{BB962C8B-B14F-4D97-AF65-F5344CB8AC3E}">
        <p14:creationId xmlns:p14="http://schemas.microsoft.com/office/powerpoint/2010/main" val="40810629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Title Slide GAS">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6A29079-BBF9-2449-9D35-924610060F05}"/>
              </a:ext>
            </a:extLst>
          </p:cNvPr>
          <p:cNvPicPr>
            <a:picLocks noChangeAspect="1"/>
          </p:cNvPicPr>
          <p:nvPr userDrawn="1"/>
        </p:nvPicPr>
        <p:blipFill>
          <a:blip r:embed="rId2"/>
          <a:srcRect/>
          <a:stretch/>
        </p:blipFill>
        <p:spPr>
          <a:xfrm>
            <a:off x="600" y="337"/>
            <a:ext cx="12192000" cy="6858000"/>
          </a:xfrm>
          <a:prstGeom prst="rect">
            <a:avLst/>
          </a:prstGeom>
        </p:spPr>
      </p:pic>
      <p:pic>
        <p:nvPicPr>
          <p:cNvPr id="9" name="Picture 8">
            <a:extLst>
              <a:ext uri="{FF2B5EF4-FFF2-40B4-BE49-F238E27FC236}">
                <a16:creationId xmlns:a16="http://schemas.microsoft.com/office/drawing/2014/main" id="{3C84888C-D5DC-CE40-B058-C4F8A1386EDB}"/>
              </a:ext>
            </a:extLst>
          </p:cNvPr>
          <p:cNvPicPr>
            <a:picLocks noChangeAspect="1"/>
          </p:cNvPicPr>
          <p:nvPr userDrawn="1"/>
        </p:nvPicPr>
        <p:blipFill>
          <a:blip r:embed="rId3"/>
          <a:srcRect/>
          <a:stretch/>
        </p:blipFill>
        <p:spPr>
          <a:xfrm>
            <a:off x="2345" y="177106"/>
            <a:ext cx="4407226" cy="2160000"/>
          </a:xfrm>
          <a:prstGeom prst="rect">
            <a:avLst/>
          </a:prstGeom>
        </p:spPr>
      </p:pic>
      <p:cxnSp>
        <p:nvCxnSpPr>
          <p:cNvPr id="12" name="Straight Connector 11">
            <a:extLst>
              <a:ext uri="{FF2B5EF4-FFF2-40B4-BE49-F238E27FC236}">
                <a16:creationId xmlns:a16="http://schemas.microsoft.com/office/drawing/2014/main" id="{CF8C5567-1597-6746-A572-07785B31B403}"/>
              </a:ext>
            </a:extLst>
          </p:cNvPr>
          <p:cNvCxnSpPr>
            <a:cxnSpLocks/>
          </p:cNvCxnSpPr>
          <p:nvPr userDrawn="1"/>
        </p:nvCxnSpPr>
        <p:spPr>
          <a:xfrm>
            <a:off x="4430966" y="729000"/>
            <a:ext cx="0" cy="5400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5591749C-D1A3-984F-AFA4-5ECC1907F0E1}"/>
              </a:ext>
            </a:extLst>
          </p:cNvPr>
          <p:cNvSpPr>
            <a:spLocks noGrp="1"/>
          </p:cNvSpPr>
          <p:nvPr>
            <p:ph type="ctrTitle" hasCustomPrompt="1"/>
          </p:nvPr>
        </p:nvSpPr>
        <p:spPr>
          <a:xfrm>
            <a:off x="5114930" y="729000"/>
            <a:ext cx="6372220" cy="3273362"/>
          </a:xfrm>
        </p:spPr>
        <p:txBody>
          <a:bodyPr anchor="ctr">
            <a:normAutofit/>
          </a:bodyPr>
          <a:lstStyle>
            <a:lvl1pPr algn="l">
              <a:defRPr sz="4500">
                <a:solidFill>
                  <a:schemeClr val="bg1"/>
                </a:solidFill>
              </a:defRPr>
            </a:lvl1pPr>
          </a:lstStyle>
          <a:p>
            <a:r>
              <a:rPr lang="en-SI" dirty="0"/>
              <a:t>Title of the presentation</a:t>
            </a:r>
            <a:endParaRPr lang="en-US" dirty="0"/>
          </a:p>
        </p:txBody>
      </p:sp>
      <p:sp>
        <p:nvSpPr>
          <p:cNvPr id="7" name="Subtitle 2">
            <a:extLst>
              <a:ext uri="{FF2B5EF4-FFF2-40B4-BE49-F238E27FC236}">
                <a16:creationId xmlns:a16="http://schemas.microsoft.com/office/drawing/2014/main" id="{D60C75DC-8031-B34F-8CD7-0B5EA60E28A1}"/>
              </a:ext>
            </a:extLst>
          </p:cNvPr>
          <p:cNvSpPr>
            <a:spLocks noGrp="1"/>
          </p:cNvSpPr>
          <p:nvPr>
            <p:ph type="subTitle" idx="1" hasCustomPrompt="1"/>
          </p:nvPr>
        </p:nvSpPr>
        <p:spPr>
          <a:xfrm>
            <a:off x="5114930" y="4234934"/>
            <a:ext cx="6449470" cy="1271201"/>
          </a:xfrm>
        </p:spPr>
        <p:txBody>
          <a:bodyPr anchor="t">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a:p>
            <a:r>
              <a:rPr lang="en-GB" dirty="0"/>
              <a:t>Speaker Name</a:t>
            </a:r>
          </a:p>
          <a:p>
            <a:r>
              <a:rPr lang="en-GB" dirty="0"/>
              <a:t>Date and Location</a:t>
            </a:r>
            <a:endParaRPr lang="en-US" dirty="0"/>
          </a:p>
        </p:txBody>
      </p:sp>
    </p:spTree>
    <p:extLst>
      <p:ext uri="{BB962C8B-B14F-4D97-AF65-F5344CB8AC3E}">
        <p14:creationId xmlns:p14="http://schemas.microsoft.com/office/powerpoint/2010/main" val="20282496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3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52736"/>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a:t>Click </a:t>
            </a:r>
            <a:r>
              <a:rPr lang="de-DE" err="1"/>
              <a:t>here</a:t>
            </a:r>
            <a:r>
              <a:rPr lang="de-DE"/>
              <a:t> </a:t>
            </a:r>
            <a:r>
              <a:rPr lang="de-DE" err="1"/>
              <a:t>to</a:t>
            </a:r>
            <a:r>
              <a:rPr lang="de-DE"/>
              <a:t> </a:t>
            </a:r>
            <a:r>
              <a:rPr lang="de-DE" err="1"/>
              <a:t>edit</a:t>
            </a:r>
            <a:r>
              <a:rPr lang="de-DE"/>
              <a: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4111" y="1545377"/>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a:t>Headline 3</a:t>
            </a:r>
          </a:p>
        </p:txBody>
      </p:sp>
    </p:spTree>
    <p:extLst>
      <p:ext uri="{BB962C8B-B14F-4D97-AF65-F5344CB8AC3E}">
        <p14:creationId xmlns:p14="http://schemas.microsoft.com/office/powerpoint/2010/main" val="1011726284"/>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4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285639" y="3074577"/>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hapter </a:t>
            </a:r>
            <a:r>
              <a:rPr lang="de-DE" err="1"/>
              <a:t>slide</a:t>
            </a:r>
            <a:endParaRPr lang="de-DE"/>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54397" y="289281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2221342425"/>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5_ENTSO-E One Column">
    <p:spTree>
      <p:nvGrpSpPr>
        <p:cNvPr id="1" name=""/>
        <p:cNvGrpSpPr/>
        <p:nvPr/>
      </p:nvGrpSpPr>
      <p:grpSpPr>
        <a:xfrm>
          <a:off x="0" y="0"/>
          <a:ext cx="0" cy="0"/>
          <a:chOff x="0" y="0"/>
          <a:chExt cx="0" cy="0"/>
        </a:xfrm>
      </p:grpSpPr>
      <p:sp>
        <p:nvSpPr>
          <p:cNvPr id="13" name="Inhaltsplatzhalter 2"/>
          <p:cNvSpPr>
            <a:spLocks noGrp="1"/>
          </p:cNvSpPr>
          <p:nvPr>
            <p:ph idx="1" hasCustomPrompt="1"/>
          </p:nvPr>
        </p:nvSpPr>
        <p:spPr>
          <a:xfrm>
            <a:off x="372538" y="908720"/>
            <a:ext cx="11616268" cy="3815866"/>
          </a:xfrm>
          <a:prstGeom prst="rect">
            <a:avLst/>
          </a:prstGeom>
        </p:spPr>
        <p:txBody>
          <a:bodyPr>
            <a:normAutofit/>
          </a:bodyPr>
          <a:lstStyle>
            <a:lvl1pPr>
              <a:lnSpc>
                <a:spcPct val="90000"/>
              </a:lnSpc>
              <a:defRPr sz="1800">
                <a:latin typeface="Calibri" panose="020F0502020204030204" pitchFamily="34" charset="0"/>
                <a:cs typeface="Calibri" panose="020F0502020204030204" pitchFamily="34" charset="0"/>
              </a:defRPr>
            </a:lvl1pPr>
            <a:lvl2pPr>
              <a:lnSpc>
                <a:spcPct val="90000"/>
              </a:lnSpc>
              <a:defRPr sz="1800">
                <a:latin typeface="Calibri" panose="020F0502020204030204" pitchFamily="34" charset="0"/>
                <a:cs typeface="Calibri" panose="020F0502020204030204" pitchFamily="34" charset="0"/>
              </a:defRPr>
            </a:lvl2pPr>
            <a:lvl3pPr>
              <a:lnSpc>
                <a:spcPct val="90000"/>
              </a:lnSpc>
              <a:defRPr sz="1800">
                <a:latin typeface="Calibri" panose="020F0502020204030204" pitchFamily="34" charset="0"/>
                <a:cs typeface="Calibri" panose="020F0502020204030204" pitchFamily="34" charset="0"/>
              </a:defRPr>
            </a:lvl3pPr>
            <a:lvl4pPr>
              <a:lnSpc>
                <a:spcPct val="90000"/>
              </a:lnSpc>
              <a:defRPr sz="1800">
                <a:latin typeface="Calibri" panose="020F0502020204030204" pitchFamily="34" charset="0"/>
                <a:cs typeface="Calibri" panose="020F0502020204030204" pitchFamily="34" charset="0"/>
              </a:defRPr>
            </a:lvl4pPr>
            <a:lvl5pPr>
              <a:lnSpc>
                <a:spcPct val="90000"/>
              </a:lnSpc>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r>
              <a:rPr lang="de-DE"/>
              <a:t>; Firs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2741969575"/>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6_ENTSO-E One column bullet points">
    <p:spTree>
      <p:nvGrpSpPr>
        <p:cNvPr id="1" name=""/>
        <p:cNvGrpSpPr/>
        <p:nvPr/>
      </p:nvGrpSpPr>
      <p:grpSpPr>
        <a:xfrm>
          <a:off x="0" y="0"/>
          <a:ext cx="0" cy="0"/>
          <a:chOff x="0" y="0"/>
          <a:chExt cx="0" cy="0"/>
        </a:xfrm>
      </p:grpSpPr>
      <p:sp>
        <p:nvSpPr>
          <p:cNvPr id="6" name="Inhaltsplatzhalter 2">
            <a:extLst>
              <a:ext uri="{FF2B5EF4-FFF2-40B4-BE49-F238E27FC236}">
                <a16:creationId xmlns:a16="http://schemas.microsoft.com/office/drawing/2014/main" id="{935407F8-9A7B-4A34-BB6A-ACBE6B64DA8C}"/>
              </a:ext>
            </a:extLst>
          </p:cNvPr>
          <p:cNvSpPr>
            <a:spLocks noGrp="1"/>
          </p:cNvSpPr>
          <p:nvPr>
            <p:ph idx="16" hasCustomPrompt="1"/>
          </p:nvPr>
        </p:nvSpPr>
        <p:spPr>
          <a:xfrm>
            <a:off x="413466" y="1124744"/>
            <a:ext cx="11616268"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8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5" name="Titel 5">
            <a:extLst>
              <a:ext uri="{FF2B5EF4-FFF2-40B4-BE49-F238E27FC236}">
                <a16:creationId xmlns:a16="http://schemas.microsoft.com/office/drawing/2014/main" id="{9D00A475-8F1F-43A8-B9D4-0E2195454A9F}"/>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2185379139"/>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orient="horz" pos="1480">
          <p15:clr>
            <a:srgbClr val="A4A3A4"/>
          </p15:clr>
        </p15:guide>
        <p15:guide id="6" orient="horz" pos="1548">
          <p15:clr>
            <a:srgbClr val="A4A3A4"/>
          </p15:clr>
        </p15:guide>
        <p15:guide id="9" pos="7499">
          <p15:clr>
            <a:srgbClr val="A4A3A4"/>
          </p15:clr>
        </p15:guide>
        <p15:guide id="10" pos="181">
          <p15:clr>
            <a:srgbClr val="A4A3A4"/>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7_ENTSO-E Two columns">
    <p:spTree>
      <p:nvGrpSpPr>
        <p:cNvPr id="1" name=""/>
        <p:cNvGrpSpPr/>
        <p:nvPr/>
      </p:nvGrpSpPr>
      <p:grpSpPr>
        <a:xfrm>
          <a:off x="0" y="0"/>
          <a:ext cx="0" cy="0"/>
          <a:chOff x="0" y="0"/>
          <a:chExt cx="0" cy="0"/>
        </a:xfrm>
      </p:grpSpPr>
      <p:sp>
        <p:nvSpPr>
          <p:cNvPr id="9" name="Inhaltsplatzhalter 2"/>
          <p:cNvSpPr>
            <a:spLocks noGrp="1"/>
          </p:cNvSpPr>
          <p:nvPr>
            <p:ph idx="1" hasCustomPrompt="1"/>
          </p:nvPr>
        </p:nvSpPr>
        <p:spPr>
          <a:xfrm>
            <a:off x="382868" y="1052736"/>
            <a:ext cx="5664117" cy="3311810"/>
          </a:xfrm>
          <a:prstGeom prst="rect">
            <a:avLst/>
          </a:prstGeom>
        </p:spPr>
        <p:txBody>
          <a:bodyPr>
            <a:normAutofit/>
          </a:bodyPr>
          <a:lstStyle>
            <a:lvl1pPr algn="l">
              <a:defRPr sz="18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0" name="Inhaltsplatzhalter 2"/>
          <p:cNvSpPr>
            <a:spLocks noGrp="1"/>
          </p:cNvSpPr>
          <p:nvPr>
            <p:ph idx="13" hasCustomPrompt="1"/>
          </p:nvPr>
        </p:nvSpPr>
        <p:spPr>
          <a:xfrm>
            <a:off x="6206439" y="1052736"/>
            <a:ext cx="5664117" cy="3311810"/>
          </a:xfrm>
          <a:prstGeom prst="rect">
            <a:avLst/>
          </a:prstGeom>
        </p:spPr>
        <p:txBody>
          <a:bodyPr>
            <a:normAutofit/>
          </a:bodyPr>
          <a:lstStyle>
            <a:lvl1pPr>
              <a:defRPr sz="18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6" name="Titel 5">
            <a:extLst>
              <a:ext uri="{FF2B5EF4-FFF2-40B4-BE49-F238E27FC236}">
                <a16:creationId xmlns:a16="http://schemas.microsoft.com/office/drawing/2014/main" id="{BF868832-6945-4F2F-8DEC-A69FB10BA62E}"/>
              </a:ext>
            </a:extLst>
          </p:cNvPr>
          <p:cNvSpPr>
            <a:spLocks noGrp="1"/>
          </p:cNvSpPr>
          <p:nvPr>
            <p:ph type="title" hasCustomPrompt="1"/>
          </p:nvPr>
        </p:nvSpPr>
        <p:spPr>
          <a:xfrm>
            <a:off x="38286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4153485713"/>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pos="181">
          <p15:clr>
            <a:srgbClr val="A4A3A4"/>
          </p15:clr>
        </p15:guide>
        <p15:guide id="5" pos="7499">
          <p15:clr>
            <a:srgbClr val="A4A3A4"/>
          </p15:clr>
        </p15:guide>
        <p15:guide id="6" orient="horz" pos="3634">
          <p15:clr>
            <a:srgbClr val="A4A3A4"/>
          </p15:clr>
        </p15:guide>
        <p15:guide id="7" orient="horz" pos="1049">
          <p15:clr>
            <a:srgbClr val="A4A3A4"/>
          </p15:clr>
        </p15:guide>
        <p15:guide id="8" pos="3749">
          <p15:clr>
            <a:srgbClr val="A4A3A4"/>
          </p15:clr>
        </p15:guide>
        <p15:guide id="9" pos="3931">
          <p15:clr>
            <a:srgbClr val="A4A3A4"/>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8_ENTSO-E Three columns">
    <p:spTree>
      <p:nvGrpSpPr>
        <p:cNvPr id="1" name=""/>
        <p:cNvGrpSpPr/>
        <p:nvPr/>
      </p:nvGrpSpPr>
      <p:grpSpPr>
        <a:xfrm>
          <a:off x="0" y="0"/>
          <a:ext cx="0" cy="0"/>
          <a:chOff x="0" y="0"/>
          <a:chExt cx="0" cy="0"/>
        </a:xfrm>
      </p:grpSpPr>
      <p:sp>
        <p:nvSpPr>
          <p:cNvPr id="13" name="Textplatzhalter 3"/>
          <p:cNvSpPr>
            <a:spLocks noGrp="1"/>
          </p:cNvSpPr>
          <p:nvPr>
            <p:ph type="body" sz="quarter" idx="16" hasCustomPrompt="1"/>
          </p:nvPr>
        </p:nvSpPr>
        <p:spPr>
          <a:xfrm>
            <a:off x="382588" y="1297579"/>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a:t>Headline 3</a:t>
            </a:r>
          </a:p>
        </p:txBody>
      </p:sp>
      <p:sp>
        <p:nvSpPr>
          <p:cNvPr id="14" name="Inhaltsplatzhalter 2">
            <a:extLst>
              <a:ext uri="{FF2B5EF4-FFF2-40B4-BE49-F238E27FC236}">
                <a16:creationId xmlns:a16="http://schemas.microsoft.com/office/drawing/2014/main" id="{9341F4E3-0CAE-4A14-AD42-9C698E28F0E7}"/>
              </a:ext>
            </a:extLst>
          </p:cNvPr>
          <p:cNvSpPr>
            <a:spLocks noGrp="1"/>
          </p:cNvSpPr>
          <p:nvPr>
            <p:ph idx="18" hasCustomPrompt="1"/>
          </p:nvPr>
        </p:nvSpPr>
        <p:spPr>
          <a:xfrm>
            <a:off x="380339" y="1844824"/>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5" name="Inhaltsplatzhalter 2">
            <a:extLst>
              <a:ext uri="{FF2B5EF4-FFF2-40B4-BE49-F238E27FC236}">
                <a16:creationId xmlns:a16="http://schemas.microsoft.com/office/drawing/2014/main" id="{E742937F-ADF9-487A-AB88-EE6EE0E8FD08}"/>
              </a:ext>
            </a:extLst>
          </p:cNvPr>
          <p:cNvSpPr>
            <a:spLocks noGrp="1"/>
          </p:cNvSpPr>
          <p:nvPr>
            <p:ph idx="19" hasCustomPrompt="1"/>
          </p:nvPr>
        </p:nvSpPr>
        <p:spPr>
          <a:xfrm>
            <a:off x="7923229" y="1844822"/>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7" name="Inhaltsplatzhalter 2">
            <a:extLst>
              <a:ext uri="{FF2B5EF4-FFF2-40B4-BE49-F238E27FC236}">
                <a16:creationId xmlns:a16="http://schemas.microsoft.com/office/drawing/2014/main" id="{C1294B06-543C-439B-844D-292C65223D9D}"/>
              </a:ext>
            </a:extLst>
          </p:cNvPr>
          <p:cNvSpPr>
            <a:spLocks noGrp="1"/>
          </p:cNvSpPr>
          <p:nvPr>
            <p:ph idx="20" hasCustomPrompt="1"/>
          </p:nvPr>
        </p:nvSpPr>
        <p:spPr>
          <a:xfrm>
            <a:off x="4151784" y="1844823"/>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9" name="Titel 5">
            <a:extLst>
              <a:ext uri="{FF2B5EF4-FFF2-40B4-BE49-F238E27FC236}">
                <a16:creationId xmlns:a16="http://schemas.microsoft.com/office/drawing/2014/main" id="{009D75ED-94BB-4DB3-A55E-CFA85E39F7A3}"/>
              </a:ext>
            </a:extLst>
          </p:cNvPr>
          <p:cNvSpPr>
            <a:spLocks noGrp="1"/>
          </p:cNvSpPr>
          <p:nvPr>
            <p:ph type="title" hasCustomPrompt="1"/>
          </p:nvPr>
        </p:nvSpPr>
        <p:spPr>
          <a:xfrm>
            <a:off x="380339" y="260648"/>
            <a:ext cx="11617788" cy="431325"/>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11" name="Textplatzhalter 11">
            <a:extLst>
              <a:ext uri="{FF2B5EF4-FFF2-40B4-BE49-F238E27FC236}">
                <a16:creationId xmlns:a16="http://schemas.microsoft.com/office/drawing/2014/main" id="{CDA0278C-3CB1-4B5A-B6A3-7F8C901572EF}"/>
              </a:ext>
            </a:extLst>
          </p:cNvPr>
          <p:cNvSpPr>
            <a:spLocks noGrp="1"/>
          </p:cNvSpPr>
          <p:nvPr>
            <p:ph type="body" sz="quarter" idx="12" hasCustomPrompt="1"/>
          </p:nvPr>
        </p:nvSpPr>
        <p:spPr>
          <a:xfrm>
            <a:off x="382588" y="785744"/>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a:t>Click </a:t>
            </a:r>
            <a:r>
              <a:rPr lang="de-DE" err="1"/>
              <a:t>here</a:t>
            </a:r>
            <a:r>
              <a:rPr lang="de-DE"/>
              <a:t> </a:t>
            </a:r>
            <a:r>
              <a:rPr lang="de-DE" err="1"/>
              <a:t>to</a:t>
            </a:r>
            <a:r>
              <a:rPr lang="de-DE"/>
              <a:t> </a:t>
            </a:r>
            <a:r>
              <a:rPr lang="de-DE" err="1"/>
              <a:t>edit</a:t>
            </a:r>
            <a:r>
              <a:rPr lang="de-DE"/>
              <a:t> Headline 2 </a:t>
            </a:r>
          </a:p>
        </p:txBody>
      </p:sp>
    </p:spTree>
    <p:extLst>
      <p:ext uri="{BB962C8B-B14F-4D97-AF65-F5344CB8AC3E}">
        <p14:creationId xmlns:p14="http://schemas.microsoft.com/office/powerpoint/2010/main" val="4291053029"/>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orient="horz" pos="1049">
          <p15:clr>
            <a:srgbClr val="A4A3A4"/>
          </p15:clr>
        </p15:guide>
        <p15:guide id="5" orient="horz" pos="1480">
          <p15:clr>
            <a:srgbClr val="A4A3A4"/>
          </p15:clr>
        </p15:guide>
        <p15:guide id="6" orient="horz" pos="1548">
          <p15:clr>
            <a:srgbClr val="A4A3A4"/>
          </p15:clr>
        </p15:guide>
        <p15:guide id="7" orient="horz" pos="3634">
          <p15:clr>
            <a:srgbClr val="A4A3A4"/>
          </p15:clr>
        </p15:guide>
        <p15:guide id="8" pos="181">
          <p15:clr>
            <a:srgbClr val="A4A3A4"/>
          </p15:clr>
        </p15:guide>
        <p15:guide id="9" pos="7499">
          <p15:clr>
            <a:srgbClr val="A4A3A4"/>
          </p15:clr>
        </p15:guide>
        <p15:guide id="10" pos="3931">
          <p15:clr>
            <a:srgbClr val="A4A3A4"/>
          </p15:clr>
        </p15:guide>
        <p15:guide id="11" pos="3749">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4" name="Rectangle 1"/>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x-none"/>
          </a:p>
        </p:txBody>
      </p:sp>
      <p:pic>
        <p:nvPicPr>
          <p:cNvPr id="5" name="Picture 8"/>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88" y="177800"/>
            <a:ext cx="4408487" cy="215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p:cNvCxnSpPr>
            <a:cxnSpLocks/>
          </p:cNvCxnSpPr>
          <p:nvPr userDrawn="1"/>
        </p:nvCxnSpPr>
        <p:spPr>
          <a:xfrm>
            <a:off x="4430713" y="728663"/>
            <a:ext cx="0" cy="5400675"/>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7"/>
          <p:cNvSpPr txBox="1">
            <a:spLocks noChangeArrowheads="1"/>
          </p:cNvSpPr>
          <p:nvPr userDrawn="1"/>
        </p:nvSpPr>
        <p:spPr bwMode="auto">
          <a:xfrm>
            <a:off x="5114925" y="5813425"/>
            <a:ext cx="3605213" cy="368300"/>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nl-NL" altLang="nl-NL" b="1">
                <a:solidFill>
                  <a:schemeClr val="bg2"/>
                </a:solidFill>
              </a:rPr>
              <a:t>Insert Sensitivity Marking</a:t>
            </a:r>
          </a:p>
        </p:txBody>
      </p:sp>
      <p:sp>
        <p:nvSpPr>
          <p:cNvPr id="11" name="Title 1"/>
          <p:cNvSpPr>
            <a:spLocks noGrp="1"/>
          </p:cNvSpPr>
          <p:nvPr>
            <p:ph type="ctrTitle"/>
          </p:nvPr>
        </p:nvSpPr>
        <p:spPr>
          <a:xfrm>
            <a:off x="5114930" y="729000"/>
            <a:ext cx="6372220" cy="3273362"/>
          </a:xfrm>
        </p:spPr>
        <p:txBody>
          <a:bodyPr>
            <a:normAutofit/>
          </a:bodyPr>
          <a:lstStyle>
            <a:lvl1pPr algn="l">
              <a:defRPr sz="4500">
                <a:solidFill>
                  <a:schemeClr val="bg1"/>
                </a:solidFill>
              </a:defRPr>
            </a:lvl1pPr>
          </a:lstStyle>
          <a:p>
            <a:r>
              <a:rPr lang="nl-NL"/>
              <a:t>Klik om de stijl te bewerken</a:t>
            </a:r>
            <a:endParaRPr lang="en-US" dirty="0"/>
          </a:p>
        </p:txBody>
      </p:sp>
      <p:sp>
        <p:nvSpPr>
          <p:cNvPr id="10" name="Subtitle 2"/>
          <p:cNvSpPr>
            <a:spLocks noGrp="1"/>
          </p:cNvSpPr>
          <p:nvPr>
            <p:ph type="subTitle" idx="1"/>
          </p:nvPr>
        </p:nvSpPr>
        <p:spPr>
          <a:xfrm>
            <a:off x="5114930" y="4234934"/>
            <a:ext cx="6449470" cy="1271201"/>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 om de ondertitelstijl van het model te bewerken</a:t>
            </a:r>
            <a:endParaRPr lang="en-US" dirty="0"/>
          </a:p>
        </p:txBody>
      </p:sp>
    </p:spTree>
    <p:extLst>
      <p:ext uri="{BB962C8B-B14F-4D97-AF65-F5344CB8AC3E}">
        <p14:creationId xmlns:p14="http://schemas.microsoft.com/office/powerpoint/2010/main" val="84722221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el en afbeelding">
    <p:spTree>
      <p:nvGrpSpPr>
        <p:cNvPr id="1" name=""/>
        <p:cNvGrpSpPr/>
        <p:nvPr/>
      </p:nvGrpSpPr>
      <p:grpSpPr>
        <a:xfrm>
          <a:off x="0" y="0"/>
          <a:ext cx="0" cy="0"/>
          <a:chOff x="0" y="0"/>
          <a:chExt cx="0" cy="0"/>
        </a:xfrm>
      </p:grpSpPr>
      <p:sp>
        <p:nvSpPr>
          <p:cNvPr id="5" name="Rechthoek 4">
            <a:extLst>
              <a:ext uri="{C183D7F6-B498-43B3-948B-1728B52AA6E4}">
                <adec:decorative xmlns:adec="http://schemas.microsoft.com/office/drawing/2017/decorative" val="1"/>
              </a:ext>
            </a:extLst>
          </p:cNvPr>
          <p:cNvSpPr/>
          <p:nvPr userDrawn="1"/>
        </p:nvSpPr>
        <p:spPr>
          <a:xfrm>
            <a:off x="0" y="6400801"/>
            <a:ext cx="12192000" cy="455084"/>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nl-NL"/>
          </a:p>
        </p:txBody>
      </p:sp>
      <p:sp>
        <p:nvSpPr>
          <p:cNvPr id="4" name="Titel 3"/>
          <p:cNvSpPr>
            <a:spLocks noGrp="1"/>
          </p:cNvSpPr>
          <p:nvPr>
            <p:ph type="title" hasCustomPrompt="1"/>
          </p:nvPr>
        </p:nvSpPr>
        <p:spPr>
          <a:xfrm>
            <a:off x="431371" y="356660"/>
            <a:ext cx="11227229" cy="1056117"/>
          </a:xfrm>
        </p:spPr>
        <p:txBody>
          <a:bodyPr/>
          <a:lstStyle>
            <a:lvl1pPr>
              <a:defRPr baseline="0">
                <a:solidFill>
                  <a:schemeClr val="accent1"/>
                </a:solidFill>
              </a:defRPr>
            </a:lvl1pPr>
          </a:lstStyle>
          <a:p>
            <a:r>
              <a:rPr lang="nl-NL" altLang="nl-NL" dirty="0"/>
              <a:t>Plaats hier de titel van je dia</a:t>
            </a:r>
            <a:endParaRPr lang="nl-NL" dirty="0"/>
          </a:p>
        </p:txBody>
      </p:sp>
      <p:sp>
        <p:nvSpPr>
          <p:cNvPr id="3" name="Tijdelijke aanduiding voor afbeelding 2"/>
          <p:cNvSpPr>
            <a:spLocks noGrp="1"/>
          </p:cNvSpPr>
          <p:nvPr>
            <p:ph type="pic" sz="quarter" idx="22" hasCustomPrompt="1"/>
          </p:nvPr>
        </p:nvSpPr>
        <p:spPr>
          <a:xfrm>
            <a:off x="431371" y="1411832"/>
            <a:ext cx="11233248" cy="4988983"/>
          </a:xfrm>
        </p:spPr>
        <p:txBody>
          <a:bodyPr rtlCol="0">
            <a:noAutofit/>
          </a:bodyPr>
          <a:lstStyle>
            <a:lvl1pPr marL="457189" marR="0" indent="-457189" algn="l" defTabSz="1219170" rtl="0" eaLnBrk="1" fontAlgn="auto" latinLnBrk="0" hangingPunct="1">
              <a:lnSpc>
                <a:spcPct val="100000"/>
              </a:lnSpc>
              <a:spcBef>
                <a:spcPct val="20000"/>
              </a:spcBef>
              <a:spcAft>
                <a:spcPts val="0"/>
              </a:spcAft>
              <a:buClr>
                <a:srgbClr val="E5007D"/>
              </a:buClr>
              <a:buSzTx/>
              <a:buFont typeface="Arial" panose="020B0604020202020204" pitchFamily="34" charset="0"/>
              <a:buChar char="•"/>
              <a:tabLst/>
              <a:defRPr sz="2933"/>
            </a:lvl1pPr>
          </a:lstStyle>
          <a:p>
            <a:pPr lvl="0"/>
            <a:r>
              <a:rPr lang="nl-NL" noProof="0" dirty="0"/>
              <a:t>Klik op het pictogram om een afbeelding in te voegen</a:t>
            </a:r>
          </a:p>
        </p:txBody>
      </p:sp>
      <p:sp>
        <p:nvSpPr>
          <p:cNvPr id="6" name="Tijdelijke aanduiding voor dianummer 12"/>
          <p:cNvSpPr>
            <a:spLocks noGrp="1"/>
          </p:cNvSpPr>
          <p:nvPr>
            <p:ph type="sldNum" sz="quarter" idx="23"/>
          </p:nvPr>
        </p:nvSpPr>
        <p:spPr/>
        <p:txBody>
          <a:bodyPr/>
          <a:lstStyle>
            <a:lvl1pPr algn="ctr">
              <a:defRPr sz="1333" b="1" smtClean="0">
                <a:solidFill>
                  <a:srgbClr val="007FAE"/>
                </a:solidFill>
              </a:defRPr>
            </a:lvl1pPr>
          </a:lstStyle>
          <a:p>
            <a:pPr>
              <a:defRPr/>
            </a:pPr>
            <a:fld id="{D666E162-1477-4983-85C1-DCC4F3CC4A31}" type="slidenum">
              <a:rPr lang="nl-NL"/>
              <a:pPr>
                <a:defRPr/>
              </a:pPr>
              <a:t>‹#›</a:t>
            </a:fld>
            <a:endParaRPr lang="nl-NL" dirty="0"/>
          </a:p>
        </p:txBody>
      </p:sp>
      <p:sp>
        <p:nvSpPr>
          <p:cNvPr id="7" name="Tijdelijke aanduiding voor datum 6"/>
          <p:cNvSpPr>
            <a:spLocks noGrp="1"/>
          </p:cNvSpPr>
          <p:nvPr>
            <p:ph type="dt" sz="half" idx="24"/>
          </p:nvPr>
        </p:nvSpPr>
        <p:spPr>
          <a:xfrm>
            <a:off x="8434918" y="6400801"/>
            <a:ext cx="2942167" cy="455084"/>
          </a:xfrm>
        </p:spPr>
        <p:txBody>
          <a:bodyPr/>
          <a:lstStyle>
            <a:lvl1pPr algn="r">
              <a:defRPr sz="1333" dirty="0">
                <a:solidFill>
                  <a:schemeClr val="accent4"/>
                </a:solidFill>
                <a:latin typeface="Arial" panose="020B0604020202020204" pitchFamily="34" charset="0"/>
                <a:cs typeface="Arial" panose="020B0604020202020204" pitchFamily="34" charset="0"/>
              </a:defRPr>
            </a:lvl1pPr>
          </a:lstStyle>
          <a:p>
            <a:pPr>
              <a:defRPr/>
            </a:pPr>
            <a:endParaRPr lang="nl-NL"/>
          </a:p>
        </p:txBody>
      </p:sp>
      <p:sp>
        <p:nvSpPr>
          <p:cNvPr id="8" name="Tijdelijke aanduiding voor voettekst 11"/>
          <p:cNvSpPr>
            <a:spLocks noGrp="1"/>
          </p:cNvSpPr>
          <p:nvPr>
            <p:ph type="ftr" sz="quarter" idx="25"/>
          </p:nvPr>
        </p:nvSpPr>
        <p:spPr/>
        <p:txBody>
          <a:bodyPr/>
          <a:lstStyle>
            <a:lvl1pPr algn="l">
              <a:defRPr sz="1333" b="1" dirty="0" smtClean="0">
                <a:solidFill>
                  <a:srgbClr val="007FAE"/>
                </a:solidFill>
                <a:latin typeface="Arial" panose="020B0604020202020204" pitchFamily="34" charset="0"/>
                <a:cs typeface="Arial" panose="020B0604020202020204" pitchFamily="34" charset="0"/>
              </a:defRPr>
            </a:lvl1pPr>
          </a:lstStyle>
          <a:p>
            <a:pPr>
              <a:defRPr/>
            </a:pPr>
            <a:endParaRPr lang="nl-NL"/>
          </a:p>
        </p:txBody>
      </p:sp>
    </p:spTree>
    <p:extLst>
      <p:ext uri="{BB962C8B-B14F-4D97-AF65-F5344CB8AC3E}">
        <p14:creationId xmlns:p14="http://schemas.microsoft.com/office/powerpoint/2010/main" val="2091173430"/>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graphicFrame>
        <p:nvGraphicFramePr>
          <p:cNvPr id="7" name="Inhaltsplatzhalter 9" title="Diagramm Platzhalter">
            <a:extLst>
              <a:ext uri="{FF2B5EF4-FFF2-40B4-BE49-F238E27FC236}">
                <a16:creationId xmlns:a16="http://schemas.microsoft.com/office/drawing/2014/main" id="{B463EBB2-B343-A342-A26F-FA6D526125DA}"/>
              </a:ext>
            </a:extLst>
          </p:cNvPr>
          <p:cNvGraphicFramePr>
            <a:graphicFrameLocks/>
          </p:cNvGraphicFramePr>
          <p:nvPr userDrawn="1">
            <p:extLst>
              <p:ext uri="{D42A27DB-BD31-4B8C-83A1-F6EECF244321}">
                <p14:modId xmlns:p14="http://schemas.microsoft.com/office/powerpoint/2010/main" val="2616654375"/>
              </p:ext>
            </p:extLst>
          </p:nvPr>
        </p:nvGraphicFramePr>
        <p:xfrm>
          <a:off x="6648450" y="1665288"/>
          <a:ext cx="5543550" cy="41036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830087027"/>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ENTSO-E Graph 2">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4" name="Inhaltsplatzhalter 10">
            <a:extLst>
              <a:ext uri="{FF2B5EF4-FFF2-40B4-BE49-F238E27FC236}">
                <a16:creationId xmlns:a16="http://schemas.microsoft.com/office/drawing/2014/main" id="{C04C5352-D576-AE47-888D-BF03439BD4FC}"/>
              </a:ext>
            </a:extLst>
          </p:cNvPr>
          <p:cNvSpPr>
            <a:spLocks noGrp="1"/>
          </p:cNvSpPr>
          <p:nvPr>
            <p:ph idx="1"/>
          </p:nvPr>
        </p:nvSpPr>
        <p:spPr>
          <a:xfrm>
            <a:off x="1739517" y="1665288"/>
            <a:ext cx="8712201" cy="4103972"/>
          </a:xfrm>
        </p:spPr>
        <p:txBody>
          <a:bodyPr>
            <a:normAutofit lnSpcReduction="10000"/>
          </a:bodyPr>
          <a:lstStyle/>
          <a:p>
            <a:r>
              <a:rPr lang="de-DE" b="1"/>
              <a:t>   </a:t>
            </a:r>
            <a:br>
              <a:rPr lang="de-DE" b="1"/>
            </a:br>
            <a:r>
              <a:rPr lang="de-DE" b="1"/>
              <a:t> </a:t>
            </a:r>
            <a:endParaRPr lang="de-DE" b="1"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br>
              <a:rPr lang="de-DE" sz="900" i="1">
                <a:solidFill>
                  <a:prstClr val="black"/>
                </a:solidFill>
              </a:rPr>
            </a:br>
            <a:br>
              <a:rPr lang="de-DE" sz="900" i="1">
                <a:solidFill>
                  <a:prstClr val="black"/>
                </a:solidFill>
              </a:rPr>
            </a:br>
            <a:br>
              <a:rPr lang="de-DE" sz="900" i="1">
                <a:solidFill>
                  <a:prstClr val="black"/>
                </a:solidFill>
              </a:rPr>
            </a:br>
            <a:r>
              <a:rPr lang="de-DE" sz="900" i="1">
                <a:solidFill>
                  <a:prstClr val="black"/>
                </a:solidFill>
              </a:rPr>
              <a:t>Source: Insert </a:t>
            </a:r>
            <a:r>
              <a:rPr lang="de-DE" sz="900" i="1" err="1">
                <a:solidFill>
                  <a:prstClr val="black"/>
                </a:solidFill>
              </a:rPr>
              <a:t>here</a:t>
            </a:r>
            <a:r>
              <a:rPr lang="de-DE" sz="900" i="1">
                <a:solidFill>
                  <a:prstClr val="black"/>
                </a:solidFill>
              </a:rPr>
              <a:t> </a:t>
            </a:r>
            <a:r>
              <a:rPr lang="de-DE" sz="900" i="1" err="1">
                <a:solidFill>
                  <a:prstClr val="black"/>
                </a:solidFill>
              </a:rPr>
              <a:t>if</a:t>
            </a:r>
            <a:r>
              <a:rPr lang="de-DE" sz="900" i="1">
                <a:solidFill>
                  <a:prstClr val="black"/>
                </a:solidFill>
              </a:rPr>
              <a:t> </a:t>
            </a:r>
            <a:r>
              <a:rPr lang="de-DE" sz="900" i="1" err="1">
                <a:solidFill>
                  <a:prstClr val="black"/>
                </a:solidFill>
              </a:rPr>
              <a:t>applicable</a:t>
            </a:r>
            <a:endParaRPr lang="de-DE" sz="900"/>
          </a:p>
        </p:txBody>
      </p:sp>
      <p:graphicFrame>
        <p:nvGraphicFramePr>
          <p:cNvPr id="6" name="Diagramm 5" title="Flächendiagramm Platzhalter">
            <a:extLst>
              <a:ext uri="{FF2B5EF4-FFF2-40B4-BE49-F238E27FC236}">
                <a16:creationId xmlns:a16="http://schemas.microsoft.com/office/drawing/2014/main" id="{654DBC48-79E2-BF45-94FB-10AE0A01AFE4}"/>
              </a:ext>
            </a:extLst>
          </p:cNvPr>
          <p:cNvGraphicFramePr/>
          <p:nvPr userDrawn="1">
            <p:extLst>
              <p:ext uri="{D42A27DB-BD31-4B8C-83A1-F6EECF244321}">
                <p14:modId xmlns:p14="http://schemas.microsoft.com/office/powerpoint/2010/main" val="1491827380"/>
              </p:ext>
            </p:extLst>
          </p:nvPr>
        </p:nvGraphicFramePr>
        <p:xfrm>
          <a:off x="382587" y="1665288"/>
          <a:ext cx="11522075" cy="399596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486365889"/>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4" name="Inhaltsplatzhalter 1">
            <a:extLst>
              <a:ext uri="{FF2B5EF4-FFF2-40B4-BE49-F238E27FC236}">
                <a16:creationId xmlns:a16="http://schemas.microsoft.com/office/drawing/2014/main" id="{C62E783B-8C38-B14F-A829-53ADBD597589}"/>
              </a:ext>
            </a:extLst>
          </p:cNvPr>
          <p:cNvSpPr>
            <a:spLocks noGrp="1"/>
          </p:cNvSpPr>
          <p:nvPr>
            <p:ph idx="1"/>
          </p:nvPr>
        </p:nvSpPr>
        <p:spPr>
          <a:xfrm>
            <a:off x="407368" y="1747353"/>
            <a:ext cx="7200800" cy="4292180"/>
          </a:xfrm>
        </p:spPr>
        <p:txBody>
          <a:bodyPr/>
          <a:lstStyle/>
          <a:p>
            <a:r>
              <a:rPr lang="de-DE">
                <a:solidFill>
                  <a:srgbClr val="0F218B"/>
                </a:solidFill>
              </a:rPr>
              <a:t>Headline 3 – Edit </a:t>
            </a:r>
            <a:r>
              <a:rPr lang="de-DE" err="1">
                <a:solidFill>
                  <a:srgbClr val="0F218B"/>
                </a:solidFill>
              </a:rPr>
              <a:t>the</a:t>
            </a:r>
            <a:r>
              <a:rPr lang="de-DE">
                <a:solidFill>
                  <a:srgbClr val="0F218B"/>
                </a:solidFill>
              </a:rPr>
              <a:t> </a:t>
            </a:r>
            <a:r>
              <a:rPr lang="de-DE" err="1">
                <a:solidFill>
                  <a:srgbClr val="0F218B"/>
                </a:solidFill>
              </a:rPr>
              <a:t>pie</a:t>
            </a:r>
            <a:r>
              <a:rPr lang="de-DE">
                <a:solidFill>
                  <a:srgbClr val="0F218B"/>
                </a:solidFill>
              </a:rPr>
              <a:t> </a:t>
            </a:r>
            <a:r>
              <a:rPr lang="de-DE" err="1">
                <a:solidFill>
                  <a:srgbClr val="0F218B"/>
                </a:solidFill>
              </a:rPr>
              <a:t>chart</a:t>
            </a:r>
            <a:r>
              <a:rPr lang="de-DE">
                <a:solidFill>
                  <a:srgbClr val="0F218B"/>
                </a:solidFill>
              </a:rPr>
              <a:t> </a:t>
            </a:r>
            <a:r>
              <a:rPr lang="de-DE" err="1">
                <a:solidFill>
                  <a:srgbClr val="0F218B"/>
                </a:solidFill>
              </a:rPr>
              <a:t>by</a:t>
            </a:r>
            <a:r>
              <a:rPr lang="de-DE">
                <a:solidFill>
                  <a:srgbClr val="0F218B"/>
                </a:solidFill>
              </a:rPr>
              <a:t> </a:t>
            </a:r>
            <a:r>
              <a:rPr lang="de-DE" err="1">
                <a:solidFill>
                  <a:srgbClr val="0F218B"/>
                </a:solidFill>
              </a:rPr>
              <a:t>clicking</a:t>
            </a:r>
            <a:r>
              <a:rPr lang="de-DE">
                <a:solidFill>
                  <a:srgbClr val="0F218B"/>
                </a:solidFill>
              </a:rPr>
              <a:t> on it. </a:t>
            </a:r>
            <a:r>
              <a:rPr lang="de-DE" err="1">
                <a:solidFill>
                  <a:srgbClr val="0F218B"/>
                </a:solidFill>
              </a:rPr>
              <a:t>Now</a:t>
            </a:r>
            <a:r>
              <a:rPr lang="de-DE">
                <a:solidFill>
                  <a:srgbClr val="0F218B"/>
                </a:solidFill>
              </a:rPr>
              <a:t> </a:t>
            </a:r>
            <a:r>
              <a:rPr lang="de-DE" err="1">
                <a:solidFill>
                  <a:srgbClr val="0F218B"/>
                </a:solidFill>
              </a:rPr>
              <a:t>icons</a:t>
            </a:r>
            <a:r>
              <a:rPr lang="de-DE">
                <a:solidFill>
                  <a:srgbClr val="0F218B"/>
                </a:solidFill>
              </a:rPr>
              <a:t> </a:t>
            </a:r>
            <a:r>
              <a:rPr lang="de-DE" err="1">
                <a:solidFill>
                  <a:srgbClr val="0F218B"/>
                </a:solidFill>
              </a:rPr>
              <a:t>appear</a:t>
            </a:r>
            <a:r>
              <a:rPr lang="de-DE">
                <a:solidFill>
                  <a:srgbClr val="0F218B"/>
                </a:solidFill>
              </a:rPr>
              <a:t>. </a:t>
            </a:r>
            <a:r>
              <a:rPr lang="de-DE" err="1">
                <a:solidFill>
                  <a:srgbClr val="0F218B"/>
                </a:solidFill>
              </a:rPr>
              <a:t>If</a:t>
            </a:r>
            <a:r>
              <a:rPr lang="de-DE">
                <a:solidFill>
                  <a:srgbClr val="0F218B"/>
                </a:solidFill>
              </a:rPr>
              <a:t> </a:t>
            </a:r>
            <a:r>
              <a:rPr lang="de-DE" err="1">
                <a:solidFill>
                  <a:srgbClr val="0F218B"/>
                </a:solidFill>
              </a:rPr>
              <a:t>you</a:t>
            </a:r>
            <a:r>
              <a:rPr lang="de-DE">
                <a:solidFill>
                  <a:srgbClr val="0F218B"/>
                </a:solidFill>
              </a:rPr>
              <a:t> </a:t>
            </a:r>
            <a:r>
              <a:rPr lang="de-DE" err="1">
                <a:solidFill>
                  <a:srgbClr val="0F218B"/>
                </a:solidFill>
              </a:rPr>
              <a:t>keep</a:t>
            </a:r>
            <a:r>
              <a:rPr lang="de-DE">
                <a:solidFill>
                  <a:srgbClr val="0F218B"/>
                </a:solidFill>
              </a:rPr>
              <a:t> </a:t>
            </a:r>
            <a:r>
              <a:rPr lang="de-DE" err="1">
                <a:solidFill>
                  <a:srgbClr val="0F218B"/>
                </a:solidFill>
              </a:rPr>
              <a:t>the</a:t>
            </a:r>
            <a:r>
              <a:rPr lang="de-DE">
                <a:solidFill>
                  <a:srgbClr val="0F218B"/>
                </a:solidFill>
              </a:rPr>
              <a:t> </a:t>
            </a:r>
            <a:r>
              <a:rPr lang="de-DE" err="1">
                <a:solidFill>
                  <a:srgbClr val="0F218B"/>
                </a:solidFill>
              </a:rPr>
              <a:t>cursor</a:t>
            </a:r>
            <a:r>
              <a:rPr lang="de-DE">
                <a:solidFill>
                  <a:srgbClr val="0F218B"/>
                </a:solidFill>
              </a:rPr>
              <a:t> </a:t>
            </a:r>
            <a:r>
              <a:rPr lang="de-DE" err="1">
                <a:solidFill>
                  <a:srgbClr val="0F218B"/>
                </a:solidFill>
              </a:rPr>
              <a:t>above</a:t>
            </a:r>
            <a:r>
              <a:rPr lang="de-DE">
                <a:solidFill>
                  <a:srgbClr val="0F218B"/>
                </a:solidFill>
              </a:rPr>
              <a:t> </a:t>
            </a:r>
            <a:r>
              <a:rPr lang="de-DE" err="1">
                <a:solidFill>
                  <a:srgbClr val="0F218B"/>
                </a:solidFill>
              </a:rPr>
              <a:t>the</a:t>
            </a:r>
            <a:r>
              <a:rPr lang="de-DE">
                <a:solidFill>
                  <a:srgbClr val="0F218B"/>
                </a:solidFill>
              </a:rPr>
              <a:t> </a:t>
            </a:r>
            <a:r>
              <a:rPr lang="de-DE" err="1">
                <a:solidFill>
                  <a:srgbClr val="0F218B"/>
                </a:solidFill>
              </a:rPr>
              <a:t>icons</a:t>
            </a:r>
            <a:r>
              <a:rPr lang="de-DE">
                <a:solidFill>
                  <a:srgbClr val="0F218B"/>
                </a:solidFill>
              </a:rPr>
              <a:t>, a </a:t>
            </a:r>
            <a:r>
              <a:rPr lang="de-DE" err="1">
                <a:solidFill>
                  <a:srgbClr val="0F218B"/>
                </a:solidFill>
              </a:rPr>
              <a:t>descriptive</a:t>
            </a:r>
            <a:r>
              <a:rPr lang="de-DE">
                <a:solidFill>
                  <a:srgbClr val="0F218B"/>
                </a:solidFill>
              </a:rPr>
              <a:t> </a:t>
            </a:r>
            <a:r>
              <a:rPr lang="de-DE" err="1">
                <a:solidFill>
                  <a:srgbClr val="0F218B"/>
                </a:solidFill>
              </a:rPr>
              <a:t>text</a:t>
            </a:r>
            <a:r>
              <a:rPr lang="de-DE">
                <a:solidFill>
                  <a:srgbClr val="0F218B"/>
                </a:solidFill>
              </a:rPr>
              <a:t> </a:t>
            </a:r>
            <a:r>
              <a:rPr lang="de-DE" err="1">
                <a:solidFill>
                  <a:srgbClr val="0F218B"/>
                </a:solidFill>
              </a:rPr>
              <a:t>appears</a:t>
            </a:r>
            <a:r>
              <a:rPr lang="de-DE">
                <a:solidFill>
                  <a:srgbClr val="0F218B"/>
                </a:solidFill>
              </a:rPr>
              <a:t>. </a:t>
            </a:r>
          </a:p>
          <a:p>
            <a:r>
              <a:rPr lang="de-DE" err="1"/>
              <a:t>You</a:t>
            </a:r>
            <a:r>
              <a:rPr lang="de-DE"/>
              <a:t> </a:t>
            </a:r>
            <a:r>
              <a:rPr lang="de-DE" err="1"/>
              <a:t>may</a:t>
            </a:r>
            <a:r>
              <a:rPr lang="de-DE"/>
              <a:t> </a:t>
            </a:r>
            <a:r>
              <a:rPr lang="de-DE" err="1"/>
              <a:t>change</a:t>
            </a:r>
            <a:r>
              <a:rPr lang="de-DE"/>
              <a:t> </a:t>
            </a:r>
            <a:r>
              <a:rPr lang="de-DE" err="1"/>
              <a:t>the</a:t>
            </a:r>
            <a:r>
              <a:rPr lang="de-DE"/>
              <a:t> type </a:t>
            </a:r>
            <a:r>
              <a:rPr lang="de-DE" err="1"/>
              <a:t>of</a:t>
            </a:r>
            <a:r>
              <a:rPr lang="de-DE"/>
              <a:t> </a:t>
            </a:r>
            <a:r>
              <a:rPr lang="de-DE" err="1"/>
              <a:t>chart</a:t>
            </a:r>
            <a:r>
              <a:rPr lang="de-DE"/>
              <a:t>, </a:t>
            </a:r>
            <a:r>
              <a:rPr lang="de-DE" err="1"/>
              <a:t>the</a:t>
            </a:r>
            <a:r>
              <a:rPr lang="de-DE"/>
              <a:t> </a:t>
            </a:r>
            <a:r>
              <a:rPr lang="de-DE" err="1"/>
              <a:t>layout</a:t>
            </a:r>
            <a:r>
              <a:rPr lang="de-DE"/>
              <a:t> and </a:t>
            </a:r>
            <a:r>
              <a:rPr lang="de-DE" err="1"/>
              <a:t>colour</a:t>
            </a:r>
            <a:r>
              <a:rPr lang="de-DE"/>
              <a:t> </a:t>
            </a:r>
            <a:r>
              <a:rPr lang="de-DE" err="1"/>
              <a:t>scheme</a:t>
            </a:r>
            <a:r>
              <a:rPr lang="de-DE"/>
              <a:t>. </a:t>
            </a:r>
            <a:r>
              <a:rPr lang="de-DE" err="1"/>
              <a:t>We</a:t>
            </a:r>
            <a:r>
              <a:rPr lang="de-DE"/>
              <a:t> </a:t>
            </a:r>
            <a:r>
              <a:rPr lang="de-DE" err="1"/>
              <a:t>advise</a:t>
            </a:r>
            <a:r>
              <a:rPr lang="de-DE"/>
              <a:t> </a:t>
            </a:r>
            <a:r>
              <a:rPr lang="de-DE" err="1"/>
              <a:t>to</a:t>
            </a:r>
            <a:r>
              <a:rPr lang="de-DE"/>
              <a:t> </a:t>
            </a:r>
            <a:r>
              <a:rPr lang="de-DE" err="1"/>
              <a:t>refrain</a:t>
            </a:r>
            <a:r>
              <a:rPr lang="de-DE"/>
              <a:t> </a:t>
            </a:r>
            <a:r>
              <a:rPr lang="de-DE" err="1"/>
              <a:t>from</a:t>
            </a:r>
            <a:r>
              <a:rPr lang="de-DE"/>
              <a:t> </a:t>
            </a:r>
            <a:r>
              <a:rPr lang="de-DE" err="1"/>
              <a:t>using</a:t>
            </a:r>
            <a:r>
              <a:rPr lang="de-DE"/>
              <a:t> </a:t>
            </a:r>
            <a:r>
              <a:rPr lang="de-DE" err="1"/>
              <a:t>gradients</a:t>
            </a:r>
            <a:r>
              <a:rPr lang="de-DE"/>
              <a:t> and </a:t>
            </a:r>
            <a:r>
              <a:rPr lang="de-DE" err="1"/>
              <a:t>shadows</a:t>
            </a:r>
            <a:r>
              <a:rPr lang="de-DE"/>
              <a:t> – </a:t>
            </a:r>
            <a:r>
              <a:rPr lang="de-DE" err="1"/>
              <a:t>this</a:t>
            </a:r>
            <a:r>
              <a:rPr lang="de-DE"/>
              <a:t> </a:t>
            </a:r>
            <a:r>
              <a:rPr lang="de-DE" err="1"/>
              <a:t>does</a:t>
            </a:r>
            <a:r>
              <a:rPr lang="de-DE"/>
              <a:t> not </a:t>
            </a:r>
            <a:r>
              <a:rPr lang="de-DE" err="1"/>
              <a:t>add</a:t>
            </a:r>
            <a:r>
              <a:rPr lang="de-DE"/>
              <a:t> </a:t>
            </a:r>
            <a:r>
              <a:rPr lang="de-DE" err="1"/>
              <a:t>any</a:t>
            </a:r>
            <a:r>
              <a:rPr lang="de-DE"/>
              <a:t> </a:t>
            </a:r>
            <a:r>
              <a:rPr lang="de-DE" err="1"/>
              <a:t>information</a:t>
            </a:r>
            <a:r>
              <a:rPr lang="de-DE"/>
              <a:t> in </a:t>
            </a:r>
            <a:r>
              <a:rPr lang="de-DE" err="1"/>
              <a:t>most</a:t>
            </a:r>
            <a:r>
              <a:rPr lang="de-DE"/>
              <a:t> </a:t>
            </a:r>
            <a:r>
              <a:rPr lang="de-DE" err="1"/>
              <a:t>cases</a:t>
            </a:r>
            <a:r>
              <a:rPr lang="de-DE"/>
              <a:t>. </a:t>
            </a:r>
          </a:p>
          <a:p>
            <a:r>
              <a:rPr lang="en-US"/>
              <a:t>The size of this copy will adapt automatically, depending on how many words you insert or write. If the size of the copy appears too small – rather try editing the text than </a:t>
            </a:r>
            <a:r>
              <a:rPr lang="en-US" err="1"/>
              <a:t>maximising</a:t>
            </a:r>
            <a:r>
              <a:rPr lang="en-US"/>
              <a:t> the size of the text box. </a:t>
            </a:r>
            <a:endParaRPr lang="de-DE"/>
          </a:p>
          <a:p>
            <a:endParaRPr lang="de-DE"/>
          </a:p>
        </p:txBody>
      </p:sp>
      <p:graphicFrame>
        <p:nvGraphicFramePr>
          <p:cNvPr id="6" name="Inhaltsplatzhalter 8" title="Kreisdiagramm Platzhalter">
            <a:extLst>
              <a:ext uri="{FF2B5EF4-FFF2-40B4-BE49-F238E27FC236}">
                <a16:creationId xmlns:a16="http://schemas.microsoft.com/office/drawing/2014/main" id="{6D36771A-5075-9748-A710-7DBB70C12D6A}"/>
              </a:ext>
            </a:extLst>
          </p:cNvPr>
          <p:cNvGraphicFramePr>
            <a:graphicFrameLocks/>
          </p:cNvGraphicFramePr>
          <p:nvPr userDrawn="1">
            <p:extLst>
              <p:ext uri="{D42A27DB-BD31-4B8C-83A1-F6EECF244321}">
                <p14:modId xmlns:p14="http://schemas.microsoft.com/office/powerpoint/2010/main" val="3232390385"/>
              </p:ext>
            </p:extLst>
          </p:nvPr>
        </p:nvGraphicFramePr>
        <p:xfrm>
          <a:off x="8472264" y="1747353"/>
          <a:ext cx="2951162" cy="41036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972622520"/>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2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7" name="Inhaltsplatzhalter 1">
            <a:extLst>
              <a:ext uri="{FF2B5EF4-FFF2-40B4-BE49-F238E27FC236}">
                <a16:creationId xmlns:a16="http://schemas.microsoft.com/office/drawing/2014/main" id="{C1F9600C-DD2A-3D4A-B5B0-19ADE1EE280E}"/>
              </a:ext>
            </a:extLst>
          </p:cNvPr>
          <p:cNvSpPr>
            <a:spLocks noGrp="1"/>
          </p:cNvSpPr>
          <p:nvPr>
            <p:ph idx="18"/>
          </p:nvPr>
        </p:nvSpPr>
        <p:spPr>
          <a:xfrm>
            <a:off x="349412" y="854984"/>
            <a:ext cx="3648000" cy="3311525"/>
          </a:xfrm>
        </p:spPr>
        <p:txBody>
          <a:bodyPr>
            <a:noAutofit/>
          </a:bodyPr>
          <a:lstStyle>
            <a:lvl1pPr>
              <a:defRPr sz="1800"/>
            </a:lvl1pPr>
          </a:lstStyle>
          <a:p>
            <a:r>
              <a:rPr lang="de-DE" err="1">
                <a:latin typeface="Calibri" panose="020F0502020204030204" pitchFamily="34" charset="0"/>
                <a:cs typeface="Calibri" panose="020F0502020204030204" pitchFamily="34" charset="0"/>
              </a:rPr>
              <a:t>Examples</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for</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bulle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points</a:t>
            </a:r>
            <a:r>
              <a:rPr lang="de-DE">
                <a:latin typeface="Calibri" panose="020F0502020204030204" pitchFamily="34" charset="0"/>
                <a:cs typeface="Calibri" panose="020F0502020204030204" pitchFamily="34" charset="0"/>
              </a:rPr>
              <a:t>.</a:t>
            </a:r>
          </a:p>
          <a:p>
            <a:r>
              <a:rPr lang="en-US">
                <a:latin typeface="Calibri" panose="020F0502020204030204" pitchFamily="34" charset="0"/>
                <a:cs typeface="Calibri" panose="020F0502020204030204" pitchFamily="34" charset="0"/>
              </a:rPr>
              <a:t>Be aware that there is a significant difference between using only the enter-key and using the combination of enter- and shift-key.</a:t>
            </a:r>
          </a:p>
          <a:p>
            <a:r>
              <a:rPr lang="en-US">
                <a:latin typeface="Calibri" panose="020F0502020204030204" pitchFamily="34" charset="0"/>
                <a:cs typeface="Calibri" panose="020F0502020204030204" pitchFamily="34" charset="0"/>
              </a:rPr>
              <a:t>Using only the enter-key will create a new bullet point.</a:t>
            </a:r>
            <a:br>
              <a:rPr lang="en-US">
                <a:latin typeface="Calibri" panose="020F0502020204030204" pitchFamily="34" charset="0"/>
                <a:cs typeface="Calibri" panose="020F0502020204030204" pitchFamily="34" charset="0"/>
              </a:rPr>
            </a:br>
            <a:r>
              <a:rPr lang="en-US">
                <a:latin typeface="Calibri" panose="020F0502020204030204" pitchFamily="34" charset="0"/>
                <a:cs typeface="Calibri" panose="020F0502020204030204" pitchFamily="34" charset="0"/>
              </a:rPr>
              <a:t> </a:t>
            </a:r>
            <a:br>
              <a:rPr lang="en-US">
                <a:latin typeface="Calibri" panose="020F0502020204030204" pitchFamily="34" charset="0"/>
                <a:cs typeface="Calibri" panose="020F0502020204030204" pitchFamily="34" charset="0"/>
              </a:rPr>
            </a:br>
            <a:r>
              <a:rPr lang="en-US">
                <a:latin typeface="Calibri" panose="020F0502020204030204" pitchFamily="34" charset="0"/>
                <a:cs typeface="Calibri" panose="020F0502020204030204" pitchFamily="34" charset="0"/>
              </a:rPr>
              <a:t>If you only want to start the text in a new line (like this sentence) and keep the numeration, use shift-enter. </a:t>
            </a:r>
          </a:p>
          <a:p>
            <a:r>
              <a:rPr lang="en-US">
                <a:latin typeface="Calibri" panose="020F0502020204030204" pitchFamily="34" charset="0"/>
                <a:cs typeface="Calibri" panose="020F0502020204030204" pitchFamily="34" charset="0"/>
              </a:rPr>
              <a:t>Text will resize automatically.</a:t>
            </a:r>
          </a:p>
          <a:p>
            <a:endParaRPr lang="de-DE">
              <a:latin typeface="Calibri" panose="020F0502020204030204" pitchFamily="34" charset="0"/>
              <a:cs typeface="Calibri" panose="020F0502020204030204" pitchFamily="34" charset="0"/>
            </a:endParaRPr>
          </a:p>
          <a:p>
            <a:endParaRPr lang="en-US">
              <a:latin typeface="Calibri" panose="020F0502020204030204" pitchFamily="34" charset="0"/>
              <a:cs typeface="Calibri" panose="020F0502020204030204" pitchFamily="34" charset="0"/>
            </a:endParaRPr>
          </a:p>
        </p:txBody>
      </p:sp>
      <p:sp>
        <p:nvSpPr>
          <p:cNvPr id="8" name="Inhaltsplatzhalter 2">
            <a:extLst>
              <a:ext uri="{FF2B5EF4-FFF2-40B4-BE49-F238E27FC236}">
                <a16:creationId xmlns:a16="http://schemas.microsoft.com/office/drawing/2014/main" id="{C36A1AC1-56A4-4346-B7AD-92B4196EBB80}"/>
              </a:ext>
            </a:extLst>
          </p:cNvPr>
          <p:cNvSpPr>
            <a:spLocks noGrp="1"/>
          </p:cNvSpPr>
          <p:nvPr>
            <p:ph idx="19"/>
          </p:nvPr>
        </p:nvSpPr>
        <p:spPr>
          <a:xfrm>
            <a:off x="7752184" y="836362"/>
            <a:ext cx="3648000" cy="3311525"/>
          </a:xfrm>
        </p:spPr>
        <p:txBody>
          <a:bodyPr/>
          <a:lstStyle>
            <a:lvl1pPr>
              <a:defRPr sz="1800"/>
            </a:lvl1pPr>
            <a:lvl2pPr>
              <a:defRPr sz="1800"/>
            </a:lvl2pPr>
            <a:lvl3pPr>
              <a:defRPr sz="1800"/>
            </a:lvl3pPr>
            <a:lvl4pPr>
              <a:defRPr sz="1800"/>
            </a:lvl4pPr>
            <a:lvl5pPr>
              <a:defRPr sz="1800"/>
            </a:lvl5pPr>
          </a:lstStyle>
          <a:p>
            <a:r>
              <a:rPr lang="de-DE" err="1">
                <a:latin typeface="Calibri" panose="020F0502020204030204" pitchFamily="34" charset="0"/>
                <a:cs typeface="Calibri" panose="020F0502020204030204" pitchFamily="34" charset="0"/>
              </a:rPr>
              <a:t>Example</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for</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bulle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points</a:t>
            </a:r>
            <a:br>
              <a:rPr lang="de-DE">
                <a:latin typeface="Calibri" panose="020F0502020204030204" pitchFamily="34" charset="0"/>
                <a:cs typeface="Calibri" panose="020F0502020204030204" pitchFamily="34" charset="0"/>
              </a:rPr>
            </a:br>
            <a:endParaRPr lang="de-DE">
              <a:latin typeface="Calibri" panose="020F0502020204030204" pitchFamily="34" charset="0"/>
              <a:cs typeface="Calibri" panose="020F0502020204030204" pitchFamily="34" charset="0"/>
            </a:endParaRPr>
          </a:p>
          <a:p>
            <a:r>
              <a:rPr lang="de-DE">
                <a:latin typeface="Calibri" panose="020F0502020204030204" pitchFamily="34" charset="0"/>
                <a:cs typeface="Calibri" panose="020F0502020204030204" pitchFamily="34" charset="0"/>
              </a:rPr>
              <a:t>Dummy </a:t>
            </a:r>
            <a:r>
              <a:rPr lang="de-DE" err="1">
                <a:latin typeface="Calibri" panose="020F0502020204030204" pitchFamily="34" charset="0"/>
                <a:cs typeface="Calibri" panose="020F0502020204030204" pitchFamily="34" charset="0"/>
              </a:rPr>
              <a:t>tex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here</a:t>
            </a:r>
            <a:endParaRPr lang="de-DE">
              <a:latin typeface="Calibri" panose="020F0502020204030204" pitchFamily="34" charset="0"/>
              <a:cs typeface="Calibri" panose="020F0502020204030204" pitchFamily="34" charset="0"/>
            </a:endParaRPr>
          </a:p>
          <a:p>
            <a:pPr lvl="1"/>
            <a:r>
              <a:rPr lang="de-DE">
                <a:latin typeface="Calibri" panose="020F0502020204030204" pitchFamily="34" charset="0"/>
                <a:cs typeface="Calibri" panose="020F0502020204030204" pitchFamily="34" charset="0"/>
              </a:rPr>
              <a:t>Second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2"/>
            <a:r>
              <a:rPr lang="de-DE">
                <a:latin typeface="Calibri" panose="020F0502020204030204" pitchFamily="34" charset="0"/>
                <a:cs typeface="Calibri" panose="020F0502020204030204" pitchFamily="34" charset="0"/>
              </a:rPr>
              <a:t>Third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3"/>
            <a:r>
              <a:rPr lang="de-DE" err="1">
                <a:latin typeface="Calibri" panose="020F0502020204030204" pitchFamily="34" charset="0"/>
                <a:cs typeface="Calibri" panose="020F0502020204030204" pitchFamily="34" charset="0"/>
              </a:rPr>
              <a:t>Fourth</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4"/>
            <a:r>
              <a:rPr lang="de-DE" err="1">
                <a:latin typeface="Calibri" panose="020F0502020204030204" pitchFamily="34" charset="0"/>
                <a:cs typeface="Calibri" panose="020F0502020204030204" pitchFamily="34" charset="0"/>
              </a:rPr>
              <a:t>Fifth</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p:txBody>
      </p:sp>
      <p:graphicFrame>
        <p:nvGraphicFramePr>
          <p:cNvPr id="9" name="Inhaltsplatzhalter 7" title="Infobox Platzhalter">
            <a:extLst>
              <a:ext uri="{FF2B5EF4-FFF2-40B4-BE49-F238E27FC236}">
                <a16:creationId xmlns:a16="http://schemas.microsoft.com/office/drawing/2014/main" id="{03B3DB83-3BE0-1D49-9913-2E54862A2869}"/>
              </a:ext>
            </a:extLst>
          </p:cNvPr>
          <p:cNvGraphicFramePr>
            <a:graphicFrameLocks/>
          </p:cNvGraphicFramePr>
          <p:nvPr userDrawn="1">
            <p:extLst>
              <p:ext uri="{D42A27DB-BD31-4B8C-83A1-F6EECF244321}">
                <p14:modId xmlns:p14="http://schemas.microsoft.com/office/powerpoint/2010/main" val="2580603730"/>
              </p:ext>
            </p:extLst>
          </p:nvPr>
        </p:nvGraphicFramePr>
        <p:xfrm>
          <a:off x="4079776" y="836362"/>
          <a:ext cx="3474386" cy="3203797"/>
        </p:xfrm>
        <a:graphic>
          <a:graphicData uri="http://schemas.openxmlformats.org/drawingml/2006/table">
            <a:tbl>
              <a:tblPr bandCol="1">
                <a:tableStyleId>{3B4B98B0-60AC-42C2-AFA5-B58CD77FA1E5}</a:tableStyleId>
              </a:tblPr>
              <a:tblGrid>
                <a:gridCol w="3474386">
                  <a:extLst>
                    <a:ext uri="{9D8B030D-6E8A-4147-A177-3AD203B41FA5}">
                      <a16:colId xmlns:a16="http://schemas.microsoft.com/office/drawing/2014/main" val="1090517882"/>
                    </a:ext>
                  </a:extLst>
                </a:gridCol>
              </a:tblGrid>
              <a:tr h="3203797">
                <a:tc>
                  <a:txBody>
                    <a:bodyPr/>
                    <a:lstStyle/>
                    <a:p>
                      <a:r>
                        <a:rPr lang="de-DE" sz="1800" b="1">
                          <a:solidFill>
                            <a:srgbClr val="015092"/>
                          </a:solidFill>
                          <a:latin typeface="Calibri" panose="020F0502020204030204" pitchFamily="34" charset="0"/>
                          <a:cs typeface="Calibri" panose="020F0502020204030204" pitchFamily="34" charset="0"/>
                        </a:rPr>
                        <a:t>Infobox </a:t>
                      </a:r>
                    </a:p>
                    <a:p>
                      <a:endParaRPr lang="de-DE" sz="1800" b="1">
                        <a:solidFill>
                          <a:srgbClr val="015092"/>
                        </a:solidFill>
                        <a:latin typeface="Calibri" panose="020F0502020204030204" pitchFamily="34" charset="0"/>
                        <a:cs typeface="Calibri" panose="020F0502020204030204" pitchFamily="34" charset="0"/>
                      </a:endParaRPr>
                    </a:p>
                    <a:p>
                      <a:r>
                        <a:rPr lang="de-DE" sz="1800">
                          <a:solidFill>
                            <a:srgbClr val="015092"/>
                          </a:solidFill>
                          <a:latin typeface="Calibri" panose="020F0502020204030204" pitchFamily="34" charset="0"/>
                          <a:cs typeface="Calibri" panose="020F0502020204030204" pitchFamily="34" charset="0"/>
                        </a:rPr>
                        <a:t>By </a:t>
                      </a:r>
                      <a:r>
                        <a:rPr lang="de-DE" sz="1800" err="1">
                          <a:solidFill>
                            <a:srgbClr val="015092"/>
                          </a:solidFill>
                          <a:latin typeface="Calibri" panose="020F0502020204030204" pitchFamily="34" charset="0"/>
                          <a:cs typeface="Calibri" panose="020F0502020204030204" pitchFamily="34" charset="0"/>
                        </a:rPr>
                        <a:t>using</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the</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buttons</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crease</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dent</a:t>
                      </a:r>
                      <a:r>
                        <a:rPr lang="de-DE" sz="1800">
                          <a:solidFill>
                            <a:srgbClr val="015092"/>
                          </a:solidFill>
                          <a:latin typeface="Calibri" panose="020F0502020204030204" pitchFamily="34" charset="0"/>
                          <a:cs typeface="Calibri" panose="020F0502020204030204" pitchFamily="34" charset="0"/>
                        </a:rPr>
                        <a:t>‘ and ‚</a:t>
                      </a:r>
                      <a:r>
                        <a:rPr lang="de-DE" sz="1800" err="1">
                          <a:solidFill>
                            <a:srgbClr val="015092"/>
                          </a:solidFill>
                          <a:latin typeface="Calibri" panose="020F0502020204030204" pitchFamily="34" charset="0"/>
                          <a:cs typeface="Calibri" panose="020F0502020204030204" pitchFamily="34" charset="0"/>
                        </a:rPr>
                        <a:t>decrease</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dent</a:t>
                      </a:r>
                      <a:r>
                        <a:rPr lang="de-DE" sz="1800">
                          <a:solidFill>
                            <a:srgbClr val="015092"/>
                          </a:solidFill>
                          <a:latin typeface="Calibri" panose="020F0502020204030204" pitchFamily="34" charset="0"/>
                          <a:cs typeface="Calibri" panose="020F0502020204030204" pitchFamily="34" charset="0"/>
                        </a:rPr>
                        <a:t>‘ in </a:t>
                      </a:r>
                      <a:r>
                        <a:rPr lang="de-DE" sz="1800" err="1">
                          <a:solidFill>
                            <a:srgbClr val="015092"/>
                          </a:solidFill>
                          <a:latin typeface="Calibri" panose="020F0502020204030204" pitchFamily="34" charset="0"/>
                          <a:cs typeface="Calibri" panose="020F0502020204030204" pitchFamily="34" charset="0"/>
                        </a:rPr>
                        <a:t>the</a:t>
                      </a:r>
                      <a:r>
                        <a:rPr lang="de-DE" sz="1800">
                          <a:solidFill>
                            <a:srgbClr val="015092"/>
                          </a:solidFill>
                          <a:latin typeface="Calibri" panose="020F0502020204030204" pitchFamily="34" charset="0"/>
                          <a:cs typeface="Calibri" panose="020F0502020204030204" pitchFamily="34" charset="0"/>
                        </a:rPr>
                        <a:t> ‚Start‘ </a:t>
                      </a:r>
                      <a:r>
                        <a:rPr lang="de-DE" sz="1800" err="1">
                          <a:solidFill>
                            <a:srgbClr val="015092"/>
                          </a:solidFill>
                          <a:latin typeface="Calibri" panose="020F0502020204030204" pitchFamily="34" charset="0"/>
                          <a:cs typeface="Calibri" panose="020F0502020204030204" pitchFamily="34" charset="0"/>
                        </a:rPr>
                        <a:t>menu</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you</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can</a:t>
                      </a:r>
                      <a:r>
                        <a:rPr lang="de-DE" sz="1800">
                          <a:solidFill>
                            <a:srgbClr val="015092"/>
                          </a:solidFill>
                          <a:latin typeface="Calibri" panose="020F0502020204030204" pitchFamily="34" charset="0"/>
                          <a:cs typeface="Calibri" panose="020F0502020204030204" pitchFamily="34" charset="0"/>
                        </a:rPr>
                        <a:t> switch </a:t>
                      </a:r>
                      <a:r>
                        <a:rPr lang="de-DE" sz="1800" err="1">
                          <a:solidFill>
                            <a:srgbClr val="015092"/>
                          </a:solidFill>
                          <a:latin typeface="Calibri" panose="020F0502020204030204" pitchFamily="34" charset="0"/>
                          <a:cs typeface="Calibri" panose="020F0502020204030204" pitchFamily="34" charset="0"/>
                        </a:rPr>
                        <a:t>between</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dention</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levels</a:t>
                      </a:r>
                      <a:r>
                        <a:rPr lang="de-DE" sz="1800">
                          <a:solidFill>
                            <a:srgbClr val="015092"/>
                          </a:solidFill>
                          <a:latin typeface="Calibri" panose="020F0502020204030204" pitchFamily="34" charset="0"/>
                          <a:cs typeface="Calibri" panose="020F0502020204030204" pitchFamily="34" charset="0"/>
                        </a:rPr>
                        <a:t>. This </a:t>
                      </a:r>
                      <a:r>
                        <a:rPr lang="de-DE" sz="1800" err="1">
                          <a:solidFill>
                            <a:srgbClr val="015092"/>
                          </a:solidFill>
                          <a:latin typeface="Calibri" panose="020F0502020204030204" pitchFamily="34" charset="0"/>
                          <a:cs typeface="Calibri" panose="020F0502020204030204" pitchFamily="34" charset="0"/>
                        </a:rPr>
                        <a:t>is</a:t>
                      </a:r>
                      <a:r>
                        <a:rPr lang="de-DE" sz="1800">
                          <a:solidFill>
                            <a:srgbClr val="015092"/>
                          </a:solidFill>
                          <a:latin typeface="Calibri" panose="020F0502020204030204" pitchFamily="34" charset="0"/>
                          <a:cs typeface="Calibri" panose="020F0502020204030204" pitchFamily="34" charset="0"/>
                        </a:rPr>
                        <a:t> valid </a:t>
                      </a:r>
                      <a:r>
                        <a:rPr lang="de-DE" sz="1800" err="1">
                          <a:solidFill>
                            <a:srgbClr val="015092"/>
                          </a:solidFill>
                          <a:latin typeface="Calibri" panose="020F0502020204030204" pitchFamily="34" charset="0"/>
                          <a:cs typeface="Calibri" panose="020F0502020204030204" pitchFamily="34" charset="0"/>
                        </a:rPr>
                        <a:t>for</a:t>
                      </a:r>
                      <a:r>
                        <a:rPr lang="de-DE" sz="1800">
                          <a:solidFill>
                            <a:srgbClr val="015092"/>
                          </a:solidFill>
                          <a:latin typeface="Calibri" panose="020F0502020204030204" pitchFamily="34" charset="0"/>
                          <a:cs typeface="Calibri" panose="020F0502020204030204" pitchFamily="34" charset="0"/>
                        </a:rPr>
                        <a:t> all </a:t>
                      </a:r>
                      <a:r>
                        <a:rPr lang="de-DE" sz="1800" err="1">
                          <a:solidFill>
                            <a:srgbClr val="015092"/>
                          </a:solidFill>
                          <a:latin typeface="Calibri" panose="020F0502020204030204" pitchFamily="34" charset="0"/>
                          <a:cs typeface="Calibri" panose="020F0502020204030204" pitchFamily="34" charset="0"/>
                        </a:rPr>
                        <a:t>kinds</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of</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listings</a:t>
                      </a:r>
                      <a:r>
                        <a:rPr lang="de-DE" sz="1800">
                          <a:solidFill>
                            <a:srgbClr val="015092"/>
                          </a:solidFill>
                          <a:latin typeface="Calibri" panose="020F0502020204030204" pitchFamily="34" charset="0"/>
                          <a:cs typeface="Calibri" panose="020F0502020204030204" pitchFamily="34" charset="0"/>
                        </a:rPr>
                        <a:t>, e.g. </a:t>
                      </a:r>
                      <a:r>
                        <a:rPr lang="de-DE" sz="1800" err="1">
                          <a:solidFill>
                            <a:srgbClr val="015092"/>
                          </a:solidFill>
                          <a:latin typeface="Calibri" panose="020F0502020204030204" pitchFamily="34" charset="0"/>
                          <a:cs typeface="Calibri" panose="020F0502020204030204" pitchFamily="34" charset="0"/>
                        </a:rPr>
                        <a:t>bullet</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points</a:t>
                      </a:r>
                      <a:r>
                        <a:rPr lang="de-DE" sz="1800">
                          <a:solidFill>
                            <a:srgbClr val="015092"/>
                          </a:solidFill>
                          <a:latin typeface="Calibri" panose="020F0502020204030204" pitchFamily="34" charset="0"/>
                          <a:cs typeface="Calibri" panose="020F0502020204030204" pitchFamily="34" charset="0"/>
                        </a:rPr>
                        <a:t> and </a:t>
                      </a:r>
                      <a:r>
                        <a:rPr lang="de-DE" sz="1800" err="1">
                          <a:solidFill>
                            <a:srgbClr val="015092"/>
                          </a:solidFill>
                          <a:latin typeface="Calibri" panose="020F0502020204030204" pitchFamily="34" charset="0"/>
                          <a:cs typeface="Calibri" panose="020F0502020204030204" pitchFamily="34" charset="0"/>
                        </a:rPr>
                        <a:t>enumerations</a:t>
                      </a:r>
                      <a:r>
                        <a:rPr lang="de-DE" sz="1800">
                          <a:solidFill>
                            <a:srgbClr val="015092"/>
                          </a:solidFill>
                          <a:latin typeface="Calibri" panose="020F0502020204030204" pitchFamily="34" charset="0"/>
                          <a:cs typeface="Calibri" panose="020F0502020204030204" pitchFamily="34" charset="0"/>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alpha val="20000"/>
                      </a:schemeClr>
                    </a:solidFill>
                  </a:tcPr>
                </a:tc>
                <a:extLst>
                  <a:ext uri="{0D108BD9-81ED-4DB2-BD59-A6C34878D82A}">
                    <a16:rowId xmlns:a16="http://schemas.microsoft.com/office/drawing/2014/main" val="2331007764"/>
                  </a:ext>
                </a:extLst>
              </a:tr>
            </a:tbl>
          </a:graphicData>
        </a:graphic>
      </p:graphicFrame>
    </p:spTree>
    <p:extLst>
      <p:ext uri="{BB962C8B-B14F-4D97-AF65-F5344CB8AC3E}">
        <p14:creationId xmlns:p14="http://schemas.microsoft.com/office/powerpoint/2010/main" val="2209416268"/>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3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
            <a:extLst>
              <a:ext uri="{FF2B5EF4-FFF2-40B4-BE49-F238E27FC236}">
                <a16:creationId xmlns:a16="http://schemas.microsoft.com/office/drawing/2014/main" id="{63F95587-91DB-574E-BF98-C631A8B7FEB8}"/>
              </a:ext>
            </a:extLst>
          </p:cNvPr>
          <p:cNvSpPr>
            <a:spLocks noGrp="1"/>
          </p:cNvSpPr>
          <p:nvPr>
            <p:ph idx="4294967295"/>
          </p:nvPr>
        </p:nvSpPr>
        <p:spPr>
          <a:xfrm>
            <a:off x="359864" y="1124744"/>
            <a:ext cx="11521546" cy="3311810"/>
          </a:xfrm>
        </p:spPr>
        <p:txBody>
          <a:bodyPr numCol="2" spcCol="216000">
            <a:normAutofit/>
          </a:bodyPr>
          <a:lstStyle/>
          <a:p>
            <a:pPr marL="342900" indent="-342900">
              <a:lnSpc>
                <a:spcPct val="120000"/>
              </a:lnSpc>
              <a:buClr>
                <a:srgbClr val="707F86"/>
              </a:buClr>
              <a:buFont typeface="+mj-lt"/>
              <a:buAutoNum type="arabicParenBoth"/>
            </a:pPr>
            <a:r>
              <a:rPr lang="en-US"/>
              <a:t>The size of this copy will adapt automatically, depending on how many words you insert or write. If the size of the copy appears too small – rather try editing the text than </a:t>
            </a:r>
            <a:r>
              <a:rPr lang="en-US" err="1"/>
              <a:t>maximising</a:t>
            </a:r>
            <a:r>
              <a:rPr lang="en-US"/>
              <a:t> the size of the text box. </a:t>
            </a:r>
          </a:p>
          <a:p>
            <a:pPr marL="342900" indent="-342900">
              <a:lnSpc>
                <a:spcPct val="120000"/>
              </a:lnSpc>
              <a:buClr>
                <a:srgbClr val="707F86"/>
              </a:buClr>
              <a:buFont typeface="+mj-lt"/>
              <a:buAutoNum type="arabicParenBoth"/>
            </a:pPr>
            <a:r>
              <a:rPr lang="de-DE"/>
              <a:t>In </a:t>
            </a:r>
            <a:r>
              <a:rPr lang="de-DE" err="1"/>
              <a:t>general</a:t>
            </a:r>
            <a:r>
              <a:rPr lang="de-DE"/>
              <a:t>, </a:t>
            </a:r>
            <a:r>
              <a:rPr lang="de-DE" err="1"/>
              <a:t>it</a:t>
            </a:r>
            <a:r>
              <a:rPr lang="de-DE"/>
              <a:t> </a:t>
            </a:r>
            <a:r>
              <a:rPr lang="de-DE" err="1"/>
              <a:t>is</a:t>
            </a:r>
            <a:r>
              <a:rPr lang="de-DE"/>
              <a:t> a </a:t>
            </a:r>
            <a:r>
              <a:rPr lang="de-DE" err="1"/>
              <a:t>good</a:t>
            </a:r>
            <a:r>
              <a:rPr lang="de-DE"/>
              <a:t> </a:t>
            </a:r>
            <a:r>
              <a:rPr lang="de-DE" err="1"/>
              <a:t>idea</a:t>
            </a:r>
            <a:r>
              <a:rPr lang="de-DE"/>
              <a:t> just </a:t>
            </a:r>
            <a:r>
              <a:rPr lang="de-DE" err="1"/>
              <a:t>to</a:t>
            </a:r>
            <a:r>
              <a:rPr lang="de-DE"/>
              <a:t> </a:t>
            </a:r>
            <a:r>
              <a:rPr lang="de-DE" err="1"/>
              <a:t>provide</a:t>
            </a:r>
            <a:r>
              <a:rPr lang="de-DE"/>
              <a:t> </a:t>
            </a:r>
            <a:r>
              <a:rPr lang="de-DE" err="1"/>
              <a:t>abstracts</a:t>
            </a:r>
            <a:r>
              <a:rPr lang="de-DE"/>
              <a:t> - </a:t>
            </a:r>
            <a:r>
              <a:rPr lang="de-DE" err="1"/>
              <a:t>this</a:t>
            </a:r>
            <a:r>
              <a:rPr lang="de-DE"/>
              <a:t> </a:t>
            </a:r>
            <a:r>
              <a:rPr lang="de-DE" err="1"/>
              <a:t>is</a:t>
            </a:r>
            <a:r>
              <a:rPr lang="de-DE"/>
              <a:t> a screen </a:t>
            </a:r>
            <a:r>
              <a:rPr lang="de-DE" err="1"/>
              <a:t>presentation</a:t>
            </a:r>
            <a:r>
              <a:rPr lang="de-DE"/>
              <a:t>, and </a:t>
            </a:r>
            <a:r>
              <a:rPr lang="de-DE" err="1"/>
              <a:t>nobody</a:t>
            </a:r>
            <a:r>
              <a:rPr lang="de-DE"/>
              <a:t> </a:t>
            </a:r>
            <a:r>
              <a:rPr lang="de-DE" err="1"/>
              <a:t>likes</a:t>
            </a:r>
            <a:r>
              <a:rPr lang="de-DE"/>
              <a:t> </a:t>
            </a:r>
            <a:r>
              <a:rPr lang="de-DE" err="1"/>
              <a:t>to</a:t>
            </a:r>
            <a:r>
              <a:rPr lang="de-DE"/>
              <a:t> </a:t>
            </a:r>
            <a:r>
              <a:rPr lang="de-DE" err="1"/>
              <a:t>read</a:t>
            </a:r>
            <a:r>
              <a:rPr lang="de-DE"/>
              <a:t> </a:t>
            </a:r>
            <a:r>
              <a:rPr lang="de-DE" err="1"/>
              <a:t>much</a:t>
            </a:r>
            <a:r>
              <a:rPr lang="de-DE"/>
              <a:t> </a:t>
            </a:r>
            <a:r>
              <a:rPr lang="de-DE" err="1"/>
              <a:t>text</a:t>
            </a:r>
            <a:r>
              <a:rPr lang="de-DE"/>
              <a:t> on </a:t>
            </a:r>
            <a:r>
              <a:rPr lang="de-DE" err="1"/>
              <a:t>the</a:t>
            </a:r>
            <a:r>
              <a:rPr lang="de-DE"/>
              <a:t> screen. </a:t>
            </a:r>
          </a:p>
          <a:p>
            <a:pPr marL="342900" indent="-342900">
              <a:lnSpc>
                <a:spcPct val="120000"/>
              </a:lnSpc>
              <a:buClr>
                <a:srgbClr val="707F86"/>
              </a:buClr>
              <a:buFont typeface="+mj-lt"/>
              <a:buAutoNum type="arabicParenBoth"/>
            </a:pPr>
            <a:endParaRPr lang="de-DE"/>
          </a:p>
          <a:p>
            <a:pPr marL="342900" indent="-342900">
              <a:lnSpc>
                <a:spcPct val="120000"/>
              </a:lnSpc>
              <a:buClr>
                <a:srgbClr val="707F86"/>
              </a:buClr>
              <a:buFont typeface="+mj-lt"/>
              <a:buAutoNum type="arabicParenBoth"/>
            </a:pPr>
            <a:r>
              <a:rPr lang="en-US"/>
              <a:t>Be aware that there is a significant difference between using only the enter-key and using the combination of enter- and shift-key</a:t>
            </a:r>
            <a:r>
              <a:rPr lang="de-DE"/>
              <a:t>.</a:t>
            </a:r>
          </a:p>
          <a:p>
            <a:pPr marL="342900" indent="-342900">
              <a:lnSpc>
                <a:spcPct val="120000"/>
              </a:lnSpc>
              <a:buClr>
                <a:srgbClr val="707F86"/>
              </a:buClr>
              <a:buFont typeface="+mj-lt"/>
              <a:buAutoNum type="arabicParenBoth"/>
            </a:pPr>
            <a:r>
              <a:rPr lang="de-DE"/>
              <a:t>In </a:t>
            </a:r>
            <a:r>
              <a:rPr lang="de-DE" err="1"/>
              <a:t>this</a:t>
            </a:r>
            <a:r>
              <a:rPr lang="de-DE"/>
              <a:t> </a:t>
            </a:r>
            <a:r>
              <a:rPr lang="de-DE" err="1"/>
              <a:t>textbox</a:t>
            </a:r>
            <a:r>
              <a:rPr lang="de-DE"/>
              <a:t>, </a:t>
            </a:r>
            <a:r>
              <a:rPr lang="de-DE" err="1"/>
              <a:t>using</a:t>
            </a:r>
            <a:r>
              <a:rPr lang="de-DE"/>
              <a:t> </a:t>
            </a:r>
            <a:r>
              <a:rPr lang="de-DE" err="1"/>
              <a:t>only</a:t>
            </a:r>
            <a:r>
              <a:rPr lang="de-DE"/>
              <a:t> </a:t>
            </a:r>
            <a:r>
              <a:rPr lang="de-DE" err="1"/>
              <a:t>the</a:t>
            </a:r>
            <a:r>
              <a:rPr lang="de-DE"/>
              <a:t> enter-</a:t>
            </a:r>
            <a:r>
              <a:rPr lang="de-DE" err="1"/>
              <a:t>key</a:t>
            </a:r>
            <a:r>
              <a:rPr lang="de-DE"/>
              <a:t> will </a:t>
            </a:r>
            <a:r>
              <a:rPr lang="de-DE" err="1"/>
              <a:t>create</a:t>
            </a:r>
            <a:r>
              <a:rPr lang="de-DE"/>
              <a:t> a </a:t>
            </a:r>
            <a:r>
              <a:rPr lang="de-DE" err="1"/>
              <a:t>new</a:t>
            </a:r>
            <a:r>
              <a:rPr lang="de-DE"/>
              <a:t> </a:t>
            </a:r>
            <a:r>
              <a:rPr lang="de-DE" err="1"/>
              <a:t>paragraph</a:t>
            </a:r>
            <a:r>
              <a:rPr lang="de-DE"/>
              <a:t>, </a:t>
            </a:r>
            <a:r>
              <a:rPr lang="de-DE" err="1"/>
              <a:t>causing</a:t>
            </a:r>
            <a:r>
              <a:rPr lang="de-DE"/>
              <a:t> a </a:t>
            </a:r>
            <a:r>
              <a:rPr lang="de-DE" err="1"/>
              <a:t>new</a:t>
            </a:r>
            <a:r>
              <a:rPr lang="de-DE"/>
              <a:t> </a:t>
            </a:r>
            <a:r>
              <a:rPr lang="de-DE" err="1"/>
              <a:t>numeration</a:t>
            </a:r>
            <a:r>
              <a:rPr lang="de-DE"/>
              <a:t>. </a:t>
            </a:r>
            <a:br>
              <a:rPr lang="de-DE"/>
            </a:br>
            <a:r>
              <a:rPr lang="de-DE" err="1"/>
              <a:t>If</a:t>
            </a:r>
            <a:r>
              <a:rPr lang="de-DE"/>
              <a:t> </a:t>
            </a:r>
            <a:r>
              <a:rPr lang="de-DE" err="1"/>
              <a:t>you</a:t>
            </a:r>
            <a:r>
              <a:rPr lang="de-DE"/>
              <a:t> </a:t>
            </a:r>
            <a:r>
              <a:rPr lang="de-DE" err="1"/>
              <a:t>only</a:t>
            </a:r>
            <a:r>
              <a:rPr lang="de-DE"/>
              <a:t> </a:t>
            </a:r>
            <a:r>
              <a:rPr lang="de-DE" err="1"/>
              <a:t>want</a:t>
            </a:r>
            <a:r>
              <a:rPr lang="de-DE"/>
              <a:t> </a:t>
            </a:r>
            <a:r>
              <a:rPr lang="de-DE" err="1"/>
              <a:t>to</a:t>
            </a:r>
            <a:r>
              <a:rPr lang="de-DE"/>
              <a:t> </a:t>
            </a:r>
            <a:r>
              <a:rPr lang="de-DE" err="1"/>
              <a:t>start</a:t>
            </a:r>
            <a:r>
              <a:rPr lang="de-DE"/>
              <a:t> </a:t>
            </a:r>
            <a:r>
              <a:rPr lang="de-DE" err="1"/>
              <a:t>the</a:t>
            </a:r>
            <a:r>
              <a:rPr lang="de-DE"/>
              <a:t> </a:t>
            </a:r>
            <a:r>
              <a:rPr lang="de-DE" err="1"/>
              <a:t>text</a:t>
            </a:r>
            <a:r>
              <a:rPr lang="de-DE"/>
              <a:t> in a </a:t>
            </a:r>
            <a:r>
              <a:rPr lang="de-DE" err="1"/>
              <a:t>new</a:t>
            </a:r>
            <a:r>
              <a:rPr lang="de-DE"/>
              <a:t> </a:t>
            </a:r>
            <a:r>
              <a:rPr lang="de-DE" err="1"/>
              <a:t>line</a:t>
            </a:r>
            <a:r>
              <a:rPr lang="de-DE"/>
              <a:t> (like </a:t>
            </a:r>
            <a:r>
              <a:rPr lang="de-DE" err="1"/>
              <a:t>this</a:t>
            </a:r>
            <a:r>
              <a:rPr lang="de-DE"/>
              <a:t> </a:t>
            </a:r>
            <a:r>
              <a:rPr lang="de-DE" err="1"/>
              <a:t>sentence</a:t>
            </a:r>
            <a:r>
              <a:rPr lang="de-DE"/>
              <a:t>) and </a:t>
            </a:r>
            <a:r>
              <a:rPr lang="de-DE" err="1"/>
              <a:t>keep</a:t>
            </a:r>
            <a:r>
              <a:rPr lang="de-DE"/>
              <a:t> </a:t>
            </a:r>
            <a:r>
              <a:rPr lang="de-DE" err="1"/>
              <a:t>the</a:t>
            </a:r>
            <a:r>
              <a:rPr lang="de-DE"/>
              <a:t> </a:t>
            </a:r>
            <a:r>
              <a:rPr lang="de-DE" err="1"/>
              <a:t>numeration</a:t>
            </a:r>
            <a:r>
              <a:rPr lang="de-DE"/>
              <a:t>, </a:t>
            </a:r>
            <a:r>
              <a:rPr lang="de-DE" err="1"/>
              <a:t>use</a:t>
            </a:r>
            <a:r>
              <a:rPr lang="de-DE"/>
              <a:t> shift-</a:t>
            </a:r>
            <a:r>
              <a:rPr lang="de-DE" err="1"/>
              <a:t>enter</a:t>
            </a:r>
            <a:r>
              <a:rPr lang="de-DE"/>
              <a:t>.  </a:t>
            </a:r>
          </a:p>
        </p:txBody>
      </p:sp>
    </p:spTree>
    <p:extLst>
      <p:ext uri="{BB962C8B-B14F-4D97-AF65-F5344CB8AC3E}">
        <p14:creationId xmlns:p14="http://schemas.microsoft.com/office/powerpoint/2010/main" val="2704476344"/>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4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
            <a:extLst>
              <a:ext uri="{FF2B5EF4-FFF2-40B4-BE49-F238E27FC236}">
                <a16:creationId xmlns:a16="http://schemas.microsoft.com/office/drawing/2014/main" id="{045ED79A-32AA-D64E-AAD5-54B4B9C4DE4E}"/>
              </a:ext>
            </a:extLst>
          </p:cNvPr>
          <p:cNvSpPr>
            <a:spLocks noGrp="1"/>
          </p:cNvSpPr>
          <p:nvPr>
            <p:ph idx="1"/>
          </p:nvPr>
        </p:nvSpPr>
        <p:spPr>
          <a:xfrm>
            <a:off x="397842" y="939341"/>
            <a:ext cx="11506291" cy="4829919"/>
          </a:xfrm>
        </p:spPr>
        <p:txBody>
          <a:bodyPr/>
          <a:lstStyle>
            <a:lvl1pPr>
              <a:defRPr>
                <a:solidFill>
                  <a:schemeClr val="tx1">
                    <a:lumMod val="50000"/>
                  </a:schemeClr>
                </a:solidFill>
              </a:defRPr>
            </a:lvl1pPr>
          </a:lstStyle>
          <a:p>
            <a:r>
              <a:rPr lang="de-DE">
                <a:solidFill>
                  <a:srgbClr val="0F218B"/>
                </a:solidFill>
              </a:rPr>
              <a:t>Headline 3 – Edit </a:t>
            </a:r>
            <a:r>
              <a:rPr lang="de-DE" err="1">
                <a:solidFill>
                  <a:srgbClr val="0F218B"/>
                </a:solidFill>
              </a:rPr>
              <a:t>text</a:t>
            </a:r>
            <a:r>
              <a:rPr lang="de-DE">
                <a:solidFill>
                  <a:srgbClr val="0F218B"/>
                </a:solidFill>
              </a:rPr>
              <a:t> </a:t>
            </a:r>
            <a:r>
              <a:rPr lang="de-DE" err="1">
                <a:solidFill>
                  <a:srgbClr val="0F218B"/>
                </a:solidFill>
              </a:rPr>
              <a:t>here</a:t>
            </a:r>
            <a:r>
              <a:rPr lang="de-DE">
                <a:solidFill>
                  <a:srgbClr val="0F218B"/>
                </a:solidFill>
              </a:rPr>
              <a:t>.</a:t>
            </a:r>
            <a:endParaRPr lang="de-DE" i="1">
              <a:solidFill>
                <a:srgbClr val="0F218B"/>
              </a:solidFill>
            </a:endParaRPr>
          </a:p>
        </p:txBody>
      </p:sp>
      <p:grpSp>
        <p:nvGrpSpPr>
          <p:cNvPr id="4" name="Group 3553" title="6-Monats-Zeitleiste Platzhalter">
            <a:extLst>
              <a:ext uri="{FF2B5EF4-FFF2-40B4-BE49-F238E27FC236}">
                <a16:creationId xmlns:a16="http://schemas.microsoft.com/office/drawing/2014/main" id="{104D80E7-590A-6F45-BD68-8611B65301C7}"/>
              </a:ext>
            </a:extLst>
          </p:cNvPr>
          <p:cNvGrpSpPr/>
          <p:nvPr userDrawn="1"/>
        </p:nvGrpSpPr>
        <p:grpSpPr>
          <a:xfrm>
            <a:off x="1811339" y="2381327"/>
            <a:ext cx="8569325" cy="3224119"/>
            <a:chOff x="0" y="359738"/>
            <a:chExt cx="10490200" cy="5139089"/>
          </a:xfrm>
        </p:grpSpPr>
        <p:grpSp>
          <p:nvGrpSpPr>
            <p:cNvPr id="6" name="Group 3530">
              <a:extLst>
                <a:ext uri="{FF2B5EF4-FFF2-40B4-BE49-F238E27FC236}">
                  <a16:creationId xmlns:a16="http://schemas.microsoft.com/office/drawing/2014/main" id="{0F489A34-EB0D-9844-8E5C-68A73CD91E77}"/>
                </a:ext>
              </a:extLst>
            </p:cNvPr>
            <p:cNvGrpSpPr/>
            <p:nvPr/>
          </p:nvGrpSpPr>
          <p:grpSpPr>
            <a:xfrm>
              <a:off x="463551" y="803442"/>
              <a:ext cx="5797974" cy="4695385"/>
              <a:chOff x="545" y="358575"/>
              <a:chExt cx="5797973" cy="4695384"/>
            </a:xfrm>
          </p:grpSpPr>
          <p:sp>
            <p:nvSpPr>
              <p:cNvPr id="15" name="Shape 3525">
                <a:extLst>
                  <a:ext uri="{FF2B5EF4-FFF2-40B4-BE49-F238E27FC236}">
                    <a16:creationId xmlns:a16="http://schemas.microsoft.com/office/drawing/2014/main" id="{A153CEA7-30AE-F849-A6F4-864E0256893E}"/>
                  </a:ext>
                </a:extLst>
              </p:cNvPr>
              <p:cNvSpPr/>
              <p:nvPr/>
            </p:nvSpPr>
            <p:spPr>
              <a:xfrm flipV="1">
                <a:off x="545" y="358575"/>
                <a:ext cx="0" cy="241032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6" name="Shape 3526">
                <a:extLst>
                  <a:ext uri="{FF2B5EF4-FFF2-40B4-BE49-F238E27FC236}">
                    <a16:creationId xmlns:a16="http://schemas.microsoft.com/office/drawing/2014/main" id="{60C53EF1-C062-D545-8D50-5E5A151EAEF2}"/>
                  </a:ext>
                </a:extLst>
              </p:cNvPr>
              <p:cNvSpPr/>
              <p:nvPr/>
            </p:nvSpPr>
            <p:spPr>
              <a:xfrm flipV="1">
                <a:off x="755773" y="1567594"/>
                <a:ext cx="0" cy="1201303"/>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7" name="Shape 3527">
                <a:extLst>
                  <a:ext uri="{FF2B5EF4-FFF2-40B4-BE49-F238E27FC236}">
                    <a16:creationId xmlns:a16="http://schemas.microsoft.com/office/drawing/2014/main" id="{13DFF85B-1393-F24D-B481-3D1EF145FDA3}"/>
                  </a:ext>
                </a:extLst>
              </p:cNvPr>
              <p:cNvSpPr/>
              <p:nvPr/>
            </p:nvSpPr>
            <p:spPr>
              <a:xfrm flipV="1">
                <a:off x="5798518" y="721344"/>
                <a:ext cx="0" cy="204755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8" name="Shape 3528">
                <a:extLst>
                  <a:ext uri="{FF2B5EF4-FFF2-40B4-BE49-F238E27FC236}">
                    <a16:creationId xmlns:a16="http://schemas.microsoft.com/office/drawing/2014/main" id="{DC0087D8-03A9-6944-85A2-0EFC81E8E914}"/>
                  </a:ext>
                </a:extLst>
              </p:cNvPr>
              <p:cNvSpPr/>
              <p:nvPr/>
            </p:nvSpPr>
            <p:spPr>
              <a:xfrm>
                <a:off x="1608725" y="3274911"/>
                <a:ext cx="0" cy="1779048"/>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9" name="Shape 3529">
                <a:extLst>
                  <a:ext uri="{FF2B5EF4-FFF2-40B4-BE49-F238E27FC236}">
                    <a16:creationId xmlns:a16="http://schemas.microsoft.com/office/drawing/2014/main" id="{DECA1AED-351A-F54C-8939-BE1935F59845}"/>
                  </a:ext>
                </a:extLst>
              </p:cNvPr>
              <p:cNvSpPr/>
              <p:nvPr/>
            </p:nvSpPr>
            <p:spPr>
              <a:xfrm>
                <a:off x="4459938" y="3274911"/>
                <a:ext cx="0" cy="909640"/>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grpSp>
        <p:grpSp>
          <p:nvGrpSpPr>
            <p:cNvPr id="7" name="Group 3537">
              <a:extLst>
                <a:ext uri="{FF2B5EF4-FFF2-40B4-BE49-F238E27FC236}">
                  <a16:creationId xmlns:a16="http://schemas.microsoft.com/office/drawing/2014/main" id="{A90B8DDB-C27F-1A4D-B381-D7862AAE7931}"/>
                </a:ext>
              </a:extLst>
            </p:cNvPr>
            <p:cNvGrpSpPr/>
            <p:nvPr/>
          </p:nvGrpSpPr>
          <p:grpSpPr>
            <a:xfrm>
              <a:off x="0" y="3216502"/>
              <a:ext cx="10490200" cy="508001"/>
              <a:chOff x="0" y="0"/>
              <a:chExt cx="10490200" cy="508000"/>
            </a:xfrm>
          </p:grpSpPr>
          <p:sp>
            <p:nvSpPr>
              <p:cNvPr id="9" name="Shape 3531">
                <a:extLst>
                  <a:ext uri="{FF2B5EF4-FFF2-40B4-BE49-F238E27FC236}">
                    <a16:creationId xmlns:a16="http://schemas.microsoft.com/office/drawing/2014/main" id="{11C1F5E3-318A-7F41-9327-18EA7D1F2420}"/>
                  </a:ext>
                </a:extLst>
              </p:cNvPr>
              <p:cNvSpPr/>
              <p:nvPr/>
            </p:nvSpPr>
            <p:spPr>
              <a:xfrm>
                <a:off x="1793240" y="0"/>
                <a:ext cx="1524001" cy="508000"/>
              </a:xfrm>
              <a:prstGeom prst="rect">
                <a:avLst/>
              </a:prstGeom>
              <a:solidFill>
                <a:srgbClr val="51A1D2">
                  <a:alpha val="80000"/>
                </a:srgb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err="1">
                    <a:latin typeface="Calibri" panose="020F0502020204030204" pitchFamily="34" charset="0"/>
                    <a:cs typeface="Calibri" panose="020F0502020204030204" pitchFamily="34" charset="0"/>
                  </a:rPr>
                  <a:t>February</a:t>
                </a:r>
                <a:endParaRPr lang="de-DE" sz="1400" cap="none">
                  <a:latin typeface="Calibri" panose="020F0502020204030204" pitchFamily="34" charset="0"/>
                  <a:cs typeface="Calibri" panose="020F0502020204030204" pitchFamily="34" charset="0"/>
                </a:endParaRPr>
              </a:p>
            </p:txBody>
          </p:sp>
          <p:sp>
            <p:nvSpPr>
              <p:cNvPr id="10" name="Shape 3532">
                <a:extLst>
                  <a:ext uri="{FF2B5EF4-FFF2-40B4-BE49-F238E27FC236}">
                    <a16:creationId xmlns:a16="http://schemas.microsoft.com/office/drawing/2014/main" id="{0CAAF65E-76F6-2A43-B9EB-D5012C50B795}"/>
                  </a:ext>
                </a:extLst>
              </p:cNvPr>
              <p:cNvSpPr/>
              <p:nvPr/>
            </p:nvSpPr>
            <p:spPr>
              <a:xfrm>
                <a:off x="3586479" y="0"/>
                <a:ext cx="1524001" cy="508000"/>
              </a:xfrm>
              <a:prstGeom prst="rect">
                <a:avLst/>
              </a:prstGeom>
              <a:solidFill>
                <a:schemeClr val="accent2"/>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March</a:t>
                </a:r>
                <a:endParaRPr sz="1400">
                  <a:latin typeface="Calibri" panose="020F0502020204030204" pitchFamily="34" charset="0"/>
                  <a:cs typeface="Calibri" panose="020F0502020204030204" pitchFamily="34" charset="0"/>
                </a:endParaRPr>
              </a:p>
            </p:txBody>
          </p:sp>
          <p:sp>
            <p:nvSpPr>
              <p:cNvPr id="11" name="Shape 3533">
                <a:extLst>
                  <a:ext uri="{FF2B5EF4-FFF2-40B4-BE49-F238E27FC236}">
                    <a16:creationId xmlns:a16="http://schemas.microsoft.com/office/drawing/2014/main" id="{07E0612B-2EE4-D94B-B9D5-7C3647E11828}"/>
                  </a:ext>
                </a:extLst>
              </p:cNvPr>
              <p:cNvSpPr/>
              <p:nvPr/>
            </p:nvSpPr>
            <p:spPr>
              <a:xfrm>
                <a:off x="5379719" y="0"/>
                <a:ext cx="1524001" cy="508000"/>
              </a:xfrm>
              <a:prstGeom prst="rect">
                <a:avLst/>
              </a:prstGeom>
              <a:solidFill>
                <a:schemeClr val="accent3"/>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April</a:t>
                </a:r>
              </a:p>
            </p:txBody>
          </p:sp>
          <p:sp>
            <p:nvSpPr>
              <p:cNvPr id="12" name="Shape 3534">
                <a:extLst>
                  <a:ext uri="{FF2B5EF4-FFF2-40B4-BE49-F238E27FC236}">
                    <a16:creationId xmlns:a16="http://schemas.microsoft.com/office/drawing/2014/main" id="{A49F006A-263E-B749-84F7-45EC0200E53B}"/>
                  </a:ext>
                </a:extLst>
              </p:cNvPr>
              <p:cNvSpPr/>
              <p:nvPr/>
            </p:nvSpPr>
            <p:spPr>
              <a:xfrm>
                <a:off x="7172959" y="0"/>
                <a:ext cx="1524001" cy="508000"/>
              </a:xfrm>
              <a:prstGeom prst="rect">
                <a:avLst/>
              </a:prstGeom>
              <a:solidFill>
                <a:srgbClr val="313131">
                  <a:alpha val="80000"/>
                </a:srgb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May</a:t>
                </a:r>
              </a:p>
            </p:txBody>
          </p:sp>
          <p:sp>
            <p:nvSpPr>
              <p:cNvPr id="13" name="Shape 3535">
                <a:extLst>
                  <a:ext uri="{FF2B5EF4-FFF2-40B4-BE49-F238E27FC236}">
                    <a16:creationId xmlns:a16="http://schemas.microsoft.com/office/drawing/2014/main" id="{F74572F9-391D-914E-9B18-1442CC5747BA}"/>
                  </a:ext>
                </a:extLst>
              </p:cNvPr>
              <p:cNvSpPr/>
              <p:nvPr/>
            </p:nvSpPr>
            <p:spPr>
              <a:xfrm>
                <a:off x="8966200" y="0"/>
                <a:ext cx="1524000" cy="508000"/>
              </a:xfrm>
              <a:prstGeom prst="rect">
                <a:avLst/>
              </a:prstGeom>
              <a:solidFill>
                <a:srgbClr val="313131">
                  <a:alpha val="60000"/>
                </a:srgb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June</a:t>
                </a:r>
              </a:p>
            </p:txBody>
          </p:sp>
          <p:sp>
            <p:nvSpPr>
              <p:cNvPr id="14" name="Shape 3536">
                <a:extLst>
                  <a:ext uri="{FF2B5EF4-FFF2-40B4-BE49-F238E27FC236}">
                    <a16:creationId xmlns:a16="http://schemas.microsoft.com/office/drawing/2014/main" id="{9E60BD2D-E973-D848-94DA-2522289CF023}"/>
                  </a:ext>
                </a:extLst>
              </p:cNvPr>
              <p:cNvSpPr/>
              <p:nvPr/>
            </p:nvSpPr>
            <p:spPr>
              <a:xfrm>
                <a:off x="0" y="0"/>
                <a:ext cx="1524000" cy="508000"/>
              </a:xfrm>
              <a:prstGeom prst="rect">
                <a:avLst/>
              </a:prstGeom>
              <a:solidFill>
                <a:srgbClr val="015092"/>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err="1">
                    <a:latin typeface="Calibri" panose="020F0502020204030204" pitchFamily="34" charset="0"/>
                    <a:cs typeface="Calibri" panose="020F0502020204030204" pitchFamily="34" charset="0"/>
                  </a:rPr>
                  <a:t>January</a:t>
                </a:r>
                <a:endParaRPr sz="1400">
                  <a:latin typeface="Calibri" panose="020F0502020204030204" pitchFamily="34" charset="0"/>
                  <a:cs typeface="Calibri" panose="020F0502020204030204" pitchFamily="34" charset="0"/>
                </a:endParaRPr>
              </a:p>
            </p:txBody>
          </p:sp>
        </p:grpSp>
        <p:sp>
          <p:nvSpPr>
            <p:cNvPr id="8" name="Shape 3538">
              <a:extLst>
                <a:ext uri="{FF2B5EF4-FFF2-40B4-BE49-F238E27FC236}">
                  <a16:creationId xmlns:a16="http://schemas.microsoft.com/office/drawing/2014/main" id="{A6354215-87B2-714D-B863-6578DB1C0933}"/>
                </a:ext>
              </a:extLst>
            </p:cNvPr>
            <p:cNvSpPr/>
            <p:nvPr/>
          </p:nvSpPr>
          <p:spPr>
            <a:xfrm>
              <a:off x="608959" y="359738"/>
              <a:ext cx="493135" cy="88826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5</a:t>
              </a:r>
            </a:p>
          </p:txBody>
        </p:sp>
      </p:grpSp>
      <p:sp>
        <p:nvSpPr>
          <p:cNvPr id="20" name="Shape 3538">
            <a:extLst>
              <a:ext uri="{FF2B5EF4-FFF2-40B4-BE49-F238E27FC236}">
                <a16:creationId xmlns:a16="http://schemas.microsoft.com/office/drawing/2014/main" id="{35FD298D-674A-CC48-8F61-37BFAA2B6DB3}"/>
              </a:ext>
            </a:extLst>
          </p:cNvPr>
          <p:cNvSpPr/>
          <p:nvPr userDrawn="1"/>
        </p:nvSpPr>
        <p:spPr>
          <a:xfrm>
            <a:off x="2920857" y="3136102"/>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24</a:t>
            </a:r>
            <a:endParaRPr sz="2400">
              <a:solidFill>
                <a:srgbClr val="015092"/>
              </a:solidFill>
              <a:latin typeface="Calibri" panose="020F0502020204030204" pitchFamily="34" charset="0"/>
              <a:cs typeface="Calibri" panose="020F0502020204030204" pitchFamily="34" charset="0"/>
            </a:endParaRPr>
          </a:p>
        </p:txBody>
      </p:sp>
      <p:sp>
        <p:nvSpPr>
          <p:cNvPr id="21" name="Shape 3538">
            <a:extLst>
              <a:ext uri="{FF2B5EF4-FFF2-40B4-BE49-F238E27FC236}">
                <a16:creationId xmlns:a16="http://schemas.microsoft.com/office/drawing/2014/main" id="{7B384765-BFC7-8A40-914E-EB681AEE534B}"/>
              </a:ext>
            </a:extLst>
          </p:cNvPr>
          <p:cNvSpPr/>
          <p:nvPr userDrawn="1"/>
        </p:nvSpPr>
        <p:spPr>
          <a:xfrm>
            <a:off x="7061317" y="2606675"/>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9</a:t>
            </a:r>
            <a:endParaRPr sz="2400">
              <a:solidFill>
                <a:srgbClr val="015092"/>
              </a:solidFill>
              <a:latin typeface="Calibri" panose="020F0502020204030204" pitchFamily="34" charset="0"/>
              <a:cs typeface="Calibri" panose="020F0502020204030204" pitchFamily="34" charset="0"/>
            </a:endParaRPr>
          </a:p>
        </p:txBody>
      </p:sp>
      <p:sp>
        <p:nvSpPr>
          <p:cNvPr id="22" name="Shape 3538">
            <a:extLst>
              <a:ext uri="{FF2B5EF4-FFF2-40B4-BE49-F238E27FC236}">
                <a16:creationId xmlns:a16="http://schemas.microsoft.com/office/drawing/2014/main" id="{AE2700E5-E78F-094F-96E0-403DD94E3ECA}"/>
              </a:ext>
            </a:extLst>
          </p:cNvPr>
          <p:cNvSpPr/>
          <p:nvPr userDrawn="1"/>
        </p:nvSpPr>
        <p:spPr>
          <a:xfrm>
            <a:off x="3640937" y="5319539"/>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09</a:t>
            </a:r>
            <a:endParaRPr sz="2400">
              <a:solidFill>
                <a:srgbClr val="015092"/>
              </a:solidFill>
              <a:latin typeface="Calibri" panose="020F0502020204030204" pitchFamily="34" charset="0"/>
              <a:cs typeface="Calibri" panose="020F0502020204030204" pitchFamily="34" charset="0"/>
            </a:endParaRPr>
          </a:p>
        </p:txBody>
      </p:sp>
      <p:sp>
        <p:nvSpPr>
          <p:cNvPr id="23" name="Shape 3538">
            <a:extLst>
              <a:ext uri="{FF2B5EF4-FFF2-40B4-BE49-F238E27FC236}">
                <a16:creationId xmlns:a16="http://schemas.microsoft.com/office/drawing/2014/main" id="{D2168131-C3E9-2642-AC6A-FD9DF04C35DF}"/>
              </a:ext>
            </a:extLst>
          </p:cNvPr>
          <p:cNvSpPr/>
          <p:nvPr userDrawn="1"/>
        </p:nvSpPr>
        <p:spPr>
          <a:xfrm>
            <a:off x="5945193" y="4771926"/>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30</a:t>
            </a:r>
            <a:endParaRPr sz="2400">
              <a:solidFill>
                <a:srgbClr val="015092"/>
              </a:solidFill>
              <a:latin typeface="Calibri" panose="020F0502020204030204" pitchFamily="34" charset="0"/>
              <a:cs typeface="Calibri" panose="020F0502020204030204" pitchFamily="34" charset="0"/>
            </a:endParaRPr>
          </a:p>
        </p:txBody>
      </p:sp>
      <p:sp>
        <p:nvSpPr>
          <p:cNvPr id="24" name="Shape 3539">
            <a:extLst>
              <a:ext uri="{FF2B5EF4-FFF2-40B4-BE49-F238E27FC236}">
                <a16:creationId xmlns:a16="http://schemas.microsoft.com/office/drawing/2014/main" id="{9070C1F2-9150-574A-80C7-16A9A88CD69A}"/>
              </a:ext>
            </a:extLst>
          </p:cNvPr>
          <p:cNvSpPr/>
          <p:nvPr userDrawn="1"/>
        </p:nvSpPr>
        <p:spPr>
          <a:xfrm>
            <a:off x="2748663" y="2380866"/>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5" name="Shape 3539">
            <a:extLst>
              <a:ext uri="{FF2B5EF4-FFF2-40B4-BE49-F238E27FC236}">
                <a16:creationId xmlns:a16="http://schemas.microsoft.com/office/drawing/2014/main" id="{F165BDCC-DA70-EC46-9626-3AB83AF24553}"/>
              </a:ext>
            </a:extLst>
          </p:cNvPr>
          <p:cNvSpPr/>
          <p:nvPr userDrawn="1"/>
        </p:nvSpPr>
        <p:spPr>
          <a:xfrm>
            <a:off x="7484962" y="2622989"/>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6" name="Shape 3539">
            <a:extLst>
              <a:ext uri="{FF2B5EF4-FFF2-40B4-BE49-F238E27FC236}">
                <a16:creationId xmlns:a16="http://schemas.microsoft.com/office/drawing/2014/main" id="{79E6AE81-3957-014F-ADD0-951A098602AC}"/>
              </a:ext>
            </a:extLst>
          </p:cNvPr>
          <p:cNvSpPr/>
          <p:nvPr userDrawn="1"/>
        </p:nvSpPr>
        <p:spPr>
          <a:xfrm>
            <a:off x="3374198" y="3154499"/>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7" name="Shape 3539">
            <a:extLst>
              <a:ext uri="{FF2B5EF4-FFF2-40B4-BE49-F238E27FC236}">
                <a16:creationId xmlns:a16="http://schemas.microsoft.com/office/drawing/2014/main" id="{4CDDE768-FC4E-754B-8160-BC3805C4D230}"/>
              </a:ext>
            </a:extLst>
          </p:cNvPr>
          <p:cNvSpPr/>
          <p:nvPr userDrawn="1"/>
        </p:nvSpPr>
        <p:spPr>
          <a:xfrm>
            <a:off x="4061660" y="5339645"/>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8" name="Shape 3539">
            <a:extLst>
              <a:ext uri="{FF2B5EF4-FFF2-40B4-BE49-F238E27FC236}">
                <a16:creationId xmlns:a16="http://schemas.microsoft.com/office/drawing/2014/main" id="{FCEA35DC-17D6-1745-9FC7-F6342C85336C}"/>
              </a:ext>
            </a:extLst>
          </p:cNvPr>
          <p:cNvSpPr/>
          <p:nvPr userDrawn="1"/>
        </p:nvSpPr>
        <p:spPr>
          <a:xfrm>
            <a:off x="6359164" y="4781912"/>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Tree>
    <p:extLst>
      <p:ext uri="{BB962C8B-B14F-4D97-AF65-F5344CB8AC3E}">
        <p14:creationId xmlns:p14="http://schemas.microsoft.com/office/powerpoint/2010/main" val="68948232"/>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5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grpSp>
        <p:nvGrpSpPr>
          <p:cNvPr id="3" name="Group 3911" title="Jahres Zeitleiste Platzhalter">
            <a:extLst>
              <a:ext uri="{FF2B5EF4-FFF2-40B4-BE49-F238E27FC236}">
                <a16:creationId xmlns:a16="http://schemas.microsoft.com/office/drawing/2014/main" id="{C9AF7415-8D2A-C940-B919-D2896ED2CC76}"/>
              </a:ext>
            </a:extLst>
          </p:cNvPr>
          <p:cNvGrpSpPr/>
          <p:nvPr userDrawn="1"/>
        </p:nvGrpSpPr>
        <p:grpSpPr>
          <a:xfrm>
            <a:off x="1811524" y="2655243"/>
            <a:ext cx="7397880" cy="2749280"/>
            <a:chOff x="93735" y="581934"/>
            <a:chExt cx="10577686" cy="3930994"/>
          </a:xfrm>
        </p:grpSpPr>
        <p:grpSp>
          <p:nvGrpSpPr>
            <p:cNvPr id="4" name="Group 3892">
              <a:extLst>
                <a:ext uri="{FF2B5EF4-FFF2-40B4-BE49-F238E27FC236}">
                  <a16:creationId xmlns:a16="http://schemas.microsoft.com/office/drawing/2014/main" id="{BF9A743B-F676-5541-B47D-C0037A53680B}"/>
                </a:ext>
              </a:extLst>
            </p:cNvPr>
            <p:cNvGrpSpPr/>
            <p:nvPr/>
          </p:nvGrpSpPr>
          <p:grpSpPr>
            <a:xfrm>
              <a:off x="636627" y="581934"/>
              <a:ext cx="10034794" cy="3930994"/>
              <a:chOff x="6131" y="477113"/>
              <a:chExt cx="10034793" cy="3930992"/>
            </a:xfrm>
          </p:grpSpPr>
          <p:sp>
            <p:nvSpPr>
              <p:cNvPr id="7" name="Shape 3882">
                <a:extLst>
                  <a:ext uri="{FF2B5EF4-FFF2-40B4-BE49-F238E27FC236}">
                    <a16:creationId xmlns:a16="http://schemas.microsoft.com/office/drawing/2014/main" id="{FB374AB2-ACB5-F24F-8D5D-4E70071227EE}"/>
                  </a:ext>
                </a:extLst>
              </p:cNvPr>
              <p:cNvSpPr/>
              <p:nvPr/>
            </p:nvSpPr>
            <p:spPr>
              <a:xfrm flipV="1">
                <a:off x="4975193" y="477113"/>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8" name="Shape 3883">
                <a:extLst>
                  <a:ext uri="{FF2B5EF4-FFF2-40B4-BE49-F238E27FC236}">
                    <a16:creationId xmlns:a16="http://schemas.microsoft.com/office/drawing/2014/main" id="{EA1CE728-B269-1C4E-9B54-82A102A50404}"/>
                  </a:ext>
                </a:extLst>
              </p:cNvPr>
              <p:cNvSpPr/>
              <p:nvPr/>
            </p:nvSpPr>
            <p:spPr>
              <a:xfrm flipV="1">
                <a:off x="6131" y="477113"/>
                <a:ext cx="1" cy="1940560"/>
              </a:xfrm>
              <a:prstGeom prst="line">
                <a:avLst/>
              </a:prstGeom>
              <a:solidFill>
                <a:srgbClr val="015092"/>
              </a:solidFill>
              <a:ln w="63500" cap="flat">
                <a:solidFill>
                  <a:srgbClr val="01509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9" name="Shape 3884">
                <a:extLst>
                  <a:ext uri="{FF2B5EF4-FFF2-40B4-BE49-F238E27FC236}">
                    <a16:creationId xmlns:a16="http://schemas.microsoft.com/office/drawing/2014/main" id="{7F9696C5-6EFA-3F44-ACCC-A640A163B09E}"/>
                  </a:ext>
                </a:extLst>
              </p:cNvPr>
              <p:cNvSpPr/>
              <p:nvPr/>
            </p:nvSpPr>
            <p:spPr>
              <a:xfrm>
                <a:off x="38737" y="2461556"/>
                <a:ext cx="9911442" cy="0"/>
              </a:xfrm>
              <a:prstGeom prst="line">
                <a:avLst/>
              </a:prstGeom>
              <a:noFill/>
              <a:ln w="63500" cap="flat">
                <a:solidFill>
                  <a:srgbClr val="313131">
                    <a:alpha val="80000"/>
                  </a:srgbClr>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0" name="Shape 3886">
                <a:extLst>
                  <a:ext uri="{FF2B5EF4-FFF2-40B4-BE49-F238E27FC236}">
                    <a16:creationId xmlns:a16="http://schemas.microsoft.com/office/drawing/2014/main" id="{9F291BB0-5EAA-9348-8F11-398FB22080F8}"/>
                  </a:ext>
                </a:extLst>
              </p:cNvPr>
              <p:cNvSpPr/>
              <p:nvPr/>
            </p:nvSpPr>
            <p:spPr>
              <a:xfrm>
                <a:off x="9850422" y="2364572"/>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1" name="Shape 3887">
                <a:extLst>
                  <a:ext uri="{FF2B5EF4-FFF2-40B4-BE49-F238E27FC236}">
                    <a16:creationId xmlns:a16="http://schemas.microsoft.com/office/drawing/2014/main" id="{BCE477E8-F7BD-0F42-9589-05CBDFAAB18A}"/>
                  </a:ext>
                </a:extLst>
              </p:cNvPr>
              <p:cNvSpPr/>
              <p:nvPr/>
            </p:nvSpPr>
            <p:spPr>
              <a:xfrm>
                <a:off x="2411544" y="2368317"/>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2" name="Shape 3888">
                <a:extLst>
                  <a:ext uri="{FF2B5EF4-FFF2-40B4-BE49-F238E27FC236}">
                    <a16:creationId xmlns:a16="http://schemas.microsoft.com/office/drawing/2014/main" id="{7429753A-3C9E-B84B-BE29-D4FB586DA37E}"/>
                  </a:ext>
                </a:extLst>
              </p:cNvPr>
              <p:cNvSpPr/>
              <p:nvPr/>
            </p:nvSpPr>
            <p:spPr>
              <a:xfrm>
                <a:off x="4883584" y="2368318"/>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3" name="Shape 3889">
                <a:extLst>
                  <a:ext uri="{FF2B5EF4-FFF2-40B4-BE49-F238E27FC236}">
                    <a16:creationId xmlns:a16="http://schemas.microsoft.com/office/drawing/2014/main" id="{01F5BD46-1837-2445-81BC-19FA29B81F17}"/>
                  </a:ext>
                </a:extLst>
              </p:cNvPr>
              <p:cNvSpPr/>
              <p:nvPr/>
            </p:nvSpPr>
            <p:spPr>
              <a:xfrm>
                <a:off x="7368877" y="2368318"/>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4" name="Shape 3890">
                <a:extLst>
                  <a:ext uri="{FF2B5EF4-FFF2-40B4-BE49-F238E27FC236}">
                    <a16:creationId xmlns:a16="http://schemas.microsoft.com/office/drawing/2014/main" id="{38B19469-B9A6-8940-8470-7A36199769F8}"/>
                  </a:ext>
                </a:extLst>
              </p:cNvPr>
              <p:cNvSpPr/>
              <p:nvPr/>
            </p:nvSpPr>
            <p:spPr>
              <a:xfrm flipV="1">
                <a:off x="7451364" y="2463799"/>
                <a:ext cx="1" cy="1940560"/>
              </a:xfrm>
              <a:prstGeom prst="line">
                <a:avLst/>
              </a:prstGeom>
              <a:noFill/>
              <a:ln w="63500" cap="flat">
                <a:solidFill>
                  <a:srgbClr val="313131">
                    <a:alpha val="60000"/>
                  </a:srgbClr>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5" name="Shape 3891">
                <a:extLst>
                  <a:ext uri="{FF2B5EF4-FFF2-40B4-BE49-F238E27FC236}">
                    <a16:creationId xmlns:a16="http://schemas.microsoft.com/office/drawing/2014/main" id="{117DD6A9-A883-E544-9621-C8501B30B3B4}"/>
                  </a:ext>
                </a:extLst>
              </p:cNvPr>
              <p:cNvSpPr/>
              <p:nvPr/>
            </p:nvSpPr>
            <p:spPr>
              <a:xfrm flipV="1">
                <a:off x="2498616" y="2467545"/>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grpSp>
        <p:sp>
          <p:nvSpPr>
            <p:cNvPr id="6" name="Shape 3904">
              <a:extLst>
                <a:ext uri="{FF2B5EF4-FFF2-40B4-BE49-F238E27FC236}">
                  <a16:creationId xmlns:a16="http://schemas.microsoft.com/office/drawing/2014/main" id="{97E1DA5A-D2AC-CD4A-94FA-4070AD6EB5B4}"/>
                </a:ext>
              </a:extLst>
            </p:cNvPr>
            <p:cNvSpPr/>
            <p:nvPr/>
          </p:nvSpPr>
          <p:spPr>
            <a:xfrm>
              <a:off x="93735" y="1997149"/>
              <a:ext cx="1116503" cy="1116503"/>
            </a:xfrm>
            <a:prstGeom prst="ellipse">
              <a:avLst/>
            </a:prstGeom>
            <a:solidFill>
              <a:srgbClr val="015092"/>
            </a:solidFill>
            <a:ln w="12700" cap="flat">
              <a:solidFill>
                <a:srgbClr val="015092"/>
              </a:solid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algn="ctr"/>
              <a:r>
                <a:rPr sz="1400" b="1">
                  <a:latin typeface="Calibri" panose="020F0502020204030204" pitchFamily="34" charset="0"/>
                  <a:cs typeface="Calibri" panose="020F0502020204030204" pitchFamily="34" charset="0"/>
                </a:rPr>
                <a:t>Start</a:t>
              </a:r>
            </a:p>
          </p:txBody>
        </p:sp>
      </p:grpSp>
      <p:sp>
        <p:nvSpPr>
          <p:cNvPr id="16" name="Shape 3899">
            <a:extLst>
              <a:ext uri="{FF2B5EF4-FFF2-40B4-BE49-F238E27FC236}">
                <a16:creationId xmlns:a16="http://schemas.microsoft.com/office/drawing/2014/main" id="{1C04B757-37FD-8344-9AF0-04B08289508A}"/>
              </a:ext>
            </a:extLst>
          </p:cNvPr>
          <p:cNvSpPr/>
          <p:nvPr userDrawn="1"/>
        </p:nvSpPr>
        <p:spPr>
          <a:xfrm>
            <a:off x="5500456" y="4177891"/>
            <a:ext cx="555807"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19</a:t>
            </a:r>
            <a:endParaRPr sz="1400" b="1">
              <a:solidFill>
                <a:srgbClr val="313131"/>
              </a:solidFill>
              <a:latin typeface="Calibri" panose="020F0502020204030204" pitchFamily="34" charset="0"/>
              <a:cs typeface="Calibri" panose="020F0502020204030204" pitchFamily="34" charset="0"/>
            </a:endParaRPr>
          </a:p>
        </p:txBody>
      </p:sp>
      <p:sp>
        <p:nvSpPr>
          <p:cNvPr id="17" name="Shape 3899">
            <a:extLst>
              <a:ext uri="{FF2B5EF4-FFF2-40B4-BE49-F238E27FC236}">
                <a16:creationId xmlns:a16="http://schemas.microsoft.com/office/drawing/2014/main" id="{68276EE8-CA57-2346-9CCF-A025AFF6855B}"/>
              </a:ext>
            </a:extLst>
          </p:cNvPr>
          <p:cNvSpPr/>
          <p:nvPr userDrawn="1"/>
        </p:nvSpPr>
        <p:spPr>
          <a:xfrm>
            <a:off x="8958826" y="4177891"/>
            <a:ext cx="488973"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21</a:t>
            </a:r>
            <a:endParaRPr sz="1400" b="1">
              <a:solidFill>
                <a:srgbClr val="313131"/>
              </a:solidFill>
              <a:latin typeface="Calibri" panose="020F0502020204030204" pitchFamily="34" charset="0"/>
              <a:cs typeface="Calibri" panose="020F0502020204030204" pitchFamily="34" charset="0"/>
            </a:endParaRPr>
          </a:p>
        </p:txBody>
      </p:sp>
      <p:sp>
        <p:nvSpPr>
          <p:cNvPr id="18" name="Shape 3899">
            <a:extLst>
              <a:ext uri="{FF2B5EF4-FFF2-40B4-BE49-F238E27FC236}">
                <a16:creationId xmlns:a16="http://schemas.microsoft.com/office/drawing/2014/main" id="{23DE72D4-878E-2144-A9D3-A42389C2E721}"/>
              </a:ext>
            </a:extLst>
          </p:cNvPr>
          <p:cNvSpPr/>
          <p:nvPr userDrawn="1"/>
        </p:nvSpPr>
        <p:spPr>
          <a:xfrm>
            <a:off x="3746385" y="3735364"/>
            <a:ext cx="549411"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18</a:t>
            </a:r>
            <a:endParaRPr sz="1400" b="1">
              <a:solidFill>
                <a:srgbClr val="313131"/>
              </a:solidFill>
              <a:latin typeface="Calibri" panose="020F0502020204030204" pitchFamily="34" charset="0"/>
              <a:cs typeface="Calibri" panose="020F0502020204030204" pitchFamily="34" charset="0"/>
            </a:endParaRPr>
          </a:p>
        </p:txBody>
      </p:sp>
      <p:sp>
        <p:nvSpPr>
          <p:cNvPr id="19" name="Shape 3899">
            <a:extLst>
              <a:ext uri="{FF2B5EF4-FFF2-40B4-BE49-F238E27FC236}">
                <a16:creationId xmlns:a16="http://schemas.microsoft.com/office/drawing/2014/main" id="{6FE0A369-2E74-4C41-9332-CEA1A3F8CAA5}"/>
              </a:ext>
            </a:extLst>
          </p:cNvPr>
          <p:cNvSpPr/>
          <p:nvPr userDrawn="1"/>
        </p:nvSpPr>
        <p:spPr>
          <a:xfrm>
            <a:off x="7204755" y="3735364"/>
            <a:ext cx="566327"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en-US" sz="1400" b="1">
                <a:solidFill>
                  <a:srgbClr val="313131"/>
                </a:solidFill>
                <a:latin typeface="Calibri" panose="020F0502020204030204" pitchFamily="34" charset="0"/>
                <a:cs typeface="Calibri" panose="020F0502020204030204" pitchFamily="34" charset="0"/>
              </a:rPr>
              <a:t>20</a:t>
            </a:r>
            <a:endParaRPr sz="1400" b="1">
              <a:solidFill>
                <a:srgbClr val="313131"/>
              </a:solidFill>
              <a:latin typeface="Calibri" panose="020F0502020204030204" pitchFamily="34" charset="0"/>
              <a:cs typeface="Calibri" panose="020F0502020204030204" pitchFamily="34" charset="0"/>
            </a:endParaRPr>
          </a:p>
        </p:txBody>
      </p:sp>
      <p:sp>
        <p:nvSpPr>
          <p:cNvPr id="20" name="Shape 3538">
            <a:extLst>
              <a:ext uri="{FF2B5EF4-FFF2-40B4-BE49-F238E27FC236}">
                <a16:creationId xmlns:a16="http://schemas.microsoft.com/office/drawing/2014/main" id="{6218F089-DA01-8A49-B7EB-18202B0E694E}"/>
              </a:ext>
            </a:extLst>
          </p:cNvPr>
          <p:cNvSpPr/>
          <p:nvPr userDrawn="1"/>
        </p:nvSpPr>
        <p:spPr>
          <a:xfrm>
            <a:off x="5819509" y="2475684"/>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1</a:t>
            </a:r>
            <a:endParaRPr sz="2400">
              <a:solidFill>
                <a:srgbClr val="015092"/>
              </a:solidFill>
              <a:latin typeface="Calibri" panose="020F0502020204030204" pitchFamily="34" charset="0"/>
              <a:cs typeface="Calibri" panose="020F0502020204030204" pitchFamily="34" charset="0"/>
            </a:endParaRPr>
          </a:p>
        </p:txBody>
      </p:sp>
      <p:sp>
        <p:nvSpPr>
          <p:cNvPr id="21" name="Shape 3538">
            <a:extLst>
              <a:ext uri="{FF2B5EF4-FFF2-40B4-BE49-F238E27FC236}">
                <a16:creationId xmlns:a16="http://schemas.microsoft.com/office/drawing/2014/main" id="{3ACB3470-0EB9-4B42-869A-F6D9D2389C11}"/>
              </a:ext>
            </a:extLst>
          </p:cNvPr>
          <p:cNvSpPr/>
          <p:nvPr userDrawn="1"/>
        </p:nvSpPr>
        <p:spPr>
          <a:xfrm>
            <a:off x="4055313" y="5103515"/>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a:t>
            </a:r>
            <a:r>
              <a:rPr lang="de-DE" sz="2400">
                <a:solidFill>
                  <a:srgbClr val="015092"/>
                </a:solidFill>
                <a:latin typeface="Calibri" panose="020F0502020204030204" pitchFamily="34" charset="0"/>
                <a:cs typeface="Calibri" panose="020F0502020204030204" pitchFamily="34" charset="0"/>
              </a:rPr>
              <a:t>9</a:t>
            </a:r>
            <a:endParaRPr sz="2400">
              <a:solidFill>
                <a:srgbClr val="015092"/>
              </a:solidFill>
              <a:latin typeface="Calibri" panose="020F0502020204030204" pitchFamily="34" charset="0"/>
              <a:cs typeface="Calibri" panose="020F0502020204030204" pitchFamily="34" charset="0"/>
            </a:endParaRPr>
          </a:p>
        </p:txBody>
      </p:sp>
      <p:sp>
        <p:nvSpPr>
          <p:cNvPr id="22" name="Shape 3538">
            <a:extLst>
              <a:ext uri="{FF2B5EF4-FFF2-40B4-BE49-F238E27FC236}">
                <a16:creationId xmlns:a16="http://schemas.microsoft.com/office/drawing/2014/main" id="{BD2E93CF-7EB0-1D44-8FE8-B42CB15F1E38}"/>
              </a:ext>
            </a:extLst>
          </p:cNvPr>
          <p:cNvSpPr/>
          <p:nvPr userDrawn="1"/>
        </p:nvSpPr>
        <p:spPr>
          <a:xfrm>
            <a:off x="7547701" y="5103515"/>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2</a:t>
            </a:r>
            <a:endParaRPr sz="2400">
              <a:solidFill>
                <a:srgbClr val="015092"/>
              </a:solidFill>
              <a:latin typeface="Calibri" panose="020F0502020204030204" pitchFamily="34" charset="0"/>
              <a:cs typeface="Calibri" panose="020F0502020204030204" pitchFamily="34" charset="0"/>
            </a:endParaRPr>
          </a:p>
        </p:txBody>
      </p:sp>
      <p:sp>
        <p:nvSpPr>
          <p:cNvPr id="23" name="Shape 3538">
            <a:extLst>
              <a:ext uri="{FF2B5EF4-FFF2-40B4-BE49-F238E27FC236}">
                <a16:creationId xmlns:a16="http://schemas.microsoft.com/office/drawing/2014/main" id="{1CA058CB-FB2E-7B41-9FC5-4261D2748707}"/>
              </a:ext>
            </a:extLst>
          </p:cNvPr>
          <p:cNvSpPr/>
          <p:nvPr userDrawn="1"/>
        </p:nvSpPr>
        <p:spPr>
          <a:xfrm>
            <a:off x="2308791" y="2475684"/>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5</a:t>
            </a:r>
          </a:p>
        </p:txBody>
      </p:sp>
      <p:sp>
        <p:nvSpPr>
          <p:cNvPr id="24" name="Shape 3539">
            <a:extLst>
              <a:ext uri="{FF2B5EF4-FFF2-40B4-BE49-F238E27FC236}">
                <a16:creationId xmlns:a16="http://schemas.microsoft.com/office/drawing/2014/main" id="{9FFAAAAB-BD81-254B-BB85-D3B92CADBECE}"/>
              </a:ext>
            </a:extLst>
          </p:cNvPr>
          <p:cNvSpPr/>
          <p:nvPr userDrawn="1"/>
        </p:nvSpPr>
        <p:spPr>
          <a:xfrm>
            <a:off x="2727791" y="2465838"/>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5" name="Inhaltsplatzhalter 1">
            <a:extLst>
              <a:ext uri="{FF2B5EF4-FFF2-40B4-BE49-F238E27FC236}">
                <a16:creationId xmlns:a16="http://schemas.microsoft.com/office/drawing/2014/main" id="{A948F616-4F52-274D-9802-62F7B100D2E0}"/>
              </a:ext>
            </a:extLst>
          </p:cNvPr>
          <p:cNvSpPr>
            <a:spLocks noGrp="1"/>
          </p:cNvSpPr>
          <p:nvPr>
            <p:ph idx="1"/>
          </p:nvPr>
        </p:nvSpPr>
        <p:spPr>
          <a:xfrm>
            <a:off x="383051" y="801295"/>
            <a:ext cx="11617325" cy="698184"/>
          </a:xfrm>
        </p:spPr>
        <p:txBody>
          <a:bodyPr>
            <a:normAutofit/>
          </a:bodyPr>
          <a:lstStyle/>
          <a:p>
            <a:r>
              <a:rPr lang="de-DE" b="1">
                <a:solidFill>
                  <a:srgbClr val="0F218B"/>
                </a:solidFill>
              </a:rPr>
              <a:t>Headline 3 – Edit </a:t>
            </a:r>
            <a:r>
              <a:rPr lang="de-DE" b="1" err="1">
                <a:solidFill>
                  <a:srgbClr val="0F218B"/>
                </a:solidFill>
              </a:rPr>
              <a:t>text</a:t>
            </a:r>
            <a:r>
              <a:rPr lang="de-DE" b="1">
                <a:solidFill>
                  <a:srgbClr val="0F218B"/>
                </a:solidFill>
              </a:rPr>
              <a:t> </a:t>
            </a:r>
            <a:r>
              <a:rPr lang="de-DE" b="1" err="1">
                <a:solidFill>
                  <a:srgbClr val="0F218B"/>
                </a:solidFill>
              </a:rPr>
              <a:t>here</a:t>
            </a:r>
            <a:r>
              <a:rPr lang="de-DE" b="1">
                <a:solidFill>
                  <a:srgbClr val="0F218B"/>
                </a:solidFill>
              </a:rPr>
              <a:t>.</a:t>
            </a:r>
            <a:endParaRPr lang="de-DE" b="1" i="1">
              <a:solidFill>
                <a:srgbClr val="0F218B"/>
              </a:solidFill>
            </a:endParaRPr>
          </a:p>
        </p:txBody>
      </p:sp>
      <p:sp>
        <p:nvSpPr>
          <p:cNvPr id="26" name="Shape 3539">
            <a:extLst>
              <a:ext uri="{FF2B5EF4-FFF2-40B4-BE49-F238E27FC236}">
                <a16:creationId xmlns:a16="http://schemas.microsoft.com/office/drawing/2014/main" id="{32B242B5-D413-7245-BEA1-FE249884F79E}"/>
              </a:ext>
            </a:extLst>
          </p:cNvPr>
          <p:cNvSpPr/>
          <p:nvPr userDrawn="1"/>
        </p:nvSpPr>
        <p:spPr>
          <a:xfrm>
            <a:off x="6188917" y="2443752"/>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7" name="Shape 3539">
            <a:extLst>
              <a:ext uri="{FF2B5EF4-FFF2-40B4-BE49-F238E27FC236}">
                <a16:creationId xmlns:a16="http://schemas.microsoft.com/office/drawing/2014/main" id="{44E594EA-C5DC-8D44-884B-A44AA0741311}"/>
              </a:ext>
            </a:extLst>
          </p:cNvPr>
          <p:cNvSpPr/>
          <p:nvPr userDrawn="1"/>
        </p:nvSpPr>
        <p:spPr>
          <a:xfrm>
            <a:off x="4501613" y="5134372"/>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8" name="Shape 3539">
            <a:extLst>
              <a:ext uri="{FF2B5EF4-FFF2-40B4-BE49-F238E27FC236}">
                <a16:creationId xmlns:a16="http://schemas.microsoft.com/office/drawing/2014/main" id="{6F33F5F3-AC6F-7047-9582-A2C841E188AD}"/>
              </a:ext>
            </a:extLst>
          </p:cNvPr>
          <p:cNvSpPr/>
          <p:nvPr userDrawn="1"/>
        </p:nvSpPr>
        <p:spPr>
          <a:xfrm>
            <a:off x="7962739" y="5112286"/>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Tree>
    <p:extLst>
      <p:ext uri="{BB962C8B-B14F-4D97-AF65-F5344CB8AC3E}">
        <p14:creationId xmlns:p14="http://schemas.microsoft.com/office/powerpoint/2010/main" val="704035364"/>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6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0">
            <a:extLst>
              <a:ext uri="{FF2B5EF4-FFF2-40B4-BE49-F238E27FC236}">
                <a16:creationId xmlns:a16="http://schemas.microsoft.com/office/drawing/2014/main" id="{E54CE07E-D134-8945-B928-3A2AD7482FB9}"/>
              </a:ext>
            </a:extLst>
          </p:cNvPr>
          <p:cNvSpPr>
            <a:spLocks noGrp="1"/>
          </p:cNvSpPr>
          <p:nvPr>
            <p:ph idx="1"/>
          </p:nvPr>
        </p:nvSpPr>
        <p:spPr>
          <a:xfrm>
            <a:off x="388159" y="820513"/>
            <a:ext cx="11606646" cy="698594"/>
          </a:xfrm>
        </p:spPr>
        <p:txBody>
          <a:bodyPr>
            <a:normAutofit/>
          </a:bodyPr>
          <a:lstStyle/>
          <a:p>
            <a:r>
              <a:rPr lang="de-DE">
                <a:solidFill>
                  <a:srgbClr val="0F218B"/>
                </a:solidFill>
              </a:rPr>
              <a:t>Headline 3 – These SmartArt </a:t>
            </a:r>
            <a:r>
              <a:rPr lang="de-DE" err="1">
                <a:solidFill>
                  <a:srgbClr val="0F218B"/>
                </a:solidFill>
              </a:rPr>
              <a:t>charts</a:t>
            </a:r>
            <a:r>
              <a:rPr lang="de-DE">
                <a:solidFill>
                  <a:srgbClr val="0F218B"/>
                </a:solidFill>
              </a:rPr>
              <a:t> </a:t>
            </a:r>
            <a:r>
              <a:rPr lang="de-DE" err="1">
                <a:solidFill>
                  <a:srgbClr val="0F218B"/>
                </a:solidFill>
              </a:rPr>
              <a:t>can</a:t>
            </a:r>
            <a:r>
              <a:rPr lang="de-DE">
                <a:solidFill>
                  <a:srgbClr val="0F218B"/>
                </a:solidFill>
              </a:rPr>
              <a:t> </a:t>
            </a:r>
            <a:r>
              <a:rPr lang="de-DE" err="1">
                <a:solidFill>
                  <a:srgbClr val="0F218B"/>
                </a:solidFill>
              </a:rPr>
              <a:t>be</a:t>
            </a:r>
            <a:r>
              <a:rPr lang="de-DE">
                <a:solidFill>
                  <a:srgbClr val="0F218B"/>
                </a:solidFill>
              </a:rPr>
              <a:t> </a:t>
            </a:r>
            <a:r>
              <a:rPr lang="de-DE" err="1">
                <a:solidFill>
                  <a:srgbClr val="0F218B"/>
                </a:solidFill>
              </a:rPr>
              <a:t>edited</a:t>
            </a:r>
            <a:r>
              <a:rPr lang="de-DE">
                <a:solidFill>
                  <a:srgbClr val="0F218B"/>
                </a:solidFill>
              </a:rPr>
              <a:t> </a:t>
            </a:r>
            <a:r>
              <a:rPr lang="de-DE" err="1">
                <a:solidFill>
                  <a:srgbClr val="0F218B"/>
                </a:solidFill>
              </a:rPr>
              <a:t>directly</a:t>
            </a:r>
            <a:r>
              <a:rPr lang="de-DE">
                <a:solidFill>
                  <a:srgbClr val="0F218B"/>
                </a:solidFill>
              </a:rPr>
              <a:t> </a:t>
            </a:r>
            <a:r>
              <a:rPr lang="de-DE" err="1">
                <a:solidFill>
                  <a:srgbClr val="0F218B"/>
                </a:solidFill>
              </a:rPr>
              <a:t>by</a:t>
            </a:r>
            <a:r>
              <a:rPr lang="de-DE">
                <a:solidFill>
                  <a:srgbClr val="0F218B"/>
                </a:solidFill>
              </a:rPr>
              <a:t> </a:t>
            </a:r>
            <a:r>
              <a:rPr lang="de-DE" err="1">
                <a:solidFill>
                  <a:srgbClr val="0F218B"/>
                </a:solidFill>
              </a:rPr>
              <a:t>clicking</a:t>
            </a:r>
            <a:r>
              <a:rPr lang="de-DE">
                <a:solidFill>
                  <a:srgbClr val="0F218B"/>
                </a:solidFill>
              </a:rPr>
              <a:t> in </a:t>
            </a:r>
            <a:r>
              <a:rPr lang="de-DE" err="1">
                <a:solidFill>
                  <a:srgbClr val="0F218B"/>
                </a:solidFill>
              </a:rPr>
              <a:t>the</a:t>
            </a:r>
            <a:r>
              <a:rPr lang="de-DE">
                <a:solidFill>
                  <a:srgbClr val="0F218B"/>
                </a:solidFill>
              </a:rPr>
              <a:t> </a:t>
            </a:r>
            <a:r>
              <a:rPr lang="de-DE" err="1">
                <a:solidFill>
                  <a:srgbClr val="0F218B"/>
                </a:solidFill>
              </a:rPr>
              <a:t>elements</a:t>
            </a:r>
            <a:r>
              <a:rPr lang="de-DE">
                <a:solidFill>
                  <a:srgbClr val="0F218B"/>
                </a:solidFill>
              </a:rPr>
              <a:t>, </a:t>
            </a:r>
            <a:r>
              <a:rPr lang="de-DE" err="1">
                <a:solidFill>
                  <a:srgbClr val="0F218B"/>
                </a:solidFill>
              </a:rPr>
              <a:t>then</a:t>
            </a:r>
            <a:r>
              <a:rPr lang="de-DE">
                <a:solidFill>
                  <a:srgbClr val="0F218B"/>
                </a:solidFill>
              </a:rPr>
              <a:t> on SmartArt-Tools</a:t>
            </a:r>
          </a:p>
        </p:txBody>
      </p:sp>
      <p:graphicFrame>
        <p:nvGraphicFramePr>
          <p:cNvPr id="4" name="Diagramm 4" title="SmartArt-Grafik Platzhalter">
            <a:extLst>
              <a:ext uri="{FF2B5EF4-FFF2-40B4-BE49-F238E27FC236}">
                <a16:creationId xmlns:a16="http://schemas.microsoft.com/office/drawing/2014/main" id="{3D20D492-DCEB-1548-9F8A-4D5C573DEF13}"/>
              </a:ext>
            </a:extLst>
          </p:cNvPr>
          <p:cNvGraphicFramePr/>
          <p:nvPr userDrawn="1">
            <p:extLst>
              <p:ext uri="{D42A27DB-BD31-4B8C-83A1-F6EECF244321}">
                <p14:modId xmlns:p14="http://schemas.microsoft.com/office/powerpoint/2010/main" val="4051202203"/>
              </p:ext>
            </p:extLst>
          </p:nvPr>
        </p:nvGraphicFramePr>
        <p:xfrm>
          <a:off x="382588" y="2384884"/>
          <a:ext cx="11522075" cy="30598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151221157"/>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9_ENTSO-E Thank you slide">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495600" y="2780928"/>
            <a:ext cx="11617788" cy="936104"/>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err="1"/>
              <a:t>Thank</a:t>
            </a:r>
            <a:r>
              <a:rPr lang="de-DE"/>
              <a:t> </a:t>
            </a:r>
            <a:r>
              <a:rPr lang="de-DE" err="1"/>
              <a:t>you</a:t>
            </a:r>
            <a:r>
              <a:rPr lang="de-DE"/>
              <a:t> </a:t>
            </a:r>
            <a:r>
              <a:rPr lang="de-DE" err="1"/>
              <a:t>very</a:t>
            </a:r>
            <a:r>
              <a:rPr lang="de-DE"/>
              <a:t> </a:t>
            </a:r>
            <a:r>
              <a:rPr lang="de-DE" err="1"/>
              <a:t>much</a:t>
            </a:r>
            <a:r>
              <a:rPr lang="de-DE"/>
              <a:t> </a:t>
            </a:r>
            <a:r>
              <a:rPr lang="de-DE" err="1"/>
              <a:t>for</a:t>
            </a:r>
            <a:r>
              <a:rPr lang="de-DE"/>
              <a:t> </a:t>
            </a:r>
            <a:r>
              <a:rPr lang="de-DE" err="1"/>
              <a:t>your</a:t>
            </a:r>
            <a:r>
              <a:rPr lang="de-DE"/>
              <a:t> </a:t>
            </a:r>
            <a:r>
              <a:rPr lang="de-DE" err="1"/>
              <a:t>attention</a:t>
            </a:r>
            <a:r>
              <a:rPr lang="de-DE"/>
              <a:t> </a:t>
            </a:r>
          </a:p>
        </p:txBody>
      </p:sp>
    </p:spTree>
    <p:extLst>
      <p:ext uri="{BB962C8B-B14F-4D97-AF65-F5344CB8AC3E}">
        <p14:creationId xmlns:p14="http://schemas.microsoft.com/office/powerpoint/2010/main" val="2963972320"/>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0_ENTSO-E Thank you slide_value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382588" y="134634"/>
            <a:ext cx="11426825" cy="936104"/>
          </a:xfrm>
          <a:prstGeom prst="rect">
            <a:avLst/>
          </a:prstGeom>
          <a:ln>
            <a:noFill/>
          </a:ln>
        </p:spPr>
        <p:txBody>
          <a:bodyPr anchor="ctr"/>
          <a:lstStyle>
            <a:lvl1pPr algn="ct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err="1"/>
              <a:t>Thank</a:t>
            </a:r>
            <a:r>
              <a:rPr lang="de-DE"/>
              <a:t> </a:t>
            </a:r>
            <a:r>
              <a:rPr lang="de-DE" err="1"/>
              <a:t>you</a:t>
            </a:r>
            <a:r>
              <a:rPr lang="de-DE"/>
              <a:t> </a:t>
            </a:r>
            <a:r>
              <a:rPr lang="de-DE" err="1"/>
              <a:t>very</a:t>
            </a:r>
            <a:r>
              <a:rPr lang="de-DE"/>
              <a:t> </a:t>
            </a:r>
            <a:r>
              <a:rPr lang="de-DE" err="1"/>
              <a:t>much</a:t>
            </a:r>
            <a:r>
              <a:rPr lang="de-DE"/>
              <a:t> </a:t>
            </a:r>
            <a:r>
              <a:rPr lang="de-DE" err="1"/>
              <a:t>for</a:t>
            </a:r>
            <a:r>
              <a:rPr lang="de-DE"/>
              <a:t> </a:t>
            </a:r>
            <a:r>
              <a:rPr lang="de-DE" err="1"/>
              <a:t>your</a:t>
            </a:r>
            <a:r>
              <a:rPr lang="de-DE"/>
              <a:t> </a:t>
            </a:r>
            <a:r>
              <a:rPr lang="de-DE" err="1"/>
              <a:t>attention</a:t>
            </a:r>
            <a:r>
              <a:rPr lang="de-DE"/>
              <a:t> </a:t>
            </a:r>
          </a:p>
        </p:txBody>
      </p:sp>
      <p:sp>
        <p:nvSpPr>
          <p:cNvPr id="3" name="Title 1">
            <a:extLst>
              <a:ext uri="{FF2B5EF4-FFF2-40B4-BE49-F238E27FC236}">
                <a16:creationId xmlns:a16="http://schemas.microsoft.com/office/drawing/2014/main" id="{8D053C00-E906-E444-8E28-BAE1FF9E76D0}"/>
              </a:ext>
            </a:extLst>
          </p:cNvPr>
          <p:cNvSpPr txBox="1">
            <a:spLocks/>
          </p:cNvSpPr>
          <p:nvPr userDrawn="1"/>
        </p:nvSpPr>
        <p:spPr>
          <a:xfrm>
            <a:off x="382587" y="1186850"/>
            <a:ext cx="11426825" cy="6318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0">
                <a:solidFill>
                  <a:schemeClr val="tx1">
                    <a:lumMod val="50000"/>
                  </a:schemeClr>
                </a:solidFill>
                <a:effectLst/>
                <a:latin typeface="Calibri" panose="020F0502020204030204" pitchFamily="34" charset="0"/>
                <a:cs typeface="Calibri" panose="020F0502020204030204" pitchFamily="34" charset="0"/>
              </a:rPr>
              <a:t>Our values define who we are, what we stand for and how we behave.</a:t>
            </a:r>
          </a:p>
          <a:p>
            <a:pPr algn="ctr"/>
            <a:r>
              <a:rPr lang="en-IE" sz="1800" b="0">
                <a:solidFill>
                  <a:schemeClr val="tx1">
                    <a:lumMod val="50000"/>
                  </a:schemeClr>
                </a:solidFill>
                <a:effectLst/>
                <a:latin typeface="Calibri" panose="020F0502020204030204" pitchFamily="34" charset="0"/>
                <a:cs typeface="Calibri" panose="020F0502020204030204" pitchFamily="34" charset="0"/>
              </a:rPr>
              <a:t>We all play a part in bringing them to life</a:t>
            </a:r>
            <a:r>
              <a:rPr lang="en-IE" sz="2000" b="0">
                <a:solidFill>
                  <a:schemeClr val="tx1">
                    <a:lumMod val="50000"/>
                  </a:schemeClr>
                </a:solidFill>
                <a:effectLst/>
                <a:latin typeface="Calibri" panose="020F0502020204030204" pitchFamily="34" charset="0"/>
                <a:cs typeface="Calibri" panose="020F0502020204030204" pitchFamily="34" charset="0"/>
              </a:rPr>
              <a:t>.</a:t>
            </a:r>
          </a:p>
          <a:p>
            <a:pPr algn="ctr"/>
            <a:r>
              <a:rPr lang="en-IE" sz="2000" b="0">
                <a:solidFill>
                  <a:schemeClr val="tx1">
                    <a:lumMod val="50000"/>
                  </a:schemeClr>
                </a:solidFill>
                <a:effectLst/>
                <a:latin typeface="Calibri" panose="020F0502020204030204" pitchFamily="34" charset="0"/>
                <a:cs typeface="Calibri" panose="020F0502020204030204" pitchFamily="34" charset="0"/>
              </a:rPr>
              <a:t> </a:t>
            </a:r>
            <a:endParaRPr lang="en-IE" sz="1050" b="0">
              <a:solidFill>
                <a:schemeClr val="tx1">
                  <a:lumMod val="50000"/>
                </a:schemeClr>
              </a:solidFill>
              <a:effectLst/>
              <a:latin typeface="Calibri" panose="020F0502020204030204" pitchFamily="34" charset="0"/>
              <a:cs typeface="Calibri" panose="020F0502020204030204" pitchFamily="34" charset="0"/>
            </a:endParaRPr>
          </a:p>
        </p:txBody>
      </p:sp>
      <p:sp>
        <p:nvSpPr>
          <p:cNvPr id="5" name="Titel 5">
            <a:extLst>
              <a:ext uri="{FF2B5EF4-FFF2-40B4-BE49-F238E27FC236}">
                <a16:creationId xmlns:a16="http://schemas.microsoft.com/office/drawing/2014/main" id="{7550E8E7-BAB3-40B9-AB4C-F3ABA9592AFF}"/>
              </a:ext>
            </a:extLst>
          </p:cNvPr>
          <p:cNvSpPr txBox="1">
            <a:spLocks/>
          </p:cNvSpPr>
          <p:nvPr userDrawn="1"/>
        </p:nvSpPr>
        <p:spPr>
          <a:xfrm>
            <a:off x="286875" y="5533432"/>
            <a:ext cx="11617788" cy="631871"/>
          </a:xfrm>
          <a:prstGeom prst="rect">
            <a:avLst/>
          </a:prstGeom>
          <a:ln>
            <a:noFill/>
          </a:ln>
        </p:spPr>
        <p:txBody>
          <a:bodyPr anchor="ctr"/>
          <a:lstStyle>
            <a:lvl1pPr algn="ctr" defTabSz="914400" rtl="0" eaLnBrk="1" latinLnBrk="0" hangingPunct="1">
              <a:lnSpc>
                <a:spcPts val="3200"/>
              </a:lnSpc>
              <a:spcBef>
                <a:spcPct val="0"/>
              </a:spcBef>
              <a:buNone/>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US"/>
              <a:t>We are ENTSO-E</a:t>
            </a:r>
          </a:p>
        </p:txBody>
      </p:sp>
      <p:sp>
        <p:nvSpPr>
          <p:cNvPr id="6" name="Title 1">
            <a:extLst>
              <a:ext uri="{FF2B5EF4-FFF2-40B4-BE49-F238E27FC236}">
                <a16:creationId xmlns:a16="http://schemas.microsoft.com/office/drawing/2014/main" id="{70B34F4F-2938-408E-99E5-B9481D786209}"/>
              </a:ext>
            </a:extLst>
          </p:cNvPr>
          <p:cNvSpPr txBox="1">
            <a:spLocks/>
          </p:cNvSpPr>
          <p:nvPr userDrawn="1"/>
        </p:nvSpPr>
        <p:spPr>
          <a:xfrm>
            <a:off x="1201008"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deliver to the highest standardss. We provide an environment in which people can develop to their full potential.</a:t>
            </a:r>
          </a:p>
        </p:txBody>
      </p:sp>
      <p:sp>
        <p:nvSpPr>
          <p:cNvPr id="7" name="Title 1">
            <a:extLst>
              <a:ext uri="{FF2B5EF4-FFF2-40B4-BE49-F238E27FC236}">
                <a16:creationId xmlns:a16="http://schemas.microsoft.com/office/drawing/2014/main" id="{81A3B0E4-3084-4984-B778-6DEE61707D69}"/>
              </a:ext>
            </a:extLst>
          </p:cNvPr>
          <p:cNvSpPr txBox="1">
            <a:spLocks/>
          </p:cNvSpPr>
          <p:nvPr userDrawn="1"/>
        </p:nvSpPr>
        <p:spPr>
          <a:xfrm>
            <a:off x="1201009"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EXCELLENCE</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1" name="Gruppieren 10">
            <a:extLst>
              <a:ext uri="{FF2B5EF4-FFF2-40B4-BE49-F238E27FC236}">
                <a16:creationId xmlns:a16="http://schemas.microsoft.com/office/drawing/2014/main" id="{82D4A0DE-6C67-44B0-B22A-C0A05BBC69FC}"/>
              </a:ext>
            </a:extLst>
          </p:cNvPr>
          <p:cNvGrpSpPr/>
          <p:nvPr userDrawn="1"/>
        </p:nvGrpSpPr>
        <p:grpSpPr>
          <a:xfrm>
            <a:off x="1376411" y="2083344"/>
            <a:ext cx="1089193" cy="1118842"/>
            <a:chOff x="1478254" y="1759825"/>
            <a:chExt cx="1089193" cy="1118842"/>
          </a:xfrm>
        </p:grpSpPr>
        <p:sp>
          <p:nvSpPr>
            <p:cNvPr id="2" name="Ellipse 1">
              <a:extLst>
                <a:ext uri="{FF2B5EF4-FFF2-40B4-BE49-F238E27FC236}">
                  <a16:creationId xmlns:a16="http://schemas.microsoft.com/office/drawing/2014/main" id="{EF03CA22-6B13-49DE-A795-8B07042FA0BE}"/>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a:extLst>
                <a:ext uri="{FF2B5EF4-FFF2-40B4-BE49-F238E27FC236}">
                  <a16:creationId xmlns:a16="http://schemas.microsoft.com/office/drawing/2014/main" id="{161B2F95-9B35-4040-81B2-ACDE054BDD8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78254" y="1798667"/>
              <a:ext cx="1080000" cy="1080000"/>
            </a:xfrm>
            <a:prstGeom prst="rect">
              <a:avLst/>
            </a:prstGeom>
          </p:spPr>
        </p:pic>
      </p:grpSp>
      <p:sp>
        <p:nvSpPr>
          <p:cNvPr id="12" name="Title 1">
            <a:extLst>
              <a:ext uri="{FF2B5EF4-FFF2-40B4-BE49-F238E27FC236}">
                <a16:creationId xmlns:a16="http://schemas.microsoft.com/office/drawing/2014/main" id="{E81CF4DD-25A2-40F4-952B-66B4466BBD93}"/>
              </a:ext>
            </a:extLst>
          </p:cNvPr>
          <p:cNvSpPr txBox="1">
            <a:spLocks/>
          </p:cNvSpPr>
          <p:nvPr userDrawn="1"/>
        </p:nvSpPr>
        <p:spPr>
          <a:xfrm>
            <a:off x="3287689"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trust each other, we are transparent and we empower people. We respect diversity.</a:t>
            </a:r>
          </a:p>
        </p:txBody>
      </p:sp>
      <p:sp>
        <p:nvSpPr>
          <p:cNvPr id="13" name="Title 1">
            <a:extLst>
              <a:ext uri="{FF2B5EF4-FFF2-40B4-BE49-F238E27FC236}">
                <a16:creationId xmlns:a16="http://schemas.microsoft.com/office/drawing/2014/main" id="{33B85503-5C78-444D-B346-AB59AA416AC8}"/>
              </a:ext>
            </a:extLst>
          </p:cNvPr>
          <p:cNvSpPr txBox="1">
            <a:spLocks/>
          </p:cNvSpPr>
          <p:nvPr userDrawn="1"/>
        </p:nvSpPr>
        <p:spPr>
          <a:xfrm>
            <a:off x="3287688"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TRUST</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4" name="Gruppieren 13">
            <a:extLst>
              <a:ext uri="{FF2B5EF4-FFF2-40B4-BE49-F238E27FC236}">
                <a16:creationId xmlns:a16="http://schemas.microsoft.com/office/drawing/2014/main" id="{B5475377-A926-4847-B972-EA12DF6C0701}"/>
              </a:ext>
            </a:extLst>
          </p:cNvPr>
          <p:cNvGrpSpPr/>
          <p:nvPr userDrawn="1"/>
        </p:nvGrpSpPr>
        <p:grpSpPr>
          <a:xfrm>
            <a:off x="3463091" y="2083344"/>
            <a:ext cx="1089193" cy="1118842"/>
            <a:chOff x="1478254" y="1759825"/>
            <a:chExt cx="1089193" cy="1118842"/>
          </a:xfrm>
        </p:grpSpPr>
        <p:sp>
          <p:nvSpPr>
            <p:cNvPr id="15" name="Ellipse 14">
              <a:extLst>
                <a:ext uri="{FF2B5EF4-FFF2-40B4-BE49-F238E27FC236}">
                  <a16:creationId xmlns:a16="http://schemas.microsoft.com/office/drawing/2014/main" id="{13BB04B6-217B-499D-8F98-894FB375B2F9}"/>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6" name="Grafik 15">
              <a:extLst>
                <a:ext uri="{FF2B5EF4-FFF2-40B4-BE49-F238E27FC236}">
                  <a16:creationId xmlns:a16="http://schemas.microsoft.com/office/drawing/2014/main" id="{2760D55D-13ED-4E94-966A-95F12368925C}"/>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478254" y="1798667"/>
              <a:ext cx="1080000" cy="1080000"/>
            </a:xfrm>
            <a:prstGeom prst="rect">
              <a:avLst/>
            </a:prstGeom>
          </p:spPr>
        </p:pic>
      </p:grpSp>
      <p:sp>
        <p:nvSpPr>
          <p:cNvPr id="17" name="Title 1">
            <a:extLst>
              <a:ext uri="{FF2B5EF4-FFF2-40B4-BE49-F238E27FC236}">
                <a16:creationId xmlns:a16="http://schemas.microsoft.com/office/drawing/2014/main" id="{E979720F-B102-477C-A18C-F42F69F7B3FA}"/>
              </a:ext>
            </a:extLst>
          </p:cNvPr>
          <p:cNvSpPr txBox="1">
            <a:spLocks/>
          </p:cNvSpPr>
          <p:nvPr userDrawn="1"/>
        </p:nvSpPr>
        <p:spPr>
          <a:xfrm>
            <a:off x="537600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act in the interest of </a:t>
            </a:r>
            <a:br>
              <a:rPr lang="en-IE" sz="1200" b="0">
                <a:solidFill>
                  <a:schemeClr val="bg1"/>
                </a:solidFill>
                <a:effectLst/>
                <a:latin typeface="Calibri" panose="020F0502020204030204" pitchFamily="34" charset="0"/>
                <a:cs typeface="Calibri" panose="020F0502020204030204" pitchFamily="34" charset="0"/>
              </a:rPr>
            </a:br>
            <a:r>
              <a:rPr lang="en-IE" sz="1200" b="0">
                <a:solidFill>
                  <a:schemeClr val="bg1"/>
                </a:solidFill>
                <a:effectLst/>
                <a:latin typeface="Calibri" panose="020F0502020204030204" pitchFamily="34" charset="0"/>
                <a:cs typeface="Calibri" panose="020F0502020204030204" pitchFamily="34" charset="0"/>
              </a:rPr>
              <a:t>ENTSO-E</a:t>
            </a:r>
          </a:p>
        </p:txBody>
      </p:sp>
      <p:sp>
        <p:nvSpPr>
          <p:cNvPr id="18" name="Title 1">
            <a:extLst>
              <a:ext uri="{FF2B5EF4-FFF2-40B4-BE49-F238E27FC236}">
                <a16:creationId xmlns:a16="http://schemas.microsoft.com/office/drawing/2014/main" id="{DEDA1B90-9F8A-4C63-B8FF-D940062EC4C4}"/>
              </a:ext>
            </a:extLst>
          </p:cNvPr>
          <p:cNvSpPr txBox="1">
            <a:spLocks/>
          </p:cNvSpPr>
          <p:nvPr userDrawn="1"/>
        </p:nvSpPr>
        <p:spPr>
          <a:xfrm>
            <a:off x="537600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INTEGRITY</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9" name="Gruppieren 18">
            <a:extLst>
              <a:ext uri="{FF2B5EF4-FFF2-40B4-BE49-F238E27FC236}">
                <a16:creationId xmlns:a16="http://schemas.microsoft.com/office/drawing/2014/main" id="{955A5FDF-13A6-4E3F-98FC-5D8B5F750CF6}"/>
              </a:ext>
            </a:extLst>
          </p:cNvPr>
          <p:cNvGrpSpPr/>
          <p:nvPr userDrawn="1"/>
        </p:nvGrpSpPr>
        <p:grpSpPr>
          <a:xfrm>
            <a:off x="5551403" y="2024327"/>
            <a:ext cx="1089193" cy="1139017"/>
            <a:chOff x="1478254" y="1700808"/>
            <a:chExt cx="1089193" cy="1139017"/>
          </a:xfrm>
        </p:grpSpPr>
        <p:sp>
          <p:nvSpPr>
            <p:cNvPr id="20" name="Ellipse 19">
              <a:extLst>
                <a:ext uri="{FF2B5EF4-FFF2-40B4-BE49-F238E27FC236}">
                  <a16:creationId xmlns:a16="http://schemas.microsoft.com/office/drawing/2014/main" id="{7B46EB16-3C21-4C1F-96E5-A09D69B4EA5B}"/>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20">
              <a:extLst>
                <a:ext uri="{FF2B5EF4-FFF2-40B4-BE49-F238E27FC236}">
                  <a16:creationId xmlns:a16="http://schemas.microsoft.com/office/drawing/2014/main" id="{4B4C9A02-66CE-4BBC-A5CB-9F9670516C1D}"/>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478254" y="1700808"/>
              <a:ext cx="1080000" cy="1080000"/>
            </a:xfrm>
            <a:prstGeom prst="rect">
              <a:avLst/>
            </a:prstGeom>
          </p:spPr>
        </p:pic>
      </p:grpSp>
      <p:sp>
        <p:nvSpPr>
          <p:cNvPr id="22" name="Title 1">
            <a:extLst>
              <a:ext uri="{FF2B5EF4-FFF2-40B4-BE49-F238E27FC236}">
                <a16:creationId xmlns:a16="http://schemas.microsoft.com/office/drawing/2014/main" id="{2E634EBD-DFF6-43C8-9422-8F16AAB96C86}"/>
              </a:ext>
            </a:extLst>
          </p:cNvPr>
          <p:cNvSpPr txBox="1">
            <a:spLocks/>
          </p:cNvSpPr>
          <p:nvPr userDrawn="1"/>
        </p:nvSpPr>
        <p:spPr>
          <a:xfrm>
            <a:off x="7392263"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care about people. We work transversal and we support each other. We celebrate success.</a:t>
            </a:r>
          </a:p>
        </p:txBody>
      </p:sp>
      <p:sp>
        <p:nvSpPr>
          <p:cNvPr id="23" name="Title 1">
            <a:extLst>
              <a:ext uri="{FF2B5EF4-FFF2-40B4-BE49-F238E27FC236}">
                <a16:creationId xmlns:a16="http://schemas.microsoft.com/office/drawing/2014/main" id="{2B8B0EDA-AFDC-4A3F-8B48-271A245E4727}"/>
              </a:ext>
            </a:extLst>
          </p:cNvPr>
          <p:cNvSpPr txBox="1">
            <a:spLocks/>
          </p:cNvSpPr>
          <p:nvPr userDrawn="1"/>
        </p:nvSpPr>
        <p:spPr>
          <a:xfrm>
            <a:off x="7392262"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TEAM</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24" name="Gruppieren 23">
            <a:extLst>
              <a:ext uri="{FF2B5EF4-FFF2-40B4-BE49-F238E27FC236}">
                <a16:creationId xmlns:a16="http://schemas.microsoft.com/office/drawing/2014/main" id="{DB57394F-A3ED-46EA-ACEB-FE66F27FAB09}"/>
              </a:ext>
            </a:extLst>
          </p:cNvPr>
          <p:cNvGrpSpPr/>
          <p:nvPr userDrawn="1"/>
        </p:nvGrpSpPr>
        <p:grpSpPr>
          <a:xfrm>
            <a:off x="7576858" y="2080275"/>
            <a:ext cx="1080000" cy="1083069"/>
            <a:chOff x="1487447" y="1756756"/>
            <a:chExt cx="1080000" cy="1083069"/>
          </a:xfrm>
        </p:grpSpPr>
        <p:sp>
          <p:nvSpPr>
            <p:cNvPr id="25" name="Ellipse 24">
              <a:extLst>
                <a:ext uri="{FF2B5EF4-FFF2-40B4-BE49-F238E27FC236}">
                  <a16:creationId xmlns:a16="http://schemas.microsoft.com/office/drawing/2014/main" id="{047968BE-8FA5-46E6-AEB4-7BBD707663C8}"/>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6" name="Grafik 25">
              <a:extLst>
                <a:ext uri="{FF2B5EF4-FFF2-40B4-BE49-F238E27FC236}">
                  <a16:creationId xmlns:a16="http://schemas.microsoft.com/office/drawing/2014/main" id="{7EB613B2-536A-4138-AE88-6840149C7A1B}"/>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
        <p:nvSpPr>
          <p:cNvPr id="27" name="Title 1">
            <a:extLst>
              <a:ext uri="{FF2B5EF4-FFF2-40B4-BE49-F238E27FC236}">
                <a16:creationId xmlns:a16="http://schemas.microsoft.com/office/drawing/2014/main" id="{EC54E769-6637-4291-8E33-04784D80068D}"/>
              </a:ext>
            </a:extLst>
          </p:cNvPr>
          <p:cNvSpPr txBox="1">
            <a:spLocks/>
          </p:cNvSpPr>
          <p:nvPr userDrawn="1"/>
        </p:nvSpPr>
        <p:spPr>
          <a:xfrm>
            <a:off x="933636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are a learning organisation. </a:t>
            </a:r>
            <a:br>
              <a:rPr lang="en-IE" sz="1200" b="0">
                <a:solidFill>
                  <a:schemeClr val="bg1"/>
                </a:solidFill>
                <a:effectLst/>
                <a:latin typeface="Calibri" panose="020F0502020204030204" pitchFamily="34" charset="0"/>
                <a:cs typeface="Calibri" panose="020F0502020204030204" pitchFamily="34" charset="0"/>
              </a:rPr>
            </a:br>
            <a:r>
              <a:rPr lang="en-IE" sz="1200" b="0">
                <a:solidFill>
                  <a:schemeClr val="bg1"/>
                </a:solidFill>
                <a:effectLst/>
                <a:latin typeface="Calibri" panose="020F0502020204030204" pitchFamily="34" charset="0"/>
                <a:cs typeface="Calibri" panose="020F0502020204030204" pitchFamily="34" charset="0"/>
              </a:rPr>
              <a:t>We explore new paths and solutions.</a:t>
            </a:r>
          </a:p>
        </p:txBody>
      </p:sp>
      <p:sp>
        <p:nvSpPr>
          <p:cNvPr id="28" name="Title 1">
            <a:extLst>
              <a:ext uri="{FF2B5EF4-FFF2-40B4-BE49-F238E27FC236}">
                <a16:creationId xmlns:a16="http://schemas.microsoft.com/office/drawing/2014/main" id="{1EAE1D68-1D65-449A-A1D4-1C7A4EE8D7F3}"/>
              </a:ext>
            </a:extLst>
          </p:cNvPr>
          <p:cNvSpPr txBox="1">
            <a:spLocks/>
          </p:cNvSpPr>
          <p:nvPr userDrawn="1"/>
        </p:nvSpPr>
        <p:spPr>
          <a:xfrm>
            <a:off x="933636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FUTURE THINKING</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29" name="Gruppieren 28">
            <a:extLst>
              <a:ext uri="{FF2B5EF4-FFF2-40B4-BE49-F238E27FC236}">
                <a16:creationId xmlns:a16="http://schemas.microsoft.com/office/drawing/2014/main" id="{3C70C999-7CBE-4D11-A6B2-D77A57C5B0AD}"/>
              </a:ext>
            </a:extLst>
          </p:cNvPr>
          <p:cNvGrpSpPr/>
          <p:nvPr userDrawn="1"/>
        </p:nvGrpSpPr>
        <p:grpSpPr>
          <a:xfrm>
            <a:off x="9520956" y="2080275"/>
            <a:ext cx="1080000" cy="1083069"/>
            <a:chOff x="1487447" y="1756756"/>
            <a:chExt cx="1080000" cy="1083069"/>
          </a:xfrm>
        </p:grpSpPr>
        <p:sp>
          <p:nvSpPr>
            <p:cNvPr id="30" name="Ellipse 29">
              <a:extLst>
                <a:ext uri="{FF2B5EF4-FFF2-40B4-BE49-F238E27FC236}">
                  <a16:creationId xmlns:a16="http://schemas.microsoft.com/office/drawing/2014/main" id="{29D45C60-2B3F-49B7-BD2B-64F936E7A262}"/>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1" name="Grafik 30">
              <a:extLst>
                <a:ext uri="{FF2B5EF4-FFF2-40B4-BE49-F238E27FC236}">
                  <a16:creationId xmlns:a16="http://schemas.microsoft.com/office/drawing/2014/main" id="{C7C06749-CCF9-45D3-B10D-3B95BF64A939}"/>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Tree>
    <p:extLst>
      <p:ext uri="{BB962C8B-B14F-4D97-AF65-F5344CB8AC3E}">
        <p14:creationId xmlns:p14="http://schemas.microsoft.com/office/powerpoint/2010/main" val="2087437215"/>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en media">
    <p:spTree>
      <p:nvGrpSpPr>
        <p:cNvPr id="1" name=""/>
        <p:cNvGrpSpPr/>
        <p:nvPr/>
      </p:nvGrpSpPr>
      <p:grpSpPr>
        <a:xfrm>
          <a:off x="0" y="0"/>
          <a:ext cx="0" cy="0"/>
          <a:chOff x="0" y="0"/>
          <a:chExt cx="0" cy="0"/>
        </a:xfrm>
      </p:grpSpPr>
      <p:sp>
        <p:nvSpPr>
          <p:cNvPr id="5" name="Rechthoek 4">
            <a:extLst>
              <a:ext uri="{C183D7F6-B498-43B3-948B-1728B52AA6E4}">
                <adec:decorative xmlns:adec="http://schemas.microsoft.com/office/drawing/2017/decorative" val="1"/>
              </a:ext>
            </a:extLst>
          </p:cNvPr>
          <p:cNvSpPr/>
          <p:nvPr userDrawn="1"/>
        </p:nvSpPr>
        <p:spPr>
          <a:xfrm>
            <a:off x="0" y="6400801"/>
            <a:ext cx="12192000" cy="455084"/>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nl-NL"/>
          </a:p>
        </p:txBody>
      </p:sp>
      <p:sp>
        <p:nvSpPr>
          <p:cNvPr id="4" name="Titel 3"/>
          <p:cNvSpPr>
            <a:spLocks noGrp="1"/>
          </p:cNvSpPr>
          <p:nvPr>
            <p:ph type="title" hasCustomPrompt="1"/>
          </p:nvPr>
        </p:nvSpPr>
        <p:spPr>
          <a:xfrm>
            <a:off x="431371" y="356660"/>
            <a:ext cx="11227229" cy="1056117"/>
          </a:xfrm>
        </p:spPr>
        <p:txBody>
          <a:bodyPr/>
          <a:lstStyle>
            <a:lvl1pPr>
              <a:defRPr baseline="0">
                <a:solidFill>
                  <a:schemeClr val="accent1"/>
                </a:solidFill>
              </a:defRPr>
            </a:lvl1pPr>
          </a:lstStyle>
          <a:p>
            <a:r>
              <a:rPr lang="nl-NL" altLang="nl-NL" dirty="0"/>
              <a:t>Plaats hier de titel van je dia</a:t>
            </a:r>
            <a:endParaRPr lang="nl-NL" dirty="0"/>
          </a:p>
        </p:txBody>
      </p:sp>
      <p:sp>
        <p:nvSpPr>
          <p:cNvPr id="12" name="Tijdelijke aanduiding voor inhoud 11"/>
          <p:cNvSpPr>
            <a:spLocks noGrp="1"/>
          </p:cNvSpPr>
          <p:nvPr>
            <p:ph sz="quarter" idx="21" hasCustomPrompt="1"/>
          </p:nvPr>
        </p:nvSpPr>
        <p:spPr>
          <a:xfrm>
            <a:off x="431800" y="1412784"/>
            <a:ext cx="11232819" cy="4988023"/>
          </a:xfrm>
        </p:spPr>
        <p:txBody>
          <a:bodyPr/>
          <a:lstStyle>
            <a:lvl1pPr>
              <a:defRPr sz="2933"/>
            </a:lvl1pPr>
          </a:lstStyle>
          <a:p>
            <a:pPr lvl="0"/>
            <a:r>
              <a:rPr lang="nl-NL" noProof="0" dirty="0"/>
              <a:t>Klik op het een van de pictogrammen om een tabel, grafiek, video of andere media in te voegen</a:t>
            </a:r>
          </a:p>
        </p:txBody>
      </p:sp>
      <p:sp>
        <p:nvSpPr>
          <p:cNvPr id="6" name="Tijdelijke aanduiding voor dianummer 12"/>
          <p:cNvSpPr>
            <a:spLocks noGrp="1"/>
          </p:cNvSpPr>
          <p:nvPr>
            <p:ph type="sldNum" sz="quarter" idx="22"/>
          </p:nvPr>
        </p:nvSpPr>
        <p:spPr/>
        <p:txBody>
          <a:bodyPr/>
          <a:lstStyle>
            <a:lvl1pPr algn="ctr">
              <a:defRPr sz="1333" b="1" smtClean="0">
                <a:solidFill>
                  <a:srgbClr val="007FAE"/>
                </a:solidFill>
              </a:defRPr>
            </a:lvl1pPr>
          </a:lstStyle>
          <a:p>
            <a:pPr>
              <a:defRPr/>
            </a:pPr>
            <a:fld id="{0E3049AF-73C0-4543-AE41-B98E869EA6AC}" type="slidenum">
              <a:rPr lang="nl-NL"/>
              <a:pPr>
                <a:defRPr/>
              </a:pPr>
              <a:t>‹#›</a:t>
            </a:fld>
            <a:endParaRPr lang="nl-NL" dirty="0"/>
          </a:p>
        </p:txBody>
      </p:sp>
      <p:sp>
        <p:nvSpPr>
          <p:cNvPr id="7" name="Tijdelijke aanduiding voor datum 6"/>
          <p:cNvSpPr>
            <a:spLocks noGrp="1"/>
          </p:cNvSpPr>
          <p:nvPr>
            <p:ph type="dt" sz="half" idx="23"/>
          </p:nvPr>
        </p:nvSpPr>
        <p:spPr>
          <a:xfrm>
            <a:off x="8434918" y="6400801"/>
            <a:ext cx="2942167" cy="455084"/>
          </a:xfrm>
        </p:spPr>
        <p:txBody>
          <a:bodyPr/>
          <a:lstStyle>
            <a:lvl1pPr algn="r">
              <a:defRPr sz="1333" dirty="0">
                <a:solidFill>
                  <a:schemeClr val="accent4"/>
                </a:solidFill>
                <a:latin typeface="Arial" panose="020B0604020202020204" pitchFamily="34" charset="0"/>
                <a:cs typeface="Arial" panose="020B0604020202020204" pitchFamily="34" charset="0"/>
              </a:defRPr>
            </a:lvl1pPr>
          </a:lstStyle>
          <a:p>
            <a:pPr>
              <a:defRPr/>
            </a:pPr>
            <a:endParaRPr lang="nl-NL"/>
          </a:p>
        </p:txBody>
      </p:sp>
      <p:sp>
        <p:nvSpPr>
          <p:cNvPr id="8" name="Tijdelijke aanduiding voor voettekst 11"/>
          <p:cNvSpPr>
            <a:spLocks noGrp="1"/>
          </p:cNvSpPr>
          <p:nvPr>
            <p:ph type="ftr" sz="quarter" idx="24"/>
          </p:nvPr>
        </p:nvSpPr>
        <p:spPr/>
        <p:txBody>
          <a:bodyPr/>
          <a:lstStyle>
            <a:lvl1pPr algn="l">
              <a:defRPr sz="1333" b="1" dirty="0" smtClean="0">
                <a:solidFill>
                  <a:srgbClr val="007FAE"/>
                </a:solidFill>
                <a:latin typeface="Arial" panose="020B0604020202020204" pitchFamily="34" charset="0"/>
                <a:cs typeface="Arial" panose="020B0604020202020204" pitchFamily="34" charset="0"/>
              </a:defRPr>
            </a:lvl1pPr>
          </a:lstStyle>
          <a:p>
            <a:pPr>
              <a:defRPr/>
            </a:pPr>
            <a:endParaRPr lang="nl-NL"/>
          </a:p>
        </p:txBody>
      </p:sp>
    </p:spTree>
    <p:extLst>
      <p:ext uri="{BB962C8B-B14F-4D97-AF65-F5344CB8AC3E}">
        <p14:creationId xmlns:p14="http://schemas.microsoft.com/office/powerpoint/2010/main" val="3558652366"/>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1_ENTSO-E Key take-away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86346" y="476672"/>
            <a:ext cx="11617788" cy="936104"/>
          </a:xfrm>
          <a:prstGeom prst="rect">
            <a:avLst/>
          </a:prstGeom>
          <a:ln>
            <a:noFill/>
          </a:ln>
        </p:spPr>
        <p:txBody>
          <a:bodyPr anchor="t"/>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Key </a:t>
            </a:r>
            <a:r>
              <a:rPr lang="de-DE" err="1"/>
              <a:t>take-aways</a:t>
            </a:r>
            <a:endParaRPr lang="de-DE"/>
          </a:p>
        </p:txBody>
      </p:sp>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nSpc>
                <a:spcPts val="2600"/>
              </a:lnSpc>
              <a:spcBef>
                <a:spcPts val="0"/>
              </a:spcBef>
              <a:buNone/>
              <a:defRPr sz="2000" b="0">
                <a:solidFill>
                  <a:schemeClr val="tx1"/>
                </a:solidFill>
                <a:latin typeface="Calibri" panose="020F0502020204030204" pitchFamily="34" charset="0"/>
                <a:cs typeface="Calibri" panose="020F0502020204030204" pitchFamily="34" charset="0"/>
              </a:defRPr>
            </a:lvl1pPr>
          </a:lstStyle>
          <a:p>
            <a:pPr lvl="0"/>
            <a:r>
              <a:rPr lang="de-DE"/>
              <a:t>Text</a:t>
            </a:r>
          </a:p>
        </p:txBody>
      </p:sp>
      <p:sp>
        <p:nvSpPr>
          <p:cNvPr id="4" name="Rechteck 1">
            <a:extLst>
              <a:ext uri="{FF2B5EF4-FFF2-40B4-BE49-F238E27FC236}">
                <a16:creationId xmlns:a16="http://schemas.microsoft.com/office/drawing/2014/main" id="{9B4626A2-3A46-4841-8EA9-2789E9CF76F6}"/>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2605539382"/>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2_ENTSO-E Questions">
    <p:spTree>
      <p:nvGrpSpPr>
        <p:cNvPr id="1" name=""/>
        <p:cNvGrpSpPr/>
        <p:nvPr/>
      </p:nvGrpSpPr>
      <p:grpSpPr>
        <a:xfrm>
          <a:off x="0" y="0"/>
          <a:ext cx="0" cy="0"/>
          <a:chOff x="0" y="0"/>
          <a:chExt cx="0" cy="0"/>
        </a:xfrm>
      </p:grpSpPr>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gn="ctr">
              <a:lnSpc>
                <a:spcPts val="2600"/>
              </a:lnSpc>
              <a:spcBef>
                <a:spcPts val="0"/>
              </a:spcBef>
              <a:buNone/>
              <a:tabLst>
                <a:tab pos="3763963" algn="l"/>
              </a:tabLst>
              <a:defRPr sz="2800" b="1">
                <a:solidFill>
                  <a:srgbClr val="0F218B"/>
                </a:solidFill>
                <a:latin typeface="Calibri" panose="020F0502020204030204" pitchFamily="34" charset="0"/>
                <a:cs typeface="Calibri" panose="020F0502020204030204" pitchFamily="34" charset="0"/>
              </a:defRPr>
            </a:lvl1pPr>
          </a:lstStyle>
          <a:p>
            <a:pPr lvl="0"/>
            <a:r>
              <a:rPr lang="de-DE"/>
              <a:t>Questions?</a:t>
            </a:r>
          </a:p>
        </p:txBody>
      </p:sp>
      <p:sp>
        <p:nvSpPr>
          <p:cNvPr id="2" name="TextBox 1">
            <a:extLst>
              <a:ext uri="{FF2B5EF4-FFF2-40B4-BE49-F238E27FC236}">
                <a16:creationId xmlns:a16="http://schemas.microsoft.com/office/drawing/2014/main" id="{ED24F55E-FB99-4958-B7AF-F28A79322EB2}"/>
              </a:ext>
            </a:extLst>
          </p:cNvPr>
          <p:cNvSpPr txBox="1"/>
          <p:nvPr userDrawn="1"/>
        </p:nvSpPr>
        <p:spPr>
          <a:xfrm>
            <a:off x="5447928" y="4149080"/>
            <a:ext cx="3384376" cy="369332"/>
          </a:xfrm>
          <a:prstGeom prst="rect">
            <a:avLst/>
          </a:prstGeom>
          <a:noFill/>
        </p:spPr>
        <p:txBody>
          <a:bodyPr wrap="square" rtlCol="0">
            <a:spAutoFit/>
          </a:bodyPr>
          <a:lstStyle/>
          <a:p>
            <a:r>
              <a:rPr lang="en-US">
                <a:solidFill>
                  <a:srgbClr val="0F218B"/>
                </a:solidFill>
                <a:latin typeface="Calibri" panose="020F0502020204030204" pitchFamily="34" charset="0"/>
                <a:cs typeface="Calibri" panose="020F0502020204030204" pitchFamily="34" charset="0"/>
              </a:rPr>
              <a:t>contact:</a:t>
            </a:r>
            <a:endParaRPr lang="en-GB">
              <a:solidFill>
                <a:srgbClr val="0F218B"/>
              </a:solidFill>
              <a:latin typeface="Calibri" panose="020F0502020204030204" pitchFamily="34" charset="0"/>
              <a:cs typeface="Calibri" panose="020F0502020204030204" pitchFamily="34" charset="0"/>
            </a:endParaRPr>
          </a:p>
        </p:txBody>
      </p:sp>
      <p:sp>
        <p:nvSpPr>
          <p:cNvPr id="5" name="Rechteck 1">
            <a:extLst>
              <a:ext uri="{FF2B5EF4-FFF2-40B4-BE49-F238E27FC236}">
                <a16:creationId xmlns:a16="http://schemas.microsoft.com/office/drawing/2014/main" id="{C2D06D34-321E-4E67-BD6C-917AD342E7D4}"/>
              </a:ext>
            </a:extLst>
          </p:cNvPr>
          <p:cNvSpPr/>
          <p:nvPr userDrawn="1"/>
        </p:nvSpPr>
        <p:spPr>
          <a:xfrm rot="5400000" flipH="1">
            <a:off x="6064640" y="3063656"/>
            <a:ext cx="61200" cy="180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3300351578"/>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Content Slide 10">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5068A8D-5B56-2D71-3204-53AD7CAB9BFC}"/>
              </a:ext>
            </a:extLst>
          </p:cNvPr>
          <p:cNvSpPr>
            <a:spLocks noGrp="1"/>
          </p:cNvSpPr>
          <p:nvPr>
            <p:ph type="ctrTitle" hasCustomPrompt="1"/>
          </p:nvPr>
        </p:nvSpPr>
        <p:spPr>
          <a:xfrm>
            <a:off x="413068" y="404814"/>
            <a:ext cx="11083608" cy="589798"/>
          </a:xfrm>
        </p:spPr>
        <p:txBody>
          <a:bodyPr anchor="t"/>
          <a:lstStyle>
            <a:lvl1pPr algn="l">
              <a:defRPr sz="2000" b="1"/>
            </a:lvl1pPr>
          </a:lstStyle>
          <a:p>
            <a:r>
              <a:rPr lang="en-GB"/>
              <a:t>Headline</a:t>
            </a:r>
            <a:endParaRPr lang="en-US"/>
          </a:p>
        </p:txBody>
      </p:sp>
      <p:sp>
        <p:nvSpPr>
          <p:cNvPr id="9" name="Content Placeholder 8">
            <a:extLst>
              <a:ext uri="{FF2B5EF4-FFF2-40B4-BE49-F238E27FC236}">
                <a16:creationId xmlns:a16="http://schemas.microsoft.com/office/drawing/2014/main" id="{84118F88-328C-A946-EA9C-A609682889CE}"/>
              </a:ext>
            </a:extLst>
          </p:cNvPr>
          <p:cNvSpPr>
            <a:spLocks noGrp="1"/>
          </p:cNvSpPr>
          <p:nvPr>
            <p:ph sz="quarter" idx="10" hasCustomPrompt="1"/>
          </p:nvPr>
        </p:nvSpPr>
        <p:spPr>
          <a:xfrm>
            <a:off x="407988" y="995363"/>
            <a:ext cx="11088688" cy="4826000"/>
          </a:xfrm>
        </p:spPr>
        <p:txBody>
          <a:bodyPr tIns="216000"/>
          <a:lstStyle>
            <a:lvl1pPr marL="0" indent="0" algn="ctr">
              <a:buNone/>
              <a:defRPr sz="2000"/>
            </a:lvl1pPr>
          </a:lstStyle>
          <a:p>
            <a:pPr lvl="0"/>
            <a:r>
              <a:rPr lang="en-US"/>
              <a:t>Click to add content</a:t>
            </a:r>
          </a:p>
        </p:txBody>
      </p:sp>
      <p:sp>
        <p:nvSpPr>
          <p:cNvPr id="2" name="Slide Number Placeholder 1">
            <a:extLst>
              <a:ext uri="{FF2B5EF4-FFF2-40B4-BE49-F238E27FC236}">
                <a16:creationId xmlns:a16="http://schemas.microsoft.com/office/drawing/2014/main" id="{C79C2BF5-0BFC-8FCB-C997-D0FF7333A3F9}"/>
              </a:ext>
            </a:extLst>
          </p:cNvPr>
          <p:cNvSpPr>
            <a:spLocks noGrp="1"/>
          </p:cNvSpPr>
          <p:nvPr>
            <p:ph type="sldNum" sz="quarter" idx="11"/>
          </p:nvPr>
        </p:nvSpPr>
        <p:spPr/>
        <p:txBody>
          <a:bodyPr/>
          <a:lstStyle/>
          <a:p>
            <a:fld id="{B6ED98BD-9FE7-5144-8ABD-845F1AC4694B}" type="slidenum">
              <a:rPr lang="en-US" smtClean="0"/>
              <a:pPr/>
              <a:t>‹#›</a:t>
            </a:fld>
            <a:endParaRPr lang="en-US"/>
          </a:p>
        </p:txBody>
      </p:sp>
      <p:sp>
        <p:nvSpPr>
          <p:cNvPr id="3" name="Rectangle 2">
            <a:extLst>
              <a:ext uri="{FF2B5EF4-FFF2-40B4-BE49-F238E27FC236}">
                <a16:creationId xmlns:a16="http://schemas.microsoft.com/office/drawing/2014/main" id="{148EF65E-0593-AC2C-748C-639CE53C721D}"/>
              </a:ext>
            </a:extLst>
          </p:cNvPr>
          <p:cNvSpPr/>
          <p:nvPr userDrawn="1"/>
        </p:nvSpPr>
        <p:spPr>
          <a:xfrm>
            <a:off x="12072939" y="3223992"/>
            <a:ext cx="119062" cy="282040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9D4F4661-E418-9C4B-3249-FAD4A7312F2B}"/>
              </a:ext>
            </a:extLst>
          </p:cNvPr>
          <p:cNvSpPr/>
          <p:nvPr userDrawn="1"/>
        </p:nvSpPr>
        <p:spPr>
          <a:xfrm>
            <a:off x="12072939" y="403583"/>
            <a:ext cx="119062" cy="282040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pic>
        <p:nvPicPr>
          <p:cNvPr id="7" name="Image 6">
            <a:extLst>
              <a:ext uri="{FF2B5EF4-FFF2-40B4-BE49-F238E27FC236}">
                <a16:creationId xmlns:a16="http://schemas.microsoft.com/office/drawing/2014/main" id="{55110AA3-E47B-EB44-AE78-B139B653613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94607" y="5839884"/>
            <a:ext cx="806212" cy="806212"/>
          </a:xfrm>
          <a:prstGeom prst="rect">
            <a:avLst/>
          </a:prstGeom>
        </p:spPr>
      </p:pic>
      <p:sp>
        <p:nvSpPr>
          <p:cNvPr id="6" name="Rectangle 5">
            <a:extLst>
              <a:ext uri="{FF2B5EF4-FFF2-40B4-BE49-F238E27FC236}">
                <a16:creationId xmlns:a16="http://schemas.microsoft.com/office/drawing/2014/main" id="{EAE22EE8-DC0D-27F3-14E5-403FFE7C8264}"/>
              </a:ext>
            </a:extLst>
          </p:cNvPr>
          <p:cNvSpPr/>
          <p:nvPr userDrawn="1"/>
        </p:nvSpPr>
        <p:spPr>
          <a:xfrm>
            <a:off x="2380074" y="5950038"/>
            <a:ext cx="1133268" cy="601695"/>
          </a:xfrm>
          <a:prstGeom prst="rect">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Tree>
    <p:extLst>
      <p:ext uri="{BB962C8B-B14F-4D97-AF65-F5344CB8AC3E}">
        <p14:creationId xmlns:p14="http://schemas.microsoft.com/office/powerpoint/2010/main" val="1827228483"/>
      </p:ext>
    </p:extLst>
  </p:cSld>
  <p:clrMapOvr>
    <a:masterClrMapping/>
  </p:clrMapOvr>
  <p:extLst>
    <p:ext uri="{DCECCB84-F9BA-43D5-87BE-67443E8EF086}">
      <p15:sldGuideLst xmlns:p15="http://schemas.microsoft.com/office/powerpoint/2012/main"/>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cSld name="SDAC-Titl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2711428-3E85-4171-81C6-3007FDBE55A0}"/>
              </a:ext>
            </a:extLst>
          </p:cNvPr>
          <p:cNvGraphicFramePr>
            <a:graphicFrameLocks noChangeAspect="1"/>
          </p:cNvGraphicFramePr>
          <p:nvPr userDrawn="1">
            <p:custDataLst>
              <p:tags r:id="rId1"/>
            </p:custData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22711428-3E85-4171-81C6-3007FDBE55A0}"/>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16AE915-6882-45E0-A4A9-B446EEB311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xfrm>
            <a:off x="719999" y="230493"/>
            <a:ext cx="10728000" cy="583015"/>
          </a:xfrm>
          <a:noFill/>
        </p:spPr>
        <p:txBody>
          <a:bodyPr vert="horz"/>
          <a:lstStyle>
            <a:lvl1pPr>
              <a:defRPr>
                <a:solidFill>
                  <a:srgbClr val="23BACF"/>
                </a:solidFill>
              </a:defRPr>
            </a:lvl1pPr>
          </a:lstStyle>
          <a:p>
            <a:r>
              <a:rPr lang="de-DE"/>
              <a:t>Click </a:t>
            </a:r>
            <a:r>
              <a:rPr lang="de-DE" err="1"/>
              <a:t>to</a:t>
            </a:r>
            <a:r>
              <a:rPr lang="de-DE"/>
              <a:t> </a:t>
            </a:r>
            <a:r>
              <a:rPr lang="de-DE" err="1"/>
              <a:t>enter</a:t>
            </a:r>
            <a:r>
              <a:rPr lang="de-DE"/>
              <a:t> title</a:t>
            </a:r>
            <a:r>
              <a:rPr lang="hu-HU"/>
              <a:t> - SDAC</a:t>
            </a:r>
            <a:endParaRPr lang="de-DE"/>
          </a:p>
        </p:txBody>
      </p:sp>
      <p:sp>
        <p:nvSpPr>
          <p:cNvPr id="8" name="Textplatzhalter 7"/>
          <p:cNvSpPr>
            <a:spLocks noGrp="1"/>
          </p:cNvSpPr>
          <p:nvPr>
            <p:ph type="body" sz="quarter" idx="13" hasCustomPrompt="1"/>
          </p:nvPr>
        </p:nvSpPr>
        <p:spPr>
          <a:xfrm>
            <a:off x="719999" y="1439999"/>
            <a:ext cx="10728000" cy="4896000"/>
          </a:xfrm>
        </p:spPr>
        <p:txBody>
          <a:bodyPr/>
          <a:lstStyle>
            <a:lvl1pPr>
              <a:defRPr>
                <a:solidFill>
                  <a:schemeClr val="tx1"/>
                </a:solidFill>
              </a:defRPr>
            </a:lvl1pPr>
          </a:lstStyle>
          <a:p>
            <a:pPr lvl="0"/>
            <a:r>
              <a:rPr lang="de-DE"/>
              <a:t>Click </a:t>
            </a:r>
            <a:r>
              <a:rPr lang="de-DE" err="1"/>
              <a:t>to</a:t>
            </a:r>
            <a:r>
              <a:rPr lang="de-DE"/>
              <a:t> </a:t>
            </a:r>
            <a:r>
              <a:rPr lang="de-DE" err="1"/>
              <a:t>enter</a:t>
            </a:r>
            <a:r>
              <a:rPr lang="de-DE"/>
              <a:t> </a:t>
            </a:r>
            <a:r>
              <a:rPr lang="de-DE" err="1"/>
              <a:t>text</a:t>
            </a:r>
            <a:endParaRPr lang="de-DE"/>
          </a:p>
        </p:txBody>
      </p:sp>
      <p:pic>
        <p:nvPicPr>
          <p:cNvPr id="13" name="Kép 12">
            <a:extLst>
              <a:ext uri="{FF2B5EF4-FFF2-40B4-BE49-F238E27FC236}">
                <a16:creationId xmlns:a16="http://schemas.microsoft.com/office/drawing/2014/main" id="{0AEAF6EC-748D-4C3C-B816-F46ED018D460}"/>
              </a:ext>
            </a:extLst>
          </p:cNvPr>
          <p:cNvPicPr>
            <a:picLocks noChangeAspect="1"/>
          </p:cNvPicPr>
          <p:nvPr userDrawn="1"/>
        </p:nvPicPr>
        <p:blipFill rotWithShape="1">
          <a:blip r:embed="rId6" cstate="email">
            <a:extLst>
              <a:ext uri="{28A0092B-C50C-407E-A947-70E740481C1C}">
                <a14:useLocalDpi xmlns:a14="http://schemas.microsoft.com/office/drawing/2010/main" val="0"/>
              </a:ext>
            </a:extLst>
          </a:blip>
          <a:srcRect/>
          <a:stretch/>
        </p:blipFill>
        <p:spPr>
          <a:xfrm>
            <a:off x="1" y="6341700"/>
            <a:ext cx="1562986" cy="526933"/>
          </a:xfrm>
          <a:prstGeom prst="rect">
            <a:avLst/>
          </a:prstGeom>
        </p:spPr>
      </p:pic>
      <p:pic>
        <p:nvPicPr>
          <p:cNvPr id="7" name="Kép 6">
            <a:extLst>
              <a:ext uri="{FF2B5EF4-FFF2-40B4-BE49-F238E27FC236}">
                <a16:creationId xmlns:a16="http://schemas.microsoft.com/office/drawing/2014/main" id="{233DA4DB-024A-47C1-A545-2E05E2B04BD3}"/>
              </a:ext>
            </a:extLst>
          </p:cNvPr>
          <p:cNvPicPr>
            <a:picLocks noChangeAspect="1"/>
          </p:cNvPicPr>
          <p:nvPr userDrawn="1"/>
        </p:nvPicPr>
        <p:blipFill rotWithShape="1">
          <a:blip r:embed="rId7" cstate="email">
            <a:extLst>
              <a:ext uri="{28A0092B-C50C-407E-A947-70E740481C1C}">
                <a14:useLocalDpi xmlns:a14="http://schemas.microsoft.com/office/drawing/2010/main" val="0"/>
              </a:ext>
            </a:extLst>
          </a:blip>
          <a:srcRect t="-37765"/>
          <a:stretch/>
        </p:blipFill>
        <p:spPr>
          <a:xfrm>
            <a:off x="1460355" y="6627600"/>
            <a:ext cx="6457159" cy="233281"/>
          </a:xfrm>
          <a:prstGeom prst="rect">
            <a:avLst/>
          </a:prstGeom>
        </p:spPr>
      </p:pic>
    </p:spTree>
    <p:extLst>
      <p:ext uri="{BB962C8B-B14F-4D97-AF65-F5344CB8AC3E}">
        <p14:creationId xmlns:p14="http://schemas.microsoft.com/office/powerpoint/2010/main" val="3663711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2160">
          <p15:clr>
            <a:srgbClr val="FBAE40"/>
          </p15:clr>
        </p15:guide>
        <p15:guide id="2" orient="horz" pos="142">
          <p15:clr>
            <a:srgbClr val="FBAE40"/>
          </p15:clr>
        </p15:guide>
        <p15:guide id="3" orient="horz" pos="3997">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FA3BC5-7826-AE4F-821A-D9B918CE0235}"/>
              </a:ext>
            </a:extLst>
          </p:cNvPr>
          <p:cNvGraphicFramePr>
            <a:graphicFrameLocks noChangeAspect="1"/>
          </p:cNvGraphicFramePr>
          <p:nvPr userDrawn="1">
            <p:custDataLst>
              <p:tags r:id="rId1"/>
            </p:custDataLst>
            <p:extLst>
              <p:ext uri="{D42A27DB-BD31-4B8C-83A1-F6EECF244321}">
                <p14:modId xmlns:p14="http://schemas.microsoft.com/office/powerpoint/2010/main" val="1192535564"/>
              </p:ext>
            </p:extLst>
          </p:nvPr>
        </p:nvGraphicFramePr>
        <p:xfrm>
          <a:off x="1955" y="1588"/>
          <a:ext cx="1510"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48FA3BC5-7826-AE4F-821A-D9B918CE0235}"/>
                          </a:ext>
                        </a:extLst>
                      </p:cNvPr>
                      <p:cNvPicPr/>
                      <p:nvPr/>
                    </p:nvPicPr>
                    <p:blipFill>
                      <a:blip r:embed="rId4"/>
                      <a:stretch>
                        <a:fillRect/>
                      </a:stretch>
                    </p:blipFill>
                    <p:spPr>
                      <a:xfrm>
                        <a:off x="1955" y="1588"/>
                        <a:ext cx="1510" cy="1588"/>
                      </a:xfrm>
                      <a:prstGeom prst="rect">
                        <a:avLst/>
                      </a:prstGeom>
                    </p:spPr>
                  </p:pic>
                </p:oleObj>
              </mc:Fallback>
            </mc:AlternateContent>
          </a:graphicData>
        </a:graphic>
      </p:graphicFrame>
      <p:sp>
        <p:nvSpPr>
          <p:cNvPr id="2" name="Title 1"/>
          <p:cNvSpPr>
            <a:spLocks noGrp="1"/>
          </p:cNvSpPr>
          <p:nvPr>
            <p:ph type="title"/>
          </p:nvPr>
        </p:nvSpPr>
        <p:spPr>
          <a:xfrm>
            <a:off x="644769" y="108000"/>
            <a:ext cx="8387594" cy="336550"/>
          </a:xfrm>
        </p:spPr>
        <p:txBody>
          <a:bodyPr vert="horz" lIns="72000" tIns="36000" rIns="72000" bIns="36000" rtlCol="0" anchor="t">
            <a:noAutofit/>
          </a:bodyPr>
          <a:lstStyle>
            <a:lvl1pPr>
              <a:defRPr lang="nl-NL" sz="1600" b="1" i="0" dirty="0">
                <a:solidFill>
                  <a:srgbClr val="3366FF"/>
                </a:solidFill>
                <a:latin typeface="+mn-lt"/>
                <a:ea typeface="Arial Unicode MS" panose="020B0604020202020204" pitchFamily="34" charset="-128"/>
                <a:cs typeface="Arial" panose="020B0604020202020204" pitchFamily="34" charset="0"/>
              </a:defRPr>
            </a:lvl1pPr>
          </a:lstStyle>
          <a:p>
            <a:pPr marL="0" lvl="0" indent="0" algn="l" rtl="0" eaLnBrk="1" fontAlgn="base" hangingPunct="1">
              <a:spcBef>
                <a:spcPts val="400"/>
              </a:spcBef>
              <a:spcAft>
                <a:spcPct val="0"/>
              </a:spcAft>
              <a:buClr>
                <a:schemeClr val="bg1"/>
              </a:buClr>
              <a:buSzPct val="120000"/>
              <a:buFont typeface="Arial" panose="020B0604020202020204" pitchFamily="34" charset="0"/>
              <a:buNone/>
            </a:pPr>
            <a:r>
              <a:rPr lang="en-US"/>
              <a:t>Click to edit Master title style</a:t>
            </a:r>
            <a:endParaRPr lang="nl-NL"/>
          </a:p>
        </p:txBody>
      </p:sp>
      <p:sp>
        <p:nvSpPr>
          <p:cNvPr id="13" name="Text Placeholder 12"/>
          <p:cNvSpPr>
            <a:spLocks noGrp="1"/>
          </p:cNvSpPr>
          <p:nvPr>
            <p:ph type="body" sz="quarter" idx="16" hasCustomPrompt="1"/>
          </p:nvPr>
        </p:nvSpPr>
        <p:spPr>
          <a:xfrm>
            <a:off x="644770" y="461650"/>
            <a:ext cx="10329870" cy="363850"/>
          </a:xfrm>
          <a:prstGeom prst="rect">
            <a:avLst/>
          </a:prstGeom>
        </p:spPr>
        <p:txBody>
          <a:bodyPr vert="horz" lIns="72000" tIns="36000" rIns="72000" bIns="36000" rtlCol="0" anchor="t">
            <a:noAutofit/>
          </a:bodyPr>
          <a:lstStyle>
            <a:lvl1pPr>
              <a:defRPr lang="nl-NL" sz="1400" b="0" i="0" dirty="0">
                <a:solidFill>
                  <a:srgbClr val="3366FF"/>
                </a:solidFill>
                <a:latin typeface="+mj-lt"/>
              </a:defRPr>
            </a:lvl1pPr>
          </a:lstStyle>
          <a:p>
            <a:pPr lvl="0">
              <a:spcBef>
                <a:spcPct val="0"/>
              </a:spcBef>
            </a:pPr>
            <a:r>
              <a:rPr lang="en-US"/>
              <a:t>Click to edit Description</a:t>
            </a:r>
          </a:p>
          <a:p>
            <a:pPr lvl="0">
              <a:spcBef>
                <a:spcPct val="0"/>
              </a:spcBef>
            </a:pPr>
            <a:endParaRPr lang="nl-NL"/>
          </a:p>
        </p:txBody>
      </p:sp>
      <p:sp>
        <p:nvSpPr>
          <p:cNvPr id="6" name="Espace réservé du numéro de diapositive 1">
            <a:extLst>
              <a:ext uri="{FF2B5EF4-FFF2-40B4-BE49-F238E27FC236}">
                <a16:creationId xmlns:a16="http://schemas.microsoft.com/office/drawing/2014/main" id="{A202140A-AFAB-44A8-AB9C-F5EEF12E385F}"/>
              </a:ext>
            </a:extLst>
          </p:cNvPr>
          <p:cNvSpPr>
            <a:spLocks noGrp="1"/>
          </p:cNvSpPr>
          <p:nvPr>
            <p:ph type="sldNum" sz="quarter" idx="4"/>
          </p:nvPr>
        </p:nvSpPr>
        <p:spPr>
          <a:xfrm>
            <a:off x="11260270" y="6553201"/>
            <a:ext cx="819105" cy="273089"/>
          </a:xfrm>
          <a:prstGeom prst="rect">
            <a:avLst/>
          </a:prstGeom>
        </p:spPr>
        <p:txBody>
          <a:bodyPr vert="horz" lIns="91440" tIns="45720" rIns="91440" bIns="45720" rtlCol="0" anchor="ctr"/>
          <a:lstStyle>
            <a:lvl1pPr algn="r">
              <a:defRPr sz="900"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a:t>
            </a:fld>
            <a:endParaRPr lang="en-US"/>
          </a:p>
        </p:txBody>
      </p:sp>
      <p:sp>
        <p:nvSpPr>
          <p:cNvPr id="5" name="Footer Placeholder 7">
            <a:extLst>
              <a:ext uri="{FF2B5EF4-FFF2-40B4-BE49-F238E27FC236}">
                <a16:creationId xmlns:a16="http://schemas.microsoft.com/office/drawing/2014/main" id="{36FB24C9-4EA8-1C44-B915-5E92856272EC}"/>
              </a:ext>
            </a:extLst>
          </p:cNvPr>
          <p:cNvSpPr>
            <a:spLocks noGrp="1"/>
          </p:cNvSpPr>
          <p:nvPr>
            <p:ph type="ftr" sz="quarter" idx="3"/>
          </p:nvPr>
        </p:nvSpPr>
        <p:spPr>
          <a:xfrm>
            <a:off x="644770" y="6553201"/>
            <a:ext cx="4134645" cy="273089"/>
          </a:xfrm>
          <a:prstGeom prst="rect">
            <a:avLst/>
          </a:prstGeom>
        </p:spPr>
        <p:txBody>
          <a:bodyPr vert="horz" lIns="72000" tIns="45720" rIns="72000" bIns="45720" rtlCol="0" anchor="ctr"/>
          <a:lstStyle>
            <a:lvl1pPr algn="l">
              <a:defRPr lang="en-GB" sz="900" b="0" i="0" dirty="0">
                <a:solidFill>
                  <a:schemeClr val="bg1">
                    <a:lumMod val="50000"/>
                  </a:schemeClr>
                </a:solidFill>
                <a:latin typeface="+mn-lt"/>
                <a:ea typeface="Arial Unicode MS" panose="020B0604020202020204" pitchFamily="34" charset="-128"/>
                <a:cs typeface="Arial" panose="020B0604020202020204" pitchFamily="34" charset="0"/>
              </a:defRPr>
            </a:lvl1pPr>
          </a:lstStyle>
          <a:p>
            <a:r>
              <a:rPr lang="en-GB"/>
              <a:t>Core SG | 06/11/2025</a:t>
            </a:r>
            <a:endParaRPr lang="en-NL"/>
          </a:p>
        </p:txBody>
      </p:sp>
    </p:spTree>
    <p:extLst>
      <p:ext uri="{BB962C8B-B14F-4D97-AF65-F5344CB8AC3E}">
        <p14:creationId xmlns:p14="http://schemas.microsoft.com/office/powerpoint/2010/main" val="3327751871"/>
      </p:ext>
    </p:extLst>
  </p:cSld>
  <p:clrMapOvr>
    <a:masterClrMapping/>
  </p:clrMapOvr>
  <p:extLst>
    <p:ext uri="{DCECCB84-F9BA-43D5-87BE-67443E8EF086}">
      <p15:sldGuideLst xmlns:p15="http://schemas.microsoft.com/office/powerpoint/2012/main"/>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0832591-CD6D-9641-A9BB-75F77328DDD4}"/>
              </a:ext>
            </a:extLst>
          </p:cNvPr>
          <p:cNvGraphicFramePr>
            <a:graphicFrameLocks noChangeAspect="1"/>
          </p:cNvGraphicFramePr>
          <p:nvPr userDrawn="1">
            <p:custDataLst>
              <p:tags r:id="rId1"/>
            </p:custDataLst>
            <p:extLst>
              <p:ext uri="{D42A27DB-BD31-4B8C-83A1-F6EECF244321}">
                <p14:modId xmlns:p14="http://schemas.microsoft.com/office/powerpoint/2010/main" val="1195239636"/>
              </p:ext>
            </p:extLst>
          </p:nvPr>
        </p:nvGraphicFramePr>
        <p:xfrm>
          <a:off x="1955" y="1588"/>
          <a:ext cx="1510"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90832591-CD6D-9641-A9BB-75F77328DDD4}"/>
                          </a:ext>
                        </a:extLst>
                      </p:cNvPr>
                      <p:cNvPicPr/>
                      <p:nvPr/>
                    </p:nvPicPr>
                    <p:blipFill>
                      <a:blip r:embed="rId4"/>
                      <a:stretch>
                        <a:fillRect/>
                      </a:stretch>
                    </p:blipFill>
                    <p:spPr>
                      <a:xfrm>
                        <a:off x="1955" y="1588"/>
                        <a:ext cx="1510" cy="1588"/>
                      </a:xfrm>
                      <a:prstGeom prst="rect">
                        <a:avLst/>
                      </a:prstGeom>
                    </p:spPr>
                  </p:pic>
                </p:oleObj>
              </mc:Fallback>
            </mc:AlternateContent>
          </a:graphicData>
        </a:graphic>
      </p:graphicFrame>
      <p:sp>
        <p:nvSpPr>
          <p:cNvPr id="2" name="Title 1"/>
          <p:cNvSpPr>
            <a:spLocks noGrp="1"/>
          </p:cNvSpPr>
          <p:nvPr>
            <p:ph type="title"/>
          </p:nvPr>
        </p:nvSpPr>
        <p:spPr>
          <a:xfrm>
            <a:off x="644769" y="108000"/>
            <a:ext cx="8689558" cy="336550"/>
          </a:xfrm>
        </p:spPr>
        <p:txBody>
          <a:bodyPr vert="horz" lIns="72000" tIns="36000" rIns="72000" bIns="36000" rtlCol="0" anchor="t">
            <a:noAutofit/>
          </a:bodyPr>
          <a:lstStyle>
            <a:lvl1pPr>
              <a:defRPr lang="nl-NL" sz="1600" b="1" i="0" dirty="0">
                <a:solidFill>
                  <a:srgbClr val="3366FF"/>
                </a:solidFill>
                <a:latin typeface="+mn-lt"/>
                <a:ea typeface="Arial Unicode MS" panose="020B0604020202020204" pitchFamily="34" charset="-128"/>
                <a:cs typeface="Arial" panose="020B0604020202020204" pitchFamily="34" charset="0"/>
              </a:defRPr>
            </a:lvl1pPr>
          </a:lstStyle>
          <a:p>
            <a:pPr marL="0" lvl="0" indent="0" algn="l" rtl="0" eaLnBrk="1" fontAlgn="base" hangingPunct="1">
              <a:spcBef>
                <a:spcPts val="400"/>
              </a:spcBef>
              <a:spcAft>
                <a:spcPct val="0"/>
              </a:spcAft>
              <a:buClr>
                <a:schemeClr val="bg1"/>
              </a:buClr>
              <a:buSzPct val="120000"/>
              <a:buFont typeface="Arial" panose="020B0604020202020204" pitchFamily="34" charset="0"/>
              <a:buNone/>
            </a:pPr>
            <a:r>
              <a:rPr lang="en-US"/>
              <a:t>Click to edit Master title style</a:t>
            </a:r>
            <a:endParaRPr lang="nl-NL"/>
          </a:p>
        </p:txBody>
      </p:sp>
      <p:sp>
        <p:nvSpPr>
          <p:cNvPr id="13" name="Text Placeholder 12"/>
          <p:cNvSpPr>
            <a:spLocks noGrp="1"/>
          </p:cNvSpPr>
          <p:nvPr>
            <p:ph type="body" sz="quarter" idx="16" hasCustomPrompt="1"/>
          </p:nvPr>
        </p:nvSpPr>
        <p:spPr>
          <a:xfrm>
            <a:off x="644770" y="461650"/>
            <a:ext cx="10653692" cy="363850"/>
          </a:xfrm>
          <a:prstGeom prst="rect">
            <a:avLst/>
          </a:prstGeom>
        </p:spPr>
        <p:txBody>
          <a:bodyPr vert="horz" lIns="72000" tIns="36000" rIns="72000" bIns="36000" rtlCol="0" anchor="t">
            <a:noAutofit/>
          </a:bodyPr>
          <a:lstStyle>
            <a:lvl1pPr>
              <a:defRPr lang="nl-NL" sz="1400" b="0" i="0" dirty="0">
                <a:solidFill>
                  <a:srgbClr val="3366FF"/>
                </a:solidFill>
                <a:latin typeface="+mj-lt"/>
              </a:defRPr>
            </a:lvl1pPr>
          </a:lstStyle>
          <a:p>
            <a:pPr lvl="0">
              <a:spcBef>
                <a:spcPct val="0"/>
              </a:spcBef>
            </a:pPr>
            <a:r>
              <a:rPr lang="en-US"/>
              <a:t>Click to edit Description</a:t>
            </a:r>
          </a:p>
        </p:txBody>
      </p:sp>
      <p:sp>
        <p:nvSpPr>
          <p:cNvPr id="4" name="Content Placeholder 3"/>
          <p:cNvSpPr>
            <a:spLocks noGrp="1"/>
          </p:cNvSpPr>
          <p:nvPr>
            <p:ph sz="quarter" idx="17"/>
          </p:nvPr>
        </p:nvSpPr>
        <p:spPr>
          <a:xfrm>
            <a:off x="644770" y="1080000"/>
            <a:ext cx="11078308" cy="4320000"/>
          </a:xfrm>
        </p:spPr>
        <p:txBody>
          <a:bodyPr/>
          <a:lstStyle>
            <a:lvl1pPr>
              <a:defRPr b="0" i="0">
                <a:solidFill>
                  <a:srgbClr val="3366FF"/>
                </a:solidFill>
                <a:latin typeface="+mn-lt"/>
              </a:defRPr>
            </a:lvl1pPr>
            <a:lvl2pPr>
              <a:defRPr b="0" i="0">
                <a:latin typeface="+mn-lt"/>
              </a:defRPr>
            </a:lvl2pPr>
            <a:lvl3pPr>
              <a:defRPr b="0" i="0">
                <a:latin typeface="+mn-lt"/>
              </a:defRPr>
            </a:lvl3pPr>
            <a:lvl4pPr>
              <a:defRPr b="0" i="0">
                <a:latin typeface="+mn-lt"/>
              </a:defRPr>
            </a:lvl4pPr>
            <a:lvl5pPr>
              <a:defRPr>
                <a:latin typeface="+mn-lt"/>
              </a:defRPr>
            </a:lvl5pPr>
          </a:lstStyle>
          <a:p>
            <a:pPr lvl="0"/>
            <a:r>
              <a:rPr lang="en-US"/>
              <a:t>Edit Master text styles</a:t>
            </a:r>
          </a:p>
          <a:p>
            <a:pPr lvl="1"/>
            <a:r>
              <a:rPr lang="en-US"/>
              <a:t>[Add text]</a:t>
            </a:r>
          </a:p>
          <a:p>
            <a:pPr lvl="2"/>
            <a:r>
              <a:rPr lang="en-US"/>
              <a:t>[Add text]</a:t>
            </a:r>
          </a:p>
          <a:p>
            <a:pPr lvl="3"/>
            <a:r>
              <a:rPr lang="en-US"/>
              <a:t>[Add text]</a:t>
            </a:r>
            <a:endParaRPr lang="nl-NL"/>
          </a:p>
        </p:txBody>
      </p:sp>
      <p:sp>
        <p:nvSpPr>
          <p:cNvPr id="6" name="Espace réservé du numéro de diapositive 1">
            <a:extLst>
              <a:ext uri="{FF2B5EF4-FFF2-40B4-BE49-F238E27FC236}">
                <a16:creationId xmlns:a16="http://schemas.microsoft.com/office/drawing/2014/main" id="{20A0F5B2-75A8-4841-A428-67AD9E889F7B}"/>
              </a:ext>
            </a:extLst>
          </p:cNvPr>
          <p:cNvSpPr>
            <a:spLocks noGrp="1"/>
          </p:cNvSpPr>
          <p:nvPr>
            <p:ph type="sldNum" sz="quarter" idx="4"/>
          </p:nvPr>
        </p:nvSpPr>
        <p:spPr>
          <a:xfrm>
            <a:off x="11260270" y="6553201"/>
            <a:ext cx="819105" cy="273089"/>
          </a:xfrm>
          <a:prstGeom prst="rect">
            <a:avLst/>
          </a:prstGeom>
        </p:spPr>
        <p:txBody>
          <a:bodyPr vert="horz" lIns="91440" tIns="45720" rIns="91440" bIns="45720" rtlCol="0" anchor="ctr"/>
          <a:lstStyle>
            <a:lvl1pPr algn="r">
              <a:defRPr sz="900"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a:t>
            </a:fld>
            <a:endParaRPr lang="en-US"/>
          </a:p>
        </p:txBody>
      </p:sp>
      <p:sp>
        <p:nvSpPr>
          <p:cNvPr id="7" name="Footer Placeholder 7">
            <a:extLst>
              <a:ext uri="{FF2B5EF4-FFF2-40B4-BE49-F238E27FC236}">
                <a16:creationId xmlns:a16="http://schemas.microsoft.com/office/drawing/2014/main" id="{163FFC53-B4C8-3948-9F3E-8E9AA9898332}"/>
              </a:ext>
            </a:extLst>
          </p:cNvPr>
          <p:cNvSpPr>
            <a:spLocks noGrp="1"/>
          </p:cNvSpPr>
          <p:nvPr>
            <p:ph type="ftr" sz="quarter" idx="3"/>
          </p:nvPr>
        </p:nvSpPr>
        <p:spPr>
          <a:xfrm>
            <a:off x="644770" y="6553201"/>
            <a:ext cx="4134645" cy="273089"/>
          </a:xfrm>
          <a:prstGeom prst="rect">
            <a:avLst/>
          </a:prstGeom>
        </p:spPr>
        <p:txBody>
          <a:bodyPr vert="horz" lIns="72000" tIns="45720" rIns="72000" bIns="45720" rtlCol="0" anchor="ctr"/>
          <a:lstStyle>
            <a:lvl1pPr algn="l">
              <a:defRPr lang="en-GB" sz="900" b="0" i="0" dirty="0">
                <a:solidFill>
                  <a:schemeClr val="bg1">
                    <a:lumMod val="50000"/>
                  </a:schemeClr>
                </a:solidFill>
                <a:latin typeface="+mn-lt"/>
                <a:ea typeface="Arial Unicode MS" panose="020B0604020202020204" pitchFamily="34" charset="-128"/>
                <a:cs typeface="Arial" panose="020B0604020202020204" pitchFamily="34" charset="0"/>
              </a:defRPr>
            </a:lvl1pPr>
          </a:lstStyle>
          <a:p>
            <a:r>
              <a:rPr lang="en-GB"/>
              <a:t>Core SG | 06/11/2025</a:t>
            </a:r>
            <a:endParaRPr lang="en-NL"/>
          </a:p>
        </p:txBody>
      </p:sp>
    </p:spTree>
    <p:extLst>
      <p:ext uri="{BB962C8B-B14F-4D97-AF65-F5344CB8AC3E}">
        <p14:creationId xmlns:p14="http://schemas.microsoft.com/office/powerpoint/2010/main" val="3992880807"/>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2370669" y="2912663"/>
            <a:ext cx="9101929" cy="792162"/>
          </a:xfrm>
          <a:prstGeom prst="rect">
            <a:avLst/>
          </a:prstGeom>
        </p:spPr>
        <p:txBody>
          <a:bodyPr/>
          <a:lstStyle>
            <a:lvl1pPr marL="0" indent="0">
              <a:buNone/>
              <a:defRPr lang="en-US" sz="1800" b="0" i="0" baseline="0" dirty="0">
                <a:solidFill>
                  <a:schemeClr val="tx2"/>
                </a:solidFill>
                <a:latin typeface="+mn-lt"/>
                <a:ea typeface="Arial Unicode MS" panose="020B0604020202020204" pitchFamily="34" charset="-128"/>
                <a:cs typeface="Arial" panose="020B0604020202020204" pitchFamily="34" charset="0"/>
              </a:defRPr>
            </a:lvl1pPr>
          </a:lstStyle>
          <a:p>
            <a:pPr lvl="0"/>
            <a:r>
              <a:rPr lang="en-US"/>
              <a:t>Date, Place</a:t>
            </a:r>
          </a:p>
        </p:txBody>
      </p:sp>
      <p:sp>
        <p:nvSpPr>
          <p:cNvPr id="15" name="Text Placeholder 15"/>
          <p:cNvSpPr>
            <a:spLocks noGrp="1"/>
          </p:cNvSpPr>
          <p:nvPr>
            <p:ph type="body" sz="quarter" idx="12" hasCustomPrompt="1"/>
          </p:nvPr>
        </p:nvSpPr>
        <p:spPr>
          <a:xfrm>
            <a:off x="2372329" y="1792322"/>
            <a:ext cx="9101929" cy="792162"/>
          </a:xfrm>
          <a:prstGeom prst="rect">
            <a:avLst/>
          </a:prstGeom>
        </p:spPr>
        <p:txBody>
          <a:bodyPr anchor="ctr" anchorCtr="0">
            <a:noAutofit/>
          </a:bodyPr>
          <a:lstStyle>
            <a:lvl1pPr marL="0" indent="0">
              <a:buNone/>
              <a:defRPr lang="en-US" sz="3000" b="0" i="0" baseline="0" dirty="0">
                <a:solidFill>
                  <a:srgbClr val="3366FF"/>
                </a:solidFill>
                <a:latin typeface="+mn-lt"/>
                <a:ea typeface="Arial Unicode MS" panose="020B0604020202020204" pitchFamily="34" charset="-128"/>
                <a:cs typeface="Arial" panose="020B0604020202020204" pitchFamily="34" charset="0"/>
              </a:defRPr>
            </a:lvl1pPr>
          </a:lstStyle>
          <a:p>
            <a:pPr lvl="0"/>
            <a:r>
              <a:rPr lang="en-US"/>
              <a:t>Name of the meeting</a:t>
            </a:r>
          </a:p>
        </p:txBody>
      </p:sp>
      <p:grpSp>
        <p:nvGrpSpPr>
          <p:cNvPr id="19" name="Graphic 3">
            <a:extLst>
              <a:ext uri="{FF2B5EF4-FFF2-40B4-BE49-F238E27FC236}">
                <a16:creationId xmlns:a16="http://schemas.microsoft.com/office/drawing/2014/main" id="{FAC2355F-121A-B213-37C8-874255D69819}"/>
              </a:ext>
            </a:extLst>
          </p:cNvPr>
          <p:cNvGrpSpPr>
            <a:grpSpLocks/>
          </p:cNvGrpSpPr>
          <p:nvPr userDrawn="1"/>
        </p:nvGrpSpPr>
        <p:grpSpPr>
          <a:xfrm>
            <a:off x="5914064" y="2340000"/>
            <a:ext cx="6867692" cy="4460400"/>
            <a:chOff x="66025" y="-34306"/>
            <a:chExt cx="6381750" cy="5895975"/>
          </a:xfrm>
          <a:scene3d>
            <a:camera prst="perspectiveRight">
              <a:rot lat="0" lon="19500000" rev="0"/>
            </a:camera>
            <a:lightRig rig="threePt" dir="t"/>
          </a:scene3d>
        </p:grpSpPr>
        <p:sp>
          <p:nvSpPr>
            <p:cNvPr id="20" name="Freeform: Shape 161">
              <a:extLst>
                <a:ext uri="{FF2B5EF4-FFF2-40B4-BE49-F238E27FC236}">
                  <a16:creationId xmlns:a16="http://schemas.microsoft.com/office/drawing/2014/main" id="{46582428-4071-58AF-B1F2-44A6E7A1B273}"/>
                </a:ext>
              </a:extLst>
            </p:cNvPr>
            <p:cNvSpPr/>
            <p:nvPr/>
          </p:nvSpPr>
          <p:spPr>
            <a:xfrm>
              <a:off x="5751687" y="4420250"/>
              <a:ext cx="484155" cy="202882"/>
            </a:xfrm>
            <a:custGeom>
              <a:avLst/>
              <a:gdLst>
                <a:gd name="connsiteX0" fmla="*/ 426530 w 484155"/>
                <a:gd name="connsiteY0" fmla="*/ 0 h 202882"/>
                <a:gd name="connsiteX1" fmla="*/ 396050 w 484155"/>
                <a:gd name="connsiteY1" fmla="*/ 0 h 202882"/>
                <a:gd name="connsiteX2" fmla="*/ 0 w 484155"/>
                <a:gd name="connsiteY2" fmla="*/ 95 h 202882"/>
                <a:gd name="connsiteX3" fmla="*/ 0 w 484155"/>
                <a:gd name="connsiteY3" fmla="*/ 196596 h 202882"/>
                <a:gd name="connsiteX4" fmla="*/ 476 w 484155"/>
                <a:gd name="connsiteY4" fmla="*/ 202882 h 202882"/>
                <a:gd name="connsiteX5" fmla="*/ 69152 w 484155"/>
                <a:gd name="connsiteY5" fmla="*/ 135255 h 202882"/>
                <a:gd name="connsiteX6" fmla="*/ 426530 w 484155"/>
                <a:gd name="connsiteY6" fmla="*/ 135350 h 202882"/>
                <a:gd name="connsiteX7" fmla="*/ 484156 w 484155"/>
                <a:gd name="connsiteY7" fmla="*/ 77724 h 202882"/>
                <a:gd name="connsiteX8" fmla="*/ 484156 w 484155"/>
                <a:gd name="connsiteY8" fmla="*/ 57721 h 202882"/>
                <a:gd name="connsiteX9" fmla="*/ 426530 w 484155"/>
                <a:gd name="connsiteY9" fmla="*/ 0 h 20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4155" h="202882">
                  <a:moveTo>
                    <a:pt x="426530" y="0"/>
                  </a:moveTo>
                  <a:lnTo>
                    <a:pt x="396050" y="0"/>
                  </a:lnTo>
                  <a:cubicBezTo>
                    <a:pt x="63913" y="0"/>
                    <a:pt x="40767" y="0"/>
                    <a:pt x="0" y="95"/>
                  </a:cubicBezTo>
                  <a:lnTo>
                    <a:pt x="0" y="196596"/>
                  </a:lnTo>
                  <a:cubicBezTo>
                    <a:pt x="571" y="196977"/>
                    <a:pt x="476" y="199930"/>
                    <a:pt x="476" y="202882"/>
                  </a:cubicBezTo>
                  <a:cubicBezTo>
                    <a:pt x="476" y="170497"/>
                    <a:pt x="7334" y="135255"/>
                    <a:pt x="69152" y="135255"/>
                  </a:cubicBezTo>
                  <a:lnTo>
                    <a:pt x="426530" y="135350"/>
                  </a:lnTo>
                  <a:cubicBezTo>
                    <a:pt x="458248" y="135350"/>
                    <a:pt x="484156" y="109442"/>
                    <a:pt x="484156" y="77724"/>
                  </a:cubicBezTo>
                  <a:lnTo>
                    <a:pt x="484156" y="57721"/>
                  </a:lnTo>
                  <a:cubicBezTo>
                    <a:pt x="484156" y="25908"/>
                    <a:pt x="458153" y="0"/>
                    <a:pt x="426530" y="0"/>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1" name="Freeform: Shape 162">
              <a:extLst>
                <a:ext uri="{FF2B5EF4-FFF2-40B4-BE49-F238E27FC236}">
                  <a16:creationId xmlns:a16="http://schemas.microsoft.com/office/drawing/2014/main" id="{082B78A9-472E-D24A-9F02-0C1136F456B7}"/>
                </a:ext>
              </a:extLst>
            </p:cNvPr>
            <p:cNvSpPr/>
            <p:nvPr/>
          </p:nvSpPr>
          <p:spPr>
            <a:xfrm>
              <a:off x="4971686" y="52273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2" name="Freeform: Shape 163">
              <a:extLst>
                <a:ext uri="{FF2B5EF4-FFF2-40B4-BE49-F238E27FC236}">
                  <a16:creationId xmlns:a16="http://schemas.microsoft.com/office/drawing/2014/main" id="{1ECE171B-6EDD-36C3-EE3F-51A394C68B48}"/>
                </a:ext>
              </a:extLst>
            </p:cNvPr>
            <p:cNvSpPr/>
            <p:nvPr/>
          </p:nvSpPr>
          <p:spPr>
            <a:xfrm>
              <a:off x="4507341" y="448711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3" name="Freeform: Shape 164">
              <a:extLst>
                <a:ext uri="{FF2B5EF4-FFF2-40B4-BE49-F238E27FC236}">
                  <a16:creationId xmlns:a16="http://schemas.microsoft.com/office/drawing/2014/main" id="{A39A4279-D12D-5F30-1AA3-3EA1E2B1D19A}"/>
                </a:ext>
              </a:extLst>
            </p:cNvPr>
            <p:cNvSpPr/>
            <p:nvPr/>
          </p:nvSpPr>
          <p:spPr>
            <a:xfrm>
              <a:off x="4659360" y="479953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4" name="Freeform: Shape 165">
              <a:extLst>
                <a:ext uri="{FF2B5EF4-FFF2-40B4-BE49-F238E27FC236}">
                  <a16:creationId xmlns:a16="http://schemas.microsoft.com/office/drawing/2014/main" id="{4BF905ED-374D-B643-8841-9D84FE491886}"/>
                </a:ext>
              </a:extLst>
            </p:cNvPr>
            <p:cNvSpPr/>
            <p:nvPr/>
          </p:nvSpPr>
          <p:spPr>
            <a:xfrm>
              <a:off x="4806046" y="50789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5" name="Freeform: Shape 166">
              <a:extLst>
                <a:ext uri="{FF2B5EF4-FFF2-40B4-BE49-F238E27FC236}">
                  <a16:creationId xmlns:a16="http://schemas.microsoft.com/office/drawing/2014/main" id="{B25DFFEC-3B96-B30A-9F04-4E6978289F2F}"/>
                </a:ext>
              </a:extLst>
            </p:cNvPr>
            <p:cNvSpPr/>
            <p:nvPr/>
          </p:nvSpPr>
          <p:spPr>
            <a:xfrm>
              <a:off x="539988" y="2223595"/>
              <a:ext cx="151257" cy="159829"/>
            </a:xfrm>
            <a:custGeom>
              <a:avLst/>
              <a:gdLst>
                <a:gd name="connsiteX0" fmla="*/ 151257 w 151257"/>
                <a:gd name="connsiteY0" fmla="*/ 159829 h 159829"/>
                <a:gd name="connsiteX1" fmla="*/ 151257 w 151257"/>
                <a:gd name="connsiteY1" fmla="*/ 83439 h 159829"/>
                <a:gd name="connsiteX2" fmla="*/ 67818 w 151257"/>
                <a:gd name="connsiteY2" fmla="*/ 0 h 159829"/>
                <a:gd name="connsiteX3" fmla="*/ 0 w 151257"/>
                <a:gd name="connsiteY3" fmla="*/ 0 h 159829"/>
                <a:gd name="connsiteX4" fmla="*/ 0 w 151257"/>
                <a:gd name="connsiteY4" fmla="*/ 76391 h 159829"/>
                <a:gd name="connsiteX5" fmla="*/ 83439 w 151257"/>
                <a:gd name="connsiteY5" fmla="*/ 159829 h 159829"/>
                <a:gd name="connsiteX6" fmla="*/ 151257 w 151257"/>
                <a:gd name="connsiteY6" fmla="*/ 159829 h 159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257" h="159829">
                  <a:moveTo>
                    <a:pt x="151257" y="159829"/>
                  </a:moveTo>
                  <a:lnTo>
                    <a:pt x="151257" y="83439"/>
                  </a:lnTo>
                  <a:cubicBezTo>
                    <a:pt x="151257" y="37529"/>
                    <a:pt x="113729" y="0"/>
                    <a:pt x="67818" y="0"/>
                  </a:cubicBezTo>
                  <a:lnTo>
                    <a:pt x="0" y="0"/>
                  </a:lnTo>
                  <a:lnTo>
                    <a:pt x="0" y="76391"/>
                  </a:lnTo>
                  <a:cubicBezTo>
                    <a:pt x="0" y="122301"/>
                    <a:pt x="37529" y="159829"/>
                    <a:pt x="83439" y="159829"/>
                  </a:cubicBezTo>
                  <a:lnTo>
                    <a:pt x="151257" y="159829"/>
                  </a:lnTo>
                  <a:close/>
                </a:path>
              </a:pathLst>
            </a:custGeom>
            <a:solidFill>
              <a:srgbClr val="0C29FF"/>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6" name="Freeform: Shape 167">
              <a:extLst>
                <a:ext uri="{FF2B5EF4-FFF2-40B4-BE49-F238E27FC236}">
                  <a16:creationId xmlns:a16="http://schemas.microsoft.com/office/drawing/2014/main" id="{C296AC1D-FEB0-DD6C-544D-A89E8DDFCE0E}"/>
                </a:ext>
              </a:extLst>
            </p:cNvPr>
            <p:cNvSpPr/>
            <p:nvPr/>
          </p:nvSpPr>
          <p:spPr>
            <a:xfrm>
              <a:off x="243761" y="2223595"/>
              <a:ext cx="447484" cy="566261"/>
            </a:xfrm>
            <a:custGeom>
              <a:avLst/>
              <a:gdLst>
                <a:gd name="connsiteX0" fmla="*/ 83344 w 447484"/>
                <a:gd name="connsiteY0" fmla="*/ 566261 h 566261"/>
                <a:gd name="connsiteX1" fmla="*/ 364046 w 447484"/>
                <a:gd name="connsiteY1" fmla="*/ 566261 h 566261"/>
                <a:gd name="connsiteX2" fmla="*/ 447485 w 447484"/>
                <a:gd name="connsiteY2" fmla="*/ 482822 h 566261"/>
                <a:gd name="connsiteX3" fmla="*/ 447485 w 447484"/>
                <a:gd name="connsiteY3" fmla="*/ 240316 h 566261"/>
                <a:gd name="connsiteX4" fmla="*/ 447485 w 447484"/>
                <a:gd name="connsiteY4" fmla="*/ 159829 h 566261"/>
                <a:gd name="connsiteX5" fmla="*/ 379667 w 447484"/>
                <a:gd name="connsiteY5" fmla="*/ 159829 h 566261"/>
                <a:gd name="connsiteX6" fmla="*/ 375952 w 447484"/>
                <a:gd name="connsiteY6" fmla="*/ 159829 h 566261"/>
                <a:gd name="connsiteX7" fmla="*/ 372999 w 447484"/>
                <a:gd name="connsiteY7" fmla="*/ 159544 h 566261"/>
                <a:gd name="connsiteX8" fmla="*/ 296228 w 447484"/>
                <a:gd name="connsiteY8" fmla="*/ 76391 h 566261"/>
                <a:gd name="connsiteX9" fmla="*/ 296228 w 447484"/>
                <a:gd name="connsiteY9" fmla="*/ 0 h 566261"/>
                <a:gd name="connsiteX10" fmla="*/ 237458 w 447484"/>
                <a:gd name="connsiteY10" fmla="*/ 0 h 566261"/>
                <a:gd name="connsiteX11" fmla="*/ 156496 w 447484"/>
                <a:gd name="connsiteY11" fmla="*/ 78676 h 566261"/>
                <a:gd name="connsiteX12" fmla="*/ 77153 w 447484"/>
                <a:gd name="connsiteY12" fmla="*/ 159639 h 566261"/>
                <a:gd name="connsiteX13" fmla="*/ 0 w 447484"/>
                <a:gd name="connsiteY13" fmla="*/ 240506 h 566261"/>
                <a:gd name="connsiteX14" fmla="*/ 0 w 447484"/>
                <a:gd name="connsiteY14" fmla="*/ 482632 h 566261"/>
                <a:gd name="connsiteX15" fmla="*/ 83344 w 447484"/>
                <a:gd name="connsiteY15" fmla="*/ 566261 h 566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7484" h="566261">
                  <a:moveTo>
                    <a:pt x="83344" y="566261"/>
                  </a:moveTo>
                  <a:lnTo>
                    <a:pt x="364046" y="566261"/>
                  </a:lnTo>
                  <a:cubicBezTo>
                    <a:pt x="409956" y="566261"/>
                    <a:pt x="447485" y="528733"/>
                    <a:pt x="447485" y="482822"/>
                  </a:cubicBezTo>
                  <a:lnTo>
                    <a:pt x="447485" y="240316"/>
                  </a:lnTo>
                  <a:lnTo>
                    <a:pt x="447485" y="159829"/>
                  </a:lnTo>
                  <a:lnTo>
                    <a:pt x="379667" y="159829"/>
                  </a:lnTo>
                  <a:cubicBezTo>
                    <a:pt x="378428" y="159829"/>
                    <a:pt x="377190" y="159829"/>
                    <a:pt x="375952" y="159829"/>
                  </a:cubicBezTo>
                  <a:cubicBezTo>
                    <a:pt x="374999" y="159734"/>
                    <a:pt x="373951" y="159639"/>
                    <a:pt x="372999" y="159544"/>
                  </a:cubicBezTo>
                  <a:cubicBezTo>
                    <a:pt x="330232" y="156115"/>
                    <a:pt x="296228" y="120015"/>
                    <a:pt x="296228" y="76391"/>
                  </a:cubicBezTo>
                  <a:lnTo>
                    <a:pt x="296228" y="0"/>
                  </a:lnTo>
                  <a:lnTo>
                    <a:pt x="237458" y="0"/>
                  </a:lnTo>
                  <a:cubicBezTo>
                    <a:pt x="193643" y="0"/>
                    <a:pt x="157734" y="34957"/>
                    <a:pt x="156496" y="78676"/>
                  </a:cubicBezTo>
                  <a:cubicBezTo>
                    <a:pt x="155258" y="122110"/>
                    <a:pt x="120396" y="157543"/>
                    <a:pt x="77153" y="159639"/>
                  </a:cubicBezTo>
                  <a:cubicBezTo>
                    <a:pt x="33909" y="161734"/>
                    <a:pt x="0" y="197263"/>
                    <a:pt x="0" y="240506"/>
                  </a:cubicBezTo>
                  <a:lnTo>
                    <a:pt x="0" y="482632"/>
                  </a:lnTo>
                  <a:cubicBezTo>
                    <a:pt x="0" y="528733"/>
                    <a:pt x="37529" y="566261"/>
                    <a:pt x="83344" y="566261"/>
                  </a:cubicBezTo>
                  <a:close/>
                </a:path>
              </a:pathLst>
            </a:custGeom>
            <a:solidFill>
              <a:srgbClr val="0C29FF"/>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7" name="Freeform: Shape 168">
              <a:extLst>
                <a:ext uri="{FF2B5EF4-FFF2-40B4-BE49-F238E27FC236}">
                  <a16:creationId xmlns:a16="http://schemas.microsoft.com/office/drawing/2014/main" id="{9AC695D0-5C7A-3FF2-2A2D-B2CA61F369CC}"/>
                </a:ext>
              </a:extLst>
            </p:cNvPr>
            <p:cNvSpPr/>
            <p:nvPr/>
          </p:nvSpPr>
          <p:spPr>
            <a:xfrm>
              <a:off x="718392" y="1652285"/>
              <a:ext cx="1079087" cy="1436369"/>
            </a:xfrm>
            <a:custGeom>
              <a:avLst/>
              <a:gdLst>
                <a:gd name="connsiteX0" fmla="*/ 235363 w 1079087"/>
                <a:gd name="connsiteY0" fmla="*/ 707612 h 1436369"/>
                <a:gd name="connsiteX1" fmla="*/ 366617 w 1079087"/>
                <a:gd name="connsiteY1" fmla="*/ 707612 h 1436369"/>
                <a:gd name="connsiteX2" fmla="*/ 373856 w 1079087"/>
                <a:gd name="connsiteY2" fmla="*/ 707326 h 1436369"/>
                <a:gd name="connsiteX3" fmla="*/ 387953 w 1079087"/>
                <a:gd name="connsiteY3" fmla="*/ 707326 h 1436369"/>
                <a:gd name="connsiteX4" fmla="*/ 388906 w 1079087"/>
                <a:gd name="connsiteY4" fmla="*/ 707422 h 1436369"/>
                <a:gd name="connsiteX5" fmla="*/ 463772 w 1079087"/>
                <a:gd name="connsiteY5" fmla="*/ 788194 h 1436369"/>
                <a:gd name="connsiteX6" fmla="*/ 463772 w 1079087"/>
                <a:gd name="connsiteY6" fmla="*/ 789527 h 1436369"/>
                <a:gd name="connsiteX7" fmla="*/ 386239 w 1079087"/>
                <a:gd name="connsiteY7" fmla="*/ 870490 h 1436369"/>
                <a:gd name="connsiteX8" fmla="*/ 306896 w 1079087"/>
                <a:gd name="connsiteY8" fmla="*/ 945166 h 1436369"/>
                <a:gd name="connsiteX9" fmla="*/ 226314 w 1079087"/>
                <a:gd name="connsiteY9" fmla="*/ 1017746 h 1436369"/>
                <a:gd name="connsiteX10" fmla="*/ 206407 w 1079087"/>
                <a:gd name="connsiteY10" fmla="*/ 1017746 h 1436369"/>
                <a:gd name="connsiteX11" fmla="*/ 146495 w 1079087"/>
                <a:gd name="connsiteY11" fmla="*/ 1077658 h 1436369"/>
                <a:gd name="connsiteX12" fmla="*/ 146495 w 1079087"/>
                <a:gd name="connsiteY12" fmla="*/ 1083850 h 1436369"/>
                <a:gd name="connsiteX13" fmla="*/ 206407 w 1079087"/>
                <a:gd name="connsiteY13" fmla="*/ 1143762 h 1436369"/>
                <a:gd name="connsiteX14" fmla="*/ 225362 w 1079087"/>
                <a:gd name="connsiteY14" fmla="*/ 1143762 h 1436369"/>
                <a:gd name="connsiteX15" fmla="*/ 306324 w 1079087"/>
                <a:gd name="connsiteY15" fmla="*/ 1224724 h 1436369"/>
                <a:gd name="connsiteX16" fmla="*/ 306324 w 1079087"/>
                <a:gd name="connsiteY16" fmla="*/ 1229392 h 1436369"/>
                <a:gd name="connsiteX17" fmla="*/ 225362 w 1079087"/>
                <a:gd name="connsiteY17" fmla="*/ 1310354 h 1436369"/>
                <a:gd name="connsiteX18" fmla="*/ 59912 w 1079087"/>
                <a:gd name="connsiteY18" fmla="*/ 1310354 h 1436369"/>
                <a:gd name="connsiteX19" fmla="*/ 0 w 1079087"/>
                <a:gd name="connsiteY19" fmla="*/ 1370266 h 1436369"/>
                <a:gd name="connsiteX20" fmla="*/ 0 w 1079087"/>
                <a:gd name="connsiteY20" fmla="*/ 1376458 h 1436369"/>
                <a:gd name="connsiteX21" fmla="*/ 59912 w 1079087"/>
                <a:gd name="connsiteY21" fmla="*/ 1436370 h 1436369"/>
                <a:gd name="connsiteX22" fmla="*/ 389954 w 1079087"/>
                <a:gd name="connsiteY22" fmla="*/ 1436370 h 1436369"/>
                <a:gd name="connsiteX23" fmla="*/ 397764 w 1079087"/>
                <a:gd name="connsiteY23" fmla="*/ 1436370 h 1436369"/>
                <a:gd name="connsiteX24" fmla="*/ 521208 w 1079087"/>
                <a:gd name="connsiteY24" fmla="*/ 1436370 h 1436369"/>
                <a:gd name="connsiteX25" fmla="*/ 603980 w 1079087"/>
                <a:gd name="connsiteY25" fmla="*/ 1363218 h 1436369"/>
                <a:gd name="connsiteX26" fmla="*/ 684371 w 1079087"/>
                <a:gd name="connsiteY26" fmla="*/ 1292162 h 1436369"/>
                <a:gd name="connsiteX27" fmla="*/ 838390 w 1079087"/>
                <a:gd name="connsiteY27" fmla="*/ 1292162 h 1436369"/>
                <a:gd name="connsiteX28" fmla="*/ 920782 w 1079087"/>
                <a:gd name="connsiteY28" fmla="*/ 1221581 h 1436369"/>
                <a:gd name="connsiteX29" fmla="*/ 998315 w 1079087"/>
                <a:gd name="connsiteY29" fmla="*/ 1153192 h 1436369"/>
                <a:gd name="connsiteX30" fmla="*/ 1079087 w 1079087"/>
                <a:gd name="connsiteY30" fmla="*/ 1069848 h 1436369"/>
                <a:gd name="connsiteX31" fmla="*/ 1079087 w 1079087"/>
                <a:gd name="connsiteY31" fmla="*/ 956310 h 1436369"/>
                <a:gd name="connsiteX32" fmla="*/ 998792 w 1079087"/>
                <a:gd name="connsiteY32" fmla="*/ 872966 h 1436369"/>
                <a:gd name="connsiteX33" fmla="*/ 921258 w 1079087"/>
                <a:gd name="connsiteY33" fmla="*/ 800672 h 1436369"/>
                <a:gd name="connsiteX34" fmla="*/ 840581 w 1079087"/>
                <a:gd name="connsiteY34" fmla="*/ 726186 h 1436369"/>
                <a:gd name="connsiteX35" fmla="*/ 761810 w 1079087"/>
                <a:gd name="connsiteY35" fmla="*/ 645223 h 1436369"/>
                <a:gd name="connsiteX36" fmla="*/ 761810 w 1079087"/>
                <a:gd name="connsiteY36" fmla="*/ 515969 h 1436369"/>
                <a:gd name="connsiteX37" fmla="*/ 684657 w 1079087"/>
                <a:gd name="connsiteY37" fmla="*/ 432816 h 1436369"/>
                <a:gd name="connsiteX38" fmla="*/ 609695 w 1079087"/>
                <a:gd name="connsiteY38" fmla="*/ 352044 h 1436369"/>
                <a:gd name="connsiteX39" fmla="*/ 609695 w 1079087"/>
                <a:gd name="connsiteY39" fmla="*/ 224980 h 1436369"/>
                <a:gd name="connsiteX40" fmla="*/ 527780 w 1079087"/>
                <a:gd name="connsiteY40" fmla="*/ 141541 h 1436369"/>
                <a:gd name="connsiteX41" fmla="*/ 449009 w 1079087"/>
                <a:gd name="connsiteY41" fmla="*/ 71818 h 1436369"/>
                <a:gd name="connsiteX42" fmla="*/ 366427 w 1079087"/>
                <a:gd name="connsiteY42" fmla="*/ 0 h 1436369"/>
                <a:gd name="connsiteX43" fmla="*/ 235363 w 1079087"/>
                <a:gd name="connsiteY43" fmla="*/ 0 h 1436369"/>
                <a:gd name="connsiteX44" fmla="*/ 151924 w 1079087"/>
                <a:gd name="connsiteY44" fmla="*/ 83439 h 1436369"/>
                <a:gd name="connsiteX45" fmla="*/ 151924 w 1079087"/>
                <a:gd name="connsiteY45" fmla="*/ 624268 h 1436369"/>
                <a:gd name="connsiteX46" fmla="*/ 235363 w 1079087"/>
                <a:gd name="connsiteY46" fmla="*/ 707612 h 143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79087" h="1436369">
                  <a:moveTo>
                    <a:pt x="235363" y="707612"/>
                  </a:moveTo>
                  <a:lnTo>
                    <a:pt x="366617" y="707612"/>
                  </a:lnTo>
                  <a:cubicBezTo>
                    <a:pt x="369094" y="707612"/>
                    <a:pt x="371475" y="707517"/>
                    <a:pt x="373856" y="707326"/>
                  </a:cubicBezTo>
                  <a:cubicBezTo>
                    <a:pt x="378809" y="706850"/>
                    <a:pt x="383000" y="706850"/>
                    <a:pt x="387953" y="707326"/>
                  </a:cubicBezTo>
                  <a:cubicBezTo>
                    <a:pt x="388239" y="707326"/>
                    <a:pt x="388620" y="707422"/>
                    <a:pt x="388906" y="707422"/>
                  </a:cubicBezTo>
                  <a:cubicBezTo>
                    <a:pt x="431292" y="710660"/>
                    <a:pt x="463772" y="745712"/>
                    <a:pt x="463772" y="788194"/>
                  </a:cubicBezTo>
                  <a:lnTo>
                    <a:pt x="463772" y="789527"/>
                  </a:lnTo>
                  <a:cubicBezTo>
                    <a:pt x="463772" y="832866"/>
                    <a:pt x="429578" y="868585"/>
                    <a:pt x="386239" y="870490"/>
                  </a:cubicBezTo>
                  <a:cubicBezTo>
                    <a:pt x="344900" y="872299"/>
                    <a:pt x="311182" y="904494"/>
                    <a:pt x="306896" y="945166"/>
                  </a:cubicBezTo>
                  <a:cubicBezTo>
                    <a:pt x="302514" y="986599"/>
                    <a:pt x="267938" y="1017746"/>
                    <a:pt x="226314" y="1017746"/>
                  </a:cubicBezTo>
                  <a:lnTo>
                    <a:pt x="206407" y="1017746"/>
                  </a:lnTo>
                  <a:cubicBezTo>
                    <a:pt x="173450" y="1017746"/>
                    <a:pt x="146495" y="1044702"/>
                    <a:pt x="146495" y="1077658"/>
                  </a:cubicBezTo>
                  <a:lnTo>
                    <a:pt x="146495" y="1083850"/>
                  </a:lnTo>
                  <a:cubicBezTo>
                    <a:pt x="146495" y="1116806"/>
                    <a:pt x="173450" y="1143762"/>
                    <a:pt x="206407" y="1143762"/>
                  </a:cubicBezTo>
                  <a:lnTo>
                    <a:pt x="225362" y="1143762"/>
                  </a:lnTo>
                  <a:cubicBezTo>
                    <a:pt x="269939" y="1143762"/>
                    <a:pt x="306324" y="1180148"/>
                    <a:pt x="306324" y="1224724"/>
                  </a:cubicBezTo>
                  <a:lnTo>
                    <a:pt x="306324" y="1229392"/>
                  </a:lnTo>
                  <a:cubicBezTo>
                    <a:pt x="306324" y="1273969"/>
                    <a:pt x="269939" y="1310354"/>
                    <a:pt x="225362" y="1310354"/>
                  </a:cubicBezTo>
                  <a:lnTo>
                    <a:pt x="59912" y="1310354"/>
                  </a:lnTo>
                  <a:cubicBezTo>
                    <a:pt x="26956" y="1310354"/>
                    <a:pt x="0" y="1337310"/>
                    <a:pt x="0" y="1370266"/>
                  </a:cubicBezTo>
                  <a:lnTo>
                    <a:pt x="0" y="1376458"/>
                  </a:lnTo>
                  <a:cubicBezTo>
                    <a:pt x="0" y="1409414"/>
                    <a:pt x="26956" y="1436370"/>
                    <a:pt x="59912" y="1436370"/>
                  </a:cubicBezTo>
                  <a:lnTo>
                    <a:pt x="389954" y="1436370"/>
                  </a:lnTo>
                  <a:lnTo>
                    <a:pt x="397764" y="1436370"/>
                  </a:lnTo>
                  <a:lnTo>
                    <a:pt x="521208" y="1436370"/>
                  </a:lnTo>
                  <a:cubicBezTo>
                    <a:pt x="563594" y="1436370"/>
                    <a:pt x="598932" y="1404271"/>
                    <a:pt x="603980" y="1363218"/>
                  </a:cubicBezTo>
                  <a:cubicBezTo>
                    <a:pt x="609028" y="1322451"/>
                    <a:pt x="643223" y="1292162"/>
                    <a:pt x="684371" y="1292162"/>
                  </a:cubicBezTo>
                  <a:lnTo>
                    <a:pt x="838390" y="1292162"/>
                  </a:lnTo>
                  <a:cubicBezTo>
                    <a:pt x="879920" y="1292162"/>
                    <a:pt x="914590" y="1261396"/>
                    <a:pt x="920782" y="1221581"/>
                  </a:cubicBezTo>
                  <a:cubicBezTo>
                    <a:pt x="926878" y="1182719"/>
                    <a:pt x="958977" y="1154335"/>
                    <a:pt x="998315" y="1153192"/>
                  </a:cubicBezTo>
                  <a:cubicBezTo>
                    <a:pt x="1042988" y="1151763"/>
                    <a:pt x="1079087" y="1114806"/>
                    <a:pt x="1079087" y="1069848"/>
                  </a:cubicBezTo>
                  <a:lnTo>
                    <a:pt x="1079087" y="956310"/>
                  </a:lnTo>
                  <a:cubicBezTo>
                    <a:pt x="1079087" y="911447"/>
                    <a:pt x="1043273" y="874586"/>
                    <a:pt x="998792" y="872966"/>
                  </a:cubicBezTo>
                  <a:cubicBezTo>
                    <a:pt x="958310" y="871442"/>
                    <a:pt x="925640" y="840962"/>
                    <a:pt x="921258" y="800672"/>
                  </a:cubicBezTo>
                  <a:cubicBezTo>
                    <a:pt x="916877" y="759619"/>
                    <a:pt x="882396" y="727329"/>
                    <a:pt x="840581" y="726186"/>
                  </a:cubicBezTo>
                  <a:cubicBezTo>
                    <a:pt x="796766" y="724948"/>
                    <a:pt x="761810" y="689038"/>
                    <a:pt x="761810" y="645223"/>
                  </a:cubicBezTo>
                  <a:lnTo>
                    <a:pt x="761810" y="515969"/>
                  </a:lnTo>
                  <a:cubicBezTo>
                    <a:pt x="761810" y="472154"/>
                    <a:pt x="727615" y="436055"/>
                    <a:pt x="684657" y="432816"/>
                  </a:cubicBezTo>
                  <a:cubicBezTo>
                    <a:pt x="642271" y="429577"/>
                    <a:pt x="609695" y="394525"/>
                    <a:pt x="609695" y="352044"/>
                  </a:cubicBezTo>
                  <a:lnTo>
                    <a:pt x="609695" y="224980"/>
                  </a:lnTo>
                  <a:cubicBezTo>
                    <a:pt x="609695" y="179641"/>
                    <a:pt x="572929" y="142399"/>
                    <a:pt x="527780" y="141541"/>
                  </a:cubicBezTo>
                  <a:cubicBezTo>
                    <a:pt x="487680" y="140875"/>
                    <a:pt x="454533" y="111538"/>
                    <a:pt x="449009" y="71818"/>
                  </a:cubicBezTo>
                  <a:cubicBezTo>
                    <a:pt x="443294" y="31337"/>
                    <a:pt x="408337" y="0"/>
                    <a:pt x="366427" y="0"/>
                  </a:cubicBezTo>
                  <a:lnTo>
                    <a:pt x="235363" y="0"/>
                  </a:lnTo>
                  <a:cubicBezTo>
                    <a:pt x="189452" y="0"/>
                    <a:pt x="151924" y="37528"/>
                    <a:pt x="151924" y="83439"/>
                  </a:cubicBezTo>
                  <a:lnTo>
                    <a:pt x="151924" y="624268"/>
                  </a:lnTo>
                  <a:cubicBezTo>
                    <a:pt x="151924" y="670084"/>
                    <a:pt x="189452" y="707612"/>
                    <a:pt x="235363" y="707612"/>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8" name="Freeform: Shape 169">
              <a:extLst>
                <a:ext uri="{FF2B5EF4-FFF2-40B4-BE49-F238E27FC236}">
                  <a16:creationId xmlns:a16="http://schemas.microsoft.com/office/drawing/2014/main" id="{E1426C2C-B1F7-A0EB-C922-80E6E8E97EF0}"/>
                </a:ext>
              </a:extLst>
            </p:cNvPr>
            <p:cNvSpPr/>
            <p:nvPr/>
          </p:nvSpPr>
          <p:spPr>
            <a:xfrm>
              <a:off x="4979019" y="1499219"/>
              <a:ext cx="450437" cy="290036"/>
            </a:xfrm>
            <a:custGeom>
              <a:avLst/>
              <a:gdLst>
                <a:gd name="connsiteX0" fmla="*/ 450438 w 450437"/>
                <a:gd name="connsiteY0" fmla="*/ 0 h 290036"/>
                <a:gd name="connsiteX1" fmla="*/ 70009 w 450437"/>
                <a:gd name="connsiteY1" fmla="*/ 0 h 290036"/>
                <a:gd name="connsiteX2" fmla="*/ 0 w 450437"/>
                <a:gd name="connsiteY2" fmla="*/ 70009 h 290036"/>
                <a:gd name="connsiteX3" fmla="*/ 0 w 450437"/>
                <a:gd name="connsiteY3" fmla="*/ 220028 h 290036"/>
                <a:gd name="connsiteX4" fmla="*/ 70009 w 450437"/>
                <a:gd name="connsiteY4" fmla="*/ 290036 h 290036"/>
                <a:gd name="connsiteX5" fmla="*/ 450438 w 450437"/>
                <a:gd name="connsiteY5" fmla="*/ 290036 h 290036"/>
                <a:gd name="connsiteX6" fmla="*/ 450438 w 450437"/>
                <a:gd name="connsiteY6" fmla="*/ 0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437" h="290036">
                  <a:moveTo>
                    <a:pt x="450438" y="0"/>
                  </a:moveTo>
                  <a:lnTo>
                    <a:pt x="70009" y="0"/>
                  </a:lnTo>
                  <a:cubicBezTo>
                    <a:pt x="31528" y="0"/>
                    <a:pt x="0" y="31528"/>
                    <a:pt x="0" y="70009"/>
                  </a:cubicBezTo>
                  <a:lnTo>
                    <a:pt x="0" y="220028"/>
                  </a:lnTo>
                  <a:cubicBezTo>
                    <a:pt x="0" y="258509"/>
                    <a:pt x="31528" y="290036"/>
                    <a:pt x="70009" y="290036"/>
                  </a:cubicBezTo>
                  <a:lnTo>
                    <a:pt x="450438" y="290036"/>
                  </a:lnTo>
                  <a:lnTo>
                    <a:pt x="450438"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9" name="Freeform: Shape 170">
              <a:extLst>
                <a:ext uri="{FF2B5EF4-FFF2-40B4-BE49-F238E27FC236}">
                  <a16:creationId xmlns:a16="http://schemas.microsoft.com/office/drawing/2014/main" id="{A7C4ADE6-515D-1345-8A33-6104AF6EEA69}"/>
                </a:ext>
              </a:extLst>
            </p:cNvPr>
            <p:cNvSpPr/>
            <p:nvPr/>
          </p:nvSpPr>
          <p:spPr>
            <a:xfrm>
              <a:off x="4666981" y="1789445"/>
              <a:ext cx="762571" cy="290036"/>
            </a:xfrm>
            <a:custGeom>
              <a:avLst/>
              <a:gdLst>
                <a:gd name="connsiteX0" fmla="*/ 762476 w 762571"/>
                <a:gd name="connsiteY0" fmla="*/ 290036 h 290036"/>
                <a:gd name="connsiteX1" fmla="*/ 70009 w 762571"/>
                <a:gd name="connsiteY1" fmla="*/ 290036 h 290036"/>
                <a:gd name="connsiteX2" fmla="*/ 0 w 762571"/>
                <a:gd name="connsiteY2" fmla="*/ 220028 h 290036"/>
                <a:gd name="connsiteX3" fmla="*/ 0 w 762571"/>
                <a:gd name="connsiteY3" fmla="*/ 70009 h 290036"/>
                <a:gd name="connsiteX4" fmla="*/ 70009 w 762571"/>
                <a:gd name="connsiteY4" fmla="*/ 0 h 290036"/>
                <a:gd name="connsiteX5" fmla="*/ 208216 w 762571"/>
                <a:gd name="connsiteY5" fmla="*/ 0 h 290036"/>
                <a:gd name="connsiteX6" fmla="*/ 299847 w 762571"/>
                <a:gd name="connsiteY6" fmla="*/ 61531 h 290036"/>
                <a:gd name="connsiteX7" fmla="*/ 299847 w 762571"/>
                <a:gd name="connsiteY7" fmla="*/ 77629 h 290036"/>
                <a:gd name="connsiteX8" fmla="*/ 368046 w 762571"/>
                <a:gd name="connsiteY8" fmla="*/ 145828 h 290036"/>
                <a:gd name="connsiteX9" fmla="*/ 391763 w 762571"/>
                <a:gd name="connsiteY9" fmla="*/ 145828 h 290036"/>
                <a:gd name="connsiteX10" fmla="*/ 459962 w 762571"/>
                <a:gd name="connsiteY10" fmla="*/ 77629 h 290036"/>
                <a:gd name="connsiteX11" fmla="*/ 459962 w 762571"/>
                <a:gd name="connsiteY11" fmla="*/ 61531 h 290036"/>
                <a:gd name="connsiteX12" fmla="*/ 421005 w 762571"/>
                <a:gd name="connsiteY12" fmla="*/ 0 h 290036"/>
                <a:gd name="connsiteX13" fmla="*/ 762571 w 762571"/>
                <a:gd name="connsiteY13" fmla="*/ 0 h 290036"/>
                <a:gd name="connsiteX14" fmla="*/ 762571 w 762571"/>
                <a:gd name="connsiteY14" fmla="*/ 290036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2571" h="290036">
                  <a:moveTo>
                    <a:pt x="762476" y="290036"/>
                  </a:moveTo>
                  <a:lnTo>
                    <a:pt x="70009" y="290036"/>
                  </a:lnTo>
                  <a:cubicBezTo>
                    <a:pt x="31528" y="290036"/>
                    <a:pt x="0" y="258509"/>
                    <a:pt x="0" y="220028"/>
                  </a:cubicBezTo>
                  <a:lnTo>
                    <a:pt x="0" y="70009"/>
                  </a:lnTo>
                  <a:cubicBezTo>
                    <a:pt x="0" y="31528"/>
                    <a:pt x="31528" y="0"/>
                    <a:pt x="70009" y="0"/>
                  </a:cubicBezTo>
                  <a:lnTo>
                    <a:pt x="208216" y="0"/>
                  </a:lnTo>
                  <a:cubicBezTo>
                    <a:pt x="268224" y="1143"/>
                    <a:pt x="299847" y="34480"/>
                    <a:pt x="299847" y="61531"/>
                  </a:cubicBezTo>
                  <a:lnTo>
                    <a:pt x="299847" y="77629"/>
                  </a:lnTo>
                  <a:cubicBezTo>
                    <a:pt x="299847" y="115157"/>
                    <a:pt x="330517" y="145828"/>
                    <a:pt x="368046" y="145828"/>
                  </a:cubicBezTo>
                  <a:lnTo>
                    <a:pt x="391763" y="145828"/>
                  </a:lnTo>
                  <a:cubicBezTo>
                    <a:pt x="429292" y="145828"/>
                    <a:pt x="459962" y="115157"/>
                    <a:pt x="459962" y="77629"/>
                  </a:cubicBezTo>
                  <a:lnTo>
                    <a:pt x="459962" y="61531"/>
                  </a:lnTo>
                  <a:cubicBezTo>
                    <a:pt x="459962" y="34480"/>
                    <a:pt x="443960" y="10954"/>
                    <a:pt x="421005" y="0"/>
                  </a:cubicBezTo>
                  <a:lnTo>
                    <a:pt x="762571" y="0"/>
                  </a:lnTo>
                  <a:lnTo>
                    <a:pt x="762571" y="290036"/>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30" name="Freeform: Shape 171">
              <a:extLst>
                <a:ext uri="{FF2B5EF4-FFF2-40B4-BE49-F238E27FC236}">
                  <a16:creationId xmlns:a16="http://schemas.microsoft.com/office/drawing/2014/main" id="{E9B38189-EBB9-0970-C08C-5F53EBCEA3A4}"/>
                </a:ext>
              </a:extLst>
            </p:cNvPr>
            <p:cNvSpPr/>
            <p:nvPr/>
          </p:nvSpPr>
          <p:spPr>
            <a:xfrm>
              <a:off x="4752787" y="2078719"/>
              <a:ext cx="676764" cy="280797"/>
            </a:xfrm>
            <a:custGeom>
              <a:avLst/>
              <a:gdLst>
                <a:gd name="connsiteX0" fmla="*/ 676764 w 676764"/>
                <a:gd name="connsiteY0" fmla="*/ 63056 h 280797"/>
                <a:gd name="connsiteX1" fmla="*/ 676764 w 676764"/>
                <a:gd name="connsiteY1" fmla="*/ 75914 h 280797"/>
                <a:gd name="connsiteX2" fmla="*/ 676764 w 676764"/>
                <a:gd name="connsiteY2" fmla="*/ 84106 h 280797"/>
                <a:gd name="connsiteX3" fmla="*/ 616281 w 676764"/>
                <a:gd name="connsiteY3" fmla="*/ 144590 h 280797"/>
                <a:gd name="connsiteX4" fmla="*/ 526174 w 676764"/>
                <a:gd name="connsiteY4" fmla="*/ 144590 h 280797"/>
                <a:gd name="connsiteX5" fmla="*/ 526174 w 676764"/>
                <a:gd name="connsiteY5" fmla="*/ 220313 h 280797"/>
                <a:gd name="connsiteX6" fmla="*/ 465691 w 676764"/>
                <a:gd name="connsiteY6" fmla="*/ 280797 h 280797"/>
                <a:gd name="connsiteX7" fmla="*/ 227566 w 676764"/>
                <a:gd name="connsiteY7" fmla="*/ 280797 h 280797"/>
                <a:gd name="connsiteX8" fmla="*/ 227566 w 676764"/>
                <a:gd name="connsiteY8" fmla="*/ 205073 h 280797"/>
                <a:gd name="connsiteX9" fmla="*/ 167082 w 676764"/>
                <a:gd name="connsiteY9" fmla="*/ 144590 h 280797"/>
                <a:gd name="connsiteX10" fmla="*/ 7348 w 676764"/>
                <a:gd name="connsiteY10" fmla="*/ 144590 h 280797"/>
                <a:gd name="connsiteX11" fmla="*/ 67832 w 676764"/>
                <a:gd name="connsiteY11" fmla="*/ 84106 h 280797"/>
                <a:gd name="connsiteX12" fmla="*/ 67832 w 676764"/>
                <a:gd name="connsiteY12" fmla="*/ 63056 h 280797"/>
                <a:gd name="connsiteX13" fmla="*/ 7348 w 676764"/>
                <a:gd name="connsiteY13" fmla="*/ 2572 h 280797"/>
                <a:gd name="connsiteX14" fmla="*/ 96502 w 676764"/>
                <a:gd name="connsiteY14" fmla="*/ 1905 h 280797"/>
                <a:gd name="connsiteX15" fmla="*/ 96502 w 676764"/>
                <a:gd name="connsiteY15" fmla="*/ 0 h 280797"/>
                <a:gd name="connsiteX16" fmla="*/ 465691 w 676764"/>
                <a:gd name="connsiteY16" fmla="*/ 0 h 280797"/>
                <a:gd name="connsiteX17" fmla="*/ 676764 w 676764"/>
                <a:gd name="connsiteY17" fmla="*/ 0 h 280797"/>
                <a:gd name="connsiteX18" fmla="*/ 676764 w 676764"/>
                <a:gd name="connsiteY18" fmla="*/ 63056 h 280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6764" h="280797">
                  <a:moveTo>
                    <a:pt x="676764" y="63056"/>
                  </a:moveTo>
                  <a:lnTo>
                    <a:pt x="676764" y="75914"/>
                  </a:lnTo>
                  <a:lnTo>
                    <a:pt x="676764" y="84106"/>
                  </a:lnTo>
                  <a:cubicBezTo>
                    <a:pt x="676764" y="117348"/>
                    <a:pt x="649523" y="144590"/>
                    <a:pt x="616281" y="144590"/>
                  </a:cubicBezTo>
                  <a:lnTo>
                    <a:pt x="526174" y="144590"/>
                  </a:lnTo>
                  <a:lnTo>
                    <a:pt x="526174" y="220313"/>
                  </a:lnTo>
                  <a:cubicBezTo>
                    <a:pt x="526174" y="253556"/>
                    <a:pt x="498933" y="280797"/>
                    <a:pt x="465691" y="280797"/>
                  </a:cubicBezTo>
                  <a:lnTo>
                    <a:pt x="227566" y="280797"/>
                  </a:lnTo>
                  <a:lnTo>
                    <a:pt x="227566" y="205073"/>
                  </a:lnTo>
                  <a:cubicBezTo>
                    <a:pt x="227566" y="171831"/>
                    <a:pt x="200324" y="144590"/>
                    <a:pt x="167082" y="144590"/>
                  </a:cubicBezTo>
                  <a:lnTo>
                    <a:pt x="7348" y="144590"/>
                  </a:lnTo>
                  <a:cubicBezTo>
                    <a:pt x="40590" y="144590"/>
                    <a:pt x="67832" y="117443"/>
                    <a:pt x="67832" y="84106"/>
                  </a:cubicBezTo>
                  <a:lnTo>
                    <a:pt x="67832" y="63056"/>
                  </a:lnTo>
                  <a:cubicBezTo>
                    <a:pt x="67832" y="29813"/>
                    <a:pt x="40590" y="2572"/>
                    <a:pt x="7348" y="2572"/>
                  </a:cubicBezTo>
                  <a:cubicBezTo>
                    <a:pt x="-18370" y="2572"/>
                    <a:pt x="26302" y="2286"/>
                    <a:pt x="96502" y="1905"/>
                  </a:cubicBezTo>
                  <a:lnTo>
                    <a:pt x="96502" y="0"/>
                  </a:lnTo>
                  <a:lnTo>
                    <a:pt x="465691" y="0"/>
                  </a:lnTo>
                  <a:lnTo>
                    <a:pt x="676764" y="0"/>
                  </a:lnTo>
                  <a:lnTo>
                    <a:pt x="676764" y="63056"/>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31" name="Freeform: Shape 172">
              <a:extLst>
                <a:ext uri="{FF2B5EF4-FFF2-40B4-BE49-F238E27FC236}">
                  <a16:creationId xmlns:a16="http://schemas.microsoft.com/office/drawing/2014/main" id="{4B1AC50D-C7B0-624E-B6EA-83963B4C8512}"/>
                </a:ext>
              </a:extLst>
            </p:cNvPr>
            <p:cNvSpPr/>
            <p:nvPr/>
          </p:nvSpPr>
          <p:spPr>
            <a:xfrm>
              <a:off x="4480672" y="2223214"/>
              <a:ext cx="495776" cy="136207"/>
            </a:xfrm>
            <a:custGeom>
              <a:avLst/>
              <a:gdLst>
                <a:gd name="connsiteX0" fmla="*/ 495776 w 495776"/>
                <a:gd name="connsiteY0" fmla="*/ 136208 h 136207"/>
                <a:gd name="connsiteX1" fmla="*/ 495776 w 495776"/>
                <a:gd name="connsiteY1" fmla="*/ 60484 h 136207"/>
                <a:gd name="connsiteX2" fmla="*/ 435292 w 495776"/>
                <a:gd name="connsiteY2" fmla="*/ 0 h 136207"/>
                <a:gd name="connsiteX3" fmla="*/ 89630 w 495776"/>
                <a:gd name="connsiteY3" fmla="*/ 0 h 136207"/>
                <a:gd name="connsiteX4" fmla="*/ 29146 w 495776"/>
                <a:gd name="connsiteY4" fmla="*/ 60484 h 136207"/>
                <a:gd name="connsiteX5" fmla="*/ 29146 w 495776"/>
                <a:gd name="connsiteY5" fmla="*/ 73914 h 136207"/>
                <a:gd name="connsiteX6" fmla="*/ 0 w 495776"/>
                <a:gd name="connsiteY6" fmla="*/ 136208 h 136207"/>
                <a:gd name="connsiteX7" fmla="*/ 495776 w 495776"/>
                <a:gd name="connsiteY7" fmla="*/ 136208 h 13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776" h="136207">
                  <a:moveTo>
                    <a:pt x="495776" y="136208"/>
                  </a:moveTo>
                  <a:lnTo>
                    <a:pt x="495776" y="60484"/>
                  </a:lnTo>
                  <a:cubicBezTo>
                    <a:pt x="495776" y="27242"/>
                    <a:pt x="468534" y="0"/>
                    <a:pt x="435292" y="0"/>
                  </a:cubicBezTo>
                  <a:lnTo>
                    <a:pt x="89630" y="0"/>
                  </a:lnTo>
                  <a:cubicBezTo>
                    <a:pt x="56388" y="0"/>
                    <a:pt x="29146" y="27242"/>
                    <a:pt x="29146" y="60484"/>
                  </a:cubicBezTo>
                  <a:lnTo>
                    <a:pt x="29146" y="73914"/>
                  </a:lnTo>
                  <a:cubicBezTo>
                    <a:pt x="29146" y="98870"/>
                    <a:pt x="17907" y="121253"/>
                    <a:pt x="0" y="136208"/>
                  </a:cubicBezTo>
                  <a:lnTo>
                    <a:pt x="495776" y="136208"/>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32" name="Freeform: Shape 173">
              <a:extLst>
                <a:ext uri="{FF2B5EF4-FFF2-40B4-BE49-F238E27FC236}">
                  <a16:creationId xmlns:a16="http://schemas.microsoft.com/office/drawing/2014/main" id="{15C7F596-7DEA-D035-9727-D15236FC93F9}"/>
                </a:ext>
              </a:extLst>
            </p:cNvPr>
            <p:cNvSpPr/>
            <p:nvPr/>
          </p:nvSpPr>
          <p:spPr>
            <a:xfrm>
              <a:off x="3380820" y="2942637"/>
              <a:ext cx="1117568" cy="468344"/>
            </a:xfrm>
            <a:custGeom>
              <a:avLst/>
              <a:gdLst>
                <a:gd name="connsiteX0" fmla="*/ 1117568 w 1117568"/>
                <a:gd name="connsiteY0" fmla="*/ 208883 h 468344"/>
                <a:gd name="connsiteX1" fmla="*/ 1117568 w 1117568"/>
                <a:gd name="connsiteY1" fmla="*/ 303943 h 468344"/>
                <a:gd name="connsiteX2" fmla="*/ 1047559 w 1117568"/>
                <a:gd name="connsiteY2" fmla="*/ 303276 h 468344"/>
                <a:gd name="connsiteX3" fmla="*/ 1041273 w 1117568"/>
                <a:gd name="connsiteY3" fmla="*/ 303276 h 468344"/>
                <a:gd name="connsiteX4" fmla="*/ 960310 w 1117568"/>
                <a:gd name="connsiteY4" fmla="*/ 384238 h 468344"/>
                <a:gd name="connsiteX5" fmla="*/ 960310 w 1117568"/>
                <a:gd name="connsiteY5" fmla="*/ 398335 h 468344"/>
                <a:gd name="connsiteX6" fmla="*/ 890302 w 1117568"/>
                <a:gd name="connsiteY6" fmla="*/ 468344 h 468344"/>
                <a:gd name="connsiteX7" fmla="*/ 323088 w 1117568"/>
                <a:gd name="connsiteY7" fmla="*/ 468344 h 468344"/>
                <a:gd name="connsiteX8" fmla="*/ 322421 w 1117568"/>
                <a:gd name="connsiteY8" fmla="*/ 398335 h 468344"/>
                <a:gd name="connsiteX9" fmla="*/ 322421 w 1117568"/>
                <a:gd name="connsiteY9" fmla="*/ 384238 h 468344"/>
                <a:gd name="connsiteX10" fmla="*/ 241459 w 1117568"/>
                <a:gd name="connsiteY10" fmla="*/ 303276 h 468344"/>
                <a:gd name="connsiteX11" fmla="*/ 224695 w 1117568"/>
                <a:gd name="connsiteY11" fmla="*/ 303276 h 468344"/>
                <a:gd name="connsiteX12" fmla="*/ 154876 w 1117568"/>
                <a:gd name="connsiteY12" fmla="*/ 238887 h 468344"/>
                <a:gd name="connsiteX13" fmla="*/ 74104 w 1117568"/>
                <a:gd name="connsiteY13" fmla="*/ 164401 h 468344"/>
                <a:gd name="connsiteX14" fmla="*/ 70009 w 1117568"/>
                <a:gd name="connsiteY14" fmla="*/ 164401 h 468344"/>
                <a:gd name="connsiteX15" fmla="*/ 0 w 1117568"/>
                <a:gd name="connsiteY15" fmla="*/ 94393 h 468344"/>
                <a:gd name="connsiteX16" fmla="*/ 0 w 1117568"/>
                <a:gd name="connsiteY16" fmla="*/ 70009 h 468344"/>
                <a:gd name="connsiteX17" fmla="*/ 70009 w 1117568"/>
                <a:gd name="connsiteY17" fmla="*/ 0 h 468344"/>
                <a:gd name="connsiteX18" fmla="*/ 403003 w 1117568"/>
                <a:gd name="connsiteY18" fmla="*/ 0 h 468344"/>
                <a:gd name="connsiteX19" fmla="*/ 452533 w 1117568"/>
                <a:gd name="connsiteY19" fmla="*/ 0 h 468344"/>
                <a:gd name="connsiteX20" fmla="*/ 567880 w 1117568"/>
                <a:gd name="connsiteY20" fmla="*/ 0 h 468344"/>
                <a:gd name="connsiteX21" fmla="*/ 637699 w 1117568"/>
                <a:gd name="connsiteY21" fmla="*/ 64389 h 468344"/>
                <a:gd name="connsiteX22" fmla="*/ 718471 w 1117568"/>
                <a:gd name="connsiteY22" fmla="*/ 138874 h 468344"/>
                <a:gd name="connsiteX23" fmla="*/ 1047655 w 1117568"/>
                <a:gd name="connsiteY23" fmla="*/ 138874 h 468344"/>
                <a:gd name="connsiteX24" fmla="*/ 1117568 w 1117568"/>
                <a:gd name="connsiteY24" fmla="*/ 208883 h 46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17568" h="468344">
                  <a:moveTo>
                    <a:pt x="1117568" y="208883"/>
                  </a:moveTo>
                  <a:lnTo>
                    <a:pt x="1117568" y="303943"/>
                  </a:lnTo>
                  <a:lnTo>
                    <a:pt x="1047559" y="303276"/>
                  </a:lnTo>
                  <a:lnTo>
                    <a:pt x="1041273" y="303276"/>
                  </a:lnTo>
                  <a:cubicBezTo>
                    <a:pt x="996696" y="303276"/>
                    <a:pt x="960310" y="339662"/>
                    <a:pt x="960310" y="384238"/>
                  </a:cubicBezTo>
                  <a:lnTo>
                    <a:pt x="960310" y="398335"/>
                  </a:lnTo>
                  <a:cubicBezTo>
                    <a:pt x="960310" y="436816"/>
                    <a:pt x="928783" y="468344"/>
                    <a:pt x="890302" y="468344"/>
                  </a:cubicBezTo>
                  <a:lnTo>
                    <a:pt x="323088" y="468344"/>
                  </a:lnTo>
                  <a:lnTo>
                    <a:pt x="322421" y="398335"/>
                  </a:lnTo>
                  <a:lnTo>
                    <a:pt x="322421" y="384238"/>
                  </a:lnTo>
                  <a:cubicBezTo>
                    <a:pt x="322421" y="339662"/>
                    <a:pt x="286036" y="303276"/>
                    <a:pt x="241459" y="303276"/>
                  </a:cubicBezTo>
                  <a:lnTo>
                    <a:pt x="224695" y="303276"/>
                  </a:lnTo>
                  <a:cubicBezTo>
                    <a:pt x="188023" y="303276"/>
                    <a:pt x="157734" y="274796"/>
                    <a:pt x="154876" y="238887"/>
                  </a:cubicBezTo>
                  <a:cubicBezTo>
                    <a:pt x="151447" y="196691"/>
                    <a:pt x="116491" y="164401"/>
                    <a:pt x="74104" y="164401"/>
                  </a:cubicBezTo>
                  <a:lnTo>
                    <a:pt x="70009" y="164401"/>
                  </a:lnTo>
                  <a:cubicBezTo>
                    <a:pt x="31528" y="164401"/>
                    <a:pt x="0" y="132874"/>
                    <a:pt x="0" y="94393"/>
                  </a:cubicBezTo>
                  <a:lnTo>
                    <a:pt x="0" y="70009"/>
                  </a:lnTo>
                  <a:cubicBezTo>
                    <a:pt x="0" y="31528"/>
                    <a:pt x="31528" y="0"/>
                    <a:pt x="70009" y="0"/>
                  </a:cubicBezTo>
                  <a:lnTo>
                    <a:pt x="403003" y="0"/>
                  </a:lnTo>
                  <a:lnTo>
                    <a:pt x="452533" y="0"/>
                  </a:lnTo>
                  <a:lnTo>
                    <a:pt x="567880" y="0"/>
                  </a:lnTo>
                  <a:cubicBezTo>
                    <a:pt x="604456" y="0"/>
                    <a:pt x="634841" y="28480"/>
                    <a:pt x="637699" y="64389"/>
                  </a:cubicBezTo>
                  <a:cubicBezTo>
                    <a:pt x="641128" y="106585"/>
                    <a:pt x="676084" y="138874"/>
                    <a:pt x="718471" y="138874"/>
                  </a:cubicBezTo>
                  <a:lnTo>
                    <a:pt x="1047655" y="138874"/>
                  </a:lnTo>
                  <a:cubicBezTo>
                    <a:pt x="1086040" y="138874"/>
                    <a:pt x="1117568" y="170402"/>
                    <a:pt x="1117568" y="208883"/>
                  </a:cubicBez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33" name="Freeform: Shape 174">
              <a:extLst>
                <a:ext uri="{FF2B5EF4-FFF2-40B4-BE49-F238E27FC236}">
                  <a16:creationId xmlns:a16="http://schemas.microsoft.com/office/drawing/2014/main" id="{D01395CF-4A2D-C005-DA0E-796CFA6B1617}"/>
                </a:ext>
              </a:extLst>
            </p:cNvPr>
            <p:cNvSpPr/>
            <p:nvPr/>
          </p:nvSpPr>
          <p:spPr>
            <a:xfrm>
              <a:off x="4183110" y="3246961"/>
              <a:ext cx="781336" cy="280130"/>
            </a:xfrm>
            <a:custGeom>
              <a:avLst/>
              <a:gdLst>
                <a:gd name="connsiteX0" fmla="*/ 0 w 781336"/>
                <a:gd name="connsiteY0" fmla="*/ 164116 h 280130"/>
                <a:gd name="connsiteX1" fmla="*/ 0 w 781336"/>
                <a:gd name="connsiteY1" fmla="*/ 280130 h 280130"/>
                <a:gd name="connsiteX2" fmla="*/ 241363 w 781336"/>
                <a:gd name="connsiteY2" fmla="*/ 280130 h 280130"/>
                <a:gd name="connsiteX3" fmla="*/ 290894 w 781336"/>
                <a:gd name="connsiteY3" fmla="*/ 280130 h 280130"/>
                <a:gd name="connsiteX4" fmla="*/ 406241 w 781336"/>
                <a:gd name="connsiteY4" fmla="*/ 280130 h 280130"/>
                <a:gd name="connsiteX5" fmla="*/ 476060 w 781336"/>
                <a:gd name="connsiteY5" fmla="*/ 215741 h 280130"/>
                <a:gd name="connsiteX6" fmla="*/ 556832 w 781336"/>
                <a:gd name="connsiteY6" fmla="*/ 141256 h 280130"/>
                <a:gd name="connsiteX7" fmla="*/ 781336 w 781336"/>
                <a:gd name="connsiteY7" fmla="*/ 141256 h 280130"/>
                <a:gd name="connsiteX8" fmla="*/ 781336 w 781336"/>
                <a:gd name="connsiteY8" fmla="*/ 1524 h 280130"/>
                <a:gd name="connsiteX9" fmla="*/ 530162 w 781336"/>
                <a:gd name="connsiteY9" fmla="*/ 1524 h 280130"/>
                <a:gd name="connsiteX10" fmla="*/ 223647 w 781336"/>
                <a:gd name="connsiteY10" fmla="*/ 0 h 280130"/>
                <a:gd name="connsiteX11" fmla="*/ 157925 w 781336"/>
                <a:gd name="connsiteY11" fmla="*/ 80010 h 280130"/>
                <a:gd name="connsiteX12" fmla="*/ 157925 w 781336"/>
                <a:gd name="connsiteY12" fmla="*/ 94107 h 280130"/>
                <a:gd name="connsiteX13" fmla="*/ 87916 w 781336"/>
                <a:gd name="connsiteY13" fmla="*/ 164116 h 280130"/>
                <a:gd name="connsiteX14" fmla="*/ 0 w 781336"/>
                <a:gd name="connsiteY14" fmla="*/ 164116 h 280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1336" h="280130">
                  <a:moveTo>
                    <a:pt x="0" y="164116"/>
                  </a:moveTo>
                  <a:lnTo>
                    <a:pt x="0" y="280130"/>
                  </a:lnTo>
                  <a:lnTo>
                    <a:pt x="241363" y="280130"/>
                  </a:lnTo>
                  <a:lnTo>
                    <a:pt x="290894" y="280130"/>
                  </a:lnTo>
                  <a:lnTo>
                    <a:pt x="406241" y="280130"/>
                  </a:lnTo>
                  <a:cubicBezTo>
                    <a:pt x="442817" y="280130"/>
                    <a:pt x="473202" y="251651"/>
                    <a:pt x="476060" y="215741"/>
                  </a:cubicBezTo>
                  <a:cubicBezTo>
                    <a:pt x="479488" y="173546"/>
                    <a:pt x="514445" y="141256"/>
                    <a:pt x="556832" y="141256"/>
                  </a:cubicBezTo>
                  <a:lnTo>
                    <a:pt x="781336" y="141256"/>
                  </a:lnTo>
                  <a:lnTo>
                    <a:pt x="781336" y="1524"/>
                  </a:lnTo>
                  <a:lnTo>
                    <a:pt x="530162" y="1524"/>
                  </a:lnTo>
                  <a:lnTo>
                    <a:pt x="223647" y="0"/>
                  </a:lnTo>
                  <a:cubicBezTo>
                    <a:pt x="188500" y="8858"/>
                    <a:pt x="157925" y="42196"/>
                    <a:pt x="157925" y="80010"/>
                  </a:cubicBezTo>
                  <a:lnTo>
                    <a:pt x="157925" y="94107"/>
                  </a:lnTo>
                  <a:cubicBezTo>
                    <a:pt x="157925" y="132588"/>
                    <a:pt x="126397" y="164116"/>
                    <a:pt x="87916" y="164116"/>
                  </a:cubicBezTo>
                  <a:lnTo>
                    <a:pt x="0" y="164116"/>
                  </a:ln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34" name="Freeform: Shape 175">
              <a:extLst>
                <a:ext uri="{FF2B5EF4-FFF2-40B4-BE49-F238E27FC236}">
                  <a16:creationId xmlns:a16="http://schemas.microsoft.com/office/drawing/2014/main" id="{A343443B-5585-0C6F-3BA9-A3ED70DCDC20}"/>
                </a:ext>
              </a:extLst>
            </p:cNvPr>
            <p:cNvSpPr/>
            <p:nvPr/>
          </p:nvSpPr>
          <p:spPr>
            <a:xfrm>
              <a:off x="3700479" y="2359612"/>
              <a:ext cx="1578101" cy="888872"/>
            </a:xfrm>
            <a:custGeom>
              <a:avLst/>
              <a:gdLst>
                <a:gd name="connsiteX0" fmla="*/ 1423702 w 1578101"/>
                <a:gd name="connsiteY0" fmla="*/ 828389 h 888872"/>
                <a:gd name="connsiteX1" fmla="*/ 1363218 w 1578101"/>
                <a:gd name="connsiteY1" fmla="*/ 888873 h 888872"/>
                <a:gd name="connsiteX2" fmla="*/ 1012793 w 1578101"/>
                <a:gd name="connsiteY2" fmla="*/ 888873 h 888872"/>
                <a:gd name="connsiteX3" fmla="*/ 797909 w 1578101"/>
                <a:gd name="connsiteY3" fmla="*/ 887063 h 888872"/>
                <a:gd name="connsiteX4" fmla="*/ 797909 w 1578101"/>
                <a:gd name="connsiteY4" fmla="*/ 792004 h 888872"/>
                <a:gd name="connsiteX5" fmla="*/ 727900 w 1578101"/>
                <a:gd name="connsiteY5" fmla="*/ 721995 h 888872"/>
                <a:gd name="connsiteX6" fmla="*/ 398716 w 1578101"/>
                <a:gd name="connsiteY6" fmla="*/ 721995 h 888872"/>
                <a:gd name="connsiteX7" fmla="*/ 317945 w 1578101"/>
                <a:gd name="connsiteY7" fmla="*/ 647509 h 888872"/>
                <a:gd name="connsiteX8" fmla="*/ 248126 w 1578101"/>
                <a:gd name="connsiteY8" fmla="*/ 583120 h 888872"/>
                <a:gd name="connsiteX9" fmla="*/ 132683 w 1578101"/>
                <a:gd name="connsiteY9" fmla="*/ 583120 h 888872"/>
                <a:gd name="connsiteX10" fmla="*/ 83153 w 1578101"/>
                <a:gd name="connsiteY10" fmla="*/ 583120 h 888872"/>
                <a:gd name="connsiteX11" fmla="*/ 0 w 1578101"/>
                <a:gd name="connsiteY11" fmla="*/ 583120 h 888872"/>
                <a:gd name="connsiteX12" fmla="*/ 0 w 1578101"/>
                <a:gd name="connsiteY12" fmla="*/ 60484 h 888872"/>
                <a:gd name="connsiteX13" fmla="*/ 60484 w 1578101"/>
                <a:gd name="connsiteY13" fmla="*/ 0 h 888872"/>
                <a:gd name="connsiteX14" fmla="*/ 1420939 w 1578101"/>
                <a:gd name="connsiteY14" fmla="*/ 0 h 888872"/>
                <a:gd name="connsiteX15" fmla="*/ 1420939 w 1578101"/>
                <a:gd name="connsiteY15" fmla="*/ 338328 h 888872"/>
                <a:gd name="connsiteX16" fmla="*/ 1420939 w 1578101"/>
                <a:gd name="connsiteY16" fmla="*/ 390716 h 888872"/>
                <a:gd name="connsiteX17" fmla="*/ 1481423 w 1578101"/>
                <a:gd name="connsiteY17" fmla="*/ 451199 h 888872"/>
                <a:gd name="connsiteX18" fmla="*/ 1575721 w 1578101"/>
                <a:gd name="connsiteY18" fmla="*/ 451199 h 888872"/>
                <a:gd name="connsiteX19" fmla="*/ 1578102 w 1578101"/>
                <a:gd name="connsiteY19" fmla="*/ 729996 h 888872"/>
                <a:gd name="connsiteX20" fmla="*/ 1496282 w 1578101"/>
                <a:gd name="connsiteY20" fmla="*/ 729996 h 888872"/>
                <a:gd name="connsiteX21" fmla="*/ 1423797 w 1578101"/>
                <a:gd name="connsiteY21" fmla="*/ 797624 h 888872"/>
                <a:gd name="connsiteX22" fmla="*/ 1423702 w 1578101"/>
                <a:gd name="connsiteY22" fmla="*/ 828389 h 88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8101" h="888872">
                  <a:moveTo>
                    <a:pt x="1423702" y="828389"/>
                  </a:moveTo>
                  <a:cubicBezTo>
                    <a:pt x="1423511" y="861632"/>
                    <a:pt x="1396460" y="888873"/>
                    <a:pt x="1363218" y="888873"/>
                  </a:cubicBezTo>
                  <a:lnTo>
                    <a:pt x="1012793" y="888873"/>
                  </a:lnTo>
                  <a:lnTo>
                    <a:pt x="797909" y="887063"/>
                  </a:lnTo>
                  <a:lnTo>
                    <a:pt x="797909" y="792004"/>
                  </a:lnTo>
                  <a:cubicBezTo>
                    <a:pt x="797909" y="753523"/>
                    <a:pt x="766381" y="721995"/>
                    <a:pt x="727900" y="721995"/>
                  </a:cubicBezTo>
                  <a:lnTo>
                    <a:pt x="398716" y="721995"/>
                  </a:lnTo>
                  <a:cubicBezTo>
                    <a:pt x="356425" y="721995"/>
                    <a:pt x="321373" y="689705"/>
                    <a:pt x="317945" y="647509"/>
                  </a:cubicBezTo>
                  <a:cubicBezTo>
                    <a:pt x="315087" y="611600"/>
                    <a:pt x="284797" y="583120"/>
                    <a:pt x="248126" y="583120"/>
                  </a:cubicBezTo>
                  <a:lnTo>
                    <a:pt x="132683" y="583120"/>
                  </a:lnTo>
                  <a:lnTo>
                    <a:pt x="83153" y="583120"/>
                  </a:lnTo>
                  <a:lnTo>
                    <a:pt x="0" y="583120"/>
                  </a:lnTo>
                  <a:lnTo>
                    <a:pt x="0" y="60484"/>
                  </a:lnTo>
                  <a:cubicBezTo>
                    <a:pt x="0" y="27242"/>
                    <a:pt x="27241" y="0"/>
                    <a:pt x="60484" y="0"/>
                  </a:cubicBezTo>
                  <a:lnTo>
                    <a:pt x="1420939" y="0"/>
                  </a:lnTo>
                  <a:lnTo>
                    <a:pt x="1420939" y="338328"/>
                  </a:lnTo>
                  <a:lnTo>
                    <a:pt x="1420939" y="390716"/>
                  </a:lnTo>
                  <a:cubicBezTo>
                    <a:pt x="1420939" y="423958"/>
                    <a:pt x="1448181" y="451199"/>
                    <a:pt x="1481423" y="451199"/>
                  </a:cubicBezTo>
                  <a:lnTo>
                    <a:pt x="1575721" y="451199"/>
                  </a:lnTo>
                  <a:lnTo>
                    <a:pt x="1578102" y="729996"/>
                  </a:lnTo>
                  <a:lnTo>
                    <a:pt x="1496282" y="729996"/>
                  </a:lnTo>
                  <a:cubicBezTo>
                    <a:pt x="1457801" y="729996"/>
                    <a:pt x="1423988" y="759047"/>
                    <a:pt x="1423797" y="797624"/>
                  </a:cubicBezTo>
                  <a:lnTo>
                    <a:pt x="1423702" y="828389"/>
                  </a:ln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35" name="Freeform: Shape 176">
              <a:extLst>
                <a:ext uri="{FF2B5EF4-FFF2-40B4-BE49-F238E27FC236}">
                  <a16:creationId xmlns:a16="http://schemas.microsoft.com/office/drawing/2014/main" id="{3D6DE9B5-19EE-86A9-8C81-9E4B6BC89E05}"/>
                </a:ext>
              </a:extLst>
            </p:cNvPr>
            <p:cNvSpPr/>
            <p:nvPr/>
          </p:nvSpPr>
          <p:spPr>
            <a:xfrm>
              <a:off x="2589388" y="2358278"/>
              <a:ext cx="1112234" cy="1175003"/>
            </a:xfrm>
            <a:custGeom>
              <a:avLst/>
              <a:gdLst>
                <a:gd name="connsiteX0" fmla="*/ 162115 w 1112234"/>
                <a:gd name="connsiteY0" fmla="*/ 371475 h 1175003"/>
                <a:gd name="connsiteX1" fmla="*/ 162115 w 1112234"/>
                <a:gd name="connsiteY1" fmla="*/ 164402 h 1175003"/>
                <a:gd name="connsiteX2" fmla="*/ 219837 w 1112234"/>
                <a:gd name="connsiteY2" fmla="*/ 164116 h 1175003"/>
                <a:gd name="connsiteX3" fmla="*/ 246412 w 1112234"/>
                <a:gd name="connsiteY3" fmla="*/ 164116 h 1175003"/>
                <a:gd name="connsiteX4" fmla="*/ 322802 w 1112234"/>
                <a:gd name="connsiteY4" fmla="*/ 87725 h 1175003"/>
                <a:gd name="connsiteX5" fmla="*/ 322802 w 1112234"/>
                <a:gd name="connsiteY5" fmla="*/ 69723 h 1175003"/>
                <a:gd name="connsiteX6" fmla="*/ 279844 w 1112234"/>
                <a:gd name="connsiteY6" fmla="*/ 1143 h 1175003"/>
                <a:gd name="connsiteX7" fmla="*/ 876872 w 1112234"/>
                <a:gd name="connsiteY7" fmla="*/ 0 h 1175003"/>
                <a:gd name="connsiteX8" fmla="*/ 948309 w 1112234"/>
                <a:gd name="connsiteY8" fmla="*/ 69723 h 1175003"/>
                <a:gd name="connsiteX9" fmla="*/ 948309 w 1112234"/>
                <a:gd name="connsiteY9" fmla="*/ 87725 h 1175003"/>
                <a:gd name="connsiteX10" fmla="*/ 1024699 w 1112234"/>
                <a:gd name="connsiteY10" fmla="*/ 164116 h 1175003"/>
                <a:gd name="connsiteX11" fmla="*/ 1051274 w 1112234"/>
                <a:gd name="connsiteY11" fmla="*/ 164116 h 1175003"/>
                <a:gd name="connsiteX12" fmla="*/ 1112234 w 1112234"/>
                <a:gd name="connsiteY12" fmla="*/ 133636 h 1175003"/>
                <a:gd name="connsiteX13" fmla="*/ 1112234 w 1112234"/>
                <a:gd name="connsiteY13" fmla="*/ 584263 h 1175003"/>
                <a:gd name="connsiteX14" fmla="*/ 861346 w 1112234"/>
                <a:gd name="connsiteY14" fmla="*/ 584263 h 1175003"/>
                <a:gd name="connsiteX15" fmla="*/ 791337 w 1112234"/>
                <a:gd name="connsiteY15" fmla="*/ 654272 h 1175003"/>
                <a:gd name="connsiteX16" fmla="*/ 791337 w 1112234"/>
                <a:gd name="connsiteY16" fmla="*/ 678656 h 1175003"/>
                <a:gd name="connsiteX17" fmla="*/ 861346 w 1112234"/>
                <a:gd name="connsiteY17" fmla="*/ 748665 h 1175003"/>
                <a:gd name="connsiteX18" fmla="*/ 865441 w 1112234"/>
                <a:gd name="connsiteY18" fmla="*/ 748665 h 1175003"/>
                <a:gd name="connsiteX19" fmla="*/ 946213 w 1112234"/>
                <a:gd name="connsiteY19" fmla="*/ 823150 h 1175003"/>
                <a:gd name="connsiteX20" fmla="*/ 1016032 w 1112234"/>
                <a:gd name="connsiteY20" fmla="*/ 887539 h 1175003"/>
                <a:gd name="connsiteX21" fmla="*/ 1032796 w 1112234"/>
                <a:gd name="connsiteY21" fmla="*/ 887539 h 1175003"/>
                <a:gd name="connsiteX22" fmla="*/ 1112234 w 1112234"/>
                <a:gd name="connsiteY22" fmla="*/ 952786 h 1175003"/>
                <a:gd name="connsiteX23" fmla="*/ 1112234 w 1112234"/>
                <a:gd name="connsiteY23" fmla="*/ 1103948 h 1175003"/>
                <a:gd name="connsiteX24" fmla="*/ 1042225 w 1112234"/>
                <a:gd name="connsiteY24" fmla="*/ 1173956 h 1175003"/>
                <a:gd name="connsiteX25" fmla="*/ 743236 w 1112234"/>
                <a:gd name="connsiteY25" fmla="*/ 1173956 h 1175003"/>
                <a:gd name="connsiteX26" fmla="*/ 735330 w 1112234"/>
                <a:gd name="connsiteY26" fmla="*/ 1174337 h 1175003"/>
                <a:gd name="connsiteX27" fmla="*/ 720757 w 1112234"/>
                <a:gd name="connsiteY27" fmla="*/ 1175004 h 1175003"/>
                <a:gd name="connsiteX28" fmla="*/ 162782 w 1112234"/>
                <a:gd name="connsiteY28" fmla="*/ 1175004 h 1175003"/>
                <a:gd name="connsiteX29" fmla="*/ 162782 w 1112234"/>
                <a:gd name="connsiteY29" fmla="*/ 1111853 h 1175003"/>
                <a:gd name="connsiteX30" fmla="*/ 81820 w 1112234"/>
                <a:gd name="connsiteY30" fmla="*/ 1030891 h 1175003"/>
                <a:gd name="connsiteX31" fmla="*/ 70009 w 1112234"/>
                <a:gd name="connsiteY31" fmla="*/ 1030891 h 1175003"/>
                <a:gd name="connsiteX32" fmla="*/ 0 w 1112234"/>
                <a:gd name="connsiteY32" fmla="*/ 960882 h 1175003"/>
                <a:gd name="connsiteX33" fmla="*/ 0 w 1112234"/>
                <a:gd name="connsiteY33" fmla="*/ 522446 h 1175003"/>
                <a:gd name="connsiteX34" fmla="*/ 70009 w 1112234"/>
                <a:gd name="connsiteY34" fmla="*/ 452438 h 1175003"/>
                <a:gd name="connsiteX35" fmla="*/ 81153 w 1112234"/>
                <a:gd name="connsiteY35" fmla="*/ 452438 h 1175003"/>
                <a:gd name="connsiteX36" fmla="*/ 162115 w 1112234"/>
                <a:gd name="connsiteY36" fmla="*/ 371475 h 1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12234" h="1175003">
                  <a:moveTo>
                    <a:pt x="162115" y="371475"/>
                  </a:moveTo>
                  <a:lnTo>
                    <a:pt x="162115" y="164402"/>
                  </a:lnTo>
                  <a:lnTo>
                    <a:pt x="219837" y="164116"/>
                  </a:lnTo>
                  <a:lnTo>
                    <a:pt x="246412" y="164116"/>
                  </a:lnTo>
                  <a:cubicBezTo>
                    <a:pt x="288417" y="164116"/>
                    <a:pt x="322802" y="129730"/>
                    <a:pt x="322802" y="87725"/>
                  </a:cubicBezTo>
                  <a:lnTo>
                    <a:pt x="322802" y="69723"/>
                  </a:lnTo>
                  <a:cubicBezTo>
                    <a:pt x="322802" y="39719"/>
                    <a:pt x="305181" y="13621"/>
                    <a:pt x="279844" y="1143"/>
                  </a:cubicBezTo>
                  <a:cubicBezTo>
                    <a:pt x="462439" y="1143"/>
                    <a:pt x="695897" y="0"/>
                    <a:pt x="876872" y="0"/>
                  </a:cubicBezTo>
                  <a:cubicBezTo>
                    <a:pt x="939736" y="1524"/>
                    <a:pt x="948309" y="38767"/>
                    <a:pt x="948309" y="69723"/>
                  </a:cubicBezTo>
                  <a:lnTo>
                    <a:pt x="948309" y="87725"/>
                  </a:lnTo>
                  <a:cubicBezTo>
                    <a:pt x="948309" y="129730"/>
                    <a:pt x="982694" y="164116"/>
                    <a:pt x="1024699" y="164116"/>
                  </a:cubicBezTo>
                  <a:lnTo>
                    <a:pt x="1051274" y="164116"/>
                  </a:lnTo>
                  <a:cubicBezTo>
                    <a:pt x="1076134" y="164116"/>
                    <a:pt x="1098232" y="152114"/>
                    <a:pt x="1112234" y="133636"/>
                  </a:cubicBezTo>
                  <a:lnTo>
                    <a:pt x="1112234" y="584263"/>
                  </a:lnTo>
                  <a:lnTo>
                    <a:pt x="861346" y="584263"/>
                  </a:lnTo>
                  <a:cubicBezTo>
                    <a:pt x="822865" y="584263"/>
                    <a:pt x="791337" y="615791"/>
                    <a:pt x="791337" y="654272"/>
                  </a:cubicBezTo>
                  <a:lnTo>
                    <a:pt x="791337" y="678656"/>
                  </a:lnTo>
                  <a:cubicBezTo>
                    <a:pt x="791337" y="717137"/>
                    <a:pt x="822865" y="748665"/>
                    <a:pt x="861346" y="748665"/>
                  </a:cubicBezTo>
                  <a:lnTo>
                    <a:pt x="865441" y="748665"/>
                  </a:lnTo>
                  <a:cubicBezTo>
                    <a:pt x="907828" y="748665"/>
                    <a:pt x="942784" y="780955"/>
                    <a:pt x="946213" y="823150"/>
                  </a:cubicBezTo>
                  <a:cubicBezTo>
                    <a:pt x="949071" y="859060"/>
                    <a:pt x="979360" y="887539"/>
                    <a:pt x="1016032" y="887539"/>
                  </a:cubicBezTo>
                  <a:lnTo>
                    <a:pt x="1032796" y="887539"/>
                  </a:lnTo>
                  <a:cubicBezTo>
                    <a:pt x="1072039" y="887539"/>
                    <a:pt x="1104900" y="915638"/>
                    <a:pt x="1112234" y="952786"/>
                  </a:cubicBezTo>
                  <a:lnTo>
                    <a:pt x="1112234" y="1103948"/>
                  </a:lnTo>
                  <a:cubicBezTo>
                    <a:pt x="1112234" y="1142429"/>
                    <a:pt x="1080706" y="1173956"/>
                    <a:pt x="1042225" y="1173956"/>
                  </a:cubicBezTo>
                  <a:lnTo>
                    <a:pt x="743236" y="1173956"/>
                  </a:lnTo>
                  <a:cubicBezTo>
                    <a:pt x="740473" y="1173956"/>
                    <a:pt x="738092" y="1174052"/>
                    <a:pt x="735330" y="1174337"/>
                  </a:cubicBezTo>
                  <a:cubicBezTo>
                    <a:pt x="730567" y="1174814"/>
                    <a:pt x="725710" y="1175004"/>
                    <a:pt x="720757" y="1175004"/>
                  </a:cubicBezTo>
                  <a:lnTo>
                    <a:pt x="162782" y="1175004"/>
                  </a:lnTo>
                  <a:lnTo>
                    <a:pt x="162782" y="1111853"/>
                  </a:lnTo>
                  <a:cubicBezTo>
                    <a:pt x="162782" y="1067276"/>
                    <a:pt x="126397" y="1030891"/>
                    <a:pt x="81820" y="1030891"/>
                  </a:cubicBezTo>
                  <a:lnTo>
                    <a:pt x="70009" y="1030891"/>
                  </a:lnTo>
                  <a:cubicBezTo>
                    <a:pt x="31528" y="1030891"/>
                    <a:pt x="0" y="999363"/>
                    <a:pt x="0" y="960882"/>
                  </a:cubicBezTo>
                  <a:lnTo>
                    <a:pt x="0" y="522446"/>
                  </a:lnTo>
                  <a:cubicBezTo>
                    <a:pt x="0" y="483965"/>
                    <a:pt x="31528" y="452438"/>
                    <a:pt x="70009" y="452438"/>
                  </a:cubicBezTo>
                  <a:lnTo>
                    <a:pt x="81153" y="452438"/>
                  </a:lnTo>
                  <a:cubicBezTo>
                    <a:pt x="125730" y="452438"/>
                    <a:pt x="162115" y="416052"/>
                    <a:pt x="162115" y="371475"/>
                  </a:cubicBez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36" name="Freeform: Shape 177">
              <a:extLst>
                <a:ext uri="{FF2B5EF4-FFF2-40B4-BE49-F238E27FC236}">
                  <a16:creationId xmlns:a16="http://schemas.microsoft.com/office/drawing/2014/main" id="{CEDB6374-78F6-9EF6-ABAB-31BAFF5BBFE7}"/>
                </a:ext>
              </a:extLst>
            </p:cNvPr>
            <p:cNvSpPr/>
            <p:nvPr/>
          </p:nvSpPr>
          <p:spPr>
            <a:xfrm>
              <a:off x="2763124" y="1790874"/>
              <a:ext cx="304800" cy="536924"/>
            </a:xfrm>
            <a:custGeom>
              <a:avLst/>
              <a:gdLst>
                <a:gd name="connsiteX0" fmla="*/ 303657 w 304800"/>
                <a:gd name="connsiteY0" fmla="*/ 536639 h 536924"/>
                <a:gd name="connsiteX1" fmla="*/ 304800 w 304800"/>
                <a:gd name="connsiteY1" fmla="*/ 57626 h 536924"/>
                <a:gd name="connsiteX2" fmla="*/ 247174 w 304800"/>
                <a:gd name="connsiteY2" fmla="*/ 0 h 536924"/>
                <a:gd name="connsiteX3" fmla="*/ 227076 w 304800"/>
                <a:gd name="connsiteY3" fmla="*/ 0 h 536924"/>
                <a:gd name="connsiteX4" fmla="*/ 169450 w 304800"/>
                <a:gd name="connsiteY4" fmla="*/ 57626 h 536924"/>
                <a:gd name="connsiteX5" fmla="*/ 169450 w 304800"/>
                <a:gd name="connsiteY5" fmla="*/ 66866 h 536924"/>
                <a:gd name="connsiteX6" fmla="*/ 88487 w 304800"/>
                <a:gd name="connsiteY6" fmla="*/ 147828 h 536924"/>
                <a:gd name="connsiteX7" fmla="*/ 76390 w 304800"/>
                <a:gd name="connsiteY7" fmla="*/ 147828 h 536924"/>
                <a:gd name="connsiteX8" fmla="*/ 0 w 304800"/>
                <a:gd name="connsiteY8" fmla="*/ 224219 h 536924"/>
                <a:gd name="connsiteX9" fmla="*/ 0 w 304800"/>
                <a:gd name="connsiteY9" fmla="*/ 432340 h 536924"/>
                <a:gd name="connsiteX10" fmla="*/ 0 w 304800"/>
                <a:gd name="connsiteY10" fmla="*/ 434531 h 536924"/>
                <a:gd name="connsiteX11" fmla="*/ 0 w 304800"/>
                <a:gd name="connsiteY11" fmla="*/ 439579 h 536924"/>
                <a:gd name="connsiteX12" fmla="*/ 0 w 304800"/>
                <a:gd name="connsiteY12" fmla="*/ 441770 h 536924"/>
                <a:gd name="connsiteX13" fmla="*/ 0 w 304800"/>
                <a:gd name="connsiteY13" fmla="*/ 459772 h 536924"/>
                <a:gd name="connsiteX14" fmla="*/ 76390 w 304800"/>
                <a:gd name="connsiteY14" fmla="*/ 536162 h 536924"/>
                <a:gd name="connsiteX15" fmla="*/ 94107 w 304800"/>
                <a:gd name="connsiteY15" fmla="*/ 536162 h 536924"/>
                <a:gd name="connsiteX16" fmla="*/ 117824 w 304800"/>
                <a:gd name="connsiteY16" fmla="*/ 536924 h 536924"/>
                <a:gd name="connsiteX17" fmla="*/ 303657 w 304800"/>
                <a:gd name="connsiteY17" fmla="*/ 536639 h 53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800" h="536924">
                  <a:moveTo>
                    <a:pt x="303657" y="536639"/>
                  </a:moveTo>
                  <a:lnTo>
                    <a:pt x="304800" y="57626"/>
                  </a:lnTo>
                  <a:cubicBezTo>
                    <a:pt x="304800" y="25908"/>
                    <a:pt x="278892" y="0"/>
                    <a:pt x="247174" y="0"/>
                  </a:cubicBezTo>
                  <a:lnTo>
                    <a:pt x="227076" y="0"/>
                  </a:lnTo>
                  <a:cubicBezTo>
                    <a:pt x="195358" y="0"/>
                    <a:pt x="169450" y="25908"/>
                    <a:pt x="169450" y="57626"/>
                  </a:cubicBezTo>
                  <a:lnTo>
                    <a:pt x="169450" y="66866"/>
                  </a:lnTo>
                  <a:cubicBezTo>
                    <a:pt x="169450" y="111443"/>
                    <a:pt x="133064" y="147828"/>
                    <a:pt x="88487" y="147828"/>
                  </a:cubicBezTo>
                  <a:lnTo>
                    <a:pt x="76390" y="147828"/>
                  </a:lnTo>
                  <a:cubicBezTo>
                    <a:pt x="34385" y="147828"/>
                    <a:pt x="0" y="182213"/>
                    <a:pt x="0" y="224219"/>
                  </a:cubicBezTo>
                  <a:lnTo>
                    <a:pt x="0" y="432340"/>
                  </a:lnTo>
                  <a:cubicBezTo>
                    <a:pt x="0" y="433102"/>
                    <a:pt x="0" y="433864"/>
                    <a:pt x="0" y="434531"/>
                  </a:cubicBezTo>
                  <a:cubicBezTo>
                    <a:pt x="95" y="436340"/>
                    <a:pt x="95" y="437864"/>
                    <a:pt x="0" y="439579"/>
                  </a:cubicBezTo>
                  <a:cubicBezTo>
                    <a:pt x="0" y="440341"/>
                    <a:pt x="0" y="441008"/>
                    <a:pt x="0" y="441770"/>
                  </a:cubicBezTo>
                  <a:lnTo>
                    <a:pt x="0" y="459772"/>
                  </a:lnTo>
                  <a:cubicBezTo>
                    <a:pt x="0" y="501777"/>
                    <a:pt x="34385" y="536162"/>
                    <a:pt x="76390" y="536162"/>
                  </a:cubicBezTo>
                  <a:lnTo>
                    <a:pt x="94107" y="536162"/>
                  </a:lnTo>
                  <a:cubicBezTo>
                    <a:pt x="102775" y="536162"/>
                    <a:pt x="108871" y="536924"/>
                    <a:pt x="117824" y="536924"/>
                  </a:cubicBezTo>
                  <a:cubicBezTo>
                    <a:pt x="176022" y="536924"/>
                    <a:pt x="238982" y="536829"/>
                    <a:pt x="303657" y="536639"/>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37" name="Freeform: Shape 178">
              <a:extLst>
                <a:ext uri="{FF2B5EF4-FFF2-40B4-BE49-F238E27FC236}">
                  <a16:creationId xmlns:a16="http://schemas.microsoft.com/office/drawing/2014/main" id="{20E42C9A-C107-17D2-EBA8-1820E5758FAD}"/>
                </a:ext>
              </a:extLst>
            </p:cNvPr>
            <p:cNvSpPr/>
            <p:nvPr/>
          </p:nvSpPr>
          <p:spPr>
            <a:xfrm>
              <a:off x="3109262" y="2015378"/>
              <a:ext cx="266318" cy="238580"/>
            </a:xfrm>
            <a:custGeom>
              <a:avLst/>
              <a:gdLst>
                <a:gd name="connsiteX0" fmla="*/ 208693 w 266318"/>
                <a:gd name="connsiteY0" fmla="*/ 71533 h 238580"/>
                <a:gd name="connsiteX1" fmla="*/ 188690 w 266318"/>
                <a:gd name="connsiteY1" fmla="*/ 71533 h 238580"/>
                <a:gd name="connsiteX2" fmla="*/ 183547 w 266318"/>
                <a:gd name="connsiteY2" fmla="*/ 71818 h 238580"/>
                <a:gd name="connsiteX3" fmla="*/ 183547 w 266318"/>
                <a:gd name="connsiteY3" fmla="*/ 15907 h 238580"/>
                <a:gd name="connsiteX4" fmla="*/ 148876 w 266318"/>
                <a:gd name="connsiteY4" fmla="*/ 286 h 238580"/>
                <a:gd name="connsiteX5" fmla="*/ 136779 w 266318"/>
                <a:gd name="connsiteY5" fmla="*/ 286 h 238580"/>
                <a:gd name="connsiteX6" fmla="*/ 46006 w 266318"/>
                <a:gd name="connsiteY6" fmla="*/ 0 h 238580"/>
                <a:gd name="connsiteX7" fmla="*/ 0 w 266318"/>
                <a:gd name="connsiteY7" fmla="*/ 46006 h 238580"/>
                <a:gd name="connsiteX8" fmla="*/ 0 w 266318"/>
                <a:gd name="connsiteY8" fmla="*/ 134969 h 238580"/>
                <a:gd name="connsiteX9" fmla="*/ 0 w 266318"/>
                <a:gd name="connsiteY9" fmla="*/ 174403 h 238580"/>
                <a:gd name="connsiteX10" fmla="*/ 0 w 266318"/>
                <a:gd name="connsiteY10" fmla="*/ 177451 h 238580"/>
                <a:gd name="connsiteX11" fmla="*/ 0 w 266318"/>
                <a:gd name="connsiteY11" fmla="*/ 178784 h 238580"/>
                <a:gd name="connsiteX12" fmla="*/ 0 w 266318"/>
                <a:gd name="connsiteY12" fmla="*/ 189643 h 238580"/>
                <a:gd name="connsiteX13" fmla="*/ 48768 w 266318"/>
                <a:gd name="connsiteY13" fmla="*/ 238411 h 238580"/>
                <a:gd name="connsiteX14" fmla="*/ 56674 w 266318"/>
                <a:gd name="connsiteY14" fmla="*/ 238411 h 238580"/>
                <a:gd name="connsiteX15" fmla="*/ 180213 w 266318"/>
                <a:gd name="connsiteY15" fmla="*/ 238411 h 238580"/>
                <a:gd name="connsiteX16" fmla="*/ 188690 w 266318"/>
                <a:gd name="connsiteY16" fmla="*/ 238411 h 238580"/>
                <a:gd name="connsiteX17" fmla="*/ 208693 w 266318"/>
                <a:gd name="connsiteY17" fmla="*/ 238411 h 238580"/>
                <a:gd name="connsiteX18" fmla="*/ 266319 w 266318"/>
                <a:gd name="connsiteY18" fmla="*/ 180784 h 238580"/>
                <a:gd name="connsiteX19" fmla="*/ 266319 w 266318"/>
                <a:gd name="connsiteY19" fmla="*/ 129159 h 238580"/>
                <a:gd name="connsiteX20" fmla="*/ 208693 w 266318"/>
                <a:gd name="connsiteY20" fmla="*/ 71533 h 2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318" h="238580">
                  <a:moveTo>
                    <a:pt x="208693" y="71533"/>
                  </a:moveTo>
                  <a:lnTo>
                    <a:pt x="188690" y="71533"/>
                  </a:lnTo>
                  <a:cubicBezTo>
                    <a:pt x="186976" y="71533"/>
                    <a:pt x="185261" y="71628"/>
                    <a:pt x="183547" y="71818"/>
                  </a:cubicBezTo>
                  <a:lnTo>
                    <a:pt x="183547" y="15907"/>
                  </a:lnTo>
                  <a:cubicBezTo>
                    <a:pt x="183547" y="-3143"/>
                    <a:pt x="167926" y="286"/>
                    <a:pt x="148876" y="286"/>
                  </a:cubicBezTo>
                  <a:lnTo>
                    <a:pt x="136779" y="286"/>
                  </a:lnTo>
                  <a:cubicBezTo>
                    <a:pt x="117729" y="286"/>
                    <a:pt x="46006" y="0"/>
                    <a:pt x="46006" y="0"/>
                  </a:cubicBezTo>
                  <a:cubicBezTo>
                    <a:pt x="20669" y="0"/>
                    <a:pt x="0" y="20669"/>
                    <a:pt x="0" y="46006"/>
                  </a:cubicBezTo>
                  <a:lnTo>
                    <a:pt x="0" y="134969"/>
                  </a:lnTo>
                  <a:cubicBezTo>
                    <a:pt x="0" y="135446"/>
                    <a:pt x="0" y="173926"/>
                    <a:pt x="0" y="174403"/>
                  </a:cubicBezTo>
                  <a:cubicBezTo>
                    <a:pt x="0" y="175450"/>
                    <a:pt x="0" y="176403"/>
                    <a:pt x="0" y="177451"/>
                  </a:cubicBezTo>
                  <a:cubicBezTo>
                    <a:pt x="0" y="177927"/>
                    <a:pt x="0" y="178308"/>
                    <a:pt x="0" y="178784"/>
                  </a:cubicBezTo>
                  <a:lnTo>
                    <a:pt x="0" y="189643"/>
                  </a:lnTo>
                  <a:cubicBezTo>
                    <a:pt x="0" y="216503"/>
                    <a:pt x="22003" y="238411"/>
                    <a:pt x="48768" y="238411"/>
                  </a:cubicBezTo>
                  <a:lnTo>
                    <a:pt x="56674" y="238411"/>
                  </a:lnTo>
                  <a:cubicBezTo>
                    <a:pt x="61913" y="238411"/>
                    <a:pt x="142494" y="238506"/>
                    <a:pt x="180213" y="238411"/>
                  </a:cubicBezTo>
                  <a:cubicBezTo>
                    <a:pt x="182975" y="238792"/>
                    <a:pt x="185833" y="238411"/>
                    <a:pt x="188690" y="238411"/>
                  </a:cubicBezTo>
                  <a:lnTo>
                    <a:pt x="208693" y="238411"/>
                  </a:lnTo>
                  <a:cubicBezTo>
                    <a:pt x="240411" y="238411"/>
                    <a:pt x="266319" y="212503"/>
                    <a:pt x="266319" y="180784"/>
                  </a:cubicBezTo>
                  <a:lnTo>
                    <a:pt x="266319" y="129159"/>
                  </a:lnTo>
                  <a:cubicBezTo>
                    <a:pt x="266319" y="97441"/>
                    <a:pt x="240411" y="71533"/>
                    <a:pt x="208693" y="71533"/>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38" name="Freeform: Shape 179">
              <a:extLst>
                <a:ext uri="{FF2B5EF4-FFF2-40B4-BE49-F238E27FC236}">
                  <a16:creationId xmlns:a16="http://schemas.microsoft.com/office/drawing/2014/main" id="{CDDBC1BA-B90A-9926-E7D7-EBDB42082307}"/>
                </a:ext>
              </a:extLst>
            </p:cNvPr>
            <p:cNvSpPr/>
            <p:nvPr/>
          </p:nvSpPr>
          <p:spPr>
            <a:xfrm>
              <a:off x="2926191" y="4271089"/>
              <a:ext cx="135255" cy="274415"/>
            </a:xfrm>
            <a:custGeom>
              <a:avLst/>
              <a:gdLst>
                <a:gd name="connsiteX0" fmla="*/ 57626 w 135255"/>
                <a:gd name="connsiteY0" fmla="*/ 274415 h 274415"/>
                <a:gd name="connsiteX1" fmla="*/ 77629 w 135255"/>
                <a:gd name="connsiteY1" fmla="*/ 274415 h 274415"/>
                <a:gd name="connsiteX2" fmla="*/ 135255 w 135255"/>
                <a:gd name="connsiteY2" fmla="*/ 216789 h 274415"/>
                <a:gd name="connsiteX3" fmla="*/ 135255 w 135255"/>
                <a:gd name="connsiteY3" fmla="*/ 57626 h 274415"/>
                <a:gd name="connsiteX4" fmla="*/ 77629 w 135255"/>
                <a:gd name="connsiteY4" fmla="*/ 0 h 274415"/>
                <a:gd name="connsiteX5" fmla="*/ 57626 w 135255"/>
                <a:gd name="connsiteY5" fmla="*/ 0 h 274415"/>
                <a:gd name="connsiteX6" fmla="*/ 0 w 135255"/>
                <a:gd name="connsiteY6" fmla="*/ 57626 h 274415"/>
                <a:gd name="connsiteX7" fmla="*/ 0 w 135255"/>
                <a:gd name="connsiteY7" fmla="*/ 216789 h 274415"/>
                <a:gd name="connsiteX8" fmla="*/ 57626 w 135255"/>
                <a:gd name="connsiteY8" fmla="*/ 274415 h 27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5" h="274415">
                  <a:moveTo>
                    <a:pt x="57626" y="274415"/>
                  </a:moveTo>
                  <a:lnTo>
                    <a:pt x="77629" y="274415"/>
                  </a:lnTo>
                  <a:cubicBezTo>
                    <a:pt x="109347" y="274415"/>
                    <a:pt x="135255" y="248507"/>
                    <a:pt x="135255" y="216789"/>
                  </a:cubicBezTo>
                  <a:lnTo>
                    <a:pt x="135255" y="57626"/>
                  </a:lnTo>
                  <a:cubicBezTo>
                    <a:pt x="135255" y="25908"/>
                    <a:pt x="109347" y="0"/>
                    <a:pt x="77629" y="0"/>
                  </a:cubicBezTo>
                  <a:lnTo>
                    <a:pt x="57626" y="0"/>
                  </a:lnTo>
                  <a:cubicBezTo>
                    <a:pt x="25908" y="0"/>
                    <a:pt x="0" y="25908"/>
                    <a:pt x="0" y="57626"/>
                  </a:cubicBezTo>
                  <a:lnTo>
                    <a:pt x="0" y="216789"/>
                  </a:lnTo>
                  <a:cubicBezTo>
                    <a:pt x="0" y="248412"/>
                    <a:pt x="25908" y="274415"/>
                    <a:pt x="57626" y="274415"/>
                  </a:cubicBez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39" name="Freeform: Shape 180">
              <a:extLst>
                <a:ext uri="{FF2B5EF4-FFF2-40B4-BE49-F238E27FC236}">
                  <a16:creationId xmlns:a16="http://schemas.microsoft.com/office/drawing/2014/main" id="{E9140458-962D-02A7-9C0E-D80E071EEC51}"/>
                </a:ext>
              </a:extLst>
            </p:cNvPr>
            <p:cNvSpPr/>
            <p:nvPr/>
          </p:nvSpPr>
          <p:spPr>
            <a:xfrm>
              <a:off x="2129520" y="2520773"/>
              <a:ext cx="621982" cy="435008"/>
            </a:xfrm>
            <a:custGeom>
              <a:avLst/>
              <a:gdLst>
                <a:gd name="connsiteX0" fmla="*/ 331280 w 621982"/>
                <a:gd name="connsiteY0" fmla="*/ 2 h 435008"/>
                <a:gd name="connsiteX1" fmla="*/ 247841 w 621982"/>
                <a:gd name="connsiteY1" fmla="*/ 83441 h 435008"/>
                <a:gd name="connsiteX2" fmla="*/ 247841 w 621982"/>
                <a:gd name="connsiteY2" fmla="*/ 146592 h 435008"/>
                <a:gd name="connsiteX3" fmla="*/ 83439 w 621982"/>
                <a:gd name="connsiteY3" fmla="*/ 146592 h 435008"/>
                <a:gd name="connsiteX4" fmla="*/ 0 w 621982"/>
                <a:gd name="connsiteY4" fmla="*/ 230030 h 435008"/>
                <a:gd name="connsiteX5" fmla="*/ 0 w 621982"/>
                <a:gd name="connsiteY5" fmla="*/ 283751 h 435008"/>
                <a:gd name="connsiteX6" fmla="*/ 232410 w 621982"/>
                <a:gd name="connsiteY6" fmla="*/ 283751 h 435008"/>
                <a:gd name="connsiteX7" fmla="*/ 315849 w 621982"/>
                <a:gd name="connsiteY7" fmla="*/ 367190 h 435008"/>
                <a:gd name="connsiteX8" fmla="*/ 393001 w 621982"/>
                <a:gd name="connsiteY8" fmla="*/ 435009 h 435008"/>
                <a:gd name="connsiteX9" fmla="*/ 459867 w 621982"/>
                <a:gd name="connsiteY9" fmla="*/ 434437 h 435008"/>
                <a:gd name="connsiteX10" fmla="*/ 459867 w 621982"/>
                <a:gd name="connsiteY10" fmla="*/ 360142 h 435008"/>
                <a:gd name="connsiteX11" fmla="*/ 529876 w 621982"/>
                <a:gd name="connsiteY11" fmla="*/ 290133 h 435008"/>
                <a:gd name="connsiteX12" fmla="*/ 541020 w 621982"/>
                <a:gd name="connsiteY12" fmla="*/ 290133 h 435008"/>
                <a:gd name="connsiteX13" fmla="*/ 621983 w 621982"/>
                <a:gd name="connsiteY13" fmla="*/ 209171 h 435008"/>
                <a:gd name="connsiteX14" fmla="*/ 621983 w 621982"/>
                <a:gd name="connsiteY14" fmla="*/ 2097 h 435008"/>
                <a:gd name="connsiteX15" fmla="*/ 331280 w 621982"/>
                <a:gd name="connsiteY15" fmla="*/ 2 h 43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1982" h="435008">
                  <a:moveTo>
                    <a:pt x="331280" y="2"/>
                  </a:moveTo>
                  <a:cubicBezTo>
                    <a:pt x="285369" y="-284"/>
                    <a:pt x="247841" y="37530"/>
                    <a:pt x="247841" y="83441"/>
                  </a:cubicBezTo>
                  <a:lnTo>
                    <a:pt x="247841" y="146592"/>
                  </a:lnTo>
                  <a:lnTo>
                    <a:pt x="83439" y="146592"/>
                  </a:lnTo>
                  <a:cubicBezTo>
                    <a:pt x="37529" y="146592"/>
                    <a:pt x="0" y="184120"/>
                    <a:pt x="0" y="230030"/>
                  </a:cubicBezTo>
                  <a:lnTo>
                    <a:pt x="0" y="283751"/>
                  </a:lnTo>
                  <a:lnTo>
                    <a:pt x="232410" y="283751"/>
                  </a:lnTo>
                  <a:cubicBezTo>
                    <a:pt x="278321" y="283751"/>
                    <a:pt x="315849" y="321280"/>
                    <a:pt x="315849" y="367190"/>
                  </a:cubicBezTo>
                  <a:cubicBezTo>
                    <a:pt x="312706" y="406052"/>
                    <a:pt x="339947" y="427103"/>
                    <a:pt x="393001" y="435009"/>
                  </a:cubicBezTo>
                  <a:lnTo>
                    <a:pt x="459867" y="434437"/>
                  </a:lnTo>
                  <a:lnTo>
                    <a:pt x="459867" y="360142"/>
                  </a:lnTo>
                  <a:cubicBezTo>
                    <a:pt x="459867" y="321661"/>
                    <a:pt x="491395" y="290133"/>
                    <a:pt x="529876" y="290133"/>
                  </a:cubicBezTo>
                  <a:lnTo>
                    <a:pt x="541020" y="290133"/>
                  </a:lnTo>
                  <a:cubicBezTo>
                    <a:pt x="585597" y="290133"/>
                    <a:pt x="621983" y="253748"/>
                    <a:pt x="621983" y="209171"/>
                  </a:cubicBezTo>
                  <a:lnTo>
                    <a:pt x="621983" y="2097"/>
                  </a:lnTo>
                  <a:lnTo>
                    <a:pt x="331280" y="2"/>
                  </a:ln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40" name="Freeform: Shape 181">
              <a:extLst>
                <a:ext uri="{FF2B5EF4-FFF2-40B4-BE49-F238E27FC236}">
                  <a16:creationId xmlns:a16="http://schemas.microsoft.com/office/drawing/2014/main" id="{3619166C-CF2A-5810-0379-739C099506C1}"/>
                </a:ext>
              </a:extLst>
            </p:cNvPr>
            <p:cNvSpPr/>
            <p:nvPr/>
          </p:nvSpPr>
          <p:spPr>
            <a:xfrm>
              <a:off x="1962262" y="2804429"/>
              <a:ext cx="627126" cy="447484"/>
            </a:xfrm>
            <a:custGeom>
              <a:avLst/>
              <a:gdLst>
                <a:gd name="connsiteX0" fmla="*/ 627126 w 627126"/>
                <a:gd name="connsiteY0" fmla="*/ 447485 h 447484"/>
                <a:gd name="connsiteX1" fmla="*/ 627126 w 627126"/>
                <a:gd name="connsiteY1" fmla="*/ 150686 h 447484"/>
                <a:gd name="connsiteX2" fmla="*/ 560260 w 627126"/>
                <a:gd name="connsiteY2" fmla="*/ 151257 h 447484"/>
                <a:gd name="connsiteX3" fmla="*/ 483108 w 627126"/>
                <a:gd name="connsiteY3" fmla="*/ 83439 h 447484"/>
                <a:gd name="connsiteX4" fmla="*/ 399669 w 627126"/>
                <a:gd name="connsiteY4" fmla="*/ 0 h 447484"/>
                <a:gd name="connsiteX5" fmla="*/ 168212 w 627126"/>
                <a:gd name="connsiteY5" fmla="*/ 0 h 447484"/>
                <a:gd name="connsiteX6" fmla="*/ 168212 w 627126"/>
                <a:gd name="connsiteY6" fmla="*/ 69437 h 447484"/>
                <a:gd name="connsiteX7" fmla="*/ 84106 w 627126"/>
                <a:gd name="connsiteY7" fmla="*/ 158401 h 447484"/>
                <a:gd name="connsiteX8" fmla="*/ 0 w 627126"/>
                <a:gd name="connsiteY8" fmla="*/ 158401 h 447484"/>
                <a:gd name="connsiteX9" fmla="*/ 381 w 627126"/>
                <a:gd name="connsiteY9" fmla="*/ 212788 h 447484"/>
                <a:gd name="connsiteX10" fmla="*/ 83820 w 627126"/>
                <a:gd name="connsiteY10" fmla="*/ 296228 h 447484"/>
                <a:gd name="connsiteX11" fmla="*/ 225457 w 627126"/>
                <a:gd name="connsiteY11" fmla="*/ 296228 h 447484"/>
                <a:gd name="connsiteX12" fmla="*/ 318421 w 627126"/>
                <a:gd name="connsiteY12" fmla="*/ 364046 h 447484"/>
                <a:gd name="connsiteX13" fmla="*/ 401860 w 627126"/>
                <a:gd name="connsiteY13" fmla="*/ 447485 h 447484"/>
                <a:gd name="connsiteX14" fmla="*/ 627126 w 627126"/>
                <a:gd name="connsiteY14" fmla="*/ 447485 h 44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7126" h="447484">
                  <a:moveTo>
                    <a:pt x="627126" y="447485"/>
                  </a:moveTo>
                  <a:lnTo>
                    <a:pt x="627126" y="150686"/>
                  </a:lnTo>
                  <a:lnTo>
                    <a:pt x="560260" y="151257"/>
                  </a:lnTo>
                  <a:cubicBezTo>
                    <a:pt x="507301" y="143351"/>
                    <a:pt x="479965" y="122301"/>
                    <a:pt x="483108" y="83439"/>
                  </a:cubicBezTo>
                  <a:cubicBezTo>
                    <a:pt x="483108" y="37529"/>
                    <a:pt x="445580" y="0"/>
                    <a:pt x="399669" y="0"/>
                  </a:cubicBezTo>
                  <a:lnTo>
                    <a:pt x="168212" y="0"/>
                  </a:lnTo>
                  <a:lnTo>
                    <a:pt x="168212" y="69437"/>
                  </a:lnTo>
                  <a:cubicBezTo>
                    <a:pt x="168212" y="115348"/>
                    <a:pt x="130016" y="158401"/>
                    <a:pt x="84106" y="158401"/>
                  </a:cubicBezTo>
                  <a:lnTo>
                    <a:pt x="0" y="158401"/>
                  </a:lnTo>
                  <a:lnTo>
                    <a:pt x="381" y="212788"/>
                  </a:lnTo>
                  <a:cubicBezTo>
                    <a:pt x="667" y="258699"/>
                    <a:pt x="37909" y="296228"/>
                    <a:pt x="83820" y="296228"/>
                  </a:cubicBezTo>
                  <a:lnTo>
                    <a:pt x="225457" y="296228"/>
                  </a:lnTo>
                  <a:cubicBezTo>
                    <a:pt x="307753" y="293180"/>
                    <a:pt x="320326" y="324993"/>
                    <a:pt x="318421" y="364046"/>
                  </a:cubicBezTo>
                  <a:cubicBezTo>
                    <a:pt x="318421" y="409956"/>
                    <a:pt x="355949" y="447485"/>
                    <a:pt x="401860" y="447485"/>
                  </a:cubicBezTo>
                  <a:lnTo>
                    <a:pt x="627126" y="447485"/>
                  </a:ln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41" name="Freeform: Shape 182">
              <a:extLst>
                <a:ext uri="{FF2B5EF4-FFF2-40B4-BE49-F238E27FC236}">
                  <a16:creationId xmlns:a16="http://schemas.microsoft.com/office/drawing/2014/main" id="{A7FE51AC-45FD-CD4E-2DC3-F5454E141801}"/>
                </a:ext>
              </a:extLst>
            </p:cNvPr>
            <p:cNvSpPr/>
            <p:nvPr/>
          </p:nvSpPr>
          <p:spPr>
            <a:xfrm>
              <a:off x="2437369" y="3095990"/>
              <a:ext cx="152019" cy="156019"/>
            </a:xfrm>
            <a:custGeom>
              <a:avLst/>
              <a:gdLst>
                <a:gd name="connsiteX0" fmla="*/ 152019 w 152019"/>
                <a:gd name="connsiteY0" fmla="*/ 0 h 156019"/>
                <a:gd name="connsiteX1" fmla="*/ 57626 w 152019"/>
                <a:gd name="connsiteY1" fmla="*/ 0 h 156019"/>
                <a:gd name="connsiteX2" fmla="*/ 0 w 152019"/>
                <a:gd name="connsiteY2" fmla="*/ 57626 h 156019"/>
                <a:gd name="connsiteX3" fmla="*/ 0 w 152019"/>
                <a:gd name="connsiteY3" fmla="*/ 156019 h 156019"/>
                <a:gd name="connsiteX4" fmla="*/ 152019 w 152019"/>
                <a:gd name="connsiteY4" fmla="*/ 156019 h 156019"/>
                <a:gd name="connsiteX5" fmla="*/ 152019 w 152019"/>
                <a:gd name="connsiteY5" fmla="*/ 0 h 156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019" h="156019">
                  <a:moveTo>
                    <a:pt x="152019" y="0"/>
                  </a:moveTo>
                  <a:lnTo>
                    <a:pt x="57626" y="0"/>
                  </a:lnTo>
                  <a:cubicBezTo>
                    <a:pt x="25908" y="0"/>
                    <a:pt x="0" y="25908"/>
                    <a:pt x="0" y="57626"/>
                  </a:cubicBezTo>
                  <a:lnTo>
                    <a:pt x="0" y="156019"/>
                  </a:lnTo>
                  <a:lnTo>
                    <a:pt x="152019" y="156019"/>
                  </a:lnTo>
                  <a:lnTo>
                    <a:pt x="152019" y="0"/>
                  </a:ln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42" name="Freeform: Shape 183">
              <a:extLst>
                <a:ext uri="{FF2B5EF4-FFF2-40B4-BE49-F238E27FC236}">
                  <a16:creationId xmlns:a16="http://schemas.microsoft.com/office/drawing/2014/main" id="{83234CA7-5F8E-468A-6F6F-F2AC805A6BF5}"/>
                </a:ext>
              </a:extLst>
            </p:cNvPr>
            <p:cNvSpPr/>
            <p:nvPr/>
          </p:nvSpPr>
          <p:spPr>
            <a:xfrm>
              <a:off x="866029" y="2961973"/>
              <a:ext cx="1885569" cy="1438655"/>
            </a:xfrm>
            <a:custGeom>
              <a:avLst/>
              <a:gdLst>
                <a:gd name="connsiteX0" fmla="*/ 945452 w 1885569"/>
                <a:gd name="connsiteY0" fmla="*/ 114776 h 1438655"/>
                <a:gd name="connsiteX1" fmla="*/ 945452 w 1885569"/>
                <a:gd name="connsiteY1" fmla="*/ 205835 h 1438655"/>
                <a:gd name="connsiteX2" fmla="*/ 864489 w 1885569"/>
                <a:gd name="connsiteY2" fmla="*/ 286798 h 1438655"/>
                <a:gd name="connsiteX3" fmla="*/ 558165 w 1885569"/>
                <a:gd name="connsiteY3" fmla="*/ 286798 h 1438655"/>
                <a:gd name="connsiteX4" fmla="*/ 475393 w 1885569"/>
                <a:gd name="connsiteY4" fmla="*/ 359759 h 1438655"/>
                <a:gd name="connsiteX5" fmla="*/ 395002 w 1885569"/>
                <a:gd name="connsiteY5" fmla="*/ 430530 h 1438655"/>
                <a:gd name="connsiteX6" fmla="*/ 57626 w 1885569"/>
                <a:gd name="connsiteY6" fmla="*/ 430530 h 1438655"/>
                <a:gd name="connsiteX7" fmla="*/ 0 w 1885569"/>
                <a:gd name="connsiteY7" fmla="*/ 488156 h 1438655"/>
                <a:gd name="connsiteX8" fmla="*/ 0 w 1885569"/>
                <a:gd name="connsiteY8" fmla="*/ 508159 h 1438655"/>
                <a:gd name="connsiteX9" fmla="*/ 57626 w 1885569"/>
                <a:gd name="connsiteY9" fmla="*/ 565785 h 1438655"/>
                <a:gd name="connsiteX10" fmla="*/ 222885 w 1885569"/>
                <a:gd name="connsiteY10" fmla="*/ 565785 h 1438655"/>
                <a:gd name="connsiteX11" fmla="*/ 303848 w 1885569"/>
                <a:gd name="connsiteY11" fmla="*/ 645890 h 1438655"/>
                <a:gd name="connsiteX12" fmla="*/ 361474 w 1885569"/>
                <a:gd name="connsiteY12" fmla="*/ 702850 h 1438655"/>
                <a:gd name="connsiteX13" fmla="*/ 550736 w 1885569"/>
                <a:gd name="connsiteY13" fmla="*/ 702850 h 1438655"/>
                <a:gd name="connsiteX14" fmla="*/ 631698 w 1885569"/>
                <a:gd name="connsiteY14" fmla="*/ 783812 h 1438655"/>
                <a:gd name="connsiteX15" fmla="*/ 631698 w 1885569"/>
                <a:gd name="connsiteY15" fmla="*/ 924687 h 1438655"/>
                <a:gd name="connsiteX16" fmla="*/ 550736 w 1885569"/>
                <a:gd name="connsiteY16" fmla="*/ 1005649 h 1438655"/>
                <a:gd name="connsiteX17" fmla="*/ 536257 w 1885569"/>
                <a:gd name="connsiteY17" fmla="*/ 1005649 h 1438655"/>
                <a:gd name="connsiteX18" fmla="*/ 478631 w 1885569"/>
                <a:gd name="connsiteY18" fmla="*/ 1063276 h 1438655"/>
                <a:gd name="connsiteX19" fmla="*/ 478631 w 1885569"/>
                <a:gd name="connsiteY19" fmla="*/ 1220914 h 1438655"/>
                <a:gd name="connsiteX20" fmla="*/ 397669 w 1885569"/>
                <a:gd name="connsiteY20" fmla="*/ 1301877 h 1438655"/>
                <a:gd name="connsiteX21" fmla="*/ 883634 w 1885569"/>
                <a:gd name="connsiteY21" fmla="*/ 1301877 h 1438655"/>
                <a:gd name="connsiteX22" fmla="*/ 941261 w 1885569"/>
                <a:gd name="connsiteY22" fmla="*/ 1359503 h 1438655"/>
                <a:gd name="connsiteX23" fmla="*/ 941261 w 1885569"/>
                <a:gd name="connsiteY23" fmla="*/ 1380363 h 1438655"/>
                <a:gd name="connsiteX24" fmla="*/ 941546 w 1885569"/>
                <a:gd name="connsiteY24" fmla="*/ 1380363 h 1438655"/>
                <a:gd name="connsiteX25" fmla="*/ 941546 w 1885569"/>
                <a:gd name="connsiteY25" fmla="*/ 1381030 h 1438655"/>
                <a:gd name="connsiteX26" fmla="*/ 999173 w 1885569"/>
                <a:gd name="connsiteY26" fmla="*/ 1438656 h 1438655"/>
                <a:gd name="connsiteX27" fmla="*/ 1261110 w 1885569"/>
                <a:gd name="connsiteY27" fmla="*/ 1438656 h 1438655"/>
                <a:gd name="connsiteX28" fmla="*/ 1261110 w 1885569"/>
                <a:gd name="connsiteY28" fmla="*/ 1362647 h 1438655"/>
                <a:gd name="connsiteX29" fmla="*/ 1318736 w 1885569"/>
                <a:gd name="connsiteY29" fmla="*/ 1305020 h 1438655"/>
                <a:gd name="connsiteX30" fmla="*/ 1765459 w 1885569"/>
                <a:gd name="connsiteY30" fmla="*/ 1305020 h 1438655"/>
                <a:gd name="connsiteX31" fmla="*/ 1785557 w 1885569"/>
                <a:gd name="connsiteY31" fmla="*/ 1304544 h 1438655"/>
                <a:gd name="connsiteX32" fmla="*/ 1827181 w 1885569"/>
                <a:gd name="connsiteY32" fmla="*/ 1303115 h 1438655"/>
                <a:gd name="connsiteX33" fmla="*/ 1884807 w 1885569"/>
                <a:gd name="connsiteY33" fmla="*/ 1245489 h 1438655"/>
                <a:gd name="connsiteX34" fmla="*/ 1885093 w 1885569"/>
                <a:gd name="connsiteY34" fmla="*/ 865251 h 1438655"/>
                <a:gd name="connsiteX35" fmla="*/ 1789367 w 1885569"/>
                <a:gd name="connsiteY35" fmla="*/ 865251 h 1438655"/>
                <a:gd name="connsiteX36" fmla="*/ 1731740 w 1885569"/>
                <a:gd name="connsiteY36" fmla="*/ 807625 h 1438655"/>
                <a:gd name="connsiteX37" fmla="*/ 1731740 w 1885569"/>
                <a:gd name="connsiteY37" fmla="*/ 629983 h 1438655"/>
                <a:gd name="connsiteX38" fmla="*/ 1789367 w 1885569"/>
                <a:gd name="connsiteY38" fmla="*/ 572357 h 1438655"/>
                <a:gd name="connsiteX39" fmla="*/ 1885474 w 1885569"/>
                <a:gd name="connsiteY39" fmla="*/ 572357 h 1438655"/>
                <a:gd name="connsiteX40" fmla="*/ 1885569 w 1885569"/>
                <a:gd name="connsiteY40" fmla="*/ 495967 h 1438655"/>
                <a:gd name="connsiteX41" fmla="*/ 1805464 w 1885569"/>
                <a:gd name="connsiteY41" fmla="*/ 427101 h 1438655"/>
                <a:gd name="connsiteX42" fmla="*/ 1793653 w 1885569"/>
                <a:gd name="connsiteY42" fmla="*/ 427101 h 1438655"/>
                <a:gd name="connsiteX43" fmla="*/ 1723644 w 1885569"/>
                <a:gd name="connsiteY43" fmla="*/ 357092 h 1438655"/>
                <a:gd name="connsiteX44" fmla="*/ 1723644 w 1885569"/>
                <a:gd name="connsiteY44" fmla="*/ 289750 h 1438655"/>
                <a:gd name="connsiteX45" fmla="*/ 1498378 w 1885569"/>
                <a:gd name="connsiteY45" fmla="*/ 289750 h 1438655"/>
                <a:gd name="connsiteX46" fmla="*/ 1417225 w 1885569"/>
                <a:gd name="connsiteY46" fmla="*/ 225742 h 1438655"/>
                <a:gd name="connsiteX47" fmla="*/ 1415034 w 1885569"/>
                <a:gd name="connsiteY47" fmla="*/ 204025 h 1438655"/>
                <a:gd name="connsiteX48" fmla="*/ 1323308 w 1885569"/>
                <a:gd name="connsiteY48" fmla="*/ 138398 h 1438655"/>
                <a:gd name="connsiteX49" fmla="*/ 1320641 w 1885569"/>
                <a:gd name="connsiteY49" fmla="*/ 138398 h 1438655"/>
                <a:gd name="connsiteX50" fmla="*/ 1180338 w 1885569"/>
                <a:gd name="connsiteY50" fmla="*/ 138398 h 1438655"/>
                <a:gd name="connsiteX51" fmla="*/ 1121950 w 1885569"/>
                <a:gd name="connsiteY51" fmla="*/ 114490 h 1438655"/>
                <a:gd name="connsiteX52" fmla="*/ 1121950 w 1885569"/>
                <a:gd name="connsiteY52" fmla="*/ 114490 h 1438655"/>
                <a:gd name="connsiteX53" fmla="*/ 1115092 w 1885569"/>
                <a:gd name="connsiteY53" fmla="*/ 106966 h 1438655"/>
                <a:gd name="connsiteX54" fmla="*/ 1114616 w 1885569"/>
                <a:gd name="connsiteY54" fmla="*/ 106299 h 1438655"/>
                <a:gd name="connsiteX55" fmla="*/ 1114520 w 1885569"/>
                <a:gd name="connsiteY55" fmla="*/ 106204 h 1438655"/>
                <a:gd name="connsiteX56" fmla="*/ 1114425 w 1885569"/>
                <a:gd name="connsiteY56" fmla="*/ 106108 h 1438655"/>
                <a:gd name="connsiteX57" fmla="*/ 1109853 w 1885569"/>
                <a:gd name="connsiteY57" fmla="*/ 99631 h 1438655"/>
                <a:gd name="connsiteX58" fmla="*/ 1109853 w 1885569"/>
                <a:gd name="connsiteY58" fmla="*/ 99631 h 1438655"/>
                <a:gd name="connsiteX59" fmla="*/ 1108805 w 1885569"/>
                <a:gd name="connsiteY59" fmla="*/ 97917 h 1438655"/>
                <a:gd name="connsiteX60" fmla="*/ 1108805 w 1885569"/>
                <a:gd name="connsiteY60" fmla="*/ 97822 h 1438655"/>
                <a:gd name="connsiteX61" fmla="*/ 1108424 w 1885569"/>
                <a:gd name="connsiteY61" fmla="*/ 97155 h 1438655"/>
                <a:gd name="connsiteX62" fmla="*/ 1108329 w 1885569"/>
                <a:gd name="connsiteY62" fmla="*/ 96964 h 1438655"/>
                <a:gd name="connsiteX63" fmla="*/ 1107853 w 1885569"/>
                <a:gd name="connsiteY63" fmla="*/ 96107 h 1438655"/>
                <a:gd name="connsiteX64" fmla="*/ 1107853 w 1885569"/>
                <a:gd name="connsiteY64" fmla="*/ 96107 h 1438655"/>
                <a:gd name="connsiteX65" fmla="*/ 1107377 w 1885569"/>
                <a:gd name="connsiteY65" fmla="*/ 95250 h 1438655"/>
                <a:gd name="connsiteX66" fmla="*/ 1107377 w 1885569"/>
                <a:gd name="connsiteY66" fmla="*/ 95250 h 1438655"/>
                <a:gd name="connsiteX67" fmla="*/ 1106996 w 1885569"/>
                <a:gd name="connsiteY67" fmla="*/ 94488 h 1438655"/>
                <a:gd name="connsiteX68" fmla="*/ 1106900 w 1885569"/>
                <a:gd name="connsiteY68" fmla="*/ 94393 h 1438655"/>
                <a:gd name="connsiteX69" fmla="*/ 1106424 w 1885569"/>
                <a:gd name="connsiteY69" fmla="*/ 93536 h 1438655"/>
                <a:gd name="connsiteX70" fmla="*/ 1106424 w 1885569"/>
                <a:gd name="connsiteY70" fmla="*/ 93440 h 1438655"/>
                <a:gd name="connsiteX71" fmla="*/ 1106329 w 1885569"/>
                <a:gd name="connsiteY71" fmla="*/ 93154 h 1438655"/>
                <a:gd name="connsiteX72" fmla="*/ 1105948 w 1885569"/>
                <a:gd name="connsiteY72" fmla="*/ 92392 h 1438655"/>
                <a:gd name="connsiteX73" fmla="*/ 1105567 w 1885569"/>
                <a:gd name="connsiteY73" fmla="*/ 91630 h 1438655"/>
                <a:gd name="connsiteX74" fmla="*/ 1105091 w 1885569"/>
                <a:gd name="connsiteY74" fmla="*/ 90678 h 1438655"/>
                <a:gd name="connsiteX75" fmla="*/ 1104995 w 1885569"/>
                <a:gd name="connsiteY75" fmla="*/ 90583 h 1438655"/>
                <a:gd name="connsiteX76" fmla="*/ 1104614 w 1885569"/>
                <a:gd name="connsiteY76" fmla="*/ 89821 h 1438655"/>
                <a:gd name="connsiteX77" fmla="*/ 1104614 w 1885569"/>
                <a:gd name="connsiteY77" fmla="*/ 89821 h 1438655"/>
                <a:gd name="connsiteX78" fmla="*/ 1104233 w 1885569"/>
                <a:gd name="connsiteY78" fmla="*/ 88963 h 1438655"/>
                <a:gd name="connsiteX79" fmla="*/ 1104233 w 1885569"/>
                <a:gd name="connsiteY79" fmla="*/ 88963 h 1438655"/>
                <a:gd name="connsiteX80" fmla="*/ 1103852 w 1885569"/>
                <a:gd name="connsiteY80" fmla="*/ 88011 h 1438655"/>
                <a:gd name="connsiteX81" fmla="*/ 1103662 w 1885569"/>
                <a:gd name="connsiteY81" fmla="*/ 87535 h 1438655"/>
                <a:gd name="connsiteX82" fmla="*/ 1103281 w 1885569"/>
                <a:gd name="connsiteY82" fmla="*/ 86582 h 1438655"/>
                <a:gd name="connsiteX83" fmla="*/ 1103186 w 1885569"/>
                <a:gd name="connsiteY83" fmla="*/ 86392 h 1438655"/>
                <a:gd name="connsiteX84" fmla="*/ 1102614 w 1885569"/>
                <a:gd name="connsiteY84" fmla="*/ 84963 h 1438655"/>
                <a:gd name="connsiteX85" fmla="*/ 1102424 w 1885569"/>
                <a:gd name="connsiteY85" fmla="*/ 84582 h 1438655"/>
                <a:gd name="connsiteX86" fmla="*/ 1097090 w 1885569"/>
                <a:gd name="connsiteY86" fmla="*/ 55245 h 1438655"/>
                <a:gd name="connsiteX87" fmla="*/ 1097090 w 1885569"/>
                <a:gd name="connsiteY87" fmla="*/ 0 h 1438655"/>
                <a:gd name="connsiteX88" fmla="*/ 1029367 w 1885569"/>
                <a:gd name="connsiteY88" fmla="*/ 0 h 1438655"/>
                <a:gd name="connsiteX89" fmla="*/ 945928 w 1885569"/>
                <a:gd name="connsiteY89" fmla="*/ 83439 h 1438655"/>
                <a:gd name="connsiteX90" fmla="*/ 945452 w 1885569"/>
                <a:gd name="connsiteY90" fmla="*/ 114776 h 1438655"/>
                <a:gd name="connsiteX91" fmla="*/ 945452 w 1885569"/>
                <a:gd name="connsiteY91" fmla="*/ 114776 h 143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885569" h="1438655">
                  <a:moveTo>
                    <a:pt x="945452" y="114776"/>
                  </a:moveTo>
                  <a:lnTo>
                    <a:pt x="945452" y="205835"/>
                  </a:lnTo>
                  <a:cubicBezTo>
                    <a:pt x="945452" y="250412"/>
                    <a:pt x="909066" y="286798"/>
                    <a:pt x="864489" y="286798"/>
                  </a:cubicBezTo>
                  <a:lnTo>
                    <a:pt x="558165" y="286798"/>
                  </a:lnTo>
                  <a:cubicBezTo>
                    <a:pt x="515874" y="286798"/>
                    <a:pt x="480632" y="318706"/>
                    <a:pt x="475393" y="359759"/>
                  </a:cubicBezTo>
                  <a:cubicBezTo>
                    <a:pt x="470249" y="400431"/>
                    <a:pt x="436055" y="430530"/>
                    <a:pt x="395002" y="430530"/>
                  </a:cubicBezTo>
                  <a:lnTo>
                    <a:pt x="57626" y="430530"/>
                  </a:lnTo>
                  <a:cubicBezTo>
                    <a:pt x="25908" y="430530"/>
                    <a:pt x="0" y="456438"/>
                    <a:pt x="0" y="488156"/>
                  </a:cubicBezTo>
                  <a:lnTo>
                    <a:pt x="0" y="508159"/>
                  </a:lnTo>
                  <a:cubicBezTo>
                    <a:pt x="0" y="539877"/>
                    <a:pt x="25908" y="565785"/>
                    <a:pt x="57626" y="565785"/>
                  </a:cubicBezTo>
                  <a:lnTo>
                    <a:pt x="222885" y="565785"/>
                  </a:lnTo>
                  <a:cubicBezTo>
                    <a:pt x="267176" y="565785"/>
                    <a:pt x="303371" y="601599"/>
                    <a:pt x="303848" y="645890"/>
                  </a:cubicBezTo>
                  <a:cubicBezTo>
                    <a:pt x="304229" y="677323"/>
                    <a:pt x="329946" y="702850"/>
                    <a:pt x="361474" y="702850"/>
                  </a:cubicBezTo>
                  <a:lnTo>
                    <a:pt x="550736" y="702850"/>
                  </a:lnTo>
                  <a:cubicBezTo>
                    <a:pt x="595313" y="702850"/>
                    <a:pt x="631698" y="739235"/>
                    <a:pt x="631698" y="783812"/>
                  </a:cubicBezTo>
                  <a:lnTo>
                    <a:pt x="631698" y="924687"/>
                  </a:lnTo>
                  <a:cubicBezTo>
                    <a:pt x="631698" y="969264"/>
                    <a:pt x="595313" y="1005649"/>
                    <a:pt x="550736" y="1005649"/>
                  </a:cubicBezTo>
                  <a:lnTo>
                    <a:pt x="536257" y="1005649"/>
                  </a:lnTo>
                  <a:cubicBezTo>
                    <a:pt x="504539" y="1005649"/>
                    <a:pt x="478631" y="1031557"/>
                    <a:pt x="478631" y="1063276"/>
                  </a:cubicBezTo>
                  <a:lnTo>
                    <a:pt x="478631" y="1220914"/>
                  </a:lnTo>
                  <a:cubicBezTo>
                    <a:pt x="478631" y="1265491"/>
                    <a:pt x="442246" y="1301877"/>
                    <a:pt x="397669" y="1301877"/>
                  </a:cubicBezTo>
                  <a:lnTo>
                    <a:pt x="883634" y="1301877"/>
                  </a:lnTo>
                  <a:cubicBezTo>
                    <a:pt x="915353" y="1301877"/>
                    <a:pt x="941261" y="1327785"/>
                    <a:pt x="941261" y="1359503"/>
                  </a:cubicBezTo>
                  <a:lnTo>
                    <a:pt x="941261" y="1380363"/>
                  </a:lnTo>
                  <a:lnTo>
                    <a:pt x="941546" y="1380363"/>
                  </a:lnTo>
                  <a:lnTo>
                    <a:pt x="941546" y="1381030"/>
                  </a:lnTo>
                  <a:cubicBezTo>
                    <a:pt x="941546" y="1412748"/>
                    <a:pt x="967454" y="1438656"/>
                    <a:pt x="999173" y="1438656"/>
                  </a:cubicBezTo>
                  <a:lnTo>
                    <a:pt x="1261110" y="1438656"/>
                  </a:lnTo>
                  <a:lnTo>
                    <a:pt x="1261110" y="1362647"/>
                  </a:lnTo>
                  <a:cubicBezTo>
                    <a:pt x="1261110" y="1330928"/>
                    <a:pt x="1287018" y="1305020"/>
                    <a:pt x="1318736" y="1305020"/>
                  </a:cubicBezTo>
                  <a:lnTo>
                    <a:pt x="1765459" y="1305020"/>
                  </a:lnTo>
                  <a:lnTo>
                    <a:pt x="1785557" y="1304544"/>
                  </a:lnTo>
                  <a:lnTo>
                    <a:pt x="1827181" y="1303115"/>
                  </a:lnTo>
                  <a:cubicBezTo>
                    <a:pt x="1858804" y="1302067"/>
                    <a:pt x="1884807" y="1277207"/>
                    <a:pt x="1884807" y="1245489"/>
                  </a:cubicBezTo>
                  <a:cubicBezTo>
                    <a:pt x="1884807" y="1118806"/>
                    <a:pt x="1884902" y="991933"/>
                    <a:pt x="1885093" y="865251"/>
                  </a:cubicBezTo>
                  <a:lnTo>
                    <a:pt x="1789367" y="865251"/>
                  </a:lnTo>
                  <a:cubicBezTo>
                    <a:pt x="1757648" y="865251"/>
                    <a:pt x="1731740" y="839343"/>
                    <a:pt x="1731740" y="807625"/>
                  </a:cubicBezTo>
                  <a:lnTo>
                    <a:pt x="1731740" y="629983"/>
                  </a:lnTo>
                  <a:cubicBezTo>
                    <a:pt x="1731740" y="598265"/>
                    <a:pt x="1757648" y="572357"/>
                    <a:pt x="1789367" y="572357"/>
                  </a:cubicBezTo>
                  <a:lnTo>
                    <a:pt x="1885474" y="572357"/>
                  </a:lnTo>
                  <a:lnTo>
                    <a:pt x="1885569" y="495967"/>
                  </a:lnTo>
                  <a:cubicBezTo>
                    <a:pt x="1879663" y="457009"/>
                    <a:pt x="1845945" y="427101"/>
                    <a:pt x="1805464" y="427101"/>
                  </a:cubicBezTo>
                  <a:lnTo>
                    <a:pt x="1793653" y="427101"/>
                  </a:lnTo>
                  <a:cubicBezTo>
                    <a:pt x="1755172" y="427101"/>
                    <a:pt x="1723644" y="395573"/>
                    <a:pt x="1723644" y="357092"/>
                  </a:cubicBezTo>
                  <a:lnTo>
                    <a:pt x="1723644" y="289750"/>
                  </a:lnTo>
                  <a:lnTo>
                    <a:pt x="1498378" y="289750"/>
                  </a:lnTo>
                  <a:cubicBezTo>
                    <a:pt x="1459135" y="289750"/>
                    <a:pt x="1426083" y="262318"/>
                    <a:pt x="1417225" y="225742"/>
                  </a:cubicBezTo>
                  <a:cubicBezTo>
                    <a:pt x="1415415" y="218313"/>
                    <a:pt x="1414748" y="211741"/>
                    <a:pt x="1415034" y="204025"/>
                  </a:cubicBezTo>
                  <a:cubicBezTo>
                    <a:pt x="1416272" y="166211"/>
                    <a:pt x="1402842" y="135826"/>
                    <a:pt x="1323308" y="138398"/>
                  </a:cubicBezTo>
                  <a:cubicBezTo>
                    <a:pt x="1322356" y="138398"/>
                    <a:pt x="1321594" y="138398"/>
                    <a:pt x="1320641" y="138398"/>
                  </a:cubicBezTo>
                  <a:lnTo>
                    <a:pt x="1180338" y="138398"/>
                  </a:lnTo>
                  <a:cubicBezTo>
                    <a:pt x="1157669" y="138398"/>
                    <a:pt x="1137095" y="129254"/>
                    <a:pt x="1121950" y="114490"/>
                  </a:cubicBezTo>
                  <a:lnTo>
                    <a:pt x="1121950" y="114490"/>
                  </a:lnTo>
                  <a:cubicBezTo>
                    <a:pt x="1119569" y="112109"/>
                    <a:pt x="1117283" y="109633"/>
                    <a:pt x="1115092" y="106966"/>
                  </a:cubicBezTo>
                  <a:lnTo>
                    <a:pt x="1114616" y="106299"/>
                  </a:lnTo>
                  <a:lnTo>
                    <a:pt x="1114520" y="106204"/>
                  </a:lnTo>
                  <a:lnTo>
                    <a:pt x="1114425" y="106108"/>
                  </a:lnTo>
                  <a:cubicBezTo>
                    <a:pt x="1112806" y="104013"/>
                    <a:pt x="1111282" y="101822"/>
                    <a:pt x="1109853" y="99631"/>
                  </a:cubicBezTo>
                  <a:lnTo>
                    <a:pt x="1109853" y="99631"/>
                  </a:lnTo>
                  <a:cubicBezTo>
                    <a:pt x="1109472" y="99060"/>
                    <a:pt x="1109186" y="98488"/>
                    <a:pt x="1108805" y="97917"/>
                  </a:cubicBezTo>
                  <a:lnTo>
                    <a:pt x="1108805" y="97822"/>
                  </a:lnTo>
                  <a:lnTo>
                    <a:pt x="1108424" y="97155"/>
                  </a:lnTo>
                  <a:lnTo>
                    <a:pt x="1108329" y="96964"/>
                  </a:lnTo>
                  <a:lnTo>
                    <a:pt x="1107853" y="96107"/>
                  </a:lnTo>
                  <a:lnTo>
                    <a:pt x="1107853" y="96107"/>
                  </a:lnTo>
                  <a:lnTo>
                    <a:pt x="1107377" y="95250"/>
                  </a:lnTo>
                  <a:lnTo>
                    <a:pt x="1107377" y="95250"/>
                  </a:lnTo>
                  <a:lnTo>
                    <a:pt x="1106996" y="94488"/>
                  </a:lnTo>
                  <a:lnTo>
                    <a:pt x="1106900" y="94393"/>
                  </a:lnTo>
                  <a:lnTo>
                    <a:pt x="1106424" y="93536"/>
                  </a:lnTo>
                  <a:lnTo>
                    <a:pt x="1106424" y="93440"/>
                  </a:lnTo>
                  <a:lnTo>
                    <a:pt x="1106329" y="93154"/>
                  </a:lnTo>
                  <a:lnTo>
                    <a:pt x="1105948" y="92392"/>
                  </a:lnTo>
                  <a:lnTo>
                    <a:pt x="1105567" y="91630"/>
                  </a:lnTo>
                  <a:lnTo>
                    <a:pt x="1105091" y="90678"/>
                  </a:lnTo>
                  <a:lnTo>
                    <a:pt x="1104995" y="90583"/>
                  </a:lnTo>
                  <a:lnTo>
                    <a:pt x="1104614" y="89821"/>
                  </a:lnTo>
                  <a:lnTo>
                    <a:pt x="1104614" y="89821"/>
                  </a:lnTo>
                  <a:lnTo>
                    <a:pt x="1104233" y="88963"/>
                  </a:lnTo>
                  <a:lnTo>
                    <a:pt x="1104233" y="88963"/>
                  </a:lnTo>
                  <a:lnTo>
                    <a:pt x="1103852" y="88011"/>
                  </a:lnTo>
                  <a:lnTo>
                    <a:pt x="1103662" y="87535"/>
                  </a:lnTo>
                  <a:lnTo>
                    <a:pt x="1103281" y="86582"/>
                  </a:lnTo>
                  <a:lnTo>
                    <a:pt x="1103186" y="86392"/>
                  </a:lnTo>
                  <a:lnTo>
                    <a:pt x="1102614" y="84963"/>
                  </a:lnTo>
                  <a:lnTo>
                    <a:pt x="1102424" y="84582"/>
                  </a:lnTo>
                  <a:cubicBezTo>
                    <a:pt x="1098995" y="75438"/>
                    <a:pt x="1097090" y="65532"/>
                    <a:pt x="1097090" y="55245"/>
                  </a:cubicBezTo>
                  <a:lnTo>
                    <a:pt x="1097090" y="0"/>
                  </a:lnTo>
                  <a:lnTo>
                    <a:pt x="1029367" y="0"/>
                  </a:lnTo>
                  <a:cubicBezTo>
                    <a:pt x="983456" y="0"/>
                    <a:pt x="945928" y="37529"/>
                    <a:pt x="945928" y="83439"/>
                  </a:cubicBezTo>
                  <a:lnTo>
                    <a:pt x="945452" y="114776"/>
                  </a:lnTo>
                  <a:lnTo>
                    <a:pt x="945452" y="114776"/>
                  </a:ln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43" name="Freeform: Shape 184">
              <a:extLst>
                <a:ext uri="{FF2B5EF4-FFF2-40B4-BE49-F238E27FC236}">
                  <a16:creationId xmlns:a16="http://schemas.microsoft.com/office/drawing/2014/main" id="{5681CEF1-019D-3FA5-BB3F-A5B3382271F0}"/>
                </a:ext>
              </a:extLst>
            </p:cNvPr>
            <p:cNvSpPr/>
            <p:nvPr/>
          </p:nvSpPr>
          <p:spPr>
            <a:xfrm>
              <a:off x="1972549" y="4846494"/>
              <a:ext cx="135254" cy="128873"/>
            </a:xfrm>
            <a:custGeom>
              <a:avLst/>
              <a:gdLst>
                <a:gd name="connsiteX0" fmla="*/ 57626 w 135254"/>
                <a:gd name="connsiteY0" fmla="*/ 128874 h 128873"/>
                <a:gd name="connsiteX1" fmla="*/ 77629 w 135254"/>
                <a:gd name="connsiteY1" fmla="*/ 128874 h 128873"/>
                <a:gd name="connsiteX2" fmla="*/ 135255 w 135254"/>
                <a:gd name="connsiteY2" fmla="*/ 71247 h 128873"/>
                <a:gd name="connsiteX3" fmla="*/ 135255 w 135254"/>
                <a:gd name="connsiteY3" fmla="*/ 57626 h 128873"/>
                <a:gd name="connsiteX4" fmla="*/ 77629 w 135254"/>
                <a:gd name="connsiteY4" fmla="*/ 0 h 128873"/>
                <a:gd name="connsiteX5" fmla="*/ 57626 w 135254"/>
                <a:gd name="connsiteY5" fmla="*/ 0 h 128873"/>
                <a:gd name="connsiteX6" fmla="*/ 0 w 135254"/>
                <a:gd name="connsiteY6" fmla="*/ 57626 h 128873"/>
                <a:gd name="connsiteX7" fmla="*/ 0 w 135254"/>
                <a:gd name="connsiteY7" fmla="*/ 71247 h 128873"/>
                <a:gd name="connsiteX8" fmla="*/ 57626 w 135254"/>
                <a:gd name="connsiteY8" fmla="*/ 128874 h 12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4" h="128873">
                  <a:moveTo>
                    <a:pt x="57626" y="128874"/>
                  </a:moveTo>
                  <a:lnTo>
                    <a:pt x="77629" y="128874"/>
                  </a:lnTo>
                  <a:cubicBezTo>
                    <a:pt x="109347" y="128874"/>
                    <a:pt x="135255" y="102965"/>
                    <a:pt x="135255" y="71247"/>
                  </a:cubicBezTo>
                  <a:lnTo>
                    <a:pt x="135255" y="57626"/>
                  </a:lnTo>
                  <a:cubicBezTo>
                    <a:pt x="135255" y="25908"/>
                    <a:pt x="109347" y="0"/>
                    <a:pt x="77629" y="0"/>
                  </a:cubicBezTo>
                  <a:lnTo>
                    <a:pt x="57626" y="0"/>
                  </a:lnTo>
                  <a:cubicBezTo>
                    <a:pt x="25908" y="0"/>
                    <a:pt x="0" y="25908"/>
                    <a:pt x="0" y="57626"/>
                  </a:cubicBezTo>
                  <a:lnTo>
                    <a:pt x="0" y="71247"/>
                  </a:lnTo>
                  <a:cubicBezTo>
                    <a:pt x="0" y="102965"/>
                    <a:pt x="25908" y="128874"/>
                    <a:pt x="57626" y="128874"/>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44" name="Freeform: Shape 185">
              <a:extLst>
                <a:ext uri="{FF2B5EF4-FFF2-40B4-BE49-F238E27FC236}">
                  <a16:creationId xmlns:a16="http://schemas.microsoft.com/office/drawing/2014/main" id="{F8257DDB-F6C9-698D-09D4-8087C3881035}"/>
                </a:ext>
              </a:extLst>
            </p:cNvPr>
            <p:cNvSpPr/>
            <p:nvPr/>
          </p:nvSpPr>
          <p:spPr>
            <a:xfrm>
              <a:off x="2926191" y="4710763"/>
              <a:ext cx="299656" cy="417766"/>
            </a:xfrm>
            <a:custGeom>
              <a:avLst/>
              <a:gdLst>
                <a:gd name="connsiteX0" fmla="*/ 57626 w 299656"/>
                <a:gd name="connsiteY0" fmla="*/ 417767 h 417766"/>
                <a:gd name="connsiteX1" fmla="*/ 77629 w 299656"/>
                <a:gd name="connsiteY1" fmla="*/ 417767 h 417766"/>
                <a:gd name="connsiteX2" fmla="*/ 135255 w 299656"/>
                <a:gd name="connsiteY2" fmla="*/ 360140 h 417766"/>
                <a:gd name="connsiteX3" fmla="*/ 135255 w 299656"/>
                <a:gd name="connsiteY3" fmla="*/ 216217 h 417766"/>
                <a:gd name="connsiteX4" fmla="*/ 216218 w 299656"/>
                <a:gd name="connsiteY4" fmla="*/ 135255 h 417766"/>
                <a:gd name="connsiteX5" fmla="*/ 242030 w 299656"/>
                <a:gd name="connsiteY5" fmla="*/ 135255 h 417766"/>
                <a:gd name="connsiteX6" fmla="*/ 299656 w 299656"/>
                <a:gd name="connsiteY6" fmla="*/ 77629 h 417766"/>
                <a:gd name="connsiteX7" fmla="*/ 299656 w 299656"/>
                <a:gd name="connsiteY7" fmla="*/ 57626 h 417766"/>
                <a:gd name="connsiteX8" fmla="*/ 242030 w 299656"/>
                <a:gd name="connsiteY8" fmla="*/ 0 h 417766"/>
                <a:gd name="connsiteX9" fmla="*/ 77629 w 299656"/>
                <a:gd name="connsiteY9" fmla="*/ 0 h 417766"/>
                <a:gd name="connsiteX10" fmla="*/ 57626 w 299656"/>
                <a:gd name="connsiteY10" fmla="*/ 0 h 417766"/>
                <a:gd name="connsiteX11" fmla="*/ 56197 w 299656"/>
                <a:gd name="connsiteY11" fmla="*/ 0 h 417766"/>
                <a:gd name="connsiteX12" fmla="*/ 56197 w 299656"/>
                <a:gd name="connsiteY12" fmla="*/ 0 h 417766"/>
                <a:gd name="connsiteX13" fmla="*/ 54769 w 299656"/>
                <a:gd name="connsiteY13" fmla="*/ 95 h 417766"/>
                <a:gd name="connsiteX14" fmla="*/ 54769 w 299656"/>
                <a:gd name="connsiteY14" fmla="*/ 95 h 417766"/>
                <a:gd name="connsiteX15" fmla="*/ 53340 w 299656"/>
                <a:gd name="connsiteY15" fmla="*/ 190 h 417766"/>
                <a:gd name="connsiteX16" fmla="*/ 53340 w 299656"/>
                <a:gd name="connsiteY16" fmla="*/ 190 h 417766"/>
                <a:gd name="connsiteX17" fmla="*/ 51911 w 299656"/>
                <a:gd name="connsiteY17" fmla="*/ 286 h 417766"/>
                <a:gd name="connsiteX18" fmla="*/ 51911 w 299656"/>
                <a:gd name="connsiteY18" fmla="*/ 286 h 417766"/>
                <a:gd name="connsiteX19" fmla="*/ 50482 w 299656"/>
                <a:gd name="connsiteY19" fmla="*/ 476 h 417766"/>
                <a:gd name="connsiteX20" fmla="*/ 50482 w 299656"/>
                <a:gd name="connsiteY20" fmla="*/ 476 h 417766"/>
                <a:gd name="connsiteX21" fmla="*/ 49054 w 299656"/>
                <a:gd name="connsiteY21" fmla="*/ 667 h 417766"/>
                <a:gd name="connsiteX22" fmla="*/ 49054 w 299656"/>
                <a:gd name="connsiteY22" fmla="*/ 667 h 417766"/>
                <a:gd name="connsiteX23" fmla="*/ 47625 w 299656"/>
                <a:gd name="connsiteY23" fmla="*/ 857 h 417766"/>
                <a:gd name="connsiteX24" fmla="*/ 47625 w 299656"/>
                <a:gd name="connsiteY24" fmla="*/ 857 h 417766"/>
                <a:gd name="connsiteX25" fmla="*/ 46196 w 299656"/>
                <a:gd name="connsiteY25" fmla="*/ 1143 h 417766"/>
                <a:gd name="connsiteX26" fmla="*/ 46196 w 299656"/>
                <a:gd name="connsiteY26" fmla="*/ 1143 h 417766"/>
                <a:gd name="connsiteX27" fmla="*/ 44768 w 299656"/>
                <a:gd name="connsiteY27" fmla="*/ 1429 h 417766"/>
                <a:gd name="connsiteX28" fmla="*/ 44768 w 299656"/>
                <a:gd name="connsiteY28" fmla="*/ 1429 h 417766"/>
                <a:gd name="connsiteX29" fmla="*/ 43339 w 299656"/>
                <a:gd name="connsiteY29" fmla="*/ 1809 h 417766"/>
                <a:gd name="connsiteX30" fmla="*/ 43339 w 299656"/>
                <a:gd name="connsiteY30" fmla="*/ 1809 h 417766"/>
                <a:gd name="connsiteX31" fmla="*/ 42005 w 299656"/>
                <a:gd name="connsiteY31" fmla="*/ 2191 h 417766"/>
                <a:gd name="connsiteX32" fmla="*/ 42005 w 299656"/>
                <a:gd name="connsiteY32" fmla="*/ 2191 h 417766"/>
                <a:gd name="connsiteX33" fmla="*/ 40672 w 299656"/>
                <a:gd name="connsiteY33" fmla="*/ 2572 h 417766"/>
                <a:gd name="connsiteX34" fmla="*/ 40672 w 299656"/>
                <a:gd name="connsiteY34" fmla="*/ 2572 h 417766"/>
                <a:gd name="connsiteX35" fmla="*/ 39338 w 299656"/>
                <a:gd name="connsiteY35" fmla="*/ 3048 h 417766"/>
                <a:gd name="connsiteX36" fmla="*/ 39338 w 299656"/>
                <a:gd name="connsiteY36" fmla="*/ 3048 h 417766"/>
                <a:gd name="connsiteX37" fmla="*/ 38005 w 299656"/>
                <a:gd name="connsiteY37" fmla="*/ 3524 h 417766"/>
                <a:gd name="connsiteX38" fmla="*/ 38005 w 299656"/>
                <a:gd name="connsiteY38" fmla="*/ 3524 h 417766"/>
                <a:gd name="connsiteX39" fmla="*/ 36671 w 299656"/>
                <a:gd name="connsiteY39" fmla="*/ 4000 h 417766"/>
                <a:gd name="connsiteX40" fmla="*/ 36671 w 299656"/>
                <a:gd name="connsiteY40" fmla="*/ 4000 h 417766"/>
                <a:gd name="connsiteX41" fmla="*/ 35338 w 299656"/>
                <a:gd name="connsiteY41" fmla="*/ 4572 h 417766"/>
                <a:gd name="connsiteX42" fmla="*/ 35338 w 299656"/>
                <a:gd name="connsiteY42" fmla="*/ 4572 h 417766"/>
                <a:gd name="connsiteX43" fmla="*/ 34099 w 299656"/>
                <a:gd name="connsiteY43" fmla="*/ 5143 h 417766"/>
                <a:gd name="connsiteX44" fmla="*/ 34099 w 299656"/>
                <a:gd name="connsiteY44" fmla="*/ 5143 h 417766"/>
                <a:gd name="connsiteX45" fmla="*/ 32861 w 299656"/>
                <a:gd name="connsiteY45" fmla="*/ 5715 h 417766"/>
                <a:gd name="connsiteX46" fmla="*/ 32861 w 299656"/>
                <a:gd name="connsiteY46" fmla="*/ 5715 h 417766"/>
                <a:gd name="connsiteX47" fmla="*/ 31623 w 299656"/>
                <a:gd name="connsiteY47" fmla="*/ 6382 h 417766"/>
                <a:gd name="connsiteX48" fmla="*/ 31623 w 299656"/>
                <a:gd name="connsiteY48" fmla="*/ 6382 h 417766"/>
                <a:gd name="connsiteX49" fmla="*/ 30385 w 299656"/>
                <a:gd name="connsiteY49" fmla="*/ 7048 h 417766"/>
                <a:gd name="connsiteX50" fmla="*/ 30385 w 299656"/>
                <a:gd name="connsiteY50" fmla="*/ 7048 h 417766"/>
                <a:gd name="connsiteX51" fmla="*/ 29146 w 299656"/>
                <a:gd name="connsiteY51" fmla="*/ 7715 h 417766"/>
                <a:gd name="connsiteX52" fmla="*/ 29146 w 299656"/>
                <a:gd name="connsiteY52" fmla="*/ 7715 h 417766"/>
                <a:gd name="connsiteX53" fmla="*/ 27908 w 299656"/>
                <a:gd name="connsiteY53" fmla="*/ 8382 h 417766"/>
                <a:gd name="connsiteX54" fmla="*/ 27908 w 299656"/>
                <a:gd name="connsiteY54" fmla="*/ 8382 h 417766"/>
                <a:gd name="connsiteX55" fmla="*/ 26765 w 299656"/>
                <a:gd name="connsiteY55" fmla="*/ 9144 h 417766"/>
                <a:gd name="connsiteX56" fmla="*/ 26765 w 299656"/>
                <a:gd name="connsiteY56" fmla="*/ 9144 h 417766"/>
                <a:gd name="connsiteX57" fmla="*/ 25622 w 299656"/>
                <a:gd name="connsiteY57" fmla="*/ 9906 h 417766"/>
                <a:gd name="connsiteX58" fmla="*/ 25622 w 299656"/>
                <a:gd name="connsiteY58" fmla="*/ 9906 h 417766"/>
                <a:gd name="connsiteX59" fmla="*/ 24479 w 299656"/>
                <a:gd name="connsiteY59" fmla="*/ 10668 h 417766"/>
                <a:gd name="connsiteX60" fmla="*/ 24479 w 299656"/>
                <a:gd name="connsiteY60" fmla="*/ 10668 h 417766"/>
                <a:gd name="connsiteX61" fmla="*/ 23336 w 299656"/>
                <a:gd name="connsiteY61" fmla="*/ 11525 h 417766"/>
                <a:gd name="connsiteX62" fmla="*/ 23336 w 299656"/>
                <a:gd name="connsiteY62" fmla="*/ 11525 h 417766"/>
                <a:gd name="connsiteX63" fmla="*/ 22193 w 299656"/>
                <a:gd name="connsiteY63" fmla="*/ 12382 h 417766"/>
                <a:gd name="connsiteX64" fmla="*/ 22193 w 299656"/>
                <a:gd name="connsiteY64" fmla="*/ 12382 h 417766"/>
                <a:gd name="connsiteX65" fmla="*/ 21146 w 299656"/>
                <a:gd name="connsiteY65" fmla="*/ 13240 h 417766"/>
                <a:gd name="connsiteX66" fmla="*/ 21146 w 299656"/>
                <a:gd name="connsiteY66" fmla="*/ 13240 h 417766"/>
                <a:gd name="connsiteX67" fmla="*/ 20098 w 299656"/>
                <a:gd name="connsiteY67" fmla="*/ 14097 h 417766"/>
                <a:gd name="connsiteX68" fmla="*/ 20098 w 299656"/>
                <a:gd name="connsiteY68" fmla="*/ 14097 h 417766"/>
                <a:gd name="connsiteX69" fmla="*/ 19050 w 299656"/>
                <a:gd name="connsiteY69" fmla="*/ 15049 h 417766"/>
                <a:gd name="connsiteX70" fmla="*/ 19050 w 299656"/>
                <a:gd name="connsiteY70" fmla="*/ 15049 h 417766"/>
                <a:gd name="connsiteX71" fmla="*/ 18002 w 299656"/>
                <a:gd name="connsiteY71" fmla="*/ 16002 h 417766"/>
                <a:gd name="connsiteX72" fmla="*/ 18002 w 299656"/>
                <a:gd name="connsiteY72" fmla="*/ 16002 h 417766"/>
                <a:gd name="connsiteX73" fmla="*/ 17050 w 299656"/>
                <a:gd name="connsiteY73" fmla="*/ 16954 h 417766"/>
                <a:gd name="connsiteX74" fmla="*/ 17050 w 299656"/>
                <a:gd name="connsiteY74" fmla="*/ 16954 h 417766"/>
                <a:gd name="connsiteX75" fmla="*/ 16097 w 299656"/>
                <a:gd name="connsiteY75" fmla="*/ 17907 h 417766"/>
                <a:gd name="connsiteX76" fmla="*/ 16097 w 299656"/>
                <a:gd name="connsiteY76" fmla="*/ 17907 h 417766"/>
                <a:gd name="connsiteX77" fmla="*/ 15145 w 299656"/>
                <a:gd name="connsiteY77" fmla="*/ 18955 h 417766"/>
                <a:gd name="connsiteX78" fmla="*/ 15145 w 299656"/>
                <a:gd name="connsiteY78" fmla="*/ 18955 h 417766"/>
                <a:gd name="connsiteX79" fmla="*/ 14192 w 299656"/>
                <a:gd name="connsiteY79" fmla="*/ 20002 h 417766"/>
                <a:gd name="connsiteX80" fmla="*/ 14192 w 299656"/>
                <a:gd name="connsiteY80" fmla="*/ 20002 h 417766"/>
                <a:gd name="connsiteX81" fmla="*/ 13335 w 299656"/>
                <a:gd name="connsiteY81" fmla="*/ 21050 h 417766"/>
                <a:gd name="connsiteX82" fmla="*/ 13335 w 299656"/>
                <a:gd name="connsiteY82" fmla="*/ 21050 h 417766"/>
                <a:gd name="connsiteX83" fmla="*/ 12478 w 299656"/>
                <a:gd name="connsiteY83" fmla="*/ 22098 h 417766"/>
                <a:gd name="connsiteX84" fmla="*/ 12478 w 299656"/>
                <a:gd name="connsiteY84" fmla="*/ 22098 h 417766"/>
                <a:gd name="connsiteX85" fmla="*/ 11621 w 299656"/>
                <a:gd name="connsiteY85" fmla="*/ 23146 h 417766"/>
                <a:gd name="connsiteX86" fmla="*/ 11621 w 299656"/>
                <a:gd name="connsiteY86" fmla="*/ 23146 h 417766"/>
                <a:gd name="connsiteX87" fmla="*/ 10763 w 299656"/>
                <a:gd name="connsiteY87" fmla="*/ 24289 h 417766"/>
                <a:gd name="connsiteX88" fmla="*/ 10763 w 299656"/>
                <a:gd name="connsiteY88" fmla="*/ 24289 h 417766"/>
                <a:gd name="connsiteX89" fmla="*/ 10001 w 299656"/>
                <a:gd name="connsiteY89" fmla="*/ 25432 h 417766"/>
                <a:gd name="connsiteX90" fmla="*/ 10001 w 299656"/>
                <a:gd name="connsiteY90" fmla="*/ 25432 h 417766"/>
                <a:gd name="connsiteX91" fmla="*/ 9239 w 299656"/>
                <a:gd name="connsiteY91" fmla="*/ 26575 h 417766"/>
                <a:gd name="connsiteX92" fmla="*/ 9239 w 299656"/>
                <a:gd name="connsiteY92" fmla="*/ 26575 h 417766"/>
                <a:gd name="connsiteX93" fmla="*/ 8477 w 299656"/>
                <a:gd name="connsiteY93" fmla="*/ 27717 h 417766"/>
                <a:gd name="connsiteX94" fmla="*/ 8477 w 299656"/>
                <a:gd name="connsiteY94" fmla="*/ 27717 h 417766"/>
                <a:gd name="connsiteX95" fmla="*/ 7811 w 299656"/>
                <a:gd name="connsiteY95" fmla="*/ 28956 h 417766"/>
                <a:gd name="connsiteX96" fmla="*/ 7811 w 299656"/>
                <a:gd name="connsiteY96" fmla="*/ 28956 h 417766"/>
                <a:gd name="connsiteX97" fmla="*/ 7144 w 299656"/>
                <a:gd name="connsiteY97" fmla="*/ 30194 h 417766"/>
                <a:gd name="connsiteX98" fmla="*/ 7144 w 299656"/>
                <a:gd name="connsiteY98" fmla="*/ 30194 h 417766"/>
                <a:gd name="connsiteX99" fmla="*/ 6477 w 299656"/>
                <a:gd name="connsiteY99" fmla="*/ 31432 h 417766"/>
                <a:gd name="connsiteX100" fmla="*/ 6477 w 299656"/>
                <a:gd name="connsiteY100" fmla="*/ 31432 h 417766"/>
                <a:gd name="connsiteX101" fmla="*/ 5810 w 299656"/>
                <a:gd name="connsiteY101" fmla="*/ 32671 h 417766"/>
                <a:gd name="connsiteX102" fmla="*/ 5810 w 299656"/>
                <a:gd name="connsiteY102" fmla="*/ 32671 h 417766"/>
                <a:gd name="connsiteX103" fmla="*/ 5239 w 299656"/>
                <a:gd name="connsiteY103" fmla="*/ 33909 h 417766"/>
                <a:gd name="connsiteX104" fmla="*/ 5239 w 299656"/>
                <a:gd name="connsiteY104" fmla="*/ 33909 h 417766"/>
                <a:gd name="connsiteX105" fmla="*/ 4667 w 299656"/>
                <a:gd name="connsiteY105" fmla="*/ 35147 h 417766"/>
                <a:gd name="connsiteX106" fmla="*/ 4667 w 299656"/>
                <a:gd name="connsiteY106" fmla="*/ 35147 h 417766"/>
                <a:gd name="connsiteX107" fmla="*/ 4096 w 299656"/>
                <a:gd name="connsiteY107" fmla="*/ 36481 h 417766"/>
                <a:gd name="connsiteX108" fmla="*/ 4096 w 299656"/>
                <a:gd name="connsiteY108" fmla="*/ 36481 h 417766"/>
                <a:gd name="connsiteX109" fmla="*/ 3620 w 299656"/>
                <a:gd name="connsiteY109" fmla="*/ 37814 h 417766"/>
                <a:gd name="connsiteX110" fmla="*/ 3620 w 299656"/>
                <a:gd name="connsiteY110" fmla="*/ 37814 h 417766"/>
                <a:gd name="connsiteX111" fmla="*/ 3143 w 299656"/>
                <a:gd name="connsiteY111" fmla="*/ 39148 h 417766"/>
                <a:gd name="connsiteX112" fmla="*/ 3143 w 299656"/>
                <a:gd name="connsiteY112" fmla="*/ 39148 h 417766"/>
                <a:gd name="connsiteX113" fmla="*/ 2667 w 299656"/>
                <a:gd name="connsiteY113" fmla="*/ 40481 h 417766"/>
                <a:gd name="connsiteX114" fmla="*/ 2667 w 299656"/>
                <a:gd name="connsiteY114" fmla="*/ 40481 h 417766"/>
                <a:gd name="connsiteX115" fmla="*/ 2286 w 299656"/>
                <a:gd name="connsiteY115" fmla="*/ 41815 h 417766"/>
                <a:gd name="connsiteX116" fmla="*/ 2286 w 299656"/>
                <a:gd name="connsiteY116" fmla="*/ 41815 h 417766"/>
                <a:gd name="connsiteX117" fmla="*/ 1905 w 299656"/>
                <a:gd name="connsiteY117" fmla="*/ 43148 h 417766"/>
                <a:gd name="connsiteX118" fmla="*/ 1905 w 299656"/>
                <a:gd name="connsiteY118" fmla="*/ 43148 h 417766"/>
                <a:gd name="connsiteX119" fmla="*/ 1524 w 299656"/>
                <a:gd name="connsiteY119" fmla="*/ 44482 h 417766"/>
                <a:gd name="connsiteX120" fmla="*/ 1524 w 299656"/>
                <a:gd name="connsiteY120" fmla="*/ 44482 h 417766"/>
                <a:gd name="connsiteX121" fmla="*/ 1238 w 299656"/>
                <a:gd name="connsiteY121" fmla="*/ 45910 h 417766"/>
                <a:gd name="connsiteX122" fmla="*/ 1238 w 299656"/>
                <a:gd name="connsiteY122" fmla="*/ 45910 h 417766"/>
                <a:gd name="connsiteX123" fmla="*/ 953 w 299656"/>
                <a:gd name="connsiteY123" fmla="*/ 47339 h 417766"/>
                <a:gd name="connsiteX124" fmla="*/ 953 w 299656"/>
                <a:gd name="connsiteY124" fmla="*/ 47339 h 417766"/>
                <a:gd name="connsiteX125" fmla="*/ 667 w 299656"/>
                <a:gd name="connsiteY125" fmla="*/ 48768 h 417766"/>
                <a:gd name="connsiteX126" fmla="*/ 667 w 299656"/>
                <a:gd name="connsiteY126" fmla="*/ 48768 h 417766"/>
                <a:gd name="connsiteX127" fmla="*/ 476 w 299656"/>
                <a:gd name="connsiteY127" fmla="*/ 50197 h 417766"/>
                <a:gd name="connsiteX128" fmla="*/ 476 w 299656"/>
                <a:gd name="connsiteY128" fmla="*/ 50197 h 417766"/>
                <a:gd name="connsiteX129" fmla="*/ 286 w 299656"/>
                <a:gd name="connsiteY129" fmla="*/ 51625 h 417766"/>
                <a:gd name="connsiteX130" fmla="*/ 286 w 299656"/>
                <a:gd name="connsiteY130" fmla="*/ 51625 h 417766"/>
                <a:gd name="connsiteX131" fmla="*/ 190 w 299656"/>
                <a:gd name="connsiteY131" fmla="*/ 53054 h 417766"/>
                <a:gd name="connsiteX132" fmla="*/ 190 w 299656"/>
                <a:gd name="connsiteY132" fmla="*/ 53054 h 417766"/>
                <a:gd name="connsiteX133" fmla="*/ 95 w 299656"/>
                <a:gd name="connsiteY133" fmla="*/ 54483 h 417766"/>
                <a:gd name="connsiteX134" fmla="*/ 95 w 299656"/>
                <a:gd name="connsiteY134" fmla="*/ 54483 h 417766"/>
                <a:gd name="connsiteX135" fmla="*/ 95 w 299656"/>
                <a:gd name="connsiteY135" fmla="*/ 54959 h 417766"/>
                <a:gd name="connsiteX136" fmla="*/ 0 w 299656"/>
                <a:gd name="connsiteY136" fmla="*/ 56864 h 417766"/>
                <a:gd name="connsiteX137" fmla="*/ 0 w 299656"/>
                <a:gd name="connsiteY137" fmla="*/ 57340 h 417766"/>
                <a:gd name="connsiteX138" fmla="*/ 0 w 299656"/>
                <a:gd name="connsiteY138" fmla="*/ 57340 h 417766"/>
                <a:gd name="connsiteX139" fmla="*/ 0 w 299656"/>
                <a:gd name="connsiteY139" fmla="*/ 77343 h 417766"/>
                <a:gd name="connsiteX140" fmla="*/ 0 w 299656"/>
                <a:gd name="connsiteY140" fmla="*/ 359855 h 417766"/>
                <a:gd name="connsiteX141" fmla="*/ 57626 w 299656"/>
                <a:gd name="connsiteY141" fmla="*/ 417767 h 417766"/>
                <a:gd name="connsiteX142" fmla="*/ 57626 w 299656"/>
                <a:gd name="connsiteY142" fmla="*/ 417767 h 417766"/>
                <a:gd name="connsiteX143" fmla="*/ 57626 w 299656"/>
                <a:gd name="connsiteY143" fmla="*/ 0 h 417766"/>
                <a:gd name="connsiteX144" fmla="*/ 57626 w 299656"/>
                <a:gd name="connsiteY144" fmla="*/ 0 h 417766"/>
                <a:gd name="connsiteX145" fmla="*/ 57626 w 299656"/>
                <a:gd name="connsiteY145" fmla="*/ 0 h 41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299656" h="417766">
                  <a:moveTo>
                    <a:pt x="57626" y="417767"/>
                  </a:moveTo>
                  <a:lnTo>
                    <a:pt x="77629" y="417767"/>
                  </a:lnTo>
                  <a:cubicBezTo>
                    <a:pt x="109347" y="417767"/>
                    <a:pt x="135255" y="391858"/>
                    <a:pt x="135255" y="360140"/>
                  </a:cubicBezTo>
                  <a:lnTo>
                    <a:pt x="135255" y="216217"/>
                  </a:lnTo>
                  <a:cubicBezTo>
                    <a:pt x="135255" y="171640"/>
                    <a:pt x="171640" y="135255"/>
                    <a:pt x="216218" y="135255"/>
                  </a:cubicBezTo>
                  <a:lnTo>
                    <a:pt x="242030" y="135255"/>
                  </a:lnTo>
                  <a:cubicBezTo>
                    <a:pt x="273748" y="135255"/>
                    <a:pt x="299656" y="109347"/>
                    <a:pt x="299656" y="77629"/>
                  </a:cubicBezTo>
                  <a:lnTo>
                    <a:pt x="299656" y="57626"/>
                  </a:lnTo>
                  <a:cubicBezTo>
                    <a:pt x="299656" y="25908"/>
                    <a:pt x="273748" y="0"/>
                    <a:pt x="242030" y="0"/>
                  </a:cubicBezTo>
                  <a:lnTo>
                    <a:pt x="77629" y="0"/>
                  </a:lnTo>
                  <a:lnTo>
                    <a:pt x="57626" y="0"/>
                  </a:lnTo>
                  <a:lnTo>
                    <a:pt x="56197" y="0"/>
                  </a:lnTo>
                  <a:lnTo>
                    <a:pt x="56197" y="0"/>
                  </a:lnTo>
                  <a:lnTo>
                    <a:pt x="54769" y="95"/>
                  </a:lnTo>
                  <a:lnTo>
                    <a:pt x="54769" y="95"/>
                  </a:lnTo>
                  <a:lnTo>
                    <a:pt x="53340" y="190"/>
                  </a:lnTo>
                  <a:lnTo>
                    <a:pt x="53340" y="190"/>
                  </a:lnTo>
                  <a:lnTo>
                    <a:pt x="51911" y="286"/>
                  </a:lnTo>
                  <a:lnTo>
                    <a:pt x="51911" y="286"/>
                  </a:lnTo>
                  <a:lnTo>
                    <a:pt x="50482" y="476"/>
                  </a:lnTo>
                  <a:lnTo>
                    <a:pt x="50482" y="476"/>
                  </a:lnTo>
                  <a:lnTo>
                    <a:pt x="49054" y="667"/>
                  </a:lnTo>
                  <a:lnTo>
                    <a:pt x="49054" y="667"/>
                  </a:lnTo>
                  <a:lnTo>
                    <a:pt x="47625" y="857"/>
                  </a:lnTo>
                  <a:lnTo>
                    <a:pt x="47625" y="857"/>
                  </a:lnTo>
                  <a:cubicBezTo>
                    <a:pt x="47149" y="952"/>
                    <a:pt x="46672" y="1048"/>
                    <a:pt x="46196" y="1143"/>
                  </a:cubicBezTo>
                  <a:lnTo>
                    <a:pt x="46196" y="1143"/>
                  </a:lnTo>
                  <a:lnTo>
                    <a:pt x="44768" y="1429"/>
                  </a:lnTo>
                  <a:lnTo>
                    <a:pt x="44768" y="1429"/>
                  </a:lnTo>
                  <a:lnTo>
                    <a:pt x="43339" y="1809"/>
                  </a:lnTo>
                  <a:lnTo>
                    <a:pt x="43339" y="1809"/>
                  </a:lnTo>
                  <a:lnTo>
                    <a:pt x="42005" y="2191"/>
                  </a:lnTo>
                  <a:lnTo>
                    <a:pt x="42005" y="2191"/>
                  </a:lnTo>
                  <a:lnTo>
                    <a:pt x="40672" y="2572"/>
                  </a:lnTo>
                  <a:lnTo>
                    <a:pt x="40672" y="2572"/>
                  </a:lnTo>
                  <a:lnTo>
                    <a:pt x="39338" y="3048"/>
                  </a:lnTo>
                  <a:lnTo>
                    <a:pt x="39338" y="3048"/>
                  </a:lnTo>
                  <a:lnTo>
                    <a:pt x="38005" y="3524"/>
                  </a:lnTo>
                  <a:lnTo>
                    <a:pt x="38005" y="3524"/>
                  </a:lnTo>
                  <a:lnTo>
                    <a:pt x="36671" y="4000"/>
                  </a:lnTo>
                  <a:lnTo>
                    <a:pt x="36671" y="4000"/>
                  </a:lnTo>
                  <a:lnTo>
                    <a:pt x="35338" y="4572"/>
                  </a:lnTo>
                  <a:lnTo>
                    <a:pt x="35338" y="4572"/>
                  </a:lnTo>
                  <a:lnTo>
                    <a:pt x="34099" y="5143"/>
                  </a:lnTo>
                  <a:lnTo>
                    <a:pt x="34099" y="5143"/>
                  </a:lnTo>
                  <a:lnTo>
                    <a:pt x="32861" y="5715"/>
                  </a:lnTo>
                  <a:lnTo>
                    <a:pt x="32861" y="5715"/>
                  </a:lnTo>
                  <a:lnTo>
                    <a:pt x="31623" y="6382"/>
                  </a:lnTo>
                  <a:lnTo>
                    <a:pt x="31623" y="6382"/>
                  </a:lnTo>
                  <a:cubicBezTo>
                    <a:pt x="31242" y="6572"/>
                    <a:pt x="30766" y="6763"/>
                    <a:pt x="30385" y="7048"/>
                  </a:cubicBezTo>
                  <a:lnTo>
                    <a:pt x="30385" y="7048"/>
                  </a:lnTo>
                  <a:lnTo>
                    <a:pt x="29146" y="7715"/>
                  </a:lnTo>
                  <a:lnTo>
                    <a:pt x="29146" y="7715"/>
                  </a:lnTo>
                  <a:cubicBezTo>
                    <a:pt x="28765" y="7906"/>
                    <a:pt x="28385" y="8191"/>
                    <a:pt x="27908" y="8382"/>
                  </a:cubicBezTo>
                  <a:lnTo>
                    <a:pt x="27908" y="8382"/>
                  </a:lnTo>
                  <a:lnTo>
                    <a:pt x="26765" y="9144"/>
                  </a:lnTo>
                  <a:lnTo>
                    <a:pt x="26765" y="9144"/>
                  </a:lnTo>
                  <a:lnTo>
                    <a:pt x="25622" y="9906"/>
                  </a:lnTo>
                  <a:lnTo>
                    <a:pt x="25622" y="9906"/>
                  </a:lnTo>
                  <a:lnTo>
                    <a:pt x="24479" y="10668"/>
                  </a:lnTo>
                  <a:lnTo>
                    <a:pt x="24479" y="10668"/>
                  </a:lnTo>
                  <a:lnTo>
                    <a:pt x="23336" y="11525"/>
                  </a:lnTo>
                  <a:lnTo>
                    <a:pt x="23336" y="11525"/>
                  </a:lnTo>
                  <a:lnTo>
                    <a:pt x="22193" y="12382"/>
                  </a:lnTo>
                  <a:lnTo>
                    <a:pt x="22193" y="12382"/>
                  </a:lnTo>
                  <a:cubicBezTo>
                    <a:pt x="21812" y="12668"/>
                    <a:pt x="21431" y="12954"/>
                    <a:pt x="21146" y="13240"/>
                  </a:cubicBezTo>
                  <a:lnTo>
                    <a:pt x="21146" y="13240"/>
                  </a:lnTo>
                  <a:lnTo>
                    <a:pt x="20098" y="14097"/>
                  </a:lnTo>
                  <a:lnTo>
                    <a:pt x="20098" y="14097"/>
                  </a:lnTo>
                  <a:lnTo>
                    <a:pt x="19050" y="15049"/>
                  </a:lnTo>
                  <a:lnTo>
                    <a:pt x="19050" y="15049"/>
                  </a:lnTo>
                  <a:lnTo>
                    <a:pt x="18002" y="16002"/>
                  </a:lnTo>
                  <a:lnTo>
                    <a:pt x="18002" y="16002"/>
                  </a:lnTo>
                  <a:lnTo>
                    <a:pt x="17050" y="16954"/>
                  </a:lnTo>
                  <a:lnTo>
                    <a:pt x="17050" y="16954"/>
                  </a:lnTo>
                  <a:lnTo>
                    <a:pt x="16097" y="17907"/>
                  </a:lnTo>
                  <a:lnTo>
                    <a:pt x="16097" y="17907"/>
                  </a:lnTo>
                  <a:lnTo>
                    <a:pt x="15145" y="18955"/>
                  </a:lnTo>
                  <a:lnTo>
                    <a:pt x="15145" y="18955"/>
                  </a:lnTo>
                  <a:lnTo>
                    <a:pt x="14192" y="20002"/>
                  </a:lnTo>
                  <a:lnTo>
                    <a:pt x="14192" y="20002"/>
                  </a:lnTo>
                  <a:lnTo>
                    <a:pt x="13335" y="21050"/>
                  </a:lnTo>
                  <a:lnTo>
                    <a:pt x="13335" y="21050"/>
                  </a:lnTo>
                  <a:cubicBezTo>
                    <a:pt x="13049" y="21431"/>
                    <a:pt x="12763" y="21812"/>
                    <a:pt x="12478" y="22098"/>
                  </a:cubicBezTo>
                  <a:lnTo>
                    <a:pt x="12478" y="22098"/>
                  </a:lnTo>
                  <a:cubicBezTo>
                    <a:pt x="12192" y="22479"/>
                    <a:pt x="11906" y="22860"/>
                    <a:pt x="11621" y="23146"/>
                  </a:cubicBezTo>
                  <a:lnTo>
                    <a:pt x="11621" y="23146"/>
                  </a:lnTo>
                  <a:lnTo>
                    <a:pt x="10763" y="24289"/>
                  </a:lnTo>
                  <a:lnTo>
                    <a:pt x="10763" y="24289"/>
                  </a:lnTo>
                  <a:lnTo>
                    <a:pt x="10001" y="25432"/>
                  </a:lnTo>
                  <a:lnTo>
                    <a:pt x="10001" y="25432"/>
                  </a:lnTo>
                  <a:lnTo>
                    <a:pt x="9239" y="26575"/>
                  </a:lnTo>
                  <a:lnTo>
                    <a:pt x="9239" y="26575"/>
                  </a:lnTo>
                  <a:lnTo>
                    <a:pt x="8477" y="27717"/>
                  </a:lnTo>
                  <a:lnTo>
                    <a:pt x="8477" y="27717"/>
                  </a:lnTo>
                  <a:lnTo>
                    <a:pt x="7811" y="28956"/>
                  </a:lnTo>
                  <a:lnTo>
                    <a:pt x="7811" y="28956"/>
                  </a:lnTo>
                  <a:lnTo>
                    <a:pt x="7144" y="30194"/>
                  </a:lnTo>
                  <a:lnTo>
                    <a:pt x="7144" y="30194"/>
                  </a:lnTo>
                  <a:lnTo>
                    <a:pt x="6477" y="31432"/>
                  </a:lnTo>
                  <a:lnTo>
                    <a:pt x="6477" y="31432"/>
                  </a:lnTo>
                  <a:lnTo>
                    <a:pt x="5810" y="32671"/>
                  </a:lnTo>
                  <a:lnTo>
                    <a:pt x="5810" y="32671"/>
                  </a:lnTo>
                  <a:lnTo>
                    <a:pt x="5239" y="33909"/>
                  </a:lnTo>
                  <a:lnTo>
                    <a:pt x="5239" y="33909"/>
                  </a:lnTo>
                  <a:cubicBezTo>
                    <a:pt x="5048" y="34290"/>
                    <a:pt x="4858" y="34766"/>
                    <a:pt x="4667" y="35147"/>
                  </a:cubicBezTo>
                  <a:lnTo>
                    <a:pt x="4667" y="35147"/>
                  </a:lnTo>
                  <a:lnTo>
                    <a:pt x="4096" y="36481"/>
                  </a:lnTo>
                  <a:lnTo>
                    <a:pt x="4096" y="36481"/>
                  </a:lnTo>
                  <a:lnTo>
                    <a:pt x="3620" y="37814"/>
                  </a:lnTo>
                  <a:lnTo>
                    <a:pt x="3620" y="37814"/>
                  </a:lnTo>
                  <a:lnTo>
                    <a:pt x="3143" y="39148"/>
                  </a:lnTo>
                  <a:lnTo>
                    <a:pt x="3143" y="39148"/>
                  </a:lnTo>
                  <a:lnTo>
                    <a:pt x="2667" y="40481"/>
                  </a:lnTo>
                  <a:lnTo>
                    <a:pt x="2667" y="40481"/>
                  </a:lnTo>
                  <a:lnTo>
                    <a:pt x="2286" y="41815"/>
                  </a:lnTo>
                  <a:lnTo>
                    <a:pt x="2286" y="41815"/>
                  </a:lnTo>
                  <a:lnTo>
                    <a:pt x="1905" y="43148"/>
                  </a:lnTo>
                  <a:lnTo>
                    <a:pt x="1905" y="43148"/>
                  </a:lnTo>
                  <a:lnTo>
                    <a:pt x="1524" y="44482"/>
                  </a:lnTo>
                  <a:lnTo>
                    <a:pt x="1524" y="44482"/>
                  </a:lnTo>
                  <a:lnTo>
                    <a:pt x="1238" y="45910"/>
                  </a:lnTo>
                  <a:lnTo>
                    <a:pt x="1238" y="45910"/>
                  </a:lnTo>
                  <a:cubicBezTo>
                    <a:pt x="1143" y="46387"/>
                    <a:pt x="1048" y="46863"/>
                    <a:pt x="953" y="47339"/>
                  </a:cubicBezTo>
                  <a:lnTo>
                    <a:pt x="953" y="47339"/>
                  </a:lnTo>
                  <a:lnTo>
                    <a:pt x="667" y="48768"/>
                  </a:lnTo>
                  <a:lnTo>
                    <a:pt x="667" y="48768"/>
                  </a:lnTo>
                  <a:lnTo>
                    <a:pt x="476" y="50197"/>
                  </a:lnTo>
                  <a:lnTo>
                    <a:pt x="476" y="50197"/>
                  </a:lnTo>
                  <a:lnTo>
                    <a:pt x="286" y="51625"/>
                  </a:lnTo>
                  <a:lnTo>
                    <a:pt x="286" y="51625"/>
                  </a:lnTo>
                  <a:lnTo>
                    <a:pt x="190" y="53054"/>
                  </a:lnTo>
                  <a:lnTo>
                    <a:pt x="190" y="53054"/>
                  </a:lnTo>
                  <a:lnTo>
                    <a:pt x="95" y="54483"/>
                  </a:lnTo>
                  <a:lnTo>
                    <a:pt x="95" y="54483"/>
                  </a:lnTo>
                  <a:lnTo>
                    <a:pt x="95" y="54959"/>
                  </a:lnTo>
                  <a:cubicBezTo>
                    <a:pt x="95" y="55626"/>
                    <a:pt x="95" y="56197"/>
                    <a:pt x="0" y="56864"/>
                  </a:cubicBezTo>
                  <a:lnTo>
                    <a:pt x="0" y="57340"/>
                  </a:lnTo>
                  <a:lnTo>
                    <a:pt x="0" y="57340"/>
                  </a:lnTo>
                  <a:lnTo>
                    <a:pt x="0" y="77343"/>
                  </a:lnTo>
                  <a:lnTo>
                    <a:pt x="0" y="359855"/>
                  </a:lnTo>
                  <a:cubicBezTo>
                    <a:pt x="0" y="391858"/>
                    <a:pt x="25908" y="417767"/>
                    <a:pt x="57626" y="417767"/>
                  </a:cubicBezTo>
                  <a:lnTo>
                    <a:pt x="57626" y="417767"/>
                  </a:lnTo>
                  <a:close/>
                  <a:moveTo>
                    <a:pt x="57626" y="0"/>
                  </a:moveTo>
                  <a:lnTo>
                    <a:pt x="57626" y="0"/>
                  </a:lnTo>
                  <a:lnTo>
                    <a:pt x="57626"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45" name="Freeform: Shape 186">
              <a:extLst>
                <a:ext uri="{FF2B5EF4-FFF2-40B4-BE49-F238E27FC236}">
                  <a16:creationId xmlns:a16="http://schemas.microsoft.com/office/drawing/2014/main" id="{6FB14CDB-CB9C-C172-937C-7D1B4B5C381D}"/>
                </a:ext>
              </a:extLst>
            </p:cNvPr>
            <p:cNvSpPr/>
            <p:nvPr/>
          </p:nvSpPr>
          <p:spPr>
            <a:xfrm>
              <a:off x="75454" y="4553410"/>
              <a:ext cx="628078" cy="867822"/>
            </a:xfrm>
            <a:custGeom>
              <a:avLst/>
              <a:gdLst>
                <a:gd name="connsiteX0" fmla="*/ 550069 w 628078"/>
                <a:gd name="connsiteY0" fmla="*/ 300609 h 867822"/>
                <a:gd name="connsiteX1" fmla="*/ 570452 w 628078"/>
                <a:gd name="connsiteY1" fmla="*/ 300609 h 867822"/>
                <a:gd name="connsiteX2" fmla="*/ 628079 w 628078"/>
                <a:gd name="connsiteY2" fmla="*/ 242983 h 867822"/>
                <a:gd name="connsiteX3" fmla="*/ 628079 w 628078"/>
                <a:gd name="connsiteY3" fmla="*/ 57626 h 867822"/>
                <a:gd name="connsiteX4" fmla="*/ 570452 w 628078"/>
                <a:gd name="connsiteY4" fmla="*/ 0 h 867822"/>
                <a:gd name="connsiteX5" fmla="*/ 216599 w 628078"/>
                <a:gd name="connsiteY5" fmla="*/ 0 h 867822"/>
                <a:gd name="connsiteX6" fmla="*/ 158972 w 628078"/>
                <a:gd name="connsiteY6" fmla="*/ 857 h 867822"/>
                <a:gd name="connsiteX7" fmla="*/ 158972 w 628078"/>
                <a:gd name="connsiteY7" fmla="*/ 212884 h 867822"/>
                <a:gd name="connsiteX8" fmla="*/ 78010 w 628078"/>
                <a:gd name="connsiteY8" fmla="*/ 293846 h 867822"/>
                <a:gd name="connsiteX9" fmla="*/ 57626 w 628078"/>
                <a:gd name="connsiteY9" fmla="*/ 293846 h 867822"/>
                <a:gd name="connsiteX10" fmla="*/ 0 w 628078"/>
                <a:gd name="connsiteY10" fmla="*/ 352901 h 867822"/>
                <a:gd name="connsiteX11" fmla="*/ 0 w 628078"/>
                <a:gd name="connsiteY11" fmla="*/ 464153 h 867822"/>
                <a:gd name="connsiteX12" fmla="*/ 0 w 628078"/>
                <a:gd name="connsiteY12" fmla="*/ 520351 h 867822"/>
                <a:gd name="connsiteX13" fmla="*/ 0 w 628078"/>
                <a:gd name="connsiteY13" fmla="*/ 810197 h 867822"/>
                <a:gd name="connsiteX14" fmla="*/ 57626 w 628078"/>
                <a:gd name="connsiteY14" fmla="*/ 867823 h 867822"/>
                <a:gd name="connsiteX15" fmla="*/ 252413 w 628078"/>
                <a:gd name="connsiteY15" fmla="*/ 867823 h 867822"/>
                <a:gd name="connsiteX16" fmla="*/ 310039 w 628078"/>
                <a:gd name="connsiteY16" fmla="*/ 866965 h 867822"/>
                <a:gd name="connsiteX17" fmla="*/ 310039 w 628078"/>
                <a:gd name="connsiteY17" fmla="*/ 660559 h 867822"/>
                <a:gd name="connsiteX18" fmla="*/ 391001 w 628078"/>
                <a:gd name="connsiteY18" fmla="*/ 579596 h 867822"/>
                <a:gd name="connsiteX19" fmla="*/ 411385 w 628078"/>
                <a:gd name="connsiteY19" fmla="*/ 579596 h 867822"/>
                <a:gd name="connsiteX20" fmla="*/ 469011 w 628078"/>
                <a:gd name="connsiteY20" fmla="*/ 520541 h 867822"/>
                <a:gd name="connsiteX21" fmla="*/ 469011 w 628078"/>
                <a:gd name="connsiteY21" fmla="*/ 381667 h 867822"/>
                <a:gd name="connsiteX22" fmla="*/ 550069 w 628078"/>
                <a:gd name="connsiteY22" fmla="*/ 300609 h 867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8078" h="867822">
                  <a:moveTo>
                    <a:pt x="550069" y="300609"/>
                  </a:moveTo>
                  <a:lnTo>
                    <a:pt x="570452" y="300609"/>
                  </a:lnTo>
                  <a:cubicBezTo>
                    <a:pt x="602171" y="300609"/>
                    <a:pt x="628079" y="274701"/>
                    <a:pt x="628079" y="242983"/>
                  </a:cubicBezTo>
                  <a:lnTo>
                    <a:pt x="628079" y="57626"/>
                  </a:lnTo>
                  <a:cubicBezTo>
                    <a:pt x="628079" y="25908"/>
                    <a:pt x="602171" y="0"/>
                    <a:pt x="570452" y="0"/>
                  </a:cubicBezTo>
                  <a:lnTo>
                    <a:pt x="216599" y="0"/>
                  </a:lnTo>
                  <a:lnTo>
                    <a:pt x="158972" y="857"/>
                  </a:lnTo>
                  <a:lnTo>
                    <a:pt x="158972" y="212884"/>
                  </a:lnTo>
                  <a:cubicBezTo>
                    <a:pt x="158972" y="257461"/>
                    <a:pt x="122587" y="293846"/>
                    <a:pt x="78010" y="293846"/>
                  </a:cubicBezTo>
                  <a:lnTo>
                    <a:pt x="57626" y="293846"/>
                  </a:lnTo>
                  <a:cubicBezTo>
                    <a:pt x="25908" y="293846"/>
                    <a:pt x="0" y="320421"/>
                    <a:pt x="0" y="352901"/>
                  </a:cubicBezTo>
                  <a:lnTo>
                    <a:pt x="0" y="464153"/>
                  </a:lnTo>
                  <a:lnTo>
                    <a:pt x="0" y="520351"/>
                  </a:lnTo>
                  <a:lnTo>
                    <a:pt x="0" y="810197"/>
                  </a:lnTo>
                  <a:cubicBezTo>
                    <a:pt x="0" y="841915"/>
                    <a:pt x="25908" y="867823"/>
                    <a:pt x="57626" y="867823"/>
                  </a:cubicBezTo>
                  <a:lnTo>
                    <a:pt x="252413" y="867823"/>
                  </a:lnTo>
                  <a:lnTo>
                    <a:pt x="310039" y="866965"/>
                  </a:lnTo>
                  <a:lnTo>
                    <a:pt x="310039" y="660559"/>
                  </a:lnTo>
                  <a:cubicBezTo>
                    <a:pt x="310039" y="615982"/>
                    <a:pt x="346424" y="579596"/>
                    <a:pt x="391001" y="579596"/>
                  </a:cubicBezTo>
                  <a:lnTo>
                    <a:pt x="411385" y="579596"/>
                  </a:lnTo>
                  <a:cubicBezTo>
                    <a:pt x="443103" y="579596"/>
                    <a:pt x="469011" y="553022"/>
                    <a:pt x="469011" y="520541"/>
                  </a:cubicBezTo>
                  <a:lnTo>
                    <a:pt x="469011" y="381667"/>
                  </a:lnTo>
                  <a:cubicBezTo>
                    <a:pt x="469011" y="336995"/>
                    <a:pt x="505397" y="300609"/>
                    <a:pt x="550069" y="300609"/>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46" name="Freeform: Shape 187">
              <a:extLst>
                <a:ext uri="{FF2B5EF4-FFF2-40B4-BE49-F238E27FC236}">
                  <a16:creationId xmlns:a16="http://schemas.microsoft.com/office/drawing/2014/main" id="{B8A51132-2CD4-8FEB-6D93-83F1AA224723}"/>
                </a:ext>
              </a:extLst>
            </p:cNvPr>
            <p:cNvSpPr/>
            <p:nvPr/>
          </p:nvSpPr>
          <p:spPr>
            <a:xfrm>
              <a:off x="234712" y="4126976"/>
              <a:ext cx="1892046" cy="1432274"/>
            </a:xfrm>
            <a:custGeom>
              <a:avLst/>
              <a:gdLst>
                <a:gd name="connsiteX0" fmla="*/ 388906 w 1892046"/>
                <a:gd name="connsiteY0" fmla="*/ 1432274 h 1432274"/>
                <a:gd name="connsiteX1" fmla="*/ 542068 w 1892046"/>
                <a:gd name="connsiteY1" fmla="*/ 1432274 h 1432274"/>
                <a:gd name="connsiteX2" fmla="*/ 624364 w 1892046"/>
                <a:gd name="connsiteY2" fmla="*/ 1362266 h 1432274"/>
                <a:gd name="connsiteX3" fmla="*/ 704279 w 1892046"/>
                <a:gd name="connsiteY3" fmla="*/ 1294352 h 1432274"/>
                <a:gd name="connsiteX4" fmla="*/ 1017461 w 1892046"/>
                <a:gd name="connsiteY4" fmla="*/ 1294352 h 1432274"/>
                <a:gd name="connsiteX5" fmla="*/ 1100042 w 1892046"/>
                <a:gd name="connsiteY5" fmla="*/ 1222724 h 1432274"/>
                <a:gd name="connsiteX6" fmla="*/ 1177576 w 1892046"/>
                <a:gd name="connsiteY6" fmla="*/ 1153287 h 1432274"/>
                <a:gd name="connsiteX7" fmla="*/ 1258253 w 1892046"/>
                <a:gd name="connsiteY7" fmla="*/ 1069943 h 1432274"/>
                <a:gd name="connsiteX8" fmla="*/ 1258253 w 1892046"/>
                <a:gd name="connsiteY8" fmla="*/ 796194 h 1432274"/>
                <a:gd name="connsiteX9" fmla="*/ 1337405 w 1892046"/>
                <a:gd name="connsiteY9" fmla="*/ 715232 h 1432274"/>
                <a:gd name="connsiteX10" fmla="*/ 1417701 w 1892046"/>
                <a:gd name="connsiteY10" fmla="*/ 645605 h 1432274"/>
                <a:gd name="connsiteX11" fmla="*/ 1495235 w 1892046"/>
                <a:gd name="connsiteY11" fmla="*/ 578072 h 1432274"/>
                <a:gd name="connsiteX12" fmla="*/ 1576292 w 1892046"/>
                <a:gd name="connsiteY12" fmla="*/ 495681 h 1432274"/>
                <a:gd name="connsiteX13" fmla="*/ 1657255 w 1892046"/>
                <a:gd name="connsiteY13" fmla="*/ 415671 h 1432274"/>
                <a:gd name="connsiteX14" fmla="*/ 1833658 w 1892046"/>
                <a:gd name="connsiteY14" fmla="*/ 415671 h 1432274"/>
                <a:gd name="connsiteX15" fmla="*/ 1892046 w 1892046"/>
                <a:gd name="connsiteY15" fmla="*/ 363188 h 1432274"/>
                <a:gd name="connsiteX16" fmla="*/ 1891951 w 1892046"/>
                <a:gd name="connsiteY16" fmla="*/ 273177 h 1432274"/>
                <a:gd name="connsiteX17" fmla="*/ 1630299 w 1892046"/>
                <a:gd name="connsiteY17" fmla="*/ 273844 h 1432274"/>
                <a:gd name="connsiteX18" fmla="*/ 1572673 w 1892046"/>
                <a:gd name="connsiteY18" fmla="*/ 216217 h 1432274"/>
                <a:gd name="connsiteX19" fmla="*/ 1572673 w 1892046"/>
                <a:gd name="connsiteY19" fmla="*/ 215551 h 1432274"/>
                <a:gd name="connsiteX20" fmla="*/ 1572387 w 1892046"/>
                <a:gd name="connsiteY20" fmla="*/ 215551 h 1432274"/>
                <a:gd name="connsiteX21" fmla="*/ 1572387 w 1892046"/>
                <a:gd name="connsiteY21" fmla="*/ 194691 h 1432274"/>
                <a:gd name="connsiteX22" fmla="*/ 1514761 w 1892046"/>
                <a:gd name="connsiteY22" fmla="*/ 137065 h 1432274"/>
                <a:gd name="connsiteX23" fmla="*/ 1028795 w 1892046"/>
                <a:gd name="connsiteY23" fmla="*/ 137065 h 1432274"/>
                <a:gd name="connsiteX24" fmla="*/ 1028986 w 1892046"/>
                <a:gd name="connsiteY24" fmla="*/ 137065 h 1432274"/>
                <a:gd name="connsiteX25" fmla="*/ 852869 w 1892046"/>
                <a:gd name="connsiteY25" fmla="*/ 137065 h 1432274"/>
                <a:gd name="connsiteX26" fmla="*/ 771906 w 1892046"/>
                <a:gd name="connsiteY26" fmla="*/ 56959 h 1432274"/>
                <a:gd name="connsiteX27" fmla="*/ 714280 w 1892046"/>
                <a:gd name="connsiteY27" fmla="*/ 0 h 1432274"/>
                <a:gd name="connsiteX28" fmla="*/ 57626 w 1892046"/>
                <a:gd name="connsiteY28" fmla="*/ 0 h 1432274"/>
                <a:gd name="connsiteX29" fmla="*/ 0 w 1892046"/>
                <a:gd name="connsiteY29" fmla="*/ 57626 h 1432274"/>
                <a:gd name="connsiteX30" fmla="*/ 0 w 1892046"/>
                <a:gd name="connsiteY30" fmla="*/ 288798 h 1432274"/>
                <a:gd name="connsiteX31" fmla="*/ 95 w 1892046"/>
                <a:gd name="connsiteY31" fmla="*/ 291655 h 1432274"/>
                <a:gd name="connsiteX32" fmla="*/ 95 w 1892046"/>
                <a:gd name="connsiteY32" fmla="*/ 299656 h 1432274"/>
                <a:gd name="connsiteX33" fmla="*/ 0 w 1892046"/>
                <a:gd name="connsiteY33" fmla="*/ 303466 h 1432274"/>
                <a:gd name="connsiteX34" fmla="*/ 0 w 1892046"/>
                <a:gd name="connsiteY34" fmla="*/ 427387 h 1432274"/>
                <a:gd name="connsiteX35" fmla="*/ 57341 w 1892046"/>
                <a:gd name="connsiteY35" fmla="*/ 426530 h 1432274"/>
                <a:gd name="connsiteX36" fmla="*/ 411099 w 1892046"/>
                <a:gd name="connsiteY36" fmla="*/ 426530 h 1432274"/>
                <a:gd name="connsiteX37" fmla="*/ 468725 w 1892046"/>
                <a:gd name="connsiteY37" fmla="*/ 484156 h 1432274"/>
                <a:gd name="connsiteX38" fmla="*/ 468725 w 1892046"/>
                <a:gd name="connsiteY38" fmla="*/ 669512 h 1432274"/>
                <a:gd name="connsiteX39" fmla="*/ 411099 w 1892046"/>
                <a:gd name="connsiteY39" fmla="*/ 727138 h 1432274"/>
                <a:gd name="connsiteX40" fmla="*/ 390716 w 1892046"/>
                <a:gd name="connsiteY40" fmla="*/ 727138 h 1432274"/>
                <a:gd name="connsiteX41" fmla="*/ 309753 w 1892046"/>
                <a:gd name="connsiteY41" fmla="*/ 808101 h 1432274"/>
                <a:gd name="connsiteX42" fmla="*/ 309753 w 1892046"/>
                <a:gd name="connsiteY42" fmla="*/ 946975 h 1432274"/>
                <a:gd name="connsiteX43" fmla="*/ 252127 w 1892046"/>
                <a:gd name="connsiteY43" fmla="*/ 1006030 h 1432274"/>
                <a:gd name="connsiteX44" fmla="*/ 231743 w 1892046"/>
                <a:gd name="connsiteY44" fmla="*/ 1006030 h 1432274"/>
                <a:gd name="connsiteX45" fmla="*/ 150781 w 1892046"/>
                <a:gd name="connsiteY45" fmla="*/ 1086993 h 1432274"/>
                <a:gd name="connsiteX46" fmla="*/ 150781 w 1892046"/>
                <a:gd name="connsiteY46" fmla="*/ 1293495 h 1432274"/>
                <a:gd name="connsiteX47" fmla="*/ 107347 w 1892046"/>
                <a:gd name="connsiteY47" fmla="*/ 1294162 h 1432274"/>
                <a:gd name="connsiteX48" fmla="*/ 113348 w 1892046"/>
                <a:gd name="connsiteY48" fmla="*/ 1294352 h 1432274"/>
                <a:gd name="connsiteX49" fmla="*/ 226600 w 1892046"/>
                <a:gd name="connsiteY49" fmla="*/ 1294352 h 1432274"/>
                <a:gd name="connsiteX50" fmla="*/ 306515 w 1892046"/>
                <a:gd name="connsiteY50" fmla="*/ 1362266 h 1432274"/>
                <a:gd name="connsiteX51" fmla="*/ 388906 w 1892046"/>
                <a:gd name="connsiteY51" fmla="*/ 1432274 h 1432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892046" h="1432274">
                  <a:moveTo>
                    <a:pt x="388906" y="1432274"/>
                  </a:moveTo>
                  <a:lnTo>
                    <a:pt x="542068" y="1432274"/>
                  </a:lnTo>
                  <a:cubicBezTo>
                    <a:pt x="583406" y="1432274"/>
                    <a:pt x="617982" y="1401794"/>
                    <a:pt x="624364" y="1362266"/>
                  </a:cubicBezTo>
                  <a:cubicBezTo>
                    <a:pt x="630841" y="1322737"/>
                    <a:pt x="664274" y="1294352"/>
                    <a:pt x="704279" y="1294352"/>
                  </a:cubicBezTo>
                  <a:lnTo>
                    <a:pt x="1017461" y="1294352"/>
                  </a:lnTo>
                  <a:cubicBezTo>
                    <a:pt x="1059371" y="1294352"/>
                    <a:pt x="1094232" y="1263110"/>
                    <a:pt x="1100042" y="1222724"/>
                  </a:cubicBezTo>
                  <a:cubicBezTo>
                    <a:pt x="1105662" y="1183481"/>
                    <a:pt x="1137952" y="1154526"/>
                    <a:pt x="1177576" y="1153287"/>
                  </a:cubicBezTo>
                  <a:cubicBezTo>
                    <a:pt x="1222248" y="1151858"/>
                    <a:pt x="1258253" y="1114901"/>
                    <a:pt x="1258253" y="1069943"/>
                  </a:cubicBezTo>
                  <a:lnTo>
                    <a:pt x="1258253" y="796194"/>
                  </a:lnTo>
                  <a:cubicBezTo>
                    <a:pt x="1258253" y="752284"/>
                    <a:pt x="1293400" y="716280"/>
                    <a:pt x="1337405" y="715232"/>
                  </a:cubicBezTo>
                  <a:cubicBezTo>
                    <a:pt x="1377696" y="714280"/>
                    <a:pt x="1411224" y="684371"/>
                    <a:pt x="1417701" y="645605"/>
                  </a:cubicBezTo>
                  <a:cubicBezTo>
                    <a:pt x="1424178" y="607123"/>
                    <a:pt x="1456182" y="579215"/>
                    <a:pt x="1495235" y="578072"/>
                  </a:cubicBezTo>
                  <a:cubicBezTo>
                    <a:pt x="1539716" y="576834"/>
                    <a:pt x="1575721" y="540353"/>
                    <a:pt x="1576292" y="495681"/>
                  </a:cubicBezTo>
                  <a:cubicBezTo>
                    <a:pt x="1576864" y="451390"/>
                    <a:pt x="1613059" y="415671"/>
                    <a:pt x="1657255" y="415671"/>
                  </a:cubicBezTo>
                  <a:lnTo>
                    <a:pt x="1833658" y="415671"/>
                  </a:lnTo>
                  <a:cubicBezTo>
                    <a:pt x="1865376" y="415671"/>
                    <a:pt x="1892141" y="395002"/>
                    <a:pt x="1892046" y="363188"/>
                  </a:cubicBezTo>
                  <a:lnTo>
                    <a:pt x="1891951" y="273177"/>
                  </a:lnTo>
                  <a:cubicBezTo>
                    <a:pt x="1804130" y="273177"/>
                    <a:pt x="1718215" y="273844"/>
                    <a:pt x="1630299" y="273844"/>
                  </a:cubicBezTo>
                  <a:cubicBezTo>
                    <a:pt x="1598581" y="273844"/>
                    <a:pt x="1572673" y="247936"/>
                    <a:pt x="1572673" y="216217"/>
                  </a:cubicBezTo>
                  <a:lnTo>
                    <a:pt x="1572673" y="215551"/>
                  </a:lnTo>
                  <a:lnTo>
                    <a:pt x="1572387" y="215551"/>
                  </a:lnTo>
                  <a:lnTo>
                    <a:pt x="1572387" y="194691"/>
                  </a:lnTo>
                  <a:cubicBezTo>
                    <a:pt x="1572387" y="162973"/>
                    <a:pt x="1546479" y="137065"/>
                    <a:pt x="1514761" y="137065"/>
                  </a:cubicBezTo>
                  <a:lnTo>
                    <a:pt x="1028795" y="137065"/>
                  </a:lnTo>
                  <a:lnTo>
                    <a:pt x="1028986" y="137065"/>
                  </a:lnTo>
                  <a:lnTo>
                    <a:pt x="852869" y="137065"/>
                  </a:lnTo>
                  <a:cubicBezTo>
                    <a:pt x="808577" y="137065"/>
                    <a:pt x="772382" y="101251"/>
                    <a:pt x="771906" y="56959"/>
                  </a:cubicBezTo>
                  <a:cubicBezTo>
                    <a:pt x="771525" y="25622"/>
                    <a:pt x="745712" y="0"/>
                    <a:pt x="714280" y="0"/>
                  </a:cubicBezTo>
                  <a:lnTo>
                    <a:pt x="57626" y="0"/>
                  </a:lnTo>
                  <a:cubicBezTo>
                    <a:pt x="25908" y="0"/>
                    <a:pt x="0" y="25908"/>
                    <a:pt x="0" y="57626"/>
                  </a:cubicBezTo>
                  <a:lnTo>
                    <a:pt x="0" y="288798"/>
                  </a:lnTo>
                  <a:cubicBezTo>
                    <a:pt x="0" y="289750"/>
                    <a:pt x="0" y="290703"/>
                    <a:pt x="95" y="291655"/>
                  </a:cubicBezTo>
                  <a:cubicBezTo>
                    <a:pt x="286" y="294418"/>
                    <a:pt x="286" y="296799"/>
                    <a:pt x="95" y="299656"/>
                  </a:cubicBezTo>
                  <a:cubicBezTo>
                    <a:pt x="0" y="300895"/>
                    <a:pt x="0" y="302228"/>
                    <a:pt x="0" y="303466"/>
                  </a:cubicBezTo>
                  <a:lnTo>
                    <a:pt x="0" y="427387"/>
                  </a:lnTo>
                  <a:lnTo>
                    <a:pt x="57341" y="426530"/>
                  </a:lnTo>
                  <a:lnTo>
                    <a:pt x="411099" y="426530"/>
                  </a:lnTo>
                  <a:cubicBezTo>
                    <a:pt x="442817" y="426530"/>
                    <a:pt x="468725" y="452438"/>
                    <a:pt x="468725" y="484156"/>
                  </a:cubicBezTo>
                  <a:lnTo>
                    <a:pt x="468725" y="669512"/>
                  </a:lnTo>
                  <a:cubicBezTo>
                    <a:pt x="468725" y="701230"/>
                    <a:pt x="442817" y="727138"/>
                    <a:pt x="411099" y="727138"/>
                  </a:cubicBezTo>
                  <a:lnTo>
                    <a:pt x="390716" y="727138"/>
                  </a:lnTo>
                  <a:cubicBezTo>
                    <a:pt x="346139" y="727138"/>
                    <a:pt x="309753" y="763524"/>
                    <a:pt x="309753" y="808101"/>
                  </a:cubicBezTo>
                  <a:lnTo>
                    <a:pt x="309753" y="946975"/>
                  </a:lnTo>
                  <a:cubicBezTo>
                    <a:pt x="309753" y="979456"/>
                    <a:pt x="283845" y="1006030"/>
                    <a:pt x="252127" y="1006030"/>
                  </a:cubicBezTo>
                  <a:lnTo>
                    <a:pt x="231743" y="1006030"/>
                  </a:lnTo>
                  <a:cubicBezTo>
                    <a:pt x="187166" y="1006030"/>
                    <a:pt x="150781" y="1042416"/>
                    <a:pt x="150781" y="1086993"/>
                  </a:cubicBezTo>
                  <a:lnTo>
                    <a:pt x="150781" y="1293495"/>
                  </a:lnTo>
                  <a:lnTo>
                    <a:pt x="107347" y="1294162"/>
                  </a:lnTo>
                  <a:cubicBezTo>
                    <a:pt x="109347" y="1294352"/>
                    <a:pt x="111347" y="1294352"/>
                    <a:pt x="113348" y="1294352"/>
                  </a:cubicBezTo>
                  <a:lnTo>
                    <a:pt x="226600" y="1294352"/>
                  </a:lnTo>
                  <a:cubicBezTo>
                    <a:pt x="266605" y="1294352"/>
                    <a:pt x="300038" y="1322832"/>
                    <a:pt x="306515" y="1362266"/>
                  </a:cubicBezTo>
                  <a:cubicBezTo>
                    <a:pt x="312992" y="1401889"/>
                    <a:pt x="347567" y="1432274"/>
                    <a:pt x="388906" y="1432274"/>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47" name="Freeform: Shape 188">
              <a:extLst>
                <a:ext uri="{FF2B5EF4-FFF2-40B4-BE49-F238E27FC236}">
                  <a16:creationId xmlns:a16="http://schemas.microsoft.com/office/drawing/2014/main" id="{02F4A85B-D2ED-296C-1A65-3188A47C5CCC}"/>
                </a:ext>
              </a:extLst>
            </p:cNvPr>
            <p:cNvSpPr/>
            <p:nvPr/>
          </p:nvSpPr>
          <p:spPr>
            <a:xfrm>
              <a:off x="3572367" y="5286168"/>
              <a:ext cx="417766" cy="299656"/>
            </a:xfrm>
            <a:custGeom>
              <a:avLst/>
              <a:gdLst>
                <a:gd name="connsiteX0" fmla="*/ 0 w 417766"/>
                <a:gd name="connsiteY0" fmla="*/ 57626 h 299656"/>
                <a:gd name="connsiteX1" fmla="*/ 0 w 417766"/>
                <a:gd name="connsiteY1" fmla="*/ 77628 h 299656"/>
                <a:gd name="connsiteX2" fmla="*/ 57626 w 417766"/>
                <a:gd name="connsiteY2" fmla="*/ 135255 h 299656"/>
                <a:gd name="connsiteX3" fmla="*/ 201549 w 417766"/>
                <a:gd name="connsiteY3" fmla="*/ 135255 h 299656"/>
                <a:gd name="connsiteX4" fmla="*/ 282512 w 417766"/>
                <a:gd name="connsiteY4" fmla="*/ 216218 h 299656"/>
                <a:gd name="connsiteX5" fmla="*/ 282512 w 417766"/>
                <a:gd name="connsiteY5" fmla="*/ 242030 h 299656"/>
                <a:gd name="connsiteX6" fmla="*/ 340138 w 417766"/>
                <a:gd name="connsiteY6" fmla="*/ 299656 h 299656"/>
                <a:gd name="connsiteX7" fmla="*/ 360140 w 417766"/>
                <a:gd name="connsiteY7" fmla="*/ 299656 h 299656"/>
                <a:gd name="connsiteX8" fmla="*/ 417767 w 417766"/>
                <a:gd name="connsiteY8" fmla="*/ 242030 h 299656"/>
                <a:gd name="connsiteX9" fmla="*/ 417767 w 417766"/>
                <a:gd name="connsiteY9" fmla="*/ 77628 h 299656"/>
                <a:gd name="connsiteX10" fmla="*/ 417767 w 417766"/>
                <a:gd name="connsiteY10" fmla="*/ 57626 h 299656"/>
                <a:gd name="connsiteX11" fmla="*/ 417767 w 417766"/>
                <a:gd name="connsiteY11" fmla="*/ 56102 h 299656"/>
                <a:gd name="connsiteX12" fmla="*/ 417767 w 417766"/>
                <a:gd name="connsiteY12" fmla="*/ 56102 h 299656"/>
                <a:gd name="connsiteX13" fmla="*/ 417671 w 417766"/>
                <a:gd name="connsiteY13" fmla="*/ 54673 h 299656"/>
                <a:gd name="connsiteX14" fmla="*/ 417671 w 417766"/>
                <a:gd name="connsiteY14" fmla="*/ 54673 h 299656"/>
                <a:gd name="connsiteX15" fmla="*/ 417576 w 417766"/>
                <a:gd name="connsiteY15" fmla="*/ 53244 h 299656"/>
                <a:gd name="connsiteX16" fmla="*/ 417576 w 417766"/>
                <a:gd name="connsiteY16" fmla="*/ 53244 h 299656"/>
                <a:gd name="connsiteX17" fmla="*/ 417481 w 417766"/>
                <a:gd name="connsiteY17" fmla="*/ 51816 h 299656"/>
                <a:gd name="connsiteX18" fmla="*/ 417481 w 417766"/>
                <a:gd name="connsiteY18" fmla="*/ 51816 h 299656"/>
                <a:gd name="connsiteX19" fmla="*/ 417290 w 417766"/>
                <a:gd name="connsiteY19" fmla="*/ 50387 h 299656"/>
                <a:gd name="connsiteX20" fmla="*/ 417290 w 417766"/>
                <a:gd name="connsiteY20" fmla="*/ 50387 h 299656"/>
                <a:gd name="connsiteX21" fmla="*/ 417100 w 417766"/>
                <a:gd name="connsiteY21" fmla="*/ 48958 h 299656"/>
                <a:gd name="connsiteX22" fmla="*/ 417100 w 417766"/>
                <a:gd name="connsiteY22" fmla="*/ 48958 h 299656"/>
                <a:gd name="connsiteX23" fmla="*/ 416909 w 417766"/>
                <a:gd name="connsiteY23" fmla="*/ 47530 h 299656"/>
                <a:gd name="connsiteX24" fmla="*/ 416909 w 417766"/>
                <a:gd name="connsiteY24" fmla="*/ 47530 h 299656"/>
                <a:gd name="connsiteX25" fmla="*/ 416623 w 417766"/>
                <a:gd name="connsiteY25" fmla="*/ 46101 h 299656"/>
                <a:gd name="connsiteX26" fmla="*/ 416623 w 417766"/>
                <a:gd name="connsiteY26" fmla="*/ 46101 h 299656"/>
                <a:gd name="connsiteX27" fmla="*/ 416338 w 417766"/>
                <a:gd name="connsiteY27" fmla="*/ 44672 h 299656"/>
                <a:gd name="connsiteX28" fmla="*/ 416338 w 417766"/>
                <a:gd name="connsiteY28" fmla="*/ 44672 h 299656"/>
                <a:gd name="connsiteX29" fmla="*/ 415957 w 417766"/>
                <a:gd name="connsiteY29" fmla="*/ 43243 h 299656"/>
                <a:gd name="connsiteX30" fmla="*/ 415957 w 417766"/>
                <a:gd name="connsiteY30" fmla="*/ 43243 h 299656"/>
                <a:gd name="connsiteX31" fmla="*/ 415576 w 417766"/>
                <a:gd name="connsiteY31" fmla="*/ 41910 h 299656"/>
                <a:gd name="connsiteX32" fmla="*/ 415576 w 417766"/>
                <a:gd name="connsiteY32" fmla="*/ 41910 h 299656"/>
                <a:gd name="connsiteX33" fmla="*/ 415195 w 417766"/>
                <a:gd name="connsiteY33" fmla="*/ 40577 h 299656"/>
                <a:gd name="connsiteX34" fmla="*/ 415195 w 417766"/>
                <a:gd name="connsiteY34" fmla="*/ 40577 h 299656"/>
                <a:gd name="connsiteX35" fmla="*/ 414719 w 417766"/>
                <a:gd name="connsiteY35" fmla="*/ 39243 h 299656"/>
                <a:gd name="connsiteX36" fmla="*/ 414719 w 417766"/>
                <a:gd name="connsiteY36" fmla="*/ 39243 h 299656"/>
                <a:gd name="connsiteX37" fmla="*/ 414242 w 417766"/>
                <a:gd name="connsiteY37" fmla="*/ 37909 h 299656"/>
                <a:gd name="connsiteX38" fmla="*/ 414242 w 417766"/>
                <a:gd name="connsiteY38" fmla="*/ 37909 h 299656"/>
                <a:gd name="connsiteX39" fmla="*/ 413766 w 417766"/>
                <a:gd name="connsiteY39" fmla="*/ 36576 h 299656"/>
                <a:gd name="connsiteX40" fmla="*/ 413766 w 417766"/>
                <a:gd name="connsiteY40" fmla="*/ 36576 h 299656"/>
                <a:gd name="connsiteX41" fmla="*/ 413195 w 417766"/>
                <a:gd name="connsiteY41" fmla="*/ 35243 h 299656"/>
                <a:gd name="connsiteX42" fmla="*/ 413195 w 417766"/>
                <a:gd name="connsiteY42" fmla="*/ 35243 h 299656"/>
                <a:gd name="connsiteX43" fmla="*/ 412623 w 417766"/>
                <a:gd name="connsiteY43" fmla="*/ 34004 h 299656"/>
                <a:gd name="connsiteX44" fmla="*/ 412623 w 417766"/>
                <a:gd name="connsiteY44" fmla="*/ 34004 h 299656"/>
                <a:gd name="connsiteX45" fmla="*/ 412052 w 417766"/>
                <a:gd name="connsiteY45" fmla="*/ 32766 h 299656"/>
                <a:gd name="connsiteX46" fmla="*/ 412052 w 417766"/>
                <a:gd name="connsiteY46" fmla="*/ 32766 h 299656"/>
                <a:gd name="connsiteX47" fmla="*/ 411385 w 417766"/>
                <a:gd name="connsiteY47" fmla="*/ 31528 h 299656"/>
                <a:gd name="connsiteX48" fmla="*/ 411385 w 417766"/>
                <a:gd name="connsiteY48" fmla="*/ 31528 h 299656"/>
                <a:gd name="connsiteX49" fmla="*/ 410718 w 417766"/>
                <a:gd name="connsiteY49" fmla="*/ 30289 h 299656"/>
                <a:gd name="connsiteX50" fmla="*/ 410718 w 417766"/>
                <a:gd name="connsiteY50" fmla="*/ 30289 h 299656"/>
                <a:gd name="connsiteX51" fmla="*/ 410051 w 417766"/>
                <a:gd name="connsiteY51" fmla="*/ 29051 h 299656"/>
                <a:gd name="connsiteX52" fmla="*/ 410051 w 417766"/>
                <a:gd name="connsiteY52" fmla="*/ 29051 h 299656"/>
                <a:gd name="connsiteX53" fmla="*/ 409385 w 417766"/>
                <a:gd name="connsiteY53" fmla="*/ 27813 h 299656"/>
                <a:gd name="connsiteX54" fmla="*/ 409385 w 417766"/>
                <a:gd name="connsiteY54" fmla="*/ 27813 h 299656"/>
                <a:gd name="connsiteX55" fmla="*/ 408622 w 417766"/>
                <a:gd name="connsiteY55" fmla="*/ 26670 h 299656"/>
                <a:gd name="connsiteX56" fmla="*/ 408622 w 417766"/>
                <a:gd name="connsiteY56" fmla="*/ 26670 h 299656"/>
                <a:gd name="connsiteX57" fmla="*/ 407861 w 417766"/>
                <a:gd name="connsiteY57" fmla="*/ 25527 h 299656"/>
                <a:gd name="connsiteX58" fmla="*/ 407861 w 417766"/>
                <a:gd name="connsiteY58" fmla="*/ 25527 h 299656"/>
                <a:gd name="connsiteX59" fmla="*/ 407098 w 417766"/>
                <a:gd name="connsiteY59" fmla="*/ 24384 h 299656"/>
                <a:gd name="connsiteX60" fmla="*/ 407098 w 417766"/>
                <a:gd name="connsiteY60" fmla="*/ 24384 h 299656"/>
                <a:gd name="connsiteX61" fmla="*/ 406241 w 417766"/>
                <a:gd name="connsiteY61" fmla="*/ 23241 h 299656"/>
                <a:gd name="connsiteX62" fmla="*/ 406241 w 417766"/>
                <a:gd name="connsiteY62" fmla="*/ 23241 h 299656"/>
                <a:gd name="connsiteX63" fmla="*/ 405384 w 417766"/>
                <a:gd name="connsiteY63" fmla="*/ 22193 h 299656"/>
                <a:gd name="connsiteX64" fmla="*/ 405384 w 417766"/>
                <a:gd name="connsiteY64" fmla="*/ 22193 h 299656"/>
                <a:gd name="connsiteX65" fmla="*/ 404527 w 417766"/>
                <a:gd name="connsiteY65" fmla="*/ 21145 h 299656"/>
                <a:gd name="connsiteX66" fmla="*/ 404527 w 417766"/>
                <a:gd name="connsiteY66" fmla="*/ 21145 h 299656"/>
                <a:gd name="connsiteX67" fmla="*/ 403670 w 417766"/>
                <a:gd name="connsiteY67" fmla="*/ 20098 h 299656"/>
                <a:gd name="connsiteX68" fmla="*/ 403670 w 417766"/>
                <a:gd name="connsiteY68" fmla="*/ 20098 h 299656"/>
                <a:gd name="connsiteX69" fmla="*/ 402717 w 417766"/>
                <a:gd name="connsiteY69" fmla="*/ 19050 h 299656"/>
                <a:gd name="connsiteX70" fmla="*/ 402717 w 417766"/>
                <a:gd name="connsiteY70" fmla="*/ 19050 h 299656"/>
                <a:gd name="connsiteX71" fmla="*/ 401764 w 417766"/>
                <a:gd name="connsiteY71" fmla="*/ 18002 h 299656"/>
                <a:gd name="connsiteX72" fmla="*/ 401764 w 417766"/>
                <a:gd name="connsiteY72" fmla="*/ 18002 h 299656"/>
                <a:gd name="connsiteX73" fmla="*/ 400812 w 417766"/>
                <a:gd name="connsiteY73" fmla="*/ 17050 h 299656"/>
                <a:gd name="connsiteX74" fmla="*/ 400812 w 417766"/>
                <a:gd name="connsiteY74" fmla="*/ 17050 h 299656"/>
                <a:gd name="connsiteX75" fmla="*/ 399860 w 417766"/>
                <a:gd name="connsiteY75" fmla="*/ 16097 h 299656"/>
                <a:gd name="connsiteX76" fmla="*/ 399860 w 417766"/>
                <a:gd name="connsiteY76" fmla="*/ 16097 h 299656"/>
                <a:gd name="connsiteX77" fmla="*/ 398812 w 417766"/>
                <a:gd name="connsiteY77" fmla="*/ 15144 h 299656"/>
                <a:gd name="connsiteX78" fmla="*/ 398812 w 417766"/>
                <a:gd name="connsiteY78" fmla="*/ 15144 h 299656"/>
                <a:gd name="connsiteX79" fmla="*/ 397764 w 417766"/>
                <a:gd name="connsiteY79" fmla="*/ 14192 h 299656"/>
                <a:gd name="connsiteX80" fmla="*/ 397764 w 417766"/>
                <a:gd name="connsiteY80" fmla="*/ 14192 h 299656"/>
                <a:gd name="connsiteX81" fmla="*/ 396716 w 417766"/>
                <a:gd name="connsiteY81" fmla="*/ 13335 h 299656"/>
                <a:gd name="connsiteX82" fmla="*/ 396716 w 417766"/>
                <a:gd name="connsiteY82" fmla="*/ 13335 h 299656"/>
                <a:gd name="connsiteX83" fmla="*/ 395669 w 417766"/>
                <a:gd name="connsiteY83" fmla="*/ 12478 h 299656"/>
                <a:gd name="connsiteX84" fmla="*/ 395669 w 417766"/>
                <a:gd name="connsiteY84" fmla="*/ 12478 h 299656"/>
                <a:gd name="connsiteX85" fmla="*/ 394621 w 417766"/>
                <a:gd name="connsiteY85" fmla="*/ 11620 h 299656"/>
                <a:gd name="connsiteX86" fmla="*/ 394621 w 417766"/>
                <a:gd name="connsiteY86" fmla="*/ 11620 h 299656"/>
                <a:gd name="connsiteX87" fmla="*/ 393478 w 417766"/>
                <a:gd name="connsiteY87" fmla="*/ 10763 h 299656"/>
                <a:gd name="connsiteX88" fmla="*/ 393478 w 417766"/>
                <a:gd name="connsiteY88" fmla="*/ 10763 h 299656"/>
                <a:gd name="connsiteX89" fmla="*/ 392335 w 417766"/>
                <a:gd name="connsiteY89" fmla="*/ 10001 h 299656"/>
                <a:gd name="connsiteX90" fmla="*/ 392335 w 417766"/>
                <a:gd name="connsiteY90" fmla="*/ 10001 h 299656"/>
                <a:gd name="connsiteX91" fmla="*/ 391192 w 417766"/>
                <a:gd name="connsiteY91" fmla="*/ 9239 h 299656"/>
                <a:gd name="connsiteX92" fmla="*/ 391192 w 417766"/>
                <a:gd name="connsiteY92" fmla="*/ 9239 h 299656"/>
                <a:gd name="connsiteX93" fmla="*/ 390049 w 417766"/>
                <a:gd name="connsiteY93" fmla="*/ 8477 h 299656"/>
                <a:gd name="connsiteX94" fmla="*/ 390049 w 417766"/>
                <a:gd name="connsiteY94" fmla="*/ 8477 h 299656"/>
                <a:gd name="connsiteX95" fmla="*/ 388811 w 417766"/>
                <a:gd name="connsiteY95" fmla="*/ 7811 h 299656"/>
                <a:gd name="connsiteX96" fmla="*/ 388811 w 417766"/>
                <a:gd name="connsiteY96" fmla="*/ 7811 h 299656"/>
                <a:gd name="connsiteX97" fmla="*/ 387572 w 417766"/>
                <a:gd name="connsiteY97" fmla="*/ 7144 h 299656"/>
                <a:gd name="connsiteX98" fmla="*/ 387572 w 417766"/>
                <a:gd name="connsiteY98" fmla="*/ 7144 h 299656"/>
                <a:gd name="connsiteX99" fmla="*/ 386334 w 417766"/>
                <a:gd name="connsiteY99" fmla="*/ 6477 h 299656"/>
                <a:gd name="connsiteX100" fmla="*/ 386334 w 417766"/>
                <a:gd name="connsiteY100" fmla="*/ 6477 h 299656"/>
                <a:gd name="connsiteX101" fmla="*/ 385096 w 417766"/>
                <a:gd name="connsiteY101" fmla="*/ 5810 h 299656"/>
                <a:gd name="connsiteX102" fmla="*/ 385096 w 417766"/>
                <a:gd name="connsiteY102" fmla="*/ 5810 h 299656"/>
                <a:gd name="connsiteX103" fmla="*/ 383858 w 417766"/>
                <a:gd name="connsiteY103" fmla="*/ 5239 h 299656"/>
                <a:gd name="connsiteX104" fmla="*/ 383858 w 417766"/>
                <a:gd name="connsiteY104" fmla="*/ 5239 h 299656"/>
                <a:gd name="connsiteX105" fmla="*/ 382619 w 417766"/>
                <a:gd name="connsiteY105" fmla="*/ 4667 h 299656"/>
                <a:gd name="connsiteX106" fmla="*/ 382619 w 417766"/>
                <a:gd name="connsiteY106" fmla="*/ 4667 h 299656"/>
                <a:gd name="connsiteX107" fmla="*/ 381286 w 417766"/>
                <a:gd name="connsiteY107" fmla="*/ 4096 h 299656"/>
                <a:gd name="connsiteX108" fmla="*/ 381286 w 417766"/>
                <a:gd name="connsiteY108" fmla="*/ 4096 h 299656"/>
                <a:gd name="connsiteX109" fmla="*/ 379952 w 417766"/>
                <a:gd name="connsiteY109" fmla="*/ 3620 h 299656"/>
                <a:gd name="connsiteX110" fmla="*/ 379952 w 417766"/>
                <a:gd name="connsiteY110" fmla="*/ 3620 h 299656"/>
                <a:gd name="connsiteX111" fmla="*/ 378619 w 417766"/>
                <a:gd name="connsiteY111" fmla="*/ 3143 h 299656"/>
                <a:gd name="connsiteX112" fmla="*/ 378619 w 417766"/>
                <a:gd name="connsiteY112" fmla="*/ 3143 h 299656"/>
                <a:gd name="connsiteX113" fmla="*/ 377285 w 417766"/>
                <a:gd name="connsiteY113" fmla="*/ 2667 h 299656"/>
                <a:gd name="connsiteX114" fmla="*/ 377285 w 417766"/>
                <a:gd name="connsiteY114" fmla="*/ 2667 h 299656"/>
                <a:gd name="connsiteX115" fmla="*/ 375952 w 417766"/>
                <a:gd name="connsiteY115" fmla="*/ 2286 h 299656"/>
                <a:gd name="connsiteX116" fmla="*/ 375952 w 417766"/>
                <a:gd name="connsiteY116" fmla="*/ 2286 h 299656"/>
                <a:gd name="connsiteX117" fmla="*/ 374618 w 417766"/>
                <a:gd name="connsiteY117" fmla="*/ 1905 h 299656"/>
                <a:gd name="connsiteX118" fmla="*/ 374618 w 417766"/>
                <a:gd name="connsiteY118" fmla="*/ 1905 h 299656"/>
                <a:gd name="connsiteX119" fmla="*/ 373285 w 417766"/>
                <a:gd name="connsiteY119" fmla="*/ 1524 h 299656"/>
                <a:gd name="connsiteX120" fmla="*/ 373285 w 417766"/>
                <a:gd name="connsiteY120" fmla="*/ 1524 h 299656"/>
                <a:gd name="connsiteX121" fmla="*/ 371856 w 417766"/>
                <a:gd name="connsiteY121" fmla="*/ 1238 h 299656"/>
                <a:gd name="connsiteX122" fmla="*/ 371856 w 417766"/>
                <a:gd name="connsiteY122" fmla="*/ 1238 h 299656"/>
                <a:gd name="connsiteX123" fmla="*/ 370427 w 417766"/>
                <a:gd name="connsiteY123" fmla="*/ 952 h 299656"/>
                <a:gd name="connsiteX124" fmla="*/ 370427 w 417766"/>
                <a:gd name="connsiteY124" fmla="*/ 952 h 299656"/>
                <a:gd name="connsiteX125" fmla="*/ 368998 w 417766"/>
                <a:gd name="connsiteY125" fmla="*/ 667 h 299656"/>
                <a:gd name="connsiteX126" fmla="*/ 368998 w 417766"/>
                <a:gd name="connsiteY126" fmla="*/ 667 h 299656"/>
                <a:gd name="connsiteX127" fmla="*/ 367570 w 417766"/>
                <a:gd name="connsiteY127" fmla="*/ 476 h 299656"/>
                <a:gd name="connsiteX128" fmla="*/ 367570 w 417766"/>
                <a:gd name="connsiteY128" fmla="*/ 476 h 299656"/>
                <a:gd name="connsiteX129" fmla="*/ 366141 w 417766"/>
                <a:gd name="connsiteY129" fmla="*/ 285 h 299656"/>
                <a:gd name="connsiteX130" fmla="*/ 366141 w 417766"/>
                <a:gd name="connsiteY130" fmla="*/ 285 h 299656"/>
                <a:gd name="connsiteX131" fmla="*/ 364712 w 417766"/>
                <a:gd name="connsiteY131" fmla="*/ 190 h 299656"/>
                <a:gd name="connsiteX132" fmla="*/ 364712 w 417766"/>
                <a:gd name="connsiteY132" fmla="*/ 190 h 299656"/>
                <a:gd name="connsiteX133" fmla="*/ 363284 w 417766"/>
                <a:gd name="connsiteY133" fmla="*/ 95 h 299656"/>
                <a:gd name="connsiteX134" fmla="*/ 363284 w 417766"/>
                <a:gd name="connsiteY134" fmla="*/ 95 h 299656"/>
                <a:gd name="connsiteX135" fmla="*/ 362807 w 417766"/>
                <a:gd name="connsiteY135" fmla="*/ 95 h 299656"/>
                <a:gd name="connsiteX136" fmla="*/ 360902 w 417766"/>
                <a:gd name="connsiteY136" fmla="*/ 0 h 299656"/>
                <a:gd name="connsiteX137" fmla="*/ 360426 w 417766"/>
                <a:gd name="connsiteY137" fmla="*/ 0 h 299656"/>
                <a:gd name="connsiteX138" fmla="*/ 360426 w 417766"/>
                <a:gd name="connsiteY138" fmla="*/ 0 h 299656"/>
                <a:gd name="connsiteX139" fmla="*/ 340423 w 417766"/>
                <a:gd name="connsiteY139" fmla="*/ 0 h 299656"/>
                <a:gd name="connsiteX140" fmla="*/ 57912 w 417766"/>
                <a:gd name="connsiteY140" fmla="*/ 0 h 299656"/>
                <a:gd name="connsiteX141" fmla="*/ 0 w 417766"/>
                <a:gd name="connsiteY141" fmla="*/ 57626 h 299656"/>
                <a:gd name="connsiteX142" fmla="*/ 0 w 417766"/>
                <a:gd name="connsiteY142" fmla="*/ 57626 h 299656"/>
                <a:gd name="connsiteX143" fmla="*/ 417767 w 417766"/>
                <a:gd name="connsiteY143" fmla="*/ 57626 h 299656"/>
                <a:gd name="connsiteX144" fmla="*/ 417767 w 417766"/>
                <a:gd name="connsiteY144" fmla="*/ 57626 h 299656"/>
                <a:gd name="connsiteX145" fmla="*/ 417767 w 417766"/>
                <a:gd name="connsiteY145" fmla="*/ 57626 h 299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17766" h="299656">
                  <a:moveTo>
                    <a:pt x="0" y="57626"/>
                  </a:moveTo>
                  <a:lnTo>
                    <a:pt x="0" y="77628"/>
                  </a:lnTo>
                  <a:cubicBezTo>
                    <a:pt x="0" y="109347"/>
                    <a:pt x="25908" y="135255"/>
                    <a:pt x="57626" y="135255"/>
                  </a:cubicBezTo>
                  <a:lnTo>
                    <a:pt x="201549" y="135255"/>
                  </a:lnTo>
                  <a:cubicBezTo>
                    <a:pt x="246126" y="135255"/>
                    <a:pt x="282512" y="171640"/>
                    <a:pt x="282512" y="216218"/>
                  </a:cubicBezTo>
                  <a:lnTo>
                    <a:pt x="282512" y="242030"/>
                  </a:lnTo>
                  <a:cubicBezTo>
                    <a:pt x="282512" y="273748"/>
                    <a:pt x="308420" y="299656"/>
                    <a:pt x="340138" y="299656"/>
                  </a:cubicBezTo>
                  <a:lnTo>
                    <a:pt x="360140" y="299656"/>
                  </a:lnTo>
                  <a:cubicBezTo>
                    <a:pt x="391859" y="299656"/>
                    <a:pt x="417767" y="273748"/>
                    <a:pt x="417767" y="242030"/>
                  </a:cubicBezTo>
                  <a:lnTo>
                    <a:pt x="417767" y="77628"/>
                  </a:lnTo>
                  <a:lnTo>
                    <a:pt x="417767" y="57626"/>
                  </a:lnTo>
                  <a:lnTo>
                    <a:pt x="417767" y="56102"/>
                  </a:lnTo>
                  <a:lnTo>
                    <a:pt x="417767" y="56102"/>
                  </a:lnTo>
                  <a:lnTo>
                    <a:pt x="417671" y="54673"/>
                  </a:lnTo>
                  <a:lnTo>
                    <a:pt x="417671" y="54673"/>
                  </a:lnTo>
                  <a:lnTo>
                    <a:pt x="417576" y="53244"/>
                  </a:lnTo>
                  <a:lnTo>
                    <a:pt x="417576" y="53244"/>
                  </a:lnTo>
                  <a:lnTo>
                    <a:pt x="417481" y="51816"/>
                  </a:lnTo>
                  <a:lnTo>
                    <a:pt x="417481" y="51816"/>
                  </a:lnTo>
                  <a:lnTo>
                    <a:pt x="417290" y="50387"/>
                  </a:lnTo>
                  <a:lnTo>
                    <a:pt x="417290" y="50387"/>
                  </a:lnTo>
                  <a:lnTo>
                    <a:pt x="417100" y="48958"/>
                  </a:lnTo>
                  <a:lnTo>
                    <a:pt x="417100" y="48958"/>
                  </a:lnTo>
                  <a:lnTo>
                    <a:pt x="416909" y="47530"/>
                  </a:lnTo>
                  <a:lnTo>
                    <a:pt x="416909" y="47530"/>
                  </a:lnTo>
                  <a:cubicBezTo>
                    <a:pt x="416814" y="47054"/>
                    <a:pt x="416719" y="46577"/>
                    <a:pt x="416623" y="46101"/>
                  </a:cubicBezTo>
                  <a:lnTo>
                    <a:pt x="416623" y="46101"/>
                  </a:lnTo>
                  <a:lnTo>
                    <a:pt x="416338" y="44672"/>
                  </a:lnTo>
                  <a:lnTo>
                    <a:pt x="416338" y="44672"/>
                  </a:lnTo>
                  <a:lnTo>
                    <a:pt x="415957" y="43243"/>
                  </a:lnTo>
                  <a:lnTo>
                    <a:pt x="415957" y="43243"/>
                  </a:lnTo>
                  <a:lnTo>
                    <a:pt x="415576" y="41910"/>
                  </a:lnTo>
                  <a:lnTo>
                    <a:pt x="415576" y="41910"/>
                  </a:lnTo>
                  <a:lnTo>
                    <a:pt x="415195" y="40577"/>
                  </a:lnTo>
                  <a:lnTo>
                    <a:pt x="415195" y="40577"/>
                  </a:lnTo>
                  <a:lnTo>
                    <a:pt x="414719" y="39243"/>
                  </a:lnTo>
                  <a:lnTo>
                    <a:pt x="414719" y="39243"/>
                  </a:lnTo>
                  <a:lnTo>
                    <a:pt x="414242" y="37909"/>
                  </a:lnTo>
                  <a:lnTo>
                    <a:pt x="414242" y="37909"/>
                  </a:lnTo>
                  <a:lnTo>
                    <a:pt x="413766" y="36576"/>
                  </a:lnTo>
                  <a:lnTo>
                    <a:pt x="413766" y="36576"/>
                  </a:lnTo>
                  <a:lnTo>
                    <a:pt x="413195" y="35243"/>
                  </a:lnTo>
                  <a:lnTo>
                    <a:pt x="413195" y="35243"/>
                  </a:lnTo>
                  <a:lnTo>
                    <a:pt x="412623" y="34004"/>
                  </a:lnTo>
                  <a:lnTo>
                    <a:pt x="412623" y="34004"/>
                  </a:lnTo>
                  <a:lnTo>
                    <a:pt x="412052" y="32766"/>
                  </a:lnTo>
                  <a:lnTo>
                    <a:pt x="412052" y="32766"/>
                  </a:lnTo>
                  <a:lnTo>
                    <a:pt x="411385" y="31528"/>
                  </a:lnTo>
                  <a:lnTo>
                    <a:pt x="411385" y="31528"/>
                  </a:lnTo>
                  <a:cubicBezTo>
                    <a:pt x="411194" y="31146"/>
                    <a:pt x="411004" y="30670"/>
                    <a:pt x="410718" y="30289"/>
                  </a:cubicBezTo>
                  <a:lnTo>
                    <a:pt x="410718" y="30289"/>
                  </a:lnTo>
                  <a:lnTo>
                    <a:pt x="410051" y="29051"/>
                  </a:lnTo>
                  <a:lnTo>
                    <a:pt x="410051" y="29051"/>
                  </a:lnTo>
                  <a:cubicBezTo>
                    <a:pt x="409861" y="28670"/>
                    <a:pt x="409575" y="28289"/>
                    <a:pt x="409385" y="27813"/>
                  </a:cubicBezTo>
                  <a:lnTo>
                    <a:pt x="409385" y="27813"/>
                  </a:lnTo>
                  <a:lnTo>
                    <a:pt x="408622" y="26670"/>
                  </a:lnTo>
                  <a:lnTo>
                    <a:pt x="408622" y="26670"/>
                  </a:lnTo>
                  <a:lnTo>
                    <a:pt x="407861" y="25527"/>
                  </a:lnTo>
                  <a:lnTo>
                    <a:pt x="407861" y="25527"/>
                  </a:lnTo>
                  <a:lnTo>
                    <a:pt x="407098" y="24384"/>
                  </a:lnTo>
                  <a:lnTo>
                    <a:pt x="407098" y="24384"/>
                  </a:lnTo>
                  <a:lnTo>
                    <a:pt x="406241" y="23241"/>
                  </a:lnTo>
                  <a:lnTo>
                    <a:pt x="406241" y="23241"/>
                  </a:lnTo>
                  <a:lnTo>
                    <a:pt x="405384" y="22193"/>
                  </a:lnTo>
                  <a:lnTo>
                    <a:pt x="405384" y="22193"/>
                  </a:lnTo>
                  <a:cubicBezTo>
                    <a:pt x="405098" y="21812"/>
                    <a:pt x="404813" y="21431"/>
                    <a:pt x="404527" y="21145"/>
                  </a:cubicBezTo>
                  <a:lnTo>
                    <a:pt x="404527" y="21145"/>
                  </a:lnTo>
                  <a:lnTo>
                    <a:pt x="403670" y="20098"/>
                  </a:lnTo>
                  <a:lnTo>
                    <a:pt x="403670" y="20098"/>
                  </a:lnTo>
                  <a:lnTo>
                    <a:pt x="402717" y="19050"/>
                  </a:lnTo>
                  <a:lnTo>
                    <a:pt x="402717" y="19050"/>
                  </a:lnTo>
                  <a:lnTo>
                    <a:pt x="401764" y="18002"/>
                  </a:lnTo>
                  <a:lnTo>
                    <a:pt x="401764" y="18002"/>
                  </a:lnTo>
                  <a:lnTo>
                    <a:pt x="400812" y="17050"/>
                  </a:lnTo>
                  <a:lnTo>
                    <a:pt x="400812" y="17050"/>
                  </a:lnTo>
                  <a:lnTo>
                    <a:pt x="399860" y="16097"/>
                  </a:lnTo>
                  <a:lnTo>
                    <a:pt x="399860" y="16097"/>
                  </a:lnTo>
                  <a:lnTo>
                    <a:pt x="398812" y="15144"/>
                  </a:lnTo>
                  <a:lnTo>
                    <a:pt x="398812" y="15144"/>
                  </a:lnTo>
                  <a:lnTo>
                    <a:pt x="397764" y="14192"/>
                  </a:lnTo>
                  <a:lnTo>
                    <a:pt x="397764" y="14192"/>
                  </a:lnTo>
                  <a:lnTo>
                    <a:pt x="396716" y="13335"/>
                  </a:lnTo>
                  <a:lnTo>
                    <a:pt x="396716" y="13335"/>
                  </a:lnTo>
                  <a:cubicBezTo>
                    <a:pt x="396335" y="13049"/>
                    <a:pt x="395954" y="12763"/>
                    <a:pt x="395669" y="12478"/>
                  </a:cubicBezTo>
                  <a:lnTo>
                    <a:pt x="395669" y="12478"/>
                  </a:lnTo>
                  <a:cubicBezTo>
                    <a:pt x="395288" y="12192"/>
                    <a:pt x="394906" y="11906"/>
                    <a:pt x="394621" y="11620"/>
                  </a:cubicBezTo>
                  <a:lnTo>
                    <a:pt x="394621" y="11620"/>
                  </a:lnTo>
                  <a:lnTo>
                    <a:pt x="393478" y="10763"/>
                  </a:lnTo>
                  <a:lnTo>
                    <a:pt x="393478" y="10763"/>
                  </a:lnTo>
                  <a:lnTo>
                    <a:pt x="392335" y="10001"/>
                  </a:lnTo>
                  <a:lnTo>
                    <a:pt x="392335" y="10001"/>
                  </a:lnTo>
                  <a:lnTo>
                    <a:pt x="391192" y="9239"/>
                  </a:lnTo>
                  <a:lnTo>
                    <a:pt x="391192" y="9239"/>
                  </a:lnTo>
                  <a:lnTo>
                    <a:pt x="390049" y="8477"/>
                  </a:lnTo>
                  <a:lnTo>
                    <a:pt x="390049" y="8477"/>
                  </a:lnTo>
                  <a:lnTo>
                    <a:pt x="388811" y="7811"/>
                  </a:lnTo>
                  <a:lnTo>
                    <a:pt x="388811" y="7811"/>
                  </a:lnTo>
                  <a:lnTo>
                    <a:pt x="387572" y="7144"/>
                  </a:lnTo>
                  <a:lnTo>
                    <a:pt x="387572" y="7144"/>
                  </a:lnTo>
                  <a:lnTo>
                    <a:pt x="386334" y="6477"/>
                  </a:lnTo>
                  <a:lnTo>
                    <a:pt x="386334" y="6477"/>
                  </a:lnTo>
                  <a:lnTo>
                    <a:pt x="385096" y="5810"/>
                  </a:lnTo>
                  <a:lnTo>
                    <a:pt x="385096" y="5810"/>
                  </a:lnTo>
                  <a:lnTo>
                    <a:pt x="383858" y="5239"/>
                  </a:lnTo>
                  <a:lnTo>
                    <a:pt x="383858" y="5239"/>
                  </a:lnTo>
                  <a:cubicBezTo>
                    <a:pt x="383477" y="5048"/>
                    <a:pt x="383000" y="4858"/>
                    <a:pt x="382619" y="4667"/>
                  </a:cubicBezTo>
                  <a:lnTo>
                    <a:pt x="382619" y="4667"/>
                  </a:lnTo>
                  <a:lnTo>
                    <a:pt x="381286" y="4096"/>
                  </a:lnTo>
                  <a:lnTo>
                    <a:pt x="381286" y="4096"/>
                  </a:lnTo>
                  <a:lnTo>
                    <a:pt x="379952" y="3620"/>
                  </a:lnTo>
                  <a:lnTo>
                    <a:pt x="379952" y="3620"/>
                  </a:lnTo>
                  <a:lnTo>
                    <a:pt x="378619" y="3143"/>
                  </a:lnTo>
                  <a:lnTo>
                    <a:pt x="378619" y="3143"/>
                  </a:lnTo>
                  <a:lnTo>
                    <a:pt x="377285" y="2667"/>
                  </a:lnTo>
                  <a:lnTo>
                    <a:pt x="377285" y="2667"/>
                  </a:lnTo>
                  <a:lnTo>
                    <a:pt x="375952" y="2286"/>
                  </a:lnTo>
                  <a:lnTo>
                    <a:pt x="375952" y="2286"/>
                  </a:lnTo>
                  <a:lnTo>
                    <a:pt x="374618" y="1905"/>
                  </a:lnTo>
                  <a:lnTo>
                    <a:pt x="374618" y="1905"/>
                  </a:lnTo>
                  <a:lnTo>
                    <a:pt x="373285" y="1524"/>
                  </a:lnTo>
                  <a:lnTo>
                    <a:pt x="373285" y="1524"/>
                  </a:lnTo>
                  <a:lnTo>
                    <a:pt x="371856" y="1238"/>
                  </a:lnTo>
                  <a:lnTo>
                    <a:pt x="371856" y="1238"/>
                  </a:lnTo>
                  <a:cubicBezTo>
                    <a:pt x="371380" y="1143"/>
                    <a:pt x="370904" y="1048"/>
                    <a:pt x="370427" y="952"/>
                  </a:cubicBezTo>
                  <a:lnTo>
                    <a:pt x="370427" y="952"/>
                  </a:lnTo>
                  <a:lnTo>
                    <a:pt x="368998" y="667"/>
                  </a:lnTo>
                  <a:lnTo>
                    <a:pt x="368998" y="667"/>
                  </a:lnTo>
                  <a:lnTo>
                    <a:pt x="367570" y="476"/>
                  </a:lnTo>
                  <a:lnTo>
                    <a:pt x="367570" y="476"/>
                  </a:lnTo>
                  <a:lnTo>
                    <a:pt x="366141" y="285"/>
                  </a:lnTo>
                  <a:lnTo>
                    <a:pt x="366141" y="285"/>
                  </a:lnTo>
                  <a:lnTo>
                    <a:pt x="364712" y="190"/>
                  </a:lnTo>
                  <a:lnTo>
                    <a:pt x="364712" y="190"/>
                  </a:lnTo>
                  <a:lnTo>
                    <a:pt x="363284" y="95"/>
                  </a:lnTo>
                  <a:lnTo>
                    <a:pt x="363284" y="95"/>
                  </a:lnTo>
                  <a:lnTo>
                    <a:pt x="362807" y="95"/>
                  </a:lnTo>
                  <a:cubicBezTo>
                    <a:pt x="362141" y="95"/>
                    <a:pt x="361569" y="95"/>
                    <a:pt x="360902" y="0"/>
                  </a:cubicBezTo>
                  <a:lnTo>
                    <a:pt x="360426" y="0"/>
                  </a:lnTo>
                  <a:lnTo>
                    <a:pt x="360426" y="0"/>
                  </a:lnTo>
                  <a:lnTo>
                    <a:pt x="340423" y="0"/>
                  </a:lnTo>
                  <a:lnTo>
                    <a:pt x="57912" y="0"/>
                  </a:lnTo>
                  <a:cubicBezTo>
                    <a:pt x="25908" y="0"/>
                    <a:pt x="0" y="25908"/>
                    <a:pt x="0" y="57626"/>
                  </a:cubicBezTo>
                  <a:lnTo>
                    <a:pt x="0" y="57626"/>
                  </a:lnTo>
                  <a:close/>
                  <a:moveTo>
                    <a:pt x="417767" y="57626"/>
                  </a:moveTo>
                  <a:lnTo>
                    <a:pt x="417767" y="57626"/>
                  </a:lnTo>
                  <a:lnTo>
                    <a:pt x="417767" y="57626"/>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48" name="Freeform: Shape 189">
              <a:extLst>
                <a:ext uri="{FF2B5EF4-FFF2-40B4-BE49-F238E27FC236}">
                  <a16:creationId xmlns:a16="http://schemas.microsoft.com/office/drawing/2014/main" id="{B36626DB-4484-374F-4A7E-40D5BDB3B525}"/>
                </a:ext>
              </a:extLst>
            </p:cNvPr>
            <p:cNvSpPr/>
            <p:nvPr/>
          </p:nvSpPr>
          <p:spPr>
            <a:xfrm>
              <a:off x="2750550" y="3676824"/>
              <a:ext cx="1739455" cy="1600200"/>
            </a:xfrm>
            <a:custGeom>
              <a:avLst/>
              <a:gdLst>
                <a:gd name="connsiteX0" fmla="*/ 476 w 1739455"/>
                <a:gd name="connsiteY0" fmla="*/ 514921 h 1600200"/>
                <a:gd name="connsiteX1" fmla="*/ 48006 w 1739455"/>
                <a:gd name="connsiteY1" fmla="*/ 442722 h 1600200"/>
                <a:gd name="connsiteX2" fmla="*/ 234791 w 1739455"/>
                <a:gd name="connsiteY2" fmla="*/ 442722 h 1600200"/>
                <a:gd name="connsiteX3" fmla="*/ 319373 w 1739455"/>
                <a:gd name="connsiteY3" fmla="*/ 508063 h 1600200"/>
                <a:gd name="connsiteX4" fmla="*/ 319373 w 1739455"/>
                <a:gd name="connsiteY4" fmla="*/ 527018 h 1600200"/>
                <a:gd name="connsiteX5" fmla="*/ 377000 w 1739455"/>
                <a:gd name="connsiteY5" fmla="*/ 584645 h 1600200"/>
                <a:gd name="connsiteX6" fmla="*/ 405098 w 1739455"/>
                <a:gd name="connsiteY6" fmla="*/ 584645 h 1600200"/>
                <a:gd name="connsiteX7" fmla="*/ 486061 w 1739455"/>
                <a:gd name="connsiteY7" fmla="*/ 665607 h 1600200"/>
                <a:gd name="connsiteX8" fmla="*/ 486061 w 1739455"/>
                <a:gd name="connsiteY8" fmla="*/ 672751 h 1600200"/>
                <a:gd name="connsiteX9" fmla="*/ 486061 w 1739455"/>
                <a:gd name="connsiteY9" fmla="*/ 674275 h 1600200"/>
                <a:gd name="connsiteX10" fmla="*/ 486061 w 1739455"/>
                <a:gd name="connsiteY10" fmla="*/ 674275 h 1600200"/>
                <a:gd name="connsiteX11" fmla="*/ 486156 w 1739455"/>
                <a:gd name="connsiteY11" fmla="*/ 675704 h 1600200"/>
                <a:gd name="connsiteX12" fmla="*/ 486156 w 1739455"/>
                <a:gd name="connsiteY12" fmla="*/ 675704 h 1600200"/>
                <a:gd name="connsiteX13" fmla="*/ 486251 w 1739455"/>
                <a:gd name="connsiteY13" fmla="*/ 677132 h 1600200"/>
                <a:gd name="connsiteX14" fmla="*/ 486251 w 1739455"/>
                <a:gd name="connsiteY14" fmla="*/ 677132 h 1600200"/>
                <a:gd name="connsiteX15" fmla="*/ 486346 w 1739455"/>
                <a:gd name="connsiteY15" fmla="*/ 678561 h 1600200"/>
                <a:gd name="connsiteX16" fmla="*/ 486346 w 1739455"/>
                <a:gd name="connsiteY16" fmla="*/ 678561 h 1600200"/>
                <a:gd name="connsiteX17" fmla="*/ 486537 w 1739455"/>
                <a:gd name="connsiteY17" fmla="*/ 679990 h 1600200"/>
                <a:gd name="connsiteX18" fmla="*/ 486537 w 1739455"/>
                <a:gd name="connsiteY18" fmla="*/ 679990 h 1600200"/>
                <a:gd name="connsiteX19" fmla="*/ 486728 w 1739455"/>
                <a:gd name="connsiteY19" fmla="*/ 681419 h 1600200"/>
                <a:gd name="connsiteX20" fmla="*/ 486728 w 1739455"/>
                <a:gd name="connsiteY20" fmla="*/ 681419 h 1600200"/>
                <a:gd name="connsiteX21" fmla="*/ 486918 w 1739455"/>
                <a:gd name="connsiteY21" fmla="*/ 682847 h 1600200"/>
                <a:gd name="connsiteX22" fmla="*/ 486918 w 1739455"/>
                <a:gd name="connsiteY22" fmla="*/ 682847 h 1600200"/>
                <a:gd name="connsiteX23" fmla="*/ 509206 w 1739455"/>
                <a:gd name="connsiteY23" fmla="*/ 718852 h 1600200"/>
                <a:gd name="connsiteX24" fmla="*/ 509206 w 1739455"/>
                <a:gd name="connsiteY24" fmla="*/ 718852 h 1600200"/>
                <a:gd name="connsiteX25" fmla="*/ 510350 w 1739455"/>
                <a:gd name="connsiteY25" fmla="*/ 719709 h 1600200"/>
                <a:gd name="connsiteX26" fmla="*/ 510350 w 1739455"/>
                <a:gd name="connsiteY26" fmla="*/ 719709 h 1600200"/>
                <a:gd name="connsiteX27" fmla="*/ 511493 w 1739455"/>
                <a:gd name="connsiteY27" fmla="*/ 720471 h 1600200"/>
                <a:gd name="connsiteX28" fmla="*/ 511493 w 1739455"/>
                <a:gd name="connsiteY28" fmla="*/ 720471 h 1600200"/>
                <a:gd name="connsiteX29" fmla="*/ 512636 w 1739455"/>
                <a:gd name="connsiteY29" fmla="*/ 721233 h 1600200"/>
                <a:gd name="connsiteX30" fmla="*/ 512636 w 1739455"/>
                <a:gd name="connsiteY30" fmla="*/ 721233 h 1600200"/>
                <a:gd name="connsiteX31" fmla="*/ 513779 w 1739455"/>
                <a:gd name="connsiteY31" fmla="*/ 721995 h 1600200"/>
                <a:gd name="connsiteX32" fmla="*/ 513779 w 1739455"/>
                <a:gd name="connsiteY32" fmla="*/ 721995 h 1600200"/>
                <a:gd name="connsiteX33" fmla="*/ 514350 w 1739455"/>
                <a:gd name="connsiteY33" fmla="*/ 722281 h 1600200"/>
                <a:gd name="connsiteX34" fmla="*/ 515684 w 1739455"/>
                <a:gd name="connsiteY34" fmla="*/ 723043 h 1600200"/>
                <a:gd name="connsiteX35" fmla="*/ 516255 w 1739455"/>
                <a:gd name="connsiteY35" fmla="*/ 723329 h 1600200"/>
                <a:gd name="connsiteX36" fmla="*/ 516255 w 1739455"/>
                <a:gd name="connsiteY36" fmla="*/ 723329 h 1600200"/>
                <a:gd name="connsiteX37" fmla="*/ 517493 w 1739455"/>
                <a:gd name="connsiteY37" fmla="*/ 723995 h 1600200"/>
                <a:gd name="connsiteX38" fmla="*/ 517493 w 1739455"/>
                <a:gd name="connsiteY38" fmla="*/ 723995 h 1600200"/>
                <a:gd name="connsiteX39" fmla="*/ 518731 w 1739455"/>
                <a:gd name="connsiteY39" fmla="*/ 724662 h 1600200"/>
                <a:gd name="connsiteX40" fmla="*/ 518731 w 1739455"/>
                <a:gd name="connsiteY40" fmla="*/ 724662 h 1600200"/>
                <a:gd name="connsiteX41" fmla="*/ 519970 w 1739455"/>
                <a:gd name="connsiteY41" fmla="*/ 725234 h 1600200"/>
                <a:gd name="connsiteX42" fmla="*/ 519970 w 1739455"/>
                <a:gd name="connsiteY42" fmla="*/ 725234 h 1600200"/>
                <a:gd name="connsiteX43" fmla="*/ 521208 w 1739455"/>
                <a:gd name="connsiteY43" fmla="*/ 725805 h 1600200"/>
                <a:gd name="connsiteX44" fmla="*/ 521208 w 1739455"/>
                <a:gd name="connsiteY44" fmla="*/ 725805 h 1600200"/>
                <a:gd name="connsiteX45" fmla="*/ 522542 w 1739455"/>
                <a:gd name="connsiteY45" fmla="*/ 726377 h 1600200"/>
                <a:gd name="connsiteX46" fmla="*/ 522542 w 1739455"/>
                <a:gd name="connsiteY46" fmla="*/ 726377 h 1600200"/>
                <a:gd name="connsiteX47" fmla="*/ 523875 w 1739455"/>
                <a:gd name="connsiteY47" fmla="*/ 726853 h 1600200"/>
                <a:gd name="connsiteX48" fmla="*/ 523875 w 1739455"/>
                <a:gd name="connsiteY48" fmla="*/ 726853 h 1600200"/>
                <a:gd name="connsiteX49" fmla="*/ 525209 w 1739455"/>
                <a:gd name="connsiteY49" fmla="*/ 727329 h 1600200"/>
                <a:gd name="connsiteX50" fmla="*/ 525209 w 1739455"/>
                <a:gd name="connsiteY50" fmla="*/ 727329 h 1600200"/>
                <a:gd name="connsiteX51" fmla="*/ 525494 w 1739455"/>
                <a:gd name="connsiteY51" fmla="*/ 727424 h 1600200"/>
                <a:gd name="connsiteX52" fmla="*/ 527590 w 1739455"/>
                <a:gd name="connsiteY52" fmla="*/ 728091 h 1600200"/>
                <a:gd name="connsiteX53" fmla="*/ 527876 w 1739455"/>
                <a:gd name="connsiteY53" fmla="*/ 728186 h 1600200"/>
                <a:gd name="connsiteX54" fmla="*/ 527876 w 1739455"/>
                <a:gd name="connsiteY54" fmla="*/ 728186 h 1600200"/>
                <a:gd name="connsiteX55" fmla="*/ 529209 w 1739455"/>
                <a:gd name="connsiteY55" fmla="*/ 728567 h 1600200"/>
                <a:gd name="connsiteX56" fmla="*/ 529209 w 1739455"/>
                <a:gd name="connsiteY56" fmla="*/ 728567 h 1600200"/>
                <a:gd name="connsiteX57" fmla="*/ 530543 w 1739455"/>
                <a:gd name="connsiteY57" fmla="*/ 728948 h 1600200"/>
                <a:gd name="connsiteX58" fmla="*/ 530543 w 1739455"/>
                <a:gd name="connsiteY58" fmla="*/ 728948 h 1600200"/>
                <a:gd name="connsiteX59" fmla="*/ 531971 w 1739455"/>
                <a:gd name="connsiteY59" fmla="*/ 729234 h 1600200"/>
                <a:gd name="connsiteX60" fmla="*/ 531971 w 1739455"/>
                <a:gd name="connsiteY60" fmla="*/ 729234 h 1600200"/>
                <a:gd name="connsiteX61" fmla="*/ 533400 w 1739455"/>
                <a:gd name="connsiteY61" fmla="*/ 729520 h 1600200"/>
                <a:gd name="connsiteX62" fmla="*/ 533400 w 1739455"/>
                <a:gd name="connsiteY62" fmla="*/ 729520 h 1600200"/>
                <a:gd name="connsiteX63" fmla="*/ 533686 w 1739455"/>
                <a:gd name="connsiteY63" fmla="*/ 729520 h 1600200"/>
                <a:gd name="connsiteX64" fmla="*/ 536067 w 1739455"/>
                <a:gd name="connsiteY64" fmla="*/ 729901 h 1600200"/>
                <a:gd name="connsiteX65" fmla="*/ 536353 w 1739455"/>
                <a:gd name="connsiteY65" fmla="*/ 729901 h 1600200"/>
                <a:gd name="connsiteX66" fmla="*/ 536353 w 1739455"/>
                <a:gd name="connsiteY66" fmla="*/ 729901 h 1600200"/>
                <a:gd name="connsiteX67" fmla="*/ 537781 w 1739455"/>
                <a:gd name="connsiteY67" fmla="*/ 730091 h 1600200"/>
                <a:gd name="connsiteX68" fmla="*/ 537781 w 1739455"/>
                <a:gd name="connsiteY68" fmla="*/ 730091 h 1600200"/>
                <a:gd name="connsiteX69" fmla="*/ 539210 w 1739455"/>
                <a:gd name="connsiteY69" fmla="*/ 730187 h 1600200"/>
                <a:gd name="connsiteX70" fmla="*/ 539210 w 1739455"/>
                <a:gd name="connsiteY70" fmla="*/ 730187 h 1600200"/>
                <a:gd name="connsiteX71" fmla="*/ 540639 w 1739455"/>
                <a:gd name="connsiteY71" fmla="*/ 730282 h 1600200"/>
                <a:gd name="connsiteX72" fmla="*/ 540639 w 1739455"/>
                <a:gd name="connsiteY72" fmla="*/ 730282 h 1600200"/>
                <a:gd name="connsiteX73" fmla="*/ 541115 w 1739455"/>
                <a:gd name="connsiteY73" fmla="*/ 730282 h 1600200"/>
                <a:gd name="connsiteX74" fmla="*/ 544259 w 1739455"/>
                <a:gd name="connsiteY74" fmla="*/ 730377 h 1600200"/>
                <a:gd name="connsiteX75" fmla="*/ 563594 w 1739455"/>
                <a:gd name="connsiteY75" fmla="*/ 730377 h 1600200"/>
                <a:gd name="connsiteX76" fmla="*/ 565880 w 1739455"/>
                <a:gd name="connsiteY76" fmla="*/ 730377 h 1600200"/>
                <a:gd name="connsiteX77" fmla="*/ 646843 w 1739455"/>
                <a:gd name="connsiteY77" fmla="*/ 811339 h 1600200"/>
                <a:gd name="connsiteX78" fmla="*/ 646843 w 1739455"/>
                <a:gd name="connsiteY78" fmla="*/ 814864 h 1600200"/>
                <a:gd name="connsiteX79" fmla="*/ 646843 w 1739455"/>
                <a:gd name="connsiteY79" fmla="*/ 816388 h 1600200"/>
                <a:gd name="connsiteX80" fmla="*/ 646843 w 1739455"/>
                <a:gd name="connsiteY80" fmla="*/ 816388 h 1600200"/>
                <a:gd name="connsiteX81" fmla="*/ 646938 w 1739455"/>
                <a:gd name="connsiteY81" fmla="*/ 817817 h 1600200"/>
                <a:gd name="connsiteX82" fmla="*/ 646938 w 1739455"/>
                <a:gd name="connsiteY82" fmla="*/ 817817 h 1600200"/>
                <a:gd name="connsiteX83" fmla="*/ 647033 w 1739455"/>
                <a:gd name="connsiteY83" fmla="*/ 819245 h 1600200"/>
                <a:gd name="connsiteX84" fmla="*/ 647033 w 1739455"/>
                <a:gd name="connsiteY84" fmla="*/ 819245 h 1600200"/>
                <a:gd name="connsiteX85" fmla="*/ 647129 w 1739455"/>
                <a:gd name="connsiteY85" fmla="*/ 820674 h 1600200"/>
                <a:gd name="connsiteX86" fmla="*/ 647129 w 1739455"/>
                <a:gd name="connsiteY86" fmla="*/ 820674 h 1600200"/>
                <a:gd name="connsiteX87" fmla="*/ 647319 w 1739455"/>
                <a:gd name="connsiteY87" fmla="*/ 822103 h 1600200"/>
                <a:gd name="connsiteX88" fmla="*/ 647319 w 1739455"/>
                <a:gd name="connsiteY88" fmla="*/ 822103 h 1600200"/>
                <a:gd name="connsiteX89" fmla="*/ 647510 w 1739455"/>
                <a:gd name="connsiteY89" fmla="*/ 823531 h 1600200"/>
                <a:gd name="connsiteX90" fmla="*/ 647510 w 1739455"/>
                <a:gd name="connsiteY90" fmla="*/ 823531 h 1600200"/>
                <a:gd name="connsiteX91" fmla="*/ 647795 w 1739455"/>
                <a:gd name="connsiteY91" fmla="*/ 824960 h 1600200"/>
                <a:gd name="connsiteX92" fmla="*/ 647795 w 1739455"/>
                <a:gd name="connsiteY92" fmla="*/ 824960 h 1600200"/>
                <a:gd name="connsiteX93" fmla="*/ 648081 w 1739455"/>
                <a:gd name="connsiteY93" fmla="*/ 826389 h 1600200"/>
                <a:gd name="connsiteX94" fmla="*/ 648081 w 1739455"/>
                <a:gd name="connsiteY94" fmla="*/ 826389 h 1600200"/>
                <a:gd name="connsiteX95" fmla="*/ 648367 w 1739455"/>
                <a:gd name="connsiteY95" fmla="*/ 827818 h 1600200"/>
                <a:gd name="connsiteX96" fmla="*/ 648367 w 1739455"/>
                <a:gd name="connsiteY96" fmla="*/ 827818 h 1600200"/>
                <a:gd name="connsiteX97" fmla="*/ 648748 w 1739455"/>
                <a:gd name="connsiteY97" fmla="*/ 829247 h 1600200"/>
                <a:gd name="connsiteX98" fmla="*/ 648748 w 1739455"/>
                <a:gd name="connsiteY98" fmla="*/ 829247 h 1600200"/>
                <a:gd name="connsiteX99" fmla="*/ 700088 w 1739455"/>
                <a:gd name="connsiteY99" fmla="*/ 872300 h 1600200"/>
                <a:gd name="connsiteX100" fmla="*/ 700088 w 1739455"/>
                <a:gd name="connsiteY100" fmla="*/ 872300 h 1600200"/>
                <a:gd name="connsiteX101" fmla="*/ 701516 w 1739455"/>
                <a:gd name="connsiteY101" fmla="*/ 872395 h 1600200"/>
                <a:gd name="connsiteX102" fmla="*/ 701516 w 1739455"/>
                <a:gd name="connsiteY102" fmla="*/ 872395 h 1600200"/>
                <a:gd name="connsiteX103" fmla="*/ 701993 w 1739455"/>
                <a:gd name="connsiteY103" fmla="*/ 872395 h 1600200"/>
                <a:gd name="connsiteX104" fmla="*/ 705136 w 1739455"/>
                <a:gd name="connsiteY104" fmla="*/ 872490 h 1600200"/>
                <a:gd name="connsiteX105" fmla="*/ 712565 w 1739455"/>
                <a:gd name="connsiteY105" fmla="*/ 872490 h 1600200"/>
                <a:gd name="connsiteX106" fmla="*/ 793528 w 1739455"/>
                <a:gd name="connsiteY106" fmla="*/ 953453 h 1600200"/>
                <a:gd name="connsiteX107" fmla="*/ 793528 w 1739455"/>
                <a:gd name="connsiteY107" fmla="*/ 956977 h 1600200"/>
                <a:gd name="connsiteX108" fmla="*/ 793528 w 1739455"/>
                <a:gd name="connsiteY108" fmla="*/ 958501 h 1600200"/>
                <a:gd name="connsiteX109" fmla="*/ 793528 w 1739455"/>
                <a:gd name="connsiteY109" fmla="*/ 958501 h 1600200"/>
                <a:gd name="connsiteX110" fmla="*/ 793623 w 1739455"/>
                <a:gd name="connsiteY110" fmla="*/ 959930 h 1600200"/>
                <a:gd name="connsiteX111" fmla="*/ 793623 w 1739455"/>
                <a:gd name="connsiteY111" fmla="*/ 959930 h 1600200"/>
                <a:gd name="connsiteX112" fmla="*/ 793718 w 1739455"/>
                <a:gd name="connsiteY112" fmla="*/ 961358 h 1600200"/>
                <a:gd name="connsiteX113" fmla="*/ 793718 w 1739455"/>
                <a:gd name="connsiteY113" fmla="*/ 961358 h 1600200"/>
                <a:gd name="connsiteX114" fmla="*/ 793813 w 1739455"/>
                <a:gd name="connsiteY114" fmla="*/ 962787 h 1600200"/>
                <a:gd name="connsiteX115" fmla="*/ 793813 w 1739455"/>
                <a:gd name="connsiteY115" fmla="*/ 962787 h 1600200"/>
                <a:gd name="connsiteX116" fmla="*/ 794004 w 1739455"/>
                <a:gd name="connsiteY116" fmla="*/ 964216 h 1600200"/>
                <a:gd name="connsiteX117" fmla="*/ 794004 w 1739455"/>
                <a:gd name="connsiteY117" fmla="*/ 964216 h 1600200"/>
                <a:gd name="connsiteX118" fmla="*/ 794195 w 1739455"/>
                <a:gd name="connsiteY118" fmla="*/ 965645 h 1600200"/>
                <a:gd name="connsiteX119" fmla="*/ 794195 w 1739455"/>
                <a:gd name="connsiteY119" fmla="*/ 965645 h 1600200"/>
                <a:gd name="connsiteX120" fmla="*/ 823151 w 1739455"/>
                <a:gd name="connsiteY120" fmla="*/ 1007269 h 1600200"/>
                <a:gd name="connsiteX121" fmla="*/ 823722 w 1739455"/>
                <a:gd name="connsiteY121" fmla="*/ 1007555 h 1600200"/>
                <a:gd name="connsiteX122" fmla="*/ 823722 w 1739455"/>
                <a:gd name="connsiteY122" fmla="*/ 1007555 h 1600200"/>
                <a:gd name="connsiteX123" fmla="*/ 824960 w 1739455"/>
                <a:gd name="connsiteY123" fmla="*/ 1008221 h 1600200"/>
                <a:gd name="connsiteX124" fmla="*/ 824960 w 1739455"/>
                <a:gd name="connsiteY124" fmla="*/ 1008221 h 1600200"/>
                <a:gd name="connsiteX125" fmla="*/ 826198 w 1739455"/>
                <a:gd name="connsiteY125" fmla="*/ 1008888 h 1600200"/>
                <a:gd name="connsiteX126" fmla="*/ 826198 w 1739455"/>
                <a:gd name="connsiteY126" fmla="*/ 1008888 h 1600200"/>
                <a:gd name="connsiteX127" fmla="*/ 827437 w 1739455"/>
                <a:gd name="connsiteY127" fmla="*/ 1009460 h 1600200"/>
                <a:gd name="connsiteX128" fmla="*/ 827437 w 1739455"/>
                <a:gd name="connsiteY128" fmla="*/ 1009460 h 1600200"/>
                <a:gd name="connsiteX129" fmla="*/ 828675 w 1739455"/>
                <a:gd name="connsiteY129" fmla="*/ 1010031 h 1600200"/>
                <a:gd name="connsiteX130" fmla="*/ 828675 w 1739455"/>
                <a:gd name="connsiteY130" fmla="*/ 1010031 h 1600200"/>
                <a:gd name="connsiteX131" fmla="*/ 830009 w 1739455"/>
                <a:gd name="connsiteY131" fmla="*/ 1010603 h 1600200"/>
                <a:gd name="connsiteX132" fmla="*/ 830009 w 1739455"/>
                <a:gd name="connsiteY132" fmla="*/ 1010603 h 1600200"/>
                <a:gd name="connsiteX133" fmla="*/ 831342 w 1739455"/>
                <a:gd name="connsiteY133" fmla="*/ 1011079 h 1600200"/>
                <a:gd name="connsiteX134" fmla="*/ 831342 w 1739455"/>
                <a:gd name="connsiteY134" fmla="*/ 1011079 h 1600200"/>
                <a:gd name="connsiteX135" fmla="*/ 832676 w 1739455"/>
                <a:gd name="connsiteY135" fmla="*/ 1011555 h 1600200"/>
                <a:gd name="connsiteX136" fmla="*/ 832676 w 1739455"/>
                <a:gd name="connsiteY136" fmla="*/ 1011555 h 1600200"/>
                <a:gd name="connsiteX137" fmla="*/ 832961 w 1739455"/>
                <a:gd name="connsiteY137" fmla="*/ 1011650 h 1600200"/>
                <a:gd name="connsiteX138" fmla="*/ 835057 w 1739455"/>
                <a:gd name="connsiteY138" fmla="*/ 1012317 h 1600200"/>
                <a:gd name="connsiteX139" fmla="*/ 835343 w 1739455"/>
                <a:gd name="connsiteY139" fmla="*/ 1012412 h 1600200"/>
                <a:gd name="connsiteX140" fmla="*/ 835343 w 1739455"/>
                <a:gd name="connsiteY140" fmla="*/ 1012412 h 1600200"/>
                <a:gd name="connsiteX141" fmla="*/ 836676 w 1739455"/>
                <a:gd name="connsiteY141" fmla="*/ 1012793 h 1600200"/>
                <a:gd name="connsiteX142" fmla="*/ 836676 w 1739455"/>
                <a:gd name="connsiteY142" fmla="*/ 1012793 h 1600200"/>
                <a:gd name="connsiteX143" fmla="*/ 838010 w 1739455"/>
                <a:gd name="connsiteY143" fmla="*/ 1013174 h 1600200"/>
                <a:gd name="connsiteX144" fmla="*/ 838010 w 1739455"/>
                <a:gd name="connsiteY144" fmla="*/ 1013174 h 1600200"/>
                <a:gd name="connsiteX145" fmla="*/ 839438 w 1739455"/>
                <a:gd name="connsiteY145" fmla="*/ 1013460 h 1600200"/>
                <a:gd name="connsiteX146" fmla="*/ 839438 w 1739455"/>
                <a:gd name="connsiteY146" fmla="*/ 1013460 h 1600200"/>
                <a:gd name="connsiteX147" fmla="*/ 840867 w 1739455"/>
                <a:gd name="connsiteY147" fmla="*/ 1013746 h 1600200"/>
                <a:gd name="connsiteX148" fmla="*/ 840867 w 1739455"/>
                <a:gd name="connsiteY148" fmla="*/ 1013746 h 1600200"/>
                <a:gd name="connsiteX149" fmla="*/ 841153 w 1739455"/>
                <a:gd name="connsiteY149" fmla="*/ 1013746 h 1600200"/>
                <a:gd name="connsiteX150" fmla="*/ 843534 w 1739455"/>
                <a:gd name="connsiteY150" fmla="*/ 1014127 h 1600200"/>
                <a:gd name="connsiteX151" fmla="*/ 843820 w 1739455"/>
                <a:gd name="connsiteY151" fmla="*/ 1014127 h 1600200"/>
                <a:gd name="connsiteX152" fmla="*/ 843820 w 1739455"/>
                <a:gd name="connsiteY152" fmla="*/ 1014127 h 1600200"/>
                <a:gd name="connsiteX153" fmla="*/ 845248 w 1739455"/>
                <a:gd name="connsiteY153" fmla="*/ 1014317 h 1600200"/>
                <a:gd name="connsiteX154" fmla="*/ 845248 w 1739455"/>
                <a:gd name="connsiteY154" fmla="*/ 1014317 h 1600200"/>
                <a:gd name="connsiteX155" fmla="*/ 846677 w 1739455"/>
                <a:gd name="connsiteY155" fmla="*/ 1014413 h 1600200"/>
                <a:gd name="connsiteX156" fmla="*/ 846677 w 1739455"/>
                <a:gd name="connsiteY156" fmla="*/ 1014413 h 1600200"/>
                <a:gd name="connsiteX157" fmla="*/ 848106 w 1739455"/>
                <a:gd name="connsiteY157" fmla="*/ 1014508 h 1600200"/>
                <a:gd name="connsiteX158" fmla="*/ 848106 w 1739455"/>
                <a:gd name="connsiteY158" fmla="*/ 1014508 h 1600200"/>
                <a:gd name="connsiteX159" fmla="*/ 848582 w 1739455"/>
                <a:gd name="connsiteY159" fmla="*/ 1014508 h 1600200"/>
                <a:gd name="connsiteX160" fmla="*/ 851726 w 1739455"/>
                <a:gd name="connsiteY160" fmla="*/ 1014603 h 1600200"/>
                <a:gd name="connsiteX161" fmla="*/ 871156 w 1739455"/>
                <a:gd name="connsiteY161" fmla="*/ 1014603 h 1600200"/>
                <a:gd name="connsiteX162" fmla="*/ 878110 w 1739455"/>
                <a:gd name="connsiteY162" fmla="*/ 1014603 h 1600200"/>
                <a:gd name="connsiteX163" fmla="*/ 959072 w 1739455"/>
                <a:gd name="connsiteY163" fmla="*/ 1095566 h 1600200"/>
                <a:gd name="connsiteX164" fmla="*/ 959072 w 1739455"/>
                <a:gd name="connsiteY164" fmla="*/ 1105376 h 1600200"/>
                <a:gd name="connsiteX165" fmla="*/ 959072 w 1739455"/>
                <a:gd name="connsiteY165" fmla="*/ 1106805 h 1600200"/>
                <a:gd name="connsiteX166" fmla="*/ 959072 w 1739455"/>
                <a:gd name="connsiteY166" fmla="*/ 1106805 h 1600200"/>
                <a:gd name="connsiteX167" fmla="*/ 959168 w 1739455"/>
                <a:gd name="connsiteY167" fmla="*/ 1108234 h 1600200"/>
                <a:gd name="connsiteX168" fmla="*/ 959168 w 1739455"/>
                <a:gd name="connsiteY168" fmla="*/ 1108234 h 1600200"/>
                <a:gd name="connsiteX169" fmla="*/ 959263 w 1739455"/>
                <a:gd name="connsiteY169" fmla="*/ 1109663 h 1600200"/>
                <a:gd name="connsiteX170" fmla="*/ 959263 w 1739455"/>
                <a:gd name="connsiteY170" fmla="*/ 1109663 h 1600200"/>
                <a:gd name="connsiteX171" fmla="*/ 959358 w 1739455"/>
                <a:gd name="connsiteY171" fmla="*/ 1111091 h 1600200"/>
                <a:gd name="connsiteX172" fmla="*/ 959358 w 1739455"/>
                <a:gd name="connsiteY172" fmla="*/ 1111091 h 1600200"/>
                <a:gd name="connsiteX173" fmla="*/ 959548 w 1739455"/>
                <a:gd name="connsiteY173" fmla="*/ 1112520 h 1600200"/>
                <a:gd name="connsiteX174" fmla="*/ 959548 w 1739455"/>
                <a:gd name="connsiteY174" fmla="*/ 1112520 h 1600200"/>
                <a:gd name="connsiteX175" fmla="*/ 959739 w 1739455"/>
                <a:gd name="connsiteY175" fmla="*/ 1113949 h 1600200"/>
                <a:gd name="connsiteX176" fmla="*/ 959739 w 1739455"/>
                <a:gd name="connsiteY176" fmla="*/ 1113949 h 1600200"/>
                <a:gd name="connsiteX177" fmla="*/ 959930 w 1739455"/>
                <a:gd name="connsiteY177" fmla="*/ 1115378 h 1600200"/>
                <a:gd name="connsiteX178" fmla="*/ 959930 w 1739455"/>
                <a:gd name="connsiteY178" fmla="*/ 1115378 h 1600200"/>
                <a:gd name="connsiteX179" fmla="*/ 960215 w 1739455"/>
                <a:gd name="connsiteY179" fmla="*/ 1116806 h 1600200"/>
                <a:gd name="connsiteX180" fmla="*/ 960215 w 1739455"/>
                <a:gd name="connsiteY180" fmla="*/ 1116806 h 1600200"/>
                <a:gd name="connsiteX181" fmla="*/ 960501 w 1739455"/>
                <a:gd name="connsiteY181" fmla="*/ 1118235 h 1600200"/>
                <a:gd name="connsiteX182" fmla="*/ 960501 w 1739455"/>
                <a:gd name="connsiteY182" fmla="*/ 1118235 h 1600200"/>
                <a:gd name="connsiteX183" fmla="*/ 960882 w 1739455"/>
                <a:gd name="connsiteY183" fmla="*/ 1119664 h 1600200"/>
                <a:gd name="connsiteX184" fmla="*/ 960882 w 1739455"/>
                <a:gd name="connsiteY184" fmla="*/ 1119664 h 1600200"/>
                <a:gd name="connsiteX185" fmla="*/ 961263 w 1739455"/>
                <a:gd name="connsiteY185" fmla="*/ 1120997 h 1600200"/>
                <a:gd name="connsiteX186" fmla="*/ 961263 w 1739455"/>
                <a:gd name="connsiteY186" fmla="*/ 1120997 h 1600200"/>
                <a:gd name="connsiteX187" fmla="*/ 961644 w 1739455"/>
                <a:gd name="connsiteY187" fmla="*/ 1122331 h 1600200"/>
                <a:gd name="connsiteX188" fmla="*/ 961644 w 1739455"/>
                <a:gd name="connsiteY188" fmla="*/ 1122331 h 1600200"/>
                <a:gd name="connsiteX189" fmla="*/ 962120 w 1739455"/>
                <a:gd name="connsiteY189" fmla="*/ 1123664 h 1600200"/>
                <a:gd name="connsiteX190" fmla="*/ 962120 w 1739455"/>
                <a:gd name="connsiteY190" fmla="*/ 1123664 h 1600200"/>
                <a:gd name="connsiteX191" fmla="*/ 962597 w 1739455"/>
                <a:gd name="connsiteY191" fmla="*/ 1124998 h 1600200"/>
                <a:gd name="connsiteX192" fmla="*/ 962597 w 1739455"/>
                <a:gd name="connsiteY192" fmla="*/ 1124998 h 1600200"/>
                <a:gd name="connsiteX193" fmla="*/ 963073 w 1739455"/>
                <a:gd name="connsiteY193" fmla="*/ 1126331 h 1600200"/>
                <a:gd name="connsiteX194" fmla="*/ 963073 w 1739455"/>
                <a:gd name="connsiteY194" fmla="*/ 1126331 h 1600200"/>
                <a:gd name="connsiteX195" fmla="*/ 963644 w 1739455"/>
                <a:gd name="connsiteY195" fmla="*/ 1127665 h 1600200"/>
                <a:gd name="connsiteX196" fmla="*/ 963644 w 1739455"/>
                <a:gd name="connsiteY196" fmla="*/ 1127665 h 1600200"/>
                <a:gd name="connsiteX197" fmla="*/ 964216 w 1739455"/>
                <a:gd name="connsiteY197" fmla="*/ 1128903 h 1600200"/>
                <a:gd name="connsiteX198" fmla="*/ 964216 w 1739455"/>
                <a:gd name="connsiteY198" fmla="*/ 1128903 h 1600200"/>
                <a:gd name="connsiteX199" fmla="*/ 964787 w 1739455"/>
                <a:gd name="connsiteY199" fmla="*/ 1130141 h 1600200"/>
                <a:gd name="connsiteX200" fmla="*/ 964787 w 1739455"/>
                <a:gd name="connsiteY200" fmla="*/ 1130141 h 1600200"/>
                <a:gd name="connsiteX201" fmla="*/ 965454 w 1739455"/>
                <a:gd name="connsiteY201" fmla="*/ 1131380 h 1600200"/>
                <a:gd name="connsiteX202" fmla="*/ 965454 w 1739455"/>
                <a:gd name="connsiteY202" fmla="*/ 1131380 h 1600200"/>
                <a:gd name="connsiteX203" fmla="*/ 966121 w 1739455"/>
                <a:gd name="connsiteY203" fmla="*/ 1132618 h 1600200"/>
                <a:gd name="connsiteX204" fmla="*/ 966121 w 1739455"/>
                <a:gd name="connsiteY204" fmla="*/ 1132618 h 1600200"/>
                <a:gd name="connsiteX205" fmla="*/ 966788 w 1739455"/>
                <a:gd name="connsiteY205" fmla="*/ 1133856 h 1600200"/>
                <a:gd name="connsiteX206" fmla="*/ 966788 w 1739455"/>
                <a:gd name="connsiteY206" fmla="*/ 1133856 h 1600200"/>
                <a:gd name="connsiteX207" fmla="*/ 967454 w 1739455"/>
                <a:gd name="connsiteY207" fmla="*/ 1135094 h 1600200"/>
                <a:gd name="connsiteX208" fmla="*/ 967454 w 1739455"/>
                <a:gd name="connsiteY208" fmla="*/ 1135094 h 1600200"/>
                <a:gd name="connsiteX209" fmla="*/ 968216 w 1739455"/>
                <a:gd name="connsiteY209" fmla="*/ 1136237 h 1600200"/>
                <a:gd name="connsiteX210" fmla="*/ 968216 w 1739455"/>
                <a:gd name="connsiteY210" fmla="*/ 1136237 h 1600200"/>
                <a:gd name="connsiteX211" fmla="*/ 968978 w 1739455"/>
                <a:gd name="connsiteY211" fmla="*/ 1137380 h 1600200"/>
                <a:gd name="connsiteX212" fmla="*/ 968978 w 1739455"/>
                <a:gd name="connsiteY212" fmla="*/ 1137380 h 1600200"/>
                <a:gd name="connsiteX213" fmla="*/ 969740 w 1739455"/>
                <a:gd name="connsiteY213" fmla="*/ 1138523 h 1600200"/>
                <a:gd name="connsiteX214" fmla="*/ 969740 w 1739455"/>
                <a:gd name="connsiteY214" fmla="*/ 1138523 h 1600200"/>
                <a:gd name="connsiteX215" fmla="*/ 970597 w 1739455"/>
                <a:gd name="connsiteY215" fmla="*/ 1139666 h 1600200"/>
                <a:gd name="connsiteX216" fmla="*/ 970597 w 1739455"/>
                <a:gd name="connsiteY216" fmla="*/ 1139666 h 1600200"/>
                <a:gd name="connsiteX217" fmla="*/ 971455 w 1739455"/>
                <a:gd name="connsiteY217" fmla="*/ 1140809 h 1600200"/>
                <a:gd name="connsiteX218" fmla="*/ 971455 w 1739455"/>
                <a:gd name="connsiteY218" fmla="*/ 1140809 h 1600200"/>
                <a:gd name="connsiteX219" fmla="*/ 972312 w 1739455"/>
                <a:gd name="connsiteY219" fmla="*/ 1141857 h 1600200"/>
                <a:gd name="connsiteX220" fmla="*/ 972312 w 1739455"/>
                <a:gd name="connsiteY220" fmla="*/ 1141857 h 1600200"/>
                <a:gd name="connsiteX221" fmla="*/ 973169 w 1739455"/>
                <a:gd name="connsiteY221" fmla="*/ 1142905 h 1600200"/>
                <a:gd name="connsiteX222" fmla="*/ 973169 w 1739455"/>
                <a:gd name="connsiteY222" fmla="*/ 1142905 h 1600200"/>
                <a:gd name="connsiteX223" fmla="*/ 974122 w 1739455"/>
                <a:gd name="connsiteY223" fmla="*/ 1143953 h 1600200"/>
                <a:gd name="connsiteX224" fmla="*/ 974122 w 1739455"/>
                <a:gd name="connsiteY224" fmla="*/ 1143953 h 1600200"/>
                <a:gd name="connsiteX225" fmla="*/ 975074 w 1739455"/>
                <a:gd name="connsiteY225" fmla="*/ 1145000 h 1600200"/>
                <a:gd name="connsiteX226" fmla="*/ 975074 w 1739455"/>
                <a:gd name="connsiteY226" fmla="*/ 1145000 h 1600200"/>
                <a:gd name="connsiteX227" fmla="*/ 976027 w 1739455"/>
                <a:gd name="connsiteY227" fmla="*/ 1145953 h 1600200"/>
                <a:gd name="connsiteX228" fmla="*/ 976027 w 1739455"/>
                <a:gd name="connsiteY228" fmla="*/ 1145953 h 1600200"/>
                <a:gd name="connsiteX229" fmla="*/ 976979 w 1739455"/>
                <a:gd name="connsiteY229" fmla="*/ 1146905 h 1600200"/>
                <a:gd name="connsiteX230" fmla="*/ 976979 w 1739455"/>
                <a:gd name="connsiteY230" fmla="*/ 1146905 h 1600200"/>
                <a:gd name="connsiteX231" fmla="*/ 978027 w 1739455"/>
                <a:gd name="connsiteY231" fmla="*/ 1147858 h 1600200"/>
                <a:gd name="connsiteX232" fmla="*/ 978027 w 1739455"/>
                <a:gd name="connsiteY232" fmla="*/ 1147858 h 1600200"/>
                <a:gd name="connsiteX233" fmla="*/ 979075 w 1739455"/>
                <a:gd name="connsiteY233" fmla="*/ 1148810 h 1600200"/>
                <a:gd name="connsiteX234" fmla="*/ 979075 w 1739455"/>
                <a:gd name="connsiteY234" fmla="*/ 1148810 h 1600200"/>
                <a:gd name="connsiteX235" fmla="*/ 980122 w 1739455"/>
                <a:gd name="connsiteY235" fmla="*/ 1149668 h 1600200"/>
                <a:gd name="connsiteX236" fmla="*/ 980122 w 1739455"/>
                <a:gd name="connsiteY236" fmla="*/ 1149668 h 1600200"/>
                <a:gd name="connsiteX237" fmla="*/ 981170 w 1739455"/>
                <a:gd name="connsiteY237" fmla="*/ 1150525 h 1600200"/>
                <a:gd name="connsiteX238" fmla="*/ 981170 w 1739455"/>
                <a:gd name="connsiteY238" fmla="*/ 1150525 h 1600200"/>
                <a:gd name="connsiteX239" fmla="*/ 982218 w 1739455"/>
                <a:gd name="connsiteY239" fmla="*/ 1151382 h 1600200"/>
                <a:gd name="connsiteX240" fmla="*/ 982218 w 1739455"/>
                <a:gd name="connsiteY240" fmla="*/ 1151382 h 1600200"/>
                <a:gd name="connsiteX241" fmla="*/ 983361 w 1739455"/>
                <a:gd name="connsiteY241" fmla="*/ 1152239 h 1600200"/>
                <a:gd name="connsiteX242" fmla="*/ 983361 w 1739455"/>
                <a:gd name="connsiteY242" fmla="*/ 1152239 h 1600200"/>
                <a:gd name="connsiteX243" fmla="*/ 984504 w 1739455"/>
                <a:gd name="connsiteY243" fmla="*/ 1153001 h 1600200"/>
                <a:gd name="connsiteX244" fmla="*/ 984504 w 1739455"/>
                <a:gd name="connsiteY244" fmla="*/ 1153001 h 1600200"/>
                <a:gd name="connsiteX245" fmla="*/ 985647 w 1739455"/>
                <a:gd name="connsiteY245" fmla="*/ 1153763 h 1600200"/>
                <a:gd name="connsiteX246" fmla="*/ 985647 w 1739455"/>
                <a:gd name="connsiteY246" fmla="*/ 1153763 h 1600200"/>
                <a:gd name="connsiteX247" fmla="*/ 986790 w 1739455"/>
                <a:gd name="connsiteY247" fmla="*/ 1154525 h 1600200"/>
                <a:gd name="connsiteX248" fmla="*/ 986790 w 1739455"/>
                <a:gd name="connsiteY248" fmla="*/ 1154525 h 1600200"/>
                <a:gd name="connsiteX249" fmla="*/ 988028 w 1739455"/>
                <a:gd name="connsiteY249" fmla="*/ 1155192 h 1600200"/>
                <a:gd name="connsiteX250" fmla="*/ 988028 w 1739455"/>
                <a:gd name="connsiteY250" fmla="*/ 1155192 h 1600200"/>
                <a:gd name="connsiteX251" fmla="*/ 989267 w 1739455"/>
                <a:gd name="connsiteY251" fmla="*/ 1155859 h 1600200"/>
                <a:gd name="connsiteX252" fmla="*/ 989267 w 1739455"/>
                <a:gd name="connsiteY252" fmla="*/ 1155859 h 1600200"/>
                <a:gd name="connsiteX253" fmla="*/ 990505 w 1739455"/>
                <a:gd name="connsiteY253" fmla="*/ 1156526 h 1600200"/>
                <a:gd name="connsiteX254" fmla="*/ 990505 w 1739455"/>
                <a:gd name="connsiteY254" fmla="*/ 1156526 h 1600200"/>
                <a:gd name="connsiteX255" fmla="*/ 991743 w 1739455"/>
                <a:gd name="connsiteY255" fmla="*/ 1157192 h 1600200"/>
                <a:gd name="connsiteX256" fmla="*/ 991743 w 1739455"/>
                <a:gd name="connsiteY256" fmla="*/ 1157192 h 1600200"/>
                <a:gd name="connsiteX257" fmla="*/ 992981 w 1739455"/>
                <a:gd name="connsiteY257" fmla="*/ 1157764 h 1600200"/>
                <a:gd name="connsiteX258" fmla="*/ 992981 w 1739455"/>
                <a:gd name="connsiteY258" fmla="*/ 1157764 h 1600200"/>
                <a:gd name="connsiteX259" fmla="*/ 994220 w 1739455"/>
                <a:gd name="connsiteY259" fmla="*/ 1158335 h 1600200"/>
                <a:gd name="connsiteX260" fmla="*/ 994220 w 1739455"/>
                <a:gd name="connsiteY260" fmla="*/ 1158335 h 1600200"/>
                <a:gd name="connsiteX261" fmla="*/ 995553 w 1739455"/>
                <a:gd name="connsiteY261" fmla="*/ 1158907 h 1600200"/>
                <a:gd name="connsiteX262" fmla="*/ 995553 w 1739455"/>
                <a:gd name="connsiteY262" fmla="*/ 1158907 h 1600200"/>
                <a:gd name="connsiteX263" fmla="*/ 996887 w 1739455"/>
                <a:gd name="connsiteY263" fmla="*/ 1159383 h 1600200"/>
                <a:gd name="connsiteX264" fmla="*/ 996887 w 1739455"/>
                <a:gd name="connsiteY264" fmla="*/ 1159383 h 1600200"/>
                <a:gd name="connsiteX265" fmla="*/ 998220 w 1739455"/>
                <a:gd name="connsiteY265" fmla="*/ 1159859 h 1600200"/>
                <a:gd name="connsiteX266" fmla="*/ 998220 w 1739455"/>
                <a:gd name="connsiteY266" fmla="*/ 1159859 h 1600200"/>
                <a:gd name="connsiteX267" fmla="*/ 999554 w 1739455"/>
                <a:gd name="connsiteY267" fmla="*/ 1160336 h 1600200"/>
                <a:gd name="connsiteX268" fmla="*/ 999554 w 1739455"/>
                <a:gd name="connsiteY268" fmla="*/ 1160336 h 1600200"/>
                <a:gd name="connsiteX269" fmla="*/ 1000887 w 1739455"/>
                <a:gd name="connsiteY269" fmla="*/ 1160717 h 1600200"/>
                <a:gd name="connsiteX270" fmla="*/ 1000887 w 1739455"/>
                <a:gd name="connsiteY270" fmla="*/ 1160717 h 1600200"/>
                <a:gd name="connsiteX271" fmla="*/ 1002221 w 1739455"/>
                <a:gd name="connsiteY271" fmla="*/ 1161098 h 1600200"/>
                <a:gd name="connsiteX272" fmla="*/ 1002221 w 1739455"/>
                <a:gd name="connsiteY272" fmla="*/ 1161098 h 1600200"/>
                <a:gd name="connsiteX273" fmla="*/ 1003554 w 1739455"/>
                <a:gd name="connsiteY273" fmla="*/ 1161479 h 1600200"/>
                <a:gd name="connsiteX274" fmla="*/ 1003554 w 1739455"/>
                <a:gd name="connsiteY274" fmla="*/ 1161479 h 1600200"/>
                <a:gd name="connsiteX275" fmla="*/ 1004983 w 1739455"/>
                <a:gd name="connsiteY275" fmla="*/ 1161764 h 1600200"/>
                <a:gd name="connsiteX276" fmla="*/ 1004983 w 1739455"/>
                <a:gd name="connsiteY276" fmla="*/ 1161764 h 1600200"/>
                <a:gd name="connsiteX277" fmla="*/ 1006412 w 1739455"/>
                <a:gd name="connsiteY277" fmla="*/ 1162050 h 1600200"/>
                <a:gd name="connsiteX278" fmla="*/ 1006412 w 1739455"/>
                <a:gd name="connsiteY278" fmla="*/ 1162050 h 1600200"/>
                <a:gd name="connsiteX279" fmla="*/ 1007840 w 1739455"/>
                <a:gd name="connsiteY279" fmla="*/ 1162336 h 1600200"/>
                <a:gd name="connsiteX280" fmla="*/ 1007840 w 1739455"/>
                <a:gd name="connsiteY280" fmla="*/ 1162336 h 1600200"/>
                <a:gd name="connsiteX281" fmla="*/ 1009269 w 1739455"/>
                <a:gd name="connsiteY281" fmla="*/ 1162526 h 1600200"/>
                <a:gd name="connsiteX282" fmla="*/ 1009269 w 1739455"/>
                <a:gd name="connsiteY282" fmla="*/ 1162526 h 1600200"/>
                <a:gd name="connsiteX283" fmla="*/ 1010698 w 1739455"/>
                <a:gd name="connsiteY283" fmla="*/ 1162717 h 1600200"/>
                <a:gd name="connsiteX284" fmla="*/ 1010698 w 1739455"/>
                <a:gd name="connsiteY284" fmla="*/ 1162717 h 1600200"/>
                <a:gd name="connsiteX285" fmla="*/ 1012127 w 1739455"/>
                <a:gd name="connsiteY285" fmla="*/ 1162812 h 1600200"/>
                <a:gd name="connsiteX286" fmla="*/ 1012127 w 1739455"/>
                <a:gd name="connsiteY286" fmla="*/ 1162812 h 1600200"/>
                <a:gd name="connsiteX287" fmla="*/ 1013555 w 1739455"/>
                <a:gd name="connsiteY287" fmla="*/ 1162907 h 1600200"/>
                <a:gd name="connsiteX288" fmla="*/ 1013555 w 1739455"/>
                <a:gd name="connsiteY288" fmla="*/ 1162907 h 1600200"/>
                <a:gd name="connsiteX289" fmla="*/ 1014031 w 1739455"/>
                <a:gd name="connsiteY289" fmla="*/ 1162907 h 1600200"/>
                <a:gd name="connsiteX290" fmla="*/ 1017175 w 1739455"/>
                <a:gd name="connsiteY290" fmla="*/ 1163003 h 1600200"/>
                <a:gd name="connsiteX291" fmla="*/ 1047560 w 1739455"/>
                <a:gd name="connsiteY291" fmla="*/ 1163003 h 1600200"/>
                <a:gd name="connsiteX292" fmla="*/ 1199483 w 1739455"/>
                <a:gd name="connsiteY292" fmla="*/ 1163003 h 1600200"/>
                <a:gd name="connsiteX293" fmla="*/ 1280446 w 1739455"/>
                <a:gd name="connsiteY293" fmla="*/ 1243965 h 1600200"/>
                <a:gd name="connsiteX294" fmla="*/ 1280446 w 1739455"/>
                <a:gd name="connsiteY294" fmla="*/ 1375886 h 1600200"/>
                <a:gd name="connsiteX295" fmla="*/ 1280446 w 1739455"/>
                <a:gd name="connsiteY295" fmla="*/ 1539431 h 1600200"/>
                <a:gd name="connsiteX296" fmla="*/ 1280446 w 1739455"/>
                <a:gd name="connsiteY296" fmla="*/ 1542574 h 1600200"/>
                <a:gd name="connsiteX297" fmla="*/ 1338072 w 1739455"/>
                <a:gd name="connsiteY297" fmla="*/ 1600200 h 1600200"/>
                <a:gd name="connsiteX298" fmla="*/ 1358075 w 1739455"/>
                <a:gd name="connsiteY298" fmla="*/ 1600200 h 1600200"/>
                <a:gd name="connsiteX299" fmla="*/ 1415701 w 1739455"/>
                <a:gd name="connsiteY299" fmla="*/ 1542574 h 1600200"/>
                <a:gd name="connsiteX300" fmla="*/ 1415701 w 1739455"/>
                <a:gd name="connsiteY300" fmla="*/ 1534477 h 1600200"/>
                <a:gd name="connsiteX301" fmla="*/ 1496663 w 1739455"/>
                <a:gd name="connsiteY301" fmla="*/ 1453515 h 1600200"/>
                <a:gd name="connsiteX302" fmla="*/ 1527239 w 1739455"/>
                <a:gd name="connsiteY302" fmla="*/ 1453515 h 1600200"/>
                <a:gd name="connsiteX303" fmla="*/ 1584865 w 1739455"/>
                <a:gd name="connsiteY303" fmla="*/ 1395889 h 1600200"/>
                <a:gd name="connsiteX304" fmla="*/ 1584865 w 1739455"/>
                <a:gd name="connsiteY304" fmla="*/ 1375886 h 1600200"/>
                <a:gd name="connsiteX305" fmla="*/ 1546765 w 1739455"/>
                <a:gd name="connsiteY305" fmla="*/ 1321689 h 1600200"/>
                <a:gd name="connsiteX306" fmla="*/ 1477518 w 1739455"/>
                <a:gd name="connsiteY306" fmla="*/ 1318070 h 1600200"/>
                <a:gd name="connsiteX307" fmla="*/ 1429988 w 1739455"/>
                <a:gd name="connsiteY307" fmla="*/ 1231487 h 1600200"/>
                <a:gd name="connsiteX308" fmla="*/ 1498759 w 1739455"/>
                <a:gd name="connsiteY308" fmla="*/ 1164527 h 1600200"/>
                <a:gd name="connsiteX309" fmla="*/ 1681829 w 1739455"/>
                <a:gd name="connsiteY309" fmla="*/ 1164527 h 1600200"/>
                <a:gd name="connsiteX310" fmla="*/ 1739456 w 1739455"/>
                <a:gd name="connsiteY310" fmla="*/ 1106900 h 1600200"/>
                <a:gd name="connsiteX311" fmla="*/ 1739456 w 1739455"/>
                <a:gd name="connsiteY311" fmla="*/ 1086898 h 1600200"/>
                <a:gd name="connsiteX312" fmla="*/ 1681829 w 1739455"/>
                <a:gd name="connsiteY312" fmla="*/ 1029272 h 1600200"/>
                <a:gd name="connsiteX313" fmla="*/ 1498854 w 1739455"/>
                <a:gd name="connsiteY313" fmla="*/ 1029272 h 1600200"/>
                <a:gd name="connsiteX314" fmla="*/ 1417892 w 1739455"/>
                <a:gd name="connsiteY314" fmla="*/ 948309 h 1600200"/>
                <a:gd name="connsiteX315" fmla="*/ 1417892 w 1739455"/>
                <a:gd name="connsiteY315" fmla="*/ 942594 h 1600200"/>
                <a:gd name="connsiteX316" fmla="*/ 1360265 w 1739455"/>
                <a:gd name="connsiteY316" fmla="*/ 884968 h 1600200"/>
                <a:gd name="connsiteX317" fmla="*/ 1186148 w 1739455"/>
                <a:gd name="connsiteY317" fmla="*/ 884968 h 1600200"/>
                <a:gd name="connsiteX318" fmla="*/ 1105186 w 1739455"/>
                <a:gd name="connsiteY318" fmla="*/ 804005 h 1600200"/>
                <a:gd name="connsiteX319" fmla="*/ 1105186 w 1739455"/>
                <a:gd name="connsiteY319" fmla="*/ 646176 h 1600200"/>
                <a:gd name="connsiteX320" fmla="*/ 1097089 w 1739455"/>
                <a:gd name="connsiteY320" fmla="*/ 616839 h 1600200"/>
                <a:gd name="connsiteX321" fmla="*/ 1096423 w 1739455"/>
                <a:gd name="connsiteY321" fmla="*/ 615696 h 1600200"/>
                <a:gd name="connsiteX322" fmla="*/ 1046417 w 1739455"/>
                <a:gd name="connsiteY322" fmla="*/ 586550 h 1600200"/>
                <a:gd name="connsiteX323" fmla="*/ 1024128 w 1739455"/>
                <a:gd name="connsiteY323" fmla="*/ 586550 h 1600200"/>
                <a:gd name="connsiteX324" fmla="*/ 943165 w 1739455"/>
                <a:gd name="connsiteY324" fmla="*/ 505587 h 1600200"/>
                <a:gd name="connsiteX325" fmla="*/ 943165 w 1739455"/>
                <a:gd name="connsiteY325" fmla="*/ 505206 h 1600200"/>
                <a:gd name="connsiteX326" fmla="*/ 885539 w 1739455"/>
                <a:gd name="connsiteY326" fmla="*/ 446818 h 1600200"/>
                <a:gd name="connsiteX327" fmla="*/ 844772 w 1739455"/>
                <a:gd name="connsiteY327" fmla="*/ 445580 h 1600200"/>
                <a:gd name="connsiteX328" fmla="*/ 795242 w 1739455"/>
                <a:gd name="connsiteY328" fmla="*/ 388525 h 1600200"/>
                <a:gd name="connsiteX329" fmla="*/ 795242 w 1739455"/>
                <a:gd name="connsiteY329" fmla="*/ 368522 h 1600200"/>
                <a:gd name="connsiteX330" fmla="*/ 852869 w 1739455"/>
                <a:gd name="connsiteY330" fmla="*/ 310896 h 1600200"/>
                <a:gd name="connsiteX331" fmla="*/ 952119 w 1739455"/>
                <a:gd name="connsiteY331" fmla="*/ 310896 h 1600200"/>
                <a:gd name="connsiteX332" fmla="*/ 951167 w 1739455"/>
                <a:gd name="connsiteY332" fmla="*/ 57626 h 1600200"/>
                <a:gd name="connsiteX333" fmla="*/ 893540 w 1739455"/>
                <a:gd name="connsiteY333" fmla="*/ 0 h 1600200"/>
                <a:gd name="connsiteX334" fmla="*/ 214598 w 1739455"/>
                <a:gd name="connsiteY334" fmla="*/ 0 h 1600200"/>
                <a:gd name="connsiteX335" fmla="*/ 157353 w 1739455"/>
                <a:gd name="connsiteY335" fmla="*/ 51149 h 1600200"/>
                <a:gd name="connsiteX336" fmla="*/ 157353 w 1739455"/>
                <a:gd name="connsiteY336" fmla="*/ 93059 h 1600200"/>
                <a:gd name="connsiteX337" fmla="*/ 99727 w 1739455"/>
                <a:gd name="connsiteY337" fmla="*/ 150686 h 1600200"/>
                <a:gd name="connsiteX338" fmla="*/ 0 w 1739455"/>
                <a:gd name="connsiteY338" fmla="*/ 150686 h 1600200"/>
                <a:gd name="connsiteX339" fmla="*/ 476 w 1739455"/>
                <a:gd name="connsiteY339" fmla="*/ 514921 h 1600200"/>
                <a:gd name="connsiteX340" fmla="*/ 476 w 1739455"/>
                <a:gd name="connsiteY340" fmla="*/ 514921 h 1600200"/>
                <a:gd name="connsiteX341" fmla="*/ 959358 w 1739455"/>
                <a:gd name="connsiteY341" fmla="*/ 1105281 h 1600200"/>
                <a:gd name="connsiteX342" fmla="*/ 959358 w 1739455"/>
                <a:gd name="connsiteY342" fmla="*/ 1105281 h 1600200"/>
                <a:gd name="connsiteX343" fmla="*/ 959358 w 1739455"/>
                <a:gd name="connsiteY343" fmla="*/ 1105281 h 1600200"/>
                <a:gd name="connsiteX344" fmla="*/ 959358 w 1739455"/>
                <a:gd name="connsiteY344" fmla="*/ 1105281 h 1600200"/>
                <a:gd name="connsiteX345" fmla="*/ 486156 w 1739455"/>
                <a:gd name="connsiteY345" fmla="*/ 672655 h 1600200"/>
                <a:gd name="connsiteX346" fmla="*/ 486156 w 1739455"/>
                <a:gd name="connsiteY346" fmla="*/ 672655 h 1600200"/>
                <a:gd name="connsiteX347" fmla="*/ 486156 w 1739455"/>
                <a:gd name="connsiteY347" fmla="*/ 672655 h 1600200"/>
                <a:gd name="connsiteX348" fmla="*/ 486156 w 1739455"/>
                <a:gd name="connsiteY348" fmla="*/ 672655 h 1600200"/>
                <a:gd name="connsiteX349" fmla="*/ 647033 w 1739455"/>
                <a:gd name="connsiteY349" fmla="*/ 814769 h 1600200"/>
                <a:gd name="connsiteX350" fmla="*/ 647033 w 1739455"/>
                <a:gd name="connsiteY350" fmla="*/ 814769 h 1600200"/>
                <a:gd name="connsiteX351" fmla="*/ 647033 w 1739455"/>
                <a:gd name="connsiteY351" fmla="*/ 814769 h 1600200"/>
                <a:gd name="connsiteX352" fmla="*/ 647033 w 1739455"/>
                <a:gd name="connsiteY352" fmla="*/ 814769 h 1600200"/>
                <a:gd name="connsiteX353" fmla="*/ 793813 w 1739455"/>
                <a:gd name="connsiteY353" fmla="*/ 956881 h 1600200"/>
                <a:gd name="connsiteX354" fmla="*/ 793813 w 1739455"/>
                <a:gd name="connsiteY354" fmla="*/ 956881 h 1600200"/>
                <a:gd name="connsiteX355" fmla="*/ 793813 w 1739455"/>
                <a:gd name="connsiteY355" fmla="*/ 956881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Lst>
              <a:rect l="l" t="t" r="r" b="b"/>
              <a:pathLst>
                <a:path w="1739455" h="1600200">
                  <a:moveTo>
                    <a:pt x="476" y="514921"/>
                  </a:moveTo>
                  <a:cubicBezTo>
                    <a:pt x="0" y="531686"/>
                    <a:pt x="10001" y="442722"/>
                    <a:pt x="48006" y="442722"/>
                  </a:cubicBezTo>
                  <a:lnTo>
                    <a:pt x="234791" y="442722"/>
                  </a:lnTo>
                  <a:cubicBezTo>
                    <a:pt x="271939" y="443389"/>
                    <a:pt x="319373" y="430435"/>
                    <a:pt x="319373" y="508063"/>
                  </a:cubicBezTo>
                  <a:lnTo>
                    <a:pt x="319373" y="527018"/>
                  </a:lnTo>
                  <a:cubicBezTo>
                    <a:pt x="319373" y="558737"/>
                    <a:pt x="345281" y="584645"/>
                    <a:pt x="377000" y="584645"/>
                  </a:cubicBezTo>
                  <a:lnTo>
                    <a:pt x="405098" y="584645"/>
                  </a:lnTo>
                  <a:cubicBezTo>
                    <a:pt x="449675" y="584645"/>
                    <a:pt x="486061" y="621030"/>
                    <a:pt x="486061" y="665607"/>
                  </a:cubicBezTo>
                  <a:lnTo>
                    <a:pt x="486061" y="672751"/>
                  </a:lnTo>
                  <a:lnTo>
                    <a:pt x="486061" y="674275"/>
                  </a:lnTo>
                  <a:lnTo>
                    <a:pt x="486061" y="674275"/>
                  </a:lnTo>
                  <a:lnTo>
                    <a:pt x="486156" y="675704"/>
                  </a:lnTo>
                  <a:lnTo>
                    <a:pt x="486156" y="675704"/>
                  </a:lnTo>
                  <a:lnTo>
                    <a:pt x="486251" y="677132"/>
                  </a:lnTo>
                  <a:lnTo>
                    <a:pt x="486251" y="677132"/>
                  </a:lnTo>
                  <a:lnTo>
                    <a:pt x="486346" y="678561"/>
                  </a:lnTo>
                  <a:lnTo>
                    <a:pt x="486346" y="678561"/>
                  </a:lnTo>
                  <a:lnTo>
                    <a:pt x="486537" y="679990"/>
                  </a:lnTo>
                  <a:lnTo>
                    <a:pt x="486537" y="679990"/>
                  </a:lnTo>
                  <a:lnTo>
                    <a:pt x="486728" y="681419"/>
                  </a:lnTo>
                  <a:lnTo>
                    <a:pt x="486728" y="681419"/>
                  </a:lnTo>
                  <a:lnTo>
                    <a:pt x="486918" y="682847"/>
                  </a:lnTo>
                  <a:lnTo>
                    <a:pt x="486918" y="682847"/>
                  </a:lnTo>
                  <a:cubicBezTo>
                    <a:pt x="489395" y="697039"/>
                    <a:pt x="497586" y="709994"/>
                    <a:pt x="509206" y="718852"/>
                  </a:cubicBezTo>
                  <a:lnTo>
                    <a:pt x="509206" y="718852"/>
                  </a:lnTo>
                  <a:lnTo>
                    <a:pt x="510350" y="719709"/>
                  </a:lnTo>
                  <a:lnTo>
                    <a:pt x="510350" y="719709"/>
                  </a:lnTo>
                  <a:lnTo>
                    <a:pt x="511493" y="720471"/>
                  </a:lnTo>
                  <a:lnTo>
                    <a:pt x="511493" y="720471"/>
                  </a:lnTo>
                  <a:lnTo>
                    <a:pt x="512636" y="721233"/>
                  </a:lnTo>
                  <a:lnTo>
                    <a:pt x="512636" y="721233"/>
                  </a:lnTo>
                  <a:lnTo>
                    <a:pt x="513779" y="721995"/>
                  </a:lnTo>
                  <a:lnTo>
                    <a:pt x="513779" y="721995"/>
                  </a:lnTo>
                  <a:lnTo>
                    <a:pt x="514350" y="722281"/>
                  </a:lnTo>
                  <a:cubicBezTo>
                    <a:pt x="514826" y="722567"/>
                    <a:pt x="515207" y="722757"/>
                    <a:pt x="515684" y="723043"/>
                  </a:cubicBezTo>
                  <a:lnTo>
                    <a:pt x="516255" y="723329"/>
                  </a:lnTo>
                  <a:lnTo>
                    <a:pt x="516255" y="723329"/>
                  </a:lnTo>
                  <a:lnTo>
                    <a:pt x="517493" y="723995"/>
                  </a:lnTo>
                  <a:lnTo>
                    <a:pt x="517493" y="723995"/>
                  </a:lnTo>
                  <a:lnTo>
                    <a:pt x="518731" y="724662"/>
                  </a:lnTo>
                  <a:lnTo>
                    <a:pt x="518731" y="724662"/>
                  </a:lnTo>
                  <a:lnTo>
                    <a:pt x="519970" y="725234"/>
                  </a:lnTo>
                  <a:lnTo>
                    <a:pt x="519970" y="725234"/>
                  </a:lnTo>
                  <a:cubicBezTo>
                    <a:pt x="520351" y="725424"/>
                    <a:pt x="520827" y="725614"/>
                    <a:pt x="521208" y="725805"/>
                  </a:cubicBezTo>
                  <a:lnTo>
                    <a:pt x="521208" y="725805"/>
                  </a:lnTo>
                  <a:lnTo>
                    <a:pt x="522542" y="726377"/>
                  </a:lnTo>
                  <a:lnTo>
                    <a:pt x="522542" y="726377"/>
                  </a:lnTo>
                  <a:lnTo>
                    <a:pt x="523875" y="726853"/>
                  </a:lnTo>
                  <a:lnTo>
                    <a:pt x="523875" y="726853"/>
                  </a:lnTo>
                  <a:lnTo>
                    <a:pt x="525209" y="727329"/>
                  </a:lnTo>
                  <a:lnTo>
                    <a:pt x="525209" y="727329"/>
                  </a:lnTo>
                  <a:lnTo>
                    <a:pt x="525494" y="727424"/>
                  </a:lnTo>
                  <a:cubicBezTo>
                    <a:pt x="526256" y="727615"/>
                    <a:pt x="526828" y="727805"/>
                    <a:pt x="527590" y="728091"/>
                  </a:cubicBezTo>
                  <a:lnTo>
                    <a:pt x="527876" y="728186"/>
                  </a:lnTo>
                  <a:lnTo>
                    <a:pt x="527876" y="728186"/>
                  </a:lnTo>
                  <a:lnTo>
                    <a:pt x="529209" y="728567"/>
                  </a:lnTo>
                  <a:lnTo>
                    <a:pt x="529209" y="728567"/>
                  </a:lnTo>
                  <a:lnTo>
                    <a:pt x="530543" y="728948"/>
                  </a:lnTo>
                  <a:lnTo>
                    <a:pt x="530543" y="728948"/>
                  </a:lnTo>
                  <a:lnTo>
                    <a:pt x="531971" y="729234"/>
                  </a:lnTo>
                  <a:lnTo>
                    <a:pt x="531971" y="729234"/>
                  </a:lnTo>
                  <a:cubicBezTo>
                    <a:pt x="532447" y="729329"/>
                    <a:pt x="532924" y="729425"/>
                    <a:pt x="533400" y="729520"/>
                  </a:cubicBezTo>
                  <a:lnTo>
                    <a:pt x="533400" y="729520"/>
                  </a:lnTo>
                  <a:lnTo>
                    <a:pt x="533686" y="729520"/>
                  </a:lnTo>
                  <a:cubicBezTo>
                    <a:pt x="534543" y="729615"/>
                    <a:pt x="535210" y="729805"/>
                    <a:pt x="536067" y="729901"/>
                  </a:cubicBezTo>
                  <a:lnTo>
                    <a:pt x="536353" y="729901"/>
                  </a:lnTo>
                  <a:lnTo>
                    <a:pt x="536353" y="729901"/>
                  </a:lnTo>
                  <a:lnTo>
                    <a:pt x="537781" y="730091"/>
                  </a:lnTo>
                  <a:lnTo>
                    <a:pt x="537781" y="730091"/>
                  </a:lnTo>
                  <a:lnTo>
                    <a:pt x="539210" y="730187"/>
                  </a:lnTo>
                  <a:lnTo>
                    <a:pt x="539210" y="730187"/>
                  </a:lnTo>
                  <a:lnTo>
                    <a:pt x="540639" y="730282"/>
                  </a:lnTo>
                  <a:lnTo>
                    <a:pt x="540639" y="730282"/>
                  </a:lnTo>
                  <a:lnTo>
                    <a:pt x="541115" y="730282"/>
                  </a:lnTo>
                  <a:cubicBezTo>
                    <a:pt x="542258" y="730282"/>
                    <a:pt x="543115" y="730377"/>
                    <a:pt x="544259" y="730377"/>
                  </a:cubicBezTo>
                  <a:lnTo>
                    <a:pt x="563594" y="730377"/>
                  </a:lnTo>
                  <a:lnTo>
                    <a:pt x="565880" y="730377"/>
                  </a:lnTo>
                  <a:cubicBezTo>
                    <a:pt x="610457" y="730377"/>
                    <a:pt x="646843" y="766763"/>
                    <a:pt x="646843" y="811339"/>
                  </a:cubicBezTo>
                  <a:lnTo>
                    <a:pt x="646843" y="814864"/>
                  </a:lnTo>
                  <a:lnTo>
                    <a:pt x="646843" y="816388"/>
                  </a:lnTo>
                  <a:lnTo>
                    <a:pt x="646843" y="816388"/>
                  </a:lnTo>
                  <a:lnTo>
                    <a:pt x="646938" y="817817"/>
                  </a:lnTo>
                  <a:lnTo>
                    <a:pt x="646938" y="817817"/>
                  </a:lnTo>
                  <a:lnTo>
                    <a:pt x="647033" y="819245"/>
                  </a:lnTo>
                  <a:lnTo>
                    <a:pt x="647033" y="819245"/>
                  </a:lnTo>
                  <a:lnTo>
                    <a:pt x="647129" y="820674"/>
                  </a:lnTo>
                  <a:lnTo>
                    <a:pt x="647129" y="820674"/>
                  </a:lnTo>
                  <a:lnTo>
                    <a:pt x="647319" y="822103"/>
                  </a:lnTo>
                  <a:lnTo>
                    <a:pt x="647319" y="822103"/>
                  </a:lnTo>
                  <a:lnTo>
                    <a:pt x="647510" y="823531"/>
                  </a:lnTo>
                  <a:lnTo>
                    <a:pt x="647510" y="823531"/>
                  </a:lnTo>
                  <a:lnTo>
                    <a:pt x="647795" y="824960"/>
                  </a:lnTo>
                  <a:lnTo>
                    <a:pt x="647795" y="824960"/>
                  </a:lnTo>
                  <a:cubicBezTo>
                    <a:pt x="647890" y="825437"/>
                    <a:pt x="647986" y="825913"/>
                    <a:pt x="648081" y="826389"/>
                  </a:cubicBezTo>
                  <a:lnTo>
                    <a:pt x="648081" y="826389"/>
                  </a:lnTo>
                  <a:lnTo>
                    <a:pt x="648367" y="827818"/>
                  </a:lnTo>
                  <a:lnTo>
                    <a:pt x="648367" y="827818"/>
                  </a:lnTo>
                  <a:lnTo>
                    <a:pt x="648748" y="829247"/>
                  </a:lnTo>
                  <a:lnTo>
                    <a:pt x="648748" y="829247"/>
                  </a:lnTo>
                  <a:cubicBezTo>
                    <a:pt x="654939" y="852392"/>
                    <a:pt x="675227" y="870204"/>
                    <a:pt x="700088" y="872300"/>
                  </a:cubicBezTo>
                  <a:lnTo>
                    <a:pt x="700088" y="872300"/>
                  </a:lnTo>
                  <a:lnTo>
                    <a:pt x="701516" y="872395"/>
                  </a:lnTo>
                  <a:lnTo>
                    <a:pt x="701516" y="872395"/>
                  </a:lnTo>
                  <a:lnTo>
                    <a:pt x="701993" y="872395"/>
                  </a:lnTo>
                  <a:cubicBezTo>
                    <a:pt x="703136" y="872395"/>
                    <a:pt x="703993" y="872490"/>
                    <a:pt x="705136" y="872490"/>
                  </a:cubicBezTo>
                  <a:lnTo>
                    <a:pt x="712565" y="872490"/>
                  </a:lnTo>
                  <a:cubicBezTo>
                    <a:pt x="757142" y="872490"/>
                    <a:pt x="793528" y="908876"/>
                    <a:pt x="793528" y="953453"/>
                  </a:cubicBezTo>
                  <a:lnTo>
                    <a:pt x="793528" y="956977"/>
                  </a:lnTo>
                  <a:lnTo>
                    <a:pt x="793528" y="958501"/>
                  </a:lnTo>
                  <a:lnTo>
                    <a:pt x="793528" y="958501"/>
                  </a:lnTo>
                  <a:lnTo>
                    <a:pt x="793623" y="959930"/>
                  </a:lnTo>
                  <a:lnTo>
                    <a:pt x="793623" y="959930"/>
                  </a:lnTo>
                  <a:lnTo>
                    <a:pt x="793718" y="961358"/>
                  </a:lnTo>
                  <a:lnTo>
                    <a:pt x="793718" y="961358"/>
                  </a:lnTo>
                  <a:lnTo>
                    <a:pt x="793813" y="962787"/>
                  </a:lnTo>
                  <a:lnTo>
                    <a:pt x="793813" y="962787"/>
                  </a:lnTo>
                  <a:lnTo>
                    <a:pt x="794004" y="964216"/>
                  </a:lnTo>
                  <a:lnTo>
                    <a:pt x="794004" y="964216"/>
                  </a:lnTo>
                  <a:lnTo>
                    <a:pt x="794195" y="965645"/>
                  </a:lnTo>
                  <a:lnTo>
                    <a:pt x="794195" y="965645"/>
                  </a:lnTo>
                  <a:cubicBezTo>
                    <a:pt x="797147" y="983361"/>
                    <a:pt x="807530" y="998315"/>
                    <a:pt x="823151" y="1007269"/>
                  </a:cubicBezTo>
                  <a:lnTo>
                    <a:pt x="823722" y="1007555"/>
                  </a:lnTo>
                  <a:lnTo>
                    <a:pt x="823722" y="1007555"/>
                  </a:lnTo>
                  <a:lnTo>
                    <a:pt x="824960" y="1008221"/>
                  </a:lnTo>
                  <a:lnTo>
                    <a:pt x="824960" y="1008221"/>
                  </a:lnTo>
                  <a:lnTo>
                    <a:pt x="826198" y="1008888"/>
                  </a:lnTo>
                  <a:lnTo>
                    <a:pt x="826198" y="1008888"/>
                  </a:lnTo>
                  <a:lnTo>
                    <a:pt x="827437" y="1009460"/>
                  </a:lnTo>
                  <a:lnTo>
                    <a:pt x="827437" y="1009460"/>
                  </a:lnTo>
                  <a:cubicBezTo>
                    <a:pt x="827818" y="1009650"/>
                    <a:pt x="828294" y="1009841"/>
                    <a:pt x="828675" y="1010031"/>
                  </a:cubicBezTo>
                  <a:lnTo>
                    <a:pt x="828675" y="1010031"/>
                  </a:lnTo>
                  <a:lnTo>
                    <a:pt x="830009" y="1010603"/>
                  </a:lnTo>
                  <a:lnTo>
                    <a:pt x="830009" y="1010603"/>
                  </a:lnTo>
                  <a:lnTo>
                    <a:pt x="831342" y="1011079"/>
                  </a:lnTo>
                  <a:lnTo>
                    <a:pt x="831342" y="1011079"/>
                  </a:lnTo>
                  <a:lnTo>
                    <a:pt x="832676" y="1011555"/>
                  </a:lnTo>
                  <a:lnTo>
                    <a:pt x="832676" y="1011555"/>
                  </a:lnTo>
                  <a:lnTo>
                    <a:pt x="832961" y="1011650"/>
                  </a:lnTo>
                  <a:cubicBezTo>
                    <a:pt x="833723" y="1011841"/>
                    <a:pt x="834295" y="1012031"/>
                    <a:pt x="835057" y="1012317"/>
                  </a:cubicBezTo>
                  <a:lnTo>
                    <a:pt x="835343" y="1012412"/>
                  </a:lnTo>
                  <a:lnTo>
                    <a:pt x="835343" y="1012412"/>
                  </a:lnTo>
                  <a:lnTo>
                    <a:pt x="836676" y="1012793"/>
                  </a:lnTo>
                  <a:lnTo>
                    <a:pt x="836676" y="1012793"/>
                  </a:lnTo>
                  <a:lnTo>
                    <a:pt x="838010" y="1013174"/>
                  </a:lnTo>
                  <a:lnTo>
                    <a:pt x="838010" y="1013174"/>
                  </a:lnTo>
                  <a:lnTo>
                    <a:pt x="839438" y="1013460"/>
                  </a:lnTo>
                  <a:lnTo>
                    <a:pt x="839438" y="1013460"/>
                  </a:lnTo>
                  <a:cubicBezTo>
                    <a:pt x="839914" y="1013555"/>
                    <a:pt x="840391" y="1013651"/>
                    <a:pt x="840867" y="1013746"/>
                  </a:cubicBezTo>
                  <a:lnTo>
                    <a:pt x="840867" y="1013746"/>
                  </a:lnTo>
                  <a:lnTo>
                    <a:pt x="841153" y="1013746"/>
                  </a:lnTo>
                  <a:cubicBezTo>
                    <a:pt x="842010" y="1013841"/>
                    <a:pt x="842677" y="1014031"/>
                    <a:pt x="843534" y="1014127"/>
                  </a:cubicBezTo>
                  <a:lnTo>
                    <a:pt x="843820" y="1014127"/>
                  </a:lnTo>
                  <a:lnTo>
                    <a:pt x="843820" y="1014127"/>
                  </a:lnTo>
                  <a:lnTo>
                    <a:pt x="845248" y="1014317"/>
                  </a:lnTo>
                  <a:lnTo>
                    <a:pt x="845248" y="1014317"/>
                  </a:lnTo>
                  <a:lnTo>
                    <a:pt x="846677" y="1014413"/>
                  </a:lnTo>
                  <a:lnTo>
                    <a:pt x="846677" y="1014413"/>
                  </a:lnTo>
                  <a:lnTo>
                    <a:pt x="848106" y="1014508"/>
                  </a:lnTo>
                  <a:lnTo>
                    <a:pt x="848106" y="1014508"/>
                  </a:lnTo>
                  <a:lnTo>
                    <a:pt x="848582" y="1014508"/>
                  </a:lnTo>
                  <a:cubicBezTo>
                    <a:pt x="849725" y="1014508"/>
                    <a:pt x="850583" y="1014603"/>
                    <a:pt x="851726" y="1014603"/>
                  </a:cubicBezTo>
                  <a:lnTo>
                    <a:pt x="871156" y="1014603"/>
                  </a:lnTo>
                  <a:lnTo>
                    <a:pt x="878110" y="1014603"/>
                  </a:lnTo>
                  <a:cubicBezTo>
                    <a:pt x="922687" y="1014603"/>
                    <a:pt x="959072" y="1050989"/>
                    <a:pt x="959072" y="1095566"/>
                  </a:cubicBezTo>
                  <a:lnTo>
                    <a:pt x="959072" y="1105376"/>
                  </a:lnTo>
                  <a:lnTo>
                    <a:pt x="959072" y="1106805"/>
                  </a:lnTo>
                  <a:lnTo>
                    <a:pt x="959072" y="1106805"/>
                  </a:lnTo>
                  <a:lnTo>
                    <a:pt x="959168" y="1108234"/>
                  </a:lnTo>
                  <a:lnTo>
                    <a:pt x="959168" y="1108234"/>
                  </a:lnTo>
                  <a:lnTo>
                    <a:pt x="959263" y="1109663"/>
                  </a:lnTo>
                  <a:lnTo>
                    <a:pt x="959263" y="1109663"/>
                  </a:lnTo>
                  <a:lnTo>
                    <a:pt x="959358" y="1111091"/>
                  </a:lnTo>
                  <a:lnTo>
                    <a:pt x="959358" y="1111091"/>
                  </a:lnTo>
                  <a:lnTo>
                    <a:pt x="959548" y="1112520"/>
                  </a:lnTo>
                  <a:lnTo>
                    <a:pt x="959548" y="1112520"/>
                  </a:lnTo>
                  <a:lnTo>
                    <a:pt x="959739" y="1113949"/>
                  </a:lnTo>
                  <a:lnTo>
                    <a:pt x="959739" y="1113949"/>
                  </a:lnTo>
                  <a:lnTo>
                    <a:pt x="959930" y="1115378"/>
                  </a:lnTo>
                  <a:lnTo>
                    <a:pt x="959930" y="1115378"/>
                  </a:lnTo>
                  <a:cubicBezTo>
                    <a:pt x="960025" y="1115854"/>
                    <a:pt x="960120" y="1116330"/>
                    <a:pt x="960215" y="1116806"/>
                  </a:cubicBezTo>
                  <a:lnTo>
                    <a:pt x="960215" y="1116806"/>
                  </a:lnTo>
                  <a:lnTo>
                    <a:pt x="960501" y="1118235"/>
                  </a:lnTo>
                  <a:lnTo>
                    <a:pt x="960501" y="1118235"/>
                  </a:lnTo>
                  <a:lnTo>
                    <a:pt x="960882" y="1119664"/>
                  </a:lnTo>
                  <a:lnTo>
                    <a:pt x="960882" y="1119664"/>
                  </a:lnTo>
                  <a:lnTo>
                    <a:pt x="961263" y="1120997"/>
                  </a:lnTo>
                  <a:lnTo>
                    <a:pt x="961263" y="1120997"/>
                  </a:lnTo>
                  <a:lnTo>
                    <a:pt x="961644" y="1122331"/>
                  </a:lnTo>
                  <a:lnTo>
                    <a:pt x="961644" y="1122331"/>
                  </a:lnTo>
                  <a:lnTo>
                    <a:pt x="962120" y="1123664"/>
                  </a:lnTo>
                  <a:lnTo>
                    <a:pt x="962120" y="1123664"/>
                  </a:lnTo>
                  <a:lnTo>
                    <a:pt x="962597" y="1124998"/>
                  </a:lnTo>
                  <a:lnTo>
                    <a:pt x="962597" y="1124998"/>
                  </a:lnTo>
                  <a:lnTo>
                    <a:pt x="963073" y="1126331"/>
                  </a:lnTo>
                  <a:lnTo>
                    <a:pt x="963073" y="1126331"/>
                  </a:lnTo>
                  <a:lnTo>
                    <a:pt x="963644" y="1127665"/>
                  </a:lnTo>
                  <a:lnTo>
                    <a:pt x="963644" y="1127665"/>
                  </a:lnTo>
                  <a:lnTo>
                    <a:pt x="964216" y="1128903"/>
                  </a:lnTo>
                  <a:lnTo>
                    <a:pt x="964216" y="1128903"/>
                  </a:lnTo>
                  <a:lnTo>
                    <a:pt x="964787" y="1130141"/>
                  </a:lnTo>
                  <a:lnTo>
                    <a:pt x="964787" y="1130141"/>
                  </a:lnTo>
                  <a:lnTo>
                    <a:pt x="965454" y="1131380"/>
                  </a:lnTo>
                  <a:lnTo>
                    <a:pt x="965454" y="1131380"/>
                  </a:lnTo>
                  <a:cubicBezTo>
                    <a:pt x="965645" y="1131761"/>
                    <a:pt x="965835" y="1132237"/>
                    <a:pt x="966121" y="1132618"/>
                  </a:cubicBezTo>
                  <a:lnTo>
                    <a:pt x="966121" y="1132618"/>
                  </a:lnTo>
                  <a:lnTo>
                    <a:pt x="966788" y="1133856"/>
                  </a:lnTo>
                  <a:lnTo>
                    <a:pt x="966788" y="1133856"/>
                  </a:lnTo>
                  <a:cubicBezTo>
                    <a:pt x="966978" y="1134237"/>
                    <a:pt x="967264" y="1134618"/>
                    <a:pt x="967454" y="1135094"/>
                  </a:cubicBezTo>
                  <a:lnTo>
                    <a:pt x="967454" y="1135094"/>
                  </a:lnTo>
                  <a:lnTo>
                    <a:pt x="968216" y="1136237"/>
                  </a:lnTo>
                  <a:lnTo>
                    <a:pt x="968216" y="1136237"/>
                  </a:lnTo>
                  <a:lnTo>
                    <a:pt x="968978" y="1137380"/>
                  </a:lnTo>
                  <a:lnTo>
                    <a:pt x="968978" y="1137380"/>
                  </a:lnTo>
                  <a:lnTo>
                    <a:pt x="969740" y="1138523"/>
                  </a:lnTo>
                  <a:lnTo>
                    <a:pt x="969740" y="1138523"/>
                  </a:lnTo>
                  <a:lnTo>
                    <a:pt x="970597" y="1139666"/>
                  </a:lnTo>
                  <a:lnTo>
                    <a:pt x="970597" y="1139666"/>
                  </a:lnTo>
                  <a:lnTo>
                    <a:pt x="971455" y="1140809"/>
                  </a:lnTo>
                  <a:lnTo>
                    <a:pt x="971455" y="1140809"/>
                  </a:lnTo>
                  <a:cubicBezTo>
                    <a:pt x="971740" y="1141190"/>
                    <a:pt x="972026" y="1141571"/>
                    <a:pt x="972312" y="1141857"/>
                  </a:cubicBezTo>
                  <a:lnTo>
                    <a:pt x="972312" y="1141857"/>
                  </a:lnTo>
                  <a:lnTo>
                    <a:pt x="973169" y="1142905"/>
                  </a:lnTo>
                  <a:lnTo>
                    <a:pt x="973169" y="1142905"/>
                  </a:lnTo>
                  <a:lnTo>
                    <a:pt x="974122" y="1143953"/>
                  </a:lnTo>
                  <a:lnTo>
                    <a:pt x="974122" y="1143953"/>
                  </a:lnTo>
                  <a:lnTo>
                    <a:pt x="975074" y="1145000"/>
                  </a:lnTo>
                  <a:lnTo>
                    <a:pt x="975074" y="1145000"/>
                  </a:lnTo>
                  <a:lnTo>
                    <a:pt x="976027" y="1145953"/>
                  </a:lnTo>
                  <a:lnTo>
                    <a:pt x="976027" y="1145953"/>
                  </a:lnTo>
                  <a:lnTo>
                    <a:pt x="976979" y="1146905"/>
                  </a:lnTo>
                  <a:lnTo>
                    <a:pt x="976979" y="1146905"/>
                  </a:lnTo>
                  <a:lnTo>
                    <a:pt x="978027" y="1147858"/>
                  </a:lnTo>
                  <a:lnTo>
                    <a:pt x="978027" y="1147858"/>
                  </a:lnTo>
                  <a:lnTo>
                    <a:pt x="979075" y="1148810"/>
                  </a:lnTo>
                  <a:lnTo>
                    <a:pt x="979075" y="1148810"/>
                  </a:lnTo>
                  <a:lnTo>
                    <a:pt x="980122" y="1149668"/>
                  </a:lnTo>
                  <a:lnTo>
                    <a:pt x="980122" y="1149668"/>
                  </a:lnTo>
                  <a:cubicBezTo>
                    <a:pt x="980504" y="1149953"/>
                    <a:pt x="980885" y="1150239"/>
                    <a:pt x="981170" y="1150525"/>
                  </a:cubicBezTo>
                  <a:lnTo>
                    <a:pt x="981170" y="1150525"/>
                  </a:lnTo>
                  <a:cubicBezTo>
                    <a:pt x="981551" y="1150811"/>
                    <a:pt x="981932" y="1151096"/>
                    <a:pt x="982218" y="1151382"/>
                  </a:cubicBezTo>
                  <a:lnTo>
                    <a:pt x="982218" y="1151382"/>
                  </a:lnTo>
                  <a:lnTo>
                    <a:pt x="983361" y="1152239"/>
                  </a:lnTo>
                  <a:lnTo>
                    <a:pt x="983361" y="1152239"/>
                  </a:lnTo>
                  <a:lnTo>
                    <a:pt x="984504" y="1153001"/>
                  </a:lnTo>
                  <a:lnTo>
                    <a:pt x="984504" y="1153001"/>
                  </a:lnTo>
                  <a:lnTo>
                    <a:pt x="985647" y="1153763"/>
                  </a:lnTo>
                  <a:lnTo>
                    <a:pt x="985647" y="1153763"/>
                  </a:lnTo>
                  <a:lnTo>
                    <a:pt x="986790" y="1154525"/>
                  </a:lnTo>
                  <a:lnTo>
                    <a:pt x="986790" y="1154525"/>
                  </a:lnTo>
                  <a:lnTo>
                    <a:pt x="988028" y="1155192"/>
                  </a:lnTo>
                  <a:lnTo>
                    <a:pt x="988028" y="1155192"/>
                  </a:lnTo>
                  <a:lnTo>
                    <a:pt x="989267" y="1155859"/>
                  </a:lnTo>
                  <a:lnTo>
                    <a:pt x="989267" y="1155859"/>
                  </a:lnTo>
                  <a:lnTo>
                    <a:pt x="990505" y="1156526"/>
                  </a:lnTo>
                  <a:lnTo>
                    <a:pt x="990505" y="1156526"/>
                  </a:lnTo>
                  <a:lnTo>
                    <a:pt x="991743" y="1157192"/>
                  </a:lnTo>
                  <a:lnTo>
                    <a:pt x="991743" y="1157192"/>
                  </a:lnTo>
                  <a:lnTo>
                    <a:pt x="992981" y="1157764"/>
                  </a:lnTo>
                  <a:lnTo>
                    <a:pt x="992981" y="1157764"/>
                  </a:lnTo>
                  <a:cubicBezTo>
                    <a:pt x="993362" y="1157954"/>
                    <a:pt x="993838" y="1158145"/>
                    <a:pt x="994220" y="1158335"/>
                  </a:cubicBezTo>
                  <a:lnTo>
                    <a:pt x="994220" y="1158335"/>
                  </a:lnTo>
                  <a:lnTo>
                    <a:pt x="995553" y="1158907"/>
                  </a:lnTo>
                  <a:lnTo>
                    <a:pt x="995553" y="1158907"/>
                  </a:lnTo>
                  <a:lnTo>
                    <a:pt x="996887" y="1159383"/>
                  </a:lnTo>
                  <a:lnTo>
                    <a:pt x="996887" y="1159383"/>
                  </a:lnTo>
                  <a:lnTo>
                    <a:pt x="998220" y="1159859"/>
                  </a:lnTo>
                  <a:lnTo>
                    <a:pt x="998220" y="1159859"/>
                  </a:lnTo>
                  <a:lnTo>
                    <a:pt x="999554" y="1160336"/>
                  </a:lnTo>
                  <a:lnTo>
                    <a:pt x="999554" y="1160336"/>
                  </a:lnTo>
                  <a:lnTo>
                    <a:pt x="1000887" y="1160717"/>
                  </a:lnTo>
                  <a:lnTo>
                    <a:pt x="1000887" y="1160717"/>
                  </a:lnTo>
                  <a:lnTo>
                    <a:pt x="1002221" y="1161098"/>
                  </a:lnTo>
                  <a:lnTo>
                    <a:pt x="1002221" y="1161098"/>
                  </a:lnTo>
                  <a:lnTo>
                    <a:pt x="1003554" y="1161479"/>
                  </a:lnTo>
                  <a:lnTo>
                    <a:pt x="1003554" y="1161479"/>
                  </a:lnTo>
                  <a:lnTo>
                    <a:pt x="1004983" y="1161764"/>
                  </a:lnTo>
                  <a:lnTo>
                    <a:pt x="1004983" y="1161764"/>
                  </a:lnTo>
                  <a:cubicBezTo>
                    <a:pt x="1005459" y="1161860"/>
                    <a:pt x="1005935" y="1161955"/>
                    <a:pt x="1006412" y="1162050"/>
                  </a:cubicBezTo>
                  <a:lnTo>
                    <a:pt x="1006412" y="1162050"/>
                  </a:lnTo>
                  <a:lnTo>
                    <a:pt x="1007840" y="1162336"/>
                  </a:lnTo>
                  <a:lnTo>
                    <a:pt x="1007840" y="1162336"/>
                  </a:lnTo>
                  <a:lnTo>
                    <a:pt x="1009269" y="1162526"/>
                  </a:lnTo>
                  <a:lnTo>
                    <a:pt x="1009269" y="1162526"/>
                  </a:lnTo>
                  <a:lnTo>
                    <a:pt x="1010698" y="1162717"/>
                  </a:lnTo>
                  <a:lnTo>
                    <a:pt x="1010698" y="1162717"/>
                  </a:lnTo>
                  <a:lnTo>
                    <a:pt x="1012127" y="1162812"/>
                  </a:lnTo>
                  <a:lnTo>
                    <a:pt x="1012127" y="1162812"/>
                  </a:lnTo>
                  <a:lnTo>
                    <a:pt x="1013555" y="1162907"/>
                  </a:lnTo>
                  <a:lnTo>
                    <a:pt x="1013555" y="1162907"/>
                  </a:lnTo>
                  <a:lnTo>
                    <a:pt x="1014031" y="1162907"/>
                  </a:lnTo>
                  <a:cubicBezTo>
                    <a:pt x="1015079" y="1162907"/>
                    <a:pt x="1016032" y="1163003"/>
                    <a:pt x="1017175" y="1163003"/>
                  </a:cubicBezTo>
                  <a:lnTo>
                    <a:pt x="1047560" y="1163003"/>
                  </a:lnTo>
                  <a:lnTo>
                    <a:pt x="1199483" y="1163003"/>
                  </a:lnTo>
                  <a:cubicBezTo>
                    <a:pt x="1244060" y="1163003"/>
                    <a:pt x="1280446" y="1199388"/>
                    <a:pt x="1280446" y="1243965"/>
                  </a:cubicBezTo>
                  <a:lnTo>
                    <a:pt x="1280446" y="1375886"/>
                  </a:lnTo>
                  <a:lnTo>
                    <a:pt x="1280446" y="1539431"/>
                  </a:lnTo>
                  <a:lnTo>
                    <a:pt x="1280446" y="1542574"/>
                  </a:lnTo>
                  <a:cubicBezTo>
                    <a:pt x="1280446" y="1574292"/>
                    <a:pt x="1306354" y="1600200"/>
                    <a:pt x="1338072" y="1600200"/>
                  </a:cubicBezTo>
                  <a:lnTo>
                    <a:pt x="1358075" y="1600200"/>
                  </a:lnTo>
                  <a:cubicBezTo>
                    <a:pt x="1389793" y="1600200"/>
                    <a:pt x="1415701" y="1574292"/>
                    <a:pt x="1415701" y="1542574"/>
                  </a:cubicBezTo>
                  <a:lnTo>
                    <a:pt x="1415701" y="1534477"/>
                  </a:lnTo>
                  <a:cubicBezTo>
                    <a:pt x="1415701" y="1489900"/>
                    <a:pt x="1452086" y="1453515"/>
                    <a:pt x="1496663" y="1453515"/>
                  </a:cubicBezTo>
                  <a:lnTo>
                    <a:pt x="1527239" y="1453515"/>
                  </a:lnTo>
                  <a:cubicBezTo>
                    <a:pt x="1558957" y="1453515"/>
                    <a:pt x="1584865" y="1427607"/>
                    <a:pt x="1584865" y="1395889"/>
                  </a:cubicBezTo>
                  <a:lnTo>
                    <a:pt x="1584865" y="1375886"/>
                  </a:lnTo>
                  <a:cubicBezTo>
                    <a:pt x="1584865" y="1351026"/>
                    <a:pt x="1568958" y="1329690"/>
                    <a:pt x="1546765" y="1321689"/>
                  </a:cubicBezTo>
                  <a:cubicBezTo>
                    <a:pt x="1535716" y="1317689"/>
                    <a:pt x="1493520" y="1325689"/>
                    <a:pt x="1477518" y="1318070"/>
                  </a:cubicBezTo>
                  <a:cubicBezTo>
                    <a:pt x="1439609" y="1299877"/>
                    <a:pt x="1425226" y="1259014"/>
                    <a:pt x="1429988" y="1231487"/>
                  </a:cubicBezTo>
                  <a:cubicBezTo>
                    <a:pt x="1436846" y="1192435"/>
                    <a:pt x="1459039" y="1164527"/>
                    <a:pt x="1498759" y="1164527"/>
                  </a:cubicBezTo>
                  <a:lnTo>
                    <a:pt x="1681829" y="1164527"/>
                  </a:lnTo>
                  <a:cubicBezTo>
                    <a:pt x="1713548" y="1164527"/>
                    <a:pt x="1739456" y="1138619"/>
                    <a:pt x="1739456" y="1106900"/>
                  </a:cubicBezTo>
                  <a:lnTo>
                    <a:pt x="1739456" y="1086898"/>
                  </a:lnTo>
                  <a:cubicBezTo>
                    <a:pt x="1739456" y="1055180"/>
                    <a:pt x="1713548" y="1029272"/>
                    <a:pt x="1681829" y="1029272"/>
                  </a:cubicBezTo>
                  <a:lnTo>
                    <a:pt x="1498854" y="1029272"/>
                  </a:lnTo>
                  <a:cubicBezTo>
                    <a:pt x="1454277" y="1029272"/>
                    <a:pt x="1417892" y="992886"/>
                    <a:pt x="1417892" y="948309"/>
                  </a:cubicBezTo>
                  <a:lnTo>
                    <a:pt x="1417892" y="942594"/>
                  </a:lnTo>
                  <a:cubicBezTo>
                    <a:pt x="1417892" y="910876"/>
                    <a:pt x="1391984" y="884968"/>
                    <a:pt x="1360265" y="884968"/>
                  </a:cubicBezTo>
                  <a:lnTo>
                    <a:pt x="1186148" y="884968"/>
                  </a:lnTo>
                  <a:cubicBezTo>
                    <a:pt x="1141571" y="884968"/>
                    <a:pt x="1105186" y="848582"/>
                    <a:pt x="1105186" y="804005"/>
                  </a:cubicBezTo>
                  <a:lnTo>
                    <a:pt x="1105186" y="646176"/>
                  </a:lnTo>
                  <a:cubicBezTo>
                    <a:pt x="1105186" y="635508"/>
                    <a:pt x="1102233" y="625412"/>
                    <a:pt x="1097089" y="616839"/>
                  </a:cubicBezTo>
                  <a:cubicBezTo>
                    <a:pt x="1096804" y="616458"/>
                    <a:pt x="1096613" y="616077"/>
                    <a:pt x="1096423" y="615696"/>
                  </a:cubicBezTo>
                  <a:cubicBezTo>
                    <a:pt x="1086517" y="598361"/>
                    <a:pt x="1067753" y="586550"/>
                    <a:pt x="1046417" y="586550"/>
                  </a:cubicBezTo>
                  <a:lnTo>
                    <a:pt x="1024128" y="586550"/>
                  </a:lnTo>
                  <a:cubicBezTo>
                    <a:pt x="979551" y="586550"/>
                    <a:pt x="943165" y="550164"/>
                    <a:pt x="943165" y="505587"/>
                  </a:cubicBezTo>
                  <a:lnTo>
                    <a:pt x="943165" y="505206"/>
                  </a:lnTo>
                  <a:cubicBezTo>
                    <a:pt x="943165" y="473488"/>
                    <a:pt x="917162" y="447770"/>
                    <a:pt x="885539" y="446818"/>
                  </a:cubicBezTo>
                  <a:lnTo>
                    <a:pt x="844772" y="445580"/>
                  </a:lnTo>
                  <a:cubicBezTo>
                    <a:pt x="816864" y="441674"/>
                    <a:pt x="795242" y="417481"/>
                    <a:pt x="795242" y="388525"/>
                  </a:cubicBezTo>
                  <a:lnTo>
                    <a:pt x="795242" y="368522"/>
                  </a:lnTo>
                  <a:cubicBezTo>
                    <a:pt x="795242" y="336804"/>
                    <a:pt x="821150" y="310896"/>
                    <a:pt x="852869" y="310896"/>
                  </a:cubicBezTo>
                  <a:lnTo>
                    <a:pt x="952119" y="310896"/>
                  </a:lnTo>
                  <a:lnTo>
                    <a:pt x="951167" y="57626"/>
                  </a:lnTo>
                  <a:cubicBezTo>
                    <a:pt x="951071" y="26003"/>
                    <a:pt x="925259" y="0"/>
                    <a:pt x="893540" y="0"/>
                  </a:cubicBezTo>
                  <a:lnTo>
                    <a:pt x="214598" y="0"/>
                  </a:lnTo>
                  <a:cubicBezTo>
                    <a:pt x="185166" y="0"/>
                    <a:pt x="160592" y="22479"/>
                    <a:pt x="157353" y="51149"/>
                  </a:cubicBezTo>
                  <a:lnTo>
                    <a:pt x="157353" y="93059"/>
                  </a:lnTo>
                  <a:cubicBezTo>
                    <a:pt x="157353" y="124778"/>
                    <a:pt x="131445" y="150686"/>
                    <a:pt x="99727" y="150686"/>
                  </a:cubicBezTo>
                  <a:lnTo>
                    <a:pt x="0" y="150686"/>
                  </a:lnTo>
                  <a:lnTo>
                    <a:pt x="476" y="514921"/>
                  </a:lnTo>
                  <a:lnTo>
                    <a:pt x="476" y="514921"/>
                  </a:lnTo>
                  <a:close/>
                  <a:moveTo>
                    <a:pt x="959358" y="1105281"/>
                  </a:moveTo>
                  <a:lnTo>
                    <a:pt x="959358" y="1105281"/>
                  </a:lnTo>
                  <a:lnTo>
                    <a:pt x="959358" y="1105281"/>
                  </a:lnTo>
                  <a:lnTo>
                    <a:pt x="959358" y="1105281"/>
                  </a:lnTo>
                  <a:close/>
                  <a:moveTo>
                    <a:pt x="486156" y="672655"/>
                  </a:moveTo>
                  <a:lnTo>
                    <a:pt x="486156" y="672655"/>
                  </a:lnTo>
                  <a:lnTo>
                    <a:pt x="486156" y="672655"/>
                  </a:lnTo>
                  <a:lnTo>
                    <a:pt x="486156" y="672655"/>
                  </a:lnTo>
                  <a:close/>
                  <a:moveTo>
                    <a:pt x="647033" y="814769"/>
                  </a:moveTo>
                  <a:lnTo>
                    <a:pt x="647033" y="814769"/>
                  </a:lnTo>
                  <a:lnTo>
                    <a:pt x="647033" y="814769"/>
                  </a:lnTo>
                  <a:lnTo>
                    <a:pt x="647033" y="814769"/>
                  </a:lnTo>
                  <a:close/>
                  <a:moveTo>
                    <a:pt x="793813" y="956881"/>
                  </a:moveTo>
                  <a:lnTo>
                    <a:pt x="793813" y="956881"/>
                  </a:lnTo>
                  <a:lnTo>
                    <a:pt x="793813" y="956881"/>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49" name="Freeform: Shape 190">
              <a:extLst>
                <a:ext uri="{FF2B5EF4-FFF2-40B4-BE49-F238E27FC236}">
                  <a16:creationId xmlns:a16="http://schemas.microsoft.com/office/drawing/2014/main" id="{04E057D9-1D24-B0C4-C198-A930ED05C0F0}"/>
                </a:ext>
              </a:extLst>
            </p:cNvPr>
            <p:cNvSpPr/>
            <p:nvPr/>
          </p:nvSpPr>
          <p:spPr>
            <a:xfrm>
              <a:off x="2597579" y="3391265"/>
              <a:ext cx="633888" cy="436149"/>
            </a:xfrm>
            <a:custGeom>
              <a:avLst/>
              <a:gdLst>
                <a:gd name="connsiteX0" fmla="*/ 633889 w 633888"/>
                <a:gd name="connsiteY0" fmla="*/ 285464 h 436149"/>
                <a:gd name="connsiteX1" fmla="*/ 633889 w 633888"/>
                <a:gd name="connsiteY1" fmla="*/ 142208 h 436149"/>
                <a:gd name="connsiteX2" fmla="*/ 57626 w 633888"/>
                <a:gd name="connsiteY2" fmla="*/ 143256 h 436149"/>
                <a:gd name="connsiteX3" fmla="*/ 0 w 633888"/>
                <a:gd name="connsiteY3" fmla="*/ 200882 h 436149"/>
                <a:gd name="connsiteX4" fmla="*/ 0 w 633888"/>
                <a:gd name="connsiteY4" fmla="*/ 378523 h 436149"/>
                <a:gd name="connsiteX5" fmla="*/ 57626 w 633888"/>
                <a:gd name="connsiteY5" fmla="*/ 436150 h 436149"/>
                <a:gd name="connsiteX6" fmla="*/ 253079 w 633888"/>
                <a:gd name="connsiteY6" fmla="*/ 436150 h 436149"/>
                <a:gd name="connsiteX7" fmla="*/ 310705 w 633888"/>
                <a:gd name="connsiteY7" fmla="*/ 378523 h 436149"/>
                <a:gd name="connsiteX8" fmla="*/ 310705 w 633888"/>
                <a:gd name="connsiteY8" fmla="*/ 336613 h 436149"/>
                <a:gd name="connsiteX9" fmla="*/ 367951 w 633888"/>
                <a:gd name="connsiteY9" fmla="*/ 285464 h 436149"/>
                <a:gd name="connsiteX10" fmla="*/ 633889 w 633888"/>
                <a:gd name="connsiteY10" fmla="*/ 285464 h 436149"/>
                <a:gd name="connsiteX11" fmla="*/ 633889 w 633888"/>
                <a:gd name="connsiteY11" fmla="*/ 285464 h 436149"/>
                <a:gd name="connsiteX12" fmla="*/ 91345 w 633888"/>
                <a:gd name="connsiteY12" fmla="*/ 0 h 436149"/>
                <a:gd name="connsiteX13" fmla="*/ 91345 w 633888"/>
                <a:gd name="connsiteY13" fmla="*/ 0 h 436149"/>
                <a:gd name="connsiteX14" fmla="*/ 91345 w 633888"/>
                <a:gd name="connsiteY14" fmla="*/ 0 h 436149"/>
                <a:gd name="connsiteX15" fmla="*/ 91345 w 633888"/>
                <a:gd name="connsiteY15" fmla="*/ 0 h 436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3888" h="436149">
                  <a:moveTo>
                    <a:pt x="633889" y="285464"/>
                  </a:moveTo>
                  <a:lnTo>
                    <a:pt x="633889" y="142208"/>
                  </a:lnTo>
                  <a:cubicBezTo>
                    <a:pt x="427482" y="142208"/>
                    <a:pt x="249746" y="143256"/>
                    <a:pt x="57626" y="143256"/>
                  </a:cubicBezTo>
                  <a:cubicBezTo>
                    <a:pt x="25908" y="143256"/>
                    <a:pt x="0" y="169164"/>
                    <a:pt x="0" y="200882"/>
                  </a:cubicBezTo>
                  <a:lnTo>
                    <a:pt x="0" y="378523"/>
                  </a:lnTo>
                  <a:cubicBezTo>
                    <a:pt x="0" y="410242"/>
                    <a:pt x="25908" y="436150"/>
                    <a:pt x="57626" y="436150"/>
                  </a:cubicBezTo>
                  <a:lnTo>
                    <a:pt x="253079" y="436150"/>
                  </a:lnTo>
                  <a:cubicBezTo>
                    <a:pt x="284797" y="436150"/>
                    <a:pt x="310705" y="410242"/>
                    <a:pt x="310705" y="378523"/>
                  </a:cubicBezTo>
                  <a:lnTo>
                    <a:pt x="310705" y="336613"/>
                  </a:lnTo>
                  <a:cubicBezTo>
                    <a:pt x="313944" y="307943"/>
                    <a:pt x="338519" y="285464"/>
                    <a:pt x="367951" y="285464"/>
                  </a:cubicBezTo>
                  <a:lnTo>
                    <a:pt x="633889" y="285464"/>
                  </a:lnTo>
                  <a:lnTo>
                    <a:pt x="633889" y="285464"/>
                  </a:lnTo>
                  <a:close/>
                  <a:moveTo>
                    <a:pt x="91345" y="0"/>
                  </a:moveTo>
                  <a:lnTo>
                    <a:pt x="91345" y="0"/>
                  </a:lnTo>
                  <a:lnTo>
                    <a:pt x="91345" y="0"/>
                  </a:lnTo>
                  <a:lnTo>
                    <a:pt x="91345" y="0"/>
                  </a:lnTo>
                  <a:close/>
                </a:path>
              </a:pathLst>
            </a:custGeom>
            <a:pattFill prst="wdUpDiag">
              <a:fgClr>
                <a:srgbClr val="0C29FF"/>
              </a:fgClr>
              <a:bgClr>
                <a:schemeClr val="bg1"/>
              </a:bgClr>
            </a:patt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50" name="Freeform: Shape 191">
              <a:extLst>
                <a:ext uri="{FF2B5EF4-FFF2-40B4-BE49-F238E27FC236}">
                  <a16:creationId xmlns:a16="http://schemas.microsoft.com/office/drawing/2014/main" id="{64515562-CF6C-8FA8-1FF5-1202FE850E52}"/>
                </a:ext>
              </a:extLst>
            </p:cNvPr>
            <p:cNvSpPr/>
            <p:nvPr/>
          </p:nvSpPr>
          <p:spPr>
            <a:xfrm>
              <a:off x="3231373" y="3411077"/>
              <a:ext cx="951737" cy="573595"/>
            </a:xfrm>
            <a:custGeom>
              <a:avLst/>
              <a:gdLst>
                <a:gd name="connsiteX0" fmla="*/ 472440 w 951737"/>
                <a:gd name="connsiteY0" fmla="*/ 0 h 573595"/>
                <a:gd name="connsiteX1" fmla="*/ 951738 w 951737"/>
                <a:gd name="connsiteY1" fmla="*/ 0 h 573595"/>
                <a:gd name="connsiteX2" fmla="*/ 951738 w 951737"/>
                <a:gd name="connsiteY2" fmla="*/ 213265 h 573595"/>
                <a:gd name="connsiteX3" fmla="*/ 894112 w 951737"/>
                <a:gd name="connsiteY3" fmla="*/ 270891 h 573595"/>
                <a:gd name="connsiteX4" fmla="*/ 859250 w 951737"/>
                <a:gd name="connsiteY4" fmla="*/ 270891 h 573595"/>
                <a:gd name="connsiteX5" fmla="*/ 786574 w 951737"/>
                <a:gd name="connsiteY5" fmla="*/ 347567 h 573595"/>
                <a:gd name="connsiteX6" fmla="*/ 786574 w 951737"/>
                <a:gd name="connsiteY6" fmla="*/ 515969 h 573595"/>
                <a:gd name="connsiteX7" fmla="*/ 728948 w 951737"/>
                <a:gd name="connsiteY7" fmla="*/ 573596 h 573595"/>
                <a:gd name="connsiteX8" fmla="*/ 472535 w 951737"/>
                <a:gd name="connsiteY8" fmla="*/ 573596 h 573595"/>
                <a:gd name="connsiteX9" fmla="*/ 475869 w 951737"/>
                <a:gd name="connsiteY9" fmla="*/ 515969 h 573595"/>
                <a:gd name="connsiteX10" fmla="*/ 475869 w 951737"/>
                <a:gd name="connsiteY10" fmla="*/ 316802 h 573595"/>
                <a:gd name="connsiteX11" fmla="*/ 418624 w 951737"/>
                <a:gd name="connsiteY11" fmla="*/ 265652 h 573595"/>
                <a:gd name="connsiteX12" fmla="*/ 0 w 951737"/>
                <a:gd name="connsiteY12" fmla="*/ 265652 h 573595"/>
                <a:gd name="connsiteX13" fmla="*/ 0 w 951737"/>
                <a:gd name="connsiteY13" fmla="*/ 122396 h 573595"/>
                <a:gd name="connsiteX14" fmla="*/ 78772 w 951737"/>
                <a:gd name="connsiteY14" fmla="*/ 122396 h 573595"/>
                <a:gd name="connsiteX15" fmla="*/ 93345 w 951737"/>
                <a:gd name="connsiteY15" fmla="*/ 121729 h 573595"/>
                <a:gd name="connsiteX16" fmla="*/ 101251 w 951737"/>
                <a:gd name="connsiteY16" fmla="*/ 121348 h 573595"/>
                <a:gd name="connsiteX17" fmla="*/ 400240 w 951737"/>
                <a:gd name="connsiteY17" fmla="*/ 121348 h 573595"/>
                <a:gd name="connsiteX18" fmla="*/ 470249 w 951737"/>
                <a:gd name="connsiteY18" fmla="*/ 51340 h 573595"/>
                <a:gd name="connsiteX19" fmla="*/ 472440 w 951737"/>
                <a:gd name="connsiteY19" fmla="*/ 0 h 5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1737" h="573595">
                  <a:moveTo>
                    <a:pt x="472440" y="0"/>
                  </a:moveTo>
                  <a:lnTo>
                    <a:pt x="951738" y="0"/>
                  </a:lnTo>
                  <a:lnTo>
                    <a:pt x="951738" y="213265"/>
                  </a:lnTo>
                  <a:cubicBezTo>
                    <a:pt x="951738" y="244983"/>
                    <a:pt x="925830" y="270891"/>
                    <a:pt x="894112" y="270891"/>
                  </a:cubicBezTo>
                  <a:lnTo>
                    <a:pt x="859250" y="270891"/>
                  </a:lnTo>
                  <a:cubicBezTo>
                    <a:pt x="802957" y="270891"/>
                    <a:pt x="784955" y="325946"/>
                    <a:pt x="786574" y="347567"/>
                  </a:cubicBezTo>
                  <a:lnTo>
                    <a:pt x="786574" y="515969"/>
                  </a:lnTo>
                  <a:cubicBezTo>
                    <a:pt x="786574" y="547688"/>
                    <a:pt x="760666" y="573596"/>
                    <a:pt x="728948" y="573596"/>
                  </a:cubicBezTo>
                  <a:lnTo>
                    <a:pt x="472535" y="573596"/>
                  </a:lnTo>
                  <a:lnTo>
                    <a:pt x="475869" y="515969"/>
                  </a:lnTo>
                  <a:lnTo>
                    <a:pt x="475869" y="316802"/>
                  </a:lnTo>
                  <a:cubicBezTo>
                    <a:pt x="472630" y="288131"/>
                    <a:pt x="448056" y="265652"/>
                    <a:pt x="418624" y="265652"/>
                  </a:cubicBezTo>
                  <a:lnTo>
                    <a:pt x="0" y="265652"/>
                  </a:lnTo>
                  <a:lnTo>
                    <a:pt x="0" y="122396"/>
                  </a:lnTo>
                  <a:lnTo>
                    <a:pt x="78772" y="122396"/>
                  </a:lnTo>
                  <a:cubicBezTo>
                    <a:pt x="83725" y="122396"/>
                    <a:pt x="88582" y="122111"/>
                    <a:pt x="93345" y="121729"/>
                  </a:cubicBezTo>
                  <a:cubicBezTo>
                    <a:pt x="96107" y="121444"/>
                    <a:pt x="98488" y="121348"/>
                    <a:pt x="101251" y="121348"/>
                  </a:cubicBezTo>
                  <a:lnTo>
                    <a:pt x="400240" y="121348"/>
                  </a:lnTo>
                  <a:cubicBezTo>
                    <a:pt x="438721" y="121348"/>
                    <a:pt x="468630" y="89821"/>
                    <a:pt x="470249" y="51340"/>
                  </a:cubicBezTo>
                  <a:lnTo>
                    <a:pt x="472440" y="0"/>
                  </a:ln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51" name="Freeform: Shape 192">
              <a:extLst>
                <a:ext uri="{FF2B5EF4-FFF2-40B4-BE49-F238E27FC236}">
                  <a16:creationId xmlns:a16="http://schemas.microsoft.com/office/drawing/2014/main" id="{931B9DBE-B544-88E3-2673-42E3D335E9A9}"/>
                </a:ext>
              </a:extLst>
            </p:cNvPr>
            <p:cNvSpPr/>
            <p:nvPr/>
          </p:nvSpPr>
          <p:spPr>
            <a:xfrm>
              <a:off x="3704003" y="3830177"/>
              <a:ext cx="314039" cy="154495"/>
            </a:xfrm>
            <a:custGeom>
              <a:avLst/>
              <a:gdLst>
                <a:gd name="connsiteX0" fmla="*/ 314039 w 314039"/>
                <a:gd name="connsiteY0" fmla="*/ 0 h 154495"/>
                <a:gd name="connsiteX1" fmla="*/ 314039 w 314039"/>
                <a:gd name="connsiteY1" fmla="*/ 96869 h 154495"/>
                <a:gd name="connsiteX2" fmla="*/ 256413 w 314039"/>
                <a:gd name="connsiteY2" fmla="*/ 154496 h 154495"/>
                <a:gd name="connsiteX3" fmla="*/ 0 w 314039"/>
                <a:gd name="connsiteY3" fmla="*/ 154496 h 154495"/>
                <a:gd name="connsiteX4" fmla="*/ 3334 w 314039"/>
                <a:gd name="connsiteY4" fmla="*/ 96869 h 154495"/>
                <a:gd name="connsiteX5" fmla="*/ 3334 w 314039"/>
                <a:gd name="connsiteY5" fmla="*/ 0 h 154495"/>
                <a:gd name="connsiteX6" fmla="*/ 314039 w 314039"/>
                <a:gd name="connsiteY6" fmla="*/ 0 h 15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039" h="154495">
                  <a:moveTo>
                    <a:pt x="314039" y="0"/>
                  </a:moveTo>
                  <a:lnTo>
                    <a:pt x="314039" y="96869"/>
                  </a:lnTo>
                  <a:cubicBezTo>
                    <a:pt x="314039" y="128588"/>
                    <a:pt x="288131" y="154496"/>
                    <a:pt x="256413" y="154496"/>
                  </a:cubicBezTo>
                  <a:lnTo>
                    <a:pt x="0" y="154496"/>
                  </a:lnTo>
                  <a:lnTo>
                    <a:pt x="3334" y="96869"/>
                  </a:lnTo>
                  <a:lnTo>
                    <a:pt x="3334" y="0"/>
                  </a:lnTo>
                  <a:lnTo>
                    <a:pt x="314039" y="0"/>
                  </a:ln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52" name="Freeform: Shape 193">
              <a:extLst>
                <a:ext uri="{FF2B5EF4-FFF2-40B4-BE49-F238E27FC236}">
                  <a16:creationId xmlns:a16="http://schemas.microsoft.com/office/drawing/2014/main" id="{E2EFE8DA-A580-DBC0-9936-6F106B471FFA}"/>
                </a:ext>
              </a:extLst>
            </p:cNvPr>
            <p:cNvSpPr/>
            <p:nvPr/>
          </p:nvSpPr>
          <p:spPr>
            <a:xfrm>
              <a:off x="3828495" y="3830462"/>
              <a:ext cx="820769" cy="493014"/>
            </a:xfrm>
            <a:custGeom>
              <a:avLst/>
              <a:gdLst>
                <a:gd name="connsiteX0" fmla="*/ 0 w 820769"/>
                <a:gd name="connsiteY0" fmla="*/ 154210 h 493014"/>
                <a:gd name="connsiteX1" fmla="*/ 41053 w 820769"/>
                <a:gd name="connsiteY1" fmla="*/ 220313 h 493014"/>
                <a:gd name="connsiteX2" fmla="*/ 41053 w 820769"/>
                <a:gd name="connsiteY2" fmla="*/ 239268 h 493014"/>
                <a:gd name="connsiteX3" fmla="*/ 98679 w 820769"/>
                <a:gd name="connsiteY3" fmla="*/ 296894 h 493014"/>
                <a:gd name="connsiteX4" fmla="*/ 126778 w 820769"/>
                <a:gd name="connsiteY4" fmla="*/ 296894 h 493014"/>
                <a:gd name="connsiteX5" fmla="*/ 207740 w 820769"/>
                <a:gd name="connsiteY5" fmla="*/ 377857 h 493014"/>
                <a:gd name="connsiteX6" fmla="*/ 207740 w 820769"/>
                <a:gd name="connsiteY6" fmla="*/ 385001 h 493014"/>
                <a:gd name="connsiteX7" fmla="*/ 207740 w 820769"/>
                <a:gd name="connsiteY7" fmla="*/ 386524 h 493014"/>
                <a:gd name="connsiteX8" fmla="*/ 207740 w 820769"/>
                <a:gd name="connsiteY8" fmla="*/ 386524 h 493014"/>
                <a:gd name="connsiteX9" fmla="*/ 207835 w 820769"/>
                <a:gd name="connsiteY9" fmla="*/ 387953 h 493014"/>
                <a:gd name="connsiteX10" fmla="*/ 207835 w 820769"/>
                <a:gd name="connsiteY10" fmla="*/ 387953 h 493014"/>
                <a:gd name="connsiteX11" fmla="*/ 207931 w 820769"/>
                <a:gd name="connsiteY11" fmla="*/ 389382 h 493014"/>
                <a:gd name="connsiteX12" fmla="*/ 207931 w 820769"/>
                <a:gd name="connsiteY12" fmla="*/ 389382 h 493014"/>
                <a:gd name="connsiteX13" fmla="*/ 208026 w 820769"/>
                <a:gd name="connsiteY13" fmla="*/ 390811 h 493014"/>
                <a:gd name="connsiteX14" fmla="*/ 208026 w 820769"/>
                <a:gd name="connsiteY14" fmla="*/ 390811 h 493014"/>
                <a:gd name="connsiteX15" fmla="*/ 208216 w 820769"/>
                <a:gd name="connsiteY15" fmla="*/ 392239 h 493014"/>
                <a:gd name="connsiteX16" fmla="*/ 208216 w 820769"/>
                <a:gd name="connsiteY16" fmla="*/ 392239 h 493014"/>
                <a:gd name="connsiteX17" fmla="*/ 208407 w 820769"/>
                <a:gd name="connsiteY17" fmla="*/ 393668 h 493014"/>
                <a:gd name="connsiteX18" fmla="*/ 208407 w 820769"/>
                <a:gd name="connsiteY18" fmla="*/ 393668 h 493014"/>
                <a:gd name="connsiteX19" fmla="*/ 208597 w 820769"/>
                <a:gd name="connsiteY19" fmla="*/ 395097 h 493014"/>
                <a:gd name="connsiteX20" fmla="*/ 208597 w 820769"/>
                <a:gd name="connsiteY20" fmla="*/ 395097 h 493014"/>
                <a:gd name="connsiteX21" fmla="*/ 230886 w 820769"/>
                <a:gd name="connsiteY21" fmla="*/ 431102 h 493014"/>
                <a:gd name="connsiteX22" fmla="*/ 230886 w 820769"/>
                <a:gd name="connsiteY22" fmla="*/ 431102 h 493014"/>
                <a:gd name="connsiteX23" fmla="*/ 232029 w 820769"/>
                <a:gd name="connsiteY23" fmla="*/ 431959 h 493014"/>
                <a:gd name="connsiteX24" fmla="*/ 232029 w 820769"/>
                <a:gd name="connsiteY24" fmla="*/ 431959 h 493014"/>
                <a:gd name="connsiteX25" fmla="*/ 233172 w 820769"/>
                <a:gd name="connsiteY25" fmla="*/ 432721 h 493014"/>
                <a:gd name="connsiteX26" fmla="*/ 233172 w 820769"/>
                <a:gd name="connsiteY26" fmla="*/ 432721 h 493014"/>
                <a:gd name="connsiteX27" fmla="*/ 234315 w 820769"/>
                <a:gd name="connsiteY27" fmla="*/ 433483 h 493014"/>
                <a:gd name="connsiteX28" fmla="*/ 234315 w 820769"/>
                <a:gd name="connsiteY28" fmla="*/ 433483 h 493014"/>
                <a:gd name="connsiteX29" fmla="*/ 235458 w 820769"/>
                <a:gd name="connsiteY29" fmla="*/ 434245 h 493014"/>
                <a:gd name="connsiteX30" fmla="*/ 235458 w 820769"/>
                <a:gd name="connsiteY30" fmla="*/ 434245 h 493014"/>
                <a:gd name="connsiteX31" fmla="*/ 236029 w 820769"/>
                <a:gd name="connsiteY31" fmla="*/ 434530 h 493014"/>
                <a:gd name="connsiteX32" fmla="*/ 237363 w 820769"/>
                <a:gd name="connsiteY32" fmla="*/ 435293 h 493014"/>
                <a:gd name="connsiteX33" fmla="*/ 237934 w 820769"/>
                <a:gd name="connsiteY33" fmla="*/ 435578 h 493014"/>
                <a:gd name="connsiteX34" fmla="*/ 237934 w 820769"/>
                <a:gd name="connsiteY34" fmla="*/ 435578 h 493014"/>
                <a:gd name="connsiteX35" fmla="*/ 239173 w 820769"/>
                <a:gd name="connsiteY35" fmla="*/ 436245 h 493014"/>
                <a:gd name="connsiteX36" fmla="*/ 239173 w 820769"/>
                <a:gd name="connsiteY36" fmla="*/ 436245 h 493014"/>
                <a:gd name="connsiteX37" fmla="*/ 240411 w 820769"/>
                <a:gd name="connsiteY37" fmla="*/ 436912 h 493014"/>
                <a:gd name="connsiteX38" fmla="*/ 240411 w 820769"/>
                <a:gd name="connsiteY38" fmla="*/ 436912 h 493014"/>
                <a:gd name="connsiteX39" fmla="*/ 241649 w 820769"/>
                <a:gd name="connsiteY39" fmla="*/ 437483 h 493014"/>
                <a:gd name="connsiteX40" fmla="*/ 241649 w 820769"/>
                <a:gd name="connsiteY40" fmla="*/ 437483 h 493014"/>
                <a:gd name="connsiteX41" fmla="*/ 242888 w 820769"/>
                <a:gd name="connsiteY41" fmla="*/ 438055 h 493014"/>
                <a:gd name="connsiteX42" fmla="*/ 242888 w 820769"/>
                <a:gd name="connsiteY42" fmla="*/ 438055 h 493014"/>
                <a:gd name="connsiteX43" fmla="*/ 244221 w 820769"/>
                <a:gd name="connsiteY43" fmla="*/ 438626 h 493014"/>
                <a:gd name="connsiteX44" fmla="*/ 244221 w 820769"/>
                <a:gd name="connsiteY44" fmla="*/ 438626 h 493014"/>
                <a:gd name="connsiteX45" fmla="*/ 245554 w 820769"/>
                <a:gd name="connsiteY45" fmla="*/ 439103 h 493014"/>
                <a:gd name="connsiteX46" fmla="*/ 245554 w 820769"/>
                <a:gd name="connsiteY46" fmla="*/ 439103 h 493014"/>
                <a:gd name="connsiteX47" fmla="*/ 246888 w 820769"/>
                <a:gd name="connsiteY47" fmla="*/ 439579 h 493014"/>
                <a:gd name="connsiteX48" fmla="*/ 246888 w 820769"/>
                <a:gd name="connsiteY48" fmla="*/ 439579 h 493014"/>
                <a:gd name="connsiteX49" fmla="*/ 247174 w 820769"/>
                <a:gd name="connsiteY49" fmla="*/ 439674 h 493014"/>
                <a:gd name="connsiteX50" fmla="*/ 249269 w 820769"/>
                <a:gd name="connsiteY50" fmla="*/ 440341 h 493014"/>
                <a:gd name="connsiteX51" fmla="*/ 249555 w 820769"/>
                <a:gd name="connsiteY51" fmla="*/ 440436 h 493014"/>
                <a:gd name="connsiteX52" fmla="*/ 249555 w 820769"/>
                <a:gd name="connsiteY52" fmla="*/ 440436 h 493014"/>
                <a:gd name="connsiteX53" fmla="*/ 250888 w 820769"/>
                <a:gd name="connsiteY53" fmla="*/ 440817 h 493014"/>
                <a:gd name="connsiteX54" fmla="*/ 250888 w 820769"/>
                <a:gd name="connsiteY54" fmla="*/ 440817 h 493014"/>
                <a:gd name="connsiteX55" fmla="*/ 252222 w 820769"/>
                <a:gd name="connsiteY55" fmla="*/ 441198 h 493014"/>
                <a:gd name="connsiteX56" fmla="*/ 252222 w 820769"/>
                <a:gd name="connsiteY56" fmla="*/ 441198 h 493014"/>
                <a:gd name="connsiteX57" fmla="*/ 253651 w 820769"/>
                <a:gd name="connsiteY57" fmla="*/ 441484 h 493014"/>
                <a:gd name="connsiteX58" fmla="*/ 253651 w 820769"/>
                <a:gd name="connsiteY58" fmla="*/ 441484 h 493014"/>
                <a:gd name="connsiteX59" fmla="*/ 255079 w 820769"/>
                <a:gd name="connsiteY59" fmla="*/ 441770 h 493014"/>
                <a:gd name="connsiteX60" fmla="*/ 255079 w 820769"/>
                <a:gd name="connsiteY60" fmla="*/ 441770 h 493014"/>
                <a:gd name="connsiteX61" fmla="*/ 255365 w 820769"/>
                <a:gd name="connsiteY61" fmla="*/ 441770 h 493014"/>
                <a:gd name="connsiteX62" fmla="*/ 257746 w 820769"/>
                <a:gd name="connsiteY62" fmla="*/ 442151 h 493014"/>
                <a:gd name="connsiteX63" fmla="*/ 258032 w 820769"/>
                <a:gd name="connsiteY63" fmla="*/ 442151 h 493014"/>
                <a:gd name="connsiteX64" fmla="*/ 258032 w 820769"/>
                <a:gd name="connsiteY64" fmla="*/ 442151 h 493014"/>
                <a:gd name="connsiteX65" fmla="*/ 259461 w 820769"/>
                <a:gd name="connsiteY65" fmla="*/ 442341 h 493014"/>
                <a:gd name="connsiteX66" fmla="*/ 259461 w 820769"/>
                <a:gd name="connsiteY66" fmla="*/ 442341 h 493014"/>
                <a:gd name="connsiteX67" fmla="*/ 260890 w 820769"/>
                <a:gd name="connsiteY67" fmla="*/ 442436 h 493014"/>
                <a:gd name="connsiteX68" fmla="*/ 260890 w 820769"/>
                <a:gd name="connsiteY68" fmla="*/ 442436 h 493014"/>
                <a:gd name="connsiteX69" fmla="*/ 262318 w 820769"/>
                <a:gd name="connsiteY69" fmla="*/ 442531 h 493014"/>
                <a:gd name="connsiteX70" fmla="*/ 262318 w 820769"/>
                <a:gd name="connsiteY70" fmla="*/ 442531 h 493014"/>
                <a:gd name="connsiteX71" fmla="*/ 262795 w 820769"/>
                <a:gd name="connsiteY71" fmla="*/ 442531 h 493014"/>
                <a:gd name="connsiteX72" fmla="*/ 265938 w 820769"/>
                <a:gd name="connsiteY72" fmla="*/ 442627 h 493014"/>
                <a:gd name="connsiteX73" fmla="*/ 431768 w 820769"/>
                <a:gd name="connsiteY73" fmla="*/ 442627 h 493014"/>
                <a:gd name="connsiteX74" fmla="*/ 434054 w 820769"/>
                <a:gd name="connsiteY74" fmla="*/ 442627 h 493014"/>
                <a:gd name="connsiteX75" fmla="*/ 509016 w 820769"/>
                <a:gd name="connsiteY75" fmla="*/ 493014 h 493014"/>
                <a:gd name="connsiteX76" fmla="*/ 506349 w 820769"/>
                <a:gd name="connsiteY76" fmla="*/ 345377 h 493014"/>
                <a:gd name="connsiteX77" fmla="*/ 423767 w 820769"/>
                <a:gd name="connsiteY77" fmla="*/ 276130 h 493014"/>
                <a:gd name="connsiteX78" fmla="*/ 408622 w 820769"/>
                <a:gd name="connsiteY78" fmla="*/ 276130 h 493014"/>
                <a:gd name="connsiteX79" fmla="*/ 350996 w 820769"/>
                <a:gd name="connsiteY79" fmla="*/ 218504 h 493014"/>
                <a:gd name="connsiteX80" fmla="*/ 350996 w 820769"/>
                <a:gd name="connsiteY80" fmla="*/ 198501 h 493014"/>
                <a:gd name="connsiteX81" fmla="*/ 408622 w 820769"/>
                <a:gd name="connsiteY81" fmla="*/ 140875 h 493014"/>
                <a:gd name="connsiteX82" fmla="*/ 820769 w 820769"/>
                <a:gd name="connsiteY82" fmla="*/ 140875 h 493014"/>
                <a:gd name="connsiteX83" fmla="*/ 820769 w 820769"/>
                <a:gd name="connsiteY83" fmla="*/ 0 h 493014"/>
                <a:gd name="connsiteX84" fmla="*/ 189547 w 820769"/>
                <a:gd name="connsiteY84" fmla="*/ 0 h 493014"/>
                <a:gd name="connsiteX85" fmla="*/ 189547 w 820769"/>
                <a:gd name="connsiteY85" fmla="*/ 96869 h 493014"/>
                <a:gd name="connsiteX86" fmla="*/ 131921 w 820769"/>
                <a:gd name="connsiteY86" fmla="*/ 154496 h 493014"/>
                <a:gd name="connsiteX87" fmla="*/ 0 w 820769"/>
                <a:gd name="connsiteY87" fmla="*/ 154496 h 493014"/>
                <a:gd name="connsiteX88" fmla="*/ 0 w 820769"/>
                <a:gd name="connsiteY88" fmla="*/ 154210 h 493014"/>
                <a:gd name="connsiteX89" fmla="*/ 207740 w 820769"/>
                <a:gd name="connsiteY89" fmla="*/ 384905 h 493014"/>
                <a:gd name="connsiteX90" fmla="*/ 207740 w 820769"/>
                <a:gd name="connsiteY90" fmla="*/ 384905 h 493014"/>
                <a:gd name="connsiteX91" fmla="*/ 207740 w 820769"/>
                <a:gd name="connsiteY91" fmla="*/ 384905 h 49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820769" h="493014">
                  <a:moveTo>
                    <a:pt x="0" y="154210"/>
                  </a:moveTo>
                  <a:cubicBezTo>
                    <a:pt x="24003" y="154496"/>
                    <a:pt x="41053" y="169450"/>
                    <a:pt x="41053" y="220313"/>
                  </a:cubicBezTo>
                  <a:lnTo>
                    <a:pt x="41053" y="239268"/>
                  </a:lnTo>
                  <a:cubicBezTo>
                    <a:pt x="41053" y="270986"/>
                    <a:pt x="66961" y="296894"/>
                    <a:pt x="98679" y="296894"/>
                  </a:cubicBezTo>
                  <a:lnTo>
                    <a:pt x="126778" y="296894"/>
                  </a:lnTo>
                  <a:cubicBezTo>
                    <a:pt x="171355" y="296894"/>
                    <a:pt x="207740" y="333280"/>
                    <a:pt x="207740" y="377857"/>
                  </a:cubicBezTo>
                  <a:lnTo>
                    <a:pt x="207740" y="385001"/>
                  </a:lnTo>
                  <a:lnTo>
                    <a:pt x="207740" y="386524"/>
                  </a:lnTo>
                  <a:lnTo>
                    <a:pt x="207740" y="386524"/>
                  </a:lnTo>
                  <a:lnTo>
                    <a:pt x="207835" y="387953"/>
                  </a:lnTo>
                  <a:lnTo>
                    <a:pt x="207835" y="387953"/>
                  </a:lnTo>
                  <a:lnTo>
                    <a:pt x="207931" y="389382"/>
                  </a:lnTo>
                  <a:lnTo>
                    <a:pt x="207931" y="389382"/>
                  </a:lnTo>
                  <a:lnTo>
                    <a:pt x="208026" y="390811"/>
                  </a:lnTo>
                  <a:lnTo>
                    <a:pt x="208026" y="390811"/>
                  </a:lnTo>
                  <a:lnTo>
                    <a:pt x="208216" y="392239"/>
                  </a:lnTo>
                  <a:lnTo>
                    <a:pt x="208216" y="392239"/>
                  </a:lnTo>
                  <a:lnTo>
                    <a:pt x="208407" y="393668"/>
                  </a:lnTo>
                  <a:lnTo>
                    <a:pt x="208407" y="393668"/>
                  </a:lnTo>
                  <a:lnTo>
                    <a:pt x="208597" y="395097"/>
                  </a:lnTo>
                  <a:lnTo>
                    <a:pt x="208597" y="395097"/>
                  </a:lnTo>
                  <a:cubicBezTo>
                    <a:pt x="211074" y="409289"/>
                    <a:pt x="219265" y="422243"/>
                    <a:pt x="230886" y="431102"/>
                  </a:cubicBezTo>
                  <a:lnTo>
                    <a:pt x="230886" y="431102"/>
                  </a:lnTo>
                  <a:lnTo>
                    <a:pt x="232029" y="431959"/>
                  </a:lnTo>
                  <a:lnTo>
                    <a:pt x="232029" y="431959"/>
                  </a:lnTo>
                  <a:lnTo>
                    <a:pt x="233172" y="432721"/>
                  </a:lnTo>
                  <a:lnTo>
                    <a:pt x="233172" y="432721"/>
                  </a:lnTo>
                  <a:lnTo>
                    <a:pt x="234315" y="433483"/>
                  </a:lnTo>
                  <a:lnTo>
                    <a:pt x="234315" y="433483"/>
                  </a:lnTo>
                  <a:lnTo>
                    <a:pt x="235458" y="434245"/>
                  </a:lnTo>
                  <a:lnTo>
                    <a:pt x="235458" y="434245"/>
                  </a:lnTo>
                  <a:lnTo>
                    <a:pt x="236029" y="434530"/>
                  </a:lnTo>
                  <a:cubicBezTo>
                    <a:pt x="236506" y="434816"/>
                    <a:pt x="236887" y="435007"/>
                    <a:pt x="237363" y="435293"/>
                  </a:cubicBezTo>
                  <a:lnTo>
                    <a:pt x="237934" y="435578"/>
                  </a:lnTo>
                  <a:lnTo>
                    <a:pt x="237934" y="435578"/>
                  </a:lnTo>
                  <a:lnTo>
                    <a:pt x="239173" y="436245"/>
                  </a:lnTo>
                  <a:lnTo>
                    <a:pt x="239173" y="436245"/>
                  </a:lnTo>
                  <a:lnTo>
                    <a:pt x="240411" y="436912"/>
                  </a:lnTo>
                  <a:lnTo>
                    <a:pt x="240411" y="436912"/>
                  </a:lnTo>
                  <a:lnTo>
                    <a:pt x="241649" y="437483"/>
                  </a:lnTo>
                  <a:lnTo>
                    <a:pt x="241649" y="437483"/>
                  </a:lnTo>
                  <a:cubicBezTo>
                    <a:pt x="242030" y="437674"/>
                    <a:pt x="242506" y="437864"/>
                    <a:pt x="242888" y="438055"/>
                  </a:cubicBezTo>
                  <a:lnTo>
                    <a:pt x="242888" y="438055"/>
                  </a:lnTo>
                  <a:lnTo>
                    <a:pt x="244221" y="438626"/>
                  </a:lnTo>
                  <a:lnTo>
                    <a:pt x="244221" y="438626"/>
                  </a:lnTo>
                  <a:lnTo>
                    <a:pt x="245554" y="439103"/>
                  </a:lnTo>
                  <a:lnTo>
                    <a:pt x="245554" y="439103"/>
                  </a:lnTo>
                  <a:lnTo>
                    <a:pt x="246888" y="439579"/>
                  </a:lnTo>
                  <a:lnTo>
                    <a:pt x="246888" y="439579"/>
                  </a:lnTo>
                  <a:lnTo>
                    <a:pt x="247174" y="439674"/>
                  </a:lnTo>
                  <a:cubicBezTo>
                    <a:pt x="247936" y="439864"/>
                    <a:pt x="248507" y="440055"/>
                    <a:pt x="249269" y="440341"/>
                  </a:cubicBezTo>
                  <a:lnTo>
                    <a:pt x="249555" y="440436"/>
                  </a:lnTo>
                  <a:lnTo>
                    <a:pt x="249555" y="440436"/>
                  </a:lnTo>
                  <a:lnTo>
                    <a:pt x="250888" y="440817"/>
                  </a:lnTo>
                  <a:lnTo>
                    <a:pt x="250888" y="440817"/>
                  </a:lnTo>
                  <a:lnTo>
                    <a:pt x="252222" y="441198"/>
                  </a:lnTo>
                  <a:lnTo>
                    <a:pt x="252222" y="441198"/>
                  </a:lnTo>
                  <a:lnTo>
                    <a:pt x="253651" y="441484"/>
                  </a:lnTo>
                  <a:lnTo>
                    <a:pt x="253651" y="441484"/>
                  </a:lnTo>
                  <a:cubicBezTo>
                    <a:pt x="254127" y="441579"/>
                    <a:pt x="254603" y="441674"/>
                    <a:pt x="255079" y="441770"/>
                  </a:cubicBezTo>
                  <a:lnTo>
                    <a:pt x="255079" y="441770"/>
                  </a:lnTo>
                  <a:lnTo>
                    <a:pt x="255365" y="441770"/>
                  </a:lnTo>
                  <a:cubicBezTo>
                    <a:pt x="256222" y="441865"/>
                    <a:pt x="256889" y="442055"/>
                    <a:pt x="257746" y="442151"/>
                  </a:cubicBezTo>
                  <a:lnTo>
                    <a:pt x="258032" y="442151"/>
                  </a:lnTo>
                  <a:lnTo>
                    <a:pt x="258032" y="442151"/>
                  </a:lnTo>
                  <a:lnTo>
                    <a:pt x="259461" y="442341"/>
                  </a:lnTo>
                  <a:lnTo>
                    <a:pt x="259461" y="442341"/>
                  </a:lnTo>
                  <a:lnTo>
                    <a:pt x="260890" y="442436"/>
                  </a:lnTo>
                  <a:lnTo>
                    <a:pt x="260890" y="442436"/>
                  </a:lnTo>
                  <a:lnTo>
                    <a:pt x="262318" y="442531"/>
                  </a:lnTo>
                  <a:lnTo>
                    <a:pt x="262318" y="442531"/>
                  </a:lnTo>
                  <a:lnTo>
                    <a:pt x="262795" y="442531"/>
                  </a:lnTo>
                  <a:cubicBezTo>
                    <a:pt x="263938" y="442531"/>
                    <a:pt x="264795" y="442627"/>
                    <a:pt x="265938" y="442627"/>
                  </a:cubicBezTo>
                  <a:lnTo>
                    <a:pt x="431768" y="442627"/>
                  </a:lnTo>
                  <a:lnTo>
                    <a:pt x="434054" y="442627"/>
                  </a:lnTo>
                  <a:cubicBezTo>
                    <a:pt x="467868" y="442627"/>
                    <a:pt x="496824" y="463487"/>
                    <a:pt x="509016" y="493014"/>
                  </a:cubicBezTo>
                  <a:lnTo>
                    <a:pt x="506349" y="345377"/>
                  </a:lnTo>
                  <a:cubicBezTo>
                    <a:pt x="505015" y="273463"/>
                    <a:pt x="439007" y="276606"/>
                    <a:pt x="423767" y="276130"/>
                  </a:cubicBezTo>
                  <a:lnTo>
                    <a:pt x="408622" y="276130"/>
                  </a:lnTo>
                  <a:cubicBezTo>
                    <a:pt x="376904" y="276130"/>
                    <a:pt x="350996" y="250222"/>
                    <a:pt x="350996" y="218504"/>
                  </a:cubicBezTo>
                  <a:lnTo>
                    <a:pt x="350996" y="198501"/>
                  </a:lnTo>
                  <a:cubicBezTo>
                    <a:pt x="350996" y="166783"/>
                    <a:pt x="376904" y="140875"/>
                    <a:pt x="408622" y="140875"/>
                  </a:cubicBezTo>
                  <a:lnTo>
                    <a:pt x="820769" y="140875"/>
                  </a:lnTo>
                  <a:lnTo>
                    <a:pt x="820769" y="0"/>
                  </a:lnTo>
                  <a:lnTo>
                    <a:pt x="189547" y="0"/>
                  </a:lnTo>
                  <a:lnTo>
                    <a:pt x="189547" y="96869"/>
                  </a:lnTo>
                  <a:cubicBezTo>
                    <a:pt x="189547" y="128588"/>
                    <a:pt x="163639" y="154496"/>
                    <a:pt x="131921" y="154496"/>
                  </a:cubicBezTo>
                  <a:lnTo>
                    <a:pt x="0" y="154496"/>
                  </a:lnTo>
                  <a:lnTo>
                    <a:pt x="0" y="154210"/>
                  </a:lnTo>
                  <a:close/>
                  <a:moveTo>
                    <a:pt x="207740" y="384905"/>
                  </a:moveTo>
                  <a:lnTo>
                    <a:pt x="207740" y="384905"/>
                  </a:lnTo>
                  <a:lnTo>
                    <a:pt x="207740" y="384905"/>
                  </a:ln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53" name="Freeform: Shape 194">
              <a:extLst>
                <a:ext uri="{FF2B5EF4-FFF2-40B4-BE49-F238E27FC236}">
                  <a16:creationId xmlns:a16="http://schemas.microsoft.com/office/drawing/2014/main" id="{C7E7CC24-458C-349D-9EA7-4B1C392D63FE}"/>
                </a:ext>
              </a:extLst>
            </p:cNvPr>
            <p:cNvSpPr/>
            <p:nvPr/>
          </p:nvSpPr>
          <p:spPr>
            <a:xfrm>
              <a:off x="5452983" y="5721461"/>
              <a:ext cx="448627" cy="135254"/>
            </a:xfrm>
            <a:custGeom>
              <a:avLst/>
              <a:gdLst>
                <a:gd name="connsiteX0" fmla="*/ 0 w 448627"/>
                <a:gd name="connsiteY0" fmla="*/ 57626 h 135254"/>
                <a:gd name="connsiteX1" fmla="*/ 0 w 448627"/>
                <a:gd name="connsiteY1" fmla="*/ 77628 h 135254"/>
                <a:gd name="connsiteX2" fmla="*/ 57626 w 448627"/>
                <a:gd name="connsiteY2" fmla="*/ 135255 h 135254"/>
                <a:gd name="connsiteX3" fmla="*/ 391001 w 448627"/>
                <a:gd name="connsiteY3" fmla="*/ 135255 h 135254"/>
                <a:gd name="connsiteX4" fmla="*/ 448627 w 448627"/>
                <a:gd name="connsiteY4" fmla="*/ 77628 h 135254"/>
                <a:gd name="connsiteX5" fmla="*/ 448627 w 448627"/>
                <a:gd name="connsiteY5" fmla="*/ 57626 h 135254"/>
                <a:gd name="connsiteX6" fmla="*/ 391001 w 448627"/>
                <a:gd name="connsiteY6" fmla="*/ 0 h 135254"/>
                <a:gd name="connsiteX7" fmla="*/ 57626 w 448627"/>
                <a:gd name="connsiteY7" fmla="*/ 0 h 135254"/>
                <a:gd name="connsiteX8" fmla="*/ 0 w 448627"/>
                <a:gd name="connsiteY8" fmla="*/ 57626 h 13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627" h="135254">
                  <a:moveTo>
                    <a:pt x="0" y="57626"/>
                  </a:moveTo>
                  <a:lnTo>
                    <a:pt x="0" y="77628"/>
                  </a:lnTo>
                  <a:cubicBezTo>
                    <a:pt x="0" y="109347"/>
                    <a:pt x="25908" y="135255"/>
                    <a:pt x="57626" y="135255"/>
                  </a:cubicBezTo>
                  <a:lnTo>
                    <a:pt x="391001" y="135255"/>
                  </a:lnTo>
                  <a:cubicBezTo>
                    <a:pt x="422720" y="135255"/>
                    <a:pt x="448627" y="109347"/>
                    <a:pt x="448627" y="77628"/>
                  </a:cubicBezTo>
                  <a:lnTo>
                    <a:pt x="448627" y="57626"/>
                  </a:lnTo>
                  <a:cubicBezTo>
                    <a:pt x="448627" y="25908"/>
                    <a:pt x="422720" y="0"/>
                    <a:pt x="391001" y="0"/>
                  </a:cubicBezTo>
                  <a:lnTo>
                    <a:pt x="57626" y="0"/>
                  </a:lnTo>
                  <a:cubicBezTo>
                    <a:pt x="26003" y="0"/>
                    <a:pt x="0" y="25908"/>
                    <a:pt x="0" y="57626"/>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54" name="Freeform: Shape 195">
              <a:extLst>
                <a:ext uri="{FF2B5EF4-FFF2-40B4-BE49-F238E27FC236}">
                  <a16:creationId xmlns:a16="http://schemas.microsoft.com/office/drawing/2014/main" id="{E7FA50C4-B853-D0DB-ACFE-B10A093CE0AD}"/>
                </a:ext>
              </a:extLst>
            </p:cNvPr>
            <p:cNvSpPr/>
            <p:nvPr/>
          </p:nvSpPr>
          <p:spPr>
            <a:xfrm>
              <a:off x="4806046" y="4414821"/>
              <a:ext cx="945927" cy="1170241"/>
            </a:xfrm>
            <a:custGeom>
              <a:avLst/>
              <a:gdLst>
                <a:gd name="connsiteX0" fmla="*/ 168402 w 945927"/>
                <a:gd name="connsiteY0" fmla="*/ 288131 h 1170241"/>
                <a:gd name="connsiteX1" fmla="*/ 168402 w 945927"/>
                <a:gd name="connsiteY1" fmla="*/ 520827 h 1170241"/>
                <a:gd name="connsiteX2" fmla="*/ 110776 w 945927"/>
                <a:gd name="connsiteY2" fmla="*/ 578453 h 1170241"/>
                <a:gd name="connsiteX3" fmla="*/ 0 w 945927"/>
                <a:gd name="connsiteY3" fmla="*/ 578453 h 1170241"/>
                <a:gd name="connsiteX4" fmla="*/ 0 w 945927"/>
                <a:gd name="connsiteY4" fmla="*/ 664083 h 1170241"/>
                <a:gd name="connsiteX5" fmla="*/ 0 w 945927"/>
                <a:gd name="connsiteY5" fmla="*/ 665607 h 1170241"/>
                <a:gd name="connsiteX6" fmla="*/ 0 w 945927"/>
                <a:gd name="connsiteY6" fmla="*/ 665607 h 1170241"/>
                <a:gd name="connsiteX7" fmla="*/ 95 w 945927"/>
                <a:gd name="connsiteY7" fmla="*/ 667036 h 1170241"/>
                <a:gd name="connsiteX8" fmla="*/ 95 w 945927"/>
                <a:gd name="connsiteY8" fmla="*/ 667036 h 1170241"/>
                <a:gd name="connsiteX9" fmla="*/ 190 w 945927"/>
                <a:gd name="connsiteY9" fmla="*/ 668465 h 1170241"/>
                <a:gd name="connsiteX10" fmla="*/ 190 w 945927"/>
                <a:gd name="connsiteY10" fmla="*/ 668465 h 1170241"/>
                <a:gd name="connsiteX11" fmla="*/ 286 w 945927"/>
                <a:gd name="connsiteY11" fmla="*/ 669893 h 1170241"/>
                <a:gd name="connsiteX12" fmla="*/ 286 w 945927"/>
                <a:gd name="connsiteY12" fmla="*/ 669893 h 1170241"/>
                <a:gd name="connsiteX13" fmla="*/ 476 w 945927"/>
                <a:gd name="connsiteY13" fmla="*/ 671322 h 1170241"/>
                <a:gd name="connsiteX14" fmla="*/ 476 w 945927"/>
                <a:gd name="connsiteY14" fmla="*/ 671322 h 1170241"/>
                <a:gd name="connsiteX15" fmla="*/ 667 w 945927"/>
                <a:gd name="connsiteY15" fmla="*/ 672751 h 1170241"/>
                <a:gd name="connsiteX16" fmla="*/ 667 w 945927"/>
                <a:gd name="connsiteY16" fmla="*/ 672751 h 1170241"/>
                <a:gd name="connsiteX17" fmla="*/ 29623 w 945927"/>
                <a:gd name="connsiteY17" fmla="*/ 714375 h 1170241"/>
                <a:gd name="connsiteX18" fmla="*/ 30194 w 945927"/>
                <a:gd name="connsiteY18" fmla="*/ 714661 h 1170241"/>
                <a:gd name="connsiteX19" fmla="*/ 30194 w 945927"/>
                <a:gd name="connsiteY19" fmla="*/ 714661 h 1170241"/>
                <a:gd name="connsiteX20" fmla="*/ 31432 w 945927"/>
                <a:gd name="connsiteY20" fmla="*/ 715328 h 1170241"/>
                <a:gd name="connsiteX21" fmla="*/ 31432 w 945927"/>
                <a:gd name="connsiteY21" fmla="*/ 715328 h 1170241"/>
                <a:gd name="connsiteX22" fmla="*/ 32671 w 945927"/>
                <a:gd name="connsiteY22" fmla="*/ 715994 h 1170241"/>
                <a:gd name="connsiteX23" fmla="*/ 32671 w 945927"/>
                <a:gd name="connsiteY23" fmla="*/ 715994 h 1170241"/>
                <a:gd name="connsiteX24" fmla="*/ 33909 w 945927"/>
                <a:gd name="connsiteY24" fmla="*/ 716566 h 1170241"/>
                <a:gd name="connsiteX25" fmla="*/ 33909 w 945927"/>
                <a:gd name="connsiteY25" fmla="*/ 716566 h 1170241"/>
                <a:gd name="connsiteX26" fmla="*/ 35147 w 945927"/>
                <a:gd name="connsiteY26" fmla="*/ 717137 h 1170241"/>
                <a:gd name="connsiteX27" fmla="*/ 35147 w 945927"/>
                <a:gd name="connsiteY27" fmla="*/ 717137 h 1170241"/>
                <a:gd name="connsiteX28" fmla="*/ 36481 w 945927"/>
                <a:gd name="connsiteY28" fmla="*/ 717709 h 1170241"/>
                <a:gd name="connsiteX29" fmla="*/ 36481 w 945927"/>
                <a:gd name="connsiteY29" fmla="*/ 717709 h 1170241"/>
                <a:gd name="connsiteX30" fmla="*/ 37814 w 945927"/>
                <a:gd name="connsiteY30" fmla="*/ 718185 h 1170241"/>
                <a:gd name="connsiteX31" fmla="*/ 37814 w 945927"/>
                <a:gd name="connsiteY31" fmla="*/ 718185 h 1170241"/>
                <a:gd name="connsiteX32" fmla="*/ 39148 w 945927"/>
                <a:gd name="connsiteY32" fmla="*/ 718661 h 1170241"/>
                <a:gd name="connsiteX33" fmla="*/ 39148 w 945927"/>
                <a:gd name="connsiteY33" fmla="*/ 718661 h 1170241"/>
                <a:gd name="connsiteX34" fmla="*/ 39433 w 945927"/>
                <a:gd name="connsiteY34" fmla="*/ 718756 h 1170241"/>
                <a:gd name="connsiteX35" fmla="*/ 41529 w 945927"/>
                <a:gd name="connsiteY35" fmla="*/ 719423 h 1170241"/>
                <a:gd name="connsiteX36" fmla="*/ 41815 w 945927"/>
                <a:gd name="connsiteY36" fmla="*/ 719519 h 1170241"/>
                <a:gd name="connsiteX37" fmla="*/ 41815 w 945927"/>
                <a:gd name="connsiteY37" fmla="*/ 719519 h 1170241"/>
                <a:gd name="connsiteX38" fmla="*/ 43148 w 945927"/>
                <a:gd name="connsiteY38" fmla="*/ 719899 h 1170241"/>
                <a:gd name="connsiteX39" fmla="*/ 43148 w 945927"/>
                <a:gd name="connsiteY39" fmla="*/ 719899 h 1170241"/>
                <a:gd name="connsiteX40" fmla="*/ 44482 w 945927"/>
                <a:gd name="connsiteY40" fmla="*/ 720280 h 1170241"/>
                <a:gd name="connsiteX41" fmla="*/ 44482 w 945927"/>
                <a:gd name="connsiteY41" fmla="*/ 720280 h 1170241"/>
                <a:gd name="connsiteX42" fmla="*/ 45910 w 945927"/>
                <a:gd name="connsiteY42" fmla="*/ 720566 h 1170241"/>
                <a:gd name="connsiteX43" fmla="*/ 45910 w 945927"/>
                <a:gd name="connsiteY43" fmla="*/ 720566 h 1170241"/>
                <a:gd name="connsiteX44" fmla="*/ 47339 w 945927"/>
                <a:gd name="connsiteY44" fmla="*/ 720852 h 1170241"/>
                <a:gd name="connsiteX45" fmla="*/ 47339 w 945927"/>
                <a:gd name="connsiteY45" fmla="*/ 720852 h 1170241"/>
                <a:gd name="connsiteX46" fmla="*/ 47625 w 945927"/>
                <a:gd name="connsiteY46" fmla="*/ 720852 h 1170241"/>
                <a:gd name="connsiteX47" fmla="*/ 50006 w 945927"/>
                <a:gd name="connsiteY47" fmla="*/ 721233 h 1170241"/>
                <a:gd name="connsiteX48" fmla="*/ 50292 w 945927"/>
                <a:gd name="connsiteY48" fmla="*/ 721233 h 1170241"/>
                <a:gd name="connsiteX49" fmla="*/ 50292 w 945927"/>
                <a:gd name="connsiteY49" fmla="*/ 721233 h 1170241"/>
                <a:gd name="connsiteX50" fmla="*/ 51721 w 945927"/>
                <a:gd name="connsiteY50" fmla="*/ 721424 h 1170241"/>
                <a:gd name="connsiteX51" fmla="*/ 51721 w 945927"/>
                <a:gd name="connsiteY51" fmla="*/ 721424 h 1170241"/>
                <a:gd name="connsiteX52" fmla="*/ 53149 w 945927"/>
                <a:gd name="connsiteY52" fmla="*/ 721518 h 1170241"/>
                <a:gd name="connsiteX53" fmla="*/ 53149 w 945927"/>
                <a:gd name="connsiteY53" fmla="*/ 721518 h 1170241"/>
                <a:gd name="connsiteX54" fmla="*/ 54578 w 945927"/>
                <a:gd name="connsiteY54" fmla="*/ 721614 h 1170241"/>
                <a:gd name="connsiteX55" fmla="*/ 54578 w 945927"/>
                <a:gd name="connsiteY55" fmla="*/ 721614 h 1170241"/>
                <a:gd name="connsiteX56" fmla="*/ 55054 w 945927"/>
                <a:gd name="connsiteY56" fmla="*/ 721614 h 1170241"/>
                <a:gd name="connsiteX57" fmla="*/ 58198 w 945927"/>
                <a:gd name="connsiteY57" fmla="*/ 721709 h 1170241"/>
                <a:gd name="connsiteX58" fmla="*/ 77629 w 945927"/>
                <a:gd name="connsiteY58" fmla="*/ 721709 h 1170241"/>
                <a:gd name="connsiteX59" fmla="*/ 84582 w 945927"/>
                <a:gd name="connsiteY59" fmla="*/ 721709 h 1170241"/>
                <a:gd name="connsiteX60" fmla="*/ 165545 w 945927"/>
                <a:gd name="connsiteY60" fmla="*/ 802672 h 1170241"/>
                <a:gd name="connsiteX61" fmla="*/ 165545 w 945927"/>
                <a:gd name="connsiteY61" fmla="*/ 812483 h 1170241"/>
                <a:gd name="connsiteX62" fmla="*/ 165545 w 945927"/>
                <a:gd name="connsiteY62" fmla="*/ 814006 h 1170241"/>
                <a:gd name="connsiteX63" fmla="*/ 165545 w 945927"/>
                <a:gd name="connsiteY63" fmla="*/ 814006 h 1170241"/>
                <a:gd name="connsiteX64" fmla="*/ 165640 w 945927"/>
                <a:gd name="connsiteY64" fmla="*/ 815435 h 1170241"/>
                <a:gd name="connsiteX65" fmla="*/ 165640 w 945927"/>
                <a:gd name="connsiteY65" fmla="*/ 815435 h 1170241"/>
                <a:gd name="connsiteX66" fmla="*/ 165735 w 945927"/>
                <a:gd name="connsiteY66" fmla="*/ 816864 h 1170241"/>
                <a:gd name="connsiteX67" fmla="*/ 165735 w 945927"/>
                <a:gd name="connsiteY67" fmla="*/ 816864 h 1170241"/>
                <a:gd name="connsiteX68" fmla="*/ 165830 w 945927"/>
                <a:gd name="connsiteY68" fmla="*/ 818293 h 1170241"/>
                <a:gd name="connsiteX69" fmla="*/ 165830 w 945927"/>
                <a:gd name="connsiteY69" fmla="*/ 818293 h 1170241"/>
                <a:gd name="connsiteX70" fmla="*/ 166021 w 945927"/>
                <a:gd name="connsiteY70" fmla="*/ 819721 h 1170241"/>
                <a:gd name="connsiteX71" fmla="*/ 166021 w 945927"/>
                <a:gd name="connsiteY71" fmla="*/ 819721 h 1170241"/>
                <a:gd name="connsiteX72" fmla="*/ 166211 w 945927"/>
                <a:gd name="connsiteY72" fmla="*/ 821150 h 1170241"/>
                <a:gd name="connsiteX73" fmla="*/ 166211 w 945927"/>
                <a:gd name="connsiteY73" fmla="*/ 821150 h 1170241"/>
                <a:gd name="connsiteX74" fmla="*/ 166497 w 945927"/>
                <a:gd name="connsiteY74" fmla="*/ 822579 h 1170241"/>
                <a:gd name="connsiteX75" fmla="*/ 166497 w 945927"/>
                <a:gd name="connsiteY75" fmla="*/ 822579 h 1170241"/>
                <a:gd name="connsiteX76" fmla="*/ 166783 w 945927"/>
                <a:gd name="connsiteY76" fmla="*/ 824008 h 1170241"/>
                <a:gd name="connsiteX77" fmla="*/ 166783 w 945927"/>
                <a:gd name="connsiteY77" fmla="*/ 824008 h 1170241"/>
                <a:gd name="connsiteX78" fmla="*/ 167068 w 945927"/>
                <a:gd name="connsiteY78" fmla="*/ 825437 h 1170241"/>
                <a:gd name="connsiteX79" fmla="*/ 167068 w 945927"/>
                <a:gd name="connsiteY79" fmla="*/ 825437 h 1170241"/>
                <a:gd name="connsiteX80" fmla="*/ 167449 w 945927"/>
                <a:gd name="connsiteY80" fmla="*/ 826865 h 1170241"/>
                <a:gd name="connsiteX81" fmla="*/ 167449 w 945927"/>
                <a:gd name="connsiteY81" fmla="*/ 826865 h 1170241"/>
                <a:gd name="connsiteX82" fmla="*/ 167830 w 945927"/>
                <a:gd name="connsiteY82" fmla="*/ 828199 h 1170241"/>
                <a:gd name="connsiteX83" fmla="*/ 167830 w 945927"/>
                <a:gd name="connsiteY83" fmla="*/ 828199 h 1170241"/>
                <a:gd name="connsiteX84" fmla="*/ 168211 w 945927"/>
                <a:gd name="connsiteY84" fmla="*/ 829532 h 1170241"/>
                <a:gd name="connsiteX85" fmla="*/ 168211 w 945927"/>
                <a:gd name="connsiteY85" fmla="*/ 829532 h 1170241"/>
                <a:gd name="connsiteX86" fmla="*/ 168687 w 945927"/>
                <a:gd name="connsiteY86" fmla="*/ 830866 h 1170241"/>
                <a:gd name="connsiteX87" fmla="*/ 168687 w 945927"/>
                <a:gd name="connsiteY87" fmla="*/ 830866 h 1170241"/>
                <a:gd name="connsiteX88" fmla="*/ 169164 w 945927"/>
                <a:gd name="connsiteY88" fmla="*/ 832199 h 1170241"/>
                <a:gd name="connsiteX89" fmla="*/ 169164 w 945927"/>
                <a:gd name="connsiteY89" fmla="*/ 832199 h 1170241"/>
                <a:gd name="connsiteX90" fmla="*/ 169640 w 945927"/>
                <a:gd name="connsiteY90" fmla="*/ 833533 h 1170241"/>
                <a:gd name="connsiteX91" fmla="*/ 169640 w 945927"/>
                <a:gd name="connsiteY91" fmla="*/ 833533 h 1170241"/>
                <a:gd name="connsiteX92" fmla="*/ 170212 w 945927"/>
                <a:gd name="connsiteY92" fmla="*/ 834866 h 1170241"/>
                <a:gd name="connsiteX93" fmla="*/ 170212 w 945927"/>
                <a:gd name="connsiteY93" fmla="*/ 834866 h 1170241"/>
                <a:gd name="connsiteX94" fmla="*/ 170783 w 945927"/>
                <a:gd name="connsiteY94" fmla="*/ 836105 h 1170241"/>
                <a:gd name="connsiteX95" fmla="*/ 170783 w 945927"/>
                <a:gd name="connsiteY95" fmla="*/ 836105 h 1170241"/>
                <a:gd name="connsiteX96" fmla="*/ 171355 w 945927"/>
                <a:gd name="connsiteY96" fmla="*/ 837343 h 1170241"/>
                <a:gd name="connsiteX97" fmla="*/ 171355 w 945927"/>
                <a:gd name="connsiteY97" fmla="*/ 837343 h 1170241"/>
                <a:gd name="connsiteX98" fmla="*/ 172021 w 945927"/>
                <a:gd name="connsiteY98" fmla="*/ 838581 h 1170241"/>
                <a:gd name="connsiteX99" fmla="*/ 172021 w 945927"/>
                <a:gd name="connsiteY99" fmla="*/ 838581 h 1170241"/>
                <a:gd name="connsiteX100" fmla="*/ 172688 w 945927"/>
                <a:gd name="connsiteY100" fmla="*/ 839819 h 1170241"/>
                <a:gd name="connsiteX101" fmla="*/ 172688 w 945927"/>
                <a:gd name="connsiteY101" fmla="*/ 839819 h 1170241"/>
                <a:gd name="connsiteX102" fmla="*/ 173355 w 945927"/>
                <a:gd name="connsiteY102" fmla="*/ 841058 h 1170241"/>
                <a:gd name="connsiteX103" fmla="*/ 173355 w 945927"/>
                <a:gd name="connsiteY103" fmla="*/ 841058 h 1170241"/>
                <a:gd name="connsiteX104" fmla="*/ 174021 w 945927"/>
                <a:gd name="connsiteY104" fmla="*/ 842296 h 1170241"/>
                <a:gd name="connsiteX105" fmla="*/ 174021 w 945927"/>
                <a:gd name="connsiteY105" fmla="*/ 842296 h 1170241"/>
                <a:gd name="connsiteX106" fmla="*/ 174784 w 945927"/>
                <a:gd name="connsiteY106" fmla="*/ 843439 h 1170241"/>
                <a:gd name="connsiteX107" fmla="*/ 174784 w 945927"/>
                <a:gd name="connsiteY107" fmla="*/ 843439 h 1170241"/>
                <a:gd name="connsiteX108" fmla="*/ 175546 w 945927"/>
                <a:gd name="connsiteY108" fmla="*/ 844582 h 1170241"/>
                <a:gd name="connsiteX109" fmla="*/ 175546 w 945927"/>
                <a:gd name="connsiteY109" fmla="*/ 844582 h 1170241"/>
                <a:gd name="connsiteX110" fmla="*/ 176308 w 945927"/>
                <a:gd name="connsiteY110" fmla="*/ 845725 h 1170241"/>
                <a:gd name="connsiteX111" fmla="*/ 176308 w 945927"/>
                <a:gd name="connsiteY111" fmla="*/ 845725 h 1170241"/>
                <a:gd name="connsiteX112" fmla="*/ 177165 w 945927"/>
                <a:gd name="connsiteY112" fmla="*/ 846868 h 1170241"/>
                <a:gd name="connsiteX113" fmla="*/ 177165 w 945927"/>
                <a:gd name="connsiteY113" fmla="*/ 846868 h 1170241"/>
                <a:gd name="connsiteX114" fmla="*/ 178022 w 945927"/>
                <a:gd name="connsiteY114" fmla="*/ 848011 h 1170241"/>
                <a:gd name="connsiteX115" fmla="*/ 178022 w 945927"/>
                <a:gd name="connsiteY115" fmla="*/ 848011 h 1170241"/>
                <a:gd name="connsiteX116" fmla="*/ 178879 w 945927"/>
                <a:gd name="connsiteY116" fmla="*/ 849058 h 1170241"/>
                <a:gd name="connsiteX117" fmla="*/ 178879 w 945927"/>
                <a:gd name="connsiteY117" fmla="*/ 849058 h 1170241"/>
                <a:gd name="connsiteX118" fmla="*/ 179737 w 945927"/>
                <a:gd name="connsiteY118" fmla="*/ 850106 h 1170241"/>
                <a:gd name="connsiteX119" fmla="*/ 179737 w 945927"/>
                <a:gd name="connsiteY119" fmla="*/ 850106 h 1170241"/>
                <a:gd name="connsiteX120" fmla="*/ 180689 w 945927"/>
                <a:gd name="connsiteY120" fmla="*/ 851154 h 1170241"/>
                <a:gd name="connsiteX121" fmla="*/ 180689 w 945927"/>
                <a:gd name="connsiteY121" fmla="*/ 851154 h 1170241"/>
                <a:gd name="connsiteX122" fmla="*/ 181642 w 945927"/>
                <a:gd name="connsiteY122" fmla="*/ 852202 h 1170241"/>
                <a:gd name="connsiteX123" fmla="*/ 181642 w 945927"/>
                <a:gd name="connsiteY123" fmla="*/ 852202 h 1170241"/>
                <a:gd name="connsiteX124" fmla="*/ 182594 w 945927"/>
                <a:gd name="connsiteY124" fmla="*/ 853154 h 1170241"/>
                <a:gd name="connsiteX125" fmla="*/ 182594 w 945927"/>
                <a:gd name="connsiteY125" fmla="*/ 853154 h 1170241"/>
                <a:gd name="connsiteX126" fmla="*/ 183546 w 945927"/>
                <a:gd name="connsiteY126" fmla="*/ 854107 h 1170241"/>
                <a:gd name="connsiteX127" fmla="*/ 183546 w 945927"/>
                <a:gd name="connsiteY127" fmla="*/ 854107 h 1170241"/>
                <a:gd name="connsiteX128" fmla="*/ 184595 w 945927"/>
                <a:gd name="connsiteY128" fmla="*/ 855059 h 1170241"/>
                <a:gd name="connsiteX129" fmla="*/ 184595 w 945927"/>
                <a:gd name="connsiteY129" fmla="*/ 855059 h 1170241"/>
                <a:gd name="connsiteX130" fmla="*/ 185642 w 945927"/>
                <a:gd name="connsiteY130" fmla="*/ 856011 h 1170241"/>
                <a:gd name="connsiteX131" fmla="*/ 185642 w 945927"/>
                <a:gd name="connsiteY131" fmla="*/ 856011 h 1170241"/>
                <a:gd name="connsiteX132" fmla="*/ 186690 w 945927"/>
                <a:gd name="connsiteY132" fmla="*/ 856869 h 1170241"/>
                <a:gd name="connsiteX133" fmla="*/ 186690 w 945927"/>
                <a:gd name="connsiteY133" fmla="*/ 856869 h 1170241"/>
                <a:gd name="connsiteX134" fmla="*/ 187737 w 945927"/>
                <a:gd name="connsiteY134" fmla="*/ 857726 h 1170241"/>
                <a:gd name="connsiteX135" fmla="*/ 187737 w 945927"/>
                <a:gd name="connsiteY135" fmla="*/ 857726 h 1170241"/>
                <a:gd name="connsiteX136" fmla="*/ 188786 w 945927"/>
                <a:gd name="connsiteY136" fmla="*/ 858583 h 1170241"/>
                <a:gd name="connsiteX137" fmla="*/ 188786 w 945927"/>
                <a:gd name="connsiteY137" fmla="*/ 858583 h 1170241"/>
                <a:gd name="connsiteX138" fmla="*/ 189929 w 945927"/>
                <a:gd name="connsiteY138" fmla="*/ 859441 h 1170241"/>
                <a:gd name="connsiteX139" fmla="*/ 189929 w 945927"/>
                <a:gd name="connsiteY139" fmla="*/ 859441 h 1170241"/>
                <a:gd name="connsiteX140" fmla="*/ 191071 w 945927"/>
                <a:gd name="connsiteY140" fmla="*/ 860202 h 1170241"/>
                <a:gd name="connsiteX141" fmla="*/ 191071 w 945927"/>
                <a:gd name="connsiteY141" fmla="*/ 860202 h 1170241"/>
                <a:gd name="connsiteX142" fmla="*/ 192214 w 945927"/>
                <a:gd name="connsiteY142" fmla="*/ 860965 h 1170241"/>
                <a:gd name="connsiteX143" fmla="*/ 192214 w 945927"/>
                <a:gd name="connsiteY143" fmla="*/ 860965 h 1170241"/>
                <a:gd name="connsiteX144" fmla="*/ 193357 w 945927"/>
                <a:gd name="connsiteY144" fmla="*/ 861727 h 1170241"/>
                <a:gd name="connsiteX145" fmla="*/ 193357 w 945927"/>
                <a:gd name="connsiteY145" fmla="*/ 861727 h 1170241"/>
                <a:gd name="connsiteX146" fmla="*/ 194596 w 945927"/>
                <a:gd name="connsiteY146" fmla="*/ 862394 h 1170241"/>
                <a:gd name="connsiteX147" fmla="*/ 194596 w 945927"/>
                <a:gd name="connsiteY147" fmla="*/ 862394 h 1170241"/>
                <a:gd name="connsiteX148" fmla="*/ 195834 w 945927"/>
                <a:gd name="connsiteY148" fmla="*/ 863060 h 1170241"/>
                <a:gd name="connsiteX149" fmla="*/ 195834 w 945927"/>
                <a:gd name="connsiteY149" fmla="*/ 863060 h 1170241"/>
                <a:gd name="connsiteX150" fmla="*/ 197072 w 945927"/>
                <a:gd name="connsiteY150" fmla="*/ 863727 h 1170241"/>
                <a:gd name="connsiteX151" fmla="*/ 197072 w 945927"/>
                <a:gd name="connsiteY151" fmla="*/ 863727 h 1170241"/>
                <a:gd name="connsiteX152" fmla="*/ 198311 w 945927"/>
                <a:gd name="connsiteY152" fmla="*/ 864393 h 1170241"/>
                <a:gd name="connsiteX153" fmla="*/ 198311 w 945927"/>
                <a:gd name="connsiteY153" fmla="*/ 864393 h 1170241"/>
                <a:gd name="connsiteX154" fmla="*/ 199549 w 945927"/>
                <a:gd name="connsiteY154" fmla="*/ 864965 h 1170241"/>
                <a:gd name="connsiteX155" fmla="*/ 199549 w 945927"/>
                <a:gd name="connsiteY155" fmla="*/ 864965 h 1170241"/>
                <a:gd name="connsiteX156" fmla="*/ 200787 w 945927"/>
                <a:gd name="connsiteY156" fmla="*/ 865536 h 1170241"/>
                <a:gd name="connsiteX157" fmla="*/ 200787 w 945927"/>
                <a:gd name="connsiteY157" fmla="*/ 865536 h 1170241"/>
                <a:gd name="connsiteX158" fmla="*/ 202120 w 945927"/>
                <a:gd name="connsiteY158" fmla="*/ 866109 h 1170241"/>
                <a:gd name="connsiteX159" fmla="*/ 202120 w 945927"/>
                <a:gd name="connsiteY159" fmla="*/ 866109 h 1170241"/>
                <a:gd name="connsiteX160" fmla="*/ 203454 w 945927"/>
                <a:gd name="connsiteY160" fmla="*/ 866585 h 1170241"/>
                <a:gd name="connsiteX161" fmla="*/ 203454 w 945927"/>
                <a:gd name="connsiteY161" fmla="*/ 866585 h 1170241"/>
                <a:gd name="connsiteX162" fmla="*/ 204788 w 945927"/>
                <a:gd name="connsiteY162" fmla="*/ 867061 h 1170241"/>
                <a:gd name="connsiteX163" fmla="*/ 204788 w 945927"/>
                <a:gd name="connsiteY163" fmla="*/ 867061 h 1170241"/>
                <a:gd name="connsiteX164" fmla="*/ 206121 w 945927"/>
                <a:gd name="connsiteY164" fmla="*/ 867537 h 1170241"/>
                <a:gd name="connsiteX165" fmla="*/ 206121 w 945927"/>
                <a:gd name="connsiteY165" fmla="*/ 867537 h 1170241"/>
                <a:gd name="connsiteX166" fmla="*/ 207454 w 945927"/>
                <a:gd name="connsiteY166" fmla="*/ 867918 h 1170241"/>
                <a:gd name="connsiteX167" fmla="*/ 207454 w 945927"/>
                <a:gd name="connsiteY167" fmla="*/ 867918 h 1170241"/>
                <a:gd name="connsiteX168" fmla="*/ 208788 w 945927"/>
                <a:gd name="connsiteY168" fmla="*/ 868299 h 1170241"/>
                <a:gd name="connsiteX169" fmla="*/ 208788 w 945927"/>
                <a:gd name="connsiteY169" fmla="*/ 868299 h 1170241"/>
                <a:gd name="connsiteX170" fmla="*/ 210121 w 945927"/>
                <a:gd name="connsiteY170" fmla="*/ 868680 h 1170241"/>
                <a:gd name="connsiteX171" fmla="*/ 210121 w 945927"/>
                <a:gd name="connsiteY171" fmla="*/ 868680 h 1170241"/>
                <a:gd name="connsiteX172" fmla="*/ 211550 w 945927"/>
                <a:gd name="connsiteY172" fmla="*/ 868966 h 1170241"/>
                <a:gd name="connsiteX173" fmla="*/ 211550 w 945927"/>
                <a:gd name="connsiteY173" fmla="*/ 868966 h 1170241"/>
                <a:gd name="connsiteX174" fmla="*/ 212979 w 945927"/>
                <a:gd name="connsiteY174" fmla="*/ 869251 h 1170241"/>
                <a:gd name="connsiteX175" fmla="*/ 212979 w 945927"/>
                <a:gd name="connsiteY175" fmla="*/ 869251 h 1170241"/>
                <a:gd name="connsiteX176" fmla="*/ 214408 w 945927"/>
                <a:gd name="connsiteY176" fmla="*/ 869537 h 1170241"/>
                <a:gd name="connsiteX177" fmla="*/ 214408 w 945927"/>
                <a:gd name="connsiteY177" fmla="*/ 869537 h 1170241"/>
                <a:gd name="connsiteX178" fmla="*/ 215836 w 945927"/>
                <a:gd name="connsiteY178" fmla="*/ 869727 h 1170241"/>
                <a:gd name="connsiteX179" fmla="*/ 215836 w 945927"/>
                <a:gd name="connsiteY179" fmla="*/ 869727 h 1170241"/>
                <a:gd name="connsiteX180" fmla="*/ 217265 w 945927"/>
                <a:gd name="connsiteY180" fmla="*/ 869918 h 1170241"/>
                <a:gd name="connsiteX181" fmla="*/ 217265 w 945927"/>
                <a:gd name="connsiteY181" fmla="*/ 869918 h 1170241"/>
                <a:gd name="connsiteX182" fmla="*/ 218694 w 945927"/>
                <a:gd name="connsiteY182" fmla="*/ 870013 h 1170241"/>
                <a:gd name="connsiteX183" fmla="*/ 218694 w 945927"/>
                <a:gd name="connsiteY183" fmla="*/ 870013 h 1170241"/>
                <a:gd name="connsiteX184" fmla="*/ 220123 w 945927"/>
                <a:gd name="connsiteY184" fmla="*/ 870109 h 1170241"/>
                <a:gd name="connsiteX185" fmla="*/ 220123 w 945927"/>
                <a:gd name="connsiteY185" fmla="*/ 870109 h 1170241"/>
                <a:gd name="connsiteX186" fmla="*/ 220599 w 945927"/>
                <a:gd name="connsiteY186" fmla="*/ 870109 h 1170241"/>
                <a:gd name="connsiteX187" fmla="*/ 223742 w 945927"/>
                <a:gd name="connsiteY187" fmla="*/ 870204 h 1170241"/>
                <a:gd name="connsiteX188" fmla="*/ 236505 w 945927"/>
                <a:gd name="connsiteY188" fmla="*/ 870204 h 1170241"/>
                <a:gd name="connsiteX189" fmla="*/ 251270 w 945927"/>
                <a:gd name="connsiteY189" fmla="*/ 870204 h 1170241"/>
                <a:gd name="connsiteX190" fmla="*/ 332232 w 945927"/>
                <a:gd name="connsiteY190" fmla="*/ 951167 h 1170241"/>
                <a:gd name="connsiteX191" fmla="*/ 332232 w 945927"/>
                <a:gd name="connsiteY191" fmla="*/ 1014508 h 1170241"/>
                <a:gd name="connsiteX192" fmla="*/ 332232 w 945927"/>
                <a:gd name="connsiteY192" fmla="*/ 1109472 h 1170241"/>
                <a:gd name="connsiteX193" fmla="*/ 332232 w 945927"/>
                <a:gd name="connsiteY193" fmla="*/ 1112615 h 1170241"/>
                <a:gd name="connsiteX194" fmla="*/ 389858 w 945927"/>
                <a:gd name="connsiteY194" fmla="*/ 1170242 h 1170241"/>
                <a:gd name="connsiteX195" fmla="*/ 564737 w 945927"/>
                <a:gd name="connsiteY195" fmla="*/ 1170242 h 1170241"/>
                <a:gd name="connsiteX196" fmla="*/ 622363 w 945927"/>
                <a:gd name="connsiteY196" fmla="*/ 1112615 h 1170241"/>
                <a:gd name="connsiteX197" fmla="*/ 622363 w 945927"/>
                <a:gd name="connsiteY197" fmla="*/ 1104519 h 1170241"/>
                <a:gd name="connsiteX198" fmla="*/ 624364 w 945927"/>
                <a:gd name="connsiteY198" fmla="*/ 600646 h 1170241"/>
                <a:gd name="connsiteX199" fmla="*/ 572928 w 945927"/>
                <a:gd name="connsiteY199" fmla="*/ 559403 h 1170241"/>
                <a:gd name="connsiteX200" fmla="*/ 529494 w 945927"/>
                <a:gd name="connsiteY200" fmla="*/ 559403 h 1170241"/>
                <a:gd name="connsiteX201" fmla="*/ 471868 w 945927"/>
                <a:gd name="connsiteY201" fmla="*/ 501777 h 1170241"/>
                <a:gd name="connsiteX202" fmla="*/ 471868 w 945927"/>
                <a:gd name="connsiteY202" fmla="*/ 481774 h 1170241"/>
                <a:gd name="connsiteX203" fmla="*/ 529494 w 945927"/>
                <a:gd name="connsiteY203" fmla="*/ 424148 h 1170241"/>
                <a:gd name="connsiteX204" fmla="*/ 888302 w 945927"/>
                <a:gd name="connsiteY204" fmla="*/ 423100 h 1170241"/>
                <a:gd name="connsiteX205" fmla="*/ 945928 w 945927"/>
                <a:gd name="connsiteY205" fmla="*/ 365474 h 1170241"/>
                <a:gd name="connsiteX206" fmla="*/ 945928 w 945927"/>
                <a:gd name="connsiteY206" fmla="*/ 208312 h 1170241"/>
                <a:gd name="connsiteX207" fmla="*/ 945452 w 945927"/>
                <a:gd name="connsiteY207" fmla="*/ 202025 h 1170241"/>
                <a:gd name="connsiteX208" fmla="*/ 945452 w 945927"/>
                <a:gd name="connsiteY208" fmla="*/ 0 h 1170241"/>
                <a:gd name="connsiteX209" fmla="*/ 857726 w 945927"/>
                <a:gd name="connsiteY209" fmla="*/ 0 h 1170241"/>
                <a:gd name="connsiteX210" fmla="*/ 802577 w 945927"/>
                <a:gd name="connsiteY210" fmla="*/ 41053 h 1170241"/>
                <a:gd name="connsiteX211" fmla="*/ 802577 w 945927"/>
                <a:gd name="connsiteY211" fmla="*/ 83058 h 1170241"/>
                <a:gd name="connsiteX212" fmla="*/ 744950 w 945927"/>
                <a:gd name="connsiteY212" fmla="*/ 140684 h 1170241"/>
                <a:gd name="connsiteX213" fmla="*/ 635508 w 945927"/>
                <a:gd name="connsiteY213" fmla="*/ 140684 h 1170241"/>
                <a:gd name="connsiteX214" fmla="*/ 635508 w 945927"/>
                <a:gd name="connsiteY214" fmla="*/ 230505 h 1170241"/>
                <a:gd name="connsiteX215" fmla="*/ 577882 w 945927"/>
                <a:gd name="connsiteY215" fmla="*/ 288131 h 1170241"/>
                <a:gd name="connsiteX216" fmla="*/ 168402 w 945927"/>
                <a:gd name="connsiteY216" fmla="*/ 288131 h 1170241"/>
                <a:gd name="connsiteX217" fmla="*/ 165640 w 945927"/>
                <a:gd name="connsiteY217" fmla="*/ 812483 h 1170241"/>
                <a:gd name="connsiteX218" fmla="*/ 165640 w 945927"/>
                <a:gd name="connsiteY218" fmla="*/ 812483 h 1170241"/>
                <a:gd name="connsiteX219" fmla="*/ 165640 w 945927"/>
                <a:gd name="connsiteY219" fmla="*/ 812483 h 1170241"/>
                <a:gd name="connsiteX220" fmla="*/ 165640 w 945927"/>
                <a:gd name="connsiteY220" fmla="*/ 812483 h 1170241"/>
                <a:gd name="connsiteX221" fmla="*/ 0 w 945927"/>
                <a:gd name="connsiteY221" fmla="*/ 664083 h 1170241"/>
                <a:gd name="connsiteX222" fmla="*/ 0 w 945927"/>
                <a:gd name="connsiteY222" fmla="*/ 664083 h 1170241"/>
                <a:gd name="connsiteX223" fmla="*/ 0 w 945927"/>
                <a:gd name="connsiteY223" fmla="*/ 664083 h 1170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945927" h="1170241">
                  <a:moveTo>
                    <a:pt x="168402" y="288131"/>
                  </a:moveTo>
                  <a:lnTo>
                    <a:pt x="168402" y="520827"/>
                  </a:lnTo>
                  <a:cubicBezTo>
                    <a:pt x="168402" y="552450"/>
                    <a:pt x="142494" y="578453"/>
                    <a:pt x="110776" y="578453"/>
                  </a:cubicBezTo>
                  <a:lnTo>
                    <a:pt x="0" y="578453"/>
                  </a:lnTo>
                  <a:lnTo>
                    <a:pt x="0" y="664083"/>
                  </a:lnTo>
                  <a:lnTo>
                    <a:pt x="0" y="665607"/>
                  </a:lnTo>
                  <a:lnTo>
                    <a:pt x="0" y="665607"/>
                  </a:lnTo>
                  <a:lnTo>
                    <a:pt x="95" y="667036"/>
                  </a:lnTo>
                  <a:lnTo>
                    <a:pt x="95" y="667036"/>
                  </a:lnTo>
                  <a:lnTo>
                    <a:pt x="190" y="668465"/>
                  </a:lnTo>
                  <a:lnTo>
                    <a:pt x="190" y="668465"/>
                  </a:lnTo>
                  <a:lnTo>
                    <a:pt x="286" y="669893"/>
                  </a:lnTo>
                  <a:lnTo>
                    <a:pt x="286" y="669893"/>
                  </a:lnTo>
                  <a:lnTo>
                    <a:pt x="476" y="671322"/>
                  </a:lnTo>
                  <a:lnTo>
                    <a:pt x="476" y="671322"/>
                  </a:lnTo>
                  <a:lnTo>
                    <a:pt x="667" y="672751"/>
                  </a:lnTo>
                  <a:lnTo>
                    <a:pt x="667" y="672751"/>
                  </a:lnTo>
                  <a:cubicBezTo>
                    <a:pt x="3619" y="690467"/>
                    <a:pt x="14001" y="705421"/>
                    <a:pt x="29623" y="714375"/>
                  </a:cubicBezTo>
                  <a:lnTo>
                    <a:pt x="30194" y="714661"/>
                  </a:lnTo>
                  <a:lnTo>
                    <a:pt x="30194" y="714661"/>
                  </a:lnTo>
                  <a:lnTo>
                    <a:pt x="31432" y="715328"/>
                  </a:lnTo>
                  <a:lnTo>
                    <a:pt x="31432" y="715328"/>
                  </a:lnTo>
                  <a:lnTo>
                    <a:pt x="32671" y="715994"/>
                  </a:lnTo>
                  <a:lnTo>
                    <a:pt x="32671" y="715994"/>
                  </a:lnTo>
                  <a:lnTo>
                    <a:pt x="33909" y="716566"/>
                  </a:lnTo>
                  <a:lnTo>
                    <a:pt x="33909" y="716566"/>
                  </a:lnTo>
                  <a:cubicBezTo>
                    <a:pt x="34290" y="716756"/>
                    <a:pt x="34766" y="716947"/>
                    <a:pt x="35147" y="717137"/>
                  </a:cubicBezTo>
                  <a:lnTo>
                    <a:pt x="35147" y="717137"/>
                  </a:lnTo>
                  <a:lnTo>
                    <a:pt x="36481" y="717709"/>
                  </a:lnTo>
                  <a:lnTo>
                    <a:pt x="36481" y="717709"/>
                  </a:lnTo>
                  <a:lnTo>
                    <a:pt x="37814" y="718185"/>
                  </a:lnTo>
                  <a:lnTo>
                    <a:pt x="37814" y="718185"/>
                  </a:lnTo>
                  <a:lnTo>
                    <a:pt x="39148" y="718661"/>
                  </a:lnTo>
                  <a:lnTo>
                    <a:pt x="39148" y="718661"/>
                  </a:lnTo>
                  <a:lnTo>
                    <a:pt x="39433" y="718756"/>
                  </a:lnTo>
                  <a:cubicBezTo>
                    <a:pt x="40195" y="718947"/>
                    <a:pt x="40767" y="719233"/>
                    <a:pt x="41529" y="719423"/>
                  </a:cubicBezTo>
                  <a:lnTo>
                    <a:pt x="41815" y="719519"/>
                  </a:lnTo>
                  <a:lnTo>
                    <a:pt x="41815" y="719519"/>
                  </a:lnTo>
                  <a:lnTo>
                    <a:pt x="43148" y="719899"/>
                  </a:lnTo>
                  <a:lnTo>
                    <a:pt x="43148" y="719899"/>
                  </a:lnTo>
                  <a:lnTo>
                    <a:pt x="44482" y="720280"/>
                  </a:lnTo>
                  <a:lnTo>
                    <a:pt x="44482" y="720280"/>
                  </a:lnTo>
                  <a:lnTo>
                    <a:pt x="45910" y="720566"/>
                  </a:lnTo>
                  <a:lnTo>
                    <a:pt x="45910" y="720566"/>
                  </a:lnTo>
                  <a:cubicBezTo>
                    <a:pt x="46387" y="720662"/>
                    <a:pt x="46863" y="720757"/>
                    <a:pt x="47339" y="720852"/>
                  </a:cubicBezTo>
                  <a:lnTo>
                    <a:pt x="47339" y="720852"/>
                  </a:lnTo>
                  <a:lnTo>
                    <a:pt x="47625" y="720852"/>
                  </a:lnTo>
                  <a:cubicBezTo>
                    <a:pt x="48482" y="720947"/>
                    <a:pt x="49149" y="721138"/>
                    <a:pt x="50006" y="721233"/>
                  </a:cubicBezTo>
                  <a:lnTo>
                    <a:pt x="50292" y="721233"/>
                  </a:lnTo>
                  <a:lnTo>
                    <a:pt x="50292" y="721233"/>
                  </a:lnTo>
                  <a:lnTo>
                    <a:pt x="51721" y="721424"/>
                  </a:lnTo>
                  <a:lnTo>
                    <a:pt x="51721" y="721424"/>
                  </a:lnTo>
                  <a:lnTo>
                    <a:pt x="53149" y="721518"/>
                  </a:lnTo>
                  <a:lnTo>
                    <a:pt x="53149" y="721518"/>
                  </a:lnTo>
                  <a:lnTo>
                    <a:pt x="54578" y="721614"/>
                  </a:lnTo>
                  <a:lnTo>
                    <a:pt x="54578" y="721614"/>
                  </a:lnTo>
                  <a:lnTo>
                    <a:pt x="55054" y="721614"/>
                  </a:lnTo>
                  <a:cubicBezTo>
                    <a:pt x="56197" y="721614"/>
                    <a:pt x="57055" y="721709"/>
                    <a:pt x="58198" y="721709"/>
                  </a:cubicBezTo>
                  <a:lnTo>
                    <a:pt x="77629" y="721709"/>
                  </a:lnTo>
                  <a:lnTo>
                    <a:pt x="84582" y="721709"/>
                  </a:lnTo>
                  <a:cubicBezTo>
                    <a:pt x="129159" y="721709"/>
                    <a:pt x="165545" y="758095"/>
                    <a:pt x="165545" y="802672"/>
                  </a:cubicBezTo>
                  <a:lnTo>
                    <a:pt x="165545" y="812483"/>
                  </a:lnTo>
                  <a:lnTo>
                    <a:pt x="165545" y="814006"/>
                  </a:lnTo>
                  <a:lnTo>
                    <a:pt x="165545" y="814006"/>
                  </a:lnTo>
                  <a:lnTo>
                    <a:pt x="165640" y="815435"/>
                  </a:lnTo>
                  <a:lnTo>
                    <a:pt x="165640" y="815435"/>
                  </a:lnTo>
                  <a:lnTo>
                    <a:pt x="165735" y="816864"/>
                  </a:lnTo>
                  <a:lnTo>
                    <a:pt x="165735" y="816864"/>
                  </a:lnTo>
                  <a:lnTo>
                    <a:pt x="165830" y="818293"/>
                  </a:lnTo>
                  <a:lnTo>
                    <a:pt x="165830" y="818293"/>
                  </a:lnTo>
                  <a:lnTo>
                    <a:pt x="166021" y="819721"/>
                  </a:lnTo>
                  <a:lnTo>
                    <a:pt x="166021" y="819721"/>
                  </a:lnTo>
                  <a:lnTo>
                    <a:pt x="166211" y="821150"/>
                  </a:lnTo>
                  <a:lnTo>
                    <a:pt x="166211" y="821150"/>
                  </a:lnTo>
                  <a:lnTo>
                    <a:pt x="166497" y="822579"/>
                  </a:lnTo>
                  <a:lnTo>
                    <a:pt x="166497" y="822579"/>
                  </a:lnTo>
                  <a:cubicBezTo>
                    <a:pt x="166592" y="823055"/>
                    <a:pt x="166688" y="823531"/>
                    <a:pt x="166783" y="824008"/>
                  </a:cubicBezTo>
                  <a:lnTo>
                    <a:pt x="166783" y="824008"/>
                  </a:lnTo>
                  <a:lnTo>
                    <a:pt x="167068" y="825437"/>
                  </a:lnTo>
                  <a:lnTo>
                    <a:pt x="167068" y="825437"/>
                  </a:lnTo>
                  <a:lnTo>
                    <a:pt x="167449" y="826865"/>
                  </a:lnTo>
                  <a:lnTo>
                    <a:pt x="167449" y="826865"/>
                  </a:lnTo>
                  <a:lnTo>
                    <a:pt x="167830" y="828199"/>
                  </a:lnTo>
                  <a:lnTo>
                    <a:pt x="167830" y="828199"/>
                  </a:lnTo>
                  <a:lnTo>
                    <a:pt x="168211" y="829532"/>
                  </a:lnTo>
                  <a:lnTo>
                    <a:pt x="168211" y="829532"/>
                  </a:lnTo>
                  <a:lnTo>
                    <a:pt x="168687" y="830866"/>
                  </a:lnTo>
                  <a:lnTo>
                    <a:pt x="168687" y="830866"/>
                  </a:lnTo>
                  <a:lnTo>
                    <a:pt x="169164" y="832199"/>
                  </a:lnTo>
                  <a:lnTo>
                    <a:pt x="169164" y="832199"/>
                  </a:lnTo>
                  <a:lnTo>
                    <a:pt x="169640" y="833533"/>
                  </a:lnTo>
                  <a:lnTo>
                    <a:pt x="169640" y="833533"/>
                  </a:lnTo>
                  <a:lnTo>
                    <a:pt x="170212" y="834866"/>
                  </a:lnTo>
                  <a:lnTo>
                    <a:pt x="170212" y="834866"/>
                  </a:lnTo>
                  <a:lnTo>
                    <a:pt x="170783" y="836105"/>
                  </a:lnTo>
                  <a:lnTo>
                    <a:pt x="170783" y="836105"/>
                  </a:lnTo>
                  <a:lnTo>
                    <a:pt x="171355" y="837343"/>
                  </a:lnTo>
                  <a:lnTo>
                    <a:pt x="171355" y="837343"/>
                  </a:lnTo>
                  <a:lnTo>
                    <a:pt x="172021" y="838581"/>
                  </a:lnTo>
                  <a:lnTo>
                    <a:pt x="172021" y="838581"/>
                  </a:lnTo>
                  <a:cubicBezTo>
                    <a:pt x="172212" y="838962"/>
                    <a:pt x="172402" y="839438"/>
                    <a:pt x="172688" y="839819"/>
                  </a:cubicBezTo>
                  <a:lnTo>
                    <a:pt x="172688" y="839819"/>
                  </a:lnTo>
                  <a:lnTo>
                    <a:pt x="173355" y="841058"/>
                  </a:lnTo>
                  <a:lnTo>
                    <a:pt x="173355" y="841058"/>
                  </a:lnTo>
                  <a:cubicBezTo>
                    <a:pt x="173545" y="841438"/>
                    <a:pt x="173831" y="841819"/>
                    <a:pt x="174021" y="842296"/>
                  </a:cubicBezTo>
                  <a:lnTo>
                    <a:pt x="174021" y="842296"/>
                  </a:lnTo>
                  <a:lnTo>
                    <a:pt x="174784" y="843439"/>
                  </a:lnTo>
                  <a:lnTo>
                    <a:pt x="174784" y="843439"/>
                  </a:lnTo>
                  <a:lnTo>
                    <a:pt x="175546" y="844582"/>
                  </a:lnTo>
                  <a:lnTo>
                    <a:pt x="175546" y="844582"/>
                  </a:lnTo>
                  <a:lnTo>
                    <a:pt x="176308" y="845725"/>
                  </a:lnTo>
                  <a:lnTo>
                    <a:pt x="176308" y="845725"/>
                  </a:lnTo>
                  <a:lnTo>
                    <a:pt x="177165" y="846868"/>
                  </a:lnTo>
                  <a:lnTo>
                    <a:pt x="177165" y="846868"/>
                  </a:lnTo>
                  <a:lnTo>
                    <a:pt x="178022" y="848011"/>
                  </a:lnTo>
                  <a:lnTo>
                    <a:pt x="178022" y="848011"/>
                  </a:lnTo>
                  <a:cubicBezTo>
                    <a:pt x="178308" y="848392"/>
                    <a:pt x="178594" y="848773"/>
                    <a:pt x="178879" y="849058"/>
                  </a:cubicBezTo>
                  <a:lnTo>
                    <a:pt x="178879" y="849058"/>
                  </a:lnTo>
                  <a:lnTo>
                    <a:pt x="179737" y="850106"/>
                  </a:lnTo>
                  <a:lnTo>
                    <a:pt x="179737" y="850106"/>
                  </a:lnTo>
                  <a:lnTo>
                    <a:pt x="180689" y="851154"/>
                  </a:lnTo>
                  <a:lnTo>
                    <a:pt x="180689" y="851154"/>
                  </a:lnTo>
                  <a:lnTo>
                    <a:pt x="181642" y="852202"/>
                  </a:lnTo>
                  <a:lnTo>
                    <a:pt x="181642" y="852202"/>
                  </a:lnTo>
                  <a:lnTo>
                    <a:pt x="182594" y="853154"/>
                  </a:lnTo>
                  <a:lnTo>
                    <a:pt x="182594" y="853154"/>
                  </a:lnTo>
                  <a:lnTo>
                    <a:pt x="183546" y="854107"/>
                  </a:lnTo>
                  <a:lnTo>
                    <a:pt x="183546" y="854107"/>
                  </a:lnTo>
                  <a:lnTo>
                    <a:pt x="184595" y="855059"/>
                  </a:lnTo>
                  <a:lnTo>
                    <a:pt x="184595" y="855059"/>
                  </a:lnTo>
                  <a:lnTo>
                    <a:pt x="185642" y="856011"/>
                  </a:lnTo>
                  <a:lnTo>
                    <a:pt x="185642" y="856011"/>
                  </a:lnTo>
                  <a:lnTo>
                    <a:pt x="186690" y="856869"/>
                  </a:lnTo>
                  <a:lnTo>
                    <a:pt x="186690" y="856869"/>
                  </a:lnTo>
                  <a:cubicBezTo>
                    <a:pt x="187071" y="857155"/>
                    <a:pt x="187452" y="857440"/>
                    <a:pt x="187737" y="857726"/>
                  </a:cubicBezTo>
                  <a:lnTo>
                    <a:pt x="187737" y="857726"/>
                  </a:lnTo>
                  <a:cubicBezTo>
                    <a:pt x="188119" y="858012"/>
                    <a:pt x="188500" y="858298"/>
                    <a:pt x="188786" y="858583"/>
                  </a:cubicBezTo>
                  <a:lnTo>
                    <a:pt x="188786" y="858583"/>
                  </a:lnTo>
                  <a:lnTo>
                    <a:pt x="189929" y="859441"/>
                  </a:lnTo>
                  <a:lnTo>
                    <a:pt x="189929" y="859441"/>
                  </a:lnTo>
                  <a:lnTo>
                    <a:pt x="191071" y="860202"/>
                  </a:lnTo>
                  <a:lnTo>
                    <a:pt x="191071" y="860202"/>
                  </a:lnTo>
                  <a:lnTo>
                    <a:pt x="192214" y="860965"/>
                  </a:lnTo>
                  <a:lnTo>
                    <a:pt x="192214" y="860965"/>
                  </a:lnTo>
                  <a:lnTo>
                    <a:pt x="193357" y="861727"/>
                  </a:lnTo>
                  <a:lnTo>
                    <a:pt x="193357" y="861727"/>
                  </a:lnTo>
                  <a:lnTo>
                    <a:pt x="194596" y="862394"/>
                  </a:lnTo>
                  <a:lnTo>
                    <a:pt x="194596" y="862394"/>
                  </a:lnTo>
                  <a:lnTo>
                    <a:pt x="195834" y="863060"/>
                  </a:lnTo>
                  <a:lnTo>
                    <a:pt x="195834" y="863060"/>
                  </a:lnTo>
                  <a:lnTo>
                    <a:pt x="197072" y="863727"/>
                  </a:lnTo>
                  <a:lnTo>
                    <a:pt x="197072" y="863727"/>
                  </a:lnTo>
                  <a:lnTo>
                    <a:pt x="198311" y="864393"/>
                  </a:lnTo>
                  <a:lnTo>
                    <a:pt x="198311" y="864393"/>
                  </a:lnTo>
                  <a:lnTo>
                    <a:pt x="199549" y="864965"/>
                  </a:lnTo>
                  <a:lnTo>
                    <a:pt x="199549" y="864965"/>
                  </a:lnTo>
                  <a:cubicBezTo>
                    <a:pt x="199930" y="865156"/>
                    <a:pt x="200406" y="865346"/>
                    <a:pt x="200787" y="865536"/>
                  </a:cubicBezTo>
                  <a:lnTo>
                    <a:pt x="200787" y="865536"/>
                  </a:lnTo>
                  <a:lnTo>
                    <a:pt x="202120" y="866109"/>
                  </a:lnTo>
                  <a:lnTo>
                    <a:pt x="202120" y="866109"/>
                  </a:lnTo>
                  <a:lnTo>
                    <a:pt x="203454" y="866585"/>
                  </a:lnTo>
                  <a:lnTo>
                    <a:pt x="203454" y="866585"/>
                  </a:lnTo>
                  <a:lnTo>
                    <a:pt x="204788" y="867061"/>
                  </a:lnTo>
                  <a:lnTo>
                    <a:pt x="204788" y="867061"/>
                  </a:lnTo>
                  <a:lnTo>
                    <a:pt x="206121" y="867537"/>
                  </a:lnTo>
                  <a:lnTo>
                    <a:pt x="206121" y="867537"/>
                  </a:lnTo>
                  <a:lnTo>
                    <a:pt x="207454" y="867918"/>
                  </a:lnTo>
                  <a:lnTo>
                    <a:pt x="207454" y="867918"/>
                  </a:lnTo>
                  <a:lnTo>
                    <a:pt x="208788" y="868299"/>
                  </a:lnTo>
                  <a:lnTo>
                    <a:pt x="208788" y="868299"/>
                  </a:lnTo>
                  <a:lnTo>
                    <a:pt x="210121" y="868680"/>
                  </a:lnTo>
                  <a:lnTo>
                    <a:pt x="210121" y="868680"/>
                  </a:lnTo>
                  <a:lnTo>
                    <a:pt x="211550" y="868966"/>
                  </a:lnTo>
                  <a:lnTo>
                    <a:pt x="211550" y="868966"/>
                  </a:lnTo>
                  <a:cubicBezTo>
                    <a:pt x="212027" y="869061"/>
                    <a:pt x="212503" y="869156"/>
                    <a:pt x="212979" y="869251"/>
                  </a:cubicBezTo>
                  <a:lnTo>
                    <a:pt x="212979" y="869251"/>
                  </a:lnTo>
                  <a:lnTo>
                    <a:pt x="214408" y="869537"/>
                  </a:lnTo>
                  <a:lnTo>
                    <a:pt x="214408" y="869537"/>
                  </a:lnTo>
                  <a:lnTo>
                    <a:pt x="215836" y="869727"/>
                  </a:lnTo>
                  <a:lnTo>
                    <a:pt x="215836" y="869727"/>
                  </a:lnTo>
                  <a:lnTo>
                    <a:pt x="217265" y="869918"/>
                  </a:lnTo>
                  <a:lnTo>
                    <a:pt x="217265" y="869918"/>
                  </a:lnTo>
                  <a:lnTo>
                    <a:pt x="218694" y="870013"/>
                  </a:lnTo>
                  <a:lnTo>
                    <a:pt x="218694" y="870013"/>
                  </a:lnTo>
                  <a:lnTo>
                    <a:pt x="220123" y="870109"/>
                  </a:lnTo>
                  <a:lnTo>
                    <a:pt x="220123" y="870109"/>
                  </a:lnTo>
                  <a:lnTo>
                    <a:pt x="220599" y="870109"/>
                  </a:lnTo>
                  <a:cubicBezTo>
                    <a:pt x="221646" y="870109"/>
                    <a:pt x="222599" y="870204"/>
                    <a:pt x="223742" y="870204"/>
                  </a:cubicBezTo>
                  <a:lnTo>
                    <a:pt x="236505" y="870204"/>
                  </a:lnTo>
                  <a:lnTo>
                    <a:pt x="251270" y="870204"/>
                  </a:lnTo>
                  <a:cubicBezTo>
                    <a:pt x="295846" y="870204"/>
                    <a:pt x="332232" y="906590"/>
                    <a:pt x="332232" y="951167"/>
                  </a:cubicBezTo>
                  <a:lnTo>
                    <a:pt x="332232" y="1014508"/>
                  </a:lnTo>
                  <a:lnTo>
                    <a:pt x="332232" y="1109472"/>
                  </a:lnTo>
                  <a:lnTo>
                    <a:pt x="332232" y="1112615"/>
                  </a:lnTo>
                  <a:cubicBezTo>
                    <a:pt x="332232" y="1144238"/>
                    <a:pt x="358140" y="1170242"/>
                    <a:pt x="389858" y="1170242"/>
                  </a:cubicBezTo>
                  <a:lnTo>
                    <a:pt x="564737" y="1170242"/>
                  </a:lnTo>
                  <a:cubicBezTo>
                    <a:pt x="596455" y="1170242"/>
                    <a:pt x="622363" y="1144333"/>
                    <a:pt x="622363" y="1112615"/>
                  </a:cubicBezTo>
                  <a:lnTo>
                    <a:pt x="622363" y="1104519"/>
                  </a:lnTo>
                  <a:lnTo>
                    <a:pt x="624364" y="600646"/>
                  </a:lnTo>
                  <a:cubicBezTo>
                    <a:pt x="623983" y="579501"/>
                    <a:pt x="613696" y="559403"/>
                    <a:pt x="572928" y="559403"/>
                  </a:cubicBezTo>
                  <a:lnTo>
                    <a:pt x="529494" y="559403"/>
                  </a:lnTo>
                  <a:cubicBezTo>
                    <a:pt x="497777" y="559403"/>
                    <a:pt x="471868" y="533495"/>
                    <a:pt x="471868" y="501777"/>
                  </a:cubicBezTo>
                  <a:lnTo>
                    <a:pt x="471868" y="481774"/>
                  </a:lnTo>
                  <a:cubicBezTo>
                    <a:pt x="471868" y="450056"/>
                    <a:pt x="497777" y="424148"/>
                    <a:pt x="529494" y="424148"/>
                  </a:cubicBezTo>
                  <a:cubicBezTo>
                    <a:pt x="649034" y="424148"/>
                    <a:pt x="767810" y="423100"/>
                    <a:pt x="888302" y="423100"/>
                  </a:cubicBezTo>
                  <a:cubicBezTo>
                    <a:pt x="920019" y="423100"/>
                    <a:pt x="945928" y="397192"/>
                    <a:pt x="945928" y="365474"/>
                  </a:cubicBezTo>
                  <a:lnTo>
                    <a:pt x="945928" y="208312"/>
                  </a:lnTo>
                  <a:cubicBezTo>
                    <a:pt x="945928" y="205359"/>
                    <a:pt x="945928" y="202501"/>
                    <a:pt x="945452" y="202025"/>
                  </a:cubicBezTo>
                  <a:lnTo>
                    <a:pt x="945452" y="0"/>
                  </a:lnTo>
                  <a:lnTo>
                    <a:pt x="857726" y="0"/>
                  </a:lnTo>
                  <a:cubicBezTo>
                    <a:pt x="831818" y="0"/>
                    <a:pt x="809720" y="17431"/>
                    <a:pt x="802577" y="41053"/>
                  </a:cubicBezTo>
                  <a:lnTo>
                    <a:pt x="802577" y="83058"/>
                  </a:lnTo>
                  <a:cubicBezTo>
                    <a:pt x="802577" y="114681"/>
                    <a:pt x="776668" y="140684"/>
                    <a:pt x="744950" y="140684"/>
                  </a:cubicBezTo>
                  <a:lnTo>
                    <a:pt x="635508" y="140684"/>
                  </a:lnTo>
                  <a:lnTo>
                    <a:pt x="635508" y="230505"/>
                  </a:lnTo>
                  <a:cubicBezTo>
                    <a:pt x="635508" y="262128"/>
                    <a:pt x="609600" y="288131"/>
                    <a:pt x="577882" y="288131"/>
                  </a:cubicBezTo>
                  <a:lnTo>
                    <a:pt x="168402" y="288131"/>
                  </a:lnTo>
                  <a:close/>
                  <a:moveTo>
                    <a:pt x="165640" y="812483"/>
                  </a:moveTo>
                  <a:lnTo>
                    <a:pt x="165640" y="812483"/>
                  </a:lnTo>
                  <a:lnTo>
                    <a:pt x="165640" y="812483"/>
                  </a:lnTo>
                  <a:lnTo>
                    <a:pt x="165640" y="812483"/>
                  </a:lnTo>
                  <a:close/>
                  <a:moveTo>
                    <a:pt x="0" y="664083"/>
                  </a:moveTo>
                  <a:lnTo>
                    <a:pt x="0" y="664083"/>
                  </a:lnTo>
                  <a:lnTo>
                    <a:pt x="0" y="664083"/>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55" name="Freeform: Shape 196">
              <a:extLst>
                <a:ext uri="{FF2B5EF4-FFF2-40B4-BE49-F238E27FC236}">
                  <a16:creationId xmlns:a16="http://schemas.microsoft.com/office/drawing/2014/main" id="{AA178638-B433-E954-7FC6-841EE8B8B847}"/>
                </a:ext>
              </a:extLst>
            </p:cNvPr>
            <p:cNvSpPr/>
            <p:nvPr/>
          </p:nvSpPr>
          <p:spPr>
            <a:xfrm>
              <a:off x="5763689" y="4552457"/>
              <a:ext cx="678846" cy="1020508"/>
            </a:xfrm>
            <a:custGeom>
              <a:avLst/>
              <a:gdLst>
                <a:gd name="connsiteX0" fmla="*/ 374332 w 678846"/>
                <a:gd name="connsiteY0" fmla="*/ 1020509 h 1020508"/>
                <a:gd name="connsiteX1" fmla="*/ 678847 w 678846"/>
                <a:gd name="connsiteY1" fmla="*/ 1020509 h 1020508"/>
                <a:gd name="connsiteX2" fmla="*/ 678847 w 678846"/>
                <a:gd name="connsiteY2" fmla="*/ 0 h 1020508"/>
                <a:gd name="connsiteX3" fmla="*/ 544925 w 678846"/>
                <a:gd name="connsiteY3" fmla="*/ 0 h 1020508"/>
                <a:gd name="connsiteX4" fmla="*/ 474916 w 678846"/>
                <a:gd name="connsiteY4" fmla="*/ 70009 h 1020508"/>
                <a:gd name="connsiteX5" fmla="*/ 474916 w 678846"/>
                <a:gd name="connsiteY5" fmla="*/ 153258 h 1020508"/>
                <a:gd name="connsiteX6" fmla="*/ 234410 w 678846"/>
                <a:gd name="connsiteY6" fmla="*/ 153258 h 1020508"/>
                <a:gd name="connsiteX7" fmla="*/ 164402 w 678846"/>
                <a:gd name="connsiteY7" fmla="*/ 223266 h 1020508"/>
                <a:gd name="connsiteX8" fmla="*/ 164402 w 678846"/>
                <a:gd name="connsiteY8" fmla="*/ 284893 h 1020508"/>
                <a:gd name="connsiteX9" fmla="*/ 70009 w 678846"/>
                <a:gd name="connsiteY9" fmla="*/ 284893 h 1020508"/>
                <a:gd name="connsiteX10" fmla="*/ 0 w 678846"/>
                <a:gd name="connsiteY10" fmla="*/ 354902 h 1020508"/>
                <a:gd name="connsiteX11" fmla="*/ 0 w 678846"/>
                <a:gd name="connsiteY11" fmla="*/ 662845 h 1020508"/>
                <a:gd name="connsiteX12" fmla="*/ 70009 w 678846"/>
                <a:gd name="connsiteY12" fmla="*/ 732854 h 1020508"/>
                <a:gd name="connsiteX13" fmla="*/ 122682 w 678846"/>
                <a:gd name="connsiteY13" fmla="*/ 732854 h 1020508"/>
                <a:gd name="connsiteX14" fmla="*/ 164402 w 678846"/>
                <a:gd name="connsiteY14" fmla="*/ 777145 h 1020508"/>
                <a:gd name="connsiteX15" fmla="*/ 164402 w 678846"/>
                <a:gd name="connsiteY15" fmla="*/ 806292 h 1020508"/>
                <a:gd name="connsiteX16" fmla="*/ 234410 w 678846"/>
                <a:gd name="connsiteY16" fmla="*/ 876300 h 1020508"/>
                <a:gd name="connsiteX17" fmla="*/ 316706 w 678846"/>
                <a:gd name="connsiteY17" fmla="*/ 876300 h 1020508"/>
                <a:gd name="connsiteX18" fmla="*/ 316706 w 678846"/>
                <a:gd name="connsiteY18" fmla="*/ 962692 h 1020508"/>
                <a:gd name="connsiteX19" fmla="*/ 374332 w 678846"/>
                <a:gd name="connsiteY19" fmla="*/ 1020509 h 1020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8846" h="1020508">
                  <a:moveTo>
                    <a:pt x="374332" y="1020509"/>
                  </a:moveTo>
                  <a:lnTo>
                    <a:pt x="678847" y="1020509"/>
                  </a:lnTo>
                  <a:lnTo>
                    <a:pt x="678847" y="0"/>
                  </a:lnTo>
                  <a:lnTo>
                    <a:pt x="544925" y="0"/>
                  </a:lnTo>
                  <a:cubicBezTo>
                    <a:pt x="506444" y="0"/>
                    <a:pt x="474916" y="31528"/>
                    <a:pt x="474916" y="70009"/>
                  </a:cubicBezTo>
                  <a:lnTo>
                    <a:pt x="474916" y="153258"/>
                  </a:lnTo>
                  <a:lnTo>
                    <a:pt x="234410" y="153258"/>
                  </a:lnTo>
                  <a:cubicBezTo>
                    <a:pt x="195929" y="153258"/>
                    <a:pt x="164402" y="184785"/>
                    <a:pt x="164402" y="223266"/>
                  </a:cubicBezTo>
                  <a:lnTo>
                    <a:pt x="164402" y="284893"/>
                  </a:lnTo>
                  <a:lnTo>
                    <a:pt x="70009" y="284893"/>
                  </a:lnTo>
                  <a:cubicBezTo>
                    <a:pt x="31528" y="284893"/>
                    <a:pt x="0" y="316421"/>
                    <a:pt x="0" y="354902"/>
                  </a:cubicBezTo>
                  <a:lnTo>
                    <a:pt x="0" y="662845"/>
                  </a:lnTo>
                  <a:cubicBezTo>
                    <a:pt x="0" y="701326"/>
                    <a:pt x="31528" y="732854"/>
                    <a:pt x="70009" y="732854"/>
                  </a:cubicBezTo>
                  <a:lnTo>
                    <a:pt x="122682" y="732854"/>
                  </a:lnTo>
                  <a:cubicBezTo>
                    <a:pt x="149066" y="734854"/>
                    <a:pt x="165545" y="754475"/>
                    <a:pt x="164402" y="777145"/>
                  </a:cubicBezTo>
                  <a:lnTo>
                    <a:pt x="164402" y="806292"/>
                  </a:lnTo>
                  <a:cubicBezTo>
                    <a:pt x="164402" y="844772"/>
                    <a:pt x="195929" y="876300"/>
                    <a:pt x="234410" y="876300"/>
                  </a:cubicBezTo>
                  <a:lnTo>
                    <a:pt x="316706" y="876300"/>
                  </a:lnTo>
                  <a:lnTo>
                    <a:pt x="316706" y="962692"/>
                  </a:lnTo>
                  <a:cubicBezTo>
                    <a:pt x="316706" y="994600"/>
                    <a:pt x="342615" y="1020509"/>
                    <a:pt x="374332" y="1020509"/>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56" name="Freeform: Shape 197">
              <a:extLst>
                <a:ext uri="{FF2B5EF4-FFF2-40B4-BE49-F238E27FC236}">
                  <a16:creationId xmlns:a16="http://schemas.microsoft.com/office/drawing/2014/main" id="{E0E198FF-0B65-F8E1-2971-3CAD4F8E064E}"/>
                </a:ext>
              </a:extLst>
            </p:cNvPr>
            <p:cNvSpPr/>
            <p:nvPr/>
          </p:nvSpPr>
          <p:spPr>
            <a:xfrm>
              <a:off x="5282867" y="4139834"/>
              <a:ext cx="864774" cy="563117"/>
            </a:xfrm>
            <a:custGeom>
              <a:avLst/>
              <a:gdLst>
                <a:gd name="connsiteX0" fmla="*/ 0 w 864774"/>
                <a:gd name="connsiteY0" fmla="*/ 208979 h 563117"/>
                <a:gd name="connsiteX1" fmla="*/ 0 w 864774"/>
                <a:gd name="connsiteY1" fmla="*/ 563118 h 563117"/>
                <a:gd name="connsiteX2" fmla="*/ 101251 w 864774"/>
                <a:gd name="connsiteY2" fmla="*/ 563118 h 563117"/>
                <a:gd name="connsiteX3" fmla="*/ 158877 w 864774"/>
                <a:gd name="connsiteY3" fmla="*/ 505492 h 563117"/>
                <a:gd name="connsiteX4" fmla="*/ 158877 w 864774"/>
                <a:gd name="connsiteY4" fmla="*/ 415671 h 563117"/>
                <a:gd name="connsiteX5" fmla="*/ 268319 w 864774"/>
                <a:gd name="connsiteY5" fmla="*/ 415671 h 563117"/>
                <a:gd name="connsiteX6" fmla="*/ 325945 w 864774"/>
                <a:gd name="connsiteY6" fmla="*/ 358045 h 563117"/>
                <a:gd name="connsiteX7" fmla="*/ 325945 w 864774"/>
                <a:gd name="connsiteY7" fmla="*/ 321564 h 563117"/>
                <a:gd name="connsiteX8" fmla="*/ 381095 w 864774"/>
                <a:gd name="connsiteY8" fmla="*/ 280511 h 563117"/>
                <a:gd name="connsiteX9" fmla="*/ 864775 w 864774"/>
                <a:gd name="connsiteY9" fmla="*/ 280416 h 563117"/>
                <a:gd name="connsiteX10" fmla="*/ 864775 w 864774"/>
                <a:gd name="connsiteY10" fmla="*/ 278416 h 563117"/>
                <a:gd name="connsiteX11" fmla="*/ 856679 w 864774"/>
                <a:gd name="connsiteY11" fmla="*/ 278416 h 563117"/>
                <a:gd name="connsiteX12" fmla="*/ 799052 w 864774"/>
                <a:gd name="connsiteY12" fmla="*/ 220789 h 563117"/>
                <a:gd name="connsiteX13" fmla="*/ 799052 w 864774"/>
                <a:gd name="connsiteY13" fmla="*/ 1143 h 563117"/>
                <a:gd name="connsiteX14" fmla="*/ 786575 w 864774"/>
                <a:gd name="connsiteY14" fmla="*/ 0 h 563117"/>
                <a:gd name="connsiteX15" fmla="*/ 453580 w 864774"/>
                <a:gd name="connsiteY15" fmla="*/ 0 h 563117"/>
                <a:gd name="connsiteX16" fmla="*/ 404050 w 864774"/>
                <a:gd name="connsiteY16" fmla="*/ 0 h 563117"/>
                <a:gd name="connsiteX17" fmla="*/ 288703 w 864774"/>
                <a:gd name="connsiteY17" fmla="*/ 0 h 563117"/>
                <a:gd name="connsiteX18" fmla="*/ 218884 w 864774"/>
                <a:gd name="connsiteY18" fmla="*/ 64389 h 563117"/>
                <a:gd name="connsiteX19" fmla="*/ 138113 w 864774"/>
                <a:gd name="connsiteY19" fmla="*/ 138874 h 563117"/>
                <a:gd name="connsiteX20" fmla="*/ 69913 w 864774"/>
                <a:gd name="connsiteY20" fmla="*/ 138874 h 563117"/>
                <a:gd name="connsiteX21" fmla="*/ 0 w 864774"/>
                <a:gd name="connsiteY21" fmla="*/ 208979 h 56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64774" h="563117">
                  <a:moveTo>
                    <a:pt x="0" y="208979"/>
                  </a:moveTo>
                  <a:lnTo>
                    <a:pt x="0" y="563118"/>
                  </a:lnTo>
                  <a:lnTo>
                    <a:pt x="101251" y="563118"/>
                  </a:lnTo>
                  <a:cubicBezTo>
                    <a:pt x="132969" y="563118"/>
                    <a:pt x="158877" y="537210"/>
                    <a:pt x="158877" y="505492"/>
                  </a:cubicBezTo>
                  <a:lnTo>
                    <a:pt x="158877" y="415671"/>
                  </a:lnTo>
                  <a:lnTo>
                    <a:pt x="268319" y="415671"/>
                  </a:lnTo>
                  <a:cubicBezTo>
                    <a:pt x="300038" y="415671"/>
                    <a:pt x="325945" y="389763"/>
                    <a:pt x="325945" y="358045"/>
                  </a:cubicBezTo>
                  <a:lnTo>
                    <a:pt x="325945" y="321564"/>
                  </a:lnTo>
                  <a:cubicBezTo>
                    <a:pt x="333089" y="297847"/>
                    <a:pt x="355187" y="280511"/>
                    <a:pt x="381095" y="280511"/>
                  </a:cubicBezTo>
                  <a:cubicBezTo>
                    <a:pt x="546449" y="280511"/>
                    <a:pt x="390430" y="280416"/>
                    <a:pt x="864775" y="280416"/>
                  </a:cubicBezTo>
                  <a:lnTo>
                    <a:pt x="864775" y="278416"/>
                  </a:lnTo>
                  <a:lnTo>
                    <a:pt x="856679" y="278416"/>
                  </a:lnTo>
                  <a:cubicBezTo>
                    <a:pt x="825055" y="278416"/>
                    <a:pt x="799052" y="252508"/>
                    <a:pt x="799052" y="220789"/>
                  </a:cubicBezTo>
                  <a:lnTo>
                    <a:pt x="799052" y="1143"/>
                  </a:lnTo>
                  <a:cubicBezTo>
                    <a:pt x="795052" y="381"/>
                    <a:pt x="790860" y="0"/>
                    <a:pt x="786575" y="0"/>
                  </a:cubicBezTo>
                  <a:lnTo>
                    <a:pt x="453580" y="0"/>
                  </a:lnTo>
                  <a:lnTo>
                    <a:pt x="404050" y="0"/>
                  </a:lnTo>
                  <a:lnTo>
                    <a:pt x="288703" y="0"/>
                  </a:lnTo>
                  <a:cubicBezTo>
                    <a:pt x="252126" y="0"/>
                    <a:pt x="221742" y="28480"/>
                    <a:pt x="218884" y="64389"/>
                  </a:cubicBezTo>
                  <a:cubicBezTo>
                    <a:pt x="215551" y="106585"/>
                    <a:pt x="180499" y="138874"/>
                    <a:pt x="138113" y="138874"/>
                  </a:cubicBezTo>
                  <a:lnTo>
                    <a:pt x="69913" y="138874"/>
                  </a:lnTo>
                  <a:cubicBezTo>
                    <a:pt x="31528" y="138970"/>
                    <a:pt x="0" y="170497"/>
                    <a:pt x="0" y="208979"/>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57" name="Freeform: Shape 198">
              <a:extLst>
                <a:ext uri="{FF2B5EF4-FFF2-40B4-BE49-F238E27FC236}">
                  <a16:creationId xmlns:a16="http://schemas.microsoft.com/office/drawing/2014/main" id="{32F6C6F8-B83B-C15B-7D47-9BEFBA36F84A}"/>
                </a:ext>
              </a:extLst>
            </p:cNvPr>
            <p:cNvSpPr/>
            <p:nvPr/>
          </p:nvSpPr>
          <p:spPr>
            <a:xfrm>
              <a:off x="4017848" y="3391550"/>
              <a:ext cx="1149861" cy="437387"/>
            </a:xfrm>
            <a:custGeom>
              <a:avLst/>
              <a:gdLst>
                <a:gd name="connsiteX0" fmla="*/ 16292 w 1149861"/>
                <a:gd name="connsiteY0" fmla="*/ 437388 h 437387"/>
                <a:gd name="connsiteX1" fmla="*/ 927834 w 1149861"/>
                <a:gd name="connsiteY1" fmla="*/ 437388 h 437387"/>
                <a:gd name="connsiteX2" fmla="*/ 985460 w 1149861"/>
                <a:gd name="connsiteY2" fmla="*/ 379762 h 437387"/>
                <a:gd name="connsiteX3" fmla="*/ 985460 w 1149861"/>
                <a:gd name="connsiteY3" fmla="*/ 216217 h 437387"/>
                <a:gd name="connsiteX4" fmla="*/ 1066423 w 1149861"/>
                <a:gd name="connsiteY4" fmla="*/ 135255 h 437387"/>
                <a:gd name="connsiteX5" fmla="*/ 1092236 w 1149861"/>
                <a:gd name="connsiteY5" fmla="*/ 135255 h 437387"/>
                <a:gd name="connsiteX6" fmla="*/ 1149862 w 1149861"/>
                <a:gd name="connsiteY6" fmla="*/ 77629 h 437387"/>
                <a:gd name="connsiteX7" fmla="*/ 1149862 w 1149861"/>
                <a:gd name="connsiteY7" fmla="*/ 57626 h 437387"/>
                <a:gd name="connsiteX8" fmla="*/ 1092236 w 1149861"/>
                <a:gd name="connsiteY8" fmla="*/ 0 h 437387"/>
                <a:gd name="connsiteX9" fmla="*/ 927834 w 1149861"/>
                <a:gd name="connsiteY9" fmla="*/ 0 h 437387"/>
                <a:gd name="connsiteX10" fmla="*/ 698662 w 1149861"/>
                <a:gd name="connsiteY10" fmla="*/ 0 h 437387"/>
                <a:gd name="connsiteX11" fmla="*/ 641322 w 1149861"/>
                <a:gd name="connsiteY11" fmla="*/ 71056 h 437387"/>
                <a:gd name="connsiteX12" fmla="*/ 571504 w 1149861"/>
                <a:gd name="connsiteY12" fmla="*/ 135446 h 437387"/>
                <a:gd name="connsiteX13" fmla="*/ 456156 w 1149861"/>
                <a:gd name="connsiteY13" fmla="*/ 135446 h 437387"/>
                <a:gd name="connsiteX14" fmla="*/ 406626 w 1149861"/>
                <a:gd name="connsiteY14" fmla="*/ 135446 h 437387"/>
                <a:gd name="connsiteX15" fmla="*/ 165262 w 1149861"/>
                <a:gd name="connsiteY15" fmla="*/ 135446 h 437387"/>
                <a:gd name="connsiteX16" fmla="*/ 165262 w 1149861"/>
                <a:gd name="connsiteY16" fmla="*/ 232696 h 437387"/>
                <a:gd name="connsiteX17" fmla="*/ 107636 w 1149861"/>
                <a:gd name="connsiteY17" fmla="*/ 290322 h 437387"/>
                <a:gd name="connsiteX18" fmla="*/ 72775 w 1149861"/>
                <a:gd name="connsiteY18" fmla="*/ 290322 h 437387"/>
                <a:gd name="connsiteX19" fmla="*/ 99 w 1149861"/>
                <a:gd name="connsiteY19" fmla="*/ 366998 h 437387"/>
                <a:gd name="connsiteX20" fmla="*/ 99 w 1149861"/>
                <a:gd name="connsiteY20" fmla="*/ 435007 h 437387"/>
                <a:gd name="connsiteX21" fmla="*/ 16292 w 1149861"/>
                <a:gd name="connsiteY21" fmla="*/ 437388 h 4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49861" h="437387">
                  <a:moveTo>
                    <a:pt x="16292" y="437388"/>
                  </a:moveTo>
                  <a:lnTo>
                    <a:pt x="927834" y="437388"/>
                  </a:lnTo>
                  <a:cubicBezTo>
                    <a:pt x="959552" y="437388"/>
                    <a:pt x="985460" y="411480"/>
                    <a:pt x="985460" y="379762"/>
                  </a:cubicBezTo>
                  <a:lnTo>
                    <a:pt x="985460" y="216217"/>
                  </a:lnTo>
                  <a:cubicBezTo>
                    <a:pt x="985460" y="171640"/>
                    <a:pt x="1021846" y="135255"/>
                    <a:pt x="1066423" y="135255"/>
                  </a:cubicBezTo>
                  <a:lnTo>
                    <a:pt x="1092236" y="135255"/>
                  </a:lnTo>
                  <a:cubicBezTo>
                    <a:pt x="1123954" y="135255"/>
                    <a:pt x="1149862" y="109347"/>
                    <a:pt x="1149862" y="77629"/>
                  </a:cubicBezTo>
                  <a:lnTo>
                    <a:pt x="1149862" y="57626"/>
                  </a:lnTo>
                  <a:cubicBezTo>
                    <a:pt x="1149862" y="25908"/>
                    <a:pt x="1123954" y="0"/>
                    <a:pt x="1092236" y="0"/>
                  </a:cubicBezTo>
                  <a:lnTo>
                    <a:pt x="927834" y="0"/>
                  </a:lnTo>
                  <a:lnTo>
                    <a:pt x="698662" y="0"/>
                  </a:lnTo>
                  <a:cubicBezTo>
                    <a:pt x="667420" y="9334"/>
                    <a:pt x="644084" y="36957"/>
                    <a:pt x="641322" y="71056"/>
                  </a:cubicBezTo>
                  <a:cubicBezTo>
                    <a:pt x="638465" y="106966"/>
                    <a:pt x="608175" y="135446"/>
                    <a:pt x="571504" y="135446"/>
                  </a:cubicBezTo>
                  <a:lnTo>
                    <a:pt x="456156" y="135446"/>
                  </a:lnTo>
                  <a:lnTo>
                    <a:pt x="406626" y="135446"/>
                  </a:lnTo>
                  <a:lnTo>
                    <a:pt x="165262" y="135446"/>
                  </a:lnTo>
                  <a:lnTo>
                    <a:pt x="165262" y="232696"/>
                  </a:lnTo>
                  <a:cubicBezTo>
                    <a:pt x="165262" y="264414"/>
                    <a:pt x="139354" y="290322"/>
                    <a:pt x="107636" y="290322"/>
                  </a:cubicBezTo>
                  <a:lnTo>
                    <a:pt x="72775" y="290322"/>
                  </a:lnTo>
                  <a:cubicBezTo>
                    <a:pt x="16482" y="290322"/>
                    <a:pt x="-1520" y="345376"/>
                    <a:pt x="99" y="366998"/>
                  </a:cubicBezTo>
                  <a:lnTo>
                    <a:pt x="99" y="435007"/>
                  </a:lnTo>
                  <a:cubicBezTo>
                    <a:pt x="5338" y="436626"/>
                    <a:pt x="10672" y="437388"/>
                    <a:pt x="16292" y="437388"/>
                  </a:cubicBez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58" name="Freeform: Shape 199">
              <a:extLst>
                <a:ext uri="{FF2B5EF4-FFF2-40B4-BE49-F238E27FC236}">
                  <a16:creationId xmlns:a16="http://schemas.microsoft.com/office/drawing/2014/main" id="{CD27FF36-28D7-313F-0608-01CB82B35D5D}"/>
                </a:ext>
              </a:extLst>
            </p:cNvPr>
            <p:cNvSpPr/>
            <p:nvPr/>
          </p:nvSpPr>
          <p:spPr>
            <a:xfrm>
              <a:off x="4975781" y="4445015"/>
              <a:ext cx="307848" cy="259556"/>
            </a:xfrm>
            <a:custGeom>
              <a:avLst/>
              <a:gdLst>
                <a:gd name="connsiteX0" fmla="*/ 115157 w 307848"/>
                <a:gd name="connsiteY0" fmla="*/ 0 h 259556"/>
                <a:gd name="connsiteX1" fmla="*/ 0 w 307848"/>
                <a:gd name="connsiteY1" fmla="*/ 114300 h 259556"/>
                <a:gd name="connsiteX2" fmla="*/ 0 w 307848"/>
                <a:gd name="connsiteY2" fmla="*/ 259556 h 259556"/>
                <a:gd name="connsiteX3" fmla="*/ 115157 w 307848"/>
                <a:gd name="connsiteY3" fmla="*/ 259556 h 259556"/>
                <a:gd name="connsiteX4" fmla="*/ 154305 w 307848"/>
                <a:gd name="connsiteY4" fmla="*/ 259556 h 259556"/>
                <a:gd name="connsiteX5" fmla="*/ 307848 w 307848"/>
                <a:gd name="connsiteY5" fmla="*/ 259556 h 259556"/>
                <a:gd name="connsiteX6" fmla="*/ 307848 w 307848"/>
                <a:gd name="connsiteY6" fmla="*/ 0 h 259556"/>
                <a:gd name="connsiteX7" fmla="*/ 115157 w 307848"/>
                <a:gd name="connsiteY7" fmla="*/ 0 h 25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7848" h="259556">
                  <a:moveTo>
                    <a:pt x="115157" y="0"/>
                  </a:moveTo>
                  <a:cubicBezTo>
                    <a:pt x="51816" y="0"/>
                    <a:pt x="0" y="51435"/>
                    <a:pt x="0" y="114300"/>
                  </a:cubicBezTo>
                  <a:lnTo>
                    <a:pt x="0" y="259556"/>
                  </a:lnTo>
                  <a:lnTo>
                    <a:pt x="115157" y="259556"/>
                  </a:lnTo>
                  <a:lnTo>
                    <a:pt x="154305" y="259556"/>
                  </a:lnTo>
                  <a:lnTo>
                    <a:pt x="307848" y="259556"/>
                  </a:lnTo>
                  <a:lnTo>
                    <a:pt x="307848" y="0"/>
                  </a:lnTo>
                  <a:lnTo>
                    <a:pt x="115157"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59" name="Freeform: Shape 200">
              <a:extLst>
                <a:ext uri="{FF2B5EF4-FFF2-40B4-BE49-F238E27FC236}">
                  <a16:creationId xmlns:a16="http://schemas.microsoft.com/office/drawing/2014/main" id="{06B2BC51-A439-EC27-0BFB-5668D73412A3}"/>
                </a:ext>
              </a:extLst>
            </p:cNvPr>
            <p:cNvSpPr/>
            <p:nvPr/>
          </p:nvSpPr>
          <p:spPr>
            <a:xfrm>
              <a:off x="4180063" y="3970003"/>
              <a:ext cx="470820" cy="419195"/>
            </a:xfrm>
            <a:custGeom>
              <a:avLst/>
              <a:gdLst>
                <a:gd name="connsiteX0" fmla="*/ 57626 w 470820"/>
                <a:gd name="connsiteY0" fmla="*/ 571 h 419195"/>
                <a:gd name="connsiteX1" fmla="*/ 0 w 470820"/>
                <a:gd name="connsiteY1" fmla="*/ 58198 h 419195"/>
                <a:gd name="connsiteX2" fmla="*/ 0 w 470820"/>
                <a:gd name="connsiteY2" fmla="*/ 78200 h 419195"/>
                <a:gd name="connsiteX3" fmla="*/ 57626 w 470820"/>
                <a:gd name="connsiteY3" fmla="*/ 135827 h 419195"/>
                <a:gd name="connsiteX4" fmla="*/ 72771 w 470820"/>
                <a:gd name="connsiteY4" fmla="*/ 135827 h 419195"/>
                <a:gd name="connsiteX5" fmla="*/ 155353 w 470820"/>
                <a:gd name="connsiteY5" fmla="*/ 205073 h 419195"/>
                <a:gd name="connsiteX6" fmla="*/ 157448 w 470820"/>
                <a:gd name="connsiteY6" fmla="*/ 319945 h 419195"/>
                <a:gd name="connsiteX7" fmla="*/ 158877 w 470820"/>
                <a:gd name="connsiteY7" fmla="*/ 325946 h 419195"/>
                <a:gd name="connsiteX8" fmla="*/ 158877 w 470820"/>
                <a:gd name="connsiteY8" fmla="*/ 347853 h 419195"/>
                <a:gd name="connsiteX9" fmla="*/ 230219 w 470820"/>
                <a:gd name="connsiteY9" fmla="*/ 419195 h 419195"/>
                <a:gd name="connsiteX10" fmla="*/ 293275 w 470820"/>
                <a:gd name="connsiteY10" fmla="*/ 419195 h 419195"/>
                <a:gd name="connsiteX11" fmla="*/ 293275 w 470820"/>
                <a:gd name="connsiteY11" fmla="*/ 418338 h 419195"/>
                <a:gd name="connsiteX12" fmla="*/ 382714 w 470820"/>
                <a:gd name="connsiteY12" fmla="*/ 418338 h 419195"/>
                <a:gd name="connsiteX13" fmla="*/ 470821 w 470820"/>
                <a:gd name="connsiteY13" fmla="*/ 330232 h 419195"/>
                <a:gd name="connsiteX14" fmla="*/ 470821 w 470820"/>
                <a:gd name="connsiteY14" fmla="*/ 0 h 419195"/>
                <a:gd name="connsiteX15" fmla="*/ 57626 w 470820"/>
                <a:gd name="connsiteY15" fmla="*/ 571 h 419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0820" h="419195">
                  <a:moveTo>
                    <a:pt x="57626" y="571"/>
                  </a:moveTo>
                  <a:cubicBezTo>
                    <a:pt x="25908" y="571"/>
                    <a:pt x="0" y="26479"/>
                    <a:pt x="0" y="58198"/>
                  </a:cubicBezTo>
                  <a:lnTo>
                    <a:pt x="0" y="78200"/>
                  </a:lnTo>
                  <a:cubicBezTo>
                    <a:pt x="0" y="109919"/>
                    <a:pt x="25908" y="135827"/>
                    <a:pt x="57626" y="135827"/>
                  </a:cubicBezTo>
                  <a:lnTo>
                    <a:pt x="72771" y="135827"/>
                  </a:lnTo>
                  <a:cubicBezTo>
                    <a:pt x="88011" y="136303"/>
                    <a:pt x="154114" y="133160"/>
                    <a:pt x="155353" y="205073"/>
                  </a:cubicBezTo>
                  <a:lnTo>
                    <a:pt x="157448" y="319945"/>
                  </a:lnTo>
                  <a:cubicBezTo>
                    <a:pt x="158020" y="321850"/>
                    <a:pt x="158496" y="323850"/>
                    <a:pt x="158877" y="325946"/>
                  </a:cubicBezTo>
                  <a:lnTo>
                    <a:pt x="158877" y="347853"/>
                  </a:lnTo>
                  <a:cubicBezTo>
                    <a:pt x="158877" y="387096"/>
                    <a:pt x="190976" y="419195"/>
                    <a:pt x="230219" y="419195"/>
                  </a:cubicBezTo>
                  <a:lnTo>
                    <a:pt x="293275" y="419195"/>
                  </a:lnTo>
                  <a:lnTo>
                    <a:pt x="293275" y="418338"/>
                  </a:lnTo>
                  <a:lnTo>
                    <a:pt x="382714" y="418338"/>
                  </a:lnTo>
                  <a:cubicBezTo>
                    <a:pt x="431197" y="418338"/>
                    <a:pt x="470821" y="378714"/>
                    <a:pt x="470821" y="330232"/>
                  </a:cubicBezTo>
                  <a:lnTo>
                    <a:pt x="470821" y="0"/>
                  </a:lnTo>
                  <a:lnTo>
                    <a:pt x="57626" y="571"/>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60" name="Freeform: Shape 201">
              <a:extLst>
                <a:ext uri="{FF2B5EF4-FFF2-40B4-BE49-F238E27FC236}">
                  <a16:creationId xmlns:a16="http://schemas.microsoft.com/office/drawing/2014/main" id="{1BB637E3-0DBE-BB21-48EC-2FE1DC1B0051}"/>
                </a:ext>
              </a:extLst>
            </p:cNvPr>
            <p:cNvSpPr/>
            <p:nvPr/>
          </p:nvSpPr>
          <p:spPr>
            <a:xfrm>
              <a:off x="5003118" y="3381263"/>
              <a:ext cx="1432559" cy="951547"/>
            </a:xfrm>
            <a:custGeom>
              <a:avLst/>
              <a:gdLst>
                <a:gd name="connsiteX0" fmla="*/ 1331309 w 1432559"/>
                <a:gd name="connsiteY0" fmla="*/ 122872 h 951547"/>
                <a:gd name="connsiteX1" fmla="*/ 1217009 w 1432559"/>
                <a:gd name="connsiteY1" fmla="*/ 8572 h 951547"/>
                <a:gd name="connsiteX2" fmla="*/ 1217009 w 1432559"/>
                <a:gd name="connsiteY2" fmla="*/ 0 h 951547"/>
                <a:gd name="connsiteX3" fmla="*/ 508921 w 1432559"/>
                <a:gd name="connsiteY3" fmla="*/ 0 h 951547"/>
                <a:gd name="connsiteX4" fmla="*/ 459391 w 1432559"/>
                <a:gd name="connsiteY4" fmla="*/ 0 h 951547"/>
                <a:gd name="connsiteX5" fmla="*/ 344043 w 1432559"/>
                <a:gd name="connsiteY5" fmla="*/ 0 h 951547"/>
                <a:gd name="connsiteX6" fmla="*/ 274225 w 1432559"/>
                <a:gd name="connsiteY6" fmla="*/ 64389 h 951547"/>
                <a:gd name="connsiteX7" fmla="*/ 193453 w 1432559"/>
                <a:gd name="connsiteY7" fmla="*/ 138875 h 951547"/>
                <a:gd name="connsiteX8" fmla="*/ 70009 w 1432559"/>
                <a:gd name="connsiteY8" fmla="*/ 138875 h 951547"/>
                <a:gd name="connsiteX9" fmla="*/ 0 w 1432559"/>
                <a:gd name="connsiteY9" fmla="*/ 208883 h 951547"/>
                <a:gd name="connsiteX10" fmla="*/ 0 w 1432559"/>
                <a:gd name="connsiteY10" fmla="*/ 447008 h 951547"/>
                <a:gd name="connsiteX11" fmla="*/ 222980 w 1432559"/>
                <a:gd name="connsiteY11" fmla="*/ 447008 h 951547"/>
                <a:gd name="connsiteX12" fmla="*/ 281749 w 1432559"/>
                <a:gd name="connsiteY12" fmla="*/ 505778 h 951547"/>
                <a:gd name="connsiteX13" fmla="*/ 281749 w 1432559"/>
                <a:gd name="connsiteY13" fmla="*/ 542258 h 951547"/>
                <a:gd name="connsiteX14" fmla="*/ 281749 w 1432559"/>
                <a:gd name="connsiteY14" fmla="*/ 951547 h 951547"/>
                <a:gd name="connsiteX15" fmla="*/ 349853 w 1432559"/>
                <a:gd name="connsiteY15" fmla="*/ 897446 h 951547"/>
                <a:gd name="connsiteX16" fmla="*/ 418052 w 1432559"/>
                <a:gd name="connsiteY16" fmla="*/ 897446 h 951547"/>
                <a:gd name="connsiteX17" fmla="*/ 498824 w 1432559"/>
                <a:gd name="connsiteY17" fmla="*/ 822960 h 951547"/>
                <a:gd name="connsiteX18" fmla="*/ 568643 w 1432559"/>
                <a:gd name="connsiteY18" fmla="*/ 758571 h 951547"/>
                <a:gd name="connsiteX19" fmla="*/ 683990 w 1432559"/>
                <a:gd name="connsiteY19" fmla="*/ 758571 h 951547"/>
                <a:gd name="connsiteX20" fmla="*/ 733520 w 1432559"/>
                <a:gd name="connsiteY20" fmla="*/ 758571 h 951547"/>
                <a:gd name="connsiteX21" fmla="*/ 1066514 w 1432559"/>
                <a:gd name="connsiteY21" fmla="*/ 758571 h 951547"/>
                <a:gd name="connsiteX22" fmla="*/ 1078992 w 1432559"/>
                <a:gd name="connsiteY22" fmla="*/ 759714 h 951547"/>
                <a:gd name="connsiteX23" fmla="*/ 1078992 w 1432559"/>
                <a:gd name="connsiteY23" fmla="*/ 617506 h 951547"/>
                <a:gd name="connsiteX24" fmla="*/ 1136618 w 1432559"/>
                <a:gd name="connsiteY24" fmla="*/ 559880 h 951547"/>
                <a:gd name="connsiteX25" fmla="*/ 1156621 w 1432559"/>
                <a:gd name="connsiteY25" fmla="*/ 559880 h 951547"/>
                <a:gd name="connsiteX26" fmla="*/ 1158335 w 1432559"/>
                <a:gd name="connsiteY26" fmla="*/ 559880 h 951547"/>
                <a:gd name="connsiteX27" fmla="*/ 1209199 w 1432559"/>
                <a:gd name="connsiteY27" fmla="*/ 559880 h 951547"/>
                <a:gd name="connsiteX28" fmla="*/ 1266825 w 1432559"/>
                <a:gd name="connsiteY28" fmla="*/ 502253 h 951547"/>
                <a:gd name="connsiteX29" fmla="*/ 1266825 w 1432559"/>
                <a:gd name="connsiteY29" fmla="*/ 425768 h 951547"/>
                <a:gd name="connsiteX30" fmla="*/ 1349121 w 1432559"/>
                <a:gd name="connsiteY30" fmla="*/ 425768 h 951547"/>
                <a:gd name="connsiteX31" fmla="*/ 1432560 w 1432559"/>
                <a:gd name="connsiteY31" fmla="*/ 342329 h 951547"/>
                <a:gd name="connsiteX32" fmla="*/ 1432560 w 1432559"/>
                <a:gd name="connsiteY32" fmla="*/ 122777 h 951547"/>
                <a:gd name="connsiteX33" fmla="*/ 1331309 w 1432559"/>
                <a:gd name="connsiteY33" fmla="*/ 122777 h 951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32559" h="951547">
                  <a:moveTo>
                    <a:pt x="1331309" y="122872"/>
                  </a:moveTo>
                  <a:cubicBezTo>
                    <a:pt x="1268444" y="122872"/>
                    <a:pt x="1217009" y="71438"/>
                    <a:pt x="1217009" y="8572"/>
                  </a:cubicBezTo>
                  <a:lnTo>
                    <a:pt x="1217009" y="0"/>
                  </a:lnTo>
                  <a:lnTo>
                    <a:pt x="508921" y="0"/>
                  </a:lnTo>
                  <a:lnTo>
                    <a:pt x="459391" y="0"/>
                  </a:lnTo>
                  <a:lnTo>
                    <a:pt x="344043" y="0"/>
                  </a:lnTo>
                  <a:cubicBezTo>
                    <a:pt x="307467" y="0"/>
                    <a:pt x="277082" y="28480"/>
                    <a:pt x="274225" y="64389"/>
                  </a:cubicBezTo>
                  <a:cubicBezTo>
                    <a:pt x="270891" y="106585"/>
                    <a:pt x="235839" y="138875"/>
                    <a:pt x="193453" y="138875"/>
                  </a:cubicBezTo>
                  <a:lnTo>
                    <a:pt x="70009" y="138875"/>
                  </a:lnTo>
                  <a:cubicBezTo>
                    <a:pt x="31528" y="138875"/>
                    <a:pt x="0" y="170497"/>
                    <a:pt x="0" y="208883"/>
                  </a:cubicBezTo>
                  <a:lnTo>
                    <a:pt x="0" y="447008"/>
                  </a:lnTo>
                  <a:lnTo>
                    <a:pt x="222980" y="447008"/>
                  </a:lnTo>
                  <a:cubicBezTo>
                    <a:pt x="255270" y="447008"/>
                    <a:pt x="281749" y="473488"/>
                    <a:pt x="281749" y="505778"/>
                  </a:cubicBezTo>
                  <a:lnTo>
                    <a:pt x="281749" y="542258"/>
                  </a:lnTo>
                  <a:lnTo>
                    <a:pt x="281749" y="951547"/>
                  </a:lnTo>
                  <a:cubicBezTo>
                    <a:pt x="288988" y="920687"/>
                    <a:pt x="316896" y="897446"/>
                    <a:pt x="349853" y="897446"/>
                  </a:cubicBezTo>
                  <a:lnTo>
                    <a:pt x="418052" y="897446"/>
                  </a:lnTo>
                  <a:cubicBezTo>
                    <a:pt x="460343" y="897446"/>
                    <a:pt x="495395" y="865156"/>
                    <a:pt x="498824" y="822960"/>
                  </a:cubicBezTo>
                  <a:cubicBezTo>
                    <a:pt x="501682" y="787051"/>
                    <a:pt x="532066" y="758571"/>
                    <a:pt x="568643" y="758571"/>
                  </a:cubicBezTo>
                  <a:lnTo>
                    <a:pt x="683990" y="758571"/>
                  </a:lnTo>
                  <a:lnTo>
                    <a:pt x="733520" y="758571"/>
                  </a:lnTo>
                  <a:lnTo>
                    <a:pt x="1066514" y="758571"/>
                  </a:lnTo>
                  <a:cubicBezTo>
                    <a:pt x="1070800" y="758571"/>
                    <a:pt x="1074896" y="758952"/>
                    <a:pt x="1078992" y="759714"/>
                  </a:cubicBezTo>
                  <a:lnTo>
                    <a:pt x="1078992" y="617506"/>
                  </a:lnTo>
                  <a:cubicBezTo>
                    <a:pt x="1078992" y="585788"/>
                    <a:pt x="1104900" y="559880"/>
                    <a:pt x="1136618" y="559880"/>
                  </a:cubicBezTo>
                  <a:lnTo>
                    <a:pt x="1156621" y="559880"/>
                  </a:lnTo>
                  <a:cubicBezTo>
                    <a:pt x="1157192" y="559880"/>
                    <a:pt x="1157764" y="559880"/>
                    <a:pt x="1158335" y="559880"/>
                  </a:cubicBezTo>
                  <a:lnTo>
                    <a:pt x="1209199" y="559880"/>
                  </a:lnTo>
                  <a:cubicBezTo>
                    <a:pt x="1240917" y="559880"/>
                    <a:pt x="1266825" y="533972"/>
                    <a:pt x="1266825" y="502253"/>
                  </a:cubicBezTo>
                  <a:lnTo>
                    <a:pt x="1266825" y="425768"/>
                  </a:lnTo>
                  <a:lnTo>
                    <a:pt x="1349121" y="425768"/>
                  </a:lnTo>
                  <a:cubicBezTo>
                    <a:pt x="1395031" y="425768"/>
                    <a:pt x="1432560" y="388239"/>
                    <a:pt x="1432560" y="342329"/>
                  </a:cubicBezTo>
                  <a:lnTo>
                    <a:pt x="1432560" y="122777"/>
                  </a:lnTo>
                  <a:lnTo>
                    <a:pt x="1331309" y="122777"/>
                  </a:ln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61" name="Freeform: Shape 202">
              <a:extLst>
                <a:ext uri="{FF2B5EF4-FFF2-40B4-BE49-F238E27FC236}">
                  <a16:creationId xmlns:a16="http://schemas.microsoft.com/office/drawing/2014/main" id="{90B227CE-8F44-EAA5-14CF-A5F5D645B978}"/>
                </a:ext>
              </a:extLst>
            </p:cNvPr>
            <p:cNvSpPr/>
            <p:nvPr/>
          </p:nvSpPr>
          <p:spPr>
            <a:xfrm>
              <a:off x="3245469" y="381555"/>
              <a:ext cx="1149858" cy="1834229"/>
            </a:xfrm>
            <a:custGeom>
              <a:avLst/>
              <a:gdLst>
                <a:gd name="connsiteX0" fmla="*/ 935450 w 1149858"/>
                <a:gd name="connsiteY0" fmla="*/ 0 h 1834229"/>
                <a:gd name="connsiteX1" fmla="*/ 644367 w 1149858"/>
                <a:gd name="connsiteY1" fmla="*/ 0 h 1834229"/>
                <a:gd name="connsiteX2" fmla="*/ 436912 w 1149858"/>
                <a:gd name="connsiteY2" fmla="*/ 0 h 1834229"/>
                <a:gd name="connsiteX3" fmla="*/ 340043 w 1149858"/>
                <a:gd name="connsiteY3" fmla="*/ 96869 h 1834229"/>
                <a:gd name="connsiteX4" fmla="*/ 340043 w 1149858"/>
                <a:gd name="connsiteY4" fmla="*/ 393764 h 1834229"/>
                <a:gd name="connsiteX5" fmla="*/ 98774 w 1149858"/>
                <a:gd name="connsiteY5" fmla="*/ 393764 h 1834229"/>
                <a:gd name="connsiteX6" fmla="*/ 1905 w 1149858"/>
                <a:gd name="connsiteY6" fmla="*/ 490633 h 1834229"/>
                <a:gd name="connsiteX7" fmla="*/ 1905 w 1149858"/>
                <a:gd name="connsiteY7" fmla="*/ 659606 h 1834229"/>
                <a:gd name="connsiteX8" fmla="*/ 0 w 1149858"/>
                <a:gd name="connsiteY8" fmla="*/ 659892 h 1834229"/>
                <a:gd name="connsiteX9" fmla="*/ 0 w 1149858"/>
                <a:gd name="connsiteY9" fmla="*/ 916305 h 1834229"/>
                <a:gd name="connsiteX10" fmla="*/ 0 w 1149858"/>
                <a:gd name="connsiteY10" fmla="*/ 998410 h 1834229"/>
                <a:gd name="connsiteX11" fmla="*/ 0 w 1149858"/>
                <a:gd name="connsiteY11" fmla="*/ 1315593 h 1834229"/>
                <a:gd name="connsiteX12" fmla="*/ 78486 w 1149858"/>
                <a:gd name="connsiteY12" fmla="*/ 1398842 h 1834229"/>
                <a:gd name="connsiteX13" fmla="*/ 154686 w 1149858"/>
                <a:gd name="connsiteY13" fmla="*/ 1479709 h 1834229"/>
                <a:gd name="connsiteX14" fmla="*/ 154686 w 1149858"/>
                <a:gd name="connsiteY14" fmla="*/ 1601343 h 1834229"/>
                <a:gd name="connsiteX15" fmla="*/ 234506 w 1149858"/>
                <a:gd name="connsiteY15" fmla="*/ 1684687 h 1834229"/>
                <a:gd name="connsiteX16" fmla="*/ 312039 w 1149858"/>
                <a:gd name="connsiteY16" fmla="*/ 1765649 h 1834229"/>
                <a:gd name="connsiteX17" fmla="*/ 312039 w 1149858"/>
                <a:gd name="connsiteY17" fmla="*/ 1776603 h 1834229"/>
                <a:gd name="connsiteX18" fmla="*/ 369665 w 1149858"/>
                <a:gd name="connsiteY18" fmla="*/ 1834229 h 1834229"/>
                <a:gd name="connsiteX19" fmla="*/ 389668 w 1149858"/>
                <a:gd name="connsiteY19" fmla="*/ 1834229 h 1834229"/>
                <a:gd name="connsiteX20" fmla="*/ 447294 w 1149858"/>
                <a:gd name="connsiteY20" fmla="*/ 1776603 h 1834229"/>
                <a:gd name="connsiteX21" fmla="*/ 447294 w 1149858"/>
                <a:gd name="connsiteY21" fmla="*/ 1765745 h 1834229"/>
                <a:gd name="connsiteX22" fmla="*/ 528257 w 1149858"/>
                <a:gd name="connsiteY22" fmla="*/ 1684782 h 1834229"/>
                <a:gd name="connsiteX23" fmla="*/ 681323 w 1149858"/>
                <a:gd name="connsiteY23" fmla="*/ 1684782 h 1834229"/>
                <a:gd name="connsiteX24" fmla="*/ 764762 w 1149858"/>
                <a:gd name="connsiteY24" fmla="*/ 1601343 h 1834229"/>
                <a:gd name="connsiteX25" fmla="*/ 764762 w 1149858"/>
                <a:gd name="connsiteY25" fmla="*/ 1348835 h 1834229"/>
                <a:gd name="connsiteX26" fmla="*/ 681323 w 1149858"/>
                <a:gd name="connsiteY26" fmla="*/ 1265396 h 1834229"/>
                <a:gd name="connsiteX27" fmla="*/ 602171 w 1149858"/>
                <a:gd name="connsiteY27" fmla="*/ 1186910 h 1834229"/>
                <a:gd name="connsiteX28" fmla="*/ 683133 w 1149858"/>
                <a:gd name="connsiteY28" fmla="*/ 1105948 h 1834229"/>
                <a:gd name="connsiteX29" fmla="*/ 860870 w 1149858"/>
                <a:gd name="connsiteY29" fmla="*/ 1105948 h 1834229"/>
                <a:gd name="connsiteX30" fmla="*/ 918496 w 1149858"/>
                <a:gd name="connsiteY30" fmla="*/ 1048322 h 1834229"/>
                <a:gd name="connsiteX31" fmla="*/ 918496 w 1149858"/>
                <a:gd name="connsiteY31" fmla="*/ 1028319 h 1834229"/>
                <a:gd name="connsiteX32" fmla="*/ 860870 w 1149858"/>
                <a:gd name="connsiteY32" fmla="*/ 970693 h 1834229"/>
                <a:gd name="connsiteX33" fmla="*/ 845725 w 1149858"/>
                <a:gd name="connsiteY33" fmla="*/ 970693 h 1834229"/>
                <a:gd name="connsiteX34" fmla="*/ 764762 w 1149858"/>
                <a:gd name="connsiteY34" fmla="*/ 889730 h 1834229"/>
                <a:gd name="connsiteX35" fmla="*/ 764762 w 1149858"/>
                <a:gd name="connsiteY35" fmla="*/ 759047 h 1834229"/>
                <a:gd name="connsiteX36" fmla="*/ 763905 w 1149858"/>
                <a:gd name="connsiteY36" fmla="*/ 730282 h 1834229"/>
                <a:gd name="connsiteX37" fmla="*/ 798862 w 1149858"/>
                <a:gd name="connsiteY37" fmla="*/ 730282 h 1834229"/>
                <a:gd name="connsiteX38" fmla="*/ 935355 w 1149858"/>
                <a:gd name="connsiteY38" fmla="*/ 640937 h 1834229"/>
                <a:gd name="connsiteX39" fmla="*/ 935355 w 1149858"/>
                <a:gd name="connsiteY39" fmla="*/ 636556 h 1834229"/>
                <a:gd name="connsiteX40" fmla="*/ 935355 w 1149858"/>
                <a:gd name="connsiteY40" fmla="*/ 626555 h 1834229"/>
                <a:gd name="connsiteX41" fmla="*/ 1006221 w 1149858"/>
                <a:gd name="connsiteY41" fmla="*/ 626555 h 1834229"/>
                <a:gd name="connsiteX42" fmla="*/ 1149858 w 1149858"/>
                <a:gd name="connsiteY42" fmla="*/ 490061 h 1834229"/>
                <a:gd name="connsiteX43" fmla="*/ 1149858 w 1149858"/>
                <a:gd name="connsiteY43" fmla="*/ 0 h 1834229"/>
                <a:gd name="connsiteX44" fmla="*/ 935450 w 1149858"/>
                <a:gd name="connsiteY44" fmla="*/ 0 h 183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149858" h="1834229">
                  <a:moveTo>
                    <a:pt x="935450" y="0"/>
                  </a:moveTo>
                  <a:lnTo>
                    <a:pt x="644367" y="0"/>
                  </a:lnTo>
                  <a:lnTo>
                    <a:pt x="436912" y="0"/>
                  </a:lnTo>
                  <a:cubicBezTo>
                    <a:pt x="383477" y="0"/>
                    <a:pt x="340043" y="43339"/>
                    <a:pt x="340043" y="96869"/>
                  </a:cubicBezTo>
                  <a:lnTo>
                    <a:pt x="340043" y="393764"/>
                  </a:lnTo>
                  <a:lnTo>
                    <a:pt x="98774" y="393764"/>
                  </a:lnTo>
                  <a:cubicBezTo>
                    <a:pt x="45339" y="393764"/>
                    <a:pt x="1905" y="437102"/>
                    <a:pt x="1905" y="490633"/>
                  </a:cubicBezTo>
                  <a:lnTo>
                    <a:pt x="1905" y="659606"/>
                  </a:lnTo>
                  <a:lnTo>
                    <a:pt x="0" y="659892"/>
                  </a:lnTo>
                  <a:lnTo>
                    <a:pt x="0" y="916305"/>
                  </a:lnTo>
                  <a:lnTo>
                    <a:pt x="0" y="998410"/>
                  </a:lnTo>
                  <a:lnTo>
                    <a:pt x="0" y="1315593"/>
                  </a:lnTo>
                  <a:cubicBezTo>
                    <a:pt x="0" y="1359789"/>
                    <a:pt x="34862" y="1396270"/>
                    <a:pt x="78486" y="1398842"/>
                  </a:cubicBezTo>
                  <a:cubicBezTo>
                    <a:pt x="121349" y="1401413"/>
                    <a:pt x="154686" y="1436751"/>
                    <a:pt x="154686" y="1479709"/>
                  </a:cubicBezTo>
                  <a:lnTo>
                    <a:pt x="154686" y="1601343"/>
                  </a:lnTo>
                  <a:cubicBezTo>
                    <a:pt x="154686" y="1646015"/>
                    <a:pt x="190310" y="1682782"/>
                    <a:pt x="234506" y="1684687"/>
                  </a:cubicBezTo>
                  <a:cubicBezTo>
                    <a:pt x="277844" y="1686592"/>
                    <a:pt x="312039" y="1722215"/>
                    <a:pt x="312039" y="1765649"/>
                  </a:cubicBezTo>
                  <a:lnTo>
                    <a:pt x="312039" y="1776603"/>
                  </a:lnTo>
                  <a:cubicBezTo>
                    <a:pt x="312039" y="1808321"/>
                    <a:pt x="337947" y="1834229"/>
                    <a:pt x="369665" y="1834229"/>
                  </a:cubicBezTo>
                  <a:lnTo>
                    <a:pt x="389668" y="1834229"/>
                  </a:lnTo>
                  <a:cubicBezTo>
                    <a:pt x="421386" y="1834229"/>
                    <a:pt x="447294" y="1808321"/>
                    <a:pt x="447294" y="1776603"/>
                  </a:cubicBezTo>
                  <a:lnTo>
                    <a:pt x="447294" y="1765745"/>
                  </a:lnTo>
                  <a:cubicBezTo>
                    <a:pt x="447294" y="1721168"/>
                    <a:pt x="483680" y="1684782"/>
                    <a:pt x="528257" y="1684782"/>
                  </a:cubicBezTo>
                  <a:lnTo>
                    <a:pt x="681323" y="1684782"/>
                  </a:lnTo>
                  <a:cubicBezTo>
                    <a:pt x="727234" y="1684782"/>
                    <a:pt x="764762" y="1647254"/>
                    <a:pt x="764762" y="1601343"/>
                  </a:cubicBezTo>
                  <a:lnTo>
                    <a:pt x="764762" y="1348835"/>
                  </a:lnTo>
                  <a:cubicBezTo>
                    <a:pt x="764762" y="1302925"/>
                    <a:pt x="726662" y="1258253"/>
                    <a:pt x="681323" y="1265396"/>
                  </a:cubicBezTo>
                  <a:cubicBezTo>
                    <a:pt x="633508" y="1272921"/>
                    <a:pt x="601028" y="1256348"/>
                    <a:pt x="602171" y="1186910"/>
                  </a:cubicBezTo>
                  <a:cubicBezTo>
                    <a:pt x="602933" y="1142333"/>
                    <a:pt x="638556" y="1105948"/>
                    <a:pt x="683133" y="1105948"/>
                  </a:cubicBezTo>
                  <a:lnTo>
                    <a:pt x="860870" y="1105948"/>
                  </a:lnTo>
                  <a:cubicBezTo>
                    <a:pt x="892588" y="1105948"/>
                    <a:pt x="918496" y="1080040"/>
                    <a:pt x="918496" y="1048322"/>
                  </a:cubicBezTo>
                  <a:lnTo>
                    <a:pt x="918496" y="1028319"/>
                  </a:lnTo>
                  <a:cubicBezTo>
                    <a:pt x="918496" y="996601"/>
                    <a:pt x="892588" y="970693"/>
                    <a:pt x="860870" y="970693"/>
                  </a:cubicBezTo>
                  <a:lnTo>
                    <a:pt x="845725" y="970693"/>
                  </a:lnTo>
                  <a:cubicBezTo>
                    <a:pt x="801148" y="970693"/>
                    <a:pt x="764762" y="934307"/>
                    <a:pt x="764762" y="889730"/>
                  </a:cubicBezTo>
                  <a:lnTo>
                    <a:pt x="764762" y="759047"/>
                  </a:lnTo>
                  <a:cubicBezTo>
                    <a:pt x="764762" y="748951"/>
                    <a:pt x="764381" y="740950"/>
                    <a:pt x="763905" y="730282"/>
                  </a:cubicBezTo>
                  <a:lnTo>
                    <a:pt x="798862" y="730282"/>
                  </a:lnTo>
                  <a:cubicBezTo>
                    <a:pt x="874300" y="730282"/>
                    <a:pt x="935355" y="716375"/>
                    <a:pt x="935355" y="640937"/>
                  </a:cubicBezTo>
                  <a:lnTo>
                    <a:pt x="935355" y="636556"/>
                  </a:lnTo>
                  <a:lnTo>
                    <a:pt x="935355" y="626555"/>
                  </a:lnTo>
                  <a:lnTo>
                    <a:pt x="1006221" y="626555"/>
                  </a:lnTo>
                  <a:cubicBezTo>
                    <a:pt x="1081659" y="626555"/>
                    <a:pt x="1149858" y="565404"/>
                    <a:pt x="1149858" y="490061"/>
                  </a:cubicBezTo>
                  <a:lnTo>
                    <a:pt x="1149858" y="0"/>
                  </a:lnTo>
                  <a:lnTo>
                    <a:pt x="935450"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62" name="Freeform: Shape 203">
              <a:extLst>
                <a:ext uri="{FF2B5EF4-FFF2-40B4-BE49-F238E27FC236}">
                  <a16:creationId xmlns:a16="http://schemas.microsoft.com/office/drawing/2014/main" id="{41B7B7EA-2745-E698-FBD3-C832842F2CCD}"/>
                </a:ext>
              </a:extLst>
            </p:cNvPr>
            <p:cNvSpPr/>
            <p:nvPr/>
          </p:nvSpPr>
          <p:spPr>
            <a:xfrm>
              <a:off x="4395518" y="260683"/>
              <a:ext cx="1290351" cy="1074229"/>
            </a:xfrm>
            <a:custGeom>
              <a:avLst/>
              <a:gdLst>
                <a:gd name="connsiteX0" fmla="*/ 1290352 w 1290351"/>
                <a:gd name="connsiteY0" fmla="*/ 314516 h 1074229"/>
                <a:gd name="connsiteX1" fmla="*/ 626555 w 1290351"/>
                <a:gd name="connsiteY1" fmla="*/ 314516 h 1074229"/>
                <a:gd name="connsiteX2" fmla="*/ 626555 w 1290351"/>
                <a:gd name="connsiteY2" fmla="*/ 136493 h 1074229"/>
                <a:gd name="connsiteX3" fmla="*/ 490061 w 1290351"/>
                <a:gd name="connsiteY3" fmla="*/ 0 h 1074229"/>
                <a:gd name="connsiteX4" fmla="*/ 407765 w 1290351"/>
                <a:gd name="connsiteY4" fmla="*/ 0 h 1074229"/>
                <a:gd name="connsiteX5" fmla="*/ 407765 w 1290351"/>
                <a:gd name="connsiteY5" fmla="*/ 286 h 1074229"/>
                <a:gd name="connsiteX6" fmla="*/ 248983 w 1290351"/>
                <a:gd name="connsiteY6" fmla="*/ 286 h 1074229"/>
                <a:gd name="connsiteX7" fmla="*/ 248983 w 1290351"/>
                <a:gd name="connsiteY7" fmla="*/ 28861 h 1074229"/>
                <a:gd name="connsiteX8" fmla="*/ 156877 w 1290351"/>
                <a:gd name="connsiteY8" fmla="*/ 120967 h 1074229"/>
                <a:gd name="connsiteX9" fmla="*/ 0 w 1290351"/>
                <a:gd name="connsiteY9" fmla="*/ 120967 h 1074229"/>
                <a:gd name="connsiteX10" fmla="*/ 0 w 1290351"/>
                <a:gd name="connsiteY10" fmla="*/ 595408 h 1074229"/>
                <a:gd name="connsiteX11" fmla="*/ 270986 w 1290351"/>
                <a:gd name="connsiteY11" fmla="*/ 595408 h 1074229"/>
                <a:gd name="connsiteX12" fmla="*/ 270986 w 1290351"/>
                <a:gd name="connsiteY12" fmla="*/ 990791 h 1074229"/>
                <a:gd name="connsiteX13" fmla="*/ 354425 w 1290351"/>
                <a:gd name="connsiteY13" fmla="*/ 1074230 h 1074229"/>
                <a:gd name="connsiteX14" fmla="*/ 954500 w 1290351"/>
                <a:gd name="connsiteY14" fmla="*/ 1074230 h 1074229"/>
                <a:gd name="connsiteX15" fmla="*/ 1034415 w 1290351"/>
                <a:gd name="connsiteY15" fmla="*/ 1074230 h 1074229"/>
                <a:gd name="connsiteX16" fmla="*/ 1034701 w 1290351"/>
                <a:gd name="connsiteY16" fmla="*/ 1004602 h 1074229"/>
                <a:gd name="connsiteX17" fmla="*/ 1113186 w 1290351"/>
                <a:gd name="connsiteY17" fmla="*/ 932974 h 1074229"/>
                <a:gd name="connsiteX18" fmla="*/ 1189386 w 1290351"/>
                <a:gd name="connsiteY18" fmla="*/ 863251 h 1074229"/>
                <a:gd name="connsiteX19" fmla="*/ 1272064 w 1290351"/>
                <a:gd name="connsiteY19" fmla="*/ 791337 h 1074229"/>
                <a:gd name="connsiteX20" fmla="*/ 1287780 w 1290351"/>
                <a:gd name="connsiteY20" fmla="*/ 791337 h 1074229"/>
                <a:gd name="connsiteX21" fmla="*/ 1290352 w 1290351"/>
                <a:gd name="connsiteY21" fmla="*/ 314516 h 107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90351" h="1074229">
                  <a:moveTo>
                    <a:pt x="1290352" y="314516"/>
                  </a:moveTo>
                  <a:lnTo>
                    <a:pt x="626555" y="314516"/>
                  </a:lnTo>
                  <a:lnTo>
                    <a:pt x="626555" y="136493"/>
                  </a:lnTo>
                  <a:cubicBezTo>
                    <a:pt x="626555" y="61055"/>
                    <a:pt x="565404" y="0"/>
                    <a:pt x="490061" y="0"/>
                  </a:cubicBezTo>
                  <a:lnTo>
                    <a:pt x="407765" y="0"/>
                  </a:lnTo>
                  <a:lnTo>
                    <a:pt x="407765" y="286"/>
                  </a:lnTo>
                  <a:lnTo>
                    <a:pt x="248983" y="286"/>
                  </a:lnTo>
                  <a:lnTo>
                    <a:pt x="248983" y="28861"/>
                  </a:lnTo>
                  <a:cubicBezTo>
                    <a:pt x="248983" y="79724"/>
                    <a:pt x="207740" y="120967"/>
                    <a:pt x="156877" y="120967"/>
                  </a:cubicBezTo>
                  <a:lnTo>
                    <a:pt x="0" y="120967"/>
                  </a:lnTo>
                  <a:lnTo>
                    <a:pt x="0" y="595408"/>
                  </a:lnTo>
                  <a:lnTo>
                    <a:pt x="270986" y="595408"/>
                  </a:lnTo>
                  <a:lnTo>
                    <a:pt x="270986" y="990791"/>
                  </a:lnTo>
                  <a:cubicBezTo>
                    <a:pt x="270986" y="1036701"/>
                    <a:pt x="308515" y="1074230"/>
                    <a:pt x="354425" y="1074230"/>
                  </a:cubicBezTo>
                  <a:lnTo>
                    <a:pt x="954500" y="1074230"/>
                  </a:lnTo>
                  <a:lnTo>
                    <a:pt x="1034415" y="1074230"/>
                  </a:lnTo>
                  <a:lnTo>
                    <a:pt x="1034701" y="1004602"/>
                  </a:lnTo>
                  <a:cubicBezTo>
                    <a:pt x="1034891" y="965168"/>
                    <a:pt x="1073087" y="934879"/>
                    <a:pt x="1113186" y="932974"/>
                  </a:cubicBezTo>
                  <a:cubicBezTo>
                    <a:pt x="1152430" y="931069"/>
                    <a:pt x="1183958" y="902113"/>
                    <a:pt x="1189386" y="863251"/>
                  </a:cubicBezTo>
                  <a:cubicBezTo>
                    <a:pt x="1195006" y="822770"/>
                    <a:pt x="1230058" y="791337"/>
                    <a:pt x="1272064" y="791337"/>
                  </a:cubicBezTo>
                  <a:lnTo>
                    <a:pt x="1287780" y="791337"/>
                  </a:lnTo>
                  <a:cubicBezTo>
                    <a:pt x="1287208" y="673227"/>
                    <a:pt x="1290352" y="511397"/>
                    <a:pt x="1290352" y="314516"/>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63" name="Freeform: Shape 204">
              <a:extLst>
                <a:ext uri="{FF2B5EF4-FFF2-40B4-BE49-F238E27FC236}">
                  <a16:creationId xmlns:a16="http://schemas.microsoft.com/office/drawing/2014/main" id="{A2A50365-1078-8942-E6F0-1461EF3F8928}"/>
                </a:ext>
              </a:extLst>
            </p:cNvPr>
            <p:cNvSpPr/>
            <p:nvPr/>
          </p:nvSpPr>
          <p:spPr>
            <a:xfrm>
              <a:off x="2456609" y="-24876"/>
              <a:ext cx="2346960" cy="1813083"/>
            </a:xfrm>
            <a:custGeom>
              <a:avLst/>
              <a:gdLst>
                <a:gd name="connsiteX0" fmla="*/ 862298 w 2346960"/>
                <a:gd name="connsiteY0" fmla="*/ 0 h 1813083"/>
                <a:gd name="connsiteX1" fmla="*/ 654368 w 2346960"/>
                <a:gd name="connsiteY1" fmla="*/ 207931 h 1813083"/>
                <a:gd name="connsiteX2" fmla="*/ 654368 w 2346960"/>
                <a:gd name="connsiteY2" fmla="*/ 444437 h 1813083"/>
                <a:gd name="connsiteX3" fmla="*/ 513112 w 2346960"/>
                <a:gd name="connsiteY3" fmla="*/ 444437 h 1813083"/>
                <a:gd name="connsiteX4" fmla="*/ 305181 w 2346960"/>
                <a:gd name="connsiteY4" fmla="*/ 652367 h 1813083"/>
                <a:gd name="connsiteX5" fmla="*/ 305181 w 2346960"/>
                <a:gd name="connsiteY5" fmla="*/ 1066514 h 1813083"/>
                <a:gd name="connsiteX6" fmla="*/ 268319 w 2346960"/>
                <a:gd name="connsiteY6" fmla="*/ 1078135 h 1813083"/>
                <a:gd name="connsiteX7" fmla="*/ 235458 w 2346960"/>
                <a:gd name="connsiteY7" fmla="*/ 1090327 h 1813083"/>
                <a:gd name="connsiteX8" fmla="*/ 162497 w 2346960"/>
                <a:gd name="connsiteY8" fmla="*/ 1173099 h 1813083"/>
                <a:gd name="connsiteX9" fmla="*/ 162497 w 2346960"/>
                <a:gd name="connsiteY9" fmla="*/ 1441228 h 1813083"/>
                <a:gd name="connsiteX10" fmla="*/ 81915 w 2346960"/>
                <a:gd name="connsiteY10" fmla="*/ 1522190 h 1813083"/>
                <a:gd name="connsiteX11" fmla="*/ 0 w 2346960"/>
                <a:gd name="connsiteY11" fmla="*/ 1605629 h 1813083"/>
                <a:gd name="connsiteX12" fmla="*/ 0 w 2346960"/>
                <a:gd name="connsiteY12" fmla="*/ 1729645 h 1813083"/>
                <a:gd name="connsiteX13" fmla="*/ 83439 w 2346960"/>
                <a:gd name="connsiteY13" fmla="*/ 1813084 h 1813083"/>
                <a:gd name="connsiteX14" fmla="*/ 364141 w 2346960"/>
                <a:gd name="connsiteY14" fmla="*/ 1813084 h 1813083"/>
                <a:gd name="connsiteX15" fmla="*/ 447484 w 2346960"/>
                <a:gd name="connsiteY15" fmla="*/ 1733264 h 1813083"/>
                <a:gd name="connsiteX16" fmla="*/ 527590 w 2346960"/>
                <a:gd name="connsiteY16" fmla="*/ 1655731 h 1813083"/>
                <a:gd name="connsiteX17" fmla="*/ 609600 w 2346960"/>
                <a:gd name="connsiteY17" fmla="*/ 1581817 h 1813083"/>
                <a:gd name="connsiteX18" fmla="*/ 687896 w 2346960"/>
                <a:gd name="connsiteY18" fmla="*/ 1508951 h 1813083"/>
                <a:gd name="connsiteX19" fmla="*/ 708184 w 2346960"/>
                <a:gd name="connsiteY19" fmla="*/ 1508951 h 1813083"/>
                <a:gd name="connsiteX20" fmla="*/ 789146 w 2346960"/>
                <a:gd name="connsiteY20" fmla="*/ 1589913 h 1813083"/>
                <a:gd name="connsiteX21" fmla="*/ 789146 w 2346960"/>
                <a:gd name="connsiteY21" fmla="*/ 1404557 h 1813083"/>
                <a:gd name="connsiteX22" fmla="*/ 789146 w 2346960"/>
                <a:gd name="connsiteY22" fmla="*/ 1322451 h 1813083"/>
                <a:gd name="connsiteX23" fmla="*/ 789146 w 2346960"/>
                <a:gd name="connsiteY23" fmla="*/ 1066038 h 1813083"/>
                <a:gd name="connsiteX24" fmla="*/ 787908 w 2346960"/>
                <a:gd name="connsiteY24" fmla="*/ 1066038 h 1813083"/>
                <a:gd name="connsiteX25" fmla="*/ 787908 w 2346960"/>
                <a:gd name="connsiteY25" fmla="*/ 876300 h 1813083"/>
                <a:gd name="connsiteX26" fmla="*/ 793337 w 2346960"/>
                <a:gd name="connsiteY26" fmla="*/ 876300 h 1813083"/>
                <a:gd name="connsiteX27" fmla="*/ 887921 w 2346960"/>
                <a:gd name="connsiteY27" fmla="*/ 800100 h 1813083"/>
                <a:gd name="connsiteX28" fmla="*/ 1129189 w 2346960"/>
                <a:gd name="connsiteY28" fmla="*/ 800100 h 1813083"/>
                <a:gd name="connsiteX29" fmla="*/ 1129189 w 2346960"/>
                <a:gd name="connsiteY29" fmla="*/ 503301 h 1813083"/>
                <a:gd name="connsiteX30" fmla="*/ 1226058 w 2346960"/>
                <a:gd name="connsiteY30" fmla="*/ 406432 h 1813083"/>
                <a:gd name="connsiteX31" fmla="*/ 1433513 w 2346960"/>
                <a:gd name="connsiteY31" fmla="*/ 406432 h 1813083"/>
                <a:gd name="connsiteX32" fmla="*/ 1724597 w 2346960"/>
                <a:gd name="connsiteY32" fmla="*/ 406432 h 1813083"/>
                <a:gd name="connsiteX33" fmla="*/ 2096072 w 2346960"/>
                <a:gd name="connsiteY33" fmla="*/ 406432 h 1813083"/>
                <a:gd name="connsiteX34" fmla="*/ 2188178 w 2346960"/>
                <a:gd name="connsiteY34" fmla="*/ 314325 h 1813083"/>
                <a:gd name="connsiteX35" fmla="*/ 2188178 w 2346960"/>
                <a:gd name="connsiteY35" fmla="*/ 285750 h 1813083"/>
                <a:gd name="connsiteX36" fmla="*/ 2346960 w 2346960"/>
                <a:gd name="connsiteY36" fmla="*/ 285750 h 1813083"/>
                <a:gd name="connsiteX37" fmla="*/ 2346960 w 2346960"/>
                <a:gd name="connsiteY37" fmla="*/ 0 h 1813083"/>
                <a:gd name="connsiteX38" fmla="*/ 862298 w 2346960"/>
                <a:gd name="connsiteY38" fmla="*/ 0 h 181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346960" h="1813083">
                  <a:moveTo>
                    <a:pt x="862298" y="0"/>
                  </a:moveTo>
                  <a:cubicBezTo>
                    <a:pt x="747427" y="0"/>
                    <a:pt x="654368" y="93155"/>
                    <a:pt x="654368" y="207931"/>
                  </a:cubicBezTo>
                  <a:lnTo>
                    <a:pt x="654368" y="444437"/>
                  </a:lnTo>
                  <a:lnTo>
                    <a:pt x="513112" y="444437"/>
                  </a:lnTo>
                  <a:cubicBezTo>
                    <a:pt x="398240" y="444437"/>
                    <a:pt x="305181" y="537591"/>
                    <a:pt x="305181" y="652367"/>
                  </a:cubicBezTo>
                  <a:lnTo>
                    <a:pt x="305181" y="1066514"/>
                  </a:lnTo>
                  <a:cubicBezTo>
                    <a:pt x="291846" y="1067562"/>
                    <a:pt x="279273" y="1071563"/>
                    <a:pt x="268319" y="1078135"/>
                  </a:cubicBezTo>
                  <a:cubicBezTo>
                    <a:pt x="258223" y="1084231"/>
                    <a:pt x="247174" y="1088803"/>
                    <a:pt x="235458" y="1090327"/>
                  </a:cubicBezTo>
                  <a:cubicBezTo>
                    <a:pt x="194405" y="1095470"/>
                    <a:pt x="162497" y="1130713"/>
                    <a:pt x="162497" y="1173099"/>
                  </a:cubicBezTo>
                  <a:lnTo>
                    <a:pt x="162497" y="1441228"/>
                  </a:lnTo>
                  <a:cubicBezTo>
                    <a:pt x="162497" y="1485519"/>
                    <a:pt x="126206" y="1521428"/>
                    <a:pt x="81915" y="1522190"/>
                  </a:cubicBezTo>
                  <a:cubicBezTo>
                    <a:pt x="36671" y="1522952"/>
                    <a:pt x="0" y="1560195"/>
                    <a:pt x="0" y="1605629"/>
                  </a:cubicBezTo>
                  <a:lnTo>
                    <a:pt x="0" y="1729645"/>
                  </a:lnTo>
                  <a:cubicBezTo>
                    <a:pt x="0" y="1775555"/>
                    <a:pt x="37529" y="1813084"/>
                    <a:pt x="83439" y="1813084"/>
                  </a:cubicBezTo>
                  <a:lnTo>
                    <a:pt x="364141" y="1813084"/>
                  </a:lnTo>
                  <a:cubicBezTo>
                    <a:pt x="408813" y="1813084"/>
                    <a:pt x="445580" y="1777460"/>
                    <a:pt x="447484" y="1733264"/>
                  </a:cubicBezTo>
                  <a:cubicBezTo>
                    <a:pt x="449390" y="1690211"/>
                    <a:pt x="484442" y="1656207"/>
                    <a:pt x="527590" y="1655731"/>
                  </a:cubicBezTo>
                  <a:cubicBezTo>
                    <a:pt x="569881" y="1655255"/>
                    <a:pt x="604838" y="1622965"/>
                    <a:pt x="609600" y="1581817"/>
                  </a:cubicBezTo>
                  <a:cubicBezTo>
                    <a:pt x="614267" y="1540859"/>
                    <a:pt x="646748" y="1508951"/>
                    <a:pt x="687896" y="1508951"/>
                  </a:cubicBezTo>
                  <a:lnTo>
                    <a:pt x="708184" y="1508951"/>
                  </a:lnTo>
                  <a:cubicBezTo>
                    <a:pt x="752761" y="1508951"/>
                    <a:pt x="789146" y="1545336"/>
                    <a:pt x="789146" y="1589913"/>
                  </a:cubicBezTo>
                  <a:lnTo>
                    <a:pt x="789146" y="1404557"/>
                  </a:lnTo>
                  <a:lnTo>
                    <a:pt x="789146" y="1322451"/>
                  </a:lnTo>
                  <a:lnTo>
                    <a:pt x="789146" y="1066038"/>
                  </a:lnTo>
                  <a:lnTo>
                    <a:pt x="787908" y="1066038"/>
                  </a:lnTo>
                  <a:lnTo>
                    <a:pt x="787908" y="876300"/>
                  </a:lnTo>
                  <a:lnTo>
                    <a:pt x="793337" y="876300"/>
                  </a:lnTo>
                  <a:cubicBezTo>
                    <a:pt x="802767" y="832771"/>
                    <a:pt x="841534" y="800100"/>
                    <a:pt x="887921" y="800100"/>
                  </a:cubicBezTo>
                  <a:lnTo>
                    <a:pt x="1129189" y="800100"/>
                  </a:lnTo>
                  <a:lnTo>
                    <a:pt x="1129189" y="503301"/>
                  </a:lnTo>
                  <a:cubicBezTo>
                    <a:pt x="1129189" y="449866"/>
                    <a:pt x="1172527" y="406432"/>
                    <a:pt x="1226058" y="406432"/>
                  </a:cubicBezTo>
                  <a:lnTo>
                    <a:pt x="1433513" y="406432"/>
                  </a:lnTo>
                  <a:lnTo>
                    <a:pt x="1724597" y="406432"/>
                  </a:lnTo>
                  <a:lnTo>
                    <a:pt x="2096072" y="406432"/>
                  </a:lnTo>
                  <a:cubicBezTo>
                    <a:pt x="2146935" y="406432"/>
                    <a:pt x="2188178" y="365189"/>
                    <a:pt x="2188178" y="314325"/>
                  </a:cubicBezTo>
                  <a:lnTo>
                    <a:pt x="2188178" y="285750"/>
                  </a:lnTo>
                  <a:lnTo>
                    <a:pt x="2346960" y="285750"/>
                  </a:lnTo>
                  <a:lnTo>
                    <a:pt x="2346960" y="0"/>
                  </a:lnTo>
                  <a:lnTo>
                    <a:pt x="862298"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28" name="Freeform: Shape 205">
              <a:extLst>
                <a:ext uri="{FF2B5EF4-FFF2-40B4-BE49-F238E27FC236}">
                  <a16:creationId xmlns:a16="http://schemas.microsoft.com/office/drawing/2014/main" id="{F74EEDDC-6E4B-B1C2-D4D7-F5123027E4EA}"/>
                </a:ext>
              </a:extLst>
            </p:cNvPr>
            <p:cNvSpPr/>
            <p:nvPr/>
          </p:nvSpPr>
          <p:spPr>
            <a:xfrm>
              <a:off x="4963684" y="2644504"/>
              <a:ext cx="1471421" cy="875728"/>
            </a:xfrm>
            <a:custGeom>
              <a:avLst/>
              <a:gdLst>
                <a:gd name="connsiteX0" fmla="*/ 157829 w 1471421"/>
                <a:gd name="connsiteY0" fmla="*/ 0 h 875728"/>
                <a:gd name="connsiteX1" fmla="*/ 157829 w 1471421"/>
                <a:gd name="connsiteY1" fmla="*/ 53245 h 875728"/>
                <a:gd name="connsiteX2" fmla="*/ 157829 w 1471421"/>
                <a:gd name="connsiteY2" fmla="*/ 105632 h 875728"/>
                <a:gd name="connsiteX3" fmla="*/ 200406 w 1471421"/>
                <a:gd name="connsiteY3" fmla="*/ 163354 h 875728"/>
                <a:gd name="connsiteX4" fmla="*/ 218313 w 1471421"/>
                <a:gd name="connsiteY4" fmla="*/ 166116 h 875728"/>
                <a:gd name="connsiteX5" fmla="*/ 312515 w 1471421"/>
                <a:gd name="connsiteY5" fmla="*/ 166116 h 875728"/>
                <a:gd name="connsiteX6" fmla="*/ 314134 w 1471421"/>
                <a:gd name="connsiteY6" fmla="*/ 166116 h 875728"/>
                <a:gd name="connsiteX7" fmla="*/ 314801 w 1471421"/>
                <a:gd name="connsiteY7" fmla="*/ 442722 h 875728"/>
                <a:gd name="connsiteX8" fmla="*/ 314801 w 1471421"/>
                <a:gd name="connsiteY8" fmla="*/ 444913 h 875728"/>
                <a:gd name="connsiteX9" fmla="*/ 314801 w 1471421"/>
                <a:gd name="connsiteY9" fmla="*/ 444913 h 875728"/>
                <a:gd name="connsiteX10" fmla="*/ 232982 w 1471421"/>
                <a:gd name="connsiteY10" fmla="*/ 444913 h 875728"/>
                <a:gd name="connsiteX11" fmla="*/ 162020 w 1471421"/>
                <a:gd name="connsiteY11" fmla="*/ 498538 h 875728"/>
                <a:gd name="connsiteX12" fmla="*/ 160401 w 1471421"/>
                <a:gd name="connsiteY12" fmla="*/ 512540 h 875728"/>
                <a:gd name="connsiteX13" fmla="*/ 160211 w 1471421"/>
                <a:gd name="connsiteY13" fmla="*/ 543497 h 875728"/>
                <a:gd name="connsiteX14" fmla="*/ 99726 w 1471421"/>
                <a:gd name="connsiteY14" fmla="*/ 603980 h 875728"/>
                <a:gd name="connsiteX15" fmla="*/ 381 w 1471421"/>
                <a:gd name="connsiteY15" fmla="*/ 603980 h 875728"/>
                <a:gd name="connsiteX16" fmla="*/ 381 w 1471421"/>
                <a:gd name="connsiteY16" fmla="*/ 743712 h 875728"/>
                <a:gd name="connsiteX17" fmla="*/ 0 w 1471421"/>
                <a:gd name="connsiteY17" fmla="*/ 743712 h 875728"/>
                <a:gd name="connsiteX18" fmla="*/ 0 w 1471421"/>
                <a:gd name="connsiteY18" fmla="*/ 747141 h 875728"/>
                <a:gd name="connsiteX19" fmla="*/ 146114 w 1471421"/>
                <a:gd name="connsiteY19" fmla="*/ 747141 h 875728"/>
                <a:gd name="connsiteX20" fmla="*/ 203740 w 1471421"/>
                <a:gd name="connsiteY20" fmla="*/ 804767 h 875728"/>
                <a:gd name="connsiteX21" fmla="*/ 203740 w 1471421"/>
                <a:gd name="connsiteY21" fmla="*/ 824770 h 875728"/>
                <a:gd name="connsiteX22" fmla="*/ 172879 w 1471421"/>
                <a:gd name="connsiteY22" fmla="*/ 875729 h 875728"/>
                <a:gd name="connsiteX23" fmla="*/ 232600 w 1471421"/>
                <a:gd name="connsiteY23" fmla="*/ 875729 h 875728"/>
                <a:gd name="connsiteX24" fmla="*/ 313373 w 1471421"/>
                <a:gd name="connsiteY24" fmla="*/ 801243 h 875728"/>
                <a:gd name="connsiteX25" fmla="*/ 383191 w 1471421"/>
                <a:gd name="connsiteY25" fmla="*/ 736854 h 875728"/>
                <a:gd name="connsiteX26" fmla="*/ 498539 w 1471421"/>
                <a:gd name="connsiteY26" fmla="*/ 736854 h 875728"/>
                <a:gd name="connsiteX27" fmla="*/ 548068 w 1471421"/>
                <a:gd name="connsiteY27" fmla="*/ 736854 h 875728"/>
                <a:gd name="connsiteX28" fmla="*/ 1256157 w 1471421"/>
                <a:gd name="connsiteY28" fmla="*/ 736854 h 875728"/>
                <a:gd name="connsiteX29" fmla="*/ 1256157 w 1471421"/>
                <a:gd name="connsiteY29" fmla="*/ 745427 h 875728"/>
                <a:gd name="connsiteX30" fmla="*/ 1370457 w 1471421"/>
                <a:gd name="connsiteY30" fmla="*/ 859727 h 875728"/>
                <a:gd name="connsiteX31" fmla="*/ 1471422 w 1471421"/>
                <a:gd name="connsiteY31" fmla="*/ 859727 h 875728"/>
                <a:gd name="connsiteX32" fmla="*/ 1471422 w 1471421"/>
                <a:gd name="connsiteY32" fmla="*/ 843439 h 875728"/>
                <a:gd name="connsiteX33" fmla="*/ 1471422 w 1471421"/>
                <a:gd name="connsiteY33" fmla="*/ 390620 h 875728"/>
                <a:gd name="connsiteX34" fmla="*/ 1471422 w 1471421"/>
                <a:gd name="connsiteY34" fmla="*/ 191 h 875728"/>
                <a:gd name="connsiteX35" fmla="*/ 157829 w 1471421"/>
                <a:gd name="connsiteY35" fmla="*/ 191 h 875728"/>
                <a:gd name="connsiteX36" fmla="*/ 1255395 w 1471421"/>
                <a:gd name="connsiteY36" fmla="*/ 736663 h 875728"/>
                <a:gd name="connsiteX37" fmla="*/ 947452 w 1471421"/>
                <a:gd name="connsiteY37" fmla="*/ 736663 h 875728"/>
                <a:gd name="connsiteX38" fmla="*/ 947452 w 1471421"/>
                <a:gd name="connsiteY38" fmla="*/ 496157 h 875728"/>
                <a:gd name="connsiteX39" fmla="*/ 1062609 w 1471421"/>
                <a:gd name="connsiteY39" fmla="*/ 381857 h 875728"/>
                <a:gd name="connsiteX40" fmla="*/ 1255395 w 1471421"/>
                <a:gd name="connsiteY40" fmla="*/ 381857 h 875728"/>
                <a:gd name="connsiteX41" fmla="*/ 1255395 w 1471421"/>
                <a:gd name="connsiteY41" fmla="*/ 736663 h 875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71421" h="875728">
                  <a:moveTo>
                    <a:pt x="157829" y="0"/>
                  </a:moveTo>
                  <a:lnTo>
                    <a:pt x="157829" y="53245"/>
                  </a:lnTo>
                  <a:lnTo>
                    <a:pt x="157829" y="105632"/>
                  </a:lnTo>
                  <a:cubicBezTo>
                    <a:pt x="157829" y="132683"/>
                    <a:pt x="175832" y="155638"/>
                    <a:pt x="200406" y="163354"/>
                  </a:cubicBezTo>
                  <a:cubicBezTo>
                    <a:pt x="206121" y="165163"/>
                    <a:pt x="212122" y="166116"/>
                    <a:pt x="218313" y="166116"/>
                  </a:cubicBezTo>
                  <a:lnTo>
                    <a:pt x="312515" y="166116"/>
                  </a:lnTo>
                  <a:lnTo>
                    <a:pt x="314134" y="166116"/>
                  </a:lnTo>
                  <a:lnTo>
                    <a:pt x="314801" y="442722"/>
                  </a:lnTo>
                  <a:lnTo>
                    <a:pt x="314801" y="444913"/>
                  </a:lnTo>
                  <a:lnTo>
                    <a:pt x="314801" y="444913"/>
                  </a:lnTo>
                  <a:lnTo>
                    <a:pt x="232982" y="444913"/>
                  </a:lnTo>
                  <a:cubicBezTo>
                    <a:pt x="199263" y="444913"/>
                    <a:pt x="169164" y="467201"/>
                    <a:pt x="162020" y="498538"/>
                  </a:cubicBezTo>
                  <a:cubicBezTo>
                    <a:pt x="160973" y="503015"/>
                    <a:pt x="160496" y="507683"/>
                    <a:pt x="160401" y="512540"/>
                  </a:cubicBezTo>
                  <a:lnTo>
                    <a:pt x="160211" y="543497"/>
                  </a:lnTo>
                  <a:cubicBezTo>
                    <a:pt x="160020" y="576739"/>
                    <a:pt x="132969" y="603980"/>
                    <a:pt x="99726" y="603980"/>
                  </a:cubicBezTo>
                  <a:lnTo>
                    <a:pt x="381" y="603980"/>
                  </a:lnTo>
                  <a:lnTo>
                    <a:pt x="381" y="743712"/>
                  </a:lnTo>
                  <a:lnTo>
                    <a:pt x="0" y="743712"/>
                  </a:lnTo>
                  <a:lnTo>
                    <a:pt x="0" y="747141"/>
                  </a:lnTo>
                  <a:lnTo>
                    <a:pt x="146114" y="747141"/>
                  </a:lnTo>
                  <a:cubicBezTo>
                    <a:pt x="177832" y="747141"/>
                    <a:pt x="203740" y="773049"/>
                    <a:pt x="203740" y="804767"/>
                  </a:cubicBezTo>
                  <a:lnTo>
                    <a:pt x="203740" y="824770"/>
                  </a:lnTo>
                  <a:cubicBezTo>
                    <a:pt x="203740" y="846773"/>
                    <a:pt x="191167" y="866013"/>
                    <a:pt x="172879" y="875729"/>
                  </a:cubicBezTo>
                  <a:lnTo>
                    <a:pt x="232600" y="875729"/>
                  </a:lnTo>
                  <a:cubicBezTo>
                    <a:pt x="274891" y="875729"/>
                    <a:pt x="309943" y="843439"/>
                    <a:pt x="313373" y="801243"/>
                  </a:cubicBezTo>
                  <a:cubicBezTo>
                    <a:pt x="316230" y="765334"/>
                    <a:pt x="346615" y="736854"/>
                    <a:pt x="383191" y="736854"/>
                  </a:cubicBezTo>
                  <a:lnTo>
                    <a:pt x="498539" y="736854"/>
                  </a:lnTo>
                  <a:lnTo>
                    <a:pt x="548068" y="736854"/>
                  </a:lnTo>
                  <a:lnTo>
                    <a:pt x="1256157" y="736854"/>
                  </a:lnTo>
                  <a:lnTo>
                    <a:pt x="1256157" y="745427"/>
                  </a:lnTo>
                  <a:cubicBezTo>
                    <a:pt x="1256157" y="808292"/>
                    <a:pt x="1307592" y="859727"/>
                    <a:pt x="1370457" y="859727"/>
                  </a:cubicBezTo>
                  <a:lnTo>
                    <a:pt x="1471422" y="859727"/>
                  </a:lnTo>
                  <a:lnTo>
                    <a:pt x="1471422" y="843439"/>
                  </a:lnTo>
                  <a:lnTo>
                    <a:pt x="1471422" y="390620"/>
                  </a:lnTo>
                  <a:lnTo>
                    <a:pt x="1471422" y="191"/>
                  </a:lnTo>
                  <a:lnTo>
                    <a:pt x="157829" y="191"/>
                  </a:lnTo>
                  <a:close/>
                  <a:moveTo>
                    <a:pt x="1255395" y="736663"/>
                  </a:moveTo>
                  <a:lnTo>
                    <a:pt x="947452" y="736663"/>
                  </a:lnTo>
                  <a:lnTo>
                    <a:pt x="947452" y="496157"/>
                  </a:lnTo>
                  <a:cubicBezTo>
                    <a:pt x="947452" y="433292"/>
                    <a:pt x="999268" y="381857"/>
                    <a:pt x="1062609" y="381857"/>
                  </a:cubicBezTo>
                  <a:lnTo>
                    <a:pt x="1255395" y="381857"/>
                  </a:lnTo>
                  <a:lnTo>
                    <a:pt x="1255395" y="736663"/>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29" name="Freeform: Shape 206">
              <a:extLst>
                <a:ext uri="{FF2B5EF4-FFF2-40B4-BE49-F238E27FC236}">
                  <a16:creationId xmlns:a16="http://schemas.microsoft.com/office/drawing/2014/main" id="{1A635398-0BDA-BD37-4268-C4C525104333}"/>
                </a:ext>
              </a:extLst>
            </p:cNvPr>
            <p:cNvSpPr/>
            <p:nvPr/>
          </p:nvSpPr>
          <p:spPr>
            <a:xfrm>
              <a:off x="5911136" y="3026362"/>
              <a:ext cx="307943" cy="354806"/>
            </a:xfrm>
            <a:custGeom>
              <a:avLst/>
              <a:gdLst>
                <a:gd name="connsiteX0" fmla="*/ 115158 w 307943"/>
                <a:gd name="connsiteY0" fmla="*/ 0 h 354806"/>
                <a:gd name="connsiteX1" fmla="*/ 0 w 307943"/>
                <a:gd name="connsiteY1" fmla="*/ 114300 h 354806"/>
                <a:gd name="connsiteX2" fmla="*/ 0 w 307943"/>
                <a:gd name="connsiteY2" fmla="*/ 354806 h 354806"/>
                <a:gd name="connsiteX3" fmla="*/ 307943 w 307943"/>
                <a:gd name="connsiteY3" fmla="*/ 354806 h 354806"/>
                <a:gd name="connsiteX4" fmla="*/ 307943 w 307943"/>
                <a:gd name="connsiteY4" fmla="*/ 0 h 354806"/>
                <a:gd name="connsiteX5" fmla="*/ 115158 w 307943"/>
                <a:gd name="connsiteY5" fmla="*/ 0 h 354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943" h="354806">
                  <a:moveTo>
                    <a:pt x="115158" y="0"/>
                  </a:moveTo>
                  <a:cubicBezTo>
                    <a:pt x="51816" y="0"/>
                    <a:pt x="0" y="51435"/>
                    <a:pt x="0" y="114300"/>
                  </a:cubicBezTo>
                  <a:lnTo>
                    <a:pt x="0" y="354806"/>
                  </a:lnTo>
                  <a:lnTo>
                    <a:pt x="307943" y="354806"/>
                  </a:lnTo>
                  <a:lnTo>
                    <a:pt x="307943" y="0"/>
                  </a:lnTo>
                  <a:lnTo>
                    <a:pt x="115158"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30" name="Freeform: Shape 207">
              <a:extLst>
                <a:ext uri="{FF2B5EF4-FFF2-40B4-BE49-F238E27FC236}">
                  <a16:creationId xmlns:a16="http://schemas.microsoft.com/office/drawing/2014/main" id="{66827A98-B541-6931-8FE0-4E00F23A38F2}"/>
                </a:ext>
              </a:extLst>
            </p:cNvPr>
            <p:cNvSpPr/>
            <p:nvPr/>
          </p:nvSpPr>
          <p:spPr>
            <a:xfrm>
              <a:off x="4803283" y="-24876"/>
              <a:ext cx="1632204" cy="2667095"/>
            </a:xfrm>
            <a:custGeom>
              <a:avLst/>
              <a:gdLst>
                <a:gd name="connsiteX0" fmla="*/ 1496949 w 1632204"/>
                <a:gd name="connsiteY0" fmla="*/ 1233678 h 2667095"/>
                <a:gd name="connsiteX1" fmla="*/ 1436942 w 1632204"/>
                <a:gd name="connsiteY1" fmla="*/ 1173671 h 2667095"/>
                <a:gd name="connsiteX2" fmla="*/ 1436942 w 1632204"/>
                <a:gd name="connsiteY2" fmla="*/ 1152811 h 2667095"/>
                <a:gd name="connsiteX3" fmla="*/ 1496949 w 1632204"/>
                <a:gd name="connsiteY3" fmla="*/ 1092803 h 2667095"/>
                <a:gd name="connsiteX4" fmla="*/ 1629346 w 1632204"/>
                <a:gd name="connsiteY4" fmla="*/ 1092803 h 2667095"/>
                <a:gd name="connsiteX5" fmla="*/ 1629823 w 1632204"/>
                <a:gd name="connsiteY5" fmla="*/ 596932 h 2667095"/>
                <a:gd name="connsiteX6" fmla="*/ 1264444 w 1632204"/>
                <a:gd name="connsiteY6" fmla="*/ 596932 h 2667095"/>
                <a:gd name="connsiteX7" fmla="*/ 1264444 w 1632204"/>
                <a:gd name="connsiteY7" fmla="*/ 96869 h 2667095"/>
                <a:gd name="connsiteX8" fmla="*/ 1167574 w 1632204"/>
                <a:gd name="connsiteY8" fmla="*/ 0 h 2667095"/>
                <a:gd name="connsiteX9" fmla="*/ 0 w 1632204"/>
                <a:gd name="connsiteY9" fmla="*/ 0 h 2667095"/>
                <a:gd name="connsiteX10" fmla="*/ 0 w 1632204"/>
                <a:gd name="connsiteY10" fmla="*/ 285464 h 2667095"/>
                <a:gd name="connsiteX11" fmla="*/ 82296 w 1632204"/>
                <a:gd name="connsiteY11" fmla="*/ 285464 h 2667095"/>
                <a:gd name="connsiteX12" fmla="*/ 218789 w 1632204"/>
                <a:gd name="connsiteY12" fmla="*/ 421958 h 2667095"/>
                <a:gd name="connsiteX13" fmla="*/ 218789 w 1632204"/>
                <a:gd name="connsiteY13" fmla="*/ 599980 h 2667095"/>
                <a:gd name="connsiteX14" fmla="*/ 882587 w 1632204"/>
                <a:gd name="connsiteY14" fmla="*/ 599980 h 2667095"/>
                <a:gd name="connsiteX15" fmla="*/ 879919 w 1632204"/>
                <a:gd name="connsiteY15" fmla="*/ 1064324 h 2667095"/>
                <a:gd name="connsiteX16" fmla="*/ 879919 w 1632204"/>
                <a:gd name="connsiteY16" fmla="*/ 1076516 h 2667095"/>
                <a:gd name="connsiteX17" fmla="*/ 872966 w 1632204"/>
                <a:gd name="connsiteY17" fmla="*/ 1076516 h 2667095"/>
                <a:gd name="connsiteX18" fmla="*/ 864203 w 1632204"/>
                <a:gd name="connsiteY18" fmla="*/ 1076516 h 2667095"/>
                <a:gd name="connsiteX19" fmla="*/ 856011 w 1632204"/>
                <a:gd name="connsiteY19" fmla="*/ 1076897 h 2667095"/>
                <a:gd name="connsiteX20" fmla="*/ 853440 w 1632204"/>
                <a:gd name="connsiteY20" fmla="*/ 1077278 h 2667095"/>
                <a:gd name="connsiteX21" fmla="*/ 848106 w 1632204"/>
                <a:gd name="connsiteY21" fmla="*/ 1078135 h 2667095"/>
                <a:gd name="connsiteX22" fmla="*/ 847439 w 1632204"/>
                <a:gd name="connsiteY22" fmla="*/ 1078325 h 2667095"/>
                <a:gd name="connsiteX23" fmla="*/ 845153 w 1632204"/>
                <a:gd name="connsiteY23" fmla="*/ 1078897 h 2667095"/>
                <a:gd name="connsiteX24" fmla="*/ 840486 w 1632204"/>
                <a:gd name="connsiteY24" fmla="*/ 1080135 h 2667095"/>
                <a:gd name="connsiteX25" fmla="*/ 837438 w 1632204"/>
                <a:gd name="connsiteY25" fmla="*/ 1081183 h 2667095"/>
                <a:gd name="connsiteX26" fmla="*/ 833056 w 1632204"/>
                <a:gd name="connsiteY26" fmla="*/ 1082802 h 2667095"/>
                <a:gd name="connsiteX27" fmla="*/ 830104 w 1632204"/>
                <a:gd name="connsiteY27" fmla="*/ 1084136 h 2667095"/>
                <a:gd name="connsiteX28" fmla="*/ 826008 w 1632204"/>
                <a:gd name="connsiteY28" fmla="*/ 1086136 h 2667095"/>
                <a:gd name="connsiteX29" fmla="*/ 824484 w 1632204"/>
                <a:gd name="connsiteY29" fmla="*/ 1086993 h 2667095"/>
                <a:gd name="connsiteX30" fmla="*/ 823055 w 1632204"/>
                <a:gd name="connsiteY30" fmla="*/ 1087755 h 2667095"/>
                <a:gd name="connsiteX31" fmla="*/ 819150 w 1632204"/>
                <a:gd name="connsiteY31" fmla="*/ 1090136 h 2667095"/>
                <a:gd name="connsiteX32" fmla="*/ 818674 w 1632204"/>
                <a:gd name="connsiteY32" fmla="*/ 1090422 h 2667095"/>
                <a:gd name="connsiteX33" fmla="*/ 816483 w 1632204"/>
                <a:gd name="connsiteY33" fmla="*/ 1091946 h 2667095"/>
                <a:gd name="connsiteX34" fmla="*/ 812768 w 1632204"/>
                <a:gd name="connsiteY34" fmla="*/ 1094708 h 2667095"/>
                <a:gd name="connsiteX35" fmla="*/ 810292 w 1632204"/>
                <a:gd name="connsiteY35" fmla="*/ 1096709 h 2667095"/>
                <a:gd name="connsiteX36" fmla="*/ 806767 w 1632204"/>
                <a:gd name="connsiteY36" fmla="*/ 1099852 h 2667095"/>
                <a:gd name="connsiteX37" fmla="*/ 804577 w 1632204"/>
                <a:gd name="connsiteY37" fmla="*/ 1101947 h 2667095"/>
                <a:gd name="connsiteX38" fmla="*/ 801148 w 1632204"/>
                <a:gd name="connsiteY38" fmla="*/ 1105662 h 2667095"/>
                <a:gd name="connsiteX39" fmla="*/ 799434 w 1632204"/>
                <a:gd name="connsiteY39" fmla="*/ 1107662 h 2667095"/>
                <a:gd name="connsiteX40" fmla="*/ 795909 w 1632204"/>
                <a:gd name="connsiteY40" fmla="*/ 1112330 h 2667095"/>
                <a:gd name="connsiteX41" fmla="*/ 795814 w 1632204"/>
                <a:gd name="connsiteY41" fmla="*/ 1112520 h 2667095"/>
                <a:gd name="connsiteX42" fmla="*/ 794861 w 1632204"/>
                <a:gd name="connsiteY42" fmla="*/ 1113854 h 2667095"/>
                <a:gd name="connsiteX43" fmla="*/ 790765 w 1632204"/>
                <a:gd name="connsiteY43" fmla="*/ 1120521 h 2667095"/>
                <a:gd name="connsiteX44" fmla="*/ 790480 w 1632204"/>
                <a:gd name="connsiteY44" fmla="*/ 1121093 h 2667095"/>
                <a:gd name="connsiteX45" fmla="*/ 787337 w 1632204"/>
                <a:gd name="connsiteY45" fmla="*/ 1127570 h 2667095"/>
                <a:gd name="connsiteX46" fmla="*/ 786479 w 1632204"/>
                <a:gd name="connsiteY46" fmla="*/ 1129951 h 2667095"/>
                <a:gd name="connsiteX47" fmla="*/ 784669 w 1632204"/>
                <a:gd name="connsiteY47" fmla="*/ 1134904 h 2667095"/>
                <a:gd name="connsiteX48" fmla="*/ 783908 w 1632204"/>
                <a:gd name="connsiteY48" fmla="*/ 1137666 h 2667095"/>
                <a:gd name="connsiteX49" fmla="*/ 783908 w 1632204"/>
                <a:gd name="connsiteY49" fmla="*/ 1137857 h 2667095"/>
                <a:gd name="connsiteX50" fmla="*/ 782669 w 1632204"/>
                <a:gd name="connsiteY50" fmla="*/ 1142524 h 2667095"/>
                <a:gd name="connsiteX51" fmla="*/ 782574 w 1632204"/>
                <a:gd name="connsiteY51" fmla="*/ 1143000 h 2667095"/>
                <a:gd name="connsiteX52" fmla="*/ 782098 w 1632204"/>
                <a:gd name="connsiteY52" fmla="*/ 1145762 h 2667095"/>
                <a:gd name="connsiteX53" fmla="*/ 780764 w 1632204"/>
                <a:gd name="connsiteY53" fmla="*/ 1160336 h 2667095"/>
                <a:gd name="connsiteX54" fmla="*/ 709517 w 1632204"/>
                <a:gd name="connsiteY54" fmla="*/ 1218438 h 2667095"/>
                <a:gd name="connsiteX55" fmla="*/ 702850 w 1632204"/>
                <a:gd name="connsiteY55" fmla="*/ 1218819 h 2667095"/>
                <a:gd name="connsiteX56" fmla="*/ 700754 w 1632204"/>
                <a:gd name="connsiteY56" fmla="*/ 1219010 h 2667095"/>
                <a:gd name="connsiteX57" fmla="*/ 699802 w 1632204"/>
                <a:gd name="connsiteY57" fmla="*/ 1219105 h 2667095"/>
                <a:gd name="connsiteX58" fmla="*/ 693801 w 1632204"/>
                <a:gd name="connsiteY58" fmla="*/ 1220057 h 2667095"/>
                <a:gd name="connsiteX59" fmla="*/ 692563 w 1632204"/>
                <a:gd name="connsiteY59" fmla="*/ 1220248 h 2667095"/>
                <a:gd name="connsiteX60" fmla="*/ 627031 w 1632204"/>
                <a:gd name="connsiteY60" fmla="*/ 1290923 h 2667095"/>
                <a:gd name="connsiteX61" fmla="*/ 626745 w 1632204"/>
                <a:gd name="connsiteY61" fmla="*/ 1359884 h 2667095"/>
                <a:gd name="connsiteX62" fmla="*/ 626174 w 1632204"/>
                <a:gd name="connsiteY62" fmla="*/ 1359884 h 2667095"/>
                <a:gd name="connsiteX63" fmla="*/ 626174 w 1632204"/>
                <a:gd name="connsiteY63" fmla="*/ 1359884 h 2667095"/>
                <a:gd name="connsiteX64" fmla="*/ 887349 w 1632204"/>
                <a:gd name="connsiteY64" fmla="*/ 1359884 h 2667095"/>
                <a:gd name="connsiteX65" fmla="*/ 957358 w 1632204"/>
                <a:gd name="connsiteY65" fmla="*/ 1429893 h 2667095"/>
                <a:gd name="connsiteX66" fmla="*/ 957358 w 1632204"/>
                <a:gd name="connsiteY66" fmla="*/ 1454277 h 2667095"/>
                <a:gd name="connsiteX67" fmla="*/ 887349 w 1632204"/>
                <a:gd name="connsiteY67" fmla="*/ 1524286 h 2667095"/>
                <a:gd name="connsiteX68" fmla="*/ 626174 w 1632204"/>
                <a:gd name="connsiteY68" fmla="*/ 1524286 h 2667095"/>
                <a:gd name="connsiteX69" fmla="*/ 626174 w 1632204"/>
                <a:gd name="connsiteY69" fmla="*/ 1814417 h 2667095"/>
                <a:gd name="connsiteX70" fmla="*/ 626174 w 1632204"/>
                <a:gd name="connsiteY70" fmla="*/ 1959959 h 2667095"/>
                <a:gd name="connsiteX71" fmla="*/ 1134046 w 1632204"/>
                <a:gd name="connsiteY71" fmla="*/ 1959959 h 2667095"/>
                <a:gd name="connsiteX72" fmla="*/ 1249204 w 1632204"/>
                <a:gd name="connsiteY72" fmla="*/ 2074259 h 2667095"/>
                <a:gd name="connsiteX73" fmla="*/ 1249204 w 1632204"/>
                <a:gd name="connsiteY73" fmla="*/ 2667095 h 2667095"/>
                <a:gd name="connsiteX74" fmla="*/ 1632204 w 1632204"/>
                <a:gd name="connsiteY74" fmla="*/ 2667095 h 2667095"/>
                <a:gd name="connsiteX75" fmla="*/ 1632204 w 1632204"/>
                <a:gd name="connsiteY75" fmla="*/ 1233678 h 2667095"/>
                <a:gd name="connsiteX76" fmla="*/ 1496949 w 1632204"/>
                <a:gd name="connsiteY76" fmla="*/ 1233678 h 2667095"/>
                <a:gd name="connsiteX77" fmla="*/ 1277398 w 1632204"/>
                <a:gd name="connsiteY77" fmla="*/ 1311974 h 2667095"/>
                <a:gd name="connsiteX78" fmla="*/ 1217390 w 1632204"/>
                <a:gd name="connsiteY78" fmla="*/ 1371981 h 2667095"/>
                <a:gd name="connsiteX79" fmla="*/ 1196530 w 1632204"/>
                <a:gd name="connsiteY79" fmla="*/ 1371981 h 2667095"/>
                <a:gd name="connsiteX80" fmla="*/ 1136523 w 1632204"/>
                <a:gd name="connsiteY80" fmla="*/ 1313117 h 2667095"/>
                <a:gd name="connsiteX81" fmla="*/ 1055560 w 1632204"/>
                <a:gd name="connsiteY81" fmla="*/ 1233583 h 2667095"/>
                <a:gd name="connsiteX82" fmla="*/ 1016222 w 1632204"/>
                <a:gd name="connsiteY82" fmla="*/ 1233583 h 2667095"/>
                <a:gd name="connsiteX83" fmla="*/ 956215 w 1632204"/>
                <a:gd name="connsiteY83" fmla="*/ 1173575 h 2667095"/>
                <a:gd name="connsiteX84" fmla="*/ 956215 w 1632204"/>
                <a:gd name="connsiteY84" fmla="*/ 1152716 h 2667095"/>
                <a:gd name="connsiteX85" fmla="*/ 1016222 w 1632204"/>
                <a:gd name="connsiteY85" fmla="*/ 1092708 h 2667095"/>
                <a:gd name="connsiteX86" fmla="*/ 1181005 w 1632204"/>
                <a:gd name="connsiteY86" fmla="*/ 1092708 h 2667095"/>
                <a:gd name="connsiteX87" fmla="*/ 1189959 w 1632204"/>
                <a:gd name="connsiteY87" fmla="*/ 1092232 h 2667095"/>
                <a:gd name="connsiteX88" fmla="*/ 1196530 w 1632204"/>
                <a:gd name="connsiteY88" fmla="*/ 1091851 h 2667095"/>
                <a:gd name="connsiteX89" fmla="*/ 1217390 w 1632204"/>
                <a:gd name="connsiteY89" fmla="*/ 1091851 h 2667095"/>
                <a:gd name="connsiteX90" fmla="*/ 1277398 w 1632204"/>
                <a:gd name="connsiteY90" fmla="*/ 1151858 h 2667095"/>
                <a:gd name="connsiteX91" fmla="*/ 1277398 w 1632204"/>
                <a:gd name="connsiteY91" fmla="*/ 1311974 h 266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632204" h="2667095">
                  <a:moveTo>
                    <a:pt x="1496949" y="1233678"/>
                  </a:moveTo>
                  <a:cubicBezTo>
                    <a:pt x="1463992" y="1233678"/>
                    <a:pt x="1436942" y="1206627"/>
                    <a:pt x="1436942" y="1173671"/>
                  </a:cubicBezTo>
                  <a:lnTo>
                    <a:pt x="1436942" y="1152811"/>
                  </a:lnTo>
                  <a:cubicBezTo>
                    <a:pt x="1436942" y="1119854"/>
                    <a:pt x="1463897" y="1092803"/>
                    <a:pt x="1496949" y="1092803"/>
                  </a:cubicBezTo>
                  <a:lnTo>
                    <a:pt x="1629346" y="1092803"/>
                  </a:lnTo>
                  <a:lnTo>
                    <a:pt x="1629823" y="596932"/>
                  </a:lnTo>
                  <a:lnTo>
                    <a:pt x="1264444" y="596932"/>
                  </a:lnTo>
                  <a:lnTo>
                    <a:pt x="1264444" y="96869"/>
                  </a:lnTo>
                  <a:cubicBezTo>
                    <a:pt x="1264444" y="43434"/>
                    <a:pt x="1221105" y="0"/>
                    <a:pt x="1167574" y="0"/>
                  </a:cubicBezTo>
                  <a:lnTo>
                    <a:pt x="0" y="0"/>
                  </a:lnTo>
                  <a:lnTo>
                    <a:pt x="0" y="285464"/>
                  </a:lnTo>
                  <a:lnTo>
                    <a:pt x="82296" y="285464"/>
                  </a:lnTo>
                  <a:cubicBezTo>
                    <a:pt x="157734" y="285464"/>
                    <a:pt x="218789" y="346615"/>
                    <a:pt x="218789" y="421958"/>
                  </a:cubicBezTo>
                  <a:lnTo>
                    <a:pt x="218789" y="599980"/>
                  </a:lnTo>
                  <a:lnTo>
                    <a:pt x="882587" y="599980"/>
                  </a:lnTo>
                  <a:cubicBezTo>
                    <a:pt x="882587" y="790861"/>
                    <a:pt x="879634" y="920306"/>
                    <a:pt x="879919" y="1064324"/>
                  </a:cubicBezTo>
                  <a:cubicBezTo>
                    <a:pt x="880967" y="1072229"/>
                    <a:pt x="881062" y="1076516"/>
                    <a:pt x="879919" y="1076516"/>
                  </a:cubicBezTo>
                  <a:lnTo>
                    <a:pt x="872966" y="1076516"/>
                  </a:lnTo>
                  <a:cubicBezTo>
                    <a:pt x="869537" y="1076611"/>
                    <a:pt x="866489" y="1076516"/>
                    <a:pt x="864203" y="1076516"/>
                  </a:cubicBezTo>
                  <a:cubicBezTo>
                    <a:pt x="861441" y="1076516"/>
                    <a:pt x="858679" y="1076706"/>
                    <a:pt x="856011" y="1076897"/>
                  </a:cubicBezTo>
                  <a:cubicBezTo>
                    <a:pt x="855155" y="1076992"/>
                    <a:pt x="854297" y="1077182"/>
                    <a:pt x="853440" y="1077278"/>
                  </a:cubicBezTo>
                  <a:cubicBezTo>
                    <a:pt x="851630" y="1077468"/>
                    <a:pt x="849821" y="1077754"/>
                    <a:pt x="848106" y="1078135"/>
                  </a:cubicBezTo>
                  <a:cubicBezTo>
                    <a:pt x="847915" y="1078135"/>
                    <a:pt x="847630" y="1078230"/>
                    <a:pt x="847439" y="1078325"/>
                  </a:cubicBezTo>
                  <a:cubicBezTo>
                    <a:pt x="846677" y="1078516"/>
                    <a:pt x="845915" y="1078706"/>
                    <a:pt x="845153" y="1078897"/>
                  </a:cubicBezTo>
                  <a:cubicBezTo>
                    <a:pt x="843534" y="1079278"/>
                    <a:pt x="842010" y="1079659"/>
                    <a:pt x="840486" y="1080135"/>
                  </a:cubicBezTo>
                  <a:cubicBezTo>
                    <a:pt x="839438" y="1080421"/>
                    <a:pt x="838486" y="1080802"/>
                    <a:pt x="837438" y="1081183"/>
                  </a:cubicBezTo>
                  <a:cubicBezTo>
                    <a:pt x="836009" y="1081659"/>
                    <a:pt x="834485" y="1082231"/>
                    <a:pt x="833056" y="1082802"/>
                  </a:cubicBezTo>
                  <a:cubicBezTo>
                    <a:pt x="832009" y="1083183"/>
                    <a:pt x="831056" y="1083659"/>
                    <a:pt x="830104" y="1084136"/>
                  </a:cubicBezTo>
                  <a:cubicBezTo>
                    <a:pt x="828675" y="1084802"/>
                    <a:pt x="827342" y="1085374"/>
                    <a:pt x="826008" y="1086136"/>
                  </a:cubicBezTo>
                  <a:cubicBezTo>
                    <a:pt x="825532" y="1086422"/>
                    <a:pt x="825055" y="1086707"/>
                    <a:pt x="824484" y="1086993"/>
                  </a:cubicBezTo>
                  <a:cubicBezTo>
                    <a:pt x="824008" y="1087279"/>
                    <a:pt x="823531" y="1087469"/>
                    <a:pt x="823055" y="1087755"/>
                  </a:cubicBezTo>
                  <a:cubicBezTo>
                    <a:pt x="821722" y="1088517"/>
                    <a:pt x="820483" y="1089279"/>
                    <a:pt x="819150" y="1090136"/>
                  </a:cubicBezTo>
                  <a:cubicBezTo>
                    <a:pt x="818960" y="1090232"/>
                    <a:pt x="818864" y="1090327"/>
                    <a:pt x="818674" y="1090422"/>
                  </a:cubicBezTo>
                  <a:cubicBezTo>
                    <a:pt x="817911" y="1090898"/>
                    <a:pt x="817150" y="1091375"/>
                    <a:pt x="816483" y="1091946"/>
                  </a:cubicBezTo>
                  <a:cubicBezTo>
                    <a:pt x="815245" y="1092803"/>
                    <a:pt x="814006" y="1093756"/>
                    <a:pt x="812768" y="1094708"/>
                  </a:cubicBezTo>
                  <a:cubicBezTo>
                    <a:pt x="811911" y="1095375"/>
                    <a:pt x="811149" y="1095947"/>
                    <a:pt x="810292" y="1096709"/>
                  </a:cubicBezTo>
                  <a:cubicBezTo>
                    <a:pt x="809053" y="1097756"/>
                    <a:pt x="807910" y="1098804"/>
                    <a:pt x="806767" y="1099852"/>
                  </a:cubicBezTo>
                  <a:cubicBezTo>
                    <a:pt x="806005" y="1100519"/>
                    <a:pt x="805339" y="1101185"/>
                    <a:pt x="804577" y="1101947"/>
                  </a:cubicBezTo>
                  <a:cubicBezTo>
                    <a:pt x="803434" y="1103186"/>
                    <a:pt x="802291" y="1104424"/>
                    <a:pt x="801148" y="1105662"/>
                  </a:cubicBezTo>
                  <a:cubicBezTo>
                    <a:pt x="800576" y="1106329"/>
                    <a:pt x="799910" y="1106996"/>
                    <a:pt x="799434" y="1107662"/>
                  </a:cubicBezTo>
                  <a:cubicBezTo>
                    <a:pt x="798195" y="1109186"/>
                    <a:pt x="797052" y="1110710"/>
                    <a:pt x="795909" y="1112330"/>
                  </a:cubicBezTo>
                  <a:cubicBezTo>
                    <a:pt x="795909" y="1112425"/>
                    <a:pt x="795814" y="1112425"/>
                    <a:pt x="795814" y="1112520"/>
                  </a:cubicBezTo>
                  <a:cubicBezTo>
                    <a:pt x="795528" y="1112996"/>
                    <a:pt x="795147" y="1113377"/>
                    <a:pt x="794861" y="1113854"/>
                  </a:cubicBezTo>
                  <a:cubicBezTo>
                    <a:pt x="793433" y="1116044"/>
                    <a:pt x="792004" y="1118235"/>
                    <a:pt x="790765" y="1120521"/>
                  </a:cubicBezTo>
                  <a:cubicBezTo>
                    <a:pt x="790670" y="1120712"/>
                    <a:pt x="790575" y="1120902"/>
                    <a:pt x="790480" y="1121093"/>
                  </a:cubicBezTo>
                  <a:cubicBezTo>
                    <a:pt x="789336" y="1123188"/>
                    <a:pt x="788289" y="1125379"/>
                    <a:pt x="787337" y="1127570"/>
                  </a:cubicBezTo>
                  <a:cubicBezTo>
                    <a:pt x="787051" y="1128332"/>
                    <a:pt x="786765" y="1129094"/>
                    <a:pt x="786479" y="1129951"/>
                  </a:cubicBezTo>
                  <a:cubicBezTo>
                    <a:pt x="785812" y="1131570"/>
                    <a:pt x="785146" y="1133285"/>
                    <a:pt x="784669" y="1134904"/>
                  </a:cubicBezTo>
                  <a:cubicBezTo>
                    <a:pt x="784384" y="1135856"/>
                    <a:pt x="784098" y="1136714"/>
                    <a:pt x="783908" y="1137666"/>
                  </a:cubicBezTo>
                  <a:cubicBezTo>
                    <a:pt x="783908" y="1137761"/>
                    <a:pt x="783908" y="1137761"/>
                    <a:pt x="783908" y="1137857"/>
                  </a:cubicBezTo>
                  <a:cubicBezTo>
                    <a:pt x="783431" y="1139381"/>
                    <a:pt x="783050" y="1141000"/>
                    <a:pt x="782669" y="1142524"/>
                  </a:cubicBezTo>
                  <a:cubicBezTo>
                    <a:pt x="782669" y="1142714"/>
                    <a:pt x="782574" y="1142905"/>
                    <a:pt x="782574" y="1143000"/>
                  </a:cubicBezTo>
                  <a:cubicBezTo>
                    <a:pt x="782383" y="1143953"/>
                    <a:pt x="782193" y="1144810"/>
                    <a:pt x="782098" y="1145762"/>
                  </a:cubicBezTo>
                  <a:cubicBezTo>
                    <a:pt x="781240" y="1150525"/>
                    <a:pt x="780764" y="1155287"/>
                    <a:pt x="780764" y="1160336"/>
                  </a:cubicBezTo>
                  <a:cubicBezTo>
                    <a:pt x="780288" y="1185863"/>
                    <a:pt x="744760" y="1217771"/>
                    <a:pt x="709517" y="1218438"/>
                  </a:cubicBezTo>
                  <a:cubicBezTo>
                    <a:pt x="707231" y="1218438"/>
                    <a:pt x="705040" y="1218628"/>
                    <a:pt x="702850" y="1218819"/>
                  </a:cubicBezTo>
                  <a:cubicBezTo>
                    <a:pt x="702183" y="1218914"/>
                    <a:pt x="701421" y="1218914"/>
                    <a:pt x="700754" y="1219010"/>
                  </a:cubicBezTo>
                  <a:cubicBezTo>
                    <a:pt x="700469" y="1219010"/>
                    <a:pt x="700087" y="1219105"/>
                    <a:pt x="699802" y="1219105"/>
                  </a:cubicBezTo>
                  <a:cubicBezTo>
                    <a:pt x="697801" y="1219391"/>
                    <a:pt x="695801" y="1219676"/>
                    <a:pt x="693801" y="1220057"/>
                  </a:cubicBezTo>
                  <a:cubicBezTo>
                    <a:pt x="693420" y="1220153"/>
                    <a:pt x="692943" y="1220248"/>
                    <a:pt x="692563" y="1220248"/>
                  </a:cubicBezTo>
                  <a:cubicBezTo>
                    <a:pt x="658273" y="1227487"/>
                    <a:pt x="631698" y="1255871"/>
                    <a:pt x="627031" y="1290923"/>
                  </a:cubicBezTo>
                  <a:lnTo>
                    <a:pt x="626745" y="1359884"/>
                  </a:lnTo>
                  <a:lnTo>
                    <a:pt x="626174" y="1359884"/>
                  </a:lnTo>
                  <a:lnTo>
                    <a:pt x="626174" y="1359884"/>
                  </a:lnTo>
                  <a:lnTo>
                    <a:pt x="887349" y="1359884"/>
                  </a:lnTo>
                  <a:cubicBezTo>
                    <a:pt x="925830" y="1359884"/>
                    <a:pt x="957358" y="1391412"/>
                    <a:pt x="957358" y="1429893"/>
                  </a:cubicBezTo>
                  <a:lnTo>
                    <a:pt x="957358" y="1454277"/>
                  </a:lnTo>
                  <a:cubicBezTo>
                    <a:pt x="957358" y="1492758"/>
                    <a:pt x="925830" y="1524286"/>
                    <a:pt x="887349" y="1524286"/>
                  </a:cubicBezTo>
                  <a:lnTo>
                    <a:pt x="626174" y="1524286"/>
                  </a:lnTo>
                  <a:lnTo>
                    <a:pt x="626174" y="1814417"/>
                  </a:lnTo>
                  <a:lnTo>
                    <a:pt x="626174" y="1959959"/>
                  </a:lnTo>
                  <a:lnTo>
                    <a:pt x="1134046" y="1959959"/>
                  </a:lnTo>
                  <a:cubicBezTo>
                    <a:pt x="1197388" y="1959959"/>
                    <a:pt x="1249204" y="2011394"/>
                    <a:pt x="1249204" y="2074259"/>
                  </a:cubicBezTo>
                  <a:lnTo>
                    <a:pt x="1249204" y="2667095"/>
                  </a:lnTo>
                  <a:lnTo>
                    <a:pt x="1632204" y="2667095"/>
                  </a:lnTo>
                  <a:lnTo>
                    <a:pt x="1632204" y="1233678"/>
                  </a:lnTo>
                  <a:lnTo>
                    <a:pt x="1496949" y="1233678"/>
                  </a:lnTo>
                  <a:close/>
                  <a:moveTo>
                    <a:pt x="1277398" y="1311974"/>
                  </a:moveTo>
                  <a:cubicBezTo>
                    <a:pt x="1277398" y="1344930"/>
                    <a:pt x="1250442" y="1371981"/>
                    <a:pt x="1217390" y="1371981"/>
                  </a:cubicBezTo>
                  <a:lnTo>
                    <a:pt x="1196530" y="1371981"/>
                  </a:lnTo>
                  <a:cubicBezTo>
                    <a:pt x="1163955" y="1371981"/>
                    <a:pt x="1137190" y="1345597"/>
                    <a:pt x="1136523" y="1313117"/>
                  </a:cubicBezTo>
                  <a:cubicBezTo>
                    <a:pt x="1135666" y="1269016"/>
                    <a:pt x="1099661" y="1233583"/>
                    <a:pt x="1055560" y="1233583"/>
                  </a:cubicBezTo>
                  <a:lnTo>
                    <a:pt x="1016222" y="1233583"/>
                  </a:lnTo>
                  <a:cubicBezTo>
                    <a:pt x="983266" y="1233583"/>
                    <a:pt x="956215" y="1206627"/>
                    <a:pt x="956215" y="1173575"/>
                  </a:cubicBezTo>
                  <a:lnTo>
                    <a:pt x="956215" y="1152716"/>
                  </a:lnTo>
                  <a:cubicBezTo>
                    <a:pt x="956215" y="1119759"/>
                    <a:pt x="983171" y="1092708"/>
                    <a:pt x="1016222" y="1092708"/>
                  </a:cubicBezTo>
                  <a:lnTo>
                    <a:pt x="1181005" y="1092708"/>
                  </a:lnTo>
                  <a:cubicBezTo>
                    <a:pt x="1184148" y="1092708"/>
                    <a:pt x="1186815" y="1092518"/>
                    <a:pt x="1189959" y="1092232"/>
                  </a:cubicBezTo>
                  <a:cubicBezTo>
                    <a:pt x="1192149" y="1091946"/>
                    <a:pt x="1194340" y="1091851"/>
                    <a:pt x="1196530" y="1091851"/>
                  </a:cubicBezTo>
                  <a:lnTo>
                    <a:pt x="1217390" y="1091851"/>
                  </a:lnTo>
                  <a:cubicBezTo>
                    <a:pt x="1250347" y="1091851"/>
                    <a:pt x="1277398" y="1118807"/>
                    <a:pt x="1277398" y="1151858"/>
                  </a:cubicBezTo>
                  <a:lnTo>
                    <a:pt x="1277398" y="1311974"/>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31" name="Freeform: Shape 208">
              <a:extLst>
                <a:ext uri="{FF2B5EF4-FFF2-40B4-BE49-F238E27FC236}">
                  <a16:creationId xmlns:a16="http://schemas.microsoft.com/office/drawing/2014/main" id="{1FCC5F5C-3A43-6DFD-557D-FEB1E3D685EF}"/>
                </a:ext>
              </a:extLst>
            </p:cNvPr>
            <p:cNvSpPr/>
            <p:nvPr/>
          </p:nvSpPr>
          <p:spPr>
            <a:xfrm>
              <a:off x="5121228" y="1934892"/>
              <a:ext cx="931164" cy="707326"/>
            </a:xfrm>
            <a:custGeom>
              <a:avLst/>
              <a:gdLst>
                <a:gd name="connsiteX0" fmla="*/ 931164 w 931164"/>
                <a:gd name="connsiteY0" fmla="*/ 114300 h 707326"/>
                <a:gd name="connsiteX1" fmla="*/ 816007 w 931164"/>
                <a:gd name="connsiteY1" fmla="*/ 0 h 707326"/>
                <a:gd name="connsiteX2" fmla="*/ 308134 w 931164"/>
                <a:gd name="connsiteY2" fmla="*/ 0 h 707326"/>
                <a:gd name="connsiteX3" fmla="*/ 308134 w 931164"/>
                <a:gd name="connsiteY3" fmla="*/ 143827 h 707326"/>
                <a:gd name="connsiteX4" fmla="*/ 308229 w 931164"/>
                <a:gd name="connsiteY4" fmla="*/ 143827 h 707326"/>
                <a:gd name="connsiteX5" fmla="*/ 308229 w 931164"/>
                <a:gd name="connsiteY5" fmla="*/ 206883 h 707326"/>
                <a:gd name="connsiteX6" fmla="*/ 308229 w 931164"/>
                <a:gd name="connsiteY6" fmla="*/ 219742 h 707326"/>
                <a:gd name="connsiteX7" fmla="*/ 308229 w 931164"/>
                <a:gd name="connsiteY7" fmla="*/ 227933 h 707326"/>
                <a:gd name="connsiteX8" fmla="*/ 308134 w 931164"/>
                <a:gd name="connsiteY8" fmla="*/ 229171 h 707326"/>
                <a:gd name="connsiteX9" fmla="*/ 308134 w 931164"/>
                <a:gd name="connsiteY9" fmla="*/ 230696 h 707326"/>
                <a:gd name="connsiteX10" fmla="*/ 307943 w 931164"/>
                <a:gd name="connsiteY10" fmla="*/ 232410 h 707326"/>
                <a:gd name="connsiteX11" fmla="*/ 307658 w 931164"/>
                <a:gd name="connsiteY11" fmla="*/ 235363 h 707326"/>
                <a:gd name="connsiteX12" fmla="*/ 307181 w 931164"/>
                <a:gd name="connsiteY12" fmla="*/ 238411 h 707326"/>
                <a:gd name="connsiteX13" fmla="*/ 306610 w 931164"/>
                <a:gd name="connsiteY13" fmla="*/ 241268 h 707326"/>
                <a:gd name="connsiteX14" fmla="*/ 305848 w 931164"/>
                <a:gd name="connsiteY14" fmla="*/ 244221 h 707326"/>
                <a:gd name="connsiteX15" fmla="*/ 304991 w 931164"/>
                <a:gd name="connsiteY15" fmla="*/ 246983 h 707326"/>
                <a:gd name="connsiteX16" fmla="*/ 303943 w 931164"/>
                <a:gd name="connsiteY16" fmla="*/ 249746 h 707326"/>
                <a:gd name="connsiteX17" fmla="*/ 302895 w 931164"/>
                <a:gd name="connsiteY17" fmla="*/ 252413 h 707326"/>
                <a:gd name="connsiteX18" fmla="*/ 301657 w 931164"/>
                <a:gd name="connsiteY18" fmla="*/ 254984 h 707326"/>
                <a:gd name="connsiteX19" fmla="*/ 300324 w 931164"/>
                <a:gd name="connsiteY19" fmla="*/ 257556 h 707326"/>
                <a:gd name="connsiteX20" fmla="*/ 298799 w 931164"/>
                <a:gd name="connsiteY20" fmla="*/ 260032 h 707326"/>
                <a:gd name="connsiteX21" fmla="*/ 297275 w 931164"/>
                <a:gd name="connsiteY21" fmla="*/ 262414 h 707326"/>
                <a:gd name="connsiteX22" fmla="*/ 295561 w 931164"/>
                <a:gd name="connsiteY22" fmla="*/ 264700 h 707326"/>
                <a:gd name="connsiteX23" fmla="*/ 293751 w 931164"/>
                <a:gd name="connsiteY23" fmla="*/ 266986 h 707326"/>
                <a:gd name="connsiteX24" fmla="*/ 291846 w 931164"/>
                <a:gd name="connsiteY24" fmla="*/ 269081 h 707326"/>
                <a:gd name="connsiteX25" fmla="*/ 289846 w 931164"/>
                <a:gd name="connsiteY25" fmla="*/ 271177 h 707326"/>
                <a:gd name="connsiteX26" fmla="*/ 287655 w 931164"/>
                <a:gd name="connsiteY26" fmla="*/ 273082 h 707326"/>
                <a:gd name="connsiteX27" fmla="*/ 285560 w 931164"/>
                <a:gd name="connsiteY27" fmla="*/ 274892 h 707326"/>
                <a:gd name="connsiteX28" fmla="*/ 283179 w 931164"/>
                <a:gd name="connsiteY28" fmla="*/ 276606 h 707326"/>
                <a:gd name="connsiteX29" fmla="*/ 280892 w 931164"/>
                <a:gd name="connsiteY29" fmla="*/ 278225 h 707326"/>
                <a:gd name="connsiteX30" fmla="*/ 278321 w 931164"/>
                <a:gd name="connsiteY30" fmla="*/ 279749 h 707326"/>
                <a:gd name="connsiteX31" fmla="*/ 275940 w 931164"/>
                <a:gd name="connsiteY31" fmla="*/ 281178 h 707326"/>
                <a:gd name="connsiteX32" fmla="*/ 273177 w 931164"/>
                <a:gd name="connsiteY32" fmla="*/ 282511 h 707326"/>
                <a:gd name="connsiteX33" fmla="*/ 270701 w 931164"/>
                <a:gd name="connsiteY33" fmla="*/ 283655 h 707326"/>
                <a:gd name="connsiteX34" fmla="*/ 267653 w 931164"/>
                <a:gd name="connsiteY34" fmla="*/ 284797 h 707326"/>
                <a:gd name="connsiteX35" fmla="*/ 265272 w 931164"/>
                <a:gd name="connsiteY35" fmla="*/ 285655 h 707326"/>
                <a:gd name="connsiteX36" fmla="*/ 261938 w 931164"/>
                <a:gd name="connsiteY36" fmla="*/ 286512 h 707326"/>
                <a:gd name="connsiteX37" fmla="*/ 259556 w 931164"/>
                <a:gd name="connsiteY37" fmla="*/ 287084 h 707326"/>
                <a:gd name="connsiteX38" fmla="*/ 255651 w 931164"/>
                <a:gd name="connsiteY38" fmla="*/ 287655 h 707326"/>
                <a:gd name="connsiteX39" fmla="*/ 253651 w 931164"/>
                <a:gd name="connsiteY39" fmla="*/ 287941 h 707326"/>
                <a:gd name="connsiteX40" fmla="*/ 247555 w 931164"/>
                <a:gd name="connsiteY40" fmla="*/ 288226 h 707326"/>
                <a:gd name="connsiteX41" fmla="*/ 157449 w 931164"/>
                <a:gd name="connsiteY41" fmla="*/ 288226 h 707326"/>
                <a:gd name="connsiteX42" fmla="*/ 157449 w 931164"/>
                <a:gd name="connsiteY42" fmla="*/ 363950 h 707326"/>
                <a:gd name="connsiteX43" fmla="*/ 96964 w 931164"/>
                <a:gd name="connsiteY43" fmla="*/ 424434 h 707326"/>
                <a:gd name="connsiteX44" fmla="*/ 0 w 931164"/>
                <a:gd name="connsiteY44" fmla="*/ 424434 h 707326"/>
                <a:gd name="connsiteX45" fmla="*/ 0 w 931164"/>
                <a:gd name="connsiteY45" fmla="*/ 707326 h 707326"/>
                <a:gd name="connsiteX46" fmla="*/ 930879 w 931164"/>
                <a:gd name="connsiteY46" fmla="*/ 707326 h 707326"/>
                <a:gd name="connsiteX47" fmla="*/ 930879 w 931164"/>
                <a:gd name="connsiteY47" fmla="*/ 114300 h 70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31164" h="707326">
                  <a:moveTo>
                    <a:pt x="931164" y="114300"/>
                  </a:moveTo>
                  <a:cubicBezTo>
                    <a:pt x="931164" y="51435"/>
                    <a:pt x="879348" y="0"/>
                    <a:pt x="816007" y="0"/>
                  </a:cubicBezTo>
                  <a:lnTo>
                    <a:pt x="308134" y="0"/>
                  </a:lnTo>
                  <a:lnTo>
                    <a:pt x="308134" y="143827"/>
                  </a:lnTo>
                  <a:lnTo>
                    <a:pt x="308229" y="143827"/>
                  </a:lnTo>
                  <a:lnTo>
                    <a:pt x="308229" y="206883"/>
                  </a:lnTo>
                  <a:lnTo>
                    <a:pt x="308229" y="219742"/>
                  </a:lnTo>
                  <a:lnTo>
                    <a:pt x="308229" y="227933"/>
                  </a:lnTo>
                  <a:cubicBezTo>
                    <a:pt x="308229" y="228314"/>
                    <a:pt x="308134" y="228790"/>
                    <a:pt x="308134" y="229171"/>
                  </a:cubicBezTo>
                  <a:lnTo>
                    <a:pt x="308134" y="230696"/>
                  </a:lnTo>
                  <a:cubicBezTo>
                    <a:pt x="308134" y="231267"/>
                    <a:pt x="308039" y="231838"/>
                    <a:pt x="307943" y="232410"/>
                  </a:cubicBezTo>
                  <a:cubicBezTo>
                    <a:pt x="307848" y="233363"/>
                    <a:pt x="307753" y="234315"/>
                    <a:pt x="307658" y="235363"/>
                  </a:cubicBezTo>
                  <a:cubicBezTo>
                    <a:pt x="307563" y="236410"/>
                    <a:pt x="307372" y="237363"/>
                    <a:pt x="307181" y="238411"/>
                  </a:cubicBezTo>
                  <a:cubicBezTo>
                    <a:pt x="306991" y="239363"/>
                    <a:pt x="306800" y="240316"/>
                    <a:pt x="306610" y="241268"/>
                  </a:cubicBezTo>
                  <a:cubicBezTo>
                    <a:pt x="306420" y="242221"/>
                    <a:pt x="306134" y="243173"/>
                    <a:pt x="305848" y="244221"/>
                  </a:cubicBezTo>
                  <a:cubicBezTo>
                    <a:pt x="305562" y="245173"/>
                    <a:pt x="305371" y="246031"/>
                    <a:pt x="304991" y="246983"/>
                  </a:cubicBezTo>
                  <a:cubicBezTo>
                    <a:pt x="304705" y="247936"/>
                    <a:pt x="304324" y="248793"/>
                    <a:pt x="303943" y="249746"/>
                  </a:cubicBezTo>
                  <a:cubicBezTo>
                    <a:pt x="303562" y="250603"/>
                    <a:pt x="303276" y="251555"/>
                    <a:pt x="302895" y="252413"/>
                  </a:cubicBezTo>
                  <a:cubicBezTo>
                    <a:pt x="302514" y="253270"/>
                    <a:pt x="302038" y="254127"/>
                    <a:pt x="301657" y="254984"/>
                  </a:cubicBezTo>
                  <a:cubicBezTo>
                    <a:pt x="301180" y="255842"/>
                    <a:pt x="300800" y="256699"/>
                    <a:pt x="300324" y="257556"/>
                  </a:cubicBezTo>
                  <a:cubicBezTo>
                    <a:pt x="299847" y="258413"/>
                    <a:pt x="299371" y="259175"/>
                    <a:pt x="298799" y="260032"/>
                  </a:cubicBezTo>
                  <a:cubicBezTo>
                    <a:pt x="298323" y="260794"/>
                    <a:pt x="297752" y="261652"/>
                    <a:pt x="297275" y="262414"/>
                  </a:cubicBezTo>
                  <a:cubicBezTo>
                    <a:pt x="296704" y="263176"/>
                    <a:pt x="296133" y="263938"/>
                    <a:pt x="295561" y="264700"/>
                  </a:cubicBezTo>
                  <a:cubicBezTo>
                    <a:pt x="294990" y="265462"/>
                    <a:pt x="294418" y="266224"/>
                    <a:pt x="293751" y="266986"/>
                  </a:cubicBezTo>
                  <a:cubicBezTo>
                    <a:pt x="293180" y="267748"/>
                    <a:pt x="292513" y="268414"/>
                    <a:pt x="291846" y="269081"/>
                  </a:cubicBezTo>
                  <a:cubicBezTo>
                    <a:pt x="291179" y="269748"/>
                    <a:pt x="290513" y="270510"/>
                    <a:pt x="289846" y="271177"/>
                  </a:cubicBezTo>
                  <a:cubicBezTo>
                    <a:pt x="289179" y="271843"/>
                    <a:pt x="288417" y="272510"/>
                    <a:pt x="287655" y="273082"/>
                  </a:cubicBezTo>
                  <a:cubicBezTo>
                    <a:pt x="286988" y="273748"/>
                    <a:pt x="286227" y="274320"/>
                    <a:pt x="285560" y="274892"/>
                  </a:cubicBezTo>
                  <a:cubicBezTo>
                    <a:pt x="284798" y="275463"/>
                    <a:pt x="284036" y="276034"/>
                    <a:pt x="283179" y="276606"/>
                  </a:cubicBezTo>
                  <a:cubicBezTo>
                    <a:pt x="282416" y="277177"/>
                    <a:pt x="281654" y="277749"/>
                    <a:pt x="280892" y="278225"/>
                  </a:cubicBezTo>
                  <a:cubicBezTo>
                    <a:pt x="280035" y="278797"/>
                    <a:pt x="279178" y="279273"/>
                    <a:pt x="278321" y="279749"/>
                  </a:cubicBezTo>
                  <a:cubicBezTo>
                    <a:pt x="277559" y="280225"/>
                    <a:pt x="276796" y="280702"/>
                    <a:pt x="275940" y="281178"/>
                  </a:cubicBezTo>
                  <a:cubicBezTo>
                    <a:pt x="274987" y="281654"/>
                    <a:pt x="274130" y="282130"/>
                    <a:pt x="273177" y="282511"/>
                  </a:cubicBezTo>
                  <a:cubicBezTo>
                    <a:pt x="272320" y="282892"/>
                    <a:pt x="271558" y="283273"/>
                    <a:pt x="270701" y="283655"/>
                  </a:cubicBezTo>
                  <a:cubicBezTo>
                    <a:pt x="269748" y="284035"/>
                    <a:pt x="268700" y="284417"/>
                    <a:pt x="267653" y="284797"/>
                  </a:cubicBezTo>
                  <a:cubicBezTo>
                    <a:pt x="266891" y="285083"/>
                    <a:pt x="266033" y="285369"/>
                    <a:pt x="265272" y="285655"/>
                  </a:cubicBezTo>
                  <a:cubicBezTo>
                    <a:pt x="264129" y="286036"/>
                    <a:pt x="263080" y="286226"/>
                    <a:pt x="261938" y="286512"/>
                  </a:cubicBezTo>
                  <a:cubicBezTo>
                    <a:pt x="261176" y="286702"/>
                    <a:pt x="260414" y="286988"/>
                    <a:pt x="259556" y="287084"/>
                  </a:cubicBezTo>
                  <a:cubicBezTo>
                    <a:pt x="258223" y="287369"/>
                    <a:pt x="256890" y="287464"/>
                    <a:pt x="255651" y="287655"/>
                  </a:cubicBezTo>
                  <a:cubicBezTo>
                    <a:pt x="254984" y="287750"/>
                    <a:pt x="254318" y="287846"/>
                    <a:pt x="253651" y="287941"/>
                  </a:cubicBezTo>
                  <a:cubicBezTo>
                    <a:pt x="251651" y="288131"/>
                    <a:pt x="249650" y="288226"/>
                    <a:pt x="247555" y="288226"/>
                  </a:cubicBezTo>
                  <a:lnTo>
                    <a:pt x="157449" y="288226"/>
                  </a:lnTo>
                  <a:lnTo>
                    <a:pt x="157449" y="363950"/>
                  </a:lnTo>
                  <a:cubicBezTo>
                    <a:pt x="157449" y="397192"/>
                    <a:pt x="130207" y="424434"/>
                    <a:pt x="96964" y="424434"/>
                  </a:cubicBezTo>
                  <a:lnTo>
                    <a:pt x="0" y="424434"/>
                  </a:lnTo>
                  <a:lnTo>
                    <a:pt x="0" y="707326"/>
                  </a:lnTo>
                  <a:lnTo>
                    <a:pt x="930879" y="707326"/>
                  </a:lnTo>
                  <a:lnTo>
                    <a:pt x="930879" y="11430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32" name="Freeform: Shape 209">
              <a:extLst>
                <a:ext uri="{FF2B5EF4-FFF2-40B4-BE49-F238E27FC236}">
                  <a16:creationId xmlns:a16="http://schemas.microsoft.com/office/drawing/2014/main" id="{A5513C28-3C76-89E9-5D2C-4A923534619A}"/>
                </a:ext>
              </a:extLst>
            </p:cNvPr>
            <p:cNvSpPr/>
            <p:nvPr/>
          </p:nvSpPr>
          <p:spPr>
            <a:xfrm>
              <a:off x="4648978" y="4562649"/>
              <a:ext cx="325278" cy="429958"/>
            </a:xfrm>
            <a:custGeom>
              <a:avLst/>
              <a:gdLst>
                <a:gd name="connsiteX0" fmla="*/ 211741 w 325278"/>
                <a:gd name="connsiteY0" fmla="*/ 95 h 429958"/>
                <a:gd name="connsiteX1" fmla="*/ 172593 w 325278"/>
                <a:gd name="connsiteY1" fmla="*/ 95 h 429958"/>
                <a:gd name="connsiteX2" fmla="*/ 107252 w 325278"/>
                <a:gd name="connsiteY2" fmla="*/ 95 h 429958"/>
                <a:gd name="connsiteX3" fmla="*/ 95155 w 325278"/>
                <a:gd name="connsiteY3" fmla="*/ 95 h 429958"/>
                <a:gd name="connsiteX4" fmla="*/ 0 w 325278"/>
                <a:gd name="connsiteY4" fmla="*/ 95 h 429958"/>
                <a:gd name="connsiteX5" fmla="*/ 11621 w 325278"/>
                <a:gd name="connsiteY5" fmla="*/ 34004 h 429958"/>
                <a:gd name="connsiteX6" fmla="*/ 11049 w 325278"/>
                <a:gd name="connsiteY6" fmla="*/ 232791 h 429958"/>
                <a:gd name="connsiteX7" fmla="*/ 11049 w 325278"/>
                <a:gd name="connsiteY7" fmla="*/ 236315 h 429958"/>
                <a:gd name="connsiteX8" fmla="*/ 11049 w 325278"/>
                <a:gd name="connsiteY8" fmla="*/ 237839 h 429958"/>
                <a:gd name="connsiteX9" fmla="*/ 11049 w 325278"/>
                <a:gd name="connsiteY9" fmla="*/ 237839 h 429958"/>
                <a:gd name="connsiteX10" fmla="*/ 11144 w 325278"/>
                <a:gd name="connsiteY10" fmla="*/ 239268 h 429958"/>
                <a:gd name="connsiteX11" fmla="*/ 11144 w 325278"/>
                <a:gd name="connsiteY11" fmla="*/ 239268 h 429958"/>
                <a:gd name="connsiteX12" fmla="*/ 11239 w 325278"/>
                <a:gd name="connsiteY12" fmla="*/ 240697 h 429958"/>
                <a:gd name="connsiteX13" fmla="*/ 11239 w 325278"/>
                <a:gd name="connsiteY13" fmla="*/ 240697 h 429958"/>
                <a:gd name="connsiteX14" fmla="*/ 11335 w 325278"/>
                <a:gd name="connsiteY14" fmla="*/ 242126 h 429958"/>
                <a:gd name="connsiteX15" fmla="*/ 11335 w 325278"/>
                <a:gd name="connsiteY15" fmla="*/ 242126 h 429958"/>
                <a:gd name="connsiteX16" fmla="*/ 11525 w 325278"/>
                <a:gd name="connsiteY16" fmla="*/ 243554 h 429958"/>
                <a:gd name="connsiteX17" fmla="*/ 11525 w 325278"/>
                <a:gd name="connsiteY17" fmla="*/ 243554 h 429958"/>
                <a:gd name="connsiteX18" fmla="*/ 11716 w 325278"/>
                <a:gd name="connsiteY18" fmla="*/ 244983 h 429958"/>
                <a:gd name="connsiteX19" fmla="*/ 11716 w 325278"/>
                <a:gd name="connsiteY19" fmla="*/ 244983 h 429958"/>
                <a:gd name="connsiteX20" fmla="*/ 12002 w 325278"/>
                <a:gd name="connsiteY20" fmla="*/ 246412 h 429958"/>
                <a:gd name="connsiteX21" fmla="*/ 12002 w 325278"/>
                <a:gd name="connsiteY21" fmla="*/ 246412 h 429958"/>
                <a:gd name="connsiteX22" fmla="*/ 12287 w 325278"/>
                <a:gd name="connsiteY22" fmla="*/ 247841 h 429958"/>
                <a:gd name="connsiteX23" fmla="*/ 12287 w 325278"/>
                <a:gd name="connsiteY23" fmla="*/ 247841 h 429958"/>
                <a:gd name="connsiteX24" fmla="*/ 12573 w 325278"/>
                <a:gd name="connsiteY24" fmla="*/ 249269 h 429958"/>
                <a:gd name="connsiteX25" fmla="*/ 12573 w 325278"/>
                <a:gd name="connsiteY25" fmla="*/ 249269 h 429958"/>
                <a:gd name="connsiteX26" fmla="*/ 12954 w 325278"/>
                <a:gd name="connsiteY26" fmla="*/ 250698 h 429958"/>
                <a:gd name="connsiteX27" fmla="*/ 12954 w 325278"/>
                <a:gd name="connsiteY27" fmla="*/ 250698 h 429958"/>
                <a:gd name="connsiteX28" fmla="*/ 64294 w 325278"/>
                <a:gd name="connsiteY28" fmla="*/ 293751 h 429958"/>
                <a:gd name="connsiteX29" fmla="*/ 64294 w 325278"/>
                <a:gd name="connsiteY29" fmla="*/ 293751 h 429958"/>
                <a:gd name="connsiteX30" fmla="*/ 65722 w 325278"/>
                <a:gd name="connsiteY30" fmla="*/ 293846 h 429958"/>
                <a:gd name="connsiteX31" fmla="*/ 65722 w 325278"/>
                <a:gd name="connsiteY31" fmla="*/ 293846 h 429958"/>
                <a:gd name="connsiteX32" fmla="*/ 66199 w 325278"/>
                <a:gd name="connsiteY32" fmla="*/ 293846 h 429958"/>
                <a:gd name="connsiteX33" fmla="*/ 69342 w 325278"/>
                <a:gd name="connsiteY33" fmla="*/ 293941 h 429958"/>
                <a:gd name="connsiteX34" fmla="*/ 76771 w 325278"/>
                <a:gd name="connsiteY34" fmla="*/ 293941 h 429958"/>
                <a:gd name="connsiteX35" fmla="*/ 157734 w 325278"/>
                <a:gd name="connsiteY35" fmla="*/ 374904 h 429958"/>
                <a:gd name="connsiteX36" fmla="*/ 157734 w 325278"/>
                <a:gd name="connsiteY36" fmla="*/ 429959 h 429958"/>
                <a:gd name="connsiteX37" fmla="*/ 268510 w 325278"/>
                <a:gd name="connsiteY37" fmla="*/ 429959 h 429958"/>
                <a:gd name="connsiteX38" fmla="*/ 325279 w 325278"/>
                <a:gd name="connsiteY38" fmla="*/ 381476 h 429958"/>
                <a:gd name="connsiteX39" fmla="*/ 325279 w 325278"/>
                <a:gd name="connsiteY39" fmla="*/ 0 h 429958"/>
                <a:gd name="connsiteX40" fmla="*/ 211741 w 325278"/>
                <a:gd name="connsiteY40" fmla="*/ 0 h 42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5278" h="429958">
                  <a:moveTo>
                    <a:pt x="211741" y="95"/>
                  </a:moveTo>
                  <a:lnTo>
                    <a:pt x="172593" y="95"/>
                  </a:lnTo>
                  <a:lnTo>
                    <a:pt x="107252" y="95"/>
                  </a:lnTo>
                  <a:lnTo>
                    <a:pt x="95155" y="95"/>
                  </a:lnTo>
                  <a:lnTo>
                    <a:pt x="0" y="95"/>
                  </a:lnTo>
                  <a:cubicBezTo>
                    <a:pt x="7239" y="7906"/>
                    <a:pt x="11716" y="18764"/>
                    <a:pt x="11621" y="34004"/>
                  </a:cubicBezTo>
                  <a:lnTo>
                    <a:pt x="11049" y="232791"/>
                  </a:lnTo>
                  <a:lnTo>
                    <a:pt x="11049" y="236315"/>
                  </a:lnTo>
                  <a:lnTo>
                    <a:pt x="11049" y="237839"/>
                  </a:lnTo>
                  <a:lnTo>
                    <a:pt x="11049" y="237839"/>
                  </a:lnTo>
                  <a:lnTo>
                    <a:pt x="11144" y="239268"/>
                  </a:lnTo>
                  <a:lnTo>
                    <a:pt x="11144" y="239268"/>
                  </a:lnTo>
                  <a:lnTo>
                    <a:pt x="11239" y="240697"/>
                  </a:lnTo>
                  <a:lnTo>
                    <a:pt x="11239" y="240697"/>
                  </a:lnTo>
                  <a:lnTo>
                    <a:pt x="11335" y="242126"/>
                  </a:lnTo>
                  <a:lnTo>
                    <a:pt x="11335" y="242126"/>
                  </a:lnTo>
                  <a:lnTo>
                    <a:pt x="11525" y="243554"/>
                  </a:lnTo>
                  <a:lnTo>
                    <a:pt x="11525" y="243554"/>
                  </a:lnTo>
                  <a:lnTo>
                    <a:pt x="11716" y="244983"/>
                  </a:lnTo>
                  <a:lnTo>
                    <a:pt x="11716" y="244983"/>
                  </a:lnTo>
                  <a:lnTo>
                    <a:pt x="12002" y="246412"/>
                  </a:lnTo>
                  <a:lnTo>
                    <a:pt x="12002" y="246412"/>
                  </a:lnTo>
                  <a:cubicBezTo>
                    <a:pt x="12097" y="246888"/>
                    <a:pt x="12192" y="247364"/>
                    <a:pt x="12287" y="247841"/>
                  </a:cubicBezTo>
                  <a:lnTo>
                    <a:pt x="12287" y="247841"/>
                  </a:lnTo>
                  <a:lnTo>
                    <a:pt x="12573" y="249269"/>
                  </a:lnTo>
                  <a:lnTo>
                    <a:pt x="12573" y="249269"/>
                  </a:lnTo>
                  <a:lnTo>
                    <a:pt x="12954" y="250698"/>
                  </a:lnTo>
                  <a:lnTo>
                    <a:pt x="12954" y="250698"/>
                  </a:lnTo>
                  <a:cubicBezTo>
                    <a:pt x="19145" y="273844"/>
                    <a:pt x="39434" y="291655"/>
                    <a:pt x="64294" y="293751"/>
                  </a:cubicBezTo>
                  <a:lnTo>
                    <a:pt x="64294" y="293751"/>
                  </a:lnTo>
                  <a:lnTo>
                    <a:pt x="65722" y="293846"/>
                  </a:lnTo>
                  <a:lnTo>
                    <a:pt x="65722" y="293846"/>
                  </a:lnTo>
                  <a:lnTo>
                    <a:pt x="66199" y="293846"/>
                  </a:lnTo>
                  <a:cubicBezTo>
                    <a:pt x="67342" y="293846"/>
                    <a:pt x="68199" y="293941"/>
                    <a:pt x="69342" y="293941"/>
                  </a:cubicBezTo>
                  <a:lnTo>
                    <a:pt x="76771" y="293941"/>
                  </a:lnTo>
                  <a:cubicBezTo>
                    <a:pt x="121349" y="293941"/>
                    <a:pt x="157734" y="330327"/>
                    <a:pt x="157734" y="374904"/>
                  </a:cubicBezTo>
                  <a:lnTo>
                    <a:pt x="157734" y="429959"/>
                  </a:lnTo>
                  <a:lnTo>
                    <a:pt x="268510" y="429959"/>
                  </a:lnTo>
                  <a:cubicBezTo>
                    <a:pt x="297085" y="429959"/>
                    <a:pt x="320898" y="408813"/>
                    <a:pt x="325279" y="381476"/>
                  </a:cubicBezTo>
                  <a:cubicBezTo>
                    <a:pt x="325279" y="381476"/>
                    <a:pt x="325279" y="80201"/>
                    <a:pt x="325279" y="0"/>
                  </a:cubicBezTo>
                  <a:lnTo>
                    <a:pt x="211741"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33" name="Freeform: Shape 210">
              <a:extLst>
                <a:ext uri="{FF2B5EF4-FFF2-40B4-BE49-F238E27FC236}">
                  <a16:creationId xmlns:a16="http://schemas.microsoft.com/office/drawing/2014/main" id="{7ADE0FCB-A62E-1C71-2B2B-1B4D120E91D7}"/>
                </a:ext>
              </a:extLst>
            </p:cNvPr>
            <p:cNvSpPr/>
            <p:nvPr/>
          </p:nvSpPr>
          <p:spPr>
            <a:xfrm>
              <a:off x="4486386" y="4284043"/>
              <a:ext cx="276796" cy="278606"/>
            </a:xfrm>
            <a:custGeom>
              <a:avLst/>
              <a:gdLst>
                <a:gd name="connsiteX0" fmla="*/ 115158 w 276796"/>
                <a:gd name="connsiteY0" fmla="*/ 95 h 278606"/>
                <a:gd name="connsiteX1" fmla="*/ 0 w 276796"/>
                <a:gd name="connsiteY1" fmla="*/ 114395 h 278606"/>
                <a:gd name="connsiteX2" fmla="*/ 0 w 276796"/>
                <a:gd name="connsiteY2" fmla="*/ 164402 h 278606"/>
                <a:gd name="connsiteX3" fmla="*/ 191 w 276796"/>
                <a:gd name="connsiteY3" fmla="*/ 167545 h 278606"/>
                <a:gd name="connsiteX4" fmla="*/ 0 w 276796"/>
                <a:gd name="connsiteY4" fmla="*/ 170688 h 278606"/>
                <a:gd name="connsiteX5" fmla="*/ 0 w 276796"/>
                <a:gd name="connsiteY5" fmla="*/ 278606 h 278606"/>
                <a:gd name="connsiteX6" fmla="*/ 115158 w 276796"/>
                <a:gd name="connsiteY6" fmla="*/ 278606 h 278606"/>
                <a:gd name="connsiteX7" fmla="*/ 154305 w 276796"/>
                <a:gd name="connsiteY7" fmla="*/ 278606 h 278606"/>
                <a:gd name="connsiteX8" fmla="*/ 276797 w 276796"/>
                <a:gd name="connsiteY8" fmla="*/ 278606 h 278606"/>
                <a:gd name="connsiteX9" fmla="*/ 276797 w 276796"/>
                <a:gd name="connsiteY9" fmla="*/ 0 h 278606"/>
                <a:gd name="connsiteX10" fmla="*/ 115158 w 276796"/>
                <a:gd name="connsiteY10" fmla="*/ 0 h 2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6796" h="278606">
                  <a:moveTo>
                    <a:pt x="115158" y="95"/>
                  </a:moveTo>
                  <a:cubicBezTo>
                    <a:pt x="51816" y="95"/>
                    <a:pt x="0" y="51530"/>
                    <a:pt x="0" y="114395"/>
                  </a:cubicBezTo>
                  <a:lnTo>
                    <a:pt x="0" y="164402"/>
                  </a:lnTo>
                  <a:cubicBezTo>
                    <a:pt x="0" y="165449"/>
                    <a:pt x="95" y="166497"/>
                    <a:pt x="191" y="167545"/>
                  </a:cubicBezTo>
                  <a:cubicBezTo>
                    <a:pt x="95" y="168593"/>
                    <a:pt x="0" y="169640"/>
                    <a:pt x="0" y="170688"/>
                  </a:cubicBezTo>
                  <a:lnTo>
                    <a:pt x="0" y="278606"/>
                  </a:lnTo>
                  <a:lnTo>
                    <a:pt x="115158" y="278606"/>
                  </a:lnTo>
                  <a:lnTo>
                    <a:pt x="154305" y="278606"/>
                  </a:lnTo>
                  <a:lnTo>
                    <a:pt x="276797" y="278606"/>
                  </a:lnTo>
                  <a:lnTo>
                    <a:pt x="276797" y="0"/>
                  </a:lnTo>
                  <a:lnTo>
                    <a:pt x="115158"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34" name="Freeform: Shape 211">
              <a:extLst>
                <a:ext uri="{FF2B5EF4-FFF2-40B4-BE49-F238E27FC236}">
                  <a16:creationId xmlns:a16="http://schemas.microsoft.com/office/drawing/2014/main" id="{351030E1-B5B9-DF8D-6D7D-FF99710A44FB}"/>
                </a:ext>
              </a:extLst>
            </p:cNvPr>
            <p:cNvSpPr/>
            <p:nvPr/>
          </p:nvSpPr>
          <p:spPr>
            <a:xfrm>
              <a:off x="4651074" y="3828367"/>
              <a:ext cx="633888" cy="734377"/>
            </a:xfrm>
            <a:custGeom>
              <a:avLst/>
              <a:gdLst>
                <a:gd name="connsiteX0" fmla="*/ 575024 w 633888"/>
                <a:gd name="connsiteY0" fmla="*/ 0 h 734377"/>
                <a:gd name="connsiteX1" fmla="*/ 472916 w 633888"/>
                <a:gd name="connsiteY1" fmla="*/ 0 h 734377"/>
                <a:gd name="connsiteX2" fmla="*/ 273463 w 633888"/>
                <a:gd name="connsiteY2" fmla="*/ 0 h 734377"/>
                <a:gd name="connsiteX3" fmla="*/ 247079 w 633888"/>
                <a:gd name="connsiteY3" fmla="*/ 0 h 734377"/>
                <a:gd name="connsiteX4" fmla="*/ 233648 w 633888"/>
                <a:gd name="connsiteY4" fmla="*/ 857 h 734377"/>
                <a:gd name="connsiteX5" fmla="*/ 82487 w 633888"/>
                <a:gd name="connsiteY5" fmla="*/ 1238 h 734377"/>
                <a:gd name="connsiteX6" fmla="*/ 762 w 633888"/>
                <a:gd name="connsiteY6" fmla="*/ 762 h 734377"/>
                <a:gd name="connsiteX7" fmla="*/ 762 w 633888"/>
                <a:gd name="connsiteY7" fmla="*/ 141637 h 734377"/>
                <a:gd name="connsiteX8" fmla="*/ 0 w 633888"/>
                <a:gd name="connsiteY8" fmla="*/ 141637 h 734377"/>
                <a:gd name="connsiteX9" fmla="*/ 0 w 633888"/>
                <a:gd name="connsiteY9" fmla="*/ 455771 h 734377"/>
                <a:gd name="connsiteX10" fmla="*/ 93250 w 633888"/>
                <a:gd name="connsiteY10" fmla="*/ 455771 h 734377"/>
                <a:gd name="connsiteX11" fmla="*/ 105346 w 633888"/>
                <a:gd name="connsiteY11" fmla="*/ 455771 h 734377"/>
                <a:gd name="connsiteX12" fmla="*/ 110776 w 633888"/>
                <a:gd name="connsiteY12" fmla="*/ 455771 h 734377"/>
                <a:gd name="connsiteX13" fmla="*/ 110776 w 633888"/>
                <a:gd name="connsiteY13" fmla="*/ 734378 h 734377"/>
                <a:gd name="connsiteX14" fmla="*/ 182309 w 633888"/>
                <a:gd name="connsiteY14" fmla="*/ 734378 h 734377"/>
                <a:gd name="connsiteX15" fmla="*/ 218504 w 633888"/>
                <a:gd name="connsiteY15" fmla="*/ 734378 h 734377"/>
                <a:gd name="connsiteX16" fmla="*/ 324993 w 633888"/>
                <a:gd name="connsiteY16" fmla="*/ 734378 h 734377"/>
                <a:gd name="connsiteX17" fmla="*/ 324993 w 633888"/>
                <a:gd name="connsiteY17" fmla="*/ 711232 h 734377"/>
                <a:gd name="connsiteX18" fmla="*/ 437674 w 633888"/>
                <a:gd name="connsiteY18" fmla="*/ 615029 h 734377"/>
                <a:gd name="connsiteX19" fmla="*/ 633889 w 633888"/>
                <a:gd name="connsiteY19" fmla="*/ 615029 h 734377"/>
                <a:gd name="connsiteX20" fmla="*/ 633889 w 633888"/>
                <a:gd name="connsiteY20" fmla="*/ 512731 h 734377"/>
                <a:gd name="connsiteX21" fmla="*/ 633889 w 633888"/>
                <a:gd name="connsiteY21" fmla="*/ 232886 h 734377"/>
                <a:gd name="connsiteX22" fmla="*/ 633889 w 633888"/>
                <a:gd name="connsiteY22" fmla="*/ 58769 h 734377"/>
                <a:gd name="connsiteX23" fmla="*/ 575024 w 633888"/>
                <a:gd name="connsiteY23" fmla="*/ 0 h 734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3888" h="734377">
                  <a:moveTo>
                    <a:pt x="575024" y="0"/>
                  </a:moveTo>
                  <a:lnTo>
                    <a:pt x="472916" y="0"/>
                  </a:lnTo>
                  <a:lnTo>
                    <a:pt x="273463" y="0"/>
                  </a:lnTo>
                  <a:lnTo>
                    <a:pt x="247079" y="0"/>
                  </a:lnTo>
                  <a:cubicBezTo>
                    <a:pt x="242506" y="0"/>
                    <a:pt x="238030" y="381"/>
                    <a:pt x="233648" y="857"/>
                  </a:cubicBezTo>
                  <a:lnTo>
                    <a:pt x="82487" y="1238"/>
                  </a:lnTo>
                  <a:lnTo>
                    <a:pt x="762" y="762"/>
                  </a:lnTo>
                  <a:lnTo>
                    <a:pt x="762" y="141637"/>
                  </a:lnTo>
                  <a:lnTo>
                    <a:pt x="0" y="141637"/>
                  </a:lnTo>
                  <a:lnTo>
                    <a:pt x="0" y="455771"/>
                  </a:lnTo>
                  <a:lnTo>
                    <a:pt x="93250" y="455771"/>
                  </a:lnTo>
                  <a:lnTo>
                    <a:pt x="105346" y="455771"/>
                  </a:lnTo>
                  <a:lnTo>
                    <a:pt x="110776" y="455771"/>
                  </a:lnTo>
                  <a:lnTo>
                    <a:pt x="110776" y="734378"/>
                  </a:lnTo>
                  <a:lnTo>
                    <a:pt x="182309" y="734378"/>
                  </a:lnTo>
                  <a:lnTo>
                    <a:pt x="218504" y="734378"/>
                  </a:lnTo>
                  <a:lnTo>
                    <a:pt x="324993" y="734378"/>
                  </a:lnTo>
                  <a:lnTo>
                    <a:pt x="324993" y="711232"/>
                  </a:lnTo>
                  <a:cubicBezTo>
                    <a:pt x="333756" y="656939"/>
                    <a:pt x="381000" y="615029"/>
                    <a:pt x="437674" y="615029"/>
                  </a:cubicBezTo>
                  <a:lnTo>
                    <a:pt x="633889" y="615029"/>
                  </a:lnTo>
                  <a:lnTo>
                    <a:pt x="633889" y="512731"/>
                  </a:lnTo>
                  <a:lnTo>
                    <a:pt x="633889" y="232886"/>
                  </a:lnTo>
                  <a:lnTo>
                    <a:pt x="633889" y="58769"/>
                  </a:lnTo>
                  <a:cubicBezTo>
                    <a:pt x="633699" y="26384"/>
                    <a:pt x="607314" y="0"/>
                    <a:pt x="575024" y="0"/>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grpSp>
      <p:pic>
        <p:nvPicPr>
          <p:cNvPr id="4" name="Picture 3">
            <a:extLst>
              <a:ext uri="{FF2B5EF4-FFF2-40B4-BE49-F238E27FC236}">
                <a16:creationId xmlns:a16="http://schemas.microsoft.com/office/drawing/2014/main" id="{EC377B00-0AF7-B71C-FE7A-7668B8FA811F}"/>
              </a:ext>
            </a:extLst>
          </p:cNvPr>
          <p:cNvPicPr>
            <a:picLocks noChangeAspect="1"/>
          </p:cNvPicPr>
          <p:nvPr userDrawn="1"/>
        </p:nvPicPr>
        <p:blipFill>
          <a:blip r:embed="rId2"/>
          <a:stretch>
            <a:fillRect/>
          </a:stretch>
        </p:blipFill>
        <p:spPr>
          <a:xfrm>
            <a:off x="267084" y="4908320"/>
            <a:ext cx="1002752" cy="305962"/>
          </a:xfrm>
          <a:prstGeom prst="rect">
            <a:avLst/>
          </a:prstGeom>
        </p:spPr>
      </p:pic>
      <p:pic>
        <p:nvPicPr>
          <p:cNvPr id="5" name="Picture 4">
            <a:extLst>
              <a:ext uri="{FF2B5EF4-FFF2-40B4-BE49-F238E27FC236}">
                <a16:creationId xmlns:a16="http://schemas.microsoft.com/office/drawing/2014/main" id="{DA8719E4-0331-26D0-F9FF-DA668F414E8B}"/>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400559" y="4910476"/>
            <a:ext cx="816258" cy="529678"/>
          </a:xfrm>
          <a:prstGeom prst="rect">
            <a:avLst/>
          </a:prstGeom>
        </p:spPr>
      </p:pic>
      <p:pic>
        <p:nvPicPr>
          <p:cNvPr id="7" name="Picture 6">
            <a:extLst>
              <a:ext uri="{FF2B5EF4-FFF2-40B4-BE49-F238E27FC236}">
                <a16:creationId xmlns:a16="http://schemas.microsoft.com/office/drawing/2014/main" id="{DD74A333-8FE5-6D40-98FD-9C6051FE79A6}"/>
              </a:ext>
            </a:extLst>
          </p:cNvPr>
          <p:cNvPicPr>
            <a:picLocks noChangeAspect="1"/>
          </p:cNvPicPr>
          <p:nvPr userDrawn="1"/>
        </p:nvPicPr>
        <p:blipFill>
          <a:blip r:embed="rId4"/>
          <a:srcRect/>
          <a:stretch/>
        </p:blipFill>
        <p:spPr>
          <a:xfrm>
            <a:off x="356035" y="1722461"/>
            <a:ext cx="824853" cy="322740"/>
          </a:xfrm>
          <a:prstGeom prst="rect">
            <a:avLst/>
          </a:prstGeom>
        </p:spPr>
      </p:pic>
      <p:pic>
        <p:nvPicPr>
          <p:cNvPr id="10" name="Picture 9">
            <a:extLst>
              <a:ext uri="{FF2B5EF4-FFF2-40B4-BE49-F238E27FC236}">
                <a16:creationId xmlns:a16="http://schemas.microsoft.com/office/drawing/2014/main" id="{3251EE68-3A44-F533-DFEF-9CB635BB161C}"/>
              </a:ext>
            </a:extLst>
          </p:cNvPr>
          <p:cNvPicPr>
            <a:picLocks noChangeAspect="1"/>
          </p:cNvPicPr>
          <p:nvPr userDrawn="1"/>
        </p:nvPicPr>
        <p:blipFill>
          <a:blip r:embed="rId5"/>
          <a:stretch>
            <a:fillRect/>
          </a:stretch>
        </p:blipFill>
        <p:spPr>
          <a:xfrm>
            <a:off x="369259" y="2852396"/>
            <a:ext cx="798402" cy="325052"/>
          </a:xfrm>
          <a:prstGeom prst="rect">
            <a:avLst/>
          </a:prstGeom>
        </p:spPr>
      </p:pic>
      <p:pic>
        <p:nvPicPr>
          <p:cNvPr id="11" name="Picture 12" descr="http://www.ingenieurjobs.de/content/tinybrowser/image/transnetbw_gmbh.jpg">
            <a:extLst>
              <a:ext uri="{FF2B5EF4-FFF2-40B4-BE49-F238E27FC236}">
                <a16:creationId xmlns:a16="http://schemas.microsoft.com/office/drawing/2014/main" id="{94437922-CC9B-CDE9-E30E-41CD22D04752}"/>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295312" y="5533824"/>
            <a:ext cx="1026752" cy="164762"/>
          </a:xfrm>
          <a:prstGeom prst="rect">
            <a:avLst/>
          </a:prstGeom>
          <a:noFill/>
          <a:extLst>
            <a:ext uri="{909E8E84-426E-40dd-AFC4-6F175D3DCCD1}">
              <a14:hiddenFill xmlns:a14="http://schemas.microsoft.com/office/drawing/2010/main" xmlns="">
                <a:solidFill>
                  <a:srgbClr val="FFFFFF"/>
                </a:solidFill>
              </a14:hiddenFill>
            </a:ext>
          </a:extLst>
        </p:spPr>
      </p:pic>
      <p:pic>
        <p:nvPicPr>
          <p:cNvPr id="12" name="Picture 11">
            <a:extLst>
              <a:ext uri="{FF2B5EF4-FFF2-40B4-BE49-F238E27FC236}">
                <a16:creationId xmlns:a16="http://schemas.microsoft.com/office/drawing/2014/main" id="{4C7FACEF-D0EB-A833-2447-40C59AEE7B9B}"/>
              </a:ext>
            </a:extLst>
          </p:cNvPr>
          <p:cNvPicPr>
            <a:picLocks noChangeAspect="1"/>
          </p:cNvPicPr>
          <p:nvPr userDrawn="1"/>
        </p:nvPicPr>
        <p:blipFill>
          <a:blip r:embed="rId7"/>
          <a:stretch>
            <a:fillRect/>
          </a:stretch>
        </p:blipFill>
        <p:spPr>
          <a:xfrm>
            <a:off x="1435726" y="1383803"/>
            <a:ext cx="745925" cy="379476"/>
          </a:xfrm>
          <a:prstGeom prst="rect">
            <a:avLst/>
          </a:prstGeom>
        </p:spPr>
      </p:pic>
      <p:pic>
        <p:nvPicPr>
          <p:cNvPr id="17" name="Picture 16">
            <a:extLst>
              <a:ext uri="{FF2B5EF4-FFF2-40B4-BE49-F238E27FC236}">
                <a16:creationId xmlns:a16="http://schemas.microsoft.com/office/drawing/2014/main" id="{409F7DC9-19CD-C8EA-06B2-C6A13D79BF49}"/>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r="66927"/>
          <a:stretch/>
        </p:blipFill>
        <p:spPr>
          <a:xfrm>
            <a:off x="1420375" y="1999852"/>
            <a:ext cx="776629" cy="253934"/>
          </a:xfrm>
          <a:prstGeom prst="rect">
            <a:avLst/>
          </a:prstGeom>
        </p:spPr>
      </p:pic>
      <p:pic>
        <p:nvPicPr>
          <p:cNvPr id="18" name="Picture 17">
            <a:extLst>
              <a:ext uri="{FF2B5EF4-FFF2-40B4-BE49-F238E27FC236}">
                <a16:creationId xmlns:a16="http://schemas.microsoft.com/office/drawing/2014/main" id="{A9E03547-6A10-BB31-5C54-A2D000809C4F}"/>
              </a:ext>
            </a:extLst>
          </p:cNvPr>
          <p:cNvPicPr>
            <a:picLocks noChangeAspect="1"/>
          </p:cNvPicPr>
          <p:nvPr userDrawn="1"/>
        </p:nvPicPr>
        <p:blipFill>
          <a:blip r:embed="rId9" cstate="email">
            <a:extLst>
              <a:ext uri="{28A0092B-C50C-407E-A947-70E740481C1C}">
                <a14:useLocalDpi xmlns:a14="http://schemas.microsoft.com/office/drawing/2010/main" val="0"/>
              </a:ext>
            </a:extLst>
          </a:blip>
          <a:stretch>
            <a:fillRect/>
          </a:stretch>
        </p:blipFill>
        <p:spPr>
          <a:xfrm>
            <a:off x="403638" y="4451553"/>
            <a:ext cx="729644" cy="196596"/>
          </a:xfrm>
          <a:prstGeom prst="rect">
            <a:avLst/>
          </a:prstGeom>
        </p:spPr>
      </p:pic>
      <p:pic>
        <p:nvPicPr>
          <p:cNvPr id="143" name="Picture 142">
            <a:extLst>
              <a:ext uri="{FF2B5EF4-FFF2-40B4-BE49-F238E27FC236}">
                <a16:creationId xmlns:a16="http://schemas.microsoft.com/office/drawing/2014/main" id="{8D35BA22-2156-70B4-9B55-AD78DAA92EA3}"/>
              </a:ext>
            </a:extLst>
          </p:cNvPr>
          <p:cNvPicPr>
            <a:picLocks noChangeAspect="1"/>
          </p:cNvPicPr>
          <p:nvPr userDrawn="1"/>
        </p:nvPicPr>
        <p:blipFill>
          <a:blip r:embed="rId10"/>
          <a:stretch>
            <a:fillRect/>
          </a:stretch>
        </p:blipFill>
        <p:spPr>
          <a:xfrm>
            <a:off x="268651" y="5997916"/>
            <a:ext cx="780049" cy="396119"/>
          </a:xfrm>
          <a:prstGeom prst="rect">
            <a:avLst/>
          </a:prstGeom>
        </p:spPr>
      </p:pic>
      <p:pic>
        <p:nvPicPr>
          <p:cNvPr id="144" name="Picture 143">
            <a:extLst>
              <a:ext uri="{FF2B5EF4-FFF2-40B4-BE49-F238E27FC236}">
                <a16:creationId xmlns:a16="http://schemas.microsoft.com/office/drawing/2014/main" id="{E273ED0B-00F4-2898-35F6-49F2B0BEF669}"/>
              </a:ext>
            </a:extLst>
          </p:cNvPr>
          <p:cNvPicPr>
            <a:picLocks noChangeAspect="1"/>
          </p:cNvPicPr>
          <p:nvPr userDrawn="1"/>
        </p:nvPicPr>
        <p:blipFill>
          <a:blip r:embed="rId11" cstate="hqprint">
            <a:extLst>
              <a:ext uri="{28A0092B-C50C-407E-A947-70E740481C1C}">
                <a14:useLocalDpi xmlns:a14="http://schemas.microsoft.com/office/drawing/2010/main"/>
              </a:ext>
            </a:extLst>
          </a:blip>
          <a:stretch>
            <a:fillRect/>
          </a:stretch>
        </p:blipFill>
        <p:spPr>
          <a:xfrm>
            <a:off x="1564902" y="2506805"/>
            <a:ext cx="487572" cy="366468"/>
          </a:xfrm>
          <a:prstGeom prst="rect">
            <a:avLst/>
          </a:prstGeom>
        </p:spPr>
      </p:pic>
      <p:pic>
        <p:nvPicPr>
          <p:cNvPr id="145" name="Picture 144">
            <a:extLst>
              <a:ext uri="{FF2B5EF4-FFF2-40B4-BE49-F238E27FC236}">
                <a16:creationId xmlns:a16="http://schemas.microsoft.com/office/drawing/2014/main" id="{92E0ED8B-8FF8-6230-E50F-B449525E15BA}"/>
              </a:ext>
            </a:extLst>
          </p:cNvPr>
          <p:cNvPicPr>
            <a:picLocks noChangeAspect="1"/>
          </p:cNvPicPr>
          <p:nvPr userDrawn="1"/>
        </p:nvPicPr>
        <p:blipFill>
          <a:blip r:embed="rId12"/>
          <a:stretch>
            <a:fillRect/>
          </a:stretch>
        </p:blipFill>
        <p:spPr>
          <a:xfrm>
            <a:off x="326088" y="3390025"/>
            <a:ext cx="884747" cy="345045"/>
          </a:xfrm>
          <a:prstGeom prst="rect">
            <a:avLst/>
          </a:prstGeom>
        </p:spPr>
      </p:pic>
      <p:pic>
        <p:nvPicPr>
          <p:cNvPr id="146" name="Picture 145">
            <a:extLst>
              <a:ext uri="{FF2B5EF4-FFF2-40B4-BE49-F238E27FC236}">
                <a16:creationId xmlns:a16="http://schemas.microsoft.com/office/drawing/2014/main" id="{261977AB-89D4-A8E4-92F3-F2B799867316}"/>
              </a:ext>
            </a:extLst>
          </p:cNvPr>
          <p:cNvPicPr>
            <a:picLocks noChangeAspect="1"/>
          </p:cNvPicPr>
          <p:nvPr userDrawn="1"/>
        </p:nvPicPr>
        <p:blipFill>
          <a:blip r:embed="rId13"/>
          <a:stretch>
            <a:fillRect/>
          </a:stretch>
        </p:blipFill>
        <p:spPr>
          <a:xfrm>
            <a:off x="299341" y="2266346"/>
            <a:ext cx="938241" cy="358625"/>
          </a:xfrm>
          <a:prstGeom prst="rect">
            <a:avLst/>
          </a:prstGeom>
        </p:spPr>
      </p:pic>
      <p:pic>
        <p:nvPicPr>
          <p:cNvPr id="147" name="Picture 146">
            <a:extLst>
              <a:ext uri="{FF2B5EF4-FFF2-40B4-BE49-F238E27FC236}">
                <a16:creationId xmlns:a16="http://schemas.microsoft.com/office/drawing/2014/main" id="{81706E69-384E-F1E4-257D-DAF4ED54EE30}"/>
              </a:ext>
            </a:extLst>
          </p:cNvPr>
          <p:cNvPicPr>
            <a:picLocks noChangeAspect="1"/>
          </p:cNvPicPr>
          <p:nvPr userDrawn="1"/>
        </p:nvPicPr>
        <p:blipFill>
          <a:blip r:embed="rId14"/>
          <a:stretch>
            <a:fillRect/>
          </a:stretch>
        </p:blipFill>
        <p:spPr>
          <a:xfrm>
            <a:off x="255249" y="1282821"/>
            <a:ext cx="1026422" cy="305962"/>
          </a:xfrm>
          <a:prstGeom prst="rect">
            <a:avLst/>
          </a:prstGeom>
        </p:spPr>
      </p:pic>
      <p:pic>
        <p:nvPicPr>
          <p:cNvPr id="148" name="Graphic 147">
            <a:extLst>
              <a:ext uri="{FF2B5EF4-FFF2-40B4-BE49-F238E27FC236}">
                <a16:creationId xmlns:a16="http://schemas.microsoft.com/office/drawing/2014/main" id="{2D6F75C4-BD15-BDC6-7ABD-8879FEAB523A}"/>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1304534" y="4645724"/>
            <a:ext cx="1008311" cy="155658"/>
          </a:xfrm>
          <a:prstGeom prst="rect">
            <a:avLst/>
          </a:prstGeom>
        </p:spPr>
      </p:pic>
      <p:pic>
        <p:nvPicPr>
          <p:cNvPr id="149" name="Graphic 148">
            <a:extLst>
              <a:ext uri="{FF2B5EF4-FFF2-40B4-BE49-F238E27FC236}">
                <a16:creationId xmlns:a16="http://schemas.microsoft.com/office/drawing/2014/main" id="{E2F77140-CD45-334E-0108-8A8A4B86514C}"/>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1435726" y="3126292"/>
            <a:ext cx="745925" cy="233102"/>
          </a:xfrm>
          <a:prstGeom prst="rect">
            <a:avLst/>
          </a:prstGeom>
        </p:spPr>
      </p:pic>
      <p:pic>
        <p:nvPicPr>
          <p:cNvPr id="150" name="Picture 10">
            <a:extLst>
              <a:ext uri="{FF2B5EF4-FFF2-40B4-BE49-F238E27FC236}">
                <a16:creationId xmlns:a16="http://schemas.microsoft.com/office/drawing/2014/main" id="{E8A8D926-4280-28AB-A4FF-75DD22F3F275}"/>
              </a:ext>
            </a:extLst>
          </p:cNvPr>
          <p:cNvPicPr>
            <a:picLocks noChangeAspect="1" noChangeArrowheads="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1304533" y="4130838"/>
            <a:ext cx="1007561" cy="204661"/>
          </a:xfrm>
          <a:prstGeom prst="rect">
            <a:avLst/>
          </a:prstGeom>
          <a:noFill/>
          <a:extLst>
            <a:ext uri="{909E8E84-426E-40DD-AFC4-6F175D3DCCD1}">
              <a14:hiddenFill xmlns:a14="http://schemas.microsoft.com/office/drawing/2010/main">
                <a:solidFill>
                  <a:srgbClr val="FFFFFF"/>
                </a:solidFill>
              </a14:hiddenFill>
            </a:ext>
          </a:extLst>
        </p:spPr>
      </p:pic>
      <p:pic>
        <p:nvPicPr>
          <p:cNvPr id="153" name="Picture 2">
            <a:extLst>
              <a:ext uri="{FF2B5EF4-FFF2-40B4-BE49-F238E27FC236}">
                <a16:creationId xmlns:a16="http://schemas.microsoft.com/office/drawing/2014/main" id="{2A866400-154A-58AE-A25D-96D36FEEFAEE}"/>
              </a:ext>
            </a:extLst>
          </p:cNvPr>
          <p:cNvPicPr>
            <a:picLocks noChangeAspect="1" noChangeArrowheads="1"/>
          </p:cNvPicPr>
          <p:nvPr userDrawn="1"/>
        </p:nvPicPr>
        <p:blipFill rotWithShape="1">
          <a:blip r:embed="rId20">
            <a:extLst>
              <a:ext uri="{28A0092B-C50C-407E-A947-70E740481C1C}">
                <a14:useLocalDpi xmlns:a14="http://schemas.microsoft.com/office/drawing/2010/main" val="0"/>
              </a:ext>
            </a:extLst>
          </a:blip>
          <a:srcRect l="11866" t="30143" r="11712" b="29907"/>
          <a:stretch/>
        </p:blipFill>
        <p:spPr bwMode="auto">
          <a:xfrm>
            <a:off x="326087" y="5590914"/>
            <a:ext cx="906538" cy="256098"/>
          </a:xfrm>
          <a:prstGeom prst="rect">
            <a:avLst/>
          </a:prstGeom>
          <a:noFill/>
          <a:extLst>
            <a:ext uri="{909E8E84-426E-40DD-AFC4-6F175D3DCCD1}">
              <a14:hiddenFill xmlns:a14="http://schemas.microsoft.com/office/drawing/2010/main">
                <a:solidFill>
                  <a:srgbClr val="FFFFFF"/>
                </a:solidFill>
              </a14:hiddenFill>
            </a:ext>
          </a:extLst>
        </p:spPr>
      </p:pic>
      <p:pic>
        <p:nvPicPr>
          <p:cNvPr id="154" name="Picture 4">
            <a:extLst>
              <a:ext uri="{FF2B5EF4-FFF2-40B4-BE49-F238E27FC236}">
                <a16:creationId xmlns:a16="http://schemas.microsoft.com/office/drawing/2014/main" id="{64F17CB6-1D92-8E21-C9F7-7A26C72EABF0}"/>
              </a:ext>
            </a:extLst>
          </p:cNvPr>
          <p:cNvPicPr>
            <a:picLocks noChangeAspect="1" noChangeArrowheads="1"/>
          </p:cNvPicPr>
          <p:nvPr userDrawn="1"/>
        </p:nvPicPr>
        <p:blipFill rotWithShape="1">
          <a:blip r:embed="rId21">
            <a:extLst>
              <a:ext uri="{28A0092B-C50C-407E-A947-70E740481C1C}">
                <a14:useLocalDpi xmlns:a14="http://schemas.microsoft.com/office/drawing/2010/main" val="0"/>
              </a:ext>
            </a:extLst>
          </a:blip>
          <a:srcRect l="10901" t="38836" r="11869" b="39587"/>
          <a:stretch/>
        </p:blipFill>
        <p:spPr bwMode="auto">
          <a:xfrm>
            <a:off x="1310207" y="5948863"/>
            <a:ext cx="1064585" cy="241656"/>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154" descr="A logo with text on it&#10;&#10;Description automatically generated">
            <a:extLst>
              <a:ext uri="{FF2B5EF4-FFF2-40B4-BE49-F238E27FC236}">
                <a16:creationId xmlns:a16="http://schemas.microsoft.com/office/drawing/2014/main" id="{6349C79B-4B6F-451F-2CFA-D9AFDC268E74}"/>
              </a:ext>
            </a:extLst>
          </p:cNvPr>
          <p:cNvPicPr>
            <a:picLocks noChangeAspect="1"/>
          </p:cNvPicPr>
          <p:nvPr userDrawn="1"/>
        </p:nvPicPr>
        <p:blipFill>
          <a:blip r:embed="rId22"/>
          <a:stretch>
            <a:fillRect/>
          </a:stretch>
        </p:blipFill>
        <p:spPr>
          <a:xfrm>
            <a:off x="287860" y="3912395"/>
            <a:ext cx="943333" cy="325052"/>
          </a:xfrm>
          <a:prstGeom prst="rect">
            <a:avLst/>
          </a:prstGeom>
        </p:spPr>
      </p:pic>
      <p:pic>
        <p:nvPicPr>
          <p:cNvPr id="157" name="Picture 6">
            <a:extLst>
              <a:ext uri="{FF2B5EF4-FFF2-40B4-BE49-F238E27FC236}">
                <a16:creationId xmlns:a16="http://schemas.microsoft.com/office/drawing/2014/main" id="{D0CA6FAE-700C-F8FE-EFA5-D3CB05928157}"/>
              </a:ext>
            </a:extLst>
          </p:cNvPr>
          <p:cNvPicPr>
            <a:picLocks noChangeAspect="1" noChangeArrowheads="1"/>
          </p:cNvPicPr>
          <p:nvPr userDrawn="1"/>
        </p:nvPicPr>
        <p:blipFill>
          <a:blip r:embed="rId23">
            <a:extLst>
              <a:ext uri="{28A0092B-C50C-407E-A947-70E740481C1C}">
                <a14:useLocalDpi xmlns:a14="http://schemas.microsoft.com/office/drawing/2010/main" val="0"/>
              </a:ext>
            </a:extLst>
          </a:blip>
          <a:srcRect/>
          <a:stretch>
            <a:fillRect/>
          </a:stretch>
        </p:blipFill>
        <p:spPr bwMode="auto">
          <a:xfrm>
            <a:off x="1399271" y="3578830"/>
            <a:ext cx="812368" cy="3450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463658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Appendix">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0"/>
          </p:nvPr>
        </p:nvSpPr>
        <p:spPr/>
        <p:txBody>
          <a:bodyPr/>
          <a:lstStyle>
            <a:lvl1pPr>
              <a:defRPr b="0" i="0"/>
            </a:lvl1pPr>
          </a:lstStyle>
          <a:p>
            <a:fld id="{F551322C-20B2-48C3-B63D-68158FEBF630}" type="slidenum">
              <a:rPr lang="en-US" smtClean="0"/>
              <a:pPr/>
              <a:t>‹#›</a:t>
            </a:fld>
            <a:endParaRPr lang="en-US"/>
          </a:p>
        </p:txBody>
      </p:sp>
      <p:sp>
        <p:nvSpPr>
          <p:cNvPr id="22" name="Text Placeholder 15"/>
          <p:cNvSpPr>
            <a:spLocks noGrp="1"/>
          </p:cNvSpPr>
          <p:nvPr>
            <p:ph type="body" sz="quarter" idx="12" hasCustomPrompt="1"/>
          </p:nvPr>
        </p:nvSpPr>
        <p:spPr>
          <a:xfrm>
            <a:off x="2372329" y="1792800"/>
            <a:ext cx="9101929" cy="792162"/>
          </a:xfrm>
          <a:prstGeom prst="rect">
            <a:avLst/>
          </a:prstGeom>
        </p:spPr>
        <p:txBody>
          <a:bodyPr vert="horz" wrap="square" lIns="72000" tIns="36000" rIns="72000" bIns="36000" rtlCol="0" anchor="ctr" anchorCtr="0">
            <a:noAutofit/>
          </a:bodyPr>
          <a:lstStyle>
            <a:lvl1pPr>
              <a:defRPr lang="en-US" sz="3000" b="0" i="0" baseline="0" dirty="0">
                <a:solidFill>
                  <a:srgbClr val="3366FF"/>
                </a:solidFill>
              </a:defRPr>
            </a:lvl1pPr>
          </a:lstStyle>
          <a:p>
            <a:pPr lvl="0"/>
            <a:r>
              <a:rPr lang="en-US"/>
              <a:t>Appendix</a:t>
            </a:r>
          </a:p>
        </p:txBody>
      </p:sp>
      <p:pic>
        <p:nvPicPr>
          <p:cNvPr id="6" name="Picture 5">
            <a:extLst>
              <a:ext uri="{FF2B5EF4-FFF2-40B4-BE49-F238E27FC236}">
                <a16:creationId xmlns:a16="http://schemas.microsoft.com/office/drawing/2014/main" id="{853F0D96-B901-9067-5CC0-4469B4E0781A}"/>
              </a:ext>
            </a:extLst>
          </p:cNvPr>
          <p:cNvPicPr>
            <a:picLocks noChangeAspect="1"/>
          </p:cNvPicPr>
          <p:nvPr userDrawn="1"/>
        </p:nvPicPr>
        <p:blipFill>
          <a:blip r:embed="rId2"/>
          <a:stretch>
            <a:fillRect/>
          </a:stretch>
        </p:blipFill>
        <p:spPr>
          <a:xfrm>
            <a:off x="267084" y="4908320"/>
            <a:ext cx="1002752" cy="305962"/>
          </a:xfrm>
          <a:prstGeom prst="rect">
            <a:avLst/>
          </a:prstGeom>
        </p:spPr>
      </p:pic>
      <p:pic>
        <p:nvPicPr>
          <p:cNvPr id="8" name="Picture 7">
            <a:extLst>
              <a:ext uri="{FF2B5EF4-FFF2-40B4-BE49-F238E27FC236}">
                <a16:creationId xmlns:a16="http://schemas.microsoft.com/office/drawing/2014/main" id="{DEFA4618-2D0B-A063-87A8-20B31DF68E99}"/>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400559" y="4910476"/>
            <a:ext cx="816258" cy="529678"/>
          </a:xfrm>
          <a:prstGeom prst="rect">
            <a:avLst/>
          </a:prstGeom>
        </p:spPr>
      </p:pic>
      <p:pic>
        <p:nvPicPr>
          <p:cNvPr id="9" name="Picture 8">
            <a:extLst>
              <a:ext uri="{FF2B5EF4-FFF2-40B4-BE49-F238E27FC236}">
                <a16:creationId xmlns:a16="http://schemas.microsoft.com/office/drawing/2014/main" id="{C40FE717-FB04-CA1B-76E7-EB544514AFB3}"/>
              </a:ext>
            </a:extLst>
          </p:cNvPr>
          <p:cNvPicPr>
            <a:picLocks noChangeAspect="1"/>
          </p:cNvPicPr>
          <p:nvPr userDrawn="1"/>
        </p:nvPicPr>
        <p:blipFill>
          <a:blip r:embed="rId4"/>
          <a:srcRect/>
          <a:stretch/>
        </p:blipFill>
        <p:spPr>
          <a:xfrm>
            <a:off x="356035" y="1722461"/>
            <a:ext cx="824853" cy="322740"/>
          </a:xfrm>
          <a:prstGeom prst="rect">
            <a:avLst/>
          </a:prstGeom>
        </p:spPr>
      </p:pic>
      <p:pic>
        <p:nvPicPr>
          <p:cNvPr id="11" name="Picture 10">
            <a:extLst>
              <a:ext uri="{FF2B5EF4-FFF2-40B4-BE49-F238E27FC236}">
                <a16:creationId xmlns:a16="http://schemas.microsoft.com/office/drawing/2014/main" id="{E0F95339-B688-CB8A-76FC-45955BF0DC12}"/>
              </a:ext>
            </a:extLst>
          </p:cNvPr>
          <p:cNvPicPr>
            <a:picLocks noChangeAspect="1"/>
          </p:cNvPicPr>
          <p:nvPr userDrawn="1"/>
        </p:nvPicPr>
        <p:blipFill>
          <a:blip r:embed="rId5"/>
          <a:stretch>
            <a:fillRect/>
          </a:stretch>
        </p:blipFill>
        <p:spPr>
          <a:xfrm>
            <a:off x="369259" y="2852396"/>
            <a:ext cx="798402" cy="325052"/>
          </a:xfrm>
          <a:prstGeom prst="rect">
            <a:avLst/>
          </a:prstGeom>
        </p:spPr>
      </p:pic>
      <p:pic>
        <p:nvPicPr>
          <p:cNvPr id="12" name="Picture 12" descr="http://www.ingenieurjobs.de/content/tinybrowser/image/transnetbw_gmbh.jpg">
            <a:extLst>
              <a:ext uri="{FF2B5EF4-FFF2-40B4-BE49-F238E27FC236}">
                <a16:creationId xmlns:a16="http://schemas.microsoft.com/office/drawing/2014/main" id="{1DC9642C-7390-5335-03F3-F1B75F8B9A4F}"/>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295312" y="5533824"/>
            <a:ext cx="1026752" cy="164762"/>
          </a:xfrm>
          <a:prstGeom prst="rect">
            <a:avLst/>
          </a:prstGeom>
          <a:noFill/>
          <a:extLst>
            <a:ext uri="{909E8E84-426E-40dd-AFC4-6F175D3DCCD1}">
              <a14:hiddenFill xmlns:a14="http://schemas.microsoft.com/office/drawing/2010/main" xmlns="">
                <a:solidFill>
                  <a:srgbClr val="FFFFFF"/>
                </a:solidFill>
              </a14:hiddenFill>
            </a:ext>
          </a:extLst>
        </p:spPr>
      </p:pic>
      <p:pic>
        <p:nvPicPr>
          <p:cNvPr id="13" name="Picture 12">
            <a:extLst>
              <a:ext uri="{FF2B5EF4-FFF2-40B4-BE49-F238E27FC236}">
                <a16:creationId xmlns:a16="http://schemas.microsoft.com/office/drawing/2014/main" id="{CF2E3087-0719-F2F5-AC4C-24132246244C}"/>
              </a:ext>
            </a:extLst>
          </p:cNvPr>
          <p:cNvPicPr>
            <a:picLocks noChangeAspect="1"/>
          </p:cNvPicPr>
          <p:nvPr userDrawn="1"/>
        </p:nvPicPr>
        <p:blipFill>
          <a:blip r:embed="rId7"/>
          <a:stretch>
            <a:fillRect/>
          </a:stretch>
        </p:blipFill>
        <p:spPr>
          <a:xfrm>
            <a:off x="1435726" y="1383803"/>
            <a:ext cx="745925" cy="379476"/>
          </a:xfrm>
          <a:prstGeom prst="rect">
            <a:avLst/>
          </a:prstGeom>
        </p:spPr>
      </p:pic>
      <p:pic>
        <p:nvPicPr>
          <p:cNvPr id="16" name="Picture 15">
            <a:extLst>
              <a:ext uri="{FF2B5EF4-FFF2-40B4-BE49-F238E27FC236}">
                <a16:creationId xmlns:a16="http://schemas.microsoft.com/office/drawing/2014/main" id="{9B2F8A5F-30B5-2B90-673F-6F1C6A577C46}"/>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r="66927"/>
          <a:stretch/>
        </p:blipFill>
        <p:spPr>
          <a:xfrm>
            <a:off x="1420375" y="1999852"/>
            <a:ext cx="776629" cy="253934"/>
          </a:xfrm>
          <a:prstGeom prst="rect">
            <a:avLst/>
          </a:prstGeom>
        </p:spPr>
      </p:pic>
      <p:pic>
        <p:nvPicPr>
          <p:cNvPr id="17" name="Picture 16">
            <a:extLst>
              <a:ext uri="{FF2B5EF4-FFF2-40B4-BE49-F238E27FC236}">
                <a16:creationId xmlns:a16="http://schemas.microsoft.com/office/drawing/2014/main" id="{D42CD7E4-9AB1-B4F3-8960-77F24EAEA4F7}"/>
              </a:ext>
            </a:extLst>
          </p:cNvPr>
          <p:cNvPicPr>
            <a:picLocks noChangeAspect="1"/>
          </p:cNvPicPr>
          <p:nvPr userDrawn="1"/>
        </p:nvPicPr>
        <p:blipFill>
          <a:blip r:embed="rId9" cstate="email">
            <a:extLst>
              <a:ext uri="{28A0092B-C50C-407E-A947-70E740481C1C}">
                <a14:useLocalDpi xmlns:a14="http://schemas.microsoft.com/office/drawing/2010/main" val="0"/>
              </a:ext>
            </a:extLst>
          </a:blip>
          <a:stretch>
            <a:fillRect/>
          </a:stretch>
        </p:blipFill>
        <p:spPr>
          <a:xfrm>
            <a:off x="403638" y="4451553"/>
            <a:ext cx="729644" cy="196596"/>
          </a:xfrm>
          <a:prstGeom prst="rect">
            <a:avLst/>
          </a:prstGeom>
        </p:spPr>
      </p:pic>
      <p:pic>
        <p:nvPicPr>
          <p:cNvPr id="27" name="Picture 26">
            <a:extLst>
              <a:ext uri="{FF2B5EF4-FFF2-40B4-BE49-F238E27FC236}">
                <a16:creationId xmlns:a16="http://schemas.microsoft.com/office/drawing/2014/main" id="{FFABB3AA-C33D-3F1C-290E-93EA3C768B2A}"/>
              </a:ext>
            </a:extLst>
          </p:cNvPr>
          <p:cNvPicPr>
            <a:picLocks noChangeAspect="1"/>
          </p:cNvPicPr>
          <p:nvPr userDrawn="1"/>
        </p:nvPicPr>
        <p:blipFill>
          <a:blip r:embed="rId10"/>
          <a:stretch>
            <a:fillRect/>
          </a:stretch>
        </p:blipFill>
        <p:spPr>
          <a:xfrm>
            <a:off x="268651" y="5997916"/>
            <a:ext cx="780049" cy="396119"/>
          </a:xfrm>
          <a:prstGeom prst="rect">
            <a:avLst/>
          </a:prstGeom>
        </p:spPr>
      </p:pic>
      <p:pic>
        <p:nvPicPr>
          <p:cNvPr id="28" name="Picture 27">
            <a:extLst>
              <a:ext uri="{FF2B5EF4-FFF2-40B4-BE49-F238E27FC236}">
                <a16:creationId xmlns:a16="http://schemas.microsoft.com/office/drawing/2014/main" id="{3C52030D-4EB1-5E3B-318B-C59E75AFD7B5}"/>
              </a:ext>
            </a:extLst>
          </p:cNvPr>
          <p:cNvPicPr>
            <a:picLocks noChangeAspect="1"/>
          </p:cNvPicPr>
          <p:nvPr userDrawn="1"/>
        </p:nvPicPr>
        <p:blipFill>
          <a:blip r:embed="rId11" cstate="hqprint">
            <a:extLst>
              <a:ext uri="{28A0092B-C50C-407E-A947-70E740481C1C}">
                <a14:useLocalDpi xmlns:a14="http://schemas.microsoft.com/office/drawing/2010/main"/>
              </a:ext>
            </a:extLst>
          </a:blip>
          <a:stretch>
            <a:fillRect/>
          </a:stretch>
        </p:blipFill>
        <p:spPr>
          <a:xfrm>
            <a:off x="1564902" y="2506805"/>
            <a:ext cx="487572" cy="366468"/>
          </a:xfrm>
          <a:prstGeom prst="rect">
            <a:avLst/>
          </a:prstGeom>
        </p:spPr>
      </p:pic>
      <p:pic>
        <p:nvPicPr>
          <p:cNvPr id="29" name="Picture 28">
            <a:extLst>
              <a:ext uri="{FF2B5EF4-FFF2-40B4-BE49-F238E27FC236}">
                <a16:creationId xmlns:a16="http://schemas.microsoft.com/office/drawing/2014/main" id="{EB425A32-0B49-021C-339A-A2378F24B544}"/>
              </a:ext>
            </a:extLst>
          </p:cNvPr>
          <p:cNvPicPr>
            <a:picLocks noChangeAspect="1"/>
          </p:cNvPicPr>
          <p:nvPr userDrawn="1"/>
        </p:nvPicPr>
        <p:blipFill>
          <a:blip r:embed="rId12"/>
          <a:stretch>
            <a:fillRect/>
          </a:stretch>
        </p:blipFill>
        <p:spPr>
          <a:xfrm>
            <a:off x="326088" y="3390025"/>
            <a:ext cx="884747" cy="345045"/>
          </a:xfrm>
          <a:prstGeom prst="rect">
            <a:avLst/>
          </a:prstGeom>
        </p:spPr>
      </p:pic>
      <p:pic>
        <p:nvPicPr>
          <p:cNvPr id="30" name="Picture 29">
            <a:extLst>
              <a:ext uri="{FF2B5EF4-FFF2-40B4-BE49-F238E27FC236}">
                <a16:creationId xmlns:a16="http://schemas.microsoft.com/office/drawing/2014/main" id="{101F40EA-6352-B78D-2276-F541FB51F764}"/>
              </a:ext>
            </a:extLst>
          </p:cNvPr>
          <p:cNvPicPr>
            <a:picLocks noChangeAspect="1"/>
          </p:cNvPicPr>
          <p:nvPr userDrawn="1"/>
        </p:nvPicPr>
        <p:blipFill>
          <a:blip r:embed="rId13"/>
          <a:stretch>
            <a:fillRect/>
          </a:stretch>
        </p:blipFill>
        <p:spPr>
          <a:xfrm>
            <a:off x="299341" y="2266346"/>
            <a:ext cx="938241" cy="358625"/>
          </a:xfrm>
          <a:prstGeom prst="rect">
            <a:avLst/>
          </a:prstGeom>
        </p:spPr>
      </p:pic>
      <p:pic>
        <p:nvPicPr>
          <p:cNvPr id="31" name="Picture 30">
            <a:extLst>
              <a:ext uri="{FF2B5EF4-FFF2-40B4-BE49-F238E27FC236}">
                <a16:creationId xmlns:a16="http://schemas.microsoft.com/office/drawing/2014/main" id="{65CE4645-4D4A-ED10-94A1-F5F740CF02A7}"/>
              </a:ext>
            </a:extLst>
          </p:cNvPr>
          <p:cNvPicPr>
            <a:picLocks noChangeAspect="1"/>
          </p:cNvPicPr>
          <p:nvPr userDrawn="1"/>
        </p:nvPicPr>
        <p:blipFill>
          <a:blip r:embed="rId14"/>
          <a:stretch>
            <a:fillRect/>
          </a:stretch>
        </p:blipFill>
        <p:spPr>
          <a:xfrm>
            <a:off x="255249" y="1282821"/>
            <a:ext cx="1026422" cy="305962"/>
          </a:xfrm>
          <a:prstGeom prst="rect">
            <a:avLst/>
          </a:prstGeom>
        </p:spPr>
      </p:pic>
      <p:pic>
        <p:nvPicPr>
          <p:cNvPr id="32" name="Graphic 31">
            <a:extLst>
              <a:ext uri="{FF2B5EF4-FFF2-40B4-BE49-F238E27FC236}">
                <a16:creationId xmlns:a16="http://schemas.microsoft.com/office/drawing/2014/main" id="{FDB88E00-D954-E596-9D59-E1E2F49A6F6A}"/>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1304534" y="4645724"/>
            <a:ext cx="1008311" cy="155658"/>
          </a:xfrm>
          <a:prstGeom prst="rect">
            <a:avLst/>
          </a:prstGeom>
        </p:spPr>
      </p:pic>
      <p:pic>
        <p:nvPicPr>
          <p:cNvPr id="33" name="Graphic 32">
            <a:extLst>
              <a:ext uri="{FF2B5EF4-FFF2-40B4-BE49-F238E27FC236}">
                <a16:creationId xmlns:a16="http://schemas.microsoft.com/office/drawing/2014/main" id="{B98B4869-A42A-9688-EEB9-323BD321E7CB}"/>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1435726" y="3126292"/>
            <a:ext cx="745925" cy="233102"/>
          </a:xfrm>
          <a:prstGeom prst="rect">
            <a:avLst/>
          </a:prstGeom>
        </p:spPr>
      </p:pic>
      <p:pic>
        <p:nvPicPr>
          <p:cNvPr id="34" name="Picture 10">
            <a:extLst>
              <a:ext uri="{FF2B5EF4-FFF2-40B4-BE49-F238E27FC236}">
                <a16:creationId xmlns:a16="http://schemas.microsoft.com/office/drawing/2014/main" id="{440C85DA-12B4-F25F-0256-4E520026930E}"/>
              </a:ext>
            </a:extLst>
          </p:cNvPr>
          <p:cNvPicPr>
            <a:picLocks noChangeAspect="1" noChangeArrowheads="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1304533" y="4130838"/>
            <a:ext cx="1007561" cy="204661"/>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2">
            <a:extLst>
              <a:ext uri="{FF2B5EF4-FFF2-40B4-BE49-F238E27FC236}">
                <a16:creationId xmlns:a16="http://schemas.microsoft.com/office/drawing/2014/main" id="{41ACF098-6127-BCD6-A808-DA79536B0D03}"/>
              </a:ext>
            </a:extLst>
          </p:cNvPr>
          <p:cNvPicPr>
            <a:picLocks noChangeAspect="1" noChangeArrowheads="1"/>
          </p:cNvPicPr>
          <p:nvPr userDrawn="1"/>
        </p:nvPicPr>
        <p:blipFill rotWithShape="1">
          <a:blip r:embed="rId20">
            <a:extLst>
              <a:ext uri="{28A0092B-C50C-407E-A947-70E740481C1C}">
                <a14:useLocalDpi xmlns:a14="http://schemas.microsoft.com/office/drawing/2010/main" val="0"/>
              </a:ext>
            </a:extLst>
          </a:blip>
          <a:srcRect l="11866" t="30143" r="11712" b="29907"/>
          <a:stretch/>
        </p:blipFill>
        <p:spPr bwMode="auto">
          <a:xfrm>
            <a:off x="326087" y="5590914"/>
            <a:ext cx="906538" cy="256098"/>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4">
            <a:extLst>
              <a:ext uri="{FF2B5EF4-FFF2-40B4-BE49-F238E27FC236}">
                <a16:creationId xmlns:a16="http://schemas.microsoft.com/office/drawing/2014/main" id="{505970A1-BF78-2509-8349-E2ED4EA39002}"/>
              </a:ext>
            </a:extLst>
          </p:cNvPr>
          <p:cNvPicPr>
            <a:picLocks noChangeAspect="1" noChangeArrowheads="1"/>
          </p:cNvPicPr>
          <p:nvPr userDrawn="1"/>
        </p:nvPicPr>
        <p:blipFill rotWithShape="1">
          <a:blip r:embed="rId21">
            <a:extLst>
              <a:ext uri="{28A0092B-C50C-407E-A947-70E740481C1C}">
                <a14:useLocalDpi xmlns:a14="http://schemas.microsoft.com/office/drawing/2010/main" val="0"/>
              </a:ext>
            </a:extLst>
          </a:blip>
          <a:srcRect l="10901" t="38836" r="11869" b="39587"/>
          <a:stretch/>
        </p:blipFill>
        <p:spPr bwMode="auto">
          <a:xfrm>
            <a:off x="1310207" y="5948863"/>
            <a:ext cx="1064585" cy="241656"/>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descr="A logo with text on it&#10;&#10;Description automatically generated">
            <a:extLst>
              <a:ext uri="{FF2B5EF4-FFF2-40B4-BE49-F238E27FC236}">
                <a16:creationId xmlns:a16="http://schemas.microsoft.com/office/drawing/2014/main" id="{2F4DF049-248A-4DB3-6DC0-5BF6836DDD41}"/>
              </a:ext>
            </a:extLst>
          </p:cNvPr>
          <p:cNvPicPr>
            <a:picLocks noChangeAspect="1"/>
          </p:cNvPicPr>
          <p:nvPr userDrawn="1"/>
        </p:nvPicPr>
        <p:blipFill>
          <a:blip r:embed="rId22"/>
          <a:stretch>
            <a:fillRect/>
          </a:stretch>
        </p:blipFill>
        <p:spPr>
          <a:xfrm>
            <a:off x="287860" y="3912395"/>
            <a:ext cx="943333" cy="325052"/>
          </a:xfrm>
          <a:prstGeom prst="rect">
            <a:avLst/>
          </a:prstGeom>
        </p:spPr>
      </p:pic>
      <p:pic>
        <p:nvPicPr>
          <p:cNvPr id="41" name="Picture 6">
            <a:extLst>
              <a:ext uri="{FF2B5EF4-FFF2-40B4-BE49-F238E27FC236}">
                <a16:creationId xmlns:a16="http://schemas.microsoft.com/office/drawing/2014/main" id="{DDDD3E0F-0D19-ED10-C477-1F6905024577}"/>
              </a:ext>
            </a:extLst>
          </p:cNvPr>
          <p:cNvPicPr>
            <a:picLocks noChangeAspect="1" noChangeArrowheads="1"/>
          </p:cNvPicPr>
          <p:nvPr userDrawn="1"/>
        </p:nvPicPr>
        <p:blipFill>
          <a:blip r:embed="rId23">
            <a:extLst>
              <a:ext uri="{28A0092B-C50C-407E-A947-70E740481C1C}">
                <a14:useLocalDpi xmlns:a14="http://schemas.microsoft.com/office/drawing/2010/main" val="0"/>
              </a:ext>
            </a:extLst>
          </a:blip>
          <a:srcRect/>
          <a:stretch>
            <a:fillRect/>
          </a:stretch>
        </p:blipFill>
        <p:spPr bwMode="auto">
          <a:xfrm>
            <a:off x="1399271" y="3578830"/>
            <a:ext cx="812368" cy="3450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671765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el en tekst 2 kolommen">
    <p:spTree>
      <p:nvGrpSpPr>
        <p:cNvPr id="1" name=""/>
        <p:cNvGrpSpPr/>
        <p:nvPr/>
      </p:nvGrpSpPr>
      <p:grpSpPr>
        <a:xfrm>
          <a:off x="0" y="0"/>
          <a:ext cx="0" cy="0"/>
          <a:chOff x="0" y="0"/>
          <a:chExt cx="0" cy="0"/>
        </a:xfrm>
      </p:grpSpPr>
      <p:sp>
        <p:nvSpPr>
          <p:cNvPr id="5" name="Rechthoek 4">
            <a:extLst>
              <a:ext uri="{C183D7F6-B498-43B3-948B-1728B52AA6E4}">
                <adec:decorative xmlns:adec="http://schemas.microsoft.com/office/drawing/2017/decorative" val="1"/>
              </a:ext>
            </a:extLst>
          </p:cNvPr>
          <p:cNvSpPr/>
          <p:nvPr userDrawn="1"/>
        </p:nvSpPr>
        <p:spPr>
          <a:xfrm>
            <a:off x="0" y="6400801"/>
            <a:ext cx="12192000" cy="455084"/>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nl-NL"/>
          </a:p>
        </p:txBody>
      </p:sp>
      <p:sp>
        <p:nvSpPr>
          <p:cNvPr id="23" name="Tijdelijke aanduiding voor tekst 22"/>
          <p:cNvSpPr>
            <a:spLocks noGrp="1"/>
          </p:cNvSpPr>
          <p:nvPr>
            <p:ph type="body" sz="quarter" idx="18" hasCustomPrompt="1"/>
          </p:nvPr>
        </p:nvSpPr>
        <p:spPr>
          <a:xfrm>
            <a:off x="6096000" y="1411832"/>
            <a:ext cx="5568619" cy="4988983"/>
          </a:xfrm>
        </p:spPr>
        <p:txBody>
          <a:bodyPr/>
          <a:lstStyle>
            <a:lvl1pPr>
              <a:defRPr baseline="0">
                <a:solidFill>
                  <a:schemeClr val="bg2">
                    <a:lumMod val="10000"/>
                  </a:schemeClr>
                </a:solidFill>
              </a:defRPr>
            </a:lvl1pPr>
            <a:lvl2pPr>
              <a:defRPr sz="2667">
                <a:solidFill>
                  <a:schemeClr val="bg2">
                    <a:lumMod val="10000"/>
                  </a:schemeClr>
                </a:solidFill>
              </a:defRPr>
            </a:lvl2pPr>
            <a:lvl3pPr>
              <a:defRPr sz="2400">
                <a:solidFill>
                  <a:schemeClr val="bg2">
                    <a:lumMod val="10000"/>
                  </a:schemeClr>
                </a:solidFill>
              </a:defRPr>
            </a:lvl3pPr>
            <a:lvl4pPr>
              <a:defRPr sz="2133">
                <a:solidFill>
                  <a:schemeClr val="bg2">
                    <a:lumMod val="10000"/>
                  </a:schemeClr>
                </a:solidFill>
              </a:defRPr>
            </a:lvl4pPr>
            <a:lvl5pPr>
              <a:defRPr sz="1867">
                <a:solidFill>
                  <a:schemeClr val="bg2">
                    <a:lumMod val="10000"/>
                  </a:schemeClr>
                </a:solidFill>
              </a:defRPr>
            </a:lvl5pPr>
          </a:lstStyle>
          <a:p>
            <a:pPr lvl="0"/>
            <a:r>
              <a:rPr lang="nl-NL" dirty="0" err="1"/>
              <a:t>Bullet</a:t>
            </a:r>
            <a:r>
              <a:rPr lang="nl-NL" dirty="0"/>
              <a:t> niveau 1</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4" name="Titel 3"/>
          <p:cNvSpPr>
            <a:spLocks noGrp="1"/>
          </p:cNvSpPr>
          <p:nvPr>
            <p:ph type="title" hasCustomPrompt="1"/>
          </p:nvPr>
        </p:nvSpPr>
        <p:spPr>
          <a:xfrm>
            <a:off x="431371" y="356660"/>
            <a:ext cx="11227229" cy="1056117"/>
          </a:xfrm>
        </p:spPr>
        <p:txBody>
          <a:bodyPr/>
          <a:lstStyle>
            <a:lvl1pPr>
              <a:defRPr baseline="0"/>
            </a:lvl1pPr>
          </a:lstStyle>
          <a:p>
            <a:r>
              <a:rPr lang="nl-NL" altLang="nl-NL" dirty="0"/>
              <a:t>Plaats hier de titel van je dia</a:t>
            </a:r>
            <a:endParaRPr lang="nl-NL" dirty="0"/>
          </a:p>
        </p:txBody>
      </p:sp>
      <p:sp>
        <p:nvSpPr>
          <p:cNvPr id="11" name="Tijdelijke aanduiding voor tekst 22"/>
          <p:cNvSpPr>
            <a:spLocks noGrp="1"/>
          </p:cNvSpPr>
          <p:nvPr>
            <p:ph type="body" sz="quarter" idx="19" hasCustomPrompt="1"/>
          </p:nvPr>
        </p:nvSpPr>
        <p:spPr>
          <a:xfrm>
            <a:off x="431371" y="1411818"/>
            <a:ext cx="5568619" cy="4988983"/>
          </a:xfrm>
        </p:spPr>
        <p:txBody>
          <a:bodyPr/>
          <a:lstStyle>
            <a:lvl1pPr>
              <a:defRPr baseline="0">
                <a:solidFill>
                  <a:schemeClr val="bg2">
                    <a:lumMod val="10000"/>
                  </a:schemeClr>
                </a:solidFill>
              </a:defRPr>
            </a:lvl1pPr>
            <a:lvl2pPr>
              <a:defRPr sz="2667">
                <a:solidFill>
                  <a:schemeClr val="bg2">
                    <a:lumMod val="10000"/>
                  </a:schemeClr>
                </a:solidFill>
              </a:defRPr>
            </a:lvl2pPr>
            <a:lvl3pPr>
              <a:defRPr sz="2400">
                <a:solidFill>
                  <a:schemeClr val="bg2">
                    <a:lumMod val="10000"/>
                  </a:schemeClr>
                </a:solidFill>
              </a:defRPr>
            </a:lvl3pPr>
            <a:lvl4pPr>
              <a:defRPr sz="2133">
                <a:solidFill>
                  <a:schemeClr val="bg2">
                    <a:lumMod val="10000"/>
                  </a:schemeClr>
                </a:solidFill>
              </a:defRPr>
            </a:lvl4pPr>
            <a:lvl5pPr>
              <a:defRPr sz="1867">
                <a:solidFill>
                  <a:schemeClr val="bg2">
                    <a:lumMod val="10000"/>
                  </a:schemeClr>
                </a:solidFill>
              </a:defRPr>
            </a:lvl5pPr>
          </a:lstStyle>
          <a:p>
            <a:pPr lvl="0"/>
            <a:r>
              <a:rPr lang="nl-NL" dirty="0" err="1"/>
              <a:t>Bullet</a:t>
            </a:r>
            <a:r>
              <a:rPr lang="nl-NL" dirty="0"/>
              <a:t> niveau 1</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6" name="Tijdelijke aanduiding voor dianummer 12"/>
          <p:cNvSpPr>
            <a:spLocks noGrp="1"/>
          </p:cNvSpPr>
          <p:nvPr>
            <p:ph type="sldNum" sz="quarter" idx="20"/>
          </p:nvPr>
        </p:nvSpPr>
        <p:spPr/>
        <p:txBody>
          <a:bodyPr/>
          <a:lstStyle>
            <a:lvl1pPr algn="ctr">
              <a:defRPr sz="1333" b="1" smtClean="0">
                <a:solidFill>
                  <a:srgbClr val="007FAE"/>
                </a:solidFill>
              </a:defRPr>
            </a:lvl1pPr>
          </a:lstStyle>
          <a:p>
            <a:pPr>
              <a:defRPr/>
            </a:pPr>
            <a:fld id="{1368AD61-CA57-4BD8-834E-48EEF07E3E83}" type="slidenum">
              <a:rPr lang="nl-NL"/>
              <a:pPr>
                <a:defRPr/>
              </a:pPr>
              <a:t>‹#›</a:t>
            </a:fld>
            <a:endParaRPr lang="nl-NL" dirty="0"/>
          </a:p>
        </p:txBody>
      </p:sp>
      <p:sp>
        <p:nvSpPr>
          <p:cNvPr id="7" name="Tijdelijke aanduiding voor datum 6"/>
          <p:cNvSpPr>
            <a:spLocks noGrp="1"/>
          </p:cNvSpPr>
          <p:nvPr>
            <p:ph type="dt" sz="half" idx="21"/>
          </p:nvPr>
        </p:nvSpPr>
        <p:spPr>
          <a:xfrm>
            <a:off x="8434918" y="6400801"/>
            <a:ext cx="2942167" cy="455084"/>
          </a:xfrm>
        </p:spPr>
        <p:txBody>
          <a:bodyPr/>
          <a:lstStyle>
            <a:lvl1pPr algn="r">
              <a:defRPr sz="1333" dirty="0">
                <a:solidFill>
                  <a:schemeClr val="accent4"/>
                </a:solidFill>
                <a:latin typeface="Arial" panose="020B0604020202020204" pitchFamily="34" charset="0"/>
                <a:cs typeface="Arial" panose="020B0604020202020204" pitchFamily="34" charset="0"/>
              </a:defRPr>
            </a:lvl1pPr>
          </a:lstStyle>
          <a:p>
            <a:pPr>
              <a:defRPr/>
            </a:pPr>
            <a:endParaRPr lang="nl-NL"/>
          </a:p>
        </p:txBody>
      </p:sp>
      <p:sp>
        <p:nvSpPr>
          <p:cNvPr id="8" name="Tijdelijke aanduiding voor voettekst 11"/>
          <p:cNvSpPr>
            <a:spLocks noGrp="1"/>
          </p:cNvSpPr>
          <p:nvPr>
            <p:ph type="ftr" sz="quarter" idx="22"/>
          </p:nvPr>
        </p:nvSpPr>
        <p:spPr/>
        <p:txBody>
          <a:bodyPr/>
          <a:lstStyle>
            <a:lvl1pPr algn="l">
              <a:defRPr sz="1333" b="1" dirty="0" smtClean="0">
                <a:solidFill>
                  <a:srgbClr val="007FAE"/>
                </a:solidFill>
                <a:latin typeface="Arial" panose="020B0604020202020204" pitchFamily="34" charset="0"/>
                <a:cs typeface="Arial" panose="020B0604020202020204" pitchFamily="34" charset="0"/>
              </a:defRPr>
            </a:lvl1pPr>
          </a:lstStyle>
          <a:p>
            <a:pPr>
              <a:defRPr/>
            </a:pPr>
            <a:endParaRPr lang="nl-NL"/>
          </a:p>
        </p:txBody>
      </p:sp>
    </p:spTree>
    <p:extLst>
      <p:ext uri="{BB962C8B-B14F-4D97-AF65-F5344CB8AC3E}">
        <p14:creationId xmlns:p14="http://schemas.microsoft.com/office/powerpoint/2010/main" val="25490188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el, afbeelding en tekst">
    <p:spTree>
      <p:nvGrpSpPr>
        <p:cNvPr id="1" name=""/>
        <p:cNvGrpSpPr/>
        <p:nvPr/>
      </p:nvGrpSpPr>
      <p:grpSpPr>
        <a:xfrm>
          <a:off x="0" y="0"/>
          <a:ext cx="0" cy="0"/>
          <a:chOff x="0" y="0"/>
          <a:chExt cx="0" cy="0"/>
        </a:xfrm>
      </p:grpSpPr>
      <p:sp>
        <p:nvSpPr>
          <p:cNvPr id="5" name="Rechthoek 4">
            <a:extLst>
              <a:ext uri="{C183D7F6-B498-43B3-948B-1728B52AA6E4}">
                <adec:decorative xmlns:adec="http://schemas.microsoft.com/office/drawing/2017/decorative" val="1"/>
              </a:ext>
            </a:extLst>
          </p:cNvPr>
          <p:cNvSpPr/>
          <p:nvPr userDrawn="1"/>
        </p:nvSpPr>
        <p:spPr>
          <a:xfrm>
            <a:off x="0" y="6400801"/>
            <a:ext cx="12192000" cy="455084"/>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nl-NL"/>
          </a:p>
        </p:txBody>
      </p:sp>
      <p:sp>
        <p:nvSpPr>
          <p:cNvPr id="23" name="Tijdelijke aanduiding voor tekst 22"/>
          <p:cNvSpPr>
            <a:spLocks noGrp="1"/>
          </p:cNvSpPr>
          <p:nvPr>
            <p:ph type="body" sz="quarter" idx="18" hasCustomPrompt="1"/>
          </p:nvPr>
        </p:nvSpPr>
        <p:spPr>
          <a:xfrm>
            <a:off x="6096000" y="1411832"/>
            <a:ext cx="5568619" cy="4988983"/>
          </a:xfrm>
        </p:spPr>
        <p:txBody>
          <a:bodyPr/>
          <a:lstStyle>
            <a:lvl1pPr>
              <a:defRPr baseline="0">
                <a:solidFill>
                  <a:schemeClr val="bg2">
                    <a:lumMod val="10000"/>
                  </a:schemeClr>
                </a:solidFill>
              </a:defRPr>
            </a:lvl1pPr>
            <a:lvl2pPr>
              <a:defRPr sz="2667">
                <a:solidFill>
                  <a:schemeClr val="bg2">
                    <a:lumMod val="10000"/>
                  </a:schemeClr>
                </a:solidFill>
              </a:defRPr>
            </a:lvl2pPr>
            <a:lvl3pPr>
              <a:defRPr sz="2400">
                <a:solidFill>
                  <a:schemeClr val="bg2">
                    <a:lumMod val="10000"/>
                  </a:schemeClr>
                </a:solidFill>
              </a:defRPr>
            </a:lvl3pPr>
            <a:lvl4pPr>
              <a:defRPr sz="2133">
                <a:solidFill>
                  <a:schemeClr val="bg2">
                    <a:lumMod val="10000"/>
                  </a:schemeClr>
                </a:solidFill>
              </a:defRPr>
            </a:lvl4pPr>
            <a:lvl5pPr>
              <a:defRPr sz="1867">
                <a:solidFill>
                  <a:schemeClr val="bg2">
                    <a:lumMod val="10000"/>
                  </a:schemeClr>
                </a:solidFill>
              </a:defRPr>
            </a:lvl5pPr>
          </a:lstStyle>
          <a:p>
            <a:pPr lvl="0"/>
            <a:r>
              <a:rPr lang="nl-NL" dirty="0" err="1"/>
              <a:t>Bullet</a:t>
            </a:r>
            <a:r>
              <a:rPr lang="nl-NL" dirty="0"/>
              <a:t> niveau 1</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4" name="Titel 3"/>
          <p:cNvSpPr>
            <a:spLocks noGrp="1"/>
          </p:cNvSpPr>
          <p:nvPr>
            <p:ph type="title" hasCustomPrompt="1"/>
          </p:nvPr>
        </p:nvSpPr>
        <p:spPr>
          <a:xfrm>
            <a:off x="431371" y="356660"/>
            <a:ext cx="11227229" cy="1056117"/>
          </a:xfrm>
        </p:spPr>
        <p:txBody>
          <a:bodyPr/>
          <a:lstStyle>
            <a:lvl1pPr>
              <a:defRPr baseline="0"/>
            </a:lvl1pPr>
          </a:lstStyle>
          <a:p>
            <a:r>
              <a:rPr lang="nl-NL" altLang="nl-NL" dirty="0"/>
              <a:t>Plaats hier de titel van je dia</a:t>
            </a:r>
            <a:endParaRPr lang="nl-NL" dirty="0"/>
          </a:p>
        </p:txBody>
      </p:sp>
      <p:sp>
        <p:nvSpPr>
          <p:cNvPr id="3" name="Tijdelijke aanduiding voor afbeelding 2"/>
          <p:cNvSpPr>
            <a:spLocks noGrp="1"/>
          </p:cNvSpPr>
          <p:nvPr>
            <p:ph type="pic" sz="quarter" idx="22" hasCustomPrompt="1"/>
          </p:nvPr>
        </p:nvSpPr>
        <p:spPr>
          <a:xfrm>
            <a:off x="431371" y="1411832"/>
            <a:ext cx="5664629" cy="4988983"/>
          </a:xfrm>
        </p:spPr>
        <p:txBody>
          <a:bodyPr rtlCol="0">
            <a:noAutofit/>
          </a:bodyPr>
          <a:lstStyle>
            <a:lvl1pPr marL="457189" marR="0" indent="-457189" algn="l" defTabSz="1219170" rtl="0" eaLnBrk="1" fontAlgn="auto" latinLnBrk="0" hangingPunct="1">
              <a:lnSpc>
                <a:spcPct val="100000"/>
              </a:lnSpc>
              <a:spcBef>
                <a:spcPct val="20000"/>
              </a:spcBef>
              <a:spcAft>
                <a:spcPts val="0"/>
              </a:spcAft>
              <a:buClr>
                <a:srgbClr val="E5007D"/>
              </a:buClr>
              <a:buSzTx/>
              <a:buFont typeface="Arial" panose="020B0604020202020204" pitchFamily="34" charset="0"/>
              <a:buChar char="•"/>
              <a:tabLst/>
              <a:defRPr sz="2933"/>
            </a:lvl1pPr>
          </a:lstStyle>
          <a:p>
            <a:pPr lvl="0"/>
            <a:r>
              <a:rPr lang="nl-NL" noProof="0" dirty="0"/>
              <a:t>Klik op het pictogram om een afbeelding in te voegen</a:t>
            </a:r>
          </a:p>
        </p:txBody>
      </p:sp>
      <p:sp>
        <p:nvSpPr>
          <p:cNvPr id="6" name="Tijdelijke aanduiding voor dianummer 12"/>
          <p:cNvSpPr>
            <a:spLocks noGrp="1"/>
          </p:cNvSpPr>
          <p:nvPr>
            <p:ph type="sldNum" sz="quarter" idx="23"/>
          </p:nvPr>
        </p:nvSpPr>
        <p:spPr/>
        <p:txBody>
          <a:bodyPr/>
          <a:lstStyle>
            <a:lvl1pPr algn="ctr">
              <a:defRPr sz="1333" b="1" smtClean="0">
                <a:solidFill>
                  <a:srgbClr val="007FAE"/>
                </a:solidFill>
              </a:defRPr>
            </a:lvl1pPr>
          </a:lstStyle>
          <a:p>
            <a:pPr>
              <a:defRPr/>
            </a:pPr>
            <a:fld id="{79165674-9E81-416D-92A4-157D9C018694}" type="slidenum">
              <a:rPr lang="nl-NL"/>
              <a:pPr>
                <a:defRPr/>
              </a:pPr>
              <a:t>‹#›</a:t>
            </a:fld>
            <a:endParaRPr lang="nl-NL" dirty="0"/>
          </a:p>
        </p:txBody>
      </p:sp>
      <p:sp>
        <p:nvSpPr>
          <p:cNvPr id="7" name="Tijdelijke aanduiding voor datum 6"/>
          <p:cNvSpPr>
            <a:spLocks noGrp="1"/>
          </p:cNvSpPr>
          <p:nvPr>
            <p:ph type="dt" sz="half" idx="24"/>
          </p:nvPr>
        </p:nvSpPr>
        <p:spPr>
          <a:xfrm>
            <a:off x="8434918" y="6400801"/>
            <a:ext cx="2942167" cy="455084"/>
          </a:xfrm>
        </p:spPr>
        <p:txBody>
          <a:bodyPr/>
          <a:lstStyle>
            <a:lvl1pPr algn="r">
              <a:defRPr sz="1333" dirty="0">
                <a:solidFill>
                  <a:schemeClr val="accent4"/>
                </a:solidFill>
                <a:latin typeface="Arial" panose="020B0604020202020204" pitchFamily="34" charset="0"/>
                <a:cs typeface="Arial" panose="020B0604020202020204" pitchFamily="34" charset="0"/>
              </a:defRPr>
            </a:lvl1pPr>
          </a:lstStyle>
          <a:p>
            <a:pPr>
              <a:defRPr/>
            </a:pPr>
            <a:endParaRPr lang="nl-NL"/>
          </a:p>
        </p:txBody>
      </p:sp>
      <p:sp>
        <p:nvSpPr>
          <p:cNvPr id="8" name="Tijdelijke aanduiding voor voettekst 11"/>
          <p:cNvSpPr>
            <a:spLocks noGrp="1"/>
          </p:cNvSpPr>
          <p:nvPr>
            <p:ph type="ftr" sz="quarter" idx="25"/>
          </p:nvPr>
        </p:nvSpPr>
        <p:spPr/>
        <p:txBody>
          <a:bodyPr/>
          <a:lstStyle>
            <a:lvl1pPr algn="l">
              <a:defRPr sz="1333" b="1" dirty="0" smtClean="0">
                <a:solidFill>
                  <a:srgbClr val="007FAE"/>
                </a:solidFill>
                <a:latin typeface="Arial" panose="020B0604020202020204" pitchFamily="34" charset="0"/>
                <a:cs typeface="Arial" panose="020B0604020202020204" pitchFamily="34" charset="0"/>
              </a:defRPr>
            </a:lvl1pPr>
          </a:lstStyle>
          <a:p>
            <a:pPr>
              <a:defRPr/>
            </a:pPr>
            <a:endParaRPr lang="nl-NL"/>
          </a:p>
        </p:txBody>
      </p:sp>
    </p:spTree>
    <p:extLst>
      <p:ext uri="{BB962C8B-B14F-4D97-AF65-F5344CB8AC3E}">
        <p14:creationId xmlns:p14="http://schemas.microsoft.com/office/powerpoint/2010/main" val="27985081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el, media en tekst">
    <p:spTree>
      <p:nvGrpSpPr>
        <p:cNvPr id="1" name=""/>
        <p:cNvGrpSpPr/>
        <p:nvPr/>
      </p:nvGrpSpPr>
      <p:grpSpPr>
        <a:xfrm>
          <a:off x="0" y="0"/>
          <a:ext cx="0" cy="0"/>
          <a:chOff x="0" y="0"/>
          <a:chExt cx="0" cy="0"/>
        </a:xfrm>
      </p:grpSpPr>
      <p:sp>
        <p:nvSpPr>
          <p:cNvPr id="5" name="Rechthoek 4">
            <a:extLst>
              <a:ext uri="{C183D7F6-B498-43B3-948B-1728B52AA6E4}">
                <adec:decorative xmlns:adec="http://schemas.microsoft.com/office/drawing/2017/decorative" val="1"/>
              </a:ext>
            </a:extLst>
          </p:cNvPr>
          <p:cNvSpPr/>
          <p:nvPr userDrawn="1"/>
        </p:nvSpPr>
        <p:spPr>
          <a:xfrm>
            <a:off x="0" y="6400801"/>
            <a:ext cx="12192000" cy="455084"/>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nl-NL"/>
          </a:p>
        </p:txBody>
      </p:sp>
      <p:sp>
        <p:nvSpPr>
          <p:cNvPr id="23" name="Tijdelijke aanduiding voor tekst 22"/>
          <p:cNvSpPr>
            <a:spLocks noGrp="1"/>
          </p:cNvSpPr>
          <p:nvPr>
            <p:ph type="body" sz="quarter" idx="18" hasCustomPrompt="1"/>
          </p:nvPr>
        </p:nvSpPr>
        <p:spPr>
          <a:xfrm>
            <a:off x="6096000" y="1411832"/>
            <a:ext cx="5568619" cy="4988983"/>
          </a:xfrm>
        </p:spPr>
        <p:txBody>
          <a:bodyPr/>
          <a:lstStyle>
            <a:lvl1pPr>
              <a:defRPr baseline="0">
                <a:solidFill>
                  <a:schemeClr val="bg2">
                    <a:lumMod val="10000"/>
                  </a:schemeClr>
                </a:solidFill>
              </a:defRPr>
            </a:lvl1pPr>
            <a:lvl2pPr>
              <a:defRPr sz="2667">
                <a:solidFill>
                  <a:schemeClr val="bg2">
                    <a:lumMod val="10000"/>
                  </a:schemeClr>
                </a:solidFill>
              </a:defRPr>
            </a:lvl2pPr>
            <a:lvl3pPr>
              <a:defRPr sz="2400">
                <a:solidFill>
                  <a:schemeClr val="bg2">
                    <a:lumMod val="10000"/>
                  </a:schemeClr>
                </a:solidFill>
              </a:defRPr>
            </a:lvl3pPr>
            <a:lvl4pPr>
              <a:defRPr sz="2133">
                <a:solidFill>
                  <a:schemeClr val="bg2">
                    <a:lumMod val="10000"/>
                  </a:schemeClr>
                </a:solidFill>
              </a:defRPr>
            </a:lvl4pPr>
            <a:lvl5pPr>
              <a:defRPr sz="1867">
                <a:solidFill>
                  <a:schemeClr val="bg2">
                    <a:lumMod val="10000"/>
                  </a:schemeClr>
                </a:solidFill>
              </a:defRPr>
            </a:lvl5pPr>
          </a:lstStyle>
          <a:p>
            <a:pPr lvl="0"/>
            <a:r>
              <a:rPr lang="nl-NL" dirty="0" err="1"/>
              <a:t>Bullet</a:t>
            </a:r>
            <a:r>
              <a:rPr lang="nl-NL" dirty="0"/>
              <a:t> niveau 1</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4" name="Titel 3"/>
          <p:cNvSpPr>
            <a:spLocks noGrp="1"/>
          </p:cNvSpPr>
          <p:nvPr>
            <p:ph type="title" hasCustomPrompt="1"/>
          </p:nvPr>
        </p:nvSpPr>
        <p:spPr>
          <a:xfrm>
            <a:off x="431371" y="356660"/>
            <a:ext cx="11227229" cy="1056117"/>
          </a:xfrm>
        </p:spPr>
        <p:txBody>
          <a:bodyPr/>
          <a:lstStyle>
            <a:lvl1pPr>
              <a:defRPr baseline="0"/>
            </a:lvl1pPr>
          </a:lstStyle>
          <a:p>
            <a:r>
              <a:rPr lang="nl-NL" altLang="nl-NL" dirty="0"/>
              <a:t>Plaats hier de titel van je dia</a:t>
            </a:r>
            <a:endParaRPr lang="nl-NL" dirty="0"/>
          </a:p>
        </p:txBody>
      </p:sp>
      <p:sp>
        <p:nvSpPr>
          <p:cNvPr id="12" name="Tijdelijke aanduiding voor inhoud 11"/>
          <p:cNvSpPr>
            <a:spLocks noGrp="1"/>
          </p:cNvSpPr>
          <p:nvPr>
            <p:ph sz="quarter" idx="21" hasCustomPrompt="1"/>
          </p:nvPr>
        </p:nvSpPr>
        <p:spPr>
          <a:xfrm>
            <a:off x="431800" y="1412784"/>
            <a:ext cx="5664200" cy="4988023"/>
          </a:xfrm>
        </p:spPr>
        <p:txBody>
          <a:bodyPr/>
          <a:lstStyle>
            <a:lvl1pPr>
              <a:defRPr sz="2933"/>
            </a:lvl1pPr>
          </a:lstStyle>
          <a:p>
            <a:pPr lvl="0"/>
            <a:r>
              <a:rPr lang="nl-NL" noProof="0" dirty="0"/>
              <a:t>Klik op het een van de pictogrammen om een tabel, grafiek, video of andere media in te voegen</a:t>
            </a:r>
          </a:p>
        </p:txBody>
      </p:sp>
      <p:sp>
        <p:nvSpPr>
          <p:cNvPr id="6" name="Tijdelijke aanduiding voor dianummer 12"/>
          <p:cNvSpPr>
            <a:spLocks noGrp="1"/>
          </p:cNvSpPr>
          <p:nvPr>
            <p:ph type="sldNum" sz="quarter" idx="22"/>
          </p:nvPr>
        </p:nvSpPr>
        <p:spPr/>
        <p:txBody>
          <a:bodyPr/>
          <a:lstStyle>
            <a:lvl1pPr algn="ctr">
              <a:defRPr sz="1333" b="1" smtClean="0">
                <a:solidFill>
                  <a:srgbClr val="007FAE"/>
                </a:solidFill>
              </a:defRPr>
            </a:lvl1pPr>
          </a:lstStyle>
          <a:p>
            <a:pPr>
              <a:defRPr/>
            </a:pPr>
            <a:fld id="{F6FF2055-2245-4721-A884-F57814184D9A}" type="slidenum">
              <a:rPr lang="nl-NL"/>
              <a:pPr>
                <a:defRPr/>
              </a:pPr>
              <a:t>‹#›</a:t>
            </a:fld>
            <a:endParaRPr lang="nl-NL" dirty="0"/>
          </a:p>
        </p:txBody>
      </p:sp>
      <p:sp>
        <p:nvSpPr>
          <p:cNvPr id="7" name="Tijdelijke aanduiding voor datum 6"/>
          <p:cNvSpPr>
            <a:spLocks noGrp="1"/>
          </p:cNvSpPr>
          <p:nvPr>
            <p:ph type="dt" sz="half" idx="23"/>
          </p:nvPr>
        </p:nvSpPr>
        <p:spPr>
          <a:xfrm>
            <a:off x="8434918" y="6400801"/>
            <a:ext cx="2942167" cy="455084"/>
          </a:xfrm>
        </p:spPr>
        <p:txBody>
          <a:bodyPr/>
          <a:lstStyle>
            <a:lvl1pPr algn="r">
              <a:defRPr sz="1333" dirty="0">
                <a:solidFill>
                  <a:schemeClr val="accent4"/>
                </a:solidFill>
                <a:latin typeface="Arial" panose="020B0604020202020204" pitchFamily="34" charset="0"/>
                <a:cs typeface="Arial" panose="020B0604020202020204" pitchFamily="34" charset="0"/>
              </a:defRPr>
            </a:lvl1pPr>
          </a:lstStyle>
          <a:p>
            <a:pPr>
              <a:defRPr/>
            </a:pPr>
            <a:endParaRPr lang="nl-NL"/>
          </a:p>
        </p:txBody>
      </p:sp>
      <p:sp>
        <p:nvSpPr>
          <p:cNvPr id="8" name="Tijdelijke aanduiding voor voettekst 11"/>
          <p:cNvSpPr>
            <a:spLocks noGrp="1"/>
          </p:cNvSpPr>
          <p:nvPr>
            <p:ph type="ftr" sz="quarter" idx="24"/>
          </p:nvPr>
        </p:nvSpPr>
        <p:spPr/>
        <p:txBody>
          <a:bodyPr/>
          <a:lstStyle>
            <a:lvl1pPr algn="l">
              <a:defRPr sz="1333" b="1" dirty="0" smtClean="0">
                <a:solidFill>
                  <a:srgbClr val="007FAE"/>
                </a:solidFill>
                <a:latin typeface="Arial" panose="020B0604020202020204" pitchFamily="34" charset="0"/>
                <a:cs typeface="Arial" panose="020B0604020202020204" pitchFamily="34" charset="0"/>
              </a:defRPr>
            </a:lvl1pPr>
          </a:lstStyle>
          <a:p>
            <a:pPr>
              <a:defRPr/>
            </a:pPr>
            <a:endParaRPr lang="nl-NL"/>
          </a:p>
        </p:txBody>
      </p:sp>
    </p:spTree>
    <p:extLst>
      <p:ext uri="{BB962C8B-B14F-4D97-AF65-F5344CB8AC3E}">
        <p14:creationId xmlns:p14="http://schemas.microsoft.com/office/powerpoint/2010/main" val="39170541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el en blanco ruimte">
    <p:spTree>
      <p:nvGrpSpPr>
        <p:cNvPr id="1" name=""/>
        <p:cNvGrpSpPr/>
        <p:nvPr/>
      </p:nvGrpSpPr>
      <p:grpSpPr>
        <a:xfrm>
          <a:off x="0" y="0"/>
          <a:ext cx="0" cy="0"/>
          <a:chOff x="0" y="0"/>
          <a:chExt cx="0" cy="0"/>
        </a:xfrm>
      </p:grpSpPr>
      <p:sp>
        <p:nvSpPr>
          <p:cNvPr id="3" name="Rechthoek 2">
            <a:extLst>
              <a:ext uri="{C183D7F6-B498-43B3-948B-1728B52AA6E4}">
                <adec:decorative xmlns:adec="http://schemas.microsoft.com/office/drawing/2017/decorative" val="1"/>
              </a:ext>
            </a:extLst>
          </p:cNvPr>
          <p:cNvSpPr/>
          <p:nvPr userDrawn="1"/>
        </p:nvSpPr>
        <p:spPr>
          <a:xfrm>
            <a:off x="0" y="6400801"/>
            <a:ext cx="12192000" cy="455084"/>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nl-NL"/>
          </a:p>
        </p:txBody>
      </p:sp>
      <p:sp>
        <p:nvSpPr>
          <p:cNvPr id="2" name="Titel 1"/>
          <p:cNvSpPr>
            <a:spLocks noGrp="1"/>
          </p:cNvSpPr>
          <p:nvPr>
            <p:ph type="title" hasCustomPrompt="1"/>
          </p:nvPr>
        </p:nvSpPr>
        <p:spPr/>
        <p:txBody>
          <a:bodyPr/>
          <a:lstStyle>
            <a:lvl1pPr>
              <a:defRPr/>
            </a:lvl1pPr>
          </a:lstStyle>
          <a:p>
            <a:r>
              <a:rPr lang="nl-NL" altLang="nl-NL" dirty="0"/>
              <a:t>Plaats hier de titel van je dia</a:t>
            </a:r>
            <a:endParaRPr lang="nl-NL" dirty="0"/>
          </a:p>
        </p:txBody>
      </p:sp>
      <p:sp>
        <p:nvSpPr>
          <p:cNvPr id="4" name="Tijdelijke aanduiding voor dianummer 12"/>
          <p:cNvSpPr>
            <a:spLocks noGrp="1"/>
          </p:cNvSpPr>
          <p:nvPr>
            <p:ph type="sldNum" sz="quarter" idx="10"/>
          </p:nvPr>
        </p:nvSpPr>
        <p:spPr/>
        <p:txBody>
          <a:bodyPr/>
          <a:lstStyle>
            <a:lvl1pPr algn="ctr">
              <a:defRPr sz="1333" b="1" smtClean="0">
                <a:solidFill>
                  <a:srgbClr val="007FAE"/>
                </a:solidFill>
              </a:defRPr>
            </a:lvl1pPr>
          </a:lstStyle>
          <a:p>
            <a:pPr>
              <a:defRPr/>
            </a:pPr>
            <a:fld id="{4BCFBD28-9376-469E-A21E-58618A015C31}" type="slidenum">
              <a:rPr lang="nl-NL"/>
              <a:pPr>
                <a:defRPr/>
              </a:pPr>
              <a:t>‹#›</a:t>
            </a:fld>
            <a:endParaRPr lang="nl-NL" dirty="0"/>
          </a:p>
        </p:txBody>
      </p:sp>
      <p:sp>
        <p:nvSpPr>
          <p:cNvPr id="5" name="Tijdelijke aanduiding voor datum 6"/>
          <p:cNvSpPr>
            <a:spLocks noGrp="1"/>
          </p:cNvSpPr>
          <p:nvPr>
            <p:ph type="dt" sz="half" idx="11"/>
          </p:nvPr>
        </p:nvSpPr>
        <p:spPr>
          <a:xfrm>
            <a:off x="8434918" y="6400801"/>
            <a:ext cx="2942167" cy="455084"/>
          </a:xfrm>
        </p:spPr>
        <p:txBody>
          <a:bodyPr/>
          <a:lstStyle>
            <a:lvl1pPr algn="r">
              <a:defRPr sz="1333" dirty="0">
                <a:solidFill>
                  <a:schemeClr val="accent4"/>
                </a:solidFill>
                <a:latin typeface="Arial" panose="020B0604020202020204" pitchFamily="34" charset="0"/>
                <a:cs typeface="Arial" panose="020B0604020202020204" pitchFamily="34" charset="0"/>
              </a:defRPr>
            </a:lvl1pPr>
          </a:lstStyle>
          <a:p>
            <a:pPr>
              <a:defRPr/>
            </a:pPr>
            <a:endParaRPr lang="nl-NL"/>
          </a:p>
        </p:txBody>
      </p:sp>
      <p:sp>
        <p:nvSpPr>
          <p:cNvPr id="6" name="Tijdelijke aanduiding voor voettekst 11"/>
          <p:cNvSpPr>
            <a:spLocks noGrp="1"/>
          </p:cNvSpPr>
          <p:nvPr>
            <p:ph type="ftr" sz="quarter" idx="12"/>
          </p:nvPr>
        </p:nvSpPr>
        <p:spPr/>
        <p:txBody>
          <a:bodyPr/>
          <a:lstStyle>
            <a:lvl1pPr algn="l">
              <a:defRPr sz="1333" b="1" dirty="0" smtClean="0">
                <a:solidFill>
                  <a:srgbClr val="007FAE"/>
                </a:solidFill>
                <a:latin typeface="Arial" panose="020B0604020202020204" pitchFamily="34" charset="0"/>
                <a:cs typeface="Arial" panose="020B0604020202020204" pitchFamily="34" charset="0"/>
              </a:defRPr>
            </a:lvl1pPr>
          </a:lstStyle>
          <a:p>
            <a:pPr>
              <a:defRPr/>
            </a:pPr>
            <a:endParaRPr lang="nl-NL"/>
          </a:p>
        </p:txBody>
      </p:sp>
    </p:spTree>
    <p:extLst>
      <p:ext uri="{BB962C8B-B14F-4D97-AF65-F5344CB8AC3E}">
        <p14:creationId xmlns:p14="http://schemas.microsoft.com/office/powerpoint/2010/main" val="8861218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ENTSO-E cover">
    <p:spTree>
      <p:nvGrpSpPr>
        <p:cNvPr id="1" name=""/>
        <p:cNvGrpSpPr/>
        <p:nvPr/>
      </p:nvGrpSpPr>
      <p:grpSpPr>
        <a:xfrm>
          <a:off x="0" y="0"/>
          <a:ext cx="0" cy="0"/>
          <a:chOff x="0" y="0"/>
          <a:chExt cx="0" cy="0"/>
        </a:xfrm>
      </p:grpSpPr>
      <p:sp>
        <p:nvSpPr>
          <p:cNvPr id="6" name="Titel 3">
            <a:extLst>
              <a:ext uri="{FF2B5EF4-FFF2-40B4-BE49-F238E27FC236}">
                <a16:creationId xmlns:a16="http://schemas.microsoft.com/office/drawing/2014/main" id="{909A6C70-AEE2-4209-B32F-485DE1E4E030}"/>
              </a:ext>
            </a:extLst>
          </p:cNvPr>
          <p:cNvSpPr>
            <a:spLocks noGrp="1"/>
          </p:cNvSpPr>
          <p:nvPr>
            <p:ph type="title" hasCustomPrompt="1"/>
          </p:nvPr>
        </p:nvSpPr>
        <p:spPr>
          <a:xfrm>
            <a:off x="672001" y="440669"/>
            <a:ext cx="11281639" cy="825489"/>
          </a:xfrm>
          <a:prstGeom prst="rect">
            <a:avLst/>
          </a:prstGeom>
        </p:spPr>
        <p:txBody>
          <a:bodyPr anchor="b"/>
          <a:lstStyle>
            <a:lvl1pPr>
              <a:lnSpc>
                <a:spcPts val="3200"/>
              </a:lnSpc>
              <a:defRPr sz="3000" b="1">
                <a:solidFill>
                  <a:srgbClr val="0F218B"/>
                </a:solidFill>
                <a:latin typeface="Calibri" panose="020F0502020204030204" pitchFamily="34" charset="0"/>
                <a:cs typeface="Calibri" panose="020F0502020204030204" pitchFamily="34" charset="0"/>
              </a:defRPr>
            </a:lvl1pPr>
          </a:lstStyle>
          <a:p>
            <a:r>
              <a:rPr lang="de-DE"/>
              <a:t>Title ENTSO-E PowerPoint-</a:t>
            </a:r>
            <a:r>
              <a:rPr lang="de-DE" err="1"/>
              <a:t>Presentation</a:t>
            </a:r>
            <a:br>
              <a:rPr lang="de-DE"/>
            </a:br>
            <a:r>
              <a:rPr lang="de-DE" err="1"/>
              <a:t>may</a:t>
            </a:r>
            <a:r>
              <a:rPr lang="de-DE"/>
              <a:t> </a:t>
            </a:r>
            <a:r>
              <a:rPr lang="de-DE" err="1"/>
              <a:t>expand</a:t>
            </a:r>
            <a:r>
              <a:rPr lang="de-DE"/>
              <a:t> </a:t>
            </a:r>
            <a:r>
              <a:rPr lang="de-DE" err="1"/>
              <a:t>over</a:t>
            </a:r>
            <a:r>
              <a:rPr lang="de-DE"/>
              <a:t> </a:t>
            </a:r>
            <a:r>
              <a:rPr lang="de-DE" err="1"/>
              <a:t>two</a:t>
            </a:r>
            <a:r>
              <a:rPr lang="de-DE"/>
              <a:t> </a:t>
            </a:r>
            <a:r>
              <a:rPr lang="de-DE" err="1"/>
              <a:t>lines</a:t>
            </a:r>
            <a:r>
              <a:rPr lang="de-DE"/>
              <a:t>, </a:t>
            </a:r>
            <a:r>
              <a:rPr lang="de-DE" err="1"/>
              <a:t>click</a:t>
            </a:r>
            <a:r>
              <a:rPr lang="de-DE"/>
              <a:t> </a:t>
            </a:r>
            <a:r>
              <a:rPr lang="de-DE" err="1"/>
              <a:t>to</a:t>
            </a:r>
            <a:r>
              <a:rPr lang="de-DE"/>
              <a:t> </a:t>
            </a:r>
            <a:r>
              <a:rPr lang="de-DE" err="1"/>
              <a:t>edit</a:t>
            </a:r>
            <a:endParaRPr lang="de-DE"/>
          </a:p>
        </p:txBody>
      </p:sp>
      <p:sp>
        <p:nvSpPr>
          <p:cNvPr id="7" name="Textplatzhalter 7">
            <a:extLst>
              <a:ext uri="{FF2B5EF4-FFF2-40B4-BE49-F238E27FC236}">
                <a16:creationId xmlns:a16="http://schemas.microsoft.com/office/drawing/2014/main" id="{B3677969-4994-472E-9C37-1D009FED4502}"/>
              </a:ext>
            </a:extLst>
          </p:cNvPr>
          <p:cNvSpPr>
            <a:spLocks noGrp="1"/>
          </p:cNvSpPr>
          <p:nvPr>
            <p:ph type="body" sz="quarter" idx="12" hasCustomPrompt="1"/>
          </p:nvPr>
        </p:nvSpPr>
        <p:spPr>
          <a:xfrm>
            <a:off x="672001" y="1451044"/>
            <a:ext cx="11281639" cy="465789"/>
          </a:xfrm>
          <a:prstGeom prst="rect">
            <a:avLst/>
          </a:prstGeom>
        </p:spPr>
        <p:txBody>
          <a:bodyPr>
            <a:normAutofit/>
          </a:bodyPr>
          <a:lstStyle>
            <a:lvl1pPr marL="0" indent="0">
              <a:lnSpc>
                <a:spcPts val="2600"/>
              </a:lnSpc>
              <a:spcBef>
                <a:spcPts val="0"/>
              </a:spcBef>
              <a:buNone/>
              <a:defRPr sz="2000" b="0" i="0">
                <a:solidFill>
                  <a:srgbClr val="009992"/>
                </a:solidFill>
                <a:latin typeface="Calibri" panose="020F0502020204030204" pitchFamily="34" charset="0"/>
                <a:cs typeface="Calibri" panose="020F0502020204030204" pitchFamily="34" charset="0"/>
              </a:defRPr>
            </a:lvl1pPr>
            <a:lvl2pPr marL="457200" indent="0">
              <a:lnSpc>
                <a:spcPts val="2600"/>
              </a:lnSpc>
              <a:buNone/>
              <a:defRPr/>
            </a:lvl2pPr>
            <a:lvl3pPr marL="914400" indent="0">
              <a:buNone/>
              <a:defRPr/>
            </a:lvl3pPr>
          </a:lstStyle>
          <a:p>
            <a:pPr lvl="0"/>
            <a:r>
              <a:rPr lang="de-DE"/>
              <a:t>Subheadline, </a:t>
            </a:r>
            <a:r>
              <a:rPr lang="de-DE" err="1"/>
              <a:t>click</a:t>
            </a:r>
            <a:r>
              <a:rPr lang="de-DE"/>
              <a:t> </a:t>
            </a:r>
            <a:r>
              <a:rPr lang="de-DE" err="1"/>
              <a:t>to</a:t>
            </a:r>
            <a:r>
              <a:rPr lang="de-DE"/>
              <a:t> </a:t>
            </a:r>
            <a:r>
              <a:rPr lang="de-DE" err="1"/>
              <a:t>edit</a:t>
            </a:r>
            <a:r>
              <a:rPr lang="de-DE"/>
              <a:t>. Change </a:t>
            </a:r>
            <a:r>
              <a:rPr lang="de-DE" err="1"/>
              <a:t>picture</a:t>
            </a:r>
            <a:r>
              <a:rPr lang="de-DE"/>
              <a:t> in View &gt; Slide Master &gt; Slide Master 1</a:t>
            </a:r>
          </a:p>
        </p:txBody>
      </p:sp>
      <p:sp>
        <p:nvSpPr>
          <p:cNvPr id="9" name="Rechteck 1">
            <a:extLst>
              <a:ext uri="{FF2B5EF4-FFF2-40B4-BE49-F238E27FC236}">
                <a16:creationId xmlns:a16="http://schemas.microsoft.com/office/drawing/2014/main" id="{F262D997-C2EB-4727-BCED-56D9698BCB32}"/>
              </a:ext>
            </a:extLst>
          </p:cNvPr>
          <p:cNvSpPr/>
          <p:nvPr userDrawn="1"/>
        </p:nvSpPr>
        <p:spPr>
          <a:xfrm flipH="1">
            <a:off x="480001" y="43200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573432205"/>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1956">
          <p15:clr>
            <a:srgbClr val="FBAE40"/>
          </p15:clr>
        </p15:guide>
        <p15:guide id="4" pos="3659">
          <p15:clr>
            <a:srgbClr val="A4A3A4"/>
          </p15:clr>
        </p15:guide>
        <p15:guide id="5" orient="horz" pos="1865">
          <p15:clr>
            <a:srgbClr val="A4A3A4"/>
          </p15:clr>
        </p15:guide>
        <p15:guide id="6" orient="horz" pos="391">
          <p15:clr>
            <a:srgbClr val="A4A3A4"/>
          </p15:clr>
        </p15:guide>
        <p15:guide id="7" orient="horz" pos="1003">
          <p15:clr>
            <a:srgbClr val="A4A3A4"/>
          </p15:clr>
        </p15:guide>
        <p15:guide id="8" orient="horz" pos="913">
          <p15:clr>
            <a:srgbClr val="A4A3A4"/>
          </p15:clr>
        </p15:guide>
        <p15:guide id="9" pos="181">
          <p15:clr>
            <a:srgbClr val="A4A3A4"/>
          </p15:clr>
        </p15:guide>
        <p15:guide id="10"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52736"/>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a:t>Click </a:t>
            </a:r>
            <a:r>
              <a:rPr lang="de-DE" err="1"/>
              <a:t>here</a:t>
            </a:r>
            <a:r>
              <a:rPr lang="de-DE"/>
              <a:t> </a:t>
            </a:r>
            <a:r>
              <a:rPr lang="de-DE" err="1"/>
              <a:t>to</a:t>
            </a:r>
            <a:r>
              <a:rPr lang="de-DE"/>
              <a:t> </a:t>
            </a:r>
            <a:r>
              <a:rPr lang="de-DE" err="1"/>
              <a:t>edit</a:t>
            </a:r>
            <a:r>
              <a:rPr lang="de-DE"/>
              <a: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4111" y="1545377"/>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a:t>Headline 3</a:t>
            </a:r>
          </a:p>
        </p:txBody>
      </p:sp>
    </p:spTree>
    <p:extLst>
      <p:ext uri="{BB962C8B-B14F-4D97-AF65-F5344CB8AC3E}">
        <p14:creationId xmlns:p14="http://schemas.microsoft.com/office/powerpoint/2010/main" val="1942140567"/>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285639" y="3074577"/>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hapter </a:t>
            </a:r>
            <a:r>
              <a:rPr lang="de-DE" err="1"/>
              <a:t>slide</a:t>
            </a:r>
            <a:endParaRPr lang="de-DE"/>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54397" y="289281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1166721417"/>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_ENTSO-E One Column">
    <p:spTree>
      <p:nvGrpSpPr>
        <p:cNvPr id="1" name=""/>
        <p:cNvGrpSpPr/>
        <p:nvPr/>
      </p:nvGrpSpPr>
      <p:grpSpPr>
        <a:xfrm>
          <a:off x="0" y="0"/>
          <a:ext cx="0" cy="0"/>
          <a:chOff x="0" y="0"/>
          <a:chExt cx="0" cy="0"/>
        </a:xfrm>
      </p:grpSpPr>
      <p:sp>
        <p:nvSpPr>
          <p:cNvPr id="13" name="Inhaltsplatzhalter 2"/>
          <p:cNvSpPr>
            <a:spLocks noGrp="1"/>
          </p:cNvSpPr>
          <p:nvPr>
            <p:ph idx="1" hasCustomPrompt="1"/>
          </p:nvPr>
        </p:nvSpPr>
        <p:spPr>
          <a:xfrm>
            <a:off x="372538" y="908720"/>
            <a:ext cx="11616268" cy="3815866"/>
          </a:xfrm>
          <a:prstGeom prst="rect">
            <a:avLst/>
          </a:prstGeom>
        </p:spPr>
        <p:txBody>
          <a:bodyPr>
            <a:normAutofit/>
          </a:bodyPr>
          <a:lstStyle>
            <a:lvl1pPr>
              <a:lnSpc>
                <a:spcPct val="90000"/>
              </a:lnSpc>
              <a:defRPr sz="1800">
                <a:latin typeface="Calibri" panose="020F0502020204030204" pitchFamily="34" charset="0"/>
                <a:cs typeface="Calibri" panose="020F0502020204030204" pitchFamily="34" charset="0"/>
              </a:defRPr>
            </a:lvl1pPr>
            <a:lvl2pPr>
              <a:lnSpc>
                <a:spcPct val="90000"/>
              </a:lnSpc>
              <a:defRPr sz="1800">
                <a:latin typeface="Calibri" panose="020F0502020204030204" pitchFamily="34" charset="0"/>
                <a:cs typeface="Calibri" panose="020F0502020204030204" pitchFamily="34" charset="0"/>
              </a:defRPr>
            </a:lvl2pPr>
            <a:lvl3pPr>
              <a:lnSpc>
                <a:spcPct val="90000"/>
              </a:lnSpc>
              <a:defRPr sz="1800">
                <a:latin typeface="Calibri" panose="020F0502020204030204" pitchFamily="34" charset="0"/>
                <a:cs typeface="Calibri" panose="020F0502020204030204" pitchFamily="34" charset="0"/>
              </a:defRPr>
            </a:lvl3pPr>
            <a:lvl4pPr>
              <a:lnSpc>
                <a:spcPct val="90000"/>
              </a:lnSpc>
              <a:defRPr sz="1800">
                <a:latin typeface="Calibri" panose="020F0502020204030204" pitchFamily="34" charset="0"/>
                <a:cs typeface="Calibri" panose="020F0502020204030204" pitchFamily="34" charset="0"/>
              </a:defRPr>
            </a:lvl4pPr>
            <a:lvl5pPr>
              <a:lnSpc>
                <a:spcPct val="90000"/>
              </a:lnSpc>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r>
              <a:rPr lang="de-DE"/>
              <a:t>; Firs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2082248202"/>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Renewables">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descr="A picture containing graphical user interface&#10;&#10;Description automatically generated"/>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177800"/>
            <a:ext cx="4411663" cy="215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p:cNvCxnSpPr>
            <a:cxnSpLocks/>
          </p:cNvCxnSpPr>
          <p:nvPr userDrawn="1"/>
        </p:nvCxnSpPr>
        <p:spPr>
          <a:xfrm>
            <a:off x="4430713" y="728663"/>
            <a:ext cx="0" cy="540067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p:cNvSpPr txBox="1">
            <a:spLocks noChangeArrowheads="1"/>
          </p:cNvSpPr>
          <p:nvPr userDrawn="1"/>
        </p:nvSpPr>
        <p:spPr bwMode="auto">
          <a:xfrm>
            <a:off x="5038725" y="5759450"/>
            <a:ext cx="3605213" cy="369888"/>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nl-NL" altLang="nl-NL" b="1">
                <a:solidFill>
                  <a:schemeClr val="tx2"/>
                </a:solidFill>
              </a:rPr>
              <a:t>Insert Sensitivity Marking</a:t>
            </a:r>
          </a:p>
        </p:txBody>
      </p:sp>
      <p:sp>
        <p:nvSpPr>
          <p:cNvPr id="2" name="Title 1"/>
          <p:cNvSpPr>
            <a:spLocks noGrp="1"/>
          </p:cNvSpPr>
          <p:nvPr>
            <p:ph type="ctrTitle"/>
          </p:nvPr>
        </p:nvSpPr>
        <p:spPr>
          <a:xfrm>
            <a:off x="5114930" y="729000"/>
            <a:ext cx="6372220" cy="3273362"/>
          </a:xfrm>
        </p:spPr>
        <p:txBody>
          <a:bodyPr>
            <a:normAutofit/>
          </a:bodyPr>
          <a:lstStyle>
            <a:lvl1pPr algn="l">
              <a:defRPr sz="4500">
                <a:solidFill>
                  <a:schemeClr val="tx1"/>
                </a:solidFill>
              </a:defRPr>
            </a:lvl1pPr>
          </a:lstStyle>
          <a:p>
            <a:r>
              <a:rPr lang="nl-NL"/>
              <a:t>Klik om de stijl te bewerken</a:t>
            </a:r>
            <a:endParaRPr lang="en-US" dirty="0"/>
          </a:p>
        </p:txBody>
      </p:sp>
      <p:sp>
        <p:nvSpPr>
          <p:cNvPr id="8" name="Subtitle 2"/>
          <p:cNvSpPr>
            <a:spLocks noGrp="1"/>
          </p:cNvSpPr>
          <p:nvPr>
            <p:ph type="subTitle" idx="1"/>
          </p:nvPr>
        </p:nvSpPr>
        <p:spPr>
          <a:xfrm>
            <a:off x="5114930" y="4234934"/>
            <a:ext cx="6449470" cy="1271201"/>
          </a:xfrm>
        </p:spPr>
        <p:txBody>
          <a:bodyPr>
            <a:norm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 om de ondertitelstijl van het model te bewerken</a:t>
            </a:r>
            <a:endParaRPr lang="en-US" dirty="0"/>
          </a:p>
        </p:txBody>
      </p:sp>
    </p:spTree>
    <p:extLst>
      <p:ext uri="{BB962C8B-B14F-4D97-AF65-F5344CB8AC3E}">
        <p14:creationId xmlns:p14="http://schemas.microsoft.com/office/powerpoint/2010/main" val="264996573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ENTSO-E One column bullet points">
    <p:spTree>
      <p:nvGrpSpPr>
        <p:cNvPr id="1" name=""/>
        <p:cNvGrpSpPr/>
        <p:nvPr/>
      </p:nvGrpSpPr>
      <p:grpSpPr>
        <a:xfrm>
          <a:off x="0" y="0"/>
          <a:ext cx="0" cy="0"/>
          <a:chOff x="0" y="0"/>
          <a:chExt cx="0" cy="0"/>
        </a:xfrm>
      </p:grpSpPr>
      <p:sp>
        <p:nvSpPr>
          <p:cNvPr id="6" name="Inhaltsplatzhalter 2">
            <a:extLst>
              <a:ext uri="{FF2B5EF4-FFF2-40B4-BE49-F238E27FC236}">
                <a16:creationId xmlns:a16="http://schemas.microsoft.com/office/drawing/2014/main" id="{935407F8-9A7B-4A34-BB6A-ACBE6B64DA8C}"/>
              </a:ext>
            </a:extLst>
          </p:cNvPr>
          <p:cNvSpPr>
            <a:spLocks noGrp="1"/>
          </p:cNvSpPr>
          <p:nvPr>
            <p:ph idx="16" hasCustomPrompt="1"/>
          </p:nvPr>
        </p:nvSpPr>
        <p:spPr>
          <a:xfrm>
            <a:off x="413466" y="1124744"/>
            <a:ext cx="11616268"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8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5" name="Titel 5">
            <a:extLst>
              <a:ext uri="{FF2B5EF4-FFF2-40B4-BE49-F238E27FC236}">
                <a16:creationId xmlns:a16="http://schemas.microsoft.com/office/drawing/2014/main" id="{9D00A475-8F1F-43A8-B9D4-0E2195454A9F}"/>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177544869"/>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orient="horz" pos="1480">
          <p15:clr>
            <a:srgbClr val="A4A3A4"/>
          </p15:clr>
        </p15:guide>
        <p15:guide id="6" orient="horz" pos="1548">
          <p15:clr>
            <a:srgbClr val="A4A3A4"/>
          </p15:clr>
        </p15:guide>
        <p15:guide id="9" pos="7499">
          <p15:clr>
            <a:srgbClr val="A4A3A4"/>
          </p15:clr>
        </p15:guide>
        <p15:guide id="10" pos="181">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7_ENTSO-E Two columns">
    <p:spTree>
      <p:nvGrpSpPr>
        <p:cNvPr id="1" name=""/>
        <p:cNvGrpSpPr/>
        <p:nvPr/>
      </p:nvGrpSpPr>
      <p:grpSpPr>
        <a:xfrm>
          <a:off x="0" y="0"/>
          <a:ext cx="0" cy="0"/>
          <a:chOff x="0" y="0"/>
          <a:chExt cx="0" cy="0"/>
        </a:xfrm>
      </p:grpSpPr>
      <p:sp>
        <p:nvSpPr>
          <p:cNvPr id="9" name="Inhaltsplatzhalter 2"/>
          <p:cNvSpPr>
            <a:spLocks noGrp="1"/>
          </p:cNvSpPr>
          <p:nvPr>
            <p:ph idx="1" hasCustomPrompt="1"/>
          </p:nvPr>
        </p:nvSpPr>
        <p:spPr>
          <a:xfrm>
            <a:off x="382868" y="1052736"/>
            <a:ext cx="5664117" cy="3311810"/>
          </a:xfrm>
          <a:prstGeom prst="rect">
            <a:avLst/>
          </a:prstGeom>
        </p:spPr>
        <p:txBody>
          <a:bodyPr>
            <a:normAutofit/>
          </a:bodyPr>
          <a:lstStyle>
            <a:lvl1pPr algn="l">
              <a:defRPr sz="18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0" name="Inhaltsplatzhalter 2"/>
          <p:cNvSpPr>
            <a:spLocks noGrp="1"/>
          </p:cNvSpPr>
          <p:nvPr>
            <p:ph idx="13" hasCustomPrompt="1"/>
          </p:nvPr>
        </p:nvSpPr>
        <p:spPr>
          <a:xfrm>
            <a:off x="6206439" y="1052736"/>
            <a:ext cx="5664117" cy="3311810"/>
          </a:xfrm>
          <a:prstGeom prst="rect">
            <a:avLst/>
          </a:prstGeom>
        </p:spPr>
        <p:txBody>
          <a:bodyPr>
            <a:normAutofit/>
          </a:bodyPr>
          <a:lstStyle>
            <a:lvl1pPr>
              <a:defRPr sz="18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6" name="Titel 5">
            <a:extLst>
              <a:ext uri="{FF2B5EF4-FFF2-40B4-BE49-F238E27FC236}">
                <a16:creationId xmlns:a16="http://schemas.microsoft.com/office/drawing/2014/main" id="{BF868832-6945-4F2F-8DEC-A69FB10BA62E}"/>
              </a:ext>
            </a:extLst>
          </p:cNvPr>
          <p:cNvSpPr>
            <a:spLocks noGrp="1"/>
          </p:cNvSpPr>
          <p:nvPr>
            <p:ph type="title" hasCustomPrompt="1"/>
          </p:nvPr>
        </p:nvSpPr>
        <p:spPr>
          <a:xfrm>
            <a:off x="38286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1096975491"/>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pos="181">
          <p15:clr>
            <a:srgbClr val="A4A3A4"/>
          </p15:clr>
        </p15:guide>
        <p15:guide id="5" pos="7499">
          <p15:clr>
            <a:srgbClr val="A4A3A4"/>
          </p15:clr>
        </p15:guide>
        <p15:guide id="6" orient="horz" pos="3634">
          <p15:clr>
            <a:srgbClr val="A4A3A4"/>
          </p15:clr>
        </p15:guide>
        <p15:guide id="7" orient="horz" pos="1049">
          <p15:clr>
            <a:srgbClr val="A4A3A4"/>
          </p15:clr>
        </p15:guide>
        <p15:guide id="8" pos="3749">
          <p15:clr>
            <a:srgbClr val="A4A3A4"/>
          </p15:clr>
        </p15:guide>
        <p15:guide id="9" pos="3931">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8_ENTSO-E Three columns">
    <p:spTree>
      <p:nvGrpSpPr>
        <p:cNvPr id="1" name=""/>
        <p:cNvGrpSpPr/>
        <p:nvPr/>
      </p:nvGrpSpPr>
      <p:grpSpPr>
        <a:xfrm>
          <a:off x="0" y="0"/>
          <a:ext cx="0" cy="0"/>
          <a:chOff x="0" y="0"/>
          <a:chExt cx="0" cy="0"/>
        </a:xfrm>
      </p:grpSpPr>
      <p:sp>
        <p:nvSpPr>
          <p:cNvPr id="13" name="Textplatzhalter 3"/>
          <p:cNvSpPr>
            <a:spLocks noGrp="1"/>
          </p:cNvSpPr>
          <p:nvPr>
            <p:ph type="body" sz="quarter" idx="16" hasCustomPrompt="1"/>
          </p:nvPr>
        </p:nvSpPr>
        <p:spPr>
          <a:xfrm>
            <a:off x="382588" y="1297579"/>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a:t>Headline 3</a:t>
            </a:r>
          </a:p>
        </p:txBody>
      </p:sp>
      <p:sp>
        <p:nvSpPr>
          <p:cNvPr id="14" name="Inhaltsplatzhalter 2">
            <a:extLst>
              <a:ext uri="{FF2B5EF4-FFF2-40B4-BE49-F238E27FC236}">
                <a16:creationId xmlns:a16="http://schemas.microsoft.com/office/drawing/2014/main" id="{9341F4E3-0CAE-4A14-AD42-9C698E28F0E7}"/>
              </a:ext>
            </a:extLst>
          </p:cNvPr>
          <p:cNvSpPr>
            <a:spLocks noGrp="1"/>
          </p:cNvSpPr>
          <p:nvPr>
            <p:ph idx="18" hasCustomPrompt="1"/>
          </p:nvPr>
        </p:nvSpPr>
        <p:spPr>
          <a:xfrm>
            <a:off x="380339" y="1844824"/>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5" name="Inhaltsplatzhalter 2">
            <a:extLst>
              <a:ext uri="{FF2B5EF4-FFF2-40B4-BE49-F238E27FC236}">
                <a16:creationId xmlns:a16="http://schemas.microsoft.com/office/drawing/2014/main" id="{E742937F-ADF9-487A-AB88-EE6EE0E8FD08}"/>
              </a:ext>
            </a:extLst>
          </p:cNvPr>
          <p:cNvSpPr>
            <a:spLocks noGrp="1"/>
          </p:cNvSpPr>
          <p:nvPr>
            <p:ph idx="19" hasCustomPrompt="1"/>
          </p:nvPr>
        </p:nvSpPr>
        <p:spPr>
          <a:xfrm>
            <a:off x="7923229" y="1844822"/>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7" name="Inhaltsplatzhalter 2">
            <a:extLst>
              <a:ext uri="{FF2B5EF4-FFF2-40B4-BE49-F238E27FC236}">
                <a16:creationId xmlns:a16="http://schemas.microsoft.com/office/drawing/2014/main" id="{C1294B06-543C-439B-844D-292C65223D9D}"/>
              </a:ext>
            </a:extLst>
          </p:cNvPr>
          <p:cNvSpPr>
            <a:spLocks noGrp="1"/>
          </p:cNvSpPr>
          <p:nvPr>
            <p:ph idx="20" hasCustomPrompt="1"/>
          </p:nvPr>
        </p:nvSpPr>
        <p:spPr>
          <a:xfrm>
            <a:off x="4151784" y="1844823"/>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9" name="Titel 5">
            <a:extLst>
              <a:ext uri="{FF2B5EF4-FFF2-40B4-BE49-F238E27FC236}">
                <a16:creationId xmlns:a16="http://schemas.microsoft.com/office/drawing/2014/main" id="{009D75ED-94BB-4DB3-A55E-CFA85E39F7A3}"/>
              </a:ext>
            </a:extLst>
          </p:cNvPr>
          <p:cNvSpPr>
            <a:spLocks noGrp="1"/>
          </p:cNvSpPr>
          <p:nvPr>
            <p:ph type="title" hasCustomPrompt="1"/>
          </p:nvPr>
        </p:nvSpPr>
        <p:spPr>
          <a:xfrm>
            <a:off x="380339" y="260648"/>
            <a:ext cx="11617788" cy="431325"/>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11" name="Textplatzhalter 11">
            <a:extLst>
              <a:ext uri="{FF2B5EF4-FFF2-40B4-BE49-F238E27FC236}">
                <a16:creationId xmlns:a16="http://schemas.microsoft.com/office/drawing/2014/main" id="{CDA0278C-3CB1-4B5A-B6A3-7F8C901572EF}"/>
              </a:ext>
            </a:extLst>
          </p:cNvPr>
          <p:cNvSpPr>
            <a:spLocks noGrp="1"/>
          </p:cNvSpPr>
          <p:nvPr>
            <p:ph type="body" sz="quarter" idx="12" hasCustomPrompt="1"/>
          </p:nvPr>
        </p:nvSpPr>
        <p:spPr>
          <a:xfrm>
            <a:off x="382588" y="785744"/>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a:t>Click </a:t>
            </a:r>
            <a:r>
              <a:rPr lang="de-DE" err="1"/>
              <a:t>here</a:t>
            </a:r>
            <a:r>
              <a:rPr lang="de-DE"/>
              <a:t> </a:t>
            </a:r>
            <a:r>
              <a:rPr lang="de-DE" err="1"/>
              <a:t>to</a:t>
            </a:r>
            <a:r>
              <a:rPr lang="de-DE"/>
              <a:t> </a:t>
            </a:r>
            <a:r>
              <a:rPr lang="de-DE" err="1"/>
              <a:t>edit</a:t>
            </a:r>
            <a:r>
              <a:rPr lang="de-DE"/>
              <a:t> Headline 2 </a:t>
            </a:r>
          </a:p>
        </p:txBody>
      </p:sp>
    </p:spTree>
    <p:extLst>
      <p:ext uri="{BB962C8B-B14F-4D97-AF65-F5344CB8AC3E}">
        <p14:creationId xmlns:p14="http://schemas.microsoft.com/office/powerpoint/2010/main" val="63215677"/>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orient="horz" pos="1049">
          <p15:clr>
            <a:srgbClr val="A4A3A4"/>
          </p15:clr>
        </p15:guide>
        <p15:guide id="5" orient="horz" pos="1480">
          <p15:clr>
            <a:srgbClr val="A4A3A4"/>
          </p15:clr>
        </p15:guide>
        <p15:guide id="6" orient="horz" pos="1548">
          <p15:clr>
            <a:srgbClr val="A4A3A4"/>
          </p15:clr>
        </p15:guide>
        <p15:guide id="7" orient="horz" pos="3634">
          <p15:clr>
            <a:srgbClr val="A4A3A4"/>
          </p15:clr>
        </p15:guide>
        <p15:guide id="8" pos="181">
          <p15:clr>
            <a:srgbClr val="A4A3A4"/>
          </p15:clr>
        </p15:guide>
        <p15:guide id="9" pos="7499">
          <p15:clr>
            <a:srgbClr val="A4A3A4"/>
          </p15:clr>
        </p15:guide>
        <p15:guide id="10" pos="3931">
          <p15:clr>
            <a:srgbClr val="A4A3A4"/>
          </p15:clr>
        </p15:guide>
        <p15:guide id="11" pos="3749">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graphicFrame>
        <p:nvGraphicFramePr>
          <p:cNvPr id="7" name="Inhaltsplatzhalter 9" title="Diagramm Platzhalter">
            <a:extLst>
              <a:ext uri="{FF2B5EF4-FFF2-40B4-BE49-F238E27FC236}">
                <a16:creationId xmlns:a16="http://schemas.microsoft.com/office/drawing/2014/main" id="{B463EBB2-B343-A342-A26F-FA6D526125DA}"/>
              </a:ext>
            </a:extLst>
          </p:cNvPr>
          <p:cNvGraphicFramePr>
            <a:graphicFrameLocks/>
          </p:cNvGraphicFramePr>
          <p:nvPr userDrawn="1"/>
        </p:nvGraphicFramePr>
        <p:xfrm>
          <a:off x="6648450" y="1665288"/>
          <a:ext cx="5543550" cy="41036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307789356"/>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ENTSO-E Graph 2">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4" name="Inhaltsplatzhalter 10">
            <a:extLst>
              <a:ext uri="{FF2B5EF4-FFF2-40B4-BE49-F238E27FC236}">
                <a16:creationId xmlns:a16="http://schemas.microsoft.com/office/drawing/2014/main" id="{C04C5352-D576-AE47-888D-BF03439BD4FC}"/>
              </a:ext>
            </a:extLst>
          </p:cNvPr>
          <p:cNvSpPr>
            <a:spLocks noGrp="1"/>
          </p:cNvSpPr>
          <p:nvPr>
            <p:ph idx="1"/>
          </p:nvPr>
        </p:nvSpPr>
        <p:spPr>
          <a:xfrm>
            <a:off x="1739517" y="1665288"/>
            <a:ext cx="8712201" cy="4103972"/>
          </a:xfrm>
        </p:spPr>
        <p:txBody>
          <a:bodyPr>
            <a:normAutofit lnSpcReduction="10000"/>
          </a:bodyPr>
          <a:lstStyle/>
          <a:p>
            <a:r>
              <a:rPr lang="de-DE" b="1"/>
              <a:t>   </a:t>
            </a:r>
            <a:br>
              <a:rPr lang="de-DE" b="1"/>
            </a:br>
            <a:r>
              <a:rPr lang="de-DE" b="1"/>
              <a:t> </a:t>
            </a:r>
            <a:endParaRPr lang="de-DE" b="1"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br>
              <a:rPr lang="de-DE" sz="900" i="1">
                <a:solidFill>
                  <a:prstClr val="black"/>
                </a:solidFill>
              </a:rPr>
            </a:br>
            <a:br>
              <a:rPr lang="de-DE" sz="900" i="1">
                <a:solidFill>
                  <a:prstClr val="black"/>
                </a:solidFill>
              </a:rPr>
            </a:br>
            <a:br>
              <a:rPr lang="de-DE" sz="900" i="1">
                <a:solidFill>
                  <a:prstClr val="black"/>
                </a:solidFill>
              </a:rPr>
            </a:br>
            <a:r>
              <a:rPr lang="de-DE" sz="900" i="1">
                <a:solidFill>
                  <a:prstClr val="black"/>
                </a:solidFill>
              </a:rPr>
              <a:t>Source: Insert </a:t>
            </a:r>
            <a:r>
              <a:rPr lang="de-DE" sz="900" i="1" err="1">
                <a:solidFill>
                  <a:prstClr val="black"/>
                </a:solidFill>
              </a:rPr>
              <a:t>here</a:t>
            </a:r>
            <a:r>
              <a:rPr lang="de-DE" sz="900" i="1">
                <a:solidFill>
                  <a:prstClr val="black"/>
                </a:solidFill>
              </a:rPr>
              <a:t> </a:t>
            </a:r>
            <a:r>
              <a:rPr lang="de-DE" sz="900" i="1" err="1">
                <a:solidFill>
                  <a:prstClr val="black"/>
                </a:solidFill>
              </a:rPr>
              <a:t>if</a:t>
            </a:r>
            <a:r>
              <a:rPr lang="de-DE" sz="900" i="1">
                <a:solidFill>
                  <a:prstClr val="black"/>
                </a:solidFill>
              </a:rPr>
              <a:t> </a:t>
            </a:r>
            <a:r>
              <a:rPr lang="de-DE" sz="900" i="1" err="1">
                <a:solidFill>
                  <a:prstClr val="black"/>
                </a:solidFill>
              </a:rPr>
              <a:t>applicable</a:t>
            </a:r>
            <a:endParaRPr lang="de-DE" sz="900"/>
          </a:p>
        </p:txBody>
      </p:sp>
      <p:graphicFrame>
        <p:nvGraphicFramePr>
          <p:cNvPr id="6" name="Diagramm 5" title="Flächendiagramm Platzhalter">
            <a:extLst>
              <a:ext uri="{FF2B5EF4-FFF2-40B4-BE49-F238E27FC236}">
                <a16:creationId xmlns:a16="http://schemas.microsoft.com/office/drawing/2014/main" id="{654DBC48-79E2-BF45-94FB-10AE0A01AFE4}"/>
              </a:ext>
            </a:extLst>
          </p:cNvPr>
          <p:cNvGraphicFramePr/>
          <p:nvPr userDrawn="1"/>
        </p:nvGraphicFramePr>
        <p:xfrm>
          <a:off x="382587" y="1665288"/>
          <a:ext cx="11522075" cy="399596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29651432"/>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4" name="Inhaltsplatzhalter 1">
            <a:extLst>
              <a:ext uri="{FF2B5EF4-FFF2-40B4-BE49-F238E27FC236}">
                <a16:creationId xmlns:a16="http://schemas.microsoft.com/office/drawing/2014/main" id="{C62E783B-8C38-B14F-A829-53ADBD597589}"/>
              </a:ext>
            </a:extLst>
          </p:cNvPr>
          <p:cNvSpPr>
            <a:spLocks noGrp="1"/>
          </p:cNvSpPr>
          <p:nvPr>
            <p:ph idx="1"/>
          </p:nvPr>
        </p:nvSpPr>
        <p:spPr>
          <a:xfrm>
            <a:off x="407368" y="1747353"/>
            <a:ext cx="7200800" cy="4292180"/>
          </a:xfrm>
        </p:spPr>
        <p:txBody>
          <a:bodyPr/>
          <a:lstStyle/>
          <a:p>
            <a:r>
              <a:rPr lang="de-DE">
                <a:solidFill>
                  <a:srgbClr val="0F218B"/>
                </a:solidFill>
              </a:rPr>
              <a:t>Headline 3 – Edit </a:t>
            </a:r>
            <a:r>
              <a:rPr lang="de-DE" err="1">
                <a:solidFill>
                  <a:srgbClr val="0F218B"/>
                </a:solidFill>
              </a:rPr>
              <a:t>the</a:t>
            </a:r>
            <a:r>
              <a:rPr lang="de-DE">
                <a:solidFill>
                  <a:srgbClr val="0F218B"/>
                </a:solidFill>
              </a:rPr>
              <a:t> </a:t>
            </a:r>
            <a:r>
              <a:rPr lang="de-DE" err="1">
                <a:solidFill>
                  <a:srgbClr val="0F218B"/>
                </a:solidFill>
              </a:rPr>
              <a:t>pie</a:t>
            </a:r>
            <a:r>
              <a:rPr lang="de-DE">
                <a:solidFill>
                  <a:srgbClr val="0F218B"/>
                </a:solidFill>
              </a:rPr>
              <a:t> </a:t>
            </a:r>
            <a:r>
              <a:rPr lang="de-DE" err="1">
                <a:solidFill>
                  <a:srgbClr val="0F218B"/>
                </a:solidFill>
              </a:rPr>
              <a:t>chart</a:t>
            </a:r>
            <a:r>
              <a:rPr lang="de-DE">
                <a:solidFill>
                  <a:srgbClr val="0F218B"/>
                </a:solidFill>
              </a:rPr>
              <a:t> </a:t>
            </a:r>
            <a:r>
              <a:rPr lang="de-DE" err="1">
                <a:solidFill>
                  <a:srgbClr val="0F218B"/>
                </a:solidFill>
              </a:rPr>
              <a:t>by</a:t>
            </a:r>
            <a:r>
              <a:rPr lang="de-DE">
                <a:solidFill>
                  <a:srgbClr val="0F218B"/>
                </a:solidFill>
              </a:rPr>
              <a:t> </a:t>
            </a:r>
            <a:r>
              <a:rPr lang="de-DE" err="1">
                <a:solidFill>
                  <a:srgbClr val="0F218B"/>
                </a:solidFill>
              </a:rPr>
              <a:t>clicking</a:t>
            </a:r>
            <a:r>
              <a:rPr lang="de-DE">
                <a:solidFill>
                  <a:srgbClr val="0F218B"/>
                </a:solidFill>
              </a:rPr>
              <a:t> on it. </a:t>
            </a:r>
            <a:r>
              <a:rPr lang="de-DE" err="1">
                <a:solidFill>
                  <a:srgbClr val="0F218B"/>
                </a:solidFill>
              </a:rPr>
              <a:t>Now</a:t>
            </a:r>
            <a:r>
              <a:rPr lang="de-DE">
                <a:solidFill>
                  <a:srgbClr val="0F218B"/>
                </a:solidFill>
              </a:rPr>
              <a:t> </a:t>
            </a:r>
            <a:r>
              <a:rPr lang="de-DE" err="1">
                <a:solidFill>
                  <a:srgbClr val="0F218B"/>
                </a:solidFill>
              </a:rPr>
              <a:t>icons</a:t>
            </a:r>
            <a:r>
              <a:rPr lang="de-DE">
                <a:solidFill>
                  <a:srgbClr val="0F218B"/>
                </a:solidFill>
              </a:rPr>
              <a:t> </a:t>
            </a:r>
            <a:r>
              <a:rPr lang="de-DE" err="1">
                <a:solidFill>
                  <a:srgbClr val="0F218B"/>
                </a:solidFill>
              </a:rPr>
              <a:t>appear</a:t>
            </a:r>
            <a:r>
              <a:rPr lang="de-DE">
                <a:solidFill>
                  <a:srgbClr val="0F218B"/>
                </a:solidFill>
              </a:rPr>
              <a:t>. </a:t>
            </a:r>
            <a:r>
              <a:rPr lang="de-DE" err="1">
                <a:solidFill>
                  <a:srgbClr val="0F218B"/>
                </a:solidFill>
              </a:rPr>
              <a:t>If</a:t>
            </a:r>
            <a:r>
              <a:rPr lang="de-DE">
                <a:solidFill>
                  <a:srgbClr val="0F218B"/>
                </a:solidFill>
              </a:rPr>
              <a:t> </a:t>
            </a:r>
            <a:r>
              <a:rPr lang="de-DE" err="1">
                <a:solidFill>
                  <a:srgbClr val="0F218B"/>
                </a:solidFill>
              </a:rPr>
              <a:t>you</a:t>
            </a:r>
            <a:r>
              <a:rPr lang="de-DE">
                <a:solidFill>
                  <a:srgbClr val="0F218B"/>
                </a:solidFill>
              </a:rPr>
              <a:t> </a:t>
            </a:r>
            <a:r>
              <a:rPr lang="de-DE" err="1">
                <a:solidFill>
                  <a:srgbClr val="0F218B"/>
                </a:solidFill>
              </a:rPr>
              <a:t>keep</a:t>
            </a:r>
            <a:r>
              <a:rPr lang="de-DE">
                <a:solidFill>
                  <a:srgbClr val="0F218B"/>
                </a:solidFill>
              </a:rPr>
              <a:t> </a:t>
            </a:r>
            <a:r>
              <a:rPr lang="de-DE" err="1">
                <a:solidFill>
                  <a:srgbClr val="0F218B"/>
                </a:solidFill>
              </a:rPr>
              <a:t>the</a:t>
            </a:r>
            <a:r>
              <a:rPr lang="de-DE">
                <a:solidFill>
                  <a:srgbClr val="0F218B"/>
                </a:solidFill>
              </a:rPr>
              <a:t> </a:t>
            </a:r>
            <a:r>
              <a:rPr lang="de-DE" err="1">
                <a:solidFill>
                  <a:srgbClr val="0F218B"/>
                </a:solidFill>
              </a:rPr>
              <a:t>cursor</a:t>
            </a:r>
            <a:r>
              <a:rPr lang="de-DE">
                <a:solidFill>
                  <a:srgbClr val="0F218B"/>
                </a:solidFill>
              </a:rPr>
              <a:t> </a:t>
            </a:r>
            <a:r>
              <a:rPr lang="de-DE" err="1">
                <a:solidFill>
                  <a:srgbClr val="0F218B"/>
                </a:solidFill>
              </a:rPr>
              <a:t>above</a:t>
            </a:r>
            <a:r>
              <a:rPr lang="de-DE">
                <a:solidFill>
                  <a:srgbClr val="0F218B"/>
                </a:solidFill>
              </a:rPr>
              <a:t> </a:t>
            </a:r>
            <a:r>
              <a:rPr lang="de-DE" err="1">
                <a:solidFill>
                  <a:srgbClr val="0F218B"/>
                </a:solidFill>
              </a:rPr>
              <a:t>the</a:t>
            </a:r>
            <a:r>
              <a:rPr lang="de-DE">
                <a:solidFill>
                  <a:srgbClr val="0F218B"/>
                </a:solidFill>
              </a:rPr>
              <a:t> </a:t>
            </a:r>
            <a:r>
              <a:rPr lang="de-DE" err="1">
                <a:solidFill>
                  <a:srgbClr val="0F218B"/>
                </a:solidFill>
              </a:rPr>
              <a:t>icons</a:t>
            </a:r>
            <a:r>
              <a:rPr lang="de-DE">
                <a:solidFill>
                  <a:srgbClr val="0F218B"/>
                </a:solidFill>
              </a:rPr>
              <a:t>, a </a:t>
            </a:r>
            <a:r>
              <a:rPr lang="de-DE" err="1">
                <a:solidFill>
                  <a:srgbClr val="0F218B"/>
                </a:solidFill>
              </a:rPr>
              <a:t>descriptive</a:t>
            </a:r>
            <a:r>
              <a:rPr lang="de-DE">
                <a:solidFill>
                  <a:srgbClr val="0F218B"/>
                </a:solidFill>
              </a:rPr>
              <a:t> </a:t>
            </a:r>
            <a:r>
              <a:rPr lang="de-DE" err="1">
                <a:solidFill>
                  <a:srgbClr val="0F218B"/>
                </a:solidFill>
              </a:rPr>
              <a:t>text</a:t>
            </a:r>
            <a:r>
              <a:rPr lang="de-DE">
                <a:solidFill>
                  <a:srgbClr val="0F218B"/>
                </a:solidFill>
              </a:rPr>
              <a:t> </a:t>
            </a:r>
            <a:r>
              <a:rPr lang="de-DE" err="1">
                <a:solidFill>
                  <a:srgbClr val="0F218B"/>
                </a:solidFill>
              </a:rPr>
              <a:t>appears</a:t>
            </a:r>
            <a:r>
              <a:rPr lang="de-DE">
                <a:solidFill>
                  <a:srgbClr val="0F218B"/>
                </a:solidFill>
              </a:rPr>
              <a:t>. </a:t>
            </a:r>
          </a:p>
          <a:p>
            <a:r>
              <a:rPr lang="de-DE" err="1"/>
              <a:t>You</a:t>
            </a:r>
            <a:r>
              <a:rPr lang="de-DE"/>
              <a:t> </a:t>
            </a:r>
            <a:r>
              <a:rPr lang="de-DE" err="1"/>
              <a:t>may</a:t>
            </a:r>
            <a:r>
              <a:rPr lang="de-DE"/>
              <a:t> </a:t>
            </a:r>
            <a:r>
              <a:rPr lang="de-DE" err="1"/>
              <a:t>change</a:t>
            </a:r>
            <a:r>
              <a:rPr lang="de-DE"/>
              <a:t> </a:t>
            </a:r>
            <a:r>
              <a:rPr lang="de-DE" err="1"/>
              <a:t>the</a:t>
            </a:r>
            <a:r>
              <a:rPr lang="de-DE"/>
              <a:t> type </a:t>
            </a:r>
            <a:r>
              <a:rPr lang="de-DE" err="1"/>
              <a:t>of</a:t>
            </a:r>
            <a:r>
              <a:rPr lang="de-DE"/>
              <a:t> </a:t>
            </a:r>
            <a:r>
              <a:rPr lang="de-DE" err="1"/>
              <a:t>chart</a:t>
            </a:r>
            <a:r>
              <a:rPr lang="de-DE"/>
              <a:t>, </a:t>
            </a:r>
            <a:r>
              <a:rPr lang="de-DE" err="1"/>
              <a:t>the</a:t>
            </a:r>
            <a:r>
              <a:rPr lang="de-DE"/>
              <a:t> </a:t>
            </a:r>
            <a:r>
              <a:rPr lang="de-DE" err="1"/>
              <a:t>layout</a:t>
            </a:r>
            <a:r>
              <a:rPr lang="de-DE"/>
              <a:t> and </a:t>
            </a:r>
            <a:r>
              <a:rPr lang="de-DE" err="1"/>
              <a:t>colour</a:t>
            </a:r>
            <a:r>
              <a:rPr lang="de-DE"/>
              <a:t> </a:t>
            </a:r>
            <a:r>
              <a:rPr lang="de-DE" err="1"/>
              <a:t>scheme</a:t>
            </a:r>
            <a:r>
              <a:rPr lang="de-DE"/>
              <a:t>. </a:t>
            </a:r>
            <a:r>
              <a:rPr lang="de-DE" err="1"/>
              <a:t>We</a:t>
            </a:r>
            <a:r>
              <a:rPr lang="de-DE"/>
              <a:t> </a:t>
            </a:r>
            <a:r>
              <a:rPr lang="de-DE" err="1"/>
              <a:t>advise</a:t>
            </a:r>
            <a:r>
              <a:rPr lang="de-DE"/>
              <a:t> </a:t>
            </a:r>
            <a:r>
              <a:rPr lang="de-DE" err="1"/>
              <a:t>to</a:t>
            </a:r>
            <a:r>
              <a:rPr lang="de-DE"/>
              <a:t> </a:t>
            </a:r>
            <a:r>
              <a:rPr lang="de-DE" err="1"/>
              <a:t>refrain</a:t>
            </a:r>
            <a:r>
              <a:rPr lang="de-DE"/>
              <a:t> </a:t>
            </a:r>
            <a:r>
              <a:rPr lang="de-DE" err="1"/>
              <a:t>from</a:t>
            </a:r>
            <a:r>
              <a:rPr lang="de-DE"/>
              <a:t> </a:t>
            </a:r>
            <a:r>
              <a:rPr lang="de-DE" err="1"/>
              <a:t>using</a:t>
            </a:r>
            <a:r>
              <a:rPr lang="de-DE"/>
              <a:t> </a:t>
            </a:r>
            <a:r>
              <a:rPr lang="de-DE" err="1"/>
              <a:t>gradients</a:t>
            </a:r>
            <a:r>
              <a:rPr lang="de-DE"/>
              <a:t> and </a:t>
            </a:r>
            <a:r>
              <a:rPr lang="de-DE" err="1"/>
              <a:t>shadows</a:t>
            </a:r>
            <a:r>
              <a:rPr lang="de-DE"/>
              <a:t> – </a:t>
            </a:r>
            <a:r>
              <a:rPr lang="de-DE" err="1"/>
              <a:t>this</a:t>
            </a:r>
            <a:r>
              <a:rPr lang="de-DE"/>
              <a:t> </a:t>
            </a:r>
            <a:r>
              <a:rPr lang="de-DE" err="1"/>
              <a:t>does</a:t>
            </a:r>
            <a:r>
              <a:rPr lang="de-DE"/>
              <a:t> not </a:t>
            </a:r>
            <a:r>
              <a:rPr lang="de-DE" err="1"/>
              <a:t>add</a:t>
            </a:r>
            <a:r>
              <a:rPr lang="de-DE"/>
              <a:t> </a:t>
            </a:r>
            <a:r>
              <a:rPr lang="de-DE" err="1"/>
              <a:t>any</a:t>
            </a:r>
            <a:r>
              <a:rPr lang="de-DE"/>
              <a:t> </a:t>
            </a:r>
            <a:r>
              <a:rPr lang="de-DE" err="1"/>
              <a:t>information</a:t>
            </a:r>
            <a:r>
              <a:rPr lang="de-DE"/>
              <a:t> in </a:t>
            </a:r>
            <a:r>
              <a:rPr lang="de-DE" err="1"/>
              <a:t>most</a:t>
            </a:r>
            <a:r>
              <a:rPr lang="de-DE"/>
              <a:t> </a:t>
            </a:r>
            <a:r>
              <a:rPr lang="de-DE" err="1"/>
              <a:t>cases</a:t>
            </a:r>
            <a:r>
              <a:rPr lang="de-DE"/>
              <a:t>. </a:t>
            </a:r>
          </a:p>
          <a:p>
            <a:r>
              <a:rPr lang="en-US"/>
              <a:t>The size of this copy will adapt automatically, depending on how many words you insert or write. If the size of the copy appears too small – rather try editing the text than </a:t>
            </a:r>
            <a:r>
              <a:rPr lang="en-US" err="1"/>
              <a:t>maximising</a:t>
            </a:r>
            <a:r>
              <a:rPr lang="en-US"/>
              <a:t> the size of the text box. </a:t>
            </a:r>
            <a:endParaRPr lang="de-DE"/>
          </a:p>
          <a:p>
            <a:endParaRPr lang="de-DE"/>
          </a:p>
        </p:txBody>
      </p:sp>
      <p:graphicFrame>
        <p:nvGraphicFramePr>
          <p:cNvPr id="6" name="Inhaltsplatzhalter 8" title="Kreisdiagramm Platzhalter">
            <a:extLst>
              <a:ext uri="{FF2B5EF4-FFF2-40B4-BE49-F238E27FC236}">
                <a16:creationId xmlns:a16="http://schemas.microsoft.com/office/drawing/2014/main" id="{6D36771A-5075-9748-A710-7DBB70C12D6A}"/>
              </a:ext>
            </a:extLst>
          </p:cNvPr>
          <p:cNvGraphicFramePr>
            <a:graphicFrameLocks/>
          </p:cNvGraphicFramePr>
          <p:nvPr userDrawn="1"/>
        </p:nvGraphicFramePr>
        <p:xfrm>
          <a:off x="8472264" y="1747353"/>
          <a:ext cx="2951162" cy="41036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29166071"/>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7" name="Inhaltsplatzhalter 1">
            <a:extLst>
              <a:ext uri="{FF2B5EF4-FFF2-40B4-BE49-F238E27FC236}">
                <a16:creationId xmlns:a16="http://schemas.microsoft.com/office/drawing/2014/main" id="{C1F9600C-DD2A-3D4A-B5B0-19ADE1EE280E}"/>
              </a:ext>
            </a:extLst>
          </p:cNvPr>
          <p:cNvSpPr>
            <a:spLocks noGrp="1"/>
          </p:cNvSpPr>
          <p:nvPr>
            <p:ph idx="18"/>
          </p:nvPr>
        </p:nvSpPr>
        <p:spPr>
          <a:xfrm>
            <a:off x="349412" y="854984"/>
            <a:ext cx="3648000" cy="3311525"/>
          </a:xfrm>
        </p:spPr>
        <p:txBody>
          <a:bodyPr>
            <a:noAutofit/>
          </a:bodyPr>
          <a:lstStyle>
            <a:lvl1pPr>
              <a:defRPr sz="1800"/>
            </a:lvl1pPr>
          </a:lstStyle>
          <a:p>
            <a:r>
              <a:rPr lang="de-DE" err="1">
                <a:latin typeface="Calibri" panose="020F0502020204030204" pitchFamily="34" charset="0"/>
                <a:cs typeface="Calibri" panose="020F0502020204030204" pitchFamily="34" charset="0"/>
              </a:rPr>
              <a:t>Examples</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for</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bulle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points</a:t>
            </a:r>
            <a:r>
              <a:rPr lang="de-DE">
                <a:latin typeface="Calibri" panose="020F0502020204030204" pitchFamily="34" charset="0"/>
                <a:cs typeface="Calibri" panose="020F0502020204030204" pitchFamily="34" charset="0"/>
              </a:rPr>
              <a:t>.</a:t>
            </a:r>
          </a:p>
          <a:p>
            <a:r>
              <a:rPr lang="en-US">
                <a:latin typeface="Calibri" panose="020F0502020204030204" pitchFamily="34" charset="0"/>
                <a:cs typeface="Calibri" panose="020F0502020204030204" pitchFamily="34" charset="0"/>
              </a:rPr>
              <a:t>Be aware that there is a significant difference between using only the enter-key and using the combination of enter- and shift-key.</a:t>
            </a:r>
          </a:p>
          <a:p>
            <a:r>
              <a:rPr lang="en-US">
                <a:latin typeface="Calibri" panose="020F0502020204030204" pitchFamily="34" charset="0"/>
                <a:cs typeface="Calibri" panose="020F0502020204030204" pitchFamily="34" charset="0"/>
              </a:rPr>
              <a:t>Using only the enter-key will create a new bullet point.</a:t>
            </a:r>
            <a:br>
              <a:rPr lang="en-US">
                <a:latin typeface="Calibri" panose="020F0502020204030204" pitchFamily="34" charset="0"/>
                <a:cs typeface="Calibri" panose="020F0502020204030204" pitchFamily="34" charset="0"/>
              </a:rPr>
            </a:br>
            <a:r>
              <a:rPr lang="en-US">
                <a:latin typeface="Calibri" panose="020F0502020204030204" pitchFamily="34" charset="0"/>
                <a:cs typeface="Calibri" panose="020F0502020204030204" pitchFamily="34" charset="0"/>
              </a:rPr>
              <a:t> </a:t>
            </a:r>
            <a:br>
              <a:rPr lang="en-US">
                <a:latin typeface="Calibri" panose="020F0502020204030204" pitchFamily="34" charset="0"/>
                <a:cs typeface="Calibri" panose="020F0502020204030204" pitchFamily="34" charset="0"/>
              </a:rPr>
            </a:br>
            <a:r>
              <a:rPr lang="en-US">
                <a:latin typeface="Calibri" panose="020F0502020204030204" pitchFamily="34" charset="0"/>
                <a:cs typeface="Calibri" panose="020F0502020204030204" pitchFamily="34" charset="0"/>
              </a:rPr>
              <a:t>If you only want to start the text in a new line (like this sentence) and keep the numeration, use shift-enter. </a:t>
            </a:r>
          </a:p>
          <a:p>
            <a:r>
              <a:rPr lang="en-US">
                <a:latin typeface="Calibri" panose="020F0502020204030204" pitchFamily="34" charset="0"/>
                <a:cs typeface="Calibri" panose="020F0502020204030204" pitchFamily="34" charset="0"/>
              </a:rPr>
              <a:t>Text will resize automatically.</a:t>
            </a:r>
          </a:p>
          <a:p>
            <a:endParaRPr lang="de-DE">
              <a:latin typeface="Calibri" panose="020F0502020204030204" pitchFamily="34" charset="0"/>
              <a:cs typeface="Calibri" panose="020F0502020204030204" pitchFamily="34" charset="0"/>
            </a:endParaRPr>
          </a:p>
          <a:p>
            <a:endParaRPr lang="en-US">
              <a:latin typeface="Calibri" panose="020F0502020204030204" pitchFamily="34" charset="0"/>
              <a:cs typeface="Calibri" panose="020F0502020204030204" pitchFamily="34" charset="0"/>
            </a:endParaRPr>
          </a:p>
        </p:txBody>
      </p:sp>
      <p:sp>
        <p:nvSpPr>
          <p:cNvPr id="8" name="Inhaltsplatzhalter 2">
            <a:extLst>
              <a:ext uri="{FF2B5EF4-FFF2-40B4-BE49-F238E27FC236}">
                <a16:creationId xmlns:a16="http://schemas.microsoft.com/office/drawing/2014/main" id="{C36A1AC1-56A4-4346-B7AD-92B4196EBB80}"/>
              </a:ext>
            </a:extLst>
          </p:cNvPr>
          <p:cNvSpPr>
            <a:spLocks noGrp="1"/>
          </p:cNvSpPr>
          <p:nvPr>
            <p:ph idx="19"/>
          </p:nvPr>
        </p:nvSpPr>
        <p:spPr>
          <a:xfrm>
            <a:off x="7752184" y="836362"/>
            <a:ext cx="3648000" cy="3311525"/>
          </a:xfrm>
        </p:spPr>
        <p:txBody>
          <a:bodyPr/>
          <a:lstStyle>
            <a:lvl1pPr>
              <a:defRPr sz="1800"/>
            </a:lvl1pPr>
            <a:lvl2pPr>
              <a:defRPr sz="1800"/>
            </a:lvl2pPr>
            <a:lvl3pPr>
              <a:defRPr sz="1800"/>
            </a:lvl3pPr>
            <a:lvl4pPr>
              <a:defRPr sz="1800"/>
            </a:lvl4pPr>
            <a:lvl5pPr>
              <a:defRPr sz="1800"/>
            </a:lvl5pPr>
          </a:lstStyle>
          <a:p>
            <a:r>
              <a:rPr lang="de-DE" err="1">
                <a:latin typeface="Calibri" panose="020F0502020204030204" pitchFamily="34" charset="0"/>
                <a:cs typeface="Calibri" panose="020F0502020204030204" pitchFamily="34" charset="0"/>
              </a:rPr>
              <a:t>Example</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for</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bulle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points</a:t>
            </a:r>
            <a:br>
              <a:rPr lang="de-DE">
                <a:latin typeface="Calibri" panose="020F0502020204030204" pitchFamily="34" charset="0"/>
                <a:cs typeface="Calibri" panose="020F0502020204030204" pitchFamily="34" charset="0"/>
              </a:rPr>
            </a:br>
            <a:endParaRPr lang="de-DE">
              <a:latin typeface="Calibri" panose="020F0502020204030204" pitchFamily="34" charset="0"/>
              <a:cs typeface="Calibri" panose="020F0502020204030204" pitchFamily="34" charset="0"/>
            </a:endParaRPr>
          </a:p>
          <a:p>
            <a:r>
              <a:rPr lang="de-DE">
                <a:latin typeface="Calibri" panose="020F0502020204030204" pitchFamily="34" charset="0"/>
                <a:cs typeface="Calibri" panose="020F0502020204030204" pitchFamily="34" charset="0"/>
              </a:rPr>
              <a:t>Dummy </a:t>
            </a:r>
            <a:r>
              <a:rPr lang="de-DE" err="1">
                <a:latin typeface="Calibri" panose="020F0502020204030204" pitchFamily="34" charset="0"/>
                <a:cs typeface="Calibri" panose="020F0502020204030204" pitchFamily="34" charset="0"/>
              </a:rPr>
              <a:t>tex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here</a:t>
            </a:r>
            <a:endParaRPr lang="de-DE">
              <a:latin typeface="Calibri" panose="020F0502020204030204" pitchFamily="34" charset="0"/>
              <a:cs typeface="Calibri" panose="020F0502020204030204" pitchFamily="34" charset="0"/>
            </a:endParaRPr>
          </a:p>
          <a:p>
            <a:pPr lvl="1"/>
            <a:r>
              <a:rPr lang="de-DE">
                <a:latin typeface="Calibri" panose="020F0502020204030204" pitchFamily="34" charset="0"/>
                <a:cs typeface="Calibri" panose="020F0502020204030204" pitchFamily="34" charset="0"/>
              </a:rPr>
              <a:t>Second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2"/>
            <a:r>
              <a:rPr lang="de-DE">
                <a:latin typeface="Calibri" panose="020F0502020204030204" pitchFamily="34" charset="0"/>
                <a:cs typeface="Calibri" panose="020F0502020204030204" pitchFamily="34" charset="0"/>
              </a:rPr>
              <a:t>Third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3"/>
            <a:r>
              <a:rPr lang="de-DE" err="1">
                <a:latin typeface="Calibri" panose="020F0502020204030204" pitchFamily="34" charset="0"/>
                <a:cs typeface="Calibri" panose="020F0502020204030204" pitchFamily="34" charset="0"/>
              </a:rPr>
              <a:t>Fourth</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4"/>
            <a:r>
              <a:rPr lang="de-DE" err="1">
                <a:latin typeface="Calibri" panose="020F0502020204030204" pitchFamily="34" charset="0"/>
                <a:cs typeface="Calibri" panose="020F0502020204030204" pitchFamily="34" charset="0"/>
              </a:rPr>
              <a:t>Fifth</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p:txBody>
      </p:sp>
      <p:graphicFrame>
        <p:nvGraphicFramePr>
          <p:cNvPr id="9" name="Inhaltsplatzhalter 7" title="Infobox Platzhalter">
            <a:extLst>
              <a:ext uri="{FF2B5EF4-FFF2-40B4-BE49-F238E27FC236}">
                <a16:creationId xmlns:a16="http://schemas.microsoft.com/office/drawing/2014/main" id="{03B3DB83-3BE0-1D49-9913-2E54862A2869}"/>
              </a:ext>
            </a:extLst>
          </p:cNvPr>
          <p:cNvGraphicFramePr>
            <a:graphicFrameLocks/>
          </p:cNvGraphicFramePr>
          <p:nvPr userDrawn="1"/>
        </p:nvGraphicFramePr>
        <p:xfrm>
          <a:off x="4079776" y="836362"/>
          <a:ext cx="3474386" cy="3203797"/>
        </p:xfrm>
        <a:graphic>
          <a:graphicData uri="http://schemas.openxmlformats.org/drawingml/2006/table">
            <a:tbl>
              <a:tblPr bandCol="1">
                <a:tableStyleId>{3B4B98B0-60AC-42C2-AFA5-B58CD77FA1E5}</a:tableStyleId>
              </a:tblPr>
              <a:tblGrid>
                <a:gridCol w="3474386">
                  <a:extLst>
                    <a:ext uri="{9D8B030D-6E8A-4147-A177-3AD203B41FA5}">
                      <a16:colId xmlns:a16="http://schemas.microsoft.com/office/drawing/2014/main" val="1090517882"/>
                    </a:ext>
                  </a:extLst>
                </a:gridCol>
              </a:tblGrid>
              <a:tr h="3203797">
                <a:tc>
                  <a:txBody>
                    <a:bodyPr/>
                    <a:lstStyle/>
                    <a:p>
                      <a:r>
                        <a:rPr lang="de-DE" sz="1800" b="1">
                          <a:solidFill>
                            <a:srgbClr val="015092"/>
                          </a:solidFill>
                          <a:latin typeface="Calibri" panose="020F0502020204030204" pitchFamily="34" charset="0"/>
                          <a:cs typeface="Calibri" panose="020F0502020204030204" pitchFamily="34" charset="0"/>
                        </a:rPr>
                        <a:t>Infobox </a:t>
                      </a:r>
                    </a:p>
                    <a:p>
                      <a:endParaRPr lang="de-DE" sz="1800" b="1">
                        <a:solidFill>
                          <a:srgbClr val="015092"/>
                        </a:solidFill>
                        <a:latin typeface="Calibri" panose="020F0502020204030204" pitchFamily="34" charset="0"/>
                        <a:cs typeface="Calibri" panose="020F0502020204030204" pitchFamily="34" charset="0"/>
                      </a:endParaRPr>
                    </a:p>
                    <a:p>
                      <a:r>
                        <a:rPr lang="de-DE" sz="1800">
                          <a:solidFill>
                            <a:srgbClr val="015092"/>
                          </a:solidFill>
                          <a:latin typeface="Calibri" panose="020F0502020204030204" pitchFamily="34" charset="0"/>
                          <a:cs typeface="Calibri" panose="020F0502020204030204" pitchFamily="34" charset="0"/>
                        </a:rPr>
                        <a:t>By </a:t>
                      </a:r>
                      <a:r>
                        <a:rPr lang="de-DE" sz="1800" err="1">
                          <a:solidFill>
                            <a:srgbClr val="015092"/>
                          </a:solidFill>
                          <a:latin typeface="Calibri" panose="020F0502020204030204" pitchFamily="34" charset="0"/>
                          <a:cs typeface="Calibri" panose="020F0502020204030204" pitchFamily="34" charset="0"/>
                        </a:rPr>
                        <a:t>using</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the</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buttons</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crease</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dent</a:t>
                      </a:r>
                      <a:r>
                        <a:rPr lang="de-DE" sz="1800">
                          <a:solidFill>
                            <a:srgbClr val="015092"/>
                          </a:solidFill>
                          <a:latin typeface="Calibri" panose="020F0502020204030204" pitchFamily="34" charset="0"/>
                          <a:cs typeface="Calibri" panose="020F0502020204030204" pitchFamily="34" charset="0"/>
                        </a:rPr>
                        <a:t>‘ and ‚</a:t>
                      </a:r>
                      <a:r>
                        <a:rPr lang="de-DE" sz="1800" err="1">
                          <a:solidFill>
                            <a:srgbClr val="015092"/>
                          </a:solidFill>
                          <a:latin typeface="Calibri" panose="020F0502020204030204" pitchFamily="34" charset="0"/>
                          <a:cs typeface="Calibri" panose="020F0502020204030204" pitchFamily="34" charset="0"/>
                        </a:rPr>
                        <a:t>decrease</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dent</a:t>
                      </a:r>
                      <a:r>
                        <a:rPr lang="de-DE" sz="1800">
                          <a:solidFill>
                            <a:srgbClr val="015092"/>
                          </a:solidFill>
                          <a:latin typeface="Calibri" panose="020F0502020204030204" pitchFamily="34" charset="0"/>
                          <a:cs typeface="Calibri" panose="020F0502020204030204" pitchFamily="34" charset="0"/>
                        </a:rPr>
                        <a:t>‘ in </a:t>
                      </a:r>
                      <a:r>
                        <a:rPr lang="de-DE" sz="1800" err="1">
                          <a:solidFill>
                            <a:srgbClr val="015092"/>
                          </a:solidFill>
                          <a:latin typeface="Calibri" panose="020F0502020204030204" pitchFamily="34" charset="0"/>
                          <a:cs typeface="Calibri" panose="020F0502020204030204" pitchFamily="34" charset="0"/>
                        </a:rPr>
                        <a:t>the</a:t>
                      </a:r>
                      <a:r>
                        <a:rPr lang="de-DE" sz="1800">
                          <a:solidFill>
                            <a:srgbClr val="015092"/>
                          </a:solidFill>
                          <a:latin typeface="Calibri" panose="020F0502020204030204" pitchFamily="34" charset="0"/>
                          <a:cs typeface="Calibri" panose="020F0502020204030204" pitchFamily="34" charset="0"/>
                        </a:rPr>
                        <a:t> ‚Start‘ </a:t>
                      </a:r>
                      <a:r>
                        <a:rPr lang="de-DE" sz="1800" err="1">
                          <a:solidFill>
                            <a:srgbClr val="015092"/>
                          </a:solidFill>
                          <a:latin typeface="Calibri" panose="020F0502020204030204" pitchFamily="34" charset="0"/>
                          <a:cs typeface="Calibri" panose="020F0502020204030204" pitchFamily="34" charset="0"/>
                        </a:rPr>
                        <a:t>menu</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you</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can</a:t>
                      </a:r>
                      <a:r>
                        <a:rPr lang="de-DE" sz="1800">
                          <a:solidFill>
                            <a:srgbClr val="015092"/>
                          </a:solidFill>
                          <a:latin typeface="Calibri" panose="020F0502020204030204" pitchFamily="34" charset="0"/>
                          <a:cs typeface="Calibri" panose="020F0502020204030204" pitchFamily="34" charset="0"/>
                        </a:rPr>
                        <a:t> switch </a:t>
                      </a:r>
                      <a:r>
                        <a:rPr lang="de-DE" sz="1800" err="1">
                          <a:solidFill>
                            <a:srgbClr val="015092"/>
                          </a:solidFill>
                          <a:latin typeface="Calibri" panose="020F0502020204030204" pitchFamily="34" charset="0"/>
                          <a:cs typeface="Calibri" panose="020F0502020204030204" pitchFamily="34" charset="0"/>
                        </a:rPr>
                        <a:t>between</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dention</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levels</a:t>
                      </a:r>
                      <a:r>
                        <a:rPr lang="de-DE" sz="1800">
                          <a:solidFill>
                            <a:srgbClr val="015092"/>
                          </a:solidFill>
                          <a:latin typeface="Calibri" panose="020F0502020204030204" pitchFamily="34" charset="0"/>
                          <a:cs typeface="Calibri" panose="020F0502020204030204" pitchFamily="34" charset="0"/>
                        </a:rPr>
                        <a:t>. This </a:t>
                      </a:r>
                      <a:r>
                        <a:rPr lang="de-DE" sz="1800" err="1">
                          <a:solidFill>
                            <a:srgbClr val="015092"/>
                          </a:solidFill>
                          <a:latin typeface="Calibri" panose="020F0502020204030204" pitchFamily="34" charset="0"/>
                          <a:cs typeface="Calibri" panose="020F0502020204030204" pitchFamily="34" charset="0"/>
                        </a:rPr>
                        <a:t>is</a:t>
                      </a:r>
                      <a:r>
                        <a:rPr lang="de-DE" sz="1800">
                          <a:solidFill>
                            <a:srgbClr val="015092"/>
                          </a:solidFill>
                          <a:latin typeface="Calibri" panose="020F0502020204030204" pitchFamily="34" charset="0"/>
                          <a:cs typeface="Calibri" panose="020F0502020204030204" pitchFamily="34" charset="0"/>
                        </a:rPr>
                        <a:t> valid </a:t>
                      </a:r>
                      <a:r>
                        <a:rPr lang="de-DE" sz="1800" err="1">
                          <a:solidFill>
                            <a:srgbClr val="015092"/>
                          </a:solidFill>
                          <a:latin typeface="Calibri" panose="020F0502020204030204" pitchFamily="34" charset="0"/>
                          <a:cs typeface="Calibri" panose="020F0502020204030204" pitchFamily="34" charset="0"/>
                        </a:rPr>
                        <a:t>for</a:t>
                      </a:r>
                      <a:r>
                        <a:rPr lang="de-DE" sz="1800">
                          <a:solidFill>
                            <a:srgbClr val="015092"/>
                          </a:solidFill>
                          <a:latin typeface="Calibri" panose="020F0502020204030204" pitchFamily="34" charset="0"/>
                          <a:cs typeface="Calibri" panose="020F0502020204030204" pitchFamily="34" charset="0"/>
                        </a:rPr>
                        <a:t> all </a:t>
                      </a:r>
                      <a:r>
                        <a:rPr lang="de-DE" sz="1800" err="1">
                          <a:solidFill>
                            <a:srgbClr val="015092"/>
                          </a:solidFill>
                          <a:latin typeface="Calibri" panose="020F0502020204030204" pitchFamily="34" charset="0"/>
                          <a:cs typeface="Calibri" panose="020F0502020204030204" pitchFamily="34" charset="0"/>
                        </a:rPr>
                        <a:t>kinds</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of</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listings</a:t>
                      </a:r>
                      <a:r>
                        <a:rPr lang="de-DE" sz="1800">
                          <a:solidFill>
                            <a:srgbClr val="015092"/>
                          </a:solidFill>
                          <a:latin typeface="Calibri" panose="020F0502020204030204" pitchFamily="34" charset="0"/>
                          <a:cs typeface="Calibri" panose="020F0502020204030204" pitchFamily="34" charset="0"/>
                        </a:rPr>
                        <a:t>, e.g. </a:t>
                      </a:r>
                      <a:r>
                        <a:rPr lang="de-DE" sz="1800" err="1">
                          <a:solidFill>
                            <a:srgbClr val="015092"/>
                          </a:solidFill>
                          <a:latin typeface="Calibri" panose="020F0502020204030204" pitchFamily="34" charset="0"/>
                          <a:cs typeface="Calibri" panose="020F0502020204030204" pitchFamily="34" charset="0"/>
                        </a:rPr>
                        <a:t>bullet</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points</a:t>
                      </a:r>
                      <a:r>
                        <a:rPr lang="de-DE" sz="1800">
                          <a:solidFill>
                            <a:srgbClr val="015092"/>
                          </a:solidFill>
                          <a:latin typeface="Calibri" panose="020F0502020204030204" pitchFamily="34" charset="0"/>
                          <a:cs typeface="Calibri" panose="020F0502020204030204" pitchFamily="34" charset="0"/>
                        </a:rPr>
                        <a:t> and </a:t>
                      </a:r>
                      <a:r>
                        <a:rPr lang="de-DE" sz="1800" err="1">
                          <a:solidFill>
                            <a:srgbClr val="015092"/>
                          </a:solidFill>
                          <a:latin typeface="Calibri" panose="020F0502020204030204" pitchFamily="34" charset="0"/>
                          <a:cs typeface="Calibri" panose="020F0502020204030204" pitchFamily="34" charset="0"/>
                        </a:rPr>
                        <a:t>enumerations</a:t>
                      </a:r>
                      <a:r>
                        <a:rPr lang="de-DE" sz="1800">
                          <a:solidFill>
                            <a:srgbClr val="015092"/>
                          </a:solidFill>
                          <a:latin typeface="Calibri" panose="020F0502020204030204" pitchFamily="34" charset="0"/>
                          <a:cs typeface="Calibri" panose="020F0502020204030204" pitchFamily="34" charset="0"/>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alpha val="20000"/>
                      </a:schemeClr>
                    </a:solidFill>
                  </a:tcPr>
                </a:tc>
                <a:extLst>
                  <a:ext uri="{0D108BD9-81ED-4DB2-BD59-A6C34878D82A}">
                    <a16:rowId xmlns:a16="http://schemas.microsoft.com/office/drawing/2014/main" val="2331007764"/>
                  </a:ext>
                </a:extLst>
              </a:tr>
            </a:tbl>
          </a:graphicData>
        </a:graphic>
      </p:graphicFrame>
    </p:spTree>
    <p:extLst>
      <p:ext uri="{BB962C8B-B14F-4D97-AF65-F5344CB8AC3E}">
        <p14:creationId xmlns:p14="http://schemas.microsoft.com/office/powerpoint/2010/main" val="1277180398"/>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
            <a:extLst>
              <a:ext uri="{FF2B5EF4-FFF2-40B4-BE49-F238E27FC236}">
                <a16:creationId xmlns:a16="http://schemas.microsoft.com/office/drawing/2014/main" id="{63F95587-91DB-574E-BF98-C631A8B7FEB8}"/>
              </a:ext>
            </a:extLst>
          </p:cNvPr>
          <p:cNvSpPr>
            <a:spLocks noGrp="1"/>
          </p:cNvSpPr>
          <p:nvPr>
            <p:ph idx="4294967295"/>
          </p:nvPr>
        </p:nvSpPr>
        <p:spPr>
          <a:xfrm>
            <a:off x="359864" y="1124744"/>
            <a:ext cx="11521546" cy="3311810"/>
          </a:xfrm>
        </p:spPr>
        <p:txBody>
          <a:bodyPr numCol="2" spcCol="216000">
            <a:normAutofit/>
          </a:bodyPr>
          <a:lstStyle/>
          <a:p>
            <a:pPr marL="342900" indent="-342900">
              <a:lnSpc>
                <a:spcPct val="120000"/>
              </a:lnSpc>
              <a:buClr>
                <a:srgbClr val="707F86"/>
              </a:buClr>
              <a:buFont typeface="+mj-lt"/>
              <a:buAutoNum type="arabicParenBoth"/>
            </a:pPr>
            <a:r>
              <a:rPr lang="en-US"/>
              <a:t>The size of this copy will adapt automatically, depending on how many words you insert or write. If the size of the copy appears too small – rather try editing the text than </a:t>
            </a:r>
            <a:r>
              <a:rPr lang="en-US" err="1"/>
              <a:t>maximising</a:t>
            </a:r>
            <a:r>
              <a:rPr lang="en-US"/>
              <a:t> the size of the text box. </a:t>
            </a:r>
          </a:p>
          <a:p>
            <a:pPr marL="342900" indent="-342900">
              <a:lnSpc>
                <a:spcPct val="120000"/>
              </a:lnSpc>
              <a:buClr>
                <a:srgbClr val="707F86"/>
              </a:buClr>
              <a:buFont typeface="+mj-lt"/>
              <a:buAutoNum type="arabicParenBoth"/>
            </a:pPr>
            <a:r>
              <a:rPr lang="de-DE"/>
              <a:t>In </a:t>
            </a:r>
            <a:r>
              <a:rPr lang="de-DE" err="1"/>
              <a:t>general</a:t>
            </a:r>
            <a:r>
              <a:rPr lang="de-DE"/>
              <a:t>, </a:t>
            </a:r>
            <a:r>
              <a:rPr lang="de-DE" err="1"/>
              <a:t>it</a:t>
            </a:r>
            <a:r>
              <a:rPr lang="de-DE"/>
              <a:t> </a:t>
            </a:r>
            <a:r>
              <a:rPr lang="de-DE" err="1"/>
              <a:t>is</a:t>
            </a:r>
            <a:r>
              <a:rPr lang="de-DE"/>
              <a:t> a </a:t>
            </a:r>
            <a:r>
              <a:rPr lang="de-DE" err="1"/>
              <a:t>good</a:t>
            </a:r>
            <a:r>
              <a:rPr lang="de-DE"/>
              <a:t> </a:t>
            </a:r>
            <a:r>
              <a:rPr lang="de-DE" err="1"/>
              <a:t>idea</a:t>
            </a:r>
            <a:r>
              <a:rPr lang="de-DE"/>
              <a:t> just </a:t>
            </a:r>
            <a:r>
              <a:rPr lang="de-DE" err="1"/>
              <a:t>to</a:t>
            </a:r>
            <a:r>
              <a:rPr lang="de-DE"/>
              <a:t> </a:t>
            </a:r>
            <a:r>
              <a:rPr lang="de-DE" err="1"/>
              <a:t>provide</a:t>
            </a:r>
            <a:r>
              <a:rPr lang="de-DE"/>
              <a:t> </a:t>
            </a:r>
            <a:r>
              <a:rPr lang="de-DE" err="1"/>
              <a:t>abstracts</a:t>
            </a:r>
            <a:r>
              <a:rPr lang="de-DE"/>
              <a:t> - </a:t>
            </a:r>
            <a:r>
              <a:rPr lang="de-DE" err="1"/>
              <a:t>this</a:t>
            </a:r>
            <a:r>
              <a:rPr lang="de-DE"/>
              <a:t> </a:t>
            </a:r>
            <a:r>
              <a:rPr lang="de-DE" err="1"/>
              <a:t>is</a:t>
            </a:r>
            <a:r>
              <a:rPr lang="de-DE"/>
              <a:t> a screen </a:t>
            </a:r>
            <a:r>
              <a:rPr lang="de-DE" err="1"/>
              <a:t>presentation</a:t>
            </a:r>
            <a:r>
              <a:rPr lang="de-DE"/>
              <a:t>, and </a:t>
            </a:r>
            <a:r>
              <a:rPr lang="de-DE" err="1"/>
              <a:t>nobody</a:t>
            </a:r>
            <a:r>
              <a:rPr lang="de-DE"/>
              <a:t> </a:t>
            </a:r>
            <a:r>
              <a:rPr lang="de-DE" err="1"/>
              <a:t>likes</a:t>
            </a:r>
            <a:r>
              <a:rPr lang="de-DE"/>
              <a:t> </a:t>
            </a:r>
            <a:r>
              <a:rPr lang="de-DE" err="1"/>
              <a:t>to</a:t>
            </a:r>
            <a:r>
              <a:rPr lang="de-DE"/>
              <a:t> </a:t>
            </a:r>
            <a:r>
              <a:rPr lang="de-DE" err="1"/>
              <a:t>read</a:t>
            </a:r>
            <a:r>
              <a:rPr lang="de-DE"/>
              <a:t> </a:t>
            </a:r>
            <a:r>
              <a:rPr lang="de-DE" err="1"/>
              <a:t>much</a:t>
            </a:r>
            <a:r>
              <a:rPr lang="de-DE"/>
              <a:t> </a:t>
            </a:r>
            <a:r>
              <a:rPr lang="de-DE" err="1"/>
              <a:t>text</a:t>
            </a:r>
            <a:r>
              <a:rPr lang="de-DE"/>
              <a:t> on </a:t>
            </a:r>
            <a:r>
              <a:rPr lang="de-DE" err="1"/>
              <a:t>the</a:t>
            </a:r>
            <a:r>
              <a:rPr lang="de-DE"/>
              <a:t> screen. </a:t>
            </a:r>
          </a:p>
          <a:p>
            <a:pPr marL="342900" indent="-342900">
              <a:lnSpc>
                <a:spcPct val="120000"/>
              </a:lnSpc>
              <a:buClr>
                <a:srgbClr val="707F86"/>
              </a:buClr>
              <a:buFont typeface="+mj-lt"/>
              <a:buAutoNum type="arabicParenBoth"/>
            </a:pPr>
            <a:endParaRPr lang="de-DE"/>
          </a:p>
          <a:p>
            <a:pPr marL="342900" indent="-342900">
              <a:lnSpc>
                <a:spcPct val="120000"/>
              </a:lnSpc>
              <a:buClr>
                <a:srgbClr val="707F86"/>
              </a:buClr>
              <a:buFont typeface="+mj-lt"/>
              <a:buAutoNum type="arabicParenBoth"/>
            </a:pPr>
            <a:r>
              <a:rPr lang="en-US"/>
              <a:t>Be aware that there is a significant difference between using only the enter-key and using the combination of enter- and shift-key</a:t>
            </a:r>
            <a:r>
              <a:rPr lang="de-DE"/>
              <a:t>.</a:t>
            </a:r>
          </a:p>
          <a:p>
            <a:pPr marL="342900" indent="-342900">
              <a:lnSpc>
                <a:spcPct val="120000"/>
              </a:lnSpc>
              <a:buClr>
                <a:srgbClr val="707F86"/>
              </a:buClr>
              <a:buFont typeface="+mj-lt"/>
              <a:buAutoNum type="arabicParenBoth"/>
            </a:pPr>
            <a:r>
              <a:rPr lang="de-DE"/>
              <a:t>In </a:t>
            </a:r>
            <a:r>
              <a:rPr lang="de-DE" err="1"/>
              <a:t>this</a:t>
            </a:r>
            <a:r>
              <a:rPr lang="de-DE"/>
              <a:t> </a:t>
            </a:r>
            <a:r>
              <a:rPr lang="de-DE" err="1"/>
              <a:t>textbox</a:t>
            </a:r>
            <a:r>
              <a:rPr lang="de-DE"/>
              <a:t>, </a:t>
            </a:r>
            <a:r>
              <a:rPr lang="de-DE" err="1"/>
              <a:t>using</a:t>
            </a:r>
            <a:r>
              <a:rPr lang="de-DE"/>
              <a:t> </a:t>
            </a:r>
            <a:r>
              <a:rPr lang="de-DE" err="1"/>
              <a:t>only</a:t>
            </a:r>
            <a:r>
              <a:rPr lang="de-DE"/>
              <a:t> </a:t>
            </a:r>
            <a:r>
              <a:rPr lang="de-DE" err="1"/>
              <a:t>the</a:t>
            </a:r>
            <a:r>
              <a:rPr lang="de-DE"/>
              <a:t> enter-</a:t>
            </a:r>
            <a:r>
              <a:rPr lang="de-DE" err="1"/>
              <a:t>key</a:t>
            </a:r>
            <a:r>
              <a:rPr lang="de-DE"/>
              <a:t> will </a:t>
            </a:r>
            <a:r>
              <a:rPr lang="de-DE" err="1"/>
              <a:t>create</a:t>
            </a:r>
            <a:r>
              <a:rPr lang="de-DE"/>
              <a:t> a </a:t>
            </a:r>
            <a:r>
              <a:rPr lang="de-DE" err="1"/>
              <a:t>new</a:t>
            </a:r>
            <a:r>
              <a:rPr lang="de-DE"/>
              <a:t> </a:t>
            </a:r>
            <a:r>
              <a:rPr lang="de-DE" err="1"/>
              <a:t>paragraph</a:t>
            </a:r>
            <a:r>
              <a:rPr lang="de-DE"/>
              <a:t>, </a:t>
            </a:r>
            <a:r>
              <a:rPr lang="de-DE" err="1"/>
              <a:t>causing</a:t>
            </a:r>
            <a:r>
              <a:rPr lang="de-DE"/>
              <a:t> a </a:t>
            </a:r>
            <a:r>
              <a:rPr lang="de-DE" err="1"/>
              <a:t>new</a:t>
            </a:r>
            <a:r>
              <a:rPr lang="de-DE"/>
              <a:t> </a:t>
            </a:r>
            <a:r>
              <a:rPr lang="de-DE" err="1"/>
              <a:t>numeration</a:t>
            </a:r>
            <a:r>
              <a:rPr lang="de-DE"/>
              <a:t>. </a:t>
            </a:r>
            <a:br>
              <a:rPr lang="de-DE"/>
            </a:br>
            <a:r>
              <a:rPr lang="de-DE" err="1"/>
              <a:t>If</a:t>
            </a:r>
            <a:r>
              <a:rPr lang="de-DE"/>
              <a:t> </a:t>
            </a:r>
            <a:r>
              <a:rPr lang="de-DE" err="1"/>
              <a:t>you</a:t>
            </a:r>
            <a:r>
              <a:rPr lang="de-DE"/>
              <a:t> </a:t>
            </a:r>
            <a:r>
              <a:rPr lang="de-DE" err="1"/>
              <a:t>only</a:t>
            </a:r>
            <a:r>
              <a:rPr lang="de-DE"/>
              <a:t> </a:t>
            </a:r>
            <a:r>
              <a:rPr lang="de-DE" err="1"/>
              <a:t>want</a:t>
            </a:r>
            <a:r>
              <a:rPr lang="de-DE"/>
              <a:t> </a:t>
            </a:r>
            <a:r>
              <a:rPr lang="de-DE" err="1"/>
              <a:t>to</a:t>
            </a:r>
            <a:r>
              <a:rPr lang="de-DE"/>
              <a:t> </a:t>
            </a:r>
            <a:r>
              <a:rPr lang="de-DE" err="1"/>
              <a:t>start</a:t>
            </a:r>
            <a:r>
              <a:rPr lang="de-DE"/>
              <a:t> </a:t>
            </a:r>
            <a:r>
              <a:rPr lang="de-DE" err="1"/>
              <a:t>the</a:t>
            </a:r>
            <a:r>
              <a:rPr lang="de-DE"/>
              <a:t> </a:t>
            </a:r>
            <a:r>
              <a:rPr lang="de-DE" err="1"/>
              <a:t>text</a:t>
            </a:r>
            <a:r>
              <a:rPr lang="de-DE"/>
              <a:t> in a </a:t>
            </a:r>
            <a:r>
              <a:rPr lang="de-DE" err="1"/>
              <a:t>new</a:t>
            </a:r>
            <a:r>
              <a:rPr lang="de-DE"/>
              <a:t> </a:t>
            </a:r>
            <a:r>
              <a:rPr lang="de-DE" err="1"/>
              <a:t>line</a:t>
            </a:r>
            <a:r>
              <a:rPr lang="de-DE"/>
              <a:t> (like </a:t>
            </a:r>
            <a:r>
              <a:rPr lang="de-DE" err="1"/>
              <a:t>this</a:t>
            </a:r>
            <a:r>
              <a:rPr lang="de-DE"/>
              <a:t> </a:t>
            </a:r>
            <a:r>
              <a:rPr lang="de-DE" err="1"/>
              <a:t>sentence</a:t>
            </a:r>
            <a:r>
              <a:rPr lang="de-DE"/>
              <a:t>) and </a:t>
            </a:r>
            <a:r>
              <a:rPr lang="de-DE" err="1"/>
              <a:t>keep</a:t>
            </a:r>
            <a:r>
              <a:rPr lang="de-DE"/>
              <a:t> </a:t>
            </a:r>
            <a:r>
              <a:rPr lang="de-DE" err="1"/>
              <a:t>the</a:t>
            </a:r>
            <a:r>
              <a:rPr lang="de-DE"/>
              <a:t> </a:t>
            </a:r>
            <a:r>
              <a:rPr lang="de-DE" err="1"/>
              <a:t>numeration</a:t>
            </a:r>
            <a:r>
              <a:rPr lang="de-DE"/>
              <a:t>, </a:t>
            </a:r>
            <a:r>
              <a:rPr lang="de-DE" err="1"/>
              <a:t>use</a:t>
            </a:r>
            <a:r>
              <a:rPr lang="de-DE"/>
              <a:t> shift-</a:t>
            </a:r>
            <a:r>
              <a:rPr lang="de-DE" err="1"/>
              <a:t>enter</a:t>
            </a:r>
            <a:r>
              <a:rPr lang="de-DE"/>
              <a:t>.  </a:t>
            </a:r>
          </a:p>
        </p:txBody>
      </p:sp>
    </p:spTree>
    <p:extLst>
      <p:ext uri="{BB962C8B-B14F-4D97-AF65-F5344CB8AC3E}">
        <p14:creationId xmlns:p14="http://schemas.microsoft.com/office/powerpoint/2010/main" val="2178556125"/>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
            <a:extLst>
              <a:ext uri="{FF2B5EF4-FFF2-40B4-BE49-F238E27FC236}">
                <a16:creationId xmlns:a16="http://schemas.microsoft.com/office/drawing/2014/main" id="{045ED79A-32AA-D64E-AAD5-54B4B9C4DE4E}"/>
              </a:ext>
            </a:extLst>
          </p:cNvPr>
          <p:cNvSpPr>
            <a:spLocks noGrp="1"/>
          </p:cNvSpPr>
          <p:nvPr>
            <p:ph idx="1"/>
          </p:nvPr>
        </p:nvSpPr>
        <p:spPr>
          <a:xfrm>
            <a:off x="397842" y="939341"/>
            <a:ext cx="11506291" cy="4829919"/>
          </a:xfrm>
        </p:spPr>
        <p:txBody>
          <a:bodyPr/>
          <a:lstStyle>
            <a:lvl1pPr>
              <a:defRPr>
                <a:solidFill>
                  <a:schemeClr val="tx1">
                    <a:lumMod val="50000"/>
                  </a:schemeClr>
                </a:solidFill>
              </a:defRPr>
            </a:lvl1pPr>
          </a:lstStyle>
          <a:p>
            <a:r>
              <a:rPr lang="de-DE">
                <a:solidFill>
                  <a:srgbClr val="0F218B"/>
                </a:solidFill>
              </a:rPr>
              <a:t>Headline 3 – Edit </a:t>
            </a:r>
            <a:r>
              <a:rPr lang="de-DE" err="1">
                <a:solidFill>
                  <a:srgbClr val="0F218B"/>
                </a:solidFill>
              </a:rPr>
              <a:t>text</a:t>
            </a:r>
            <a:r>
              <a:rPr lang="de-DE">
                <a:solidFill>
                  <a:srgbClr val="0F218B"/>
                </a:solidFill>
              </a:rPr>
              <a:t> </a:t>
            </a:r>
            <a:r>
              <a:rPr lang="de-DE" err="1">
                <a:solidFill>
                  <a:srgbClr val="0F218B"/>
                </a:solidFill>
              </a:rPr>
              <a:t>here</a:t>
            </a:r>
            <a:r>
              <a:rPr lang="de-DE">
                <a:solidFill>
                  <a:srgbClr val="0F218B"/>
                </a:solidFill>
              </a:rPr>
              <a:t>.</a:t>
            </a:r>
            <a:endParaRPr lang="de-DE" i="1">
              <a:solidFill>
                <a:srgbClr val="0F218B"/>
              </a:solidFill>
            </a:endParaRPr>
          </a:p>
        </p:txBody>
      </p:sp>
      <p:grpSp>
        <p:nvGrpSpPr>
          <p:cNvPr id="4" name="Group 3553" title="6-Monats-Zeitleiste Platzhalter">
            <a:extLst>
              <a:ext uri="{FF2B5EF4-FFF2-40B4-BE49-F238E27FC236}">
                <a16:creationId xmlns:a16="http://schemas.microsoft.com/office/drawing/2014/main" id="{104D80E7-590A-6F45-BD68-8611B65301C7}"/>
              </a:ext>
            </a:extLst>
          </p:cNvPr>
          <p:cNvGrpSpPr/>
          <p:nvPr userDrawn="1"/>
        </p:nvGrpSpPr>
        <p:grpSpPr>
          <a:xfrm>
            <a:off x="1811339" y="2381327"/>
            <a:ext cx="8569325" cy="3224119"/>
            <a:chOff x="0" y="359738"/>
            <a:chExt cx="10490200" cy="5139089"/>
          </a:xfrm>
        </p:grpSpPr>
        <p:grpSp>
          <p:nvGrpSpPr>
            <p:cNvPr id="6" name="Group 3530">
              <a:extLst>
                <a:ext uri="{FF2B5EF4-FFF2-40B4-BE49-F238E27FC236}">
                  <a16:creationId xmlns:a16="http://schemas.microsoft.com/office/drawing/2014/main" id="{0F489A34-EB0D-9844-8E5C-68A73CD91E77}"/>
                </a:ext>
              </a:extLst>
            </p:cNvPr>
            <p:cNvGrpSpPr/>
            <p:nvPr/>
          </p:nvGrpSpPr>
          <p:grpSpPr>
            <a:xfrm>
              <a:off x="463551" y="803442"/>
              <a:ext cx="5797974" cy="4695385"/>
              <a:chOff x="545" y="358575"/>
              <a:chExt cx="5797973" cy="4695384"/>
            </a:xfrm>
          </p:grpSpPr>
          <p:sp>
            <p:nvSpPr>
              <p:cNvPr id="15" name="Shape 3525">
                <a:extLst>
                  <a:ext uri="{FF2B5EF4-FFF2-40B4-BE49-F238E27FC236}">
                    <a16:creationId xmlns:a16="http://schemas.microsoft.com/office/drawing/2014/main" id="{A153CEA7-30AE-F849-A6F4-864E0256893E}"/>
                  </a:ext>
                </a:extLst>
              </p:cNvPr>
              <p:cNvSpPr/>
              <p:nvPr/>
            </p:nvSpPr>
            <p:spPr>
              <a:xfrm flipV="1">
                <a:off x="545" y="358575"/>
                <a:ext cx="0" cy="241032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6" name="Shape 3526">
                <a:extLst>
                  <a:ext uri="{FF2B5EF4-FFF2-40B4-BE49-F238E27FC236}">
                    <a16:creationId xmlns:a16="http://schemas.microsoft.com/office/drawing/2014/main" id="{60C53EF1-C062-D545-8D50-5E5A151EAEF2}"/>
                  </a:ext>
                </a:extLst>
              </p:cNvPr>
              <p:cNvSpPr/>
              <p:nvPr/>
            </p:nvSpPr>
            <p:spPr>
              <a:xfrm flipV="1">
                <a:off x="755773" y="1567594"/>
                <a:ext cx="0" cy="1201303"/>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7" name="Shape 3527">
                <a:extLst>
                  <a:ext uri="{FF2B5EF4-FFF2-40B4-BE49-F238E27FC236}">
                    <a16:creationId xmlns:a16="http://schemas.microsoft.com/office/drawing/2014/main" id="{13DFF85B-1393-F24D-B481-3D1EF145FDA3}"/>
                  </a:ext>
                </a:extLst>
              </p:cNvPr>
              <p:cNvSpPr/>
              <p:nvPr/>
            </p:nvSpPr>
            <p:spPr>
              <a:xfrm flipV="1">
                <a:off x="5798518" y="721344"/>
                <a:ext cx="0" cy="204755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8" name="Shape 3528">
                <a:extLst>
                  <a:ext uri="{FF2B5EF4-FFF2-40B4-BE49-F238E27FC236}">
                    <a16:creationId xmlns:a16="http://schemas.microsoft.com/office/drawing/2014/main" id="{DC0087D8-03A9-6944-85A2-0EFC81E8E914}"/>
                  </a:ext>
                </a:extLst>
              </p:cNvPr>
              <p:cNvSpPr/>
              <p:nvPr/>
            </p:nvSpPr>
            <p:spPr>
              <a:xfrm>
                <a:off x="1608725" y="3274911"/>
                <a:ext cx="0" cy="1779048"/>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9" name="Shape 3529">
                <a:extLst>
                  <a:ext uri="{FF2B5EF4-FFF2-40B4-BE49-F238E27FC236}">
                    <a16:creationId xmlns:a16="http://schemas.microsoft.com/office/drawing/2014/main" id="{DECA1AED-351A-F54C-8939-BE1935F59845}"/>
                  </a:ext>
                </a:extLst>
              </p:cNvPr>
              <p:cNvSpPr/>
              <p:nvPr/>
            </p:nvSpPr>
            <p:spPr>
              <a:xfrm>
                <a:off x="4459938" y="3274911"/>
                <a:ext cx="0" cy="909640"/>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grpSp>
        <p:grpSp>
          <p:nvGrpSpPr>
            <p:cNvPr id="7" name="Group 3537">
              <a:extLst>
                <a:ext uri="{FF2B5EF4-FFF2-40B4-BE49-F238E27FC236}">
                  <a16:creationId xmlns:a16="http://schemas.microsoft.com/office/drawing/2014/main" id="{A90B8DDB-C27F-1A4D-B381-D7862AAE7931}"/>
                </a:ext>
              </a:extLst>
            </p:cNvPr>
            <p:cNvGrpSpPr/>
            <p:nvPr/>
          </p:nvGrpSpPr>
          <p:grpSpPr>
            <a:xfrm>
              <a:off x="0" y="3216502"/>
              <a:ext cx="10490200" cy="508001"/>
              <a:chOff x="0" y="0"/>
              <a:chExt cx="10490200" cy="508000"/>
            </a:xfrm>
          </p:grpSpPr>
          <p:sp>
            <p:nvSpPr>
              <p:cNvPr id="9" name="Shape 3531">
                <a:extLst>
                  <a:ext uri="{FF2B5EF4-FFF2-40B4-BE49-F238E27FC236}">
                    <a16:creationId xmlns:a16="http://schemas.microsoft.com/office/drawing/2014/main" id="{11C1F5E3-318A-7F41-9327-18EA7D1F2420}"/>
                  </a:ext>
                </a:extLst>
              </p:cNvPr>
              <p:cNvSpPr/>
              <p:nvPr/>
            </p:nvSpPr>
            <p:spPr>
              <a:xfrm>
                <a:off x="1793240" y="0"/>
                <a:ext cx="1524001" cy="508000"/>
              </a:xfrm>
              <a:prstGeom prst="rect">
                <a:avLst/>
              </a:prstGeom>
              <a:solidFill>
                <a:srgbClr val="51A1D2">
                  <a:alpha val="80000"/>
                </a:srgb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err="1">
                    <a:latin typeface="Calibri" panose="020F0502020204030204" pitchFamily="34" charset="0"/>
                    <a:cs typeface="Calibri" panose="020F0502020204030204" pitchFamily="34" charset="0"/>
                  </a:rPr>
                  <a:t>February</a:t>
                </a:r>
                <a:endParaRPr lang="de-DE" sz="1400" cap="none">
                  <a:latin typeface="Calibri" panose="020F0502020204030204" pitchFamily="34" charset="0"/>
                  <a:cs typeface="Calibri" panose="020F0502020204030204" pitchFamily="34" charset="0"/>
                </a:endParaRPr>
              </a:p>
            </p:txBody>
          </p:sp>
          <p:sp>
            <p:nvSpPr>
              <p:cNvPr id="10" name="Shape 3532">
                <a:extLst>
                  <a:ext uri="{FF2B5EF4-FFF2-40B4-BE49-F238E27FC236}">
                    <a16:creationId xmlns:a16="http://schemas.microsoft.com/office/drawing/2014/main" id="{0CAAF65E-76F6-2A43-B9EB-D5012C50B795}"/>
                  </a:ext>
                </a:extLst>
              </p:cNvPr>
              <p:cNvSpPr/>
              <p:nvPr/>
            </p:nvSpPr>
            <p:spPr>
              <a:xfrm>
                <a:off x="3586479" y="0"/>
                <a:ext cx="1524001" cy="508000"/>
              </a:xfrm>
              <a:prstGeom prst="rect">
                <a:avLst/>
              </a:prstGeom>
              <a:solidFill>
                <a:schemeClr val="accent2"/>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March</a:t>
                </a:r>
                <a:endParaRPr sz="1400">
                  <a:latin typeface="Calibri" panose="020F0502020204030204" pitchFamily="34" charset="0"/>
                  <a:cs typeface="Calibri" panose="020F0502020204030204" pitchFamily="34" charset="0"/>
                </a:endParaRPr>
              </a:p>
            </p:txBody>
          </p:sp>
          <p:sp>
            <p:nvSpPr>
              <p:cNvPr id="11" name="Shape 3533">
                <a:extLst>
                  <a:ext uri="{FF2B5EF4-FFF2-40B4-BE49-F238E27FC236}">
                    <a16:creationId xmlns:a16="http://schemas.microsoft.com/office/drawing/2014/main" id="{07E0612B-2EE4-D94B-B9D5-7C3647E11828}"/>
                  </a:ext>
                </a:extLst>
              </p:cNvPr>
              <p:cNvSpPr/>
              <p:nvPr/>
            </p:nvSpPr>
            <p:spPr>
              <a:xfrm>
                <a:off x="5379719" y="0"/>
                <a:ext cx="1524001" cy="508000"/>
              </a:xfrm>
              <a:prstGeom prst="rect">
                <a:avLst/>
              </a:prstGeom>
              <a:solidFill>
                <a:schemeClr val="accent3"/>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April</a:t>
                </a:r>
              </a:p>
            </p:txBody>
          </p:sp>
          <p:sp>
            <p:nvSpPr>
              <p:cNvPr id="12" name="Shape 3534">
                <a:extLst>
                  <a:ext uri="{FF2B5EF4-FFF2-40B4-BE49-F238E27FC236}">
                    <a16:creationId xmlns:a16="http://schemas.microsoft.com/office/drawing/2014/main" id="{A49F006A-263E-B749-84F7-45EC0200E53B}"/>
                  </a:ext>
                </a:extLst>
              </p:cNvPr>
              <p:cNvSpPr/>
              <p:nvPr/>
            </p:nvSpPr>
            <p:spPr>
              <a:xfrm>
                <a:off x="7172959" y="0"/>
                <a:ext cx="1524001" cy="508000"/>
              </a:xfrm>
              <a:prstGeom prst="rect">
                <a:avLst/>
              </a:prstGeom>
              <a:solidFill>
                <a:srgbClr val="313131">
                  <a:alpha val="80000"/>
                </a:srgb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May</a:t>
                </a:r>
              </a:p>
            </p:txBody>
          </p:sp>
          <p:sp>
            <p:nvSpPr>
              <p:cNvPr id="13" name="Shape 3535">
                <a:extLst>
                  <a:ext uri="{FF2B5EF4-FFF2-40B4-BE49-F238E27FC236}">
                    <a16:creationId xmlns:a16="http://schemas.microsoft.com/office/drawing/2014/main" id="{F74572F9-391D-914E-9B18-1442CC5747BA}"/>
                  </a:ext>
                </a:extLst>
              </p:cNvPr>
              <p:cNvSpPr/>
              <p:nvPr/>
            </p:nvSpPr>
            <p:spPr>
              <a:xfrm>
                <a:off x="8966200" y="0"/>
                <a:ext cx="1524000" cy="508000"/>
              </a:xfrm>
              <a:prstGeom prst="rect">
                <a:avLst/>
              </a:prstGeom>
              <a:solidFill>
                <a:srgbClr val="313131">
                  <a:alpha val="60000"/>
                </a:srgb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June</a:t>
                </a:r>
              </a:p>
            </p:txBody>
          </p:sp>
          <p:sp>
            <p:nvSpPr>
              <p:cNvPr id="14" name="Shape 3536">
                <a:extLst>
                  <a:ext uri="{FF2B5EF4-FFF2-40B4-BE49-F238E27FC236}">
                    <a16:creationId xmlns:a16="http://schemas.microsoft.com/office/drawing/2014/main" id="{9E60BD2D-E973-D848-94DA-2522289CF023}"/>
                  </a:ext>
                </a:extLst>
              </p:cNvPr>
              <p:cNvSpPr/>
              <p:nvPr/>
            </p:nvSpPr>
            <p:spPr>
              <a:xfrm>
                <a:off x="0" y="0"/>
                <a:ext cx="1524000" cy="508000"/>
              </a:xfrm>
              <a:prstGeom prst="rect">
                <a:avLst/>
              </a:prstGeom>
              <a:solidFill>
                <a:srgbClr val="015092"/>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err="1">
                    <a:latin typeface="Calibri" panose="020F0502020204030204" pitchFamily="34" charset="0"/>
                    <a:cs typeface="Calibri" panose="020F0502020204030204" pitchFamily="34" charset="0"/>
                  </a:rPr>
                  <a:t>January</a:t>
                </a:r>
                <a:endParaRPr sz="1400">
                  <a:latin typeface="Calibri" panose="020F0502020204030204" pitchFamily="34" charset="0"/>
                  <a:cs typeface="Calibri" panose="020F0502020204030204" pitchFamily="34" charset="0"/>
                </a:endParaRPr>
              </a:p>
            </p:txBody>
          </p:sp>
        </p:grpSp>
        <p:sp>
          <p:nvSpPr>
            <p:cNvPr id="8" name="Shape 3538">
              <a:extLst>
                <a:ext uri="{FF2B5EF4-FFF2-40B4-BE49-F238E27FC236}">
                  <a16:creationId xmlns:a16="http://schemas.microsoft.com/office/drawing/2014/main" id="{A6354215-87B2-714D-B863-6578DB1C0933}"/>
                </a:ext>
              </a:extLst>
            </p:cNvPr>
            <p:cNvSpPr/>
            <p:nvPr/>
          </p:nvSpPr>
          <p:spPr>
            <a:xfrm>
              <a:off x="608959" y="359738"/>
              <a:ext cx="493135" cy="88826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5</a:t>
              </a:r>
            </a:p>
          </p:txBody>
        </p:sp>
      </p:grpSp>
      <p:sp>
        <p:nvSpPr>
          <p:cNvPr id="20" name="Shape 3538">
            <a:extLst>
              <a:ext uri="{FF2B5EF4-FFF2-40B4-BE49-F238E27FC236}">
                <a16:creationId xmlns:a16="http://schemas.microsoft.com/office/drawing/2014/main" id="{35FD298D-674A-CC48-8F61-37BFAA2B6DB3}"/>
              </a:ext>
            </a:extLst>
          </p:cNvPr>
          <p:cNvSpPr/>
          <p:nvPr userDrawn="1"/>
        </p:nvSpPr>
        <p:spPr>
          <a:xfrm>
            <a:off x="2920857" y="3136102"/>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24</a:t>
            </a:r>
            <a:endParaRPr sz="2400">
              <a:solidFill>
                <a:srgbClr val="015092"/>
              </a:solidFill>
              <a:latin typeface="Calibri" panose="020F0502020204030204" pitchFamily="34" charset="0"/>
              <a:cs typeface="Calibri" panose="020F0502020204030204" pitchFamily="34" charset="0"/>
            </a:endParaRPr>
          </a:p>
        </p:txBody>
      </p:sp>
      <p:sp>
        <p:nvSpPr>
          <p:cNvPr id="21" name="Shape 3538">
            <a:extLst>
              <a:ext uri="{FF2B5EF4-FFF2-40B4-BE49-F238E27FC236}">
                <a16:creationId xmlns:a16="http://schemas.microsoft.com/office/drawing/2014/main" id="{7B384765-BFC7-8A40-914E-EB681AEE534B}"/>
              </a:ext>
            </a:extLst>
          </p:cNvPr>
          <p:cNvSpPr/>
          <p:nvPr userDrawn="1"/>
        </p:nvSpPr>
        <p:spPr>
          <a:xfrm>
            <a:off x="7061317" y="2606675"/>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9</a:t>
            </a:r>
            <a:endParaRPr sz="2400">
              <a:solidFill>
                <a:srgbClr val="015092"/>
              </a:solidFill>
              <a:latin typeface="Calibri" panose="020F0502020204030204" pitchFamily="34" charset="0"/>
              <a:cs typeface="Calibri" panose="020F0502020204030204" pitchFamily="34" charset="0"/>
            </a:endParaRPr>
          </a:p>
        </p:txBody>
      </p:sp>
      <p:sp>
        <p:nvSpPr>
          <p:cNvPr id="22" name="Shape 3538">
            <a:extLst>
              <a:ext uri="{FF2B5EF4-FFF2-40B4-BE49-F238E27FC236}">
                <a16:creationId xmlns:a16="http://schemas.microsoft.com/office/drawing/2014/main" id="{AE2700E5-E78F-094F-96E0-403DD94E3ECA}"/>
              </a:ext>
            </a:extLst>
          </p:cNvPr>
          <p:cNvSpPr/>
          <p:nvPr userDrawn="1"/>
        </p:nvSpPr>
        <p:spPr>
          <a:xfrm>
            <a:off x="3640937" y="5319539"/>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09</a:t>
            </a:r>
            <a:endParaRPr sz="2400">
              <a:solidFill>
                <a:srgbClr val="015092"/>
              </a:solidFill>
              <a:latin typeface="Calibri" panose="020F0502020204030204" pitchFamily="34" charset="0"/>
              <a:cs typeface="Calibri" panose="020F0502020204030204" pitchFamily="34" charset="0"/>
            </a:endParaRPr>
          </a:p>
        </p:txBody>
      </p:sp>
      <p:sp>
        <p:nvSpPr>
          <p:cNvPr id="23" name="Shape 3538">
            <a:extLst>
              <a:ext uri="{FF2B5EF4-FFF2-40B4-BE49-F238E27FC236}">
                <a16:creationId xmlns:a16="http://schemas.microsoft.com/office/drawing/2014/main" id="{D2168131-C3E9-2642-AC6A-FD9DF04C35DF}"/>
              </a:ext>
            </a:extLst>
          </p:cNvPr>
          <p:cNvSpPr/>
          <p:nvPr userDrawn="1"/>
        </p:nvSpPr>
        <p:spPr>
          <a:xfrm>
            <a:off x="5945193" y="4771926"/>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30</a:t>
            </a:r>
            <a:endParaRPr sz="2400">
              <a:solidFill>
                <a:srgbClr val="015092"/>
              </a:solidFill>
              <a:latin typeface="Calibri" panose="020F0502020204030204" pitchFamily="34" charset="0"/>
              <a:cs typeface="Calibri" panose="020F0502020204030204" pitchFamily="34" charset="0"/>
            </a:endParaRPr>
          </a:p>
        </p:txBody>
      </p:sp>
      <p:sp>
        <p:nvSpPr>
          <p:cNvPr id="24" name="Shape 3539">
            <a:extLst>
              <a:ext uri="{FF2B5EF4-FFF2-40B4-BE49-F238E27FC236}">
                <a16:creationId xmlns:a16="http://schemas.microsoft.com/office/drawing/2014/main" id="{9070C1F2-9150-574A-80C7-16A9A88CD69A}"/>
              </a:ext>
            </a:extLst>
          </p:cNvPr>
          <p:cNvSpPr/>
          <p:nvPr userDrawn="1"/>
        </p:nvSpPr>
        <p:spPr>
          <a:xfrm>
            <a:off x="2748663" y="2380866"/>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5" name="Shape 3539">
            <a:extLst>
              <a:ext uri="{FF2B5EF4-FFF2-40B4-BE49-F238E27FC236}">
                <a16:creationId xmlns:a16="http://schemas.microsoft.com/office/drawing/2014/main" id="{F165BDCC-DA70-EC46-9626-3AB83AF24553}"/>
              </a:ext>
            </a:extLst>
          </p:cNvPr>
          <p:cNvSpPr/>
          <p:nvPr userDrawn="1"/>
        </p:nvSpPr>
        <p:spPr>
          <a:xfrm>
            <a:off x="7484962" y="2622989"/>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6" name="Shape 3539">
            <a:extLst>
              <a:ext uri="{FF2B5EF4-FFF2-40B4-BE49-F238E27FC236}">
                <a16:creationId xmlns:a16="http://schemas.microsoft.com/office/drawing/2014/main" id="{79E6AE81-3957-014F-ADD0-951A098602AC}"/>
              </a:ext>
            </a:extLst>
          </p:cNvPr>
          <p:cNvSpPr/>
          <p:nvPr userDrawn="1"/>
        </p:nvSpPr>
        <p:spPr>
          <a:xfrm>
            <a:off x="3374198" y="3154499"/>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7" name="Shape 3539">
            <a:extLst>
              <a:ext uri="{FF2B5EF4-FFF2-40B4-BE49-F238E27FC236}">
                <a16:creationId xmlns:a16="http://schemas.microsoft.com/office/drawing/2014/main" id="{4CDDE768-FC4E-754B-8160-BC3805C4D230}"/>
              </a:ext>
            </a:extLst>
          </p:cNvPr>
          <p:cNvSpPr/>
          <p:nvPr userDrawn="1"/>
        </p:nvSpPr>
        <p:spPr>
          <a:xfrm>
            <a:off x="4061660" y="5339645"/>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8" name="Shape 3539">
            <a:extLst>
              <a:ext uri="{FF2B5EF4-FFF2-40B4-BE49-F238E27FC236}">
                <a16:creationId xmlns:a16="http://schemas.microsoft.com/office/drawing/2014/main" id="{FCEA35DC-17D6-1745-9FC7-F6342C85336C}"/>
              </a:ext>
            </a:extLst>
          </p:cNvPr>
          <p:cNvSpPr/>
          <p:nvPr userDrawn="1"/>
        </p:nvSpPr>
        <p:spPr>
          <a:xfrm>
            <a:off x="6359164" y="4781912"/>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Tree>
    <p:extLst>
      <p:ext uri="{BB962C8B-B14F-4D97-AF65-F5344CB8AC3E}">
        <p14:creationId xmlns:p14="http://schemas.microsoft.com/office/powerpoint/2010/main" val="3559450563"/>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grpSp>
        <p:nvGrpSpPr>
          <p:cNvPr id="3" name="Group 3911" title="Jahres Zeitleiste Platzhalter">
            <a:extLst>
              <a:ext uri="{FF2B5EF4-FFF2-40B4-BE49-F238E27FC236}">
                <a16:creationId xmlns:a16="http://schemas.microsoft.com/office/drawing/2014/main" id="{C9AF7415-8D2A-C940-B919-D2896ED2CC76}"/>
              </a:ext>
            </a:extLst>
          </p:cNvPr>
          <p:cNvGrpSpPr/>
          <p:nvPr userDrawn="1"/>
        </p:nvGrpSpPr>
        <p:grpSpPr>
          <a:xfrm>
            <a:off x="1811524" y="2655243"/>
            <a:ext cx="7397880" cy="2749280"/>
            <a:chOff x="93735" y="581934"/>
            <a:chExt cx="10577686" cy="3930994"/>
          </a:xfrm>
        </p:grpSpPr>
        <p:grpSp>
          <p:nvGrpSpPr>
            <p:cNvPr id="4" name="Group 3892">
              <a:extLst>
                <a:ext uri="{FF2B5EF4-FFF2-40B4-BE49-F238E27FC236}">
                  <a16:creationId xmlns:a16="http://schemas.microsoft.com/office/drawing/2014/main" id="{BF9A743B-F676-5541-B47D-C0037A53680B}"/>
                </a:ext>
              </a:extLst>
            </p:cNvPr>
            <p:cNvGrpSpPr/>
            <p:nvPr/>
          </p:nvGrpSpPr>
          <p:grpSpPr>
            <a:xfrm>
              <a:off x="636627" y="581934"/>
              <a:ext cx="10034794" cy="3930994"/>
              <a:chOff x="6131" y="477113"/>
              <a:chExt cx="10034793" cy="3930992"/>
            </a:xfrm>
          </p:grpSpPr>
          <p:sp>
            <p:nvSpPr>
              <p:cNvPr id="7" name="Shape 3882">
                <a:extLst>
                  <a:ext uri="{FF2B5EF4-FFF2-40B4-BE49-F238E27FC236}">
                    <a16:creationId xmlns:a16="http://schemas.microsoft.com/office/drawing/2014/main" id="{FB374AB2-ACB5-F24F-8D5D-4E70071227EE}"/>
                  </a:ext>
                </a:extLst>
              </p:cNvPr>
              <p:cNvSpPr/>
              <p:nvPr/>
            </p:nvSpPr>
            <p:spPr>
              <a:xfrm flipV="1">
                <a:off x="4975193" y="477113"/>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8" name="Shape 3883">
                <a:extLst>
                  <a:ext uri="{FF2B5EF4-FFF2-40B4-BE49-F238E27FC236}">
                    <a16:creationId xmlns:a16="http://schemas.microsoft.com/office/drawing/2014/main" id="{EA1CE728-B269-1C4E-9B54-82A102A50404}"/>
                  </a:ext>
                </a:extLst>
              </p:cNvPr>
              <p:cNvSpPr/>
              <p:nvPr/>
            </p:nvSpPr>
            <p:spPr>
              <a:xfrm flipV="1">
                <a:off x="6131" y="477113"/>
                <a:ext cx="1" cy="1940560"/>
              </a:xfrm>
              <a:prstGeom prst="line">
                <a:avLst/>
              </a:prstGeom>
              <a:solidFill>
                <a:srgbClr val="015092"/>
              </a:solidFill>
              <a:ln w="63500" cap="flat">
                <a:solidFill>
                  <a:srgbClr val="01509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9" name="Shape 3884">
                <a:extLst>
                  <a:ext uri="{FF2B5EF4-FFF2-40B4-BE49-F238E27FC236}">
                    <a16:creationId xmlns:a16="http://schemas.microsoft.com/office/drawing/2014/main" id="{7F9696C5-6EFA-3F44-ACCC-A640A163B09E}"/>
                  </a:ext>
                </a:extLst>
              </p:cNvPr>
              <p:cNvSpPr/>
              <p:nvPr/>
            </p:nvSpPr>
            <p:spPr>
              <a:xfrm>
                <a:off x="38737" y="2461556"/>
                <a:ext cx="9911442" cy="0"/>
              </a:xfrm>
              <a:prstGeom prst="line">
                <a:avLst/>
              </a:prstGeom>
              <a:noFill/>
              <a:ln w="63500" cap="flat">
                <a:solidFill>
                  <a:srgbClr val="313131">
                    <a:alpha val="80000"/>
                  </a:srgbClr>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0" name="Shape 3886">
                <a:extLst>
                  <a:ext uri="{FF2B5EF4-FFF2-40B4-BE49-F238E27FC236}">
                    <a16:creationId xmlns:a16="http://schemas.microsoft.com/office/drawing/2014/main" id="{9F291BB0-5EAA-9348-8F11-398FB22080F8}"/>
                  </a:ext>
                </a:extLst>
              </p:cNvPr>
              <p:cNvSpPr/>
              <p:nvPr/>
            </p:nvSpPr>
            <p:spPr>
              <a:xfrm>
                <a:off x="9850422" y="2364572"/>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1" name="Shape 3887">
                <a:extLst>
                  <a:ext uri="{FF2B5EF4-FFF2-40B4-BE49-F238E27FC236}">
                    <a16:creationId xmlns:a16="http://schemas.microsoft.com/office/drawing/2014/main" id="{BCE477E8-F7BD-0F42-9589-05CBDFAAB18A}"/>
                  </a:ext>
                </a:extLst>
              </p:cNvPr>
              <p:cNvSpPr/>
              <p:nvPr/>
            </p:nvSpPr>
            <p:spPr>
              <a:xfrm>
                <a:off x="2411544" y="2368317"/>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2" name="Shape 3888">
                <a:extLst>
                  <a:ext uri="{FF2B5EF4-FFF2-40B4-BE49-F238E27FC236}">
                    <a16:creationId xmlns:a16="http://schemas.microsoft.com/office/drawing/2014/main" id="{7429753A-3C9E-B84B-BE29-D4FB586DA37E}"/>
                  </a:ext>
                </a:extLst>
              </p:cNvPr>
              <p:cNvSpPr/>
              <p:nvPr/>
            </p:nvSpPr>
            <p:spPr>
              <a:xfrm>
                <a:off x="4883584" y="2368318"/>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3" name="Shape 3889">
                <a:extLst>
                  <a:ext uri="{FF2B5EF4-FFF2-40B4-BE49-F238E27FC236}">
                    <a16:creationId xmlns:a16="http://schemas.microsoft.com/office/drawing/2014/main" id="{01F5BD46-1837-2445-81BC-19FA29B81F17}"/>
                  </a:ext>
                </a:extLst>
              </p:cNvPr>
              <p:cNvSpPr/>
              <p:nvPr/>
            </p:nvSpPr>
            <p:spPr>
              <a:xfrm>
                <a:off x="7368877" y="2368318"/>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4" name="Shape 3890">
                <a:extLst>
                  <a:ext uri="{FF2B5EF4-FFF2-40B4-BE49-F238E27FC236}">
                    <a16:creationId xmlns:a16="http://schemas.microsoft.com/office/drawing/2014/main" id="{38B19469-B9A6-8940-8470-7A36199769F8}"/>
                  </a:ext>
                </a:extLst>
              </p:cNvPr>
              <p:cNvSpPr/>
              <p:nvPr/>
            </p:nvSpPr>
            <p:spPr>
              <a:xfrm flipV="1">
                <a:off x="7451364" y="2463799"/>
                <a:ext cx="1" cy="1940560"/>
              </a:xfrm>
              <a:prstGeom prst="line">
                <a:avLst/>
              </a:prstGeom>
              <a:noFill/>
              <a:ln w="63500" cap="flat">
                <a:solidFill>
                  <a:srgbClr val="313131">
                    <a:alpha val="60000"/>
                  </a:srgbClr>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5" name="Shape 3891">
                <a:extLst>
                  <a:ext uri="{FF2B5EF4-FFF2-40B4-BE49-F238E27FC236}">
                    <a16:creationId xmlns:a16="http://schemas.microsoft.com/office/drawing/2014/main" id="{117DD6A9-A883-E544-9621-C8501B30B3B4}"/>
                  </a:ext>
                </a:extLst>
              </p:cNvPr>
              <p:cNvSpPr/>
              <p:nvPr/>
            </p:nvSpPr>
            <p:spPr>
              <a:xfrm flipV="1">
                <a:off x="2498616" y="2467545"/>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grpSp>
        <p:sp>
          <p:nvSpPr>
            <p:cNvPr id="6" name="Shape 3904">
              <a:extLst>
                <a:ext uri="{FF2B5EF4-FFF2-40B4-BE49-F238E27FC236}">
                  <a16:creationId xmlns:a16="http://schemas.microsoft.com/office/drawing/2014/main" id="{97E1DA5A-D2AC-CD4A-94FA-4070AD6EB5B4}"/>
                </a:ext>
              </a:extLst>
            </p:cNvPr>
            <p:cNvSpPr/>
            <p:nvPr/>
          </p:nvSpPr>
          <p:spPr>
            <a:xfrm>
              <a:off x="93735" y="1997149"/>
              <a:ext cx="1116503" cy="1116503"/>
            </a:xfrm>
            <a:prstGeom prst="ellipse">
              <a:avLst/>
            </a:prstGeom>
            <a:solidFill>
              <a:srgbClr val="015092"/>
            </a:solidFill>
            <a:ln w="12700" cap="flat">
              <a:solidFill>
                <a:srgbClr val="015092"/>
              </a:solid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algn="ctr"/>
              <a:r>
                <a:rPr sz="1400" b="1">
                  <a:latin typeface="Calibri" panose="020F0502020204030204" pitchFamily="34" charset="0"/>
                  <a:cs typeface="Calibri" panose="020F0502020204030204" pitchFamily="34" charset="0"/>
                </a:rPr>
                <a:t>Start</a:t>
              </a:r>
            </a:p>
          </p:txBody>
        </p:sp>
      </p:grpSp>
      <p:sp>
        <p:nvSpPr>
          <p:cNvPr id="16" name="Shape 3899">
            <a:extLst>
              <a:ext uri="{FF2B5EF4-FFF2-40B4-BE49-F238E27FC236}">
                <a16:creationId xmlns:a16="http://schemas.microsoft.com/office/drawing/2014/main" id="{1C04B757-37FD-8344-9AF0-04B08289508A}"/>
              </a:ext>
            </a:extLst>
          </p:cNvPr>
          <p:cNvSpPr/>
          <p:nvPr userDrawn="1"/>
        </p:nvSpPr>
        <p:spPr>
          <a:xfrm>
            <a:off x="5500456" y="4177891"/>
            <a:ext cx="555807"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19</a:t>
            </a:r>
            <a:endParaRPr sz="1400" b="1">
              <a:solidFill>
                <a:srgbClr val="313131"/>
              </a:solidFill>
              <a:latin typeface="Calibri" panose="020F0502020204030204" pitchFamily="34" charset="0"/>
              <a:cs typeface="Calibri" panose="020F0502020204030204" pitchFamily="34" charset="0"/>
            </a:endParaRPr>
          </a:p>
        </p:txBody>
      </p:sp>
      <p:sp>
        <p:nvSpPr>
          <p:cNvPr id="17" name="Shape 3899">
            <a:extLst>
              <a:ext uri="{FF2B5EF4-FFF2-40B4-BE49-F238E27FC236}">
                <a16:creationId xmlns:a16="http://schemas.microsoft.com/office/drawing/2014/main" id="{68276EE8-CA57-2346-9CCF-A025AFF6855B}"/>
              </a:ext>
            </a:extLst>
          </p:cNvPr>
          <p:cNvSpPr/>
          <p:nvPr userDrawn="1"/>
        </p:nvSpPr>
        <p:spPr>
          <a:xfrm>
            <a:off x="8958826" y="4177891"/>
            <a:ext cx="488973"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21</a:t>
            </a:r>
            <a:endParaRPr sz="1400" b="1">
              <a:solidFill>
                <a:srgbClr val="313131"/>
              </a:solidFill>
              <a:latin typeface="Calibri" panose="020F0502020204030204" pitchFamily="34" charset="0"/>
              <a:cs typeface="Calibri" panose="020F0502020204030204" pitchFamily="34" charset="0"/>
            </a:endParaRPr>
          </a:p>
        </p:txBody>
      </p:sp>
      <p:sp>
        <p:nvSpPr>
          <p:cNvPr id="18" name="Shape 3899">
            <a:extLst>
              <a:ext uri="{FF2B5EF4-FFF2-40B4-BE49-F238E27FC236}">
                <a16:creationId xmlns:a16="http://schemas.microsoft.com/office/drawing/2014/main" id="{23DE72D4-878E-2144-A9D3-A42389C2E721}"/>
              </a:ext>
            </a:extLst>
          </p:cNvPr>
          <p:cNvSpPr/>
          <p:nvPr userDrawn="1"/>
        </p:nvSpPr>
        <p:spPr>
          <a:xfrm>
            <a:off x="3746385" y="3735364"/>
            <a:ext cx="549411"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18</a:t>
            </a:r>
            <a:endParaRPr sz="1400" b="1">
              <a:solidFill>
                <a:srgbClr val="313131"/>
              </a:solidFill>
              <a:latin typeface="Calibri" panose="020F0502020204030204" pitchFamily="34" charset="0"/>
              <a:cs typeface="Calibri" panose="020F0502020204030204" pitchFamily="34" charset="0"/>
            </a:endParaRPr>
          </a:p>
        </p:txBody>
      </p:sp>
      <p:sp>
        <p:nvSpPr>
          <p:cNvPr id="19" name="Shape 3899">
            <a:extLst>
              <a:ext uri="{FF2B5EF4-FFF2-40B4-BE49-F238E27FC236}">
                <a16:creationId xmlns:a16="http://schemas.microsoft.com/office/drawing/2014/main" id="{6FE0A369-2E74-4C41-9332-CEA1A3F8CAA5}"/>
              </a:ext>
            </a:extLst>
          </p:cNvPr>
          <p:cNvSpPr/>
          <p:nvPr userDrawn="1"/>
        </p:nvSpPr>
        <p:spPr>
          <a:xfrm>
            <a:off x="7204755" y="3735364"/>
            <a:ext cx="566327"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en-US" sz="1400" b="1">
                <a:solidFill>
                  <a:srgbClr val="313131"/>
                </a:solidFill>
                <a:latin typeface="Calibri" panose="020F0502020204030204" pitchFamily="34" charset="0"/>
                <a:cs typeface="Calibri" panose="020F0502020204030204" pitchFamily="34" charset="0"/>
              </a:rPr>
              <a:t>20</a:t>
            </a:r>
            <a:endParaRPr sz="1400" b="1">
              <a:solidFill>
                <a:srgbClr val="313131"/>
              </a:solidFill>
              <a:latin typeface="Calibri" panose="020F0502020204030204" pitchFamily="34" charset="0"/>
              <a:cs typeface="Calibri" panose="020F0502020204030204" pitchFamily="34" charset="0"/>
            </a:endParaRPr>
          </a:p>
        </p:txBody>
      </p:sp>
      <p:sp>
        <p:nvSpPr>
          <p:cNvPr id="20" name="Shape 3538">
            <a:extLst>
              <a:ext uri="{FF2B5EF4-FFF2-40B4-BE49-F238E27FC236}">
                <a16:creationId xmlns:a16="http://schemas.microsoft.com/office/drawing/2014/main" id="{6218F089-DA01-8A49-B7EB-18202B0E694E}"/>
              </a:ext>
            </a:extLst>
          </p:cNvPr>
          <p:cNvSpPr/>
          <p:nvPr userDrawn="1"/>
        </p:nvSpPr>
        <p:spPr>
          <a:xfrm>
            <a:off x="5819509" y="2475684"/>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1</a:t>
            </a:r>
            <a:endParaRPr sz="2400">
              <a:solidFill>
                <a:srgbClr val="015092"/>
              </a:solidFill>
              <a:latin typeface="Calibri" panose="020F0502020204030204" pitchFamily="34" charset="0"/>
              <a:cs typeface="Calibri" panose="020F0502020204030204" pitchFamily="34" charset="0"/>
            </a:endParaRPr>
          </a:p>
        </p:txBody>
      </p:sp>
      <p:sp>
        <p:nvSpPr>
          <p:cNvPr id="21" name="Shape 3538">
            <a:extLst>
              <a:ext uri="{FF2B5EF4-FFF2-40B4-BE49-F238E27FC236}">
                <a16:creationId xmlns:a16="http://schemas.microsoft.com/office/drawing/2014/main" id="{3ACB3470-0EB9-4B42-869A-F6D9D2389C11}"/>
              </a:ext>
            </a:extLst>
          </p:cNvPr>
          <p:cNvSpPr/>
          <p:nvPr userDrawn="1"/>
        </p:nvSpPr>
        <p:spPr>
          <a:xfrm>
            <a:off x="4055313" y="5103515"/>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a:t>
            </a:r>
            <a:r>
              <a:rPr lang="de-DE" sz="2400">
                <a:solidFill>
                  <a:srgbClr val="015092"/>
                </a:solidFill>
                <a:latin typeface="Calibri" panose="020F0502020204030204" pitchFamily="34" charset="0"/>
                <a:cs typeface="Calibri" panose="020F0502020204030204" pitchFamily="34" charset="0"/>
              </a:rPr>
              <a:t>9</a:t>
            </a:r>
            <a:endParaRPr sz="2400">
              <a:solidFill>
                <a:srgbClr val="015092"/>
              </a:solidFill>
              <a:latin typeface="Calibri" panose="020F0502020204030204" pitchFamily="34" charset="0"/>
              <a:cs typeface="Calibri" panose="020F0502020204030204" pitchFamily="34" charset="0"/>
            </a:endParaRPr>
          </a:p>
        </p:txBody>
      </p:sp>
      <p:sp>
        <p:nvSpPr>
          <p:cNvPr id="22" name="Shape 3538">
            <a:extLst>
              <a:ext uri="{FF2B5EF4-FFF2-40B4-BE49-F238E27FC236}">
                <a16:creationId xmlns:a16="http://schemas.microsoft.com/office/drawing/2014/main" id="{BD2E93CF-7EB0-1D44-8FE8-B42CB15F1E38}"/>
              </a:ext>
            </a:extLst>
          </p:cNvPr>
          <p:cNvSpPr/>
          <p:nvPr userDrawn="1"/>
        </p:nvSpPr>
        <p:spPr>
          <a:xfrm>
            <a:off x="7547701" y="5103515"/>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2</a:t>
            </a:r>
            <a:endParaRPr sz="2400">
              <a:solidFill>
                <a:srgbClr val="015092"/>
              </a:solidFill>
              <a:latin typeface="Calibri" panose="020F0502020204030204" pitchFamily="34" charset="0"/>
              <a:cs typeface="Calibri" panose="020F0502020204030204" pitchFamily="34" charset="0"/>
            </a:endParaRPr>
          </a:p>
        </p:txBody>
      </p:sp>
      <p:sp>
        <p:nvSpPr>
          <p:cNvPr id="23" name="Shape 3538">
            <a:extLst>
              <a:ext uri="{FF2B5EF4-FFF2-40B4-BE49-F238E27FC236}">
                <a16:creationId xmlns:a16="http://schemas.microsoft.com/office/drawing/2014/main" id="{1CA058CB-FB2E-7B41-9FC5-4261D2748707}"/>
              </a:ext>
            </a:extLst>
          </p:cNvPr>
          <p:cNvSpPr/>
          <p:nvPr userDrawn="1"/>
        </p:nvSpPr>
        <p:spPr>
          <a:xfrm>
            <a:off x="2308791" y="2475684"/>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5</a:t>
            </a:r>
          </a:p>
        </p:txBody>
      </p:sp>
      <p:sp>
        <p:nvSpPr>
          <p:cNvPr id="24" name="Shape 3539">
            <a:extLst>
              <a:ext uri="{FF2B5EF4-FFF2-40B4-BE49-F238E27FC236}">
                <a16:creationId xmlns:a16="http://schemas.microsoft.com/office/drawing/2014/main" id="{9FFAAAAB-BD81-254B-BB85-D3B92CADBECE}"/>
              </a:ext>
            </a:extLst>
          </p:cNvPr>
          <p:cNvSpPr/>
          <p:nvPr userDrawn="1"/>
        </p:nvSpPr>
        <p:spPr>
          <a:xfrm>
            <a:off x="2727791" y="2465838"/>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5" name="Inhaltsplatzhalter 1">
            <a:extLst>
              <a:ext uri="{FF2B5EF4-FFF2-40B4-BE49-F238E27FC236}">
                <a16:creationId xmlns:a16="http://schemas.microsoft.com/office/drawing/2014/main" id="{A948F616-4F52-274D-9802-62F7B100D2E0}"/>
              </a:ext>
            </a:extLst>
          </p:cNvPr>
          <p:cNvSpPr>
            <a:spLocks noGrp="1"/>
          </p:cNvSpPr>
          <p:nvPr>
            <p:ph idx="1"/>
          </p:nvPr>
        </p:nvSpPr>
        <p:spPr>
          <a:xfrm>
            <a:off x="383051" y="801295"/>
            <a:ext cx="11617325" cy="698184"/>
          </a:xfrm>
        </p:spPr>
        <p:txBody>
          <a:bodyPr>
            <a:normAutofit/>
          </a:bodyPr>
          <a:lstStyle/>
          <a:p>
            <a:r>
              <a:rPr lang="de-DE" b="1">
                <a:solidFill>
                  <a:srgbClr val="0F218B"/>
                </a:solidFill>
              </a:rPr>
              <a:t>Headline 3 – Edit </a:t>
            </a:r>
            <a:r>
              <a:rPr lang="de-DE" b="1" err="1">
                <a:solidFill>
                  <a:srgbClr val="0F218B"/>
                </a:solidFill>
              </a:rPr>
              <a:t>text</a:t>
            </a:r>
            <a:r>
              <a:rPr lang="de-DE" b="1">
                <a:solidFill>
                  <a:srgbClr val="0F218B"/>
                </a:solidFill>
              </a:rPr>
              <a:t> </a:t>
            </a:r>
            <a:r>
              <a:rPr lang="de-DE" b="1" err="1">
                <a:solidFill>
                  <a:srgbClr val="0F218B"/>
                </a:solidFill>
              </a:rPr>
              <a:t>here</a:t>
            </a:r>
            <a:r>
              <a:rPr lang="de-DE" b="1">
                <a:solidFill>
                  <a:srgbClr val="0F218B"/>
                </a:solidFill>
              </a:rPr>
              <a:t>.</a:t>
            </a:r>
            <a:endParaRPr lang="de-DE" b="1" i="1">
              <a:solidFill>
                <a:srgbClr val="0F218B"/>
              </a:solidFill>
            </a:endParaRPr>
          </a:p>
        </p:txBody>
      </p:sp>
      <p:sp>
        <p:nvSpPr>
          <p:cNvPr id="26" name="Shape 3539">
            <a:extLst>
              <a:ext uri="{FF2B5EF4-FFF2-40B4-BE49-F238E27FC236}">
                <a16:creationId xmlns:a16="http://schemas.microsoft.com/office/drawing/2014/main" id="{32B242B5-D413-7245-BEA1-FE249884F79E}"/>
              </a:ext>
            </a:extLst>
          </p:cNvPr>
          <p:cNvSpPr/>
          <p:nvPr userDrawn="1"/>
        </p:nvSpPr>
        <p:spPr>
          <a:xfrm>
            <a:off x="6188917" y="2443752"/>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7" name="Shape 3539">
            <a:extLst>
              <a:ext uri="{FF2B5EF4-FFF2-40B4-BE49-F238E27FC236}">
                <a16:creationId xmlns:a16="http://schemas.microsoft.com/office/drawing/2014/main" id="{44E594EA-C5DC-8D44-884B-A44AA0741311}"/>
              </a:ext>
            </a:extLst>
          </p:cNvPr>
          <p:cNvSpPr/>
          <p:nvPr userDrawn="1"/>
        </p:nvSpPr>
        <p:spPr>
          <a:xfrm>
            <a:off x="4501613" y="5134372"/>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8" name="Shape 3539">
            <a:extLst>
              <a:ext uri="{FF2B5EF4-FFF2-40B4-BE49-F238E27FC236}">
                <a16:creationId xmlns:a16="http://schemas.microsoft.com/office/drawing/2014/main" id="{6F33F5F3-AC6F-7047-9582-A2C841E188AD}"/>
              </a:ext>
            </a:extLst>
          </p:cNvPr>
          <p:cNvSpPr/>
          <p:nvPr userDrawn="1"/>
        </p:nvSpPr>
        <p:spPr>
          <a:xfrm>
            <a:off x="7962739" y="5112286"/>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Tree>
    <p:extLst>
      <p:ext uri="{BB962C8B-B14F-4D97-AF65-F5344CB8AC3E}">
        <p14:creationId xmlns:p14="http://schemas.microsoft.com/office/powerpoint/2010/main" val="2984844137"/>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Glob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descr="A picture containing graphical user interface&#10;&#10;Description automatically generated"/>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177800"/>
            <a:ext cx="4411663" cy="215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p:cNvCxnSpPr>
            <a:cxnSpLocks/>
          </p:cNvCxnSpPr>
          <p:nvPr userDrawn="1"/>
        </p:nvCxnSpPr>
        <p:spPr>
          <a:xfrm>
            <a:off x="4430713" y="728663"/>
            <a:ext cx="0" cy="5400675"/>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p:cNvSpPr txBox="1">
            <a:spLocks noChangeArrowheads="1"/>
          </p:cNvSpPr>
          <p:nvPr userDrawn="1"/>
        </p:nvSpPr>
        <p:spPr bwMode="auto">
          <a:xfrm>
            <a:off x="5114925" y="5813425"/>
            <a:ext cx="3605213" cy="368300"/>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nl-NL" b="1">
                <a:solidFill>
                  <a:schemeClr val="tx2"/>
                </a:solidFill>
              </a:rPr>
              <a:t>NRA confidential</a:t>
            </a:r>
            <a:endParaRPr lang="nl-NL" altLang="nl-NL" b="1">
              <a:solidFill>
                <a:schemeClr val="tx2"/>
              </a:solidFill>
            </a:endParaRPr>
          </a:p>
        </p:txBody>
      </p:sp>
      <p:sp>
        <p:nvSpPr>
          <p:cNvPr id="11" name="Title 1"/>
          <p:cNvSpPr>
            <a:spLocks noGrp="1"/>
          </p:cNvSpPr>
          <p:nvPr>
            <p:ph type="ctrTitle"/>
          </p:nvPr>
        </p:nvSpPr>
        <p:spPr>
          <a:xfrm>
            <a:off x="5114930" y="729000"/>
            <a:ext cx="6372220" cy="3273362"/>
          </a:xfrm>
        </p:spPr>
        <p:txBody>
          <a:bodyPr>
            <a:normAutofit/>
          </a:bodyPr>
          <a:lstStyle>
            <a:lvl1pPr algn="l">
              <a:defRPr sz="4500">
                <a:solidFill>
                  <a:schemeClr val="bg1"/>
                </a:solidFill>
              </a:defRPr>
            </a:lvl1pPr>
          </a:lstStyle>
          <a:p>
            <a:r>
              <a:rPr lang="nl-NL"/>
              <a:t>Klik om de stijl te bewerken</a:t>
            </a:r>
            <a:endParaRPr lang="en-US" dirty="0"/>
          </a:p>
        </p:txBody>
      </p:sp>
      <p:sp>
        <p:nvSpPr>
          <p:cNvPr id="8" name="Subtitle 2"/>
          <p:cNvSpPr>
            <a:spLocks noGrp="1"/>
          </p:cNvSpPr>
          <p:nvPr>
            <p:ph type="subTitle" idx="1"/>
          </p:nvPr>
        </p:nvSpPr>
        <p:spPr>
          <a:xfrm>
            <a:off x="5114930" y="4234934"/>
            <a:ext cx="6449470" cy="1271201"/>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 om de ondertitelstijl van het model te bewerken</a:t>
            </a:r>
            <a:endParaRPr lang="en-US" dirty="0"/>
          </a:p>
        </p:txBody>
      </p:sp>
    </p:spTree>
    <p:extLst>
      <p:ext uri="{BB962C8B-B14F-4D97-AF65-F5344CB8AC3E}">
        <p14:creationId xmlns:p14="http://schemas.microsoft.com/office/powerpoint/2010/main" val="129005198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6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0">
            <a:extLst>
              <a:ext uri="{FF2B5EF4-FFF2-40B4-BE49-F238E27FC236}">
                <a16:creationId xmlns:a16="http://schemas.microsoft.com/office/drawing/2014/main" id="{E54CE07E-D134-8945-B928-3A2AD7482FB9}"/>
              </a:ext>
            </a:extLst>
          </p:cNvPr>
          <p:cNvSpPr>
            <a:spLocks noGrp="1"/>
          </p:cNvSpPr>
          <p:nvPr>
            <p:ph idx="1"/>
          </p:nvPr>
        </p:nvSpPr>
        <p:spPr>
          <a:xfrm>
            <a:off x="388159" y="820513"/>
            <a:ext cx="11606646" cy="698594"/>
          </a:xfrm>
        </p:spPr>
        <p:txBody>
          <a:bodyPr>
            <a:normAutofit/>
          </a:bodyPr>
          <a:lstStyle/>
          <a:p>
            <a:r>
              <a:rPr lang="de-DE">
                <a:solidFill>
                  <a:srgbClr val="0F218B"/>
                </a:solidFill>
              </a:rPr>
              <a:t>Headline 3 – These SmartArt </a:t>
            </a:r>
            <a:r>
              <a:rPr lang="de-DE" err="1">
                <a:solidFill>
                  <a:srgbClr val="0F218B"/>
                </a:solidFill>
              </a:rPr>
              <a:t>charts</a:t>
            </a:r>
            <a:r>
              <a:rPr lang="de-DE">
                <a:solidFill>
                  <a:srgbClr val="0F218B"/>
                </a:solidFill>
              </a:rPr>
              <a:t> </a:t>
            </a:r>
            <a:r>
              <a:rPr lang="de-DE" err="1">
                <a:solidFill>
                  <a:srgbClr val="0F218B"/>
                </a:solidFill>
              </a:rPr>
              <a:t>can</a:t>
            </a:r>
            <a:r>
              <a:rPr lang="de-DE">
                <a:solidFill>
                  <a:srgbClr val="0F218B"/>
                </a:solidFill>
              </a:rPr>
              <a:t> </a:t>
            </a:r>
            <a:r>
              <a:rPr lang="de-DE" err="1">
                <a:solidFill>
                  <a:srgbClr val="0F218B"/>
                </a:solidFill>
              </a:rPr>
              <a:t>be</a:t>
            </a:r>
            <a:r>
              <a:rPr lang="de-DE">
                <a:solidFill>
                  <a:srgbClr val="0F218B"/>
                </a:solidFill>
              </a:rPr>
              <a:t> </a:t>
            </a:r>
            <a:r>
              <a:rPr lang="de-DE" err="1">
                <a:solidFill>
                  <a:srgbClr val="0F218B"/>
                </a:solidFill>
              </a:rPr>
              <a:t>edited</a:t>
            </a:r>
            <a:r>
              <a:rPr lang="de-DE">
                <a:solidFill>
                  <a:srgbClr val="0F218B"/>
                </a:solidFill>
              </a:rPr>
              <a:t> </a:t>
            </a:r>
            <a:r>
              <a:rPr lang="de-DE" err="1">
                <a:solidFill>
                  <a:srgbClr val="0F218B"/>
                </a:solidFill>
              </a:rPr>
              <a:t>directly</a:t>
            </a:r>
            <a:r>
              <a:rPr lang="de-DE">
                <a:solidFill>
                  <a:srgbClr val="0F218B"/>
                </a:solidFill>
              </a:rPr>
              <a:t> </a:t>
            </a:r>
            <a:r>
              <a:rPr lang="de-DE" err="1">
                <a:solidFill>
                  <a:srgbClr val="0F218B"/>
                </a:solidFill>
              </a:rPr>
              <a:t>by</a:t>
            </a:r>
            <a:r>
              <a:rPr lang="de-DE">
                <a:solidFill>
                  <a:srgbClr val="0F218B"/>
                </a:solidFill>
              </a:rPr>
              <a:t> </a:t>
            </a:r>
            <a:r>
              <a:rPr lang="de-DE" err="1">
                <a:solidFill>
                  <a:srgbClr val="0F218B"/>
                </a:solidFill>
              </a:rPr>
              <a:t>clicking</a:t>
            </a:r>
            <a:r>
              <a:rPr lang="de-DE">
                <a:solidFill>
                  <a:srgbClr val="0F218B"/>
                </a:solidFill>
              </a:rPr>
              <a:t> in </a:t>
            </a:r>
            <a:r>
              <a:rPr lang="de-DE" err="1">
                <a:solidFill>
                  <a:srgbClr val="0F218B"/>
                </a:solidFill>
              </a:rPr>
              <a:t>the</a:t>
            </a:r>
            <a:r>
              <a:rPr lang="de-DE">
                <a:solidFill>
                  <a:srgbClr val="0F218B"/>
                </a:solidFill>
              </a:rPr>
              <a:t> </a:t>
            </a:r>
            <a:r>
              <a:rPr lang="de-DE" err="1">
                <a:solidFill>
                  <a:srgbClr val="0F218B"/>
                </a:solidFill>
              </a:rPr>
              <a:t>elements</a:t>
            </a:r>
            <a:r>
              <a:rPr lang="de-DE">
                <a:solidFill>
                  <a:srgbClr val="0F218B"/>
                </a:solidFill>
              </a:rPr>
              <a:t>, </a:t>
            </a:r>
            <a:r>
              <a:rPr lang="de-DE" err="1">
                <a:solidFill>
                  <a:srgbClr val="0F218B"/>
                </a:solidFill>
              </a:rPr>
              <a:t>then</a:t>
            </a:r>
            <a:r>
              <a:rPr lang="de-DE">
                <a:solidFill>
                  <a:srgbClr val="0F218B"/>
                </a:solidFill>
              </a:rPr>
              <a:t> on SmartArt-Tools</a:t>
            </a:r>
          </a:p>
        </p:txBody>
      </p:sp>
      <p:graphicFrame>
        <p:nvGraphicFramePr>
          <p:cNvPr id="4" name="Diagramm 4" title="SmartArt-Grafik Platzhalter">
            <a:extLst>
              <a:ext uri="{FF2B5EF4-FFF2-40B4-BE49-F238E27FC236}">
                <a16:creationId xmlns:a16="http://schemas.microsoft.com/office/drawing/2014/main" id="{3D20D492-DCEB-1548-9F8A-4D5C573DEF13}"/>
              </a:ext>
            </a:extLst>
          </p:cNvPr>
          <p:cNvGraphicFramePr/>
          <p:nvPr userDrawn="1"/>
        </p:nvGraphicFramePr>
        <p:xfrm>
          <a:off x="382588" y="2384884"/>
          <a:ext cx="11522075" cy="30598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486505398"/>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9_ENTSO-E Thank you slide">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495600" y="2780928"/>
            <a:ext cx="11617788" cy="936104"/>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err="1"/>
              <a:t>Thank</a:t>
            </a:r>
            <a:r>
              <a:rPr lang="de-DE"/>
              <a:t> </a:t>
            </a:r>
            <a:r>
              <a:rPr lang="de-DE" err="1"/>
              <a:t>you</a:t>
            </a:r>
            <a:r>
              <a:rPr lang="de-DE"/>
              <a:t> </a:t>
            </a:r>
            <a:r>
              <a:rPr lang="de-DE" err="1"/>
              <a:t>very</a:t>
            </a:r>
            <a:r>
              <a:rPr lang="de-DE"/>
              <a:t> </a:t>
            </a:r>
            <a:r>
              <a:rPr lang="de-DE" err="1"/>
              <a:t>much</a:t>
            </a:r>
            <a:r>
              <a:rPr lang="de-DE"/>
              <a:t> </a:t>
            </a:r>
            <a:r>
              <a:rPr lang="de-DE" err="1"/>
              <a:t>for</a:t>
            </a:r>
            <a:r>
              <a:rPr lang="de-DE"/>
              <a:t> </a:t>
            </a:r>
            <a:r>
              <a:rPr lang="de-DE" err="1"/>
              <a:t>your</a:t>
            </a:r>
            <a:r>
              <a:rPr lang="de-DE"/>
              <a:t> </a:t>
            </a:r>
            <a:r>
              <a:rPr lang="de-DE" err="1"/>
              <a:t>attention</a:t>
            </a:r>
            <a:r>
              <a:rPr lang="de-DE"/>
              <a:t> </a:t>
            </a:r>
          </a:p>
        </p:txBody>
      </p:sp>
    </p:spTree>
    <p:extLst>
      <p:ext uri="{BB962C8B-B14F-4D97-AF65-F5344CB8AC3E}">
        <p14:creationId xmlns:p14="http://schemas.microsoft.com/office/powerpoint/2010/main" val="1769038612"/>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0_ENTSO-E Thank you slide_value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382588" y="134634"/>
            <a:ext cx="11426825" cy="936104"/>
          </a:xfrm>
          <a:prstGeom prst="rect">
            <a:avLst/>
          </a:prstGeom>
          <a:ln>
            <a:noFill/>
          </a:ln>
        </p:spPr>
        <p:txBody>
          <a:bodyPr anchor="ctr"/>
          <a:lstStyle>
            <a:lvl1pPr algn="ct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err="1"/>
              <a:t>Thank</a:t>
            </a:r>
            <a:r>
              <a:rPr lang="de-DE"/>
              <a:t> </a:t>
            </a:r>
            <a:r>
              <a:rPr lang="de-DE" err="1"/>
              <a:t>you</a:t>
            </a:r>
            <a:r>
              <a:rPr lang="de-DE"/>
              <a:t> </a:t>
            </a:r>
            <a:r>
              <a:rPr lang="de-DE" err="1"/>
              <a:t>very</a:t>
            </a:r>
            <a:r>
              <a:rPr lang="de-DE"/>
              <a:t> </a:t>
            </a:r>
            <a:r>
              <a:rPr lang="de-DE" err="1"/>
              <a:t>much</a:t>
            </a:r>
            <a:r>
              <a:rPr lang="de-DE"/>
              <a:t> </a:t>
            </a:r>
            <a:r>
              <a:rPr lang="de-DE" err="1"/>
              <a:t>for</a:t>
            </a:r>
            <a:r>
              <a:rPr lang="de-DE"/>
              <a:t> </a:t>
            </a:r>
            <a:r>
              <a:rPr lang="de-DE" err="1"/>
              <a:t>your</a:t>
            </a:r>
            <a:r>
              <a:rPr lang="de-DE"/>
              <a:t> </a:t>
            </a:r>
            <a:r>
              <a:rPr lang="de-DE" err="1"/>
              <a:t>attention</a:t>
            </a:r>
            <a:r>
              <a:rPr lang="de-DE"/>
              <a:t> </a:t>
            </a:r>
          </a:p>
        </p:txBody>
      </p:sp>
      <p:sp>
        <p:nvSpPr>
          <p:cNvPr id="3" name="Title 1">
            <a:extLst>
              <a:ext uri="{FF2B5EF4-FFF2-40B4-BE49-F238E27FC236}">
                <a16:creationId xmlns:a16="http://schemas.microsoft.com/office/drawing/2014/main" id="{8D053C00-E906-E444-8E28-BAE1FF9E76D0}"/>
              </a:ext>
            </a:extLst>
          </p:cNvPr>
          <p:cNvSpPr txBox="1">
            <a:spLocks/>
          </p:cNvSpPr>
          <p:nvPr userDrawn="1"/>
        </p:nvSpPr>
        <p:spPr>
          <a:xfrm>
            <a:off x="382587" y="1186850"/>
            <a:ext cx="11426825" cy="6318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0">
                <a:solidFill>
                  <a:schemeClr val="tx1">
                    <a:lumMod val="50000"/>
                  </a:schemeClr>
                </a:solidFill>
                <a:effectLst/>
                <a:latin typeface="Calibri" panose="020F0502020204030204" pitchFamily="34" charset="0"/>
                <a:cs typeface="Calibri" panose="020F0502020204030204" pitchFamily="34" charset="0"/>
              </a:rPr>
              <a:t>Our values define who we are, what we stand for and how we behave.</a:t>
            </a:r>
          </a:p>
          <a:p>
            <a:pPr algn="ctr"/>
            <a:r>
              <a:rPr lang="en-IE" sz="1800" b="0">
                <a:solidFill>
                  <a:schemeClr val="tx1">
                    <a:lumMod val="50000"/>
                  </a:schemeClr>
                </a:solidFill>
                <a:effectLst/>
                <a:latin typeface="Calibri" panose="020F0502020204030204" pitchFamily="34" charset="0"/>
                <a:cs typeface="Calibri" panose="020F0502020204030204" pitchFamily="34" charset="0"/>
              </a:rPr>
              <a:t>We all play a part in bringing them to life</a:t>
            </a:r>
            <a:r>
              <a:rPr lang="en-IE" sz="2000" b="0">
                <a:solidFill>
                  <a:schemeClr val="tx1">
                    <a:lumMod val="50000"/>
                  </a:schemeClr>
                </a:solidFill>
                <a:effectLst/>
                <a:latin typeface="Calibri" panose="020F0502020204030204" pitchFamily="34" charset="0"/>
                <a:cs typeface="Calibri" panose="020F0502020204030204" pitchFamily="34" charset="0"/>
              </a:rPr>
              <a:t>.</a:t>
            </a:r>
          </a:p>
          <a:p>
            <a:pPr algn="ctr"/>
            <a:r>
              <a:rPr lang="en-IE" sz="2000" b="0">
                <a:solidFill>
                  <a:schemeClr val="tx1">
                    <a:lumMod val="50000"/>
                  </a:schemeClr>
                </a:solidFill>
                <a:effectLst/>
                <a:latin typeface="Calibri" panose="020F0502020204030204" pitchFamily="34" charset="0"/>
                <a:cs typeface="Calibri" panose="020F0502020204030204" pitchFamily="34" charset="0"/>
              </a:rPr>
              <a:t> </a:t>
            </a:r>
            <a:endParaRPr lang="en-IE" sz="1050" b="0">
              <a:solidFill>
                <a:schemeClr val="tx1">
                  <a:lumMod val="50000"/>
                </a:schemeClr>
              </a:solidFill>
              <a:effectLst/>
              <a:latin typeface="Calibri" panose="020F0502020204030204" pitchFamily="34" charset="0"/>
              <a:cs typeface="Calibri" panose="020F0502020204030204" pitchFamily="34" charset="0"/>
            </a:endParaRPr>
          </a:p>
        </p:txBody>
      </p:sp>
      <p:sp>
        <p:nvSpPr>
          <p:cNvPr id="5" name="Titel 5">
            <a:extLst>
              <a:ext uri="{FF2B5EF4-FFF2-40B4-BE49-F238E27FC236}">
                <a16:creationId xmlns:a16="http://schemas.microsoft.com/office/drawing/2014/main" id="{7550E8E7-BAB3-40B9-AB4C-F3ABA9592AFF}"/>
              </a:ext>
            </a:extLst>
          </p:cNvPr>
          <p:cNvSpPr txBox="1">
            <a:spLocks/>
          </p:cNvSpPr>
          <p:nvPr userDrawn="1"/>
        </p:nvSpPr>
        <p:spPr>
          <a:xfrm>
            <a:off x="286875" y="5533432"/>
            <a:ext cx="11617788" cy="631871"/>
          </a:xfrm>
          <a:prstGeom prst="rect">
            <a:avLst/>
          </a:prstGeom>
          <a:ln>
            <a:noFill/>
          </a:ln>
        </p:spPr>
        <p:txBody>
          <a:bodyPr anchor="ctr"/>
          <a:lstStyle>
            <a:lvl1pPr algn="ctr" defTabSz="914400" rtl="0" eaLnBrk="1" latinLnBrk="0" hangingPunct="1">
              <a:lnSpc>
                <a:spcPts val="3200"/>
              </a:lnSpc>
              <a:spcBef>
                <a:spcPct val="0"/>
              </a:spcBef>
              <a:buNone/>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US"/>
              <a:t>We are ENTSO-E</a:t>
            </a:r>
          </a:p>
        </p:txBody>
      </p:sp>
      <p:sp>
        <p:nvSpPr>
          <p:cNvPr id="6" name="Title 1">
            <a:extLst>
              <a:ext uri="{FF2B5EF4-FFF2-40B4-BE49-F238E27FC236}">
                <a16:creationId xmlns:a16="http://schemas.microsoft.com/office/drawing/2014/main" id="{70B34F4F-2938-408E-99E5-B9481D786209}"/>
              </a:ext>
            </a:extLst>
          </p:cNvPr>
          <p:cNvSpPr txBox="1">
            <a:spLocks/>
          </p:cNvSpPr>
          <p:nvPr userDrawn="1"/>
        </p:nvSpPr>
        <p:spPr>
          <a:xfrm>
            <a:off x="1201008"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deliver to the highest standards. We provide an environment in which people can develop to their full potential.</a:t>
            </a:r>
          </a:p>
        </p:txBody>
      </p:sp>
      <p:sp>
        <p:nvSpPr>
          <p:cNvPr id="7" name="Title 1">
            <a:extLst>
              <a:ext uri="{FF2B5EF4-FFF2-40B4-BE49-F238E27FC236}">
                <a16:creationId xmlns:a16="http://schemas.microsoft.com/office/drawing/2014/main" id="{81A3B0E4-3084-4984-B778-6DEE61707D69}"/>
              </a:ext>
            </a:extLst>
          </p:cNvPr>
          <p:cNvSpPr txBox="1">
            <a:spLocks/>
          </p:cNvSpPr>
          <p:nvPr userDrawn="1"/>
        </p:nvSpPr>
        <p:spPr>
          <a:xfrm>
            <a:off x="1201009"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EXCELLENCE</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1" name="Gruppieren 10">
            <a:extLst>
              <a:ext uri="{FF2B5EF4-FFF2-40B4-BE49-F238E27FC236}">
                <a16:creationId xmlns:a16="http://schemas.microsoft.com/office/drawing/2014/main" id="{82D4A0DE-6C67-44B0-B22A-C0A05BBC69FC}"/>
              </a:ext>
            </a:extLst>
          </p:cNvPr>
          <p:cNvGrpSpPr/>
          <p:nvPr userDrawn="1"/>
        </p:nvGrpSpPr>
        <p:grpSpPr>
          <a:xfrm>
            <a:off x="1376411" y="2083344"/>
            <a:ext cx="1089193" cy="1118842"/>
            <a:chOff x="1478254" y="1759825"/>
            <a:chExt cx="1089193" cy="1118842"/>
          </a:xfrm>
        </p:grpSpPr>
        <p:sp>
          <p:nvSpPr>
            <p:cNvPr id="2" name="Ellipse 1">
              <a:extLst>
                <a:ext uri="{FF2B5EF4-FFF2-40B4-BE49-F238E27FC236}">
                  <a16:creationId xmlns:a16="http://schemas.microsoft.com/office/drawing/2014/main" id="{EF03CA22-6B13-49DE-A795-8B07042FA0BE}"/>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a:extLst>
                <a:ext uri="{FF2B5EF4-FFF2-40B4-BE49-F238E27FC236}">
                  <a16:creationId xmlns:a16="http://schemas.microsoft.com/office/drawing/2014/main" id="{161B2F95-9B35-4040-81B2-ACDE054BDD8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478254" y="1798667"/>
              <a:ext cx="1080000" cy="1080000"/>
            </a:xfrm>
            <a:prstGeom prst="rect">
              <a:avLst/>
            </a:prstGeom>
          </p:spPr>
        </p:pic>
      </p:grpSp>
      <p:sp>
        <p:nvSpPr>
          <p:cNvPr id="12" name="Title 1">
            <a:extLst>
              <a:ext uri="{FF2B5EF4-FFF2-40B4-BE49-F238E27FC236}">
                <a16:creationId xmlns:a16="http://schemas.microsoft.com/office/drawing/2014/main" id="{E81CF4DD-25A2-40F4-952B-66B4466BBD93}"/>
              </a:ext>
            </a:extLst>
          </p:cNvPr>
          <p:cNvSpPr txBox="1">
            <a:spLocks/>
          </p:cNvSpPr>
          <p:nvPr userDrawn="1"/>
        </p:nvSpPr>
        <p:spPr>
          <a:xfrm>
            <a:off x="3287689"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trust each other, we are transparent and we empower people. We respect diversity.</a:t>
            </a:r>
          </a:p>
        </p:txBody>
      </p:sp>
      <p:sp>
        <p:nvSpPr>
          <p:cNvPr id="13" name="Title 1">
            <a:extLst>
              <a:ext uri="{FF2B5EF4-FFF2-40B4-BE49-F238E27FC236}">
                <a16:creationId xmlns:a16="http://schemas.microsoft.com/office/drawing/2014/main" id="{33B85503-5C78-444D-B346-AB59AA416AC8}"/>
              </a:ext>
            </a:extLst>
          </p:cNvPr>
          <p:cNvSpPr txBox="1">
            <a:spLocks/>
          </p:cNvSpPr>
          <p:nvPr userDrawn="1"/>
        </p:nvSpPr>
        <p:spPr>
          <a:xfrm>
            <a:off x="3287688"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TRUST</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4" name="Gruppieren 13">
            <a:extLst>
              <a:ext uri="{FF2B5EF4-FFF2-40B4-BE49-F238E27FC236}">
                <a16:creationId xmlns:a16="http://schemas.microsoft.com/office/drawing/2014/main" id="{B5475377-A926-4847-B972-EA12DF6C0701}"/>
              </a:ext>
            </a:extLst>
          </p:cNvPr>
          <p:cNvGrpSpPr/>
          <p:nvPr userDrawn="1"/>
        </p:nvGrpSpPr>
        <p:grpSpPr>
          <a:xfrm>
            <a:off x="3463091" y="2083344"/>
            <a:ext cx="1089193" cy="1118842"/>
            <a:chOff x="1478254" y="1759825"/>
            <a:chExt cx="1089193" cy="1118842"/>
          </a:xfrm>
        </p:grpSpPr>
        <p:sp>
          <p:nvSpPr>
            <p:cNvPr id="15" name="Ellipse 14">
              <a:extLst>
                <a:ext uri="{FF2B5EF4-FFF2-40B4-BE49-F238E27FC236}">
                  <a16:creationId xmlns:a16="http://schemas.microsoft.com/office/drawing/2014/main" id="{13BB04B6-217B-499D-8F98-894FB375B2F9}"/>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6" name="Grafik 15">
              <a:extLst>
                <a:ext uri="{FF2B5EF4-FFF2-40B4-BE49-F238E27FC236}">
                  <a16:creationId xmlns:a16="http://schemas.microsoft.com/office/drawing/2014/main" id="{2760D55D-13ED-4E94-966A-95F12368925C}"/>
                </a:ext>
              </a:extLst>
            </p:cNvPr>
            <p:cNvPicPr>
              <a:picLocks noChangeAspect="1"/>
            </p:cNvPicPr>
            <p:nvPr userDrawn="1"/>
          </p:nvPicPr>
          <p:blipFill>
            <a:blip r:embed="rId3" cstate="hqprint">
              <a:extLst>
                <a:ext uri="{28A0092B-C50C-407E-A947-70E740481C1C}">
                  <a14:useLocalDpi xmlns:a14="http://schemas.microsoft.com/office/drawing/2010/main" val="0"/>
                </a:ext>
              </a:extLst>
            </a:blip>
            <a:srcRect/>
            <a:stretch/>
          </p:blipFill>
          <p:spPr>
            <a:xfrm>
              <a:off x="1478254" y="1798667"/>
              <a:ext cx="1080000" cy="1080000"/>
            </a:xfrm>
            <a:prstGeom prst="rect">
              <a:avLst/>
            </a:prstGeom>
          </p:spPr>
        </p:pic>
      </p:grpSp>
      <p:sp>
        <p:nvSpPr>
          <p:cNvPr id="17" name="Title 1">
            <a:extLst>
              <a:ext uri="{FF2B5EF4-FFF2-40B4-BE49-F238E27FC236}">
                <a16:creationId xmlns:a16="http://schemas.microsoft.com/office/drawing/2014/main" id="{E979720F-B102-477C-A18C-F42F69F7B3FA}"/>
              </a:ext>
            </a:extLst>
          </p:cNvPr>
          <p:cNvSpPr txBox="1">
            <a:spLocks/>
          </p:cNvSpPr>
          <p:nvPr userDrawn="1"/>
        </p:nvSpPr>
        <p:spPr>
          <a:xfrm>
            <a:off x="537600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act in the interest of </a:t>
            </a:r>
            <a:br>
              <a:rPr lang="en-IE" sz="1200" b="0">
                <a:solidFill>
                  <a:schemeClr val="bg1"/>
                </a:solidFill>
                <a:effectLst/>
                <a:latin typeface="Calibri" panose="020F0502020204030204" pitchFamily="34" charset="0"/>
                <a:cs typeface="Calibri" panose="020F0502020204030204" pitchFamily="34" charset="0"/>
              </a:rPr>
            </a:br>
            <a:r>
              <a:rPr lang="en-IE" sz="1200" b="0">
                <a:solidFill>
                  <a:schemeClr val="bg1"/>
                </a:solidFill>
                <a:effectLst/>
                <a:latin typeface="Calibri" panose="020F0502020204030204" pitchFamily="34" charset="0"/>
                <a:cs typeface="Calibri" panose="020F0502020204030204" pitchFamily="34" charset="0"/>
              </a:rPr>
              <a:t>ENTSO-E</a:t>
            </a:r>
          </a:p>
        </p:txBody>
      </p:sp>
      <p:sp>
        <p:nvSpPr>
          <p:cNvPr id="18" name="Title 1">
            <a:extLst>
              <a:ext uri="{FF2B5EF4-FFF2-40B4-BE49-F238E27FC236}">
                <a16:creationId xmlns:a16="http://schemas.microsoft.com/office/drawing/2014/main" id="{DEDA1B90-9F8A-4C63-B8FF-D940062EC4C4}"/>
              </a:ext>
            </a:extLst>
          </p:cNvPr>
          <p:cNvSpPr txBox="1">
            <a:spLocks/>
          </p:cNvSpPr>
          <p:nvPr userDrawn="1"/>
        </p:nvSpPr>
        <p:spPr>
          <a:xfrm>
            <a:off x="537600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INTEGRITY</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9" name="Gruppieren 18">
            <a:extLst>
              <a:ext uri="{FF2B5EF4-FFF2-40B4-BE49-F238E27FC236}">
                <a16:creationId xmlns:a16="http://schemas.microsoft.com/office/drawing/2014/main" id="{955A5FDF-13A6-4E3F-98FC-5D8B5F750CF6}"/>
              </a:ext>
            </a:extLst>
          </p:cNvPr>
          <p:cNvGrpSpPr/>
          <p:nvPr userDrawn="1"/>
        </p:nvGrpSpPr>
        <p:grpSpPr>
          <a:xfrm>
            <a:off x="5551403" y="2024327"/>
            <a:ext cx="1089193" cy="1139017"/>
            <a:chOff x="1478254" y="1700808"/>
            <a:chExt cx="1089193" cy="1139017"/>
          </a:xfrm>
        </p:grpSpPr>
        <p:sp>
          <p:nvSpPr>
            <p:cNvPr id="20" name="Ellipse 19">
              <a:extLst>
                <a:ext uri="{FF2B5EF4-FFF2-40B4-BE49-F238E27FC236}">
                  <a16:creationId xmlns:a16="http://schemas.microsoft.com/office/drawing/2014/main" id="{7B46EB16-3C21-4C1F-96E5-A09D69B4EA5B}"/>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20">
              <a:extLst>
                <a:ext uri="{FF2B5EF4-FFF2-40B4-BE49-F238E27FC236}">
                  <a16:creationId xmlns:a16="http://schemas.microsoft.com/office/drawing/2014/main" id="{4B4C9A02-66CE-4BBC-A5CB-9F9670516C1D}"/>
                </a:ext>
              </a:extLst>
            </p:cNvPr>
            <p:cNvPicPr>
              <a:picLocks noChangeAspect="1"/>
            </p:cNvPicPr>
            <p:nvPr userDrawn="1"/>
          </p:nvPicPr>
          <p:blipFill>
            <a:blip r:embed="rId4" cstate="hqprint">
              <a:extLst>
                <a:ext uri="{28A0092B-C50C-407E-A947-70E740481C1C}">
                  <a14:useLocalDpi xmlns:a14="http://schemas.microsoft.com/office/drawing/2010/main" val="0"/>
                </a:ext>
              </a:extLst>
            </a:blip>
            <a:srcRect/>
            <a:stretch/>
          </p:blipFill>
          <p:spPr>
            <a:xfrm>
              <a:off x="1478254" y="1700808"/>
              <a:ext cx="1080000" cy="1080000"/>
            </a:xfrm>
            <a:prstGeom prst="rect">
              <a:avLst/>
            </a:prstGeom>
          </p:spPr>
        </p:pic>
      </p:grpSp>
      <p:sp>
        <p:nvSpPr>
          <p:cNvPr id="22" name="Title 1">
            <a:extLst>
              <a:ext uri="{FF2B5EF4-FFF2-40B4-BE49-F238E27FC236}">
                <a16:creationId xmlns:a16="http://schemas.microsoft.com/office/drawing/2014/main" id="{2E634EBD-DFF6-43C8-9422-8F16AAB96C86}"/>
              </a:ext>
            </a:extLst>
          </p:cNvPr>
          <p:cNvSpPr txBox="1">
            <a:spLocks/>
          </p:cNvSpPr>
          <p:nvPr userDrawn="1"/>
        </p:nvSpPr>
        <p:spPr>
          <a:xfrm>
            <a:off x="7392263"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care about people. We work transversal and we support each other. We celebrate success.</a:t>
            </a:r>
          </a:p>
        </p:txBody>
      </p:sp>
      <p:sp>
        <p:nvSpPr>
          <p:cNvPr id="23" name="Title 1">
            <a:extLst>
              <a:ext uri="{FF2B5EF4-FFF2-40B4-BE49-F238E27FC236}">
                <a16:creationId xmlns:a16="http://schemas.microsoft.com/office/drawing/2014/main" id="{2B8B0EDA-AFDC-4A3F-8B48-271A245E4727}"/>
              </a:ext>
            </a:extLst>
          </p:cNvPr>
          <p:cNvSpPr txBox="1">
            <a:spLocks/>
          </p:cNvSpPr>
          <p:nvPr userDrawn="1"/>
        </p:nvSpPr>
        <p:spPr>
          <a:xfrm>
            <a:off x="7392262"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TEAM</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24" name="Gruppieren 23">
            <a:extLst>
              <a:ext uri="{FF2B5EF4-FFF2-40B4-BE49-F238E27FC236}">
                <a16:creationId xmlns:a16="http://schemas.microsoft.com/office/drawing/2014/main" id="{DB57394F-A3ED-46EA-ACEB-FE66F27FAB09}"/>
              </a:ext>
            </a:extLst>
          </p:cNvPr>
          <p:cNvGrpSpPr/>
          <p:nvPr userDrawn="1"/>
        </p:nvGrpSpPr>
        <p:grpSpPr>
          <a:xfrm>
            <a:off x="7576858" y="2080275"/>
            <a:ext cx="1080000" cy="1083069"/>
            <a:chOff x="1487447" y="1756756"/>
            <a:chExt cx="1080000" cy="1083069"/>
          </a:xfrm>
        </p:grpSpPr>
        <p:sp>
          <p:nvSpPr>
            <p:cNvPr id="25" name="Ellipse 24">
              <a:extLst>
                <a:ext uri="{FF2B5EF4-FFF2-40B4-BE49-F238E27FC236}">
                  <a16:creationId xmlns:a16="http://schemas.microsoft.com/office/drawing/2014/main" id="{047968BE-8FA5-46E6-AEB4-7BBD707663C8}"/>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6" name="Grafik 25">
              <a:extLst>
                <a:ext uri="{FF2B5EF4-FFF2-40B4-BE49-F238E27FC236}">
                  <a16:creationId xmlns:a16="http://schemas.microsoft.com/office/drawing/2014/main" id="{7EB613B2-536A-4138-AE88-6840149C7A1B}"/>
                </a:ext>
              </a:extLst>
            </p:cNvPr>
            <p:cNvPicPr>
              <a:picLocks noChangeAspect="1"/>
            </p:cNvPicPr>
            <p:nvPr userDrawn="1"/>
          </p:nvPicPr>
          <p:blipFill>
            <a:blip r:embed="rId5" cstate="hqprint">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
        <p:nvSpPr>
          <p:cNvPr id="27" name="Title 1">
            <a:extLst>
              <a:ext uri="{FF2B5EF4-FFF2-40B4-BE49-F238E27FC236}">
                <a16:creationId xmlns:a16="http://schemas.microsoft.com/office/drawing/2014/main" id="{EC54E769-6637-4291-8E33-04784D80068D}"/>
              </a:ext>
            </a:extLst>
          </p:cNvPr>
          <p:cNvSpPr txBox="1">
            <a:spLocks/>
          </p:cNvSpPr>
          <p:nvPr userDrawn="1"/>
        </p:nvSpPr>
        <p:spPr>
          <a:xfrm>
            <a:off x="933636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are a learning organisation. </a:t>
            </a:r>
            <a:br>
              <a:rPr lang="en-IE" sz="1200" b="0">
                <a:solidFill>
                  <a:schemeClr val="bg1"/>
                </a:solidFill>
                <a:effectLst/>
                <a:latin typeface="Calibri" panose="020F0502020204030204" pitchFamily="34" charset="0"/>
                <a:cs typeface="Calibri" panose="020F0502020204030204" pitchFamily="34" charset="0"/>
              </a:rPr>
            </a:br>
            <a:r>
              <a:rPr lang="en-IE" sz="1200" b="0">
                <a:solidFill>
                  <a:schemeClr val="bg1"/>
                </a:solidFill>
                <a:effectLst/>
                <a:latin typeface="Calibri" panose="020F0502020204030204" pitchFamily="34" charset="0"/>
                <a:cs typeface="Calibri" panose="020F0502020204030204" pitchFamily="34" charset="0"/>
              </a:rPr>
              <a:t>We explore new paths and solutions.</a:t>
            </a:r>
          </a:p>
        </p:txBody>
      </p:sp>
      <p:sp>
        <p:nvSpPr>
          <p:cNvPr id="28" name="Title 1">
            <a:extLst>
              <a:ext uri="{FF2B5EF4-FFF2-40B4-BE49-F238E27FC236}">
                <a16:creationId xmlns:a16="http://schemas.microsoft.com/office/drawing/2014/main" id="{1EAE1D68-1D65-449A-A1D4-1C7A4EE8D7F3}"/>
              </a:ext>
            </a:extLst>
          </p:cNvPr>
          <p:cNvSpPr txBox="1">
            <a:spLocks/>
          </p:cNvSpPr>
          <p:nvPr userDrawn="1"/>
        </p:nvSpPr>
        <p:spPr>
          <a:xfrm>
            <a:off x="933636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FUTURE THINKING</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29" name="Gruppieren 28">
            <a:extLst>
              <a:ext uri="{FF2B5EF4-FFF2-40B4-BE49-F238E27FC236}">
                <a16:creationId xmlns:a16="http://schemas.microsoft.com/office/drawing/2014/main" id="{3C70C999-7CBE-4D11-A6B2-D77A57C5B0AD}"/>
              </a:ext>
            </a:extLst>
          </p:cNvPr>
          <p:cNvGrpSpPr/>
          <p:nvPr userDrawn="1"/>
        </p:nvGrpSpPr>
        <p:grpSpPr>
          <a:xfrm>
            <a:off x="9520956" y="2080275"/>
            <a:ext cx="1080000" cy="1083069"/>
            <a:chOff x="1487447" y="1756756"/>
            <a:chExt cx="1080000" cy="1083069"/>
          </a:xfrm>
        </p:grpSpPr>
        <p:sp>
          <p:nvSpPr>
            <p:cNvPr id="30" name="Ellipse 29">
              <a:extLst>
                <a:ext uri="{FF2B5EF4-FFF2-40B4-BE49-F238E27FC236}">
                  <a16:creationId xmlns:a16="http://schemas.microsoft.com/office/drawing/2014/main" id="{29D45C60-2B3F-49B7-BD2B-64F936E7A262}"/>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1" name="Grafik 30">
              <a:extLst>
                <a:ext uri="{FF2B5EF4-FFF2-40B4-BE49-F238E27FC236}">
                  <a16:creationId xmlns:a16="http://schemas.microsoft.com/office/drawing/2014/main" id="{C7C06749-CCF9-45D3-B10D-3B95BF64A939}"/>
                </a:ext>
              </a:extLst>
            </p:cNvPr>
            <p:cNvPicPr>
              <a:picLocks noChangeAspect="1"/>
            </p:cNvPicPr>
            <p:nvPr userDrawn="1"/>
          </p:nvPicPr>
          <p:blipFill>
            <a:blip r:embed="rId6" cstate="hqprint">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Tree>
    <p:extLst>
      <p:ext uri="{BB962C8B-B14F-4D97-AF65-F5344CB8AC3E}">
        <p14:creationId xmlns:p14="http://schemas.microsoft.com/office/powerpoint/2010/main" val="1516058925"/>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1_ENTSO-E Key take-away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86346" y="476672"/>
            <a:ext cx="11617788" cy="936104"/>
          </a:xfrm>
          <a:prstGeom prst="rect">
            <a:avLst/>
          </a:prstGeom>
          <a:ln>
            <a:noFill/>
          </a:ln>
        </p:spPr>
        <p:txBody>
          <a:bodyPr anchor="t"/>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Key </a:t>
            </a:r>
            <a:r>
              <a:rPr lang="de-DE" err="1"/>
              <a:t>take-aways</a:t>
            </a:r>
            <a:endParaRPr lang="de-DE"/>
          </a:p>
        </p:txBody>
      </p:sp>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nSpc>
                <a:spcPts val="2600"/>
              </a:lnSpc>
              <a:spcBef>
                <a:spcPts val="0"/>
              </a:spcBef>
              <a:buNone/>
              <a:defRPr sz="2000" b="0">
                <a:solidFill>
                  <a:schemeClr val="tx1"/>
                </a:solidFill>
                <a:latin typeface="Calibri" panose="020F0502020204030204" pitchFamily="34" charset="0"/>
                <a:cs typeface="Calibri" panose="020F0502020204030204" pitchFamily="34" charset="0"/>
              </a:defRPr>
            </a:lvl1pPr>
          </a:lstStyle>
          <a:p>
            <a:pPr lvl="0"/>
            <a:r>
              <a:rPr lang="de-DE"/>
              <a:t>Text</a:t>
            </a:r>
          </a:p>
        </p:txBody>
      </p:sp>
      <p:sp>
        <p:nvSpPr>
          <p:cNvPr id="4" name="Rechteck 1">
            <a:extLst>
              <a:ext uri="{FF2B5EF4-FFF2-40B4-BE49-F238E27FC236}">
                <a16:creationId xmlns:a16="http://schemas.microsoft.com/office/drawing/2014/main" id="{9B4626A2-3A46-4841-8EA9-2789E9CF76F6}"/>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2249244278"/>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2_ENTSO-E Questions">
    <p:spTree>
      <p:nvGrpSpPr>
        <p:cNvPr id="1" name=""/>
        <p:cNvGrpSpPr/>
        <p:nvPr/>
      </p:nvGrpSpPr>
      <p:grpSpPr>
        <a:xfrm>
          <a:off x="0" y="0"/>
          <a:ext cx="0" cy="0"/>
          <a:chOff x="0" y="0"/>
          <a:chExt cx="0" cy="0"/>
        </a:xfrm>
      </p:grpSpPr>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gn="ctr">
              <a:lnSpc>
                <a:spcPts val="2600"/>
              </a:lnSpc>
              <a:spcBef>
                <a:spcPts val="0"/>
              </a:spcBef>
              <a:buNone/>
              <a:tabLst>
                <a:tab pos="3763963" algn="l"/>
              </a:tabLst>
              <a:defRPr sz="2800" b="1">
                <a:solidFill>
                  <a:srgbClr val="0F218B"/>
                </a:solidFill>
                <a:latin typeface="Calibri" panose="020F0502020204030204" pitchFamily="34" charset="0"/>
                <a:cs typeface="Calibri" panose="020F0502020204030204" pitchFamily="34" charset="0"/>
              </a:defRPr>
            </a:lvl1pPr>
          </a:lstStyle>
          <a:p>
            <a:pPr lvl="0"/>
            <a:r>
              <a:rPr lang="de-DE"/>
              <a:t>Questions?</a:t>
            </a:r>
          </a:p>
        </p:txBody>
      </p:sp>
      <p:sp>
        <p:nvSpPr>
          <p:cNvPr id="2" name="TextBox 1">
            <a:extLst>
              <a:ext uri="{FF2B5EF4-FFF2-40B4-BE49-F238E27FC236}">
                <a16:creationId xmlns:a16="http://schemas.microsoft.com/office/drawing/2014/main" id="{ED24F55E-FB99-4958-B7AF-F28A79322EB2}"/>
              </a:ext>
            </a:extLst>
          </p:cNvPr>
          <p:cNvSpPr txBox="1"/>
          <p:nvPr userDrawn="1"/>
        </p:nvSpPr>
        <p:spPr>
          <a:xfrm>
            <a:off x="5447928" y="4149080"/>
            <a:ext cx="3384376" cy="369332"/>
          </a:xfrm>
          <a:prstGeom prst="rect">
            <a:avLst/>
          </a:prstGeom>
          <a:noFill/>
        </p:spPr>
        <p:txBody>
          <a:bodyPr wrap="square" rtlCol="0">
            <a:spAutoFit/>
          </a:bodyPr>
          <a:lstStyle/>
          <a:p>
            <a:r>
              <a:rPr lang="en-US">
                <a:solidFill>
                  <a:srgbClr val="0F218B"/>
                </a:solidFill>
                <a:latin typeface="Calibri" panose="020F0502020204030204" pitchFamily="34" charset="0"/>
                <a:cs typeface="Calibri" panose="020F0502020204030204" pitchFamily="34" charset="0"/>
              </a:rPr>
              <a:t>contact:</a:t>
            </a:r>
            <a:endParaRPr lang="en-GB">
              <a:solidFill>
                <a:srgbClr val="0F218B"/>
              </a:solidFill>
              <a:latin typeface="Calibri" panose="020F0502020204030204" pitchFamily="34" charset="0"/>
              <a:cs typeface="Calibri" panose="020F0502020204030204" pitchFamily="34" charset="0"/>
            </a:endParaRPr>
          </a:p>
        </p:txBody>
      </p:sp>
      <p:sp>
        <p:nvSpPr>
          <p:cNvPr id="5" name="Rechteck 1">
            <a:extLst>
              <a:ext uri="{FF2B5EF4-FFF2-40B4-BE49-F238E27FC236}">
                <a16:creationId xmlns:a16="http://schemas.microsoft.com/office/drawing/2014/main" id="{C2D06D34-321E-4E67-BD6C-917AD342E7D4}"/>
              </a:ext>
            </a:extLst>
          </p:cNvPr>
          <p:cNvSpPr/>
          <p:nvPr userDrawn="1"/>
        </p:nvSpPr>
        <p:spPr>
          <a:xfrm rot="5400000" flipH="1">
            <a:off x="6064640" y="3063656"/>
            <a:ext cx="61200" cy="180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2181753791"/>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ENTSO-E Chapter Cover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356FE32-556F-9E69-DDD7-809D33EAD086}"/>
              </a:ext>
            </a:extLst>
          </p:cNvPr>
          <p:cNvGraphicFramePr>
            <a:graphicFrameLocks noChangeAspect="1"/>
          </p:cNvGraphicFramePr>
          <p:nvPr userDrawn="1">
            <p:custDataLst>
              <p:tags r:id="rId1"/>
            </p:custDataLst>
            <p:extLst>
              <p:ext uri="{D42A27DB-BD31-4B8C-83A1-F6EECF244321}">
                <p14:modId xmlns:p14="http://schemas.microsoft.com/office/powerpoint/2010/main" val="42357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5356FE32-556F-9E69-DDD7-809D33EAD0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52736"/>
            <a:ext cx="11617788" cy="442428"/>
          </a:xfrm>
          <a:prstGeom prst="rect">
            <a:avLst/>
          </a:prstGeom>
          <a:ln>
            <a:noFill/>
          </a:ln>
        </p:spPr>
        <p:txBody>
          <a:bodyPr anchor="ctr">
            <a:normAutofit/>
          </a:bodyPr>
          <a:lstStyle>
            <a:lvl1pPr marL="0" indent="0" rtl="0">
              <a:lnSpc>
                <a:spcPts val="2600"/>
              </a:lnSpc>
              <a:spcBef>
                <a:spcPts val="0"/>
              </a:spcBef>
              <a:buNone/>
              <a:defRPr sz="1600" b="0">
                <a:solidFill>
                  <a:srgbClr val="00947F"/>
                </a:solidFill>
                <a:latin typeface="Arial" panose="020B0604020202020204" pitchFamily="34" charset="0"/>
                <a:cs typeface="Arial" panose="020B0604020202020204" pitchFamily="34" charset="0"/>
              </a:defRPr>
            </a:lvl1pPr>
          </a:lstStyle>
          <a:p>
            <a:pPr lvl="0"/>
            <a:r>
              <a:rPr lang="en-IE"/>
              <a:t>Click here to edi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sz="180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4111" y="1545377"/>
            <a:ext cx="11616265" cy="367709"/>
          </a:xfrm>
          <a:prstGeom prst="rect">
            <a:avLst/>
          </a:prstGeom>
        </p:spPr>
        <p:txBody>
          <a:bodyPr>
            <a:normAutofit/>
          </a:bodyPr>
          <a:lstStyle>
            <a:lvl1pPr rtl="0">
              <a:defRPr sz="1600" b="1">
                <a:solidFill>
                  <a:srgbClr val="0F218B"/>
                </a:solidFill>
                <a:latin typeface="Arial" panose="020B0604020202020204" pitchFamily="34" charset="0"/>
                <a:cs typeface="Arial" panose="020B0604020202020204" pitchFamily="34" charset="0"/>
              </a:defRPr>
            </a:lvl1pPr>
          </a:lstStyle>
          <a:p>
            <a:pPr lvl="0"/>
            <a:r>
              <a:rPr lang="en-IE"/>
              <a:t>Headline 3</a:t>
            </a:r>
          </a:p>
        </p:txBody>
      </p:sp>
    </p:spTree>
    <p:extLst>
      <p:ext uri="{BB962C8B-B14F-4D97-AF65-F5344CB8AC3E}">
        <p14:creationId xmlns:p14="http://schemas.microsoft.com/office/powerpoint/2010/main" val="278364654"/>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_ENTSO-E Chapter Cover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32E80EE-ABB2-F7DD-4DF8-94687548D870}"/>
              </a:ext>
            </a:extLst>
          </p:cNvPr>
          <p:cNvGraphicFramePr>
            <a:graphicFrameLocks noChangeAspect="1"/>
          </p:cNvGraphicFramePr>
          <p:nvPr userDrawn="1">
            <p:custDataLst>
              <p:tags r:id="rId1"/>
            </p:custDataLst>
            <p:extLst>
              <p:ext uri="{D42A27DB-BD31-4B8C-83A1-F6EECF244321}">
                <p14:modId xmlns:p14="http://schemas.microsoft.com/office/powerpoint/2010/main" val="3496982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432E80EE-ABB2-F7DD-4DF8-94687548D87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285639" y="3074577"/>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hapter slide</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54397" y="289281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sz="1800">
              <a:solidFill>
                <a:schemeClr val="accent2"/>
              </a:solidFill>
            </a:endParaRPr>
          </a:p>
        </p:txBody>
      </p:sp>
    </p:spTree>
    <p:extLst>
      <p:ext uri="{BB962C8B-B14F-4D97-AF65-F5344CB8AC3E}">
        <p14:creationId xmlns:p14="http://schemas.microsoft.com/office/powerpoint/2010/main" val="2183692440"/>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5_ENTSO-E One Colum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BFAA75E-9A17-BE34-E7E1-35331586B25E}"/>
              </a:ext>
            </a:extLst>
          </p:cNvPr>
          <p:cNvGraphicFramePr>
            <a:graphicFrameLocks noChangeAspect="1"/>
          </p:cNvGraphicFramePr>
          <p:nvPr userDrawn="1">
            <p:custDataLst>
              <p:tags r:id="rId1"/>
            </p:custDataLst>
            <p:extLst>
              <p:ext uri="{D42A27DB-BD31-4B8C-83A1-F6EECF244321}">
                <p14:modId xmlns:p14="http://schemas.microsoft.com/office/powerpoint/2010/main" val="578213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ABFAA75E-9A17-BE34-E7E1-35331586B2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Inhaltsplatzhalter 2"/>
          <p:cNvSpPr>
            <a:spLocks noGrp="1"/>
          </p:cNvSpPr>
          <p:nvPr>
            <p:ph idx="1" hasCustomPrompt="1"/>
          </p:nvPr>
        </p:nvSpPr>
        <p:spPr>
          <a:xfrm>
            <a:off x="372538" y="908720"/>
            <a:ext cx="11616268" cy="3815866"/>
          </a:xfrm>
          <a:prstGeom prst="rect">
            <a:avLst/>
          </a:prstGeom>
        </p:spPr>
        <p:txBody>
          <a:bodyPr>
            <a:normAutofit/>
          </a:bodyPr>
          <a:lstStyle>
            <a:lvl1pPr marL="0" indent="0" rtl="0">
              <a:lnSpc>
                <a:spcPct val="90000"/>
              </a:lnSpc>
              <a:buFont typeface="Arial" panose="020B0604020202020204" pitchFamily="34" charset="0"/>
              <a:buNone/>
              <a:defRPr sz="1600" i="0">
                <a:latin typeface="Calibri" panose="020F0502020204030204" pitchFamily="34" charset="0"/>
                <a:cs typeface="Calibri" panose="020F0502020204030204" pitchFamily="34" charset="0"/>
              </a:defRPr>
            </a:lvl1pPr>
            <a:lvl2pPr marL="269875" indent="-269875" rtl="0">
              <a:lnSpc>
                <a:spcPct val="90000"/>
              </a:lnSpc>
              <a:buFont typeface="Arial" panose="020B0604020202020204" pitchFamily="34" charset="0"/>
              <a:buChar char="•"/>
              <a:tabLst/>
              <a:defRPr sz="1400">
                <a:latin typeface="Calibri" panose="020F0502020204030204" pitchFamily="34" charset="0"/>
                <a:cs typeface="Calibri" panose="020F0502020204030204" pitchFamily="34" charset="0"/>
              </a:defRPr>
            </a:lvl2pPr>
            <a:lvl3pPr marL="715963" indent="-266700" rtl="0">
              <a:lnSpc>
                <a:spcPct val="90000"/>
              </a:lnSpc>
              <a:buSzPct val="85000"/>
              <a:buFont typeface="Courier New" panose="02070309020205020404" pitchFamily="49" charset="0"/>
              <a:buChar char="o"/>
              <a:defRPr sz="1400">
                <a:latin typeface="Calibri" panose="020F0502020204030204" pitchFamily="34" charset="0"/>
                <a:cs typeface="Calibri" panose="020F0502020204030204" pitchFamily="34" charset="0"/>
              </a:defRPr>
            </a:lvl3pPr>
            <a:lvl4pPr marL="1165225" indent="-358775" rtl="0">
              <a:lnSpc>
                <a:spcPct val="90000"/>
              </a:lnSpc>
              <a:buSzPct val="85000"/>
              <a:buFont typeface="Wingdings" panose="05000000000000000000" pitchFamily="2" charset="2"/>
              <a:buChar char="§"/>
              <a:defRPr sz="1400">
                <a:latin typeface="Calibri" panose="020F0502020204030204" pitchFamily="34" charset="0"/>
                <a:cs typeface="Calibri" panose="020F0502020204030204" pitchFamily="34" charset="0"/>
              </a:defRPr>
            </a:lvl4pPr>
            <a:lvl5pPr marL="1524000" indent="-358775" rtl="0">
              <a:lnSpc>
                <a:spcPct val="90000"/>
              </a:lnSpc>
              <a:buFont typeface="Arial" panose="020B0604020202020204" pitchFamily="34" charset="0"/>
              <a:buChar char="•"/>
              <a:tabLst/>
              <a:defRPr sz="1400">
                <a:latin typeface="Calibri" panose="020F0502020204030204" pitchFamily="34" charset="0"/>
                <a:cs typeface="Calibri" panose="020F0502020204030204" pitchFamily="34"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b="1" i="1" err="1">
                <a:solidFill>
                  <a:srgbClr val="00947F"/>
                </a:solidFill>
              </a:rPr>
              <a:t>Subheadline</a:t>
            </a:r>
            <a:r>
              <a:rPr lang="en-US" sz="1600" b="1" i="1">
                <a:solidFill>
                  <a:srgbClr val="00947F"/>
                </a:solidFill>
              </a:rPr>
              <a:t> text</a:t>
            </a:r>
            <a:endParaRPr lang="en-IE"/>
          </a:p>
          <a:p>
            <a:pPr lvl="0"/>
            <a:r>
              <a:rPr lang="en-IE"/>
              <a:t>Edit the text here; First level</a:t>
            </a:r>
          </a:p>
          <a:p>
            <a:pPr lvl="1"/>
            <a:r>
              <a:rPr lang="en-IE"/>
              <a:t>Second level</a:t>
            </a:r>
          </a:p>
          <a:p>
            <a:pPr lvl="2"/>
            <a:r>
              <a:rPr lang="en-IE"/>
              <a:t>Third level</a:t>
            </a:r>
          </a:p>
          <a:p>
            <a:pPr lvl="3"/>
            <a:r>
              <a:rPr lang="en-IE"/>
              <a:t>Fourth level</a:t>
            </a:r>
          </a:p>
          <a:p>
            <a:pPr lvl="4"/>
            <a:r>
              <a:rPr lang="en-IE"/>
              <a:t>Fifth level</a:t>
            </a:r>
          </a:p>
        </p:txBody>
      </p:sp>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Tree>
    <p:extLst>
      <p:ext uri="{BB962C8B-B14F-4D97-AF65-F5344CB8AC3E}">
        <p14:creationId xmlns:p14="http://schemas.microsoft.com/office/powerpoint/2010/main" val="1487315130"/>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6_ENTSO-E One column bullet point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1064C5-9A79-485F-F871-9F7F217DB593}"/>
              </a:ext>
            </a:extLst>
          </p:cNvPr>
          <p:cNvGraphicFramePr>
            <a:graphicFrameLocks noChangeAspect="1"/>
          </p:cNvGraphicFramePr>
          <p:nvPr userDrawn="1">
            <p:custDataLst>
              <p:tags r:id="rId1"/>
            </p:custDataLst>
            <p:extLst>
              <p:ext uri="{D42A27DB-BD31-4B8C-83A1-F6EECF244321}">
                <p14:modId xmlns:p14="http://schemas.microsoft.com/office/powerpoint/2010/main" val="1340094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D31064C5-9A79-485F-F871-9F7F217DB5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Inhaltsplatzhalter 2">
            <a:extLst>
              <a:ext uri="{FF2B5EF4-FFF2-40B4-BE49-F238E27FC236}">
                <a16:creationId xmlns:a16="http://schemas.microsoft.com/office/drawing/2014/main" id="{935407F8-9A7B-4A34-BB6A-ACBE6B64DA8C}"/>
              </a:ext>
            </a:extLst>
          </p:cNvPr>
          <p:cNvSpPr>
            <a:spLocks noGrp="1"/>
          </p:cNvSpPr>
          <p:nvPr>
            <p:ph idx="16" hasCustomPrompt="1"/>
          </p:nvPr>
        </p:nvSpPr>
        <p:spPr>
          <a:xfrm>
            <a:off x="413466" y="1124744"/>
            <a:ext cx="11616268"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6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400" kern="1200" dirty="0">
                <a:solidFill>
                  <a:schemeClr val="tx1"/>
                </a:solidFill>
                <a:latin typeface="Calibri" panose="020F0502020204030204" pitchFamily="34" charset="0"/>
                <a:ea typeface="+mn-ea"/>
                <a:cs typeface="Calibri" panose="020F0502020204030204" pitchFamily="34" charset="0"/>
              </a:defRPr>
            </a:lvl5pPr>
          </a:lstStyle>
          <a:p>
            <a:pPr lvl="0"/>
            <a:r>
              <a:rPr lang="en-IE"/>
              <a:t>Bullet points first level </a:t>
            </a:r>
          </a:p>
          <a:p>
            <a:pPr lvl="1"/>
            <a:r>
              <a:rPr lang="en-IE"/>
              <a:t>Second level </a:t>
            </a:r>
          </a:p>
          <a:p>
            <a:pPr lvl="2"/>
            <a:r>
              <a:rPr lang="en-IE"/>
              <a:t>Third level</a:t>
            </a:r>
          </a:p>
          <a:p>
            <a:pPr lvl="3"/>
            <a:r>
              <a:rPr lang="en-IE"/>
              <a:t>Fourth level</a:t>
            </a:r>
          </a:p>
          <a:p>
            <a:pPr lvl="4"/>
            <a:r>
              <a:rPr lang="en-IE"/>
              <a:t>Fifth level</a:t>
            </a:r>
          </a:p>
        </p:txBody>
      </p:sp>
      <p:sp>
        <p:nvSpPr>
          <p:cNvPr id="5" name="Titel 5">
            <a:extLst>
              <a:ext uri="{FF2B5EF4-FFF2-40B4-BE49-F238E27FC236}">
                <a16:creationId xmlns:a16="http://schemas.microsoft.com/office/drawing/2014/main" id="{9D00A475-8F1F-43A8-B9D4-0E2195454A9F}"/>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Tree>
    <p:extLst>
      <p:ext uri="{BB962C8B-B14F-4D97-AF65-F5344CB8AC3E}">
        <p14:creationId xmlns:p14="http://schemas.microsoft.com/office/powerpoint/2010/main" val="430335950"/>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orient="horz" pos="1480">
          <p15:clr>
            <a:srgbClr val="A4A3A4"/>
          </p15:clr>
        </p15:guide>
        <p15:guide id="6" orient="horz" pos="1548">
          <p15:clr>
            <a:srgbClr val="A4A3A4"/>
          </p15:clr>
        </p15:guide>
        <p15:guide id="9" pos="7499">
          <p15:clr>
            <a:srgbClr val="A4A3A4"/>
          </p15:clr>
        </p15:guide>
        <p15:guide id="10" pos="181">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7_ENTSO-E Two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EDB450-44A8-3439-C433-90C75342047A}"/>
              </a:ext>
            </a:extLst>
          </p:cNvPr>
          <p:cNvGraphicFramePr>
            <a:graphicFrameLocks noChangeAspect="1"/>
          </p:cNvGraphicFramePr>
          <p:nvPr userDrawn="1">
            <p:custDataLst>
              <p:tags r:id="rId1"/>
            </p:custDataLst>
            <p:extLst>
              <p:ext uri="{D42A27DB-BD31-4B8C-83A1-F6EECF244321}">
                <p14:modId xmlns:p14="http://schemas.microsoft.com/office/powerpoint/2010/main" val="3754975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06EDB450-44A8-3439-C433-90C7534204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Inhaltsplatzhalter 2"/>
          <p:cNvSpPr>
            <a:spLocks noGrp="1"/>
          </p:cNvSpPr>
          <p:nvPr>
            <p:ph idx="1" hasCustomPrompt="1"/>
          </p:nvPr>
        </p:nvSpPr>
        <p:spPr>
          <a:xfrm>
            <a:off x="382868" y="1052736"/>
            <a:ext cx="5664117" cy="3311810"/>
          </a:xfrm>
          <a:prstGeom prst="rect">
            <a:avLst/>
          </a:prstGeom>
        </p:spPr>
        <p:txBody>
          <a:bodyPr>
            <a:normAutofit/>
          </a:bodyPr>
          <a:lstStyle>
            <a:lvl1pPr algn="l" rtl="0">
              <a:defRPr sz="1600">
                <a:latin typeface="Calibri" panose="020F0502020204030204" pitchFamily="34" charset="0"/>
                <a:cs typeface="Calibri" panose="020F0502020204030204" pitchFamily="34" charset="0"/>
              </a:defRPr>
            </a:lvl1pPr>
            <a:lvl2pPr rtl="0">
              <a:defRPr sz="1400">
                <a:latin typeface="Calibri" panose="020F0502020204030204" pitchFamily="34" charset="0"/>
                <a:cs typeface="Calibri" panose="020F0502020204030204" pitchFamily="34" charset="0"/>
              </a:defRPr>
            </a:lvl2pPr>
            <a:lvl3pPr rtl="0">
              <a:defRPr sz="1400">
                <a:latin typeface="Calibri" panose="020F0502020204030204" pitchFamily="34" charset="0"/>
                <a:cs typeface="Calibri" panose="020F0502020204030204" pitchFamily="34" charset="0"/>
              </a:defRPr>
            </a:lvl3pPr>
            <a:lvl4pPr rtl="0">
              <a:defRPr sz="1400">
                <a:latin typeface="Calibri" panose="020F0502020204030204" pitchFamily="34" charset="0"/>
                <a:cs typeface="Calibri" panose="020F0502020204030204" pitchFamily="34" charset="0"/>
              </a:defRPr>
            </a:lvl4pPr>
            <a:lvl5pPr rtl="0">
              <a:defRPr sz="1400">
                <a:latin typeface="Calibri" panose="020F0502020204030204" pitchFamily="34" charset="0"/>
                <a:cs typeface="Calibri" panose="020F0502020204030204" pitchFamily="34" charset="0"/>
              </a:defRPr>
            </a:lvl5pPr>
          </a:lstStyle>
          <a:p>
            <a:pPr lvl="0"/>
            <a:r>
              <a:rPr lang="en-IE"/>
              <a:t>Edit the text here</a:t>
            </a:r>
          </a:p>
          <a:p>
            <a:pPr lvl="1"/>
            <a:r>
              <a:rPr lang="en-IE"/>
              <a:t>Second level</a:t>
            </a:r>
          </a:p>
          <a:p>
            <a:pPr lvl="2"/>
            <a:r>
              <a:rPr lang="en-IE"/>
              <a:t>Third level</a:t>
            </a:r>
          </a:p>
          <a:p>
            <a:pPr lvl="3"/>
            <a:r>
              <a:rPr lang="en-IE"/>
              <a:t>Fourth level</a:t>
            </a:r>
          </a:p>
          <a:p>
            <a:pPr lvl="4"/>
            <a:r>
              <a:rPr lang="en-IE"/>
              <a:t>Fifth level</a:t>
            </a:r>
          </a:p>
        </p:txBody>
      </p:sp>
      <p:sp>
        <p:nvSpPr>
          <p:cNvPr id="10" name="Inhaltsplatzhalter 2"/>
          <p:cNvSpPr>
            <a:spLocks noGrp="1"/>
          </p:cNvSpPr>
          <p:nvPr>
            <p:ph idx="13" hasCustomPrompt="1"/>
          </p:nvPr>
        </p:nvSpPr>
        <p:spPr>
          <a:xfrm>
            <a:off x="6206439" y="1052736"/>
            <a:ext cx="5664117" cy="3311810"/>
          </a:xfrm>
          <a:prstGeom prst="rect">
            <a:avLst/>
          </a:prstGeom>
        </p:spPr>
        <p:txBody>
          <a:bodyPr>
            <a:normAutofit/>
          </a:bodyPr>
          <a:lstStyle>
            <a:lvl1pPr indent="0" algn="l" defTabSz="914400" rtl="0" eaLnBrk="1" latinLnBrk="0" hangingPunct="1">
              <a:lnSpc>
                <a:spcPct val="90000"/>
              </a:lnSpc>
              <a:buFont typeface="Arial" panose="020B0604020202020204" pitchFamily="34" charset="0"/>
              <a:buNone/>
              <a:defRPr lang="en-IE" sz="1600" kern="1200" dirty="0">
                <a:solidFill>
                  <a:schemeClr val="tx1"/>
                </a:solidFill>
                <a:latin typeface="Calibri" panose="020F0502020204030204" pitchFamily="34" charset="0"/>
                <a:ea typeface="+mn-ea"/>
                <a:cs typeface="Calibri" panose="020F0502020204030204" pitchFamily="34" charset="0"/>
              </a:defRPr>
            </a:lvl1pPr>
            <a:lvl2pPr indent="0" algn="l" defTabSz="914400" rtl="0" eaLnBrk="1" latinLnBrk="0" hangingPunct="1">
              <a:lnSpc>
                <a:spcPct val="90000"/>
              </a:lnSpc>
              <a:buFont typeface="Arial" panose="020B0604020202020204" pitchFamily="34" charset="0"/>
              <a:buNone/>
              <a:defRPr lang="en-IE" sz="1400" kern="1200" dirty="0">
                <a:solidFill>
                  <a:schemeClr val="tx1"/>
                </a:solidFill>
                <a:latin typeface="Calibri" panose="020F0502020204030204" pitchFamily="34" charset="0"/>
                <a:ea typeface="+mn-ea"/>
                <a:cs typeface="Calibri" panose="020F0502020204030204" pitchFamily="34" charset="0"/>
              </a:defRPr>
            </a:lvl2pPr>
            <a:lvl3pPr indent="0" algn="l" defTabSz="914400" rtl="0" eaLnBrk="1" latinLnBrk="0" hangingPunct="1">
              <a:lnSpc>
                <a:spcPct val="90000"/>
              </a:lnSpc>
              <a:buFont typeface="Arial" panose="020B0604020202020204" pitchFamily="34" charset="0"/>
              <a:buNone/>
              <a:defRPr lang="en-IE" sz="1400" kern="1200" dirty="0">
                <a:solidFill>
                  <a:schemeClr val="tx1"/>
                </a:solidFill>
                <a:latin typeface="Calibri" panose="020F0502020204030204" pitchFamily="34" charset="0"/>
                <a:ea typeface="+mn-ea"/>
                <a:cs typeface="Calibri" panose="020F0502020204030204" pitchFamily="34" charset="0"/>
              </a:defRPr>
            </a:lvl3pPr>
            <a:lvl4pPr indent="0" algn="l" defTabSz="914400" rtl="0" eaLnBrk="1" latinLnBrk="0" hangingPunct="1">
              <a:lnSpc>
                <a:spcPct val="90000"/>
              </a:lnSpc>
              <a:buFont typeface="Arial" panose="020B0604020202020204" pitchFamily="34" charset="0"/>
              <a:buNone/>
              <a:defRPr lang="en-IE" sz="1400" kern="1200" dirty="0">
                <a:solidFill>
                  <a:schemeClr val="tx1"/>
                </a:solidFill>
                <a:latin typeface="Calibri" panose="020F0502020204030204" pitchFamily="34" charset="0"/>
                <a:ea typeface="+mn-ea"/>
                <a:cs typeface="Calibri" panose="020F0502020204030204" pitchFamily="34" charset="0"/>
              </a:defRPr>
            </a:lvl4pPr>
            <a:lvl5pPr indent="0" algn="l" defTabSz="914400" rtl="0" eaLnBrk="1" latinLnBrk="0" hangingPunct="1">
              <a:lnSpc>
                <a:spcPct val="90000"/>
              </a:lnSpc>
              <a:buFont typeface="Arial" panose="020B0604020202020204" pitchFamily="34" charset="0"/>
              <a:buNone/>
              <a:defRPr lang="en-IE" sz="1400" kern="1200" dirty="0">
                <a:solidFill>
                  <a:schemeClr val="tx1"/>
                </a:solidFill>
                <a:latin typeface="Calibri" panose="020F0502020204030204" pitchFamily="34" charset="0"/>
                <a:ea typeface="+mn-ea"/>
                <a:cs typeface="Calibri" panose="020F0502020204030204" pitchFamily="34" charset="0"/>
              </a:defRPr>
            </a:lvl5pPr>
          </a:lstStyle>
          <a:p>
            <a:pPr lvl="0"/>
            <a:r>
              <a:rPr lang="en-IE"/>
              <a:t>Edit the text here</a:t>
            </a:r>
          </a:p>
          <a:p>
            <a:pPr lvl="1"/>
            <a:r>
              <a:rPr lang="en-IE"/>
              <a:t>Second level</a:t>
            </a:r>
          </a:p>
          <a:p>
            <a:pPr lvl="2"/>
            <a:r>
              <a:rPr lang="en-IE"/>
              <a:t>Third level</a:t>
            </a:r>
          </a:p>
          <a:p>
            <a:pPr lvl="3"/>
            <a:r>
              <a:rPr lang="en-IE"/>
              <a:t>Fourth level</a:t>
            </a:r>
          </a:p>
          <a:p>
            <a:pPr lvl="4"/>
            <a:r>
              <a:rPr lang="en-IE"/>
              <a:t>Fifth level</a:t>
            </a:r>
          </a:p>
        </p:txBody>
      </p:sp>
      <p:sp>
        <p:nvSpPr>
          <p:cNvPr id="6" name="Titel 5">
            <a:extLst>
              <a:ext uri="{FF2B5EF4-FFF2-40B4-BE49-F238E27FC236}">
                <a16:creationId xmlns:a16="http://schemas.microsoft.com/office/drawing/2014/main" id="{BF868832-6945-4F2F-8DEC-A69FB10BA62E}"/>
              </a:ext>
            </a:extLst>
          </p:cNvPr>
          <p:cNvSpPr>
            <a:spLocks noGrp="1"/>
          </p:cNvSpPr>
          <p:nvPr>
            <p:ph type="title" hasCustomPrompt="1"/>
          </p:nvPr>
        </p:nvSpPr>
        <p:spPr>
          <a:xfrm>
            <a:off x="38286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Tree>
    <p:extLst>
      <p:ext uri="{BB962C8B-B14F-4D97-AF65-F5344CB8AC3E}">
        <p14:creationId xmlns:p14="http://schemas.microsoft.com/office/powerpoint/2010/main" val="685704274"/>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pos="181">
          <p15:clr>
            <a:srgbClr val="A4A3A4"/>
          </p15:clr>
        </p15:guide>
        <p15:guide id="5" pos="7499">
          <p15:clr>
            <a:srgbClr val="A4A3A4"/>
          </p15:clr>
        </p15:guide>
        <p15:guide id="6" orient="horz" pos="3634">
          <p15:clr>
            <a:srgbClr val="A4A3A4"/>
          </p15:clr>
        </p15:guide>
        <p15:guide id="7" orient="horz" pos="1049">
          <p15:clr>
            <a:srgbClr val="A4A3A4"/>
          </p15:clr>
        </p15:guide>
        <p15:guide id="8" pos="3749">
          <p15:clr>
            <a:srgbClr val="A4A3A4"/>
          </p15:clr>
        </p15:guide>
        <p15:guide id="9" pos="3931">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REMIT">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588" y="177800"/>
            <a:ext cx="4408487" cy="215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p:cNvCxnSpPr>
            <a:cxnSpLocks/>
          </p:cNvCxnSpPr>
          <p:nvPr userDrawn="1"/>
        </p:nvCxnSpPr>
        <p:spPr>
          <a:xfrm>
            <a:off x="4430713" y="728663"/>
            <a:ext cx="0" cy="5400675"/>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Box 7"/>
          <p:cNvSpPr txBox="1">
            <a:spLocks noChangeArrowheads="1"/>
          </p:cNvSpPr>
          <p:nvPr userDrawn="1"/>
        </p:nvSpPr>
        <p:spPr bwMode="auto">
          <a:xfrm>
            <a:off x="5114925" y="5813425"/>
            <a:ext cx="3605213" cy="368300"/>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nl-NL" altLang="nl-NL" b="1">
                <a:solidFill>
                  <a:schemeClr val="tx2"/>
                </a:solidFill>
              </a:rPr>
              <a:t>Insert Sensitivity Marking</a:t>
            </a:r>
          </a:p>
        </p:txBody>
      </p:sp>
      <p:sp>
        <p:nvSpPr>
          <p:cNvPr id="11" name="Title 1"/>
          <p:cNvSpPr>
            <a:spLocks noGrp="1"/>
          </p:cNvSpPr>
          <p:nvPr>
            <p:ph type="ctrTitle"/>
          </p:nvPr>
        </p:nvSpPr>
        <p:spPr>
          <a:xfrm>
            <a:off x="5114930" y="729000"/>
            <a:ext cx="6372220" cy="3273362"/>
          </a:xfrm>
        </p:spPr>
        <p:txBody>
          <a:bodyPr>
            <a:normAutofit/>
          </a:bodyPr>
          <a:lstStyle>
            <a:lvl1pPr algn="l">
              <a:defRPr sz="4500">
                <a:solidFill>
                  <a:schemeClr val="bg1"/>
                </a:solidFill>
              </a:defRPr>
            </a:lvl1pPr>
          </a:lstStyle>
          <a:p>
            <a:r>
              <a:rPr lang="nl-NL"/>
              <a:t>Klik om de stijl te bewerken</a:t>
            </a:r>
            <a:endParaRPr lang="en-US" dirty="0"/>
          </a:p>
        </p:txBody>
      </p:sp>
      <p:sp>
        <p:nvSpPr>
          <p:cNvPr id="7" name="Subtitle 2"/>
          <p:cNvSpPr>
            <a:spLocks noGrp="1"/>
          </p:cNvSpPr>
          <p:nvPr>
            <p:ph type="subTitle" idx="1"/>
          </p:nvPr>
        </p:nvSpPr>
        <p:spPr>
          <a:xfrm>
            <a:off x="5114930" y="4234934"/>
            <a:ext cx="6449470" cy="1271201"/>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 om de ondertitelstijl van het model te bewerken</a:t>
            </a:r>
            <a:endParaRPr lang="en-US" dirty="0"/>
          </a:p>
        </p:txBody>
      </p:sp>
    </p:spTree>
    <p:extLst>
      <p:ext uri="{BB962C8B-B14F-4D97-AF65-F5344CB8AC3E}">
        <p14:creationId xmlns:p14="http://schemas.microsoft.com/office/powerpoint/2010/main" val="36238768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8_ENTSO-E Three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7E896E3-6885-70D2-587C-549588CDBE9C}"/>
              </a:ext>
            </a:extLst>
          </p:cNvPr>
          <p:cNvGraphicFramePr>
            <a:graphicFrameLocks noChangeAspect="1"/>
          </p:cNvGraphicFramePr>
          <p:nvPr userDrawn="1">
            <p:custDataLst>
              <p:tags r:id="rId1"/>
            </p:custDataLst>
            <p:extLst>
              <p:ext uri="{D42A27DB-BD31-4B8C-83A1-F6EECF244321}">
                <p14:modId xmlns:p14="http://schemas.microsoft.com/office/powerpoint/2010/main" val="1059080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67E896E3-6885-70D2-587C-549588CDBE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extplatzhalter 3"/>
          <p:cNvSpPr>
            <a:spLocks noGrp="1"/>
          </p:cNvSpPr>
          <p:nvPr>
            <p:ph type="body" sz="quarter" idx="16" hasCustomPrompt="1"/>
          </p:nvPr>
        </p:nvSpPr>
        <p:spPr>
          <a:xfrm>
            <a:off x="382588" y="1297579"/>
            <a:ext cx="11616265" cy="367709"/>
          </a:xfrm>
          <a:prstGeom prst="rect">
            <a:avLst/>
          </a:prstGeom>
        </p:spPr>
        <p:txBody>
          <a:bodyPr>
            <a:normAutofit/>
          </a:bodyPr>
          <a:lstStyle>
            <a:lvl1pPr rtl="0">
              <a:defRPr sz="1800" b="1">
                <a:solidFill>
                  <a:srgbClr val="0F218B"/>
                </a:solidFill>
                <a:latin typeface="Calibri" panose="020F0502020204030204" pitchFamily="34" charset="0"/>
                <a:cs typeface="Calibri" panose="020F0502020204030204" pitchFamily="34" charset="0"/>
              </a:defRPr>
            </a:lvl1pPr>
          </a:lstStyle>
          <a:p>
            <a:pPr lvl="0"/>
            <a:r>
              <a:rPr lang="en-IE"/>
              <a:t>Headline 3</a:t>
            </a:r>
          </a:p>
        </p:txBody>
      </p:sp>
      <p:sp>
        <p:nvSpPr>
          <p:cNvPr id="14" name="Inhaltsplatzhalter 2">
            <a:extLst>
              <a:ext uri="{FF2B5EF4-FFF2-40B4-BE49-F238E27FC236}">
                <a16:creationId xmlns:a16="http://schemas.microsoft.com/office/drawing/2014/main" id="{9341F4E3-0CAE-4A14-AD42-9C698E28F0E7}"/>
              </a:ext>
            </a:extLst>
          </p:cNvPr>
          <p:cNvSpPr>
            <a:spLocks noGrp="1"/>
          </p:cNvSpPr>
          <p:nvPr>
            <p:ph idx="18" hasCustomPrompt="1"/>
          </p:nvPr>
        </p:nvSpPr>
        <p:spPr>
          <a:xfrm>
            <a:off x="380339" y="1844824"/>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en-IE"/>
              <a:t>Bullet points first level </a:t>
            </a:r>
          </a:p>
          <a:p>
            <a:pPr lvl="1"/>
            <a:r>
              <a:rPr lang="en-IE"/>
              <a:t>Second level </a:t>
            </a:r>
          </a:p>
          <a:p>
            <a:pPr lvl="2"/>
            <a:r>
              <a:rPr lang="en-IE"/>
              <a:t>Third level</a:t>
            </a:r>
          </a:p>
          <a:p>
            <a:pPr lvl="3"/>
            <a:r>
              <a:rPr lang="en-IE"/>
              <a:t>Fourth level</a:t>
            </a:r>
          </a:p>
          <a:p>
            <a:pPr lvl="4"/>
            <a:r>
              <a:rPr lang="en-IE"/>
              <a:t>Fifth level</a:t>
            </a:r>
          </a:p>
        </p:txBody>
      </p:sp>
      <p:sp>
        <p:nvSpPr>
          <p:cNvPr id="15" name="Inhaltsplatzhalter 2">
            <a:extLst>
              <a:ext uri="{FF2B5EF4-FFF2-40B4-BE49-F238E27FC236}">
                <a16:creationId xmlns:a16="http://schemas.microsoft.com/office/drawing/2014/main" id="{E742937F-ADF9-487A-AB88-EE6EE0E8FD08}"/>
              </a:ext>
            </a:extLst>
          </p:cNvPr>
          <p:cNvSpPr>
            <a:spLocks noGrp="1"/>
          </p:cNvSpPr>
          <p:nvPr>
            <p:ph idx="19" hasCustomPrompt="1"/>
          </p:nvPr>
        </p:nvSpPr>
        <p:spPr>
          <a:xfrm>
            <a:off x="7923229" y="1844822"/>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en-IE"/>
              <a:t>Bullet points first level </a:t>
            </a:r>
          </a:p>
          <a:p>
            <a:pPr lvl="1"/>
            <a:r>
              <a:rPr lang="en-IE"/>
              <a:t>Second level </a:t>
            </a:r>
          </a:p>
          <a:p>
            <a:pPr lvl="2"/>
            <a:r>
              <a:rPr lang="en-IE"/>
              <a:t>Third level</a:t>
            </a:r>
          </a:p>
          <a:p>
            <a:pPr lvl="3"/>
            <a:r>
              <a:rPr lang="en-IE"/>
              <a:t>Fourth level</a:t>
            </a:r>
          </a:p>
          <a:p>
            <a:pPr lvl="4"/>
            <a:r>
              <a:rPr lang="en-IE"/>
              <a:t>Fifth level</a:t>
            </a:r>
          </a:p>
        </p:txBody>
      </p:sp>
      <p:sp>
        <p:nvSpPr>
          <p:cNvPr id="17" name="Inhaltsplatzhalter 2">
            <a:extLst>
              <a:ext uri="{FF2B5EF4-FFF2-40B4-BE49-F238E27FC236}">
                <a16:creationId xmlns:a16="http://schemas.microsoft.com/office/drawing/2014/main" id="{C1294B06-543C-439B-844D-292C65223D9D}"/>
              </a:ext>
            </a:extLst>
          </p:cNvPr>
          <p:cNvSpPr>
            <a:spLocks noGrp="1"/>
          </p:cNvSpPr>
          <p:nvPr>
            <p:ph idx="20" hasCustomPrompt="1"/>
          </p:nvPr>
        </p:nvSpPr>
        <p:spPr>
          <a:xfrm>
            <a:off x="4151784" y="1844823"/>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en-IE"/>
              <a:t>Bullet points first level </a:t>
            </a:r>
          </a:p>
          <a:p>
            <a:pPr lvl="1"/>
            <a:r>
              <a:rPr lang="en-IE"/>
              <a:t>Second level </a:t>
            </a:r>
          </a:p>
          <a:p>
            <a:pPr lvl="2"/>
            <a:r>
              <a:rPr lang="en-IE"/>
              <a:t>Third level</a:t>
            </a:r>
          </a:p>
          <a:p>
            <a:pPr lvl="3"/>
            <a:r>
              <a:rPr lang="en-IE"/>
              <a:t>Fourth level</a:t>
            </a:r>
          </a:p>
          <a:p>
            <a:pPr lvl="4"/>
            <a:r>
              <a:rPr lang="en-IE"/>
              <a:t>Fifth level</a:t>
            </a:r>
          </a:p>
        </p:txBody>
      </p:sp>
      <p:sp>
        <p:nvSpPr>
          <p:cNvPr id="9" name="Titel 5">
            <a:extLst>
              <a:ext uri="{FF2B5EF4-FFF2-40B4-BE49-F238E27FC236}">
                <a16:creationId xmlns:a16="http://schemas.microsoft.com/office/drawing/2014/main" id="{009D75ED-94BB-4DB3-A55E-CFA85E39F7A3}"/>
              </a:ext>
            </a:extLst>
          </p:cNvPr>
          <p:cNvSpPr>
            <a:spLocks noGrp="1"/>
          </p:cNvSpPr>
          <p:nvPr>
            <p:ph type="title" hasCustomPrompt="1"/>
          </p:nvPr>
        </p:nvSpPr>
        <p:spPr>
          <a:xfrm>
            <a:off x="380339" y="260648"/>
            <a:ext cx="11617788" cy="431325"/>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
        <p:nvSpPr>
          <p:cNvPr id="11" name="Textplatzhalter 11">
            <a:extLst>
              <a:ext uri="{FF2B5EF4-FFF2-40B4-BE49-F238E27FC236}">
                <a16:creationId xmlns:a16="http://schemas.microsoft.com/office/drawing/2014/main" id="{CDA0278C-3CB1-4B5A-B6A3-7F8C901572EF}"/>
              </a:ext>
            </a:extLst>
          </p:cNvPr>
          <p:cNvSpPr>
            <a:spLocks noGrp="1"/>
          </p:cNvSpPr>
          <p:nvPr>
            <p:ph type="body" sz="quarter" idx="12" hasCustomPrompt="1"/>
          </p:nvPr>
        </p:nvSpPr>
        <p:spPr>
          <a:xfrm>
            <a:off x="382588" y="785744"/>
            <a:ext cx="11617788" cy="442428"/>
          </a:xfrm>
          <a:prstGeom prst="rect">
            <a:avLst/>
          </a:prstGeom>
          <a:ln>
            <a:noFill/>
          </a:ln>
        </p:spPr>
        <p:txBody>
          <a:bodyPr anchor="ctr">
            <a:normAutofit/>
          </a:bodyPr>
          <a:lstStyle>
            <a:lvl1pPr marL="0" indent="0" rtl="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en-IE"/>
              <a:t>Click here to edit Headline 2 </a:t>
            </a:r>
          </a:p>
        </p:txBody>
      </p:sp>
    </p:spTree>
    <p:extLst>
      <p:ext uri="{BB962C8B-B14F-4D97-AF65-F5344CB8AC3E}">
        <p14:creationId xmlns:p14="http://schemas.microsoft.com/office/powerpoint/2010/main" val="2431941055"/>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orient="horz" pos="1049">
          <p15:clr>
            <a:srgbClr val="A4A3A4"/>
          </p15:clr>
        </p15:guide>
        <p15:guide id="5" orient="horz" pos="1480">
          <p15:clr>
            <a:srgbClr val="A4A3A4"/>
          </p15:clr>
        </p15:guide>
        <p15:guide id="6" orient="horz" pos="1548">
          <p15:clr>
            <a:srgbClr val="A4A3A4"/>
          </p15:clr>
        </p15:guide>
        <p15:guide id="7" orient="horz" pos="3634">
          <p15:clr>
            <a:srgbClr val="A4A3A4"/>
          </p15:clr>
        </p15:guide>
        <p15:guide id="8" pos="181">
          <p15:clr>
            <a:srgbClr val="A4A3A4"/>
          </p15:clr>
        </p15:guide>
        <p15:guide id="9" pos="7499">
          <p15:clr>
            <a:srgbClr val="A4A3A4"/>
          </p15:clr>
        </p15:guide>
        <p15:guide id="10" pos="3931">
          <p15:clr>
            <a:srgbClr val="A4A3A4"/>
          </p15:clr>
        </p15:guide>
        <p15:guide id="11" pos="3749">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ENTSO-E Graph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5B68A7A-2DBA-C4FE-2FF6-7818D7709597}"/>
              </a:ext>
            </a:extLst>
          </p:cNvPr>
          <p:cNvGraphicFramePr>
            <a:graphicFrameLocks noChangeAspect="1"/>
          </p:cNvGraphicFramePr>
          <p:nvPr userDrawn="1">
            <p:custDataLst>
              <p:tags r:id="rId1"/>
            </p:custDataLst>
            <p:extLst>
              <p:ext uri="{D42A27DB-BD31-4B8C-83A1-F6EECF244321}">
                <p14:modId xmlns:p14="http://schemas.microsoft.com/office/powerpoint/2010/main" val="4016320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B5B68A7A-2DBA-C4FE-2FF6-7818D77095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graphicFrame>
        <p:nvGraphicFramePr>
          <p:cNvPr id="7" name="Inhaltsplatzhalter 9" title="Diagramm Platzhalter">
            <a:extLst>
              <a:ext uri="{FF2B5EF4-FFF2-40B4-BE49-F238E27FC236}">
                <a16:creationId xmlns:a16="http://schemas.microsoft.com/office/drawing/2014/main" id="{B463EBB2-B343-A342-A26F-FA6D526125DA}"/>
              </a:ext>
            </a:extLst>
          </p:cNvPr>
          <p:cNvGraphicFramePr>
            <a:graphicFrameLocks/>
          </p:cNvGraphicFramePr>
          <p:nvPr userDrawn="1">
            <p:extLst>
              <p:ext uri="{D42A27DB-BD31-4B8C-83A1-F6EECF244321}">
                <p14:modId xmlns:p14="http://schemas.microsoft.com/office/powerpoint/2010/main" val="2616654375"/>
              </p:ext>
            </p:extLst>
          </p:nvPr>
        </p:nvGraphicFramePr>
        <p:xfrm>
          <a:off x="6648450" y="1665288"/>
          <a:ext cx="5543550" cy="410368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68752725"/>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ENTSO-E Graph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3F3BC2-B074-2811-1FCB-C94490E19B5B}"/>
              </a:ext>
            </a:extLst>
          </p:cNvPr>
          <p:cNvGraphicFramePr>
            <a:graphicFrameLocks noChangeAspect="1"/>
          </p:cNvGraphicFramePr>
          <p:nvPr userDrawn="1">
            <p:custDataLst>
              <p:tags r:id="rId1"/>
            </p:custDataLst>
            <p:extLst>
              <p:ext uri="{D42A27DB-BD31-4B8C-83A1-F6EECF244321}">
                <p14:modId xmlns:p14="http://schemas.microsoft.com/office/powerpoint/2010/main" val="574210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103F3BC2-B074-2811-1FCB-C94490E19B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
        <p:nvSpPr>
          <p:cNvPr id="4" name="Inhaltsplatzhalter 10">
            <a:extLst>
              <a:ext uri="{FF2B5EF4-FFF2-40B4-BE49-F238E27FC236}">
                <a16:creationId xmlns:a16="http://schemas.microsoft.com/office/drawing/2014/main" id="{C04C5352-D576-AE47-888D-BF03439BD4FC}"/>
              </a:ext>
            </a:extLst>
          </p:cNvPr>
          <p:cNvSpPr>
            <a:spLocks noGrp="1"/>
          </p:cNvSpPr>
          <p:nvPr>
            <p:ph idx="1" hasCustomPrompt="1"/>
          </p:nvPr>
        </p:nvSpPr>
        <p:spPr>
          <a:xfrm>
            <a:off x="1739517" y="1665288"/>
            <a:ext cx="8712201" cy="4103972"/>
          </a:xfrm>
        </p:spPr>
        <p:txBody>
          <a:bodyPr>
            <a:normAutofit lnSpcReduction="10000"/>
          </a:bodyPr>
          <a:lstStyle>
            <a:lvl1pPr rtl="0">
              <a:defRPr/>
            </a:lvl1pPr>
          </a:lstStyle>
          <a:p>
            <a:r>
              <a:rPr lang="en-IE" b="1"/>
              <a:t>   </a:t>
            </a:r>
            <a:br>
              <a:rPr lang="en-IE" b="1"/>
            </a:br>
            <a:r>
              <a:rPr lang="en-IE" b="1"/>
              <a:t> </a:t>
            </a:r>
            <a:endParaRPr lang="en-IE" b="1"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br>
              <a:rPr lang="en-IE" sz="900" i="1">
                <a:solidFill>
                  <a:prstClr val="black"/>
                </a:solidFill>
              </a:rPr>
            </a:br>
            <a:br>
              <a:rPr lang="en-IE" sz="900" i="1">
                <a:solidFill>
                  <a:prstClr val="black"/>
                </a:solidFill>
              </a:rPr>
            </a:br>
            <a:br>
              <a:rPr lang="en-IE" sz="900" i="1">
                <a:solidFill>
                  <a:prstClr val="black"/>
                </a:solidFill>
              </a:rPr>
            </a:br>
            <a:r>
              <a:rPr lang="en-IE" sz="900" i="1">
                <a:solidFill>
                  <a:prstClr val="black"/>
                </a:solidFill>
              </a:rPr>
              <a:t>Source: Insert here if applicable</a:t>
            </a:r>
            <a:endParaRPr lang="en-IE" sz="900"/>
          </a:p>
        </p:txBody>
      </p:sp>
      <p:graphicFrame>
        <p:nvGraphicFramePr>
          <p:cNvPr id="6" name="Diagramm 5" title="Flächendiagramm Platzhalter">
            <a:extLst>
              <a:ext uri="{FF2B5EF4-FFF2-40B4-BE49-F238E27FC236}">
                <a16:creationId xmlns:a16="http://schemas.microsoft.com/office/drawing/2014/main" id="{654DBC48-79E2-BF45-94FB-10AE0A01AFE4}"/>
              </a:ext>
            </a:extLst>
          </p:cNvPr>
          <p:cNvGraphicFramePr/>
          <p:nvPr userDrawn="1">
            <p:extLst>
              <p:ext uri="{D42A27DB-BD31-4B8C-83A1-F6EECF244321}">
                <p14:modId xmlns:p14="http://schemas.microsoft.com/office/powerpoint/2010/main" val="1491827380"/>
              </p:ext>
            </p:extLst>
          </p:nvPr>
        </p:nvGraphicFramePr>
        <p:xfrm>
          <a:off x="382587" y="1665288"/>
          <a:ext cx="11522075" cy="399596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02914280"/>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ENTSO-E Graph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4C5A282-C0B2-2724-DB0D-B8380440BD5B}"/>
              </a:ext>
            </a:extLst>
          </p:cNvPr>
          <p:cNvGraphicFramePr>
            <a:graphicFrameLocks noChangeAspect="1"/>
          </p:cNvGraphicFramePr>
          <p:nvPr userDrawn="1">
            <p:custDataLst>
              <p:tags r:id="rId1"/>
            </p:custDataLst>
            <p:extLst>
              <p:ext uri="{D42A27DB-BD31-4B8C-83A1-F6EECF244321}">
                <p14:modId xmlns:p14="http://schemas.microsoft.com/office/powerpoint/2010/main" val="1316644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44C5A282-C0B2-2724-DB0D-B8380440BD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
        <p:nvSpPr>
          <p:cNvPr id="4" name="Inhaltsplatzhalter 1">
            <a:extLst>
              <a:ext uri="{FF2B5EF4-FFF2-40B4-BE49-F238E27FC236}">
                <a16:creationId xmlns:a16="http://schemas.microsoft.com/office/drawing/2014/main" id="{C62E783B-8C38-B14F-A829-53ADBD597589}"/>
              </a:ext>
            </a:extLst>
          </p:cNvPr>
          <p:cNvSpPr>
            <a:spLocks noGrp="1"/>
          </p:cNvSpPr>
          <p:nvPr>
            <p:ph idx="1" hasCustomPrompt="1"/>
          </p:nvPr>
        </p:nvSpPr>
        <p:spPr>
          <a:xfrm>
            <a:off x="407368" y="1747353"/>
            <a:ext cx="7200800" cy="4292180"/>
          </a:xfrm>
        </p:spPr>
        <p:txBody>
          <a:bodyPr/>
          <a:lstStyle>
            <a:lvl1pPr rtl="0">
              <a:defRPr/>
            </a:lvl1pPr>
          </a:lstStyle>
          <a:p>
            <a:r>
              <a:rPr lang="en-IE">
                <a:solidFill>
                  <a:srgbClr val="0F218B"/>
                </a:solidFill>
              </a:rPr>
              <a:t>Headline 3 – Edit the pie chart by clicking on it. Now icons appear. If you keep the cursor above the icons, a descriptive text appears. </a:t>
            </a:r>
          </a:p>
          <a:p>
            <a:r>
              <a:rPr lang="en-IE"/>
              <a:t>You may change the type of chart, the layout and colour scheme. We advise to refrain from using gradients and shadows – this does not add any information in most cases. </a:t>
            </a:r>
          </a:p>
          <a:p>
            <a:r>
              <a:rPr lang="en-IE"/>
              <a:t>The size of this copy will adapt automatically, depending on how many words you insert or write. If the size of the copy appears too small – rather try editing the text than maximising the size of the text box. </a:t>
            </a:r>
          </a:p>
          <a:p>
            <a:endParaRPr lang="en-IE"/>
          </a:p>
        </p:txBody>
      </p:sp>
      <p:graphicFrame>
        <p:nvGraphicFramePr>
          <p:cNvPr id="6" name="Inhaltsplatzhalter 8" title="Kreisdiagramm Platzhalter">
            <a:extLst>
              <a:ext uri="{FF2B5EF4-FFF2-40B4-BE49-F238E27FC236}">
                <a16:creationId xmlns:a16="http://schemas.microsoft.com/office/drawing/2014/main" id="{6D36771A-5075-9748-A710-7DBB70C12D6A}"/>
              </a:ext>
            </a:extLst>
          </p:cNvPr>
          <p:cNvGraphicFramePr>
            <a:graphicFrameLocks/>
          </p:cNvGraphicFramePr>
          <p:nvPr userDrawn="1">
            <p:extLst>
              <p:ext uri="{D42A27DB-BD31-4B8C-83A1-F6EECF244321}">
                <p14:modId xmlns:p14="http://schemas.microsoft.com/office/powerpoint/2010/main" val="3232390385"/>
              </p:ext>
            </p:extLst>
          </p:nvPr>
        </p:nvGraphicFramePr>
        <p:xfrm>
          <a:off x="8472264" y="1747353"/>
          <a:ext cx="2951162" cy="410368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64383941"/>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ENTSO-E Graph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11B7BEC-8C3B-96E6-3AB3-05ED78FB84B4}"/>
              </a:ext>
            </a:extLst>
          </p:cNvPr>
          <p:cNvGraphicFramePr>
            <a:graphicFrameLocks noChangeAspect="1"/>
          </p:cNvGraphicFramePr>
          <p:nvPr userDrawn="1">
            <p:custDataLst>
              <p:tags r:id="rId1"/>
            </p:custDataLst>
            <p:extLst>
              <p:ext uri="{D42A27DB-BD31-4B8C-83A1-F6EECF244321}">
                <p14:modId xmlns:p14="http://schemas.microsoft.com/office/powerpoint/2010/main" val="2937201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211B7BEC-8C3B-96E6-3AB3-05ED78FB84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
        <p:nvSpPr>
          <p:cNvPr id="7" name="Inhaltsplatzhalter 1">
            <a:extLst>
              <a:ext uri="{FF2B5EF4-FFF2-40B4-BE49-F238E27FC236}">
                <a16:creationId xmlns:a16="http://schemas.microsoft.com/office/drawing/2014/main" id="{C1F9600C-DD2A-3D4A-B5B0-19ADE1EE280E}"/>
              </a:ext>
            </a:extLst>
          </p:cNvPr>
          <p:cNvSpPr>
            <a:spLocks noGrp="1"/>
          </p:cNvSpPr>
          <p:nvPr>
            <p:ph idx="18" hasCustomPrompt="1"/>
          </p:nvPr>
        </p:nvSpPr>
        <p:spPr>
          <a:xfrm>
            <a:off x="349412" y="854984"/>
            <a:ext cx="3648000" cy="3311525"/>
          </a:xfrm>
        </p:spPr>
        <p:txBody>
          <a:bodyPr>
            <a:noAutofit/>
          </a:bodyPr>
          <a:lstStyle>
            <a:lvl1pPr rtl="0">
              <a:defRPr sz="1800"/>
            </a:lvl1pPr>
          </a:lstStyle>
          <a:p>
            <a:r>
              <a:rPr lang="en-IE">
                <a:latin typeface="Calibri" panose="020F0502020204030204" pitchFamily="34" charset="0"/>
                <a:cs typeface="Calibri" panose="020F0502020204030204" pitchFamily="34" charset="0"/>
              </a:rPr>
              <a:t>Examples for bullet points.</a:t>
            </a:r>
          </a:p>
          <a:p>
            <a:r>
              <a:rPr lang="en-IE">
                <a:latin typeface="Calibri" panose="020F0502020204030204" pitchFamily="34" charset="0"/>
                <a:cs typeface="Calibri" panose="020F0502020204030204" pitchFamily="34" charset="0"/>
              </a:rPr>
              <a:t>Be aware that there is a significant difference between using only the enter-key and using the combination of enter- and shift-key.</a:t>
            </a:r>
          </a:p>
          <a:p>
            <a:r>
              <a:rPr lang="en-IE">
                <a:latin typeface="Calibri" panose="020F0502020204030204" pitchFamily="34" charset="0"/>
                <a:cs typeface="Calibri" panose="020F0502020204030204" pitchFamily="34" charset="0"/>
              </a:rPr>
              <a:t>Using only the enter-key will create a new bullet point.</a:t>
            </a:r>
            <a:br>
              <a:rPr lang="en-IE">
                <a:latin typeface="Calibri" panose="020F0502020204030204" pitchFamily="34" charset="0"/>
                <a:cs typeface="Calibri" panose="020F0502020204030204" pitchFamily="34" charset="0"/>
              </a:rPr>
            </a:br>
            <a:r>
              <a:rPr lang="en-IE">
                <a:latin typeface="Calibri" panose="020F0502020204030204" pitchFamily="34" charset="0"/>
                <a:cs typeface="Calibri" panose="020F0502020204030204" pitchFamily="34" charset="0"/>
              </a:rPr>
              <a:t> </a:t>
            </a:r>
            <a:br>
              <a:rPr lang="en-IE">
                <a:latin typeface="Calibri" panose="020F0502020204030204" pitchFamily="34" charset="0"/>
                <a:cs typeface="Calibri" panose="020F0502020204030204" pitchFamily="34" charset="0"/>
              </a:rPr>
            </a:br>
            <a:r>
              <a:rPr lang="en-IE">
                <a:latin typeface="Calibri" panose="020F0502020204030204" pitchFamily="34" charset="0"/>
                <a:cs typeface="Calibri" panose="020F0502020204030204" pitchFamily="34" charset="0"/>
              </a:rPr>
              <a:t>If you only want to start the text in a new line (like this sentence) and keep the numeration, use shift-enter. </a:t>
            </a:r>
          </a:p>
          <a:p>
            <a:r>
              <a:rPr lang="en-IE">
                <a:latin typeface="Calibri" panose="020F0502020204030204" pitchFamily="34" charset="0"/>
                <a:cs typeface="Calibri" panose="020F0502020204030204" pitchFamily="34" charset="0"/>
              </a:rPr>
              <a:t>Text will resize automatically.</a:t>
            </a:r>
          </a:p>
          <a:p>
            <a:endParaRPr lang="en-IE">
              <a:latin typeface="Calibri" panose="020F0502020204030204" pitchFamily="34" charset="0"/>
              <a:cs typeface="Calibri" panose="020F0502020204030204" pitchFamily="34" charset="0"/>
            </a:endParaRPr>
          </a:p>
          <a:p>
            <a:endParaRPr lang="en-IE">
              <a:latin typeface="Calibri" panose="020F0502020204030204" pitchFamily="34" charset="0"/>
              <a:cs typeface="Calibri" panose="020F0502020204030204" pitchFamily="34" charset="0"/>
            </a:endParaRPr>
          </a:p>
        </p:txBody>
      </p:sp>
      <p:sp>
        <p:nvSpPr>
          <p:cNvPr id="8" name="Inhaltsplatzhalter 2">
            <a:extLst>
              <a:ext uri="{FF2B5EF4-FFF2-40B4-BE49-F238E27FC236}">
                <a16:creationId xmlns:a16="http://schemas.microsoft.com/office/drawing/2014/main" id="{C36A1AC1-56A4-4346-B7AD-92B4196EBB80}"/>
              </a:ext>
            </a:extLst>
          </p:cNvPr>
          <p:cNvSpPr>
            <a:spLocks noGrp="1"/>
          </p:cNvSpPr>
          <p:nvPr>
            <p:ph idx="19" hasCustomPrompt="1"/>
          </p:nvPr>
        </p:nvSpPr>
        <p:spPr>
          <a:xfrm>
            <a:off x="7752184" y="836362"/>
            <a:ext cx="3648000" cy="3311525"/>
          </a:xfrm>
        </p:spPr>
        <p:txBody>
          <a:bodyPr/>
          <a:lstStyle>
            <a:lvl1pPr rtl="0">
              <a:defRPr sz="1800"/>
            </a:lvl1pPr>
            <a:lvl2pPr rtl="0">
              <a:defRPr sz="1800"/>
            </a:lvl2pPr>
            <a:lvl3pPr rtl="0">
              <a:defRPr sz="1800"/>
            </a:lvl3pPr>
            <a:lvl4pPr rtl="0">
              <a:defRPr sz="1800"/>
            </a:lvl4pPr>
            <a:lvl5pPr rtl="0">
              <a:defRPr sz="1800"/>
            </a:lvl5pPr>
          </a:lstStyle>
          <a:p>
            <a:r>
              <a:rPr lang="en-IE">
                <a:latin typeface="Calibri" panose="020F0502020204030204" pitchFamily="34" charset="0"/>
                <a:cs typeface="Calibri" panose="020F0502020204030204" pitchFamily="34" charset="0"/>
              </a:rPr>
              <a:t>Example for bullet points</a:t>
            </a:r>
            <a:br>
              <a:rPr lang="en-IE">
                <a:latin typeface="Calibri" panose="020F0502020204030204" pitchFamily="34" charset="0"/>
                <a:cs typeface="Calibri" panose="020F0502020204030204" pitchFamily="34" charset="0"/>
              </a:rPr>
            </a:br>
            <a:endParaRPr lang="en-IE">
              <a:latin typeface="Calibri" panose="020F0502020204030204" pitchFamily="34" charset="0"/>
              <a:cs typeface="Calibri" panose="020F0502020204030204" pitchFamily="34" charset="0"/>
            </a:endParaRPr>
          </a:p>
          <a:p>
            <a:r>
              <a:rPr lang="en-IE">
                <a:latin typeface="Calibri" panose="020F0502020204030204" pitchFamily="34" charset="0"/>
                <a:cs typeface="Calibri" panose="020F0502020204030204" pitchFamily="34" charset="0"/>
              </a:rPr>
              <a:t>Dummy text here</a:t>
            </a:r>
          </a:p>
          <a:p>
            <a:pPr lvl="1"/>
            <a:r>
              <a:rPr lang="en-IE">
                <a:latin typeface="Calibri" panose="020F0502020204030204" pitchFamily="34" charset="0"/>
                <a:cs typeface="Calibri" panose="020F0502020204030204" pitchFamily="34" charset="0"/>
              </a:rPr>
              <a:t>Second level</a:t>
            </a:r>
          </a:p>
          <a:p>
            <a:pPr lvl="2"/>
            <a:r>
              <a:rPr lang="en-IE">
                <a:latin typeface="Calibri" panose="020F0502020204030204" pitchFamily="34" charset="0"/>
                <a:cs typeface="Calibri" panose="020F0502020204030204" pitchFamily="34" charset="0"/>
              </a:rPr>
              <a:t>Third level</a:t>
            </a:r>
          </a:p>
          <a:p>
            <a:pPr lvl="3"/>
            <a:r>
              <a:rPr lang="en-IE">
                <a:latin typeface="Calibri" panose="020F0502020204030204" pitchFamily="34" charset="0"/>
                <a:cs typeface="Calibri" panose="020F0502020204030204" pitchFamily="34" charset="0"/>
              </a:rPr>
              <a:t>Fourth level</a:t>
            </a:r>
          </a:p>
          <a:p>
            <a:pPr lvl="4"/>
            <a:r>
              <a:rPr lang="en-IE">
                <a:latin typeface="Calibri" panose="020F0502020204030204" pitchFamily="34" charset="0"/>
                <a:cs typeface="Calibri" panose="020F0502020204030204" pitchFamily="34" charset="0"/>
              </a:rPr>
              <a:t>Fifth level</a:t>
            </a:r>
          </a:p>
        </p:txBody>
      </p:sp>
      <p:graphicFrame>
        <p:nvGraphicFramePr>
          <p:cNvPr id="9" name="Inhaltsplatzhalter 7" title="Infobox Platzhalter">
            <a:extLst>
              <a:ext uri="{FF2B5EF4-FFF2-40B4-BE49-F238E27FC236}">
                <a16:creationId xmlns:a16="http://schemas.microsoft.com/office/drawing/2014/main" id="{03B3DB83-3BE0-1D49-9913-2E54862A2869}"/>
              </a:ext>
            </a:extLst>
          </p:cNvPr>
          <p:cNvGraphicFramePr>
            <a:graphicFrameLocks/>
          </p:cNvGraphicFramePr>
          <p:nvPr userDrawn="1">
            <p:extLst>
              <p:ext uri="{D42A27DB-BD31-4B8C-83A1-F6EECF244321}">
                <p14:modId xmlns:p14="http://schemas.microsoft.com/office/powerpoint/2010/main" val="3301762281"/>
              </p:ext>
            </p:extLst>
          </p:nvPr>
        </p:nvGraphicFramePr>
        <p:xfrm>
          <a:off x="4079776" y="836362"/>
          <a:ext cx="3474386" cy="3203797"/>
        </p:xfrm>
        <a:graphic>
          <a:graphicData uri="http://schemas.openxmlformats.org/drawingml/2006/table">
            <a:tbl>
              <a:tblPr bandCol="1">
                <a:tableStyleId>{3B4B98B0-60AC-42C2-AFA5-B58CD77FA1E5}</a:tableStyleId>
              </a:tblPr>
              <a:tblGrid>
                <a:gridCol w="3474386">
                  <a:extLst>
                    <a:ext uri="{9D8B030D-6E8A-4147-A177-3AD203B41FA5}">
                      <a16:colId xmlns:a16="http://schemas.microsoft.com/office/drawing/2014/main" val="1090517882"/>
                    </a:ext>
                  </a:extLst>
                </a:gridCol>
              </a:tblGrid>
              <a:tr h="3203797">
                <a:tc>
                  <a:txBody>
                    <a:bodyPr/>
                    <a:lstStyle/>
                    <a:p>
                      <a:pPr rtl="0"/>
                      <a:r>
                        <a:rPr lang="en-IE" sz="1800" b="1">
                          <a:solidFill>
                            <a:srgbClr val="015092"/>
                          </a:solidFill>
                          <a:latin typeface="Calibri" panose="020F0502020204030204" pitchFamily="34" charset="0"/>
                          <a:cs typeface="Calibri" panose="020F0502020204030204" pitchFamily="34" charset="0"/>
                        </a:rPr>
                        <a:t>Infobox </a:t>
                      </a:r>
                    </a:p>
                    <a:p>
                      <a:pPr rtl="0"/>
                      <a:endParaRPr lang="en-IE" sz="1800" b="1">
                        <a:solidFill>
                          <a:srgbClr val="015092"/>
                        </a:solidFill>
                        <a:latin typeface="Calibri" panose="020F0502020204030204" pitchFamily="34" charset="0"/>
                        <a:cs typeface="Calibri" panose="020F0502020204030204" pitchFamily="34" charset="0"/>
                      </a:endParaRPr>
                    </a:p>
                    <a:p>
                      <a:pPr rtl="0"/>
                      <a:r>
                        <a:rPr lang="en-IE" sz="1800">
                          <a:solidFill>
                            <a:srgbClr val="015092"/>
                          </a:solidFill>
                          <a:latin typeface="Calibri" panose="020F0502020204030204" pitchFamily="34" charset="0"/>
                          <a:cs typeface="Calibri" panose="020F0502020204030204" pitchFamily="34" charset="0"/>
                        </a:rPr>
                        <a:t>By using the buttons ‚increase indent‘ and ‚decrease indent‘ in the ‚Start‘ menu, you can switch between indention levels. This is valid for all kinds of listings, e.g. bullet points and enumeration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alpha val="20000"/>
                      </a:schemeClr>
                    </a:solidFill>
                  </a:tcPr>
                </a:tc>
                <a:extLst>
                  <a:ext uri="{0D108BD9-81ED-4DB2-BD59-A6C34878D82A}">
                    <a16:rowId xmlns:a16="http://schemas.microsoft.com/office/drawing/2014/main" val="2331007764"/>
                  </a:ext>
                </a:extLst>
              </a:tr>
            </a:tbl>
          </a:graphicData>
        </a:graphic>
      </p:graphicFrame>
    </p:spTree>
    <p:extLst>
      <p:ext uri="{BB962C8B-B14F-4D97-AF65-F5344CB8AC3E}">
        <p14:creationId xmlns:p14="http://schemas.microsoft.com/office/powerpoint/2010/main" val="1756417623"/>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ENTSO-E Graph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E54CB5D-9FEC-6E50-62E7-AF9C84DAFE73}"/>
              </a:ext>
            </a:extLst>
          </p:cNvPr>
          <p:cNvGraphicFramePr>
            <a:graphicFrameLocks noChangeAspect="1"/>
          </p:cNvGraphicFramePr>
          <p:nvPr userDrawn="1">
            <p:custDataLst>
              <p:tags r:id="rId1"/>
            </p:custDataLst>
            <p:extLst>
              <p:ext uri="{D42A27DB-BD31-4B8C-83A1-F6EECF244321}">
                <p14:modId xmlns:p14="http://schemas.microsoft.com/office/powerpoint/2010/main" val="1414154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5E54CB5D-9FEC-6E50-62E7-AF9C84DAFE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
        <p:nvSpPr>
          <p:cNvPr id="3" name="Inhaltsplatzhalter 1">
            <a:extLst>
              <a:ext uri="{FF2B5EF4-FFF2-40B4-BE49-F238E27FC236}">
                <a16:creationId xmlns:a16="http://schemas.microsoft.com/office/drawing/2014/main" id="{63F95587-91DB-574E-BF98-C631A8B7FEB8}"/>
              </a:ext>
            </a:extLst>
          </p:cNvPr>
          <p:cNvSpPr>
            <a:spLocks noGrp="1"/>
          </p:cNvSpPr>
          <p:nvPr>
            <p:ph idx="4294967295" hasCustomPrompt="1"/>
          </p:nvPr>
        </p:nvSpPr>
        <p:spPr>
          <a:xfrm>
            <a:off x="359864" y="1124744"/>
            <a:ext cx="11521546" cy="3311810"/>
          </a:xfrm>
        </p:spPr>
        <p:txBody>
          <a:bodyPr numCol="2" spcCol="216000">
            <a:normAutofit/>
          </a:bodyPr>
          <a:lstStyle>
            <a:lvl1pPr rtl="0">
              <a:defRPr/>
            </a:lvl1pPr>
          </a:lstStyle>
          <a:p>
            <a:pPr marL="342900" indent="-342900">
              <a:lnSpc>
                <a:spcPct val="120000"/>
              </a:lnSpc>
              <a:buClr>
                <a:srgbClr val="707F86"/>
              </a:buClr>
              <a:buFont typeface="+mj-lt"/>
              <a:buAutoNum type="arabicParenBoth"/>
            </a:pPr>
            <a:r>
              <a:rPr lang="en-IE"/>
              <a:t>The size of this copy will adapt automatically, depending on how many words you insert or write. If the size of the copy appears too small – rather try editing the text than maximising the size of the text box. </a:t>
            </a:r>
          </a:p>
          <a:p>
            <a:pPr marL="342900" indent="-342900">
              <a:lnSpc>
                <a:spcPct val="120000"/>
              </a:lnSpc>
              <a:buClr>
                <a:srgbClr val="707F86"/>
              </a:buClr>
              <a:buFont typeface="+mj-lt"/>
              <a:buAutoNum type="arabicParenBoth"/>
            </a:pPr>
            <a:r>
              <a:rPr lang="en-IE"/>
              <a:t>In general, it is a good idea just to provide abstracts - this is a screen presentation, and nobody likes to read much text on the screen. </a:t>
            </a:r>
          </a:p>
          <a:p>
            <a:pPr marL="342900" indent="-342900">
              <a:lnSpc>
                <a:spcPct val="120000"/>
              </a:lnSpc>
              <a:buClr>
                <a:srgbClr val="707F86"/>
              </a:buClr>
              <a:buFont typeface="+mj-lt"/>
              <a:buAutoNum type="arabicParenBoth"/>
            </a:pPr>
            <a:endParaRPr lang="en-IE"/>
          </a:p>
          <a:p>
            <a:pPr marL="342900" indent="-342900">
              <a:lnSpc>
                <a:spcPct val="120000"/>
              </a:lnSpc>
              <a:buClr>
                <a:srgbClr val="707F86"/>
              </a:buClr>
              <a:buFont typeface="+mj-lt"/>
              <a:buAutoNum type="arabicParenBoth"/>
            </a:pPr>
            <a:r>
              <a:rPr lang="en-IE"/>
              <a:t>Be aware that there is a significant difference between using only the enter-key and using the combination of enter- and shift-key.</a:t>
            </a:r>
          </a:p>
          <a:p>
            <a:pPr marL="342900" indent="-342900">
              <a:lnSpc>
                <a:spcPct val="120000"/>
              </a:lnSpc>
              <a:buClr>
                <a:srgbClr val="707F86"/>
              </a:buClr>
              <a:buFont typeface="+mj-lt"/>
              <a:buAutoNum type="arabicParenBoth"/>
            </a:pPr>
            <a:r>
              <a:rPr lang="en-IE"/>
              <a:t>In this textbox, using only the enter-key will create a new paragraph, causing a new numeration. </a:t>
            </a:r>
            <a:br>
              <a:rPr lang="en-IE"/>
            </a:br>
            <a:r>
              <a:rPr lang="en-IE"/>
              <a:t>If you only want to start the text in a new line (like this sentence) and keep the numeration, use shift-enter.  </a:t>
            </a:r>
          </a:p>
        </p:txBody>
      </p:sp>
    </p:spTree>
    <p:extLst>
      <p:ext uri="{BB962C8B-B14F-4D97-AF65-F5344CB8AC3E}">
        <p14:creationId xmlns:p14="http://schemas.microsoft.com/office/powerpoint/2010/main" val="1467466296"/>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_ENTSO-E Graph 1">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44CC9E23-1712-5C98-A63C-8B9ECC456EA2}"/>
              </a:ext>
            </a:extLst>
          </p:cNvPr>
          <p:cNvGraphicFramePr>
            <a:graphicFrameLocks noChangeAspect="1"/>
          </p:cNvGraphicFramePr>
          <p:nvPr userDrawn="1">
            <p:custDataLst>
              <p:tags r:id="rId1"/>
            </p:custDataLst>
            <p:extLst>
              <p:ext uri="{D42A27DB-BD31-4B8C-83A1-F6EECF244321}">
                <p14:modId xmlns:p14="http://schemas.microsoft.com/office/powerpoint/2010/main" val="1196565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9" name="Object 28" hidden="1">
                        <a:extLst>
                          <a:ext uri="{FF2B5EF4-FFF2-40B4-BE49-F238E27FC236}">
                            <a16:creationId xmlns:a16="http://schemas.microsoft.com/office/drawing/2014/main" id="{44CC9E23-1712-5C98-A63C-8B9ECC456E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
        <p:nvSpPr>
          <p:cNvPr id="3" name="Inhaltsplatzhalter 1">
            <a:extLst>
              <a:ext uri="{FF2B5EF4-FFF2-40B4-BE49-F238E27FC236}">
                <a16:creationId xmlns:a16="http://schemas.microsoft.com/office/drawing/2014/main" id="{045ED79A-32AA-D64E-AAD5-54B4B9C4DE4E}"/>
              </a:ext>
            </a:extLst>
          </p:cNvPr>
          <p:cNvSpPr>
            <a:spLocks noGrp="1"/>
          </p:cNvSpPr>
          <p:nvPr>
            <p:ph idx="1" hasCustomPrompt="1"/>
          </p:nvPr>
        </p:nvSpPr>
        <p:spPr>
          <a:xfrm>
            <a:off x="397842" y="939341"/>
            <a:ext cx="11506291" cy="4829919"/>
          </a:xfrm>
        </p:spPr>
        <p:txBody>
          <a:bodyPr/>
          <a:lstStyle>
            <a:lvl1pPr rtl="0">
              <a:defRPr>
                <a:solidFill>
                  <a:schemeClr val="tx1">
                    <a:lumMod val="50000"/>
                  </a:schemeClr>
                </a:solidFill>
              </a:defRPr>
            </a:lvl1pPr>
          </a:lstStyle>
          <a:p>
            <a:r>
              <a:rPr lang="en-IE">
                <a:solidFill>
                  <a:srgbClr val="0F218B"/>
                </a:solidFill>
              </a:rPr>
              <a:t>Headline 3 – Edit text here.</a:t>
            </a:r>
            <a:endParaRPr lang="en-IE" i="1">
              <a:solidFill>
                <a:srgbClr val="0F218B"/>
              </a:solidFill>
            </a:endParaRPr>
          </a:p>
        </p:txBody>
      </p:sp>
      <p:grpSp>
        <p:nvGrpSpPr>
          <p:cNvPr id="4" name="Group 3553" title="6-Monats-Zeitleiste Platzhalter">
            <a:extLst>
              <a:ext uri="{FF2B5EF4-FFF2-40B4-BE49-F238E27FC236}">
                <a16:creationId xmlns:a16="http://schemas.microsoft.com/office/drawing/2014/main" id="{104D80E7-590A-6F45-BD68-8611B65301C7}"/>
              </a:ext>
            </a:extLst>
          </p:cNvPr>
          <p:cNvGrpSpPr/>
          <p:nvPr userDrawn="1"/>
        </p:nvGrpSpPr>
        <p:grpSpPr>
          <a:xfrm>
            <a:off x="1811339" y="2381327"/>
            <a:ext cx="8569325" cy="3224119"/>
            <a:chOff x="0" y="359738"/>
            <a:chExt cx="10490200" cy="5139089"/>
          </a:xfrm>
        </p:grpSpPr>
        <p:grpSp>
          <p:nvGrpSpPr>
            <p:cNvPr id="6" name="Group 3530">
              <a:extLst>
                <a:ext uri="{FF2B5EF4-FFF2-40B4-BE49-F238E27FC236}">
                  <a16:creationId xmlns:a16="http://schemas.microsoft.com/office/drawing/2014/main" id="{0F489A34-EB0D-9844-8E5C-68A73CD91E77}"/>
                </a:ext>
              </a:extLst>
            </p:cNvPr>
            <p:cNvGrpSpPr/>
            <p:nvPr/>
          </p:nvGrpSpPr>
          <p:grpSpPr>
            <a:xfrm>
              <a:off x="463551" y="803442"/>
              <a:ext cx="5797974" cy="4695385"/>
              <a:chOff x="545" y="358575"/>
              <a:chExt cx="5797973" cy="4695384"/>
            </a:xfrm>
          </p:grpSpPr>
          <p:sp>
            <p:nvSpPr>
              <p:cNvPr id="15" name="Shape 3525">
                <a:extLst>
                  <a:ext uri="{FF2B5EF4-FFF2-40B4-BE49-F238E27FC236}">
                    <a16:creationId xmlns:a16="http://schemas.microsoft.com/office/drawing/2014/main" id="{A153CEA7-30AE-F849-A6F4-864E0256893E}"/>
                  </a:ext>
                </a:extLst>
              </p:cNvPr>
              <p:cNvSpPr/>
              <p:nvPr/>
            </p:nvSpPr>
            <p:spPr>
              <a:xfrm flipV="1">
                <a:off x="545" y="358575"/>
                <a:ext cx="0" cy="241032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rtl="0">
                  <a:defRPr sz="800">
                    <a:solidFill>
                      <a:srgbClr val="000000"/>
                    </a:solidFill>
                    <a:latin typeface="Helvetica"/>
                    <a:ea typeface="Helvetica"/>
                    <a:cs typeface="Helvetica"/>
                    <a:sym typeface="Helvetica"/>
                  </a:defRPr>
                </a:pPr>
                <a:endParaRPr lang="en-IE" sz="800">
                  <a:latin typeface="Calibri" panose="020F0502020204030204" pitchFamily="34" charset="0"/>
                  <a:cs typeface="Calibri" panose="020F0502020204030204" pitchFamily="34" charset="0"/>
                </a:endParaRPr>
              </a:p>
            </p:txBody>
          </p:sp>
          <p:sp>
            <p:nvSpPr>
              <p:cNvPr id="16" name="Shape 3526">
                <a:extLst>
                  <a:ext uri="{FF2B5EF4-FFF2-40B4-BE49-F238E27FC236}">
                    <a16:creationId xmlns:a16="http://schemas.microsoft.com/office/drawing/2014/main" id="{60C53EF1-C062-D545-8D50-5E5A151EAEF2}"/>
                  </a:ext>
                </a:extLst>
              </p:cNvPr>
              <p:cNvSpPr/>
              <p:nvPr/>
            </p:nvSpPr>
            <p:spPr>
              <a:xfrm flipV="1">
                <a:off x="755773" y="1567594"/>
                <a:ext cx="0" cy="1201303"/>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rtl="0">
                  <a:defRPr sz="800">
                    <a:solidFill>
                      <a:srgbClr val="000000"/>
                    </a:solidFill>
                    <a:latin typeface="Helvetica"/>
                    <a:ea typeface="Helvetica"/>
                    <a:cs typeface="Helvetica"/>
                    <a:sym typeface="Helvetica"/>
                  </a:defRPr>
                </a:pPr>
                <a:endParaRPr lang="en-IE" sz="800">
                  <a:latin typeface="Calibri" panose="020F0502020204030204" pitchFamily="34" charset="0"/>
                  <a:cs typeface="Calibri" panose="020F0502020204030204" pitchFamily="34" charset="0"/>
                </a:endParaRPr>
              </a:p>
            </p:txBody>
          </p:sp>
          <p:sp>
            <p:nvSpPr>
              <p:cNvPr id="17" name="Shape 3527">
                <a:extLst>
                  <a:ext uri="{FF2B5EF4-FFF2-40B4-BE49-F238E27FC236}">
                    <a16:creationId xmlns:a16="http://schemas.microsoft.com/office/drawing/2014/main" id="{13DFF85B-1393-F24D-B481-3D1EF145FDA3}"/>
                  </a:ext>
                </a:extLst>
              </p:cNvPr>
              <p:cNvSpPr/>
              <p:nvPr/>
            </p:nvSpPr>
            <p:spPr>
              <a:xfrm flipV="1">
                <a:off x="5798518" y="721344"/>
                <a:ext cx="0" cy="204755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rtl="0">
                  <a:defRPr sz="800">
                    <a:solidFill>
                      <a:srgbClr val="000000"/>
                    </a:solidFill>
                    <a:latin typeface="Helvetica"/>
                    <a:ea typeface="Helvetica"/>
                    <a:cs typeface="Helvetica"/>
                    <a:sym typeface="Helvetica"/>
                  </a:defRPr>
                </a:pPr>
                <a:endParaRPr lang="en-IE" sz="800">
                  <a:latin typeface="Calibri" panose="020F0502020204030204" pitchFamily="34" charset="0"/>
                  <a:cs typeface="Calibri" panose="020F0502020204030204" pitchFamily="34" charset="0"/>
                </a:endParaRPr>
              </a:p>
            </p:txBody>
          </p:sp>
          <p:sp>
            <p:nvSpPr>
              <p:cNvPr id="18" name="Shape 3528">
                <a:extLst>
                  <a:ext uri="{FF2B5EF4-FFF2-40B4-BE49-F238E27FC236}">
                    <a16:creationId xmlns:a16="http://schemas.microsoft.com/office/drawing/2014/main" id="{DC0087D8-03A9-6944-85A2-0EFC81E8E914}"/>
                  </a:ext>
                </a:extLst>
              </p:cNvPr>
              <p:cNvSpPr/>
              <p:nvPr/>
            </p:nvSpPr>
            <p:spPr>
              <a:xfrm>
                <a:off x="1608725" y="3274911"/>
                <a:ext cx="0" cy="1779048"/>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rtl="0">
                  <a:defRPr sz="800">
                    <a:solidFill>
                      <a:srgbClr val="000000"/>
                    </a:solidFill>
                    <a:latin typeface="Helvetica"/>
                    <a:ea typeface="Helvetica"/>
                    <a:cs typeface="Helvetica"/>
                    <a:sym typeface="Helvetica"/>
                  </a:defRPr>
                </a:pPr>
                <a:endParaRPr lang="en-IE" sz="800">
                  <a:latin typeface="Calibri" panose="020F0502020204030204" pitchFamily="34" charset="0"/>
                  <a:cs typeface="Calibri" panose="020F0502020204030204" pitchFamily="34" charset="0"/>
                </a:endParaRPr>
              </a:p>
            </p:txBody>
          </p:sp>
          <p:sp>
            <p:nvSpPr>
              <p:cNvPr id="19" name="Shape 3529">
                <a:extLst>
                  <a:ext uri="{FF2B5EF4-FFF2-40B4-BE49-F238E27FC236}">
                    <a16:creationId xmlns:a16="http://schemas.microsoft.com/office/drawing/2014/main" id="{DECA1AED-351A-F54C-8939-BE1935F59845}"/>
                  </a:ext>
                </a:extLst>
              </p:cNvPr>
              <p:cNvSpPr/>
              <p:nvPr/>
            </p:nvSpPr>
            <p:spPr>
              <a:xfrm>
                <a:off x="4459938" y="3274911"/>
                <a:ext cx="0" cy="909640"/>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rtl="0">
                  <a:defRPr sz="800">
                    <a:solidFill>
                      <a:srgbClr val="000000"/>
                    </a:solidFill>
                    <a:latin typeface="Helvetica"/>
                    <a:ea typeface="Helvetica"/>
                    <a:cs typeface="Helvetica"/>
                    <a:sym typeface="Helvetica"/>
                  </a:defRPr>
                </a:pPr>
                <a:endParaRPr lang="en-IE" sz="800">
                  <a:latin typeface="Calibri" panose="020F0502020204030204" pitchFamily="34" charset="0"/>
                  <a:cs typeface="Calibri" panose="020F0502020204030204" pitchFamily="34" charset="0"/>
                </a:endParaRPr>
              </a:p>
            </p:txBody>
          </p:sp>
        </p:grpSp>
        <p:grpSp>
          <p:nvGrpSpPr>
            <p:cNvPr id="7" name="Group 3537">
              <a:extLst>
                <a:ext uri="{FF2B5EF4-FFF2-40B4-BE49-F238E27FC236}">
                  <a16:creationId xmlns:a16="http://schemas.microsoft.com/office/drawing/2014/main" id="{A90B8DDB-C27F-1A4D-B381-D7862AAE7931}"/>
                </a:ext>
              </a:extLst>
            </p:cNvPr>
            <p:cNvGrpSpPr/>
            <p:nvPr/>
          </p:nvGrpSpPr>
          <p:grpSpPr>
            <a:xfrm>
              <a:off x="0" y="3216502"/>
              <a:ext cx="10490200" cy="508001"/>
              <a:chOff x="0" y="0"/>
              <a:chExt cx="10490200" cy="508000"/>
            </a:xfrm>
          </p:grpSpPr>
          <p:sp>
            <p:nvSpPr>
              <p:cNvPr id="9" name="Shape 3531">
                <a:extLst>
                  <a:ext uri="{FF2B5EF4-FFF2-40B4-BE49-F238E27FC236}">
                    <a16:creationId xmlns:a16="http://schemas.microsoft.com/office/drawing/2014/main" id="{11C1F5E3-318A-7F41-9327-18EA7D1F2420}"/>
                  </a:ext>
                </a:extLst>
              </p:cNvPr>
              <p:cNvSpPr/>
              <p:nvPr/>
            </p:nvSpPr>
            <p:spPr>
              <a:xfrm>
                <a:off x="1793240" y="0"/>
                <a:ext cx="1524001" cy="508000"/>
              </a:xfrm>
              <a:prstGeom prst="rect">
                <a:avLst/>
              </a:prstGeom>
              <a:solidFill>
                <a:srgbClr val="51A1D2">
                  <a:alpha val="80000"/>
                </a:srgb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IE" sz="1400" cap="none">
                    <a:latin typeface="Calibri" panose="020F0502020204030204" pitchFamily="34" charset="0"/>
                    <a:cs typeface="Calibri" panose="020F0502020204030204" pitchFamily="34" charset="0"/>
                  </a:rPr>
                  <a:t>February</a:t>
                </a:r>
              </a:p>
            </p:txBody>
          </p:sp>
          <p:sp>
            <p:nvSpPr>
              <p:cNvPr id="10" name="Shape 3532">
                <a:extLst>
                  <a:ext uri="{FF2B5EF4-FFF2-40B4-BE49-F238E27FC236}">
                    <a16:creationId xmlns:a16="http://schemas.microsoft.com/office/drawing/2014/main" id="{0CAAF65E-76F6-2A43-B9EB-D5012C50B795}"/>
                  </a:ext>
                </a:extLst>
              </p:cNvPr>
              <p:cNvSpPr/>
              <p:nvPr/>
            </p:nvSpPr>
            <p:spPr>
              <a:xfrm>
                <a:off x="3586479" y="0"/>
                <a:ext cx="1524001" cy="508000"/>
              </a:xfrm>
              <a:prstGeom prst="rect">
                <a:avLst/>
              </a:prstGeom>
              <a:solidFill>
                <a:schemeClr val="accent2"/>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IE" sz="1400" cap="none">
                    <a:latin typeface="Calibri" panose="020F0502020204030204" pitchFamily="34" charset="0"/>
                    <a:cs typeface="Calibri" panose="020F0502020204030204" pitchFamily="34" charset="0"/>
                  </a:rPr>
                  <a:t>March</a:t>
                </a:r>
                <a:endParaRPr lang="en-IE" sz="1400">
                  <a:latin typeface="Calibri" panose="020F0502020204030204" pitchFamily="34" charset="0"/>
                  <a:cs typeface="Calibri" panose="020F0502020204030204" pitchFamily="34" charset="0"/>
                </a:endParaRPr>
              </a:p>
            </p:txBody>
          </p:sp>
          <p:sp>
            <p:nvSpPr>
              <p:cNvPr id="11" name="Shape 3533">
                <a:extLst>
                  <a:ext uri="{FF2B5EF4-FFF2-40B4-BE49-F238E27FC236}">
                    <a16:creationId xmlns:a16="http://schemas.microsoft.com/office/drawing/2014/main" id="{07E0612B-2EE4-D94B-B9D5-7C3647E11828}"/>
                  </a:ext>
                </a:extLst>
              </p:cNvPr>
              <p:cNvSpPr/>
              <p:nvPr/>
            </p:nvSpPr>
            <p:spPr>
              <a:xfrm>
                <a:off x="5379719" y="0"/>
                <a:ext cx="1524001" cy="508000"/>
              </a:xfrm>
              <a:prstGeom prst="rect">
                <a:avLst/>
              </a:prstGeom>
              <a:solidFill>
                <a:schemeClr val="accent3"/>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IE" sz="1400" cap="none">
                    <a:latin typeface="Calibri" panose="020F0502020204030204" pitchFamily="34" charset="0"/>
                    <a:cs typeface="Calibri" panose="020F0502020204030204" pitchFamily="34" charset="0"/>
                  </a:rPr>
                  <a:t>April</a:t>
                </a:r>
              </a:p>
            </p:txBody>
          </p:sp>
          <p:sp>
            <p:nvSpPr>
              <p:cNvPr id="12" name="Shape 3534">
                <a:extLst>
                  <a:ext uri="{FF2B5EF4-FFF2-40B4-BE49-F238E27FC236}">
                    <a16:creationId xmlns:a16="http://schemas.microsoft.com/office/drawing/2014/main" id="{A49F006A-263E-B749-84F7-45EC0200E53B}"/>
                  </a:ext>
                </a:extLst>
              </p:cNvPr>
              <p:cNvSpPr/>
              <p:nvPr/>
            </p:nvSpPr>
            <p:spPr>
              <a:xfrm>
                <a:off x="7172959" y="0"/>
                <a:ext cx="1524001" cy="508000"/>
              </a:xfrm>
              <a:prstGeom prst="rect">
                <a:avLst/>
              </a:prstGeom>
              <a:solidFill>
                <a:srgbClr val="313131">
                  <a:alpha val="80000"/>
                </a:srgb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IE" sz="1400" cap="none">
                    <a:latin typeface="Calibri" panose="020F0502020204030204" pitchFamily="34" charset="0"/>
                    <a:cs typeface="Calibri" panose="020F0502020204030204" pitchFamily="34" charset="0"/>
                  </a:rPr>
                  <a:t>May</a:t>
                </a:r>
              </a:p>
            </p:txBody>
          </p:sp>
          <p:sp>
            <p:nvSpPr>
              <p:cNvPr id="13" name="Shape 3535">
                <a:extLst>
                  <a:ext uri="{FF2B5EF4-FFF2-40B4-BE49-F238E27FC236}">
                    <a16:creationId xmlns:a16="http://schemas.microsoft.com/office/drawing/2014/main" id="{F74572F9-391D-914E-9B18-1442CC5747BA}"/>
                  </a:ext>
                </a:extLst>
              </p:cNvPr>
              <p:cNvSpPr/>
              <p:nvPr/>
            </p:nvSpPr>
            <p:spPr>
              <a:xfrm>
                <a:off x="8966200" y="0"/>
                <a:ext cx="1524000" cy="508000"/>
              </a:xfrm>
              <a:prstGeom prst="rect">
                <a:avLst/>
              </a:prstGeom>
              <a:solidFill>
                <a:srgbClr val="313131">
                  <a:alpha val="60000"/>
                </a:srgb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IE" sz="1400" cap="none">
                    <a:latin typeface="Calibri" panose="020F0502020204030204" pitchFamily="34" charset="0"/>
                    <a:cs typeface="Calibri" panose="020F0502020204030204" pitchFamily="34" charset="0"/>
                  </a:rPr>
                  <a:t>June</a:t>
                </a:r>
              </a:p>
            </p:txBody>
          </p:sp>
          <p:sp>
            <p:nvSpPr>
              <p:cNvPr id="14" name="Shape 3536">
                <a:extLst>
                  <a:ext uri="{FF2B5EF4-FFF2-40B4-BE49-F238E27FC236}">
                    <a16:creationId xmlns:a16="http://schemas.microsoft.com/office/drawing/2014/main" id="{9E60BD2D-E973-D848-94DA-2522289CF023}"/>
                  </a:ext>
                </a:extLst>
              </p:cNvPr>
              <p:cNvSpPr/>
              <p:nvPr/>
            </p:nvSpPr>
            <p:spPr>
              <a:xfrm>
                <a:off x="0" y="0"/>
                <a:ext cx="1524000" cy="508000"/>
              </a:xfrm>
              <a:prstGeom prst="rect">
                <a:avLst/>
              </a:prstGeom>
              <a:solidFill>
                <a:srgbClr val="015092"/>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IE" sz="1400" cap="none">
                    <a:latin typeface="Calibri" panose="020F0502020204030204" pitchFamily="34" charset="0"/>
                    <a:cs typeface="Calibri" panose="020F0502020204030204" pitchFamily="34" charset="0"/>
                  </a:rPr>
                  <a:t>January</a:t>
                </a:r>
                <a:endParaRPr lang="en-IE" sz="1400">
                  <a:latin typeface="Calibri" panose="020F0502020204030204" pitchFamily="34" charset="0"/>
                  <a:cs typeface="Calibri" panose="020F0502020204030204" pitchFamily="34" charset="0"/>
                </a:endParaRPr>
              </a:p>
            </p:txBody>
          </p:sp>
        </p:grpSp>
        <p:sp>
          <p:nvSpPr>
            <p:cNvPr id="8" name="Shape 3538">
              <a:extLst>
                <a:ext uri="{FF2B5EF4-FFF2-40B4-BE49-F238E27FC236}">
                  <a16:creationId xmlns:a16="http://schemas.microsoft.com/office/drawing/2014/main" id="{A6354215-87B2-714D-B863-6578DB1C0933}"/>
                </a:ext>
              </a:extLst>
            </p:cNvPr>
            <p:cNvSpPr/>
            <p:nvPr/>
          </p:nvSpPr>
          <p:spPr>
            <a:xfrm>
              <a:off x="608959" y="359738"/>
              <a:ext cx="493135" cy="88826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05</a:t>
              </a:r>
            </a:p>
          </p:txBody>
        </p:sp>
      </p:grpSp>
      <p:sp>
        <p:nvSpPr>
          <p:cNvPr id="20" name="Shape 3538">
            <a:extLst>
              <a:ext uri="{FF2B5EF4-FFF2-40B4-BE49-F238E27FC236}">
                <a16:creationId xmlns:a16="http://schemas.microsoft.com/office/drawing/2014/main" id="{35FD298D-674A-CC48-8F61-37BFAA2B6DB3}"/>
              </a:ext>
            </a:extLst>
          </p:cNvPr>
          <p:cNvSpPr/>
          <p:nvPr userDrawn="1"/>
        </p:nvSpPr>
        <p:spPr>
          <a:xfrm>
            <a:off x="2920857" y="3136102"/>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24</a:t>
            </a:r>
          </a:p>
        </p:txBody>
      </p:sp>
      <p:sp>
        <p:nvSpPr>
          <p:cNvPr id="21" name="Shape 3538">
            <a:extLst>
              <a:ext uri="{FF2B5EF4-FFF2-40B4-BE49-F238E27FC236}">
                <a16:creationId xmlns:a16="http://schemas.microsoft.com/office/drawing/2014/main" id="{7B384765-BFC7-8A40-914E-EB681AEE534B}"/>
              </a:ext>
            </a:extLst>
          </p:cNvPr>
          <p:cNvSpPr/>
          <p:nvPr userDrawn="1"/>
        </p:nvSpPr>
        <p:spPr>
          <a:xfrm>
            <a:off x="7061317" y="2606675"/>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19</a:t>
            </a:r>
          </a:p>
        </p:txBody>
      </p:sp>
      <p:sp>
        <p:nvSpPr>
          <p:cNvPr id="22" name="Shape 3538">
            <a:extLst>
              <a:ext uri="{FF2B5EF4-FFF2-40B4-BE49-F238E27FC236}">
                <a16:creationId xmlns:a16="http://schemas.microsoft.com/office/drawing/2014/main" id="{AE2700E5-E78F-094F-96E0-403DD94E3ECA}"/>
              </a:ext>
            </a:extLst>
          </p:cNvPr>
          <p:cNvSpPr/>
          <p:nvPr userDrawn="1"/>
        </p:nvSpPr>
        <p:spPr>
          <a:xfrm>
            <a:off x="3640937" y="5319539"/>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09</a:t>
            </a:r>
          </a:p>
        </p:txBody>
      </p:sp>
      <p:sp>
        <p:nvSpPr>
          <p:cNvPr id="23" name="Shape 3538">
            <a:extLst>
              <a:ext uri="{FF2B5EF4-FFF2-40B4-BE49-F238E27FC236}">
                <a16:creationId xmlns:a16="http://schemas.microsoft.com/office/drawing/2014/main" id="{D2168131-C3E9-2642-AC6A-FD9DF04C35DF}"/>
              </a:ext>
            </a:extLst>
          </p:cNvPr>
          <p:cNvSpPr/>
          <p:nvPr userDrawn="1"/>
        </p:nvSpPr>
        <p:spPr>
          <a:xfrm>
            <a:off x="5945193" y="4771926"/>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30</a:t>
            </a:r>
          </a:p>
        </p:txBody>
      </p:sp>
      <p:sp>
        <p:nvSpPr>
          <p:cNvPr id="24" name="Shape 3539">
            <a:extLst>
              <a:ext uri="{FF2B5EF4-FFF2-40B4-BE49-F238E27FC236}">
                <a16:creationId xmlns:a16="http://schemas.microsoft.com/office/drawing/2014/main" id="{9070C1F2-9150-574A-80C7-16A9A88CD69A}"/>
              </a:ext>
            </a:extLst>
          </p:cNvPr>
          <p:cNvSpPr/>
          <p:nvPr userDrawn="1"/>
        </p:nvSpPr>
        <p:spPr>
          <a:xfrm>
            <a:off x="2748663" y="2380866"/>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5" name="Shape 3539">
            <a:extLst>
              <a:ext uri="{FF2B5EF4-FFF2-40B4-BE49-F238E27FC236}">
                <a16:creationId xmlns:a16="http://schemas.microsoft.com/office/drawing/2014/main" id="{F165BDCC-DA70-EC46-9626-3AB83AF24553}"/>
              </a:ext>
            </a:extLst>
          </p:cNvPr>
          <p:cNvSpPr/>
          <p:nvPr userDrawn="1"/>
        </p:nvSpPr>
        <p:spPr>
          <a:xfrm>
            <a:off x="7484962" y="2622989"/>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6" name="Shape 3539">
            <a:extLst>
              <a:ext uri="{FF2B5EF4-FFF2-40B4-BE49-F238E27FC236}">
                <a16:creationId xmlns:a16="http://schemas.microsoft.com/office/drawing/2014/main" id="{79E6AE81-3957-014F-ADD0-951A098602AC}"/>
              </a:ext>
            </a:extLst>
          </p:cNvPr>
          <p:cNvSpPr/>
          <p:nvPr userDrawn="1"/>
        </p:nvSpPr>
        <p:spPr>
          <a:xfrm>
            <a:off x="3374198" y="3154499"/>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7" name="Shape 3539">
            <a:extLst>
              <a:ext uri="{FF2B5EF4-FFF2-40B4-BE49-F238E27FC236}">
                <a16:creationId xmlns:a16="http://schemas.microsoft.com/office/drawing/2014/main" id="{4CDDE768-FC4E-754B-8160-BC3805C4D230}"/>
              </a:ext>
            </a:extLst>
          </p:cNvPr>
          <p:cNvSpPr/>
          <p:nvPr userDrawn="1"/>
        </p:nvSpPr>
        <p:spPr>
          <a:xfrm>
            <a:off x="4061660" y="5339645"/>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8" name="Shape 3539">
            <a:extLst>
              <a:ext uri="{FF2B5EF4-FFF2-40B4-BE49-F238E27FC236}">
                <a16:creationId xmlns:a16="http://schemas.microsoft.com/office/drawing/2014/main" id="{FCEA35DC-17D6-1745-9FC7-F6342C85336C}"/>
              </a:ext>
            </a:extLst>
          </p:cNvPr>
          <p:cNvSpPr/>
          <p:nvPr userDrawn="1"/>
        </p:nvSpPr>
        <p:spPr>
          <a:xfrm>
            <a:off x="6359164" y="4781912"/>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Tree>
    <p:extLst>
      <p:ext uri="{BB962C8B-B14F-4D97-AF65-F5344CB8AC3E}">
        <p14:creationId xmlns:p14="http://schemas.microsoft.com/office/powerpoint/2010/main" val="1344361351"/>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_ENTSO-E Graph 1">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E6E6B6E6-D392-B037-59F9-0CCFC041AAF8}"/>
              </a:ext>
            </a:extLst>
          </p:cNvPr>
          <p:cNvGraphicFramePr>
            <a:graphicFrameLocks noChangeAspect="1"/>
          </p:cNvGraphicFramePr>
          <p:nvPr userDrawn="1">
            <p:custDataLst>
              <p:tags r:id="rId1"/>
            </p:custDataLst>
            <p:extLst>
              <p:ext uri="{D42A27DB-BD31-4B8C-83A1-F6EECF244321}">
                <p14:modId xmlns:p14="http://schemas.microsoft.com/office/powerpoint/2010/main" val="2718017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9" name="Object 28" hidden="1">
                        <a:extLst>
                          <a:ext uri="{FF2B5EF4-FFF2-40B4-BE49-F238E27FC236}">
                            <a16:creationId xmlns:a16="http://schemas.microsoft.com/office/drawing/2014/main" id="{E6E6B6E6-D392-B037-59F9-0CCFC041AA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grpSp>
        <p:nvGrpSpPr>
          <p:cNvPr id="3" name="Group 3911" title="Jahres Zeitleiste Platzhalter">
            <a:extLst>
              <a:ext uri="{FF2B5EF4-FFF2-40B4-BE49-F238E27FC236}">
                <a16:creationId xmlns:a16="http://schemas.microsoft.com/office/drawing/2014/main" id="{C9AF7415-8D2A-C940-B919-D2896ED2CC76}"/>
              </a:ext>
            </a:extLst>
          </p:cNvPr>
          <p:cNvGrpSpPr/>
          <p:nvPr userDrawn="1"/>
        </p:nvGrpSpPr>
        <p:grpSpPr>
          <a:xfrm>
            <a:off x="1811524" y="2655243"/>
            <a:ext cx="7397880" cy="2749280"/>
            <a:chOff x="93735" y="581934"/>
            <a:chExt cx="10577686" cy="3930994"/>
          </a:xfrm>
        </p:grpSpPr>
        <p:grpSp>
          <p:nvGrpSpPr>
            <p:cNvPr id="4" name="Group 3892">
              <a:extLst>
                <a:ext uri="{FF2B5EF4-FFF2-40B4-BE49-F238E27FC236}">
                  <a16:creationId xmlns:a16="http://schemas.microsoft.com/office/drawing/2014/main" id="{BF9A743B-F676-5541-B47D-C0037A53680B}"/>
                </a:ext>
              </a:extLst>
            </p:cNvPr>
            <p:cNvGrpSpPr/>
            <p:nvPr/>
          </p:nvGrpSpPr>
          <p:grpSpPr>
            <a:xfrm>
              <a:off x="636627" y="581934"/>
              <a:ext cx="10034794" cy="3930994"/>
              <a:chOff x="6131" y="477113"/>
              <a:chExt cx="10034793" cy="3930992"/>
            </a:xfrm>
          </p:grpSpPr>
          <p:sp>
            <p:nvSpPr>
              <p:cNvPr id="7" name="Shape 3882">
                <a:extLst>
                  <a:ext uri="{FF2B5EF4-FFF2-40B4-BE49-F238E27FC236}">
                    <a16:creationId xmlns:a16="http://schemas.microsoft.com/office/drawing/2014/main" id="{FB374AB2-ACB5-F24F-8D5D-4E70071227EE}"/>
                  </a:ext>
                </a:extLst>
              </p:cNvPr>
              <p:cNvSpPr/>
              <p:nvPr/>
            </p:nvSpPr>
            <p:spPr>
              <a:xfrm flipV="1">
                <a:off x="4975193" y="477113"/>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sp>
            <p:nvSpPr>
              <p:cNvPr id="8" name="Shape 3883">
                <a:extLst>
                  <a:ext uri="{FF2B5EF4-FFF2-40B4-BE49-F238E27FC236}">
                    <a16:creationId xmlns:a16="http://schemas.microsoft.com/office/drawing/2014/main" id="{EA1CE728-B269-1C4E-9B54-82A102A50404}"/>
                  </a:ext>
                </a:extLst>
              </p:cNvPr>
              <p:cNvSpPr/>
              <p:nvPr/>
            </p:nvSpPr>
            <p:spPr>
              <a:xfrm flipV="1">
                <a:off x="6131" y="477113"/>
                <a:ext cx="1" cy="1940560"/>
              </a:xfrm>
              <a:prstGeom prst="line">
                <a:avLst/>
              </a:prstGeom>
              <a:solidFill>
                <a:srgbClr val="015092"/>
              </a:solidFill>
              <a:ln w="63500" cap="flat">
                <a:solidFill>
                  <a:srgbClr val="015092"/>
                </a:solidFill>
                <a:prstDash val="solid"/>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sp>
            <p:nvSpPr>
              <p:cNvPr id="9" name="Shape 3884">
                <a:extLst>
                  <a:ext uri="{FF2B5EF4-FFF2-40B4-BE49-F238E27FC236}">
                    <a16:creationId xmlns:a16="http://schemas.microsoft.com/office/drawing/2014/main" id="{7F9696C5-6EFA-3F44-ACCC-A640A163B09E}"/>
                  </a:ext>
                </a:extLst>
              </p:cNvPr>
              <p:cNvSpPr/>
              <p:nvPr/>
            </p:nvSpPr>
            <p:spPr>
              <a:xfrm>
                <a:off x="38737" y="2461556"/>
                <a:ext cx="9911442" cy="0"/>
              </a:xfrm>
              <a:prstGeom prst="line">
                <a:avLst/>
              </a:prstGeom>
              <a:noFill/>
              <a:ln w="63500" cap="flat">
                <a:solidFill>
                  <a:srgbClr val="313131">
                    <a:alpha val="80000"/>
                  </a:srgbClr>
                </a:solidFill>
                <a:prstDash val="solid"/>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sp>
            <p:nvSpPr>
              <p:cNvPr id="10" name="Shape 3886">
                <a:extLst>
                  <a:ext uri="{FF2B5EF4-FFF2-40B4-BE49-F238E27FC236}">
                    <a16:creationId xmlns:a16="http://schemas.microsoft.com/office/drawing/2014/main" id="{9F291BB0-5EAA-9348-8F11-398FB22080F8}"/>
                  </a:ext>
                </a:extLst>
              </p:cNvPr>
              <p:cNvSpPr/>
              <p:nvPr/>
            </p:nvSpPr>
            <p:spPr>
              <a:xfrm>
                <a:off x="9850422" y="2364572"/>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sp>
            <p:nvSpPr>
              <p:cNvPr id="11" name="Shape 3887">
                <a:extLst>
                  <a:ext uri="{FF2B5EF4-FFF2-40B4-BE49-F238E27FC236}">
                    <a16:creationId xmlns:a16="http://schemas.microsoft.com/office/drawing/2014/main" id="{BCE477E8-F7BD-0F42-9589-05CBDFAAB18A}"/>
                  </a:ext>
                </a:extLst>
              </p:cNvPr>
              <p:cNvSpPr/>
              <p:nvPr/>
            </p:nvSpPr>
            <p:spPr>
              <a:xfrm>
                <a:off x="2411544" y="2368317"/>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sp>
            <p:nvSpPr>
              <p:cNvPr id="12" name="Shape 3888">
                <a:extLst>
                  <a:ext uri="{FF2B5EF4-FFF2-40B4-BE49-F238E27FC236}">
                    <a16:creationId xmlns:a16="http://schemas.microsoft.com/office/drawing/2014/main" id="{7429753A-3C9E-B84B-BE29-D4FB586DA37E}"/>
                  </a:ext>
                </a:extLst>
              </p:cNvPr>
              <p:cNvSpPr/>
              <p:nvPr/>
            </p:nvSpPr>
            <p:spPr>
              <a:xfrm>
                <a:off x="4883584" y="2368318"/>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sp>
            <p:nvSpPr>
              <p:cNvPr id="13" name="Shape 3889">
                <a:extLst>
                  <a:ext uri="{FF2B5EF4-FFF2-40B4-BE49-F238E27FC236}">
                    <a16:creationId xmlns:a16="http://schemas.microsoft.com/office/drawing/2014/main" id="{01F5BD46-1837-2445-81BC-19FA29B81F17}"/>
                  </a:ext>
                </a:extLst>
              </p:cNvPr>
              <p:cNvSpPr/>
              <p:nvPr/>
            </p:nvSpPr>
            <p:spPr>
              <a:xfrm>
                <a:off x="7368877" y="2368318"/>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sp>
            <p:nvSpPr>
              <p:cNvPr id="14" name="Shape 3890">
                <a:extLst>
                  <a:ext uri="{FF2B5EF4-FFF2-40B4-BE49-F238E27FC236}">
                    <a16:creationId xmlns:a16="http://schemas.microsoft.com/office/drawing/2014/main" id="{38B19469-B9A6-8940-8470-7A36199769F8}"/>
                  </a:ext>
                </a:extLst>
              </p:cNvPr>
              <p:cNvSpPr/>
              <p:nvPr/>
            </p:nvSpPr>
            <p:spPr>
              <a:xfrm flipV="1">
                <a:off x="7451364" y="2463799"/>
                <a:ext cx="1" cy="1940560"/>
              </a:xfrm>
              <a:prstGeom prst="line">
                <a:avLst/>
              </a:prstGeom>
              <a:noFill/>
              <a:ln w="63500" cap="flat">
                <a:solidFill>
                  <a:srgbClr val="313131">
                    <a:alpha val="60000"/>
                  </a:srgbClr>
                </a:solidFill>
                <a:prstDash val="solid"/>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sp>
            <p:nvSpPr>
              <p:cNvPr id="15" name="Shape 3891">
                <a:extLst>
                  <a:ext uri="{FF2B5EF4-FFF2-40B4-BE49-F238E27FC236}">
                    <a16:creationId xmlns:a16="http://schemas.microsoft.com/office/drawing/2014/main" id="{117DD6A9-A883-E544-9621-C8501B30B3B4}"/>
                  </a:ext>
                </a:extLst>
              </p:cNvPr>
              <p:cNvSpPr/>
              <p:nvPr/>
            </p:nvSpPr>
            <p:spPr>
              <a:xfrm flipV="1">
                <a:off x="2498616" y="2467545"/>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grpSp>
        <p:sp>
          <p:nvSpPr>
            <p:cNvPr id="6" name="Shape 3904">
              <a:extLst>
                <a:ext uri="{FF2B5EF4-FFF2-40B4-BE49-F238E27FC236}">
                  <a16:creationId xmlns:a16="http://schemas.microsoft.com/office/drawing/2014/main" id="{97E1DA5A-D2AC-CD4A-94FA-4070AD6EB5B4}"/>
                </a:ext>
              </a:extLst>
            </p:cNvPr>
            <p:cNvSpPr/>
            <p:nvPr/>
          </p:nvSpPr>
          <p:spPr>
            <a:xfrm>
              <a:off x="93735" y="1997149"/>
              <a:ext cx="1116503" cy="1116503"/>
            </a:xfrm>
            <a:prstGeom prst="ellipse">
              <a:avLst/>
            </a:prstGeom>
            <a:solidFill>
              <a:srgbClr val="015092"/>
            </a:solidFill>
            <a:ln w="12700" cap="flat">
              <a:solidFill>
                <a:srgbClr val="015092"/>
              </a:solid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algn="ctr" rtl="0"/>
              <a:r>
                <a:rPr lang="en-IE" sz="1400" b="1">
                  <a:latin typeface="Calibri" panose="020F0502020204030204" pitchFamily="34" charset="0"/>
                  <a:cs typeface="Calibri" panose="020F0502020204030204" pitchFamily="34" charset="0"/>
                </a:rPr>
                <a:t>Start</a:t>
              </a:r>
            </a:p>
          </p:txBody>
        </p:sp>
      </p:grpSp>
      <p:sp>
        <p:nvSpPr>
          <p:cNvPr id="16" name="Shape 3899">
            <a:extLst>
              <a:ext uri="{FF2B5EF4-FFF2-40B4-BE49-F238E27FC236}">
                <a16:creationId xmlns:a16="http://schemas.microsoft.com/office/drawing/2014/main" id="{1C04B757-37FD-8344-9AF0-04B08289508A}"/>
              </a:ext>
            </a:extLst>
          </p:cNvPr>
          <p:cNvSpPr/>
          <p:nvPr userDrawn="1"/>
        </p:nvSpPr>
        <p:spPr>
          <a:xfrm>
            <a:off x="5500456" y="4177891"/>
            <a:ext cx="555807"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pPr rtl="0"/>
            <a:r>
              <a:rPr lang="en-IE" sz="1400" b="1">
                <a:solidFill>
                  <a:srgbClr val="313131"/>
                </a:solidFill>
                <a:latin typeface="Calibri" panose="020F0502020204030204" pitchFamily="34" charset="0"/>
                <a:cs typeface="Calibri" panose="020F0502020204030204" pitchFamily="34" charset="0"/>
              </a:rPr>
              <a:t>2019</a:t>
            </a:r>
          </a:p>
        </p:txBody>
      </p:sp>
      <p:sp>
        <p:nvSpPr>
          <p:cNvPr id="17" name="Shape 3899">
            <a:extLst>
              <a:ext uri="{FF2B5EF4-FFF2-40B4-BE49-F238E27FC236}">
                <a16:creationId xmlns:a16="http://schemas.microsoft.com/office/drawing/2014/main" id="{68276EE8-CA57-2346-9CCF-A025AFF6855B}"/>
              </a:ext>
            </a:extLst>
          </p:cNvPr>
          <p:cNvSpPr/>
          <p:nvPr userDrawn="1"/>
        </p:nvSpPr>
        <p:spPr>
          <a:xfrm>
            <a:off x="8958826" y="4177891"/>
            <a:ext cx="488973"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pPr rtl="0"/>
            <a:r>
              <a:rPr lang="en-IE" sz="1400" b="1">
                <a:solidFill>
                  <a:srgbClr val="313131"/>
                </a:solidFill>
                <a:latin typeface="Calibri" panose="020F0502020204030204" pitchFamily="34" charset="0"/>
                <a:cs typeface="Calibri" panose="020F0502020204030204" pitchFamily="34" charset="0"/>
              </a:rPr>
              <a:t>2021</a:t>
            </a:r>
          </a:p>
        </p:txBody>
      </p:sp>
      <p:sp>
        <p:nvSpPr>
          <p:cNvPr id="18" name="Shape 3899">
            <a:extLst>
              <a:ext uri="{FF2B5EF4-FFF2-40B4-BE49-F238E27FC236}">
                <a16:creationId xmlns:a16="http://schemas.microsoft.com/office/drawing/2014/main" id="{23DE72D4-878E-2144-A9D3-A42389C2E721}"/>
              </a:ext>
            </a:extLst>
          </p:cNvPr>
          <p:cNvSpPr/>
          <p:nvPr userDrawn="1"/>
        </p:nvSpPr>
        <p:spPr>
          <a:xfrm>
            <a:off x="3746385" y="3735364"/>
            <a:ext cx="549411"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pPr rtl="0"/>
            <a:r>
              <a:rPr lang="en-IE" sz="1400" b="1">
                <a:solidFill>
                  <a:srgbClr val="313131"/>
                </a:solidFill>
                <a:latin typeface="Calibri" panose="020F0502020204030204" pitchFamily="34" charset="0"/>
                <a:cs typeface="Calibri" panose="020F0502020204030204" pitchFamily="34" charset="0"/>
              </a:rPr>
              <a:t>2018</a:t>
            </a:r>
          </a:p>
        </p:txBody>
      </p:sp>
      <p:sp>
        <p:nvSpPr>
          <p:cNvPr id="19" name="Shape 3899">
            <a:extLst>
              <a:ext uri="{FF2B5EF4-FFF2-40B4-BE49-F238E27FC236}">
                <a16:creationId xmlns:a16="http://schemas.microsoft.com/office/drawing/2014/main" id="{6FE0A369-2E74-4C41-9332-CEA1A3F8CAA5}"/>
              </a:ext>
            </a:extLst>
          </p:cNvPr>
          <p:cNvSpPr/>
          <p:nvPr userDrawn="1"/>
        </p:nvSpPr>
        <p:spPr>
          <a:xfrm>
            <a:off x="7204755" y="3735364"/>
            <a:ext cx="566327"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pPr rtl="0"/>
            <a:r>
              <a:rPr lang="en-IE" sz="1400" b="1">
                <a:solidFill>
                  <a:srgbClr val="313131"/>
                </a:solidFill>
                <a:latin typeface="Calibri" panose="020F0502020204030204" pitchFamily="34" charset="0"/>
                <a:cs typeface="Calibri" panose="020F0502020204030204" pitchFamily="34" charset="0"/>
              </a:rPr>
              <a:t>2020</a:t>
            </a:r>
          </a:p>
        </p:txBody>
      </p:sp>
      <p:sp>
        <p:nvSpPr>
          <p:cNvPr id="20" name="Shape 3538">
            <a:extLst>
              <a:ext uri="{FF2B5EF4-FFF2-40B4-BE49-F238E27FC236}">
                <a16:creationId xmlns:a16="http://schemas.microsoft.com/office/drawing/2014/main" id="{6218F089-DA01-8A49-B7EB-18202B0E694E}"/>
              </a:ext>
            </a:extLst>
          </p:cNvPr>
          <p:cNvSpPr/>
          <p:nvPr userDrawn="1"/>
        </p:nvSpPr>
        <p:spPr>
          <a:xfrm>
            <a:off x="5819509" y="2475684"/>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11</a:t>
            </a:r>
          </a:p>
        </p:txBody>
      </p:sp>
      <p:sp>
        <p:nvSpPr>
          <p:cNvPr id="21" name="Shape 3538">
            <a:extLst>
              <a:ext uri="{FF2B5EF4-FFF2-40B4-BE49-F238E27FC236}">
                <a16:creationId xmlns:a16="http://schemas.microsoft.com/office/drawing/2014/main" id="{3ACB3470-0EB9-4B42-869A-F6D9D2389C11}"/>
              </a:ext>
            </a:extLst>
          </p:cNvPr>
          <p:cNvSpPr/>
          <p:nvPr userDrawn="1"/>
        </p:nvSpPr>
        <p:spPr>
          <a:xfrm>
            <a:off x="4055313" y="5103515"/>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09</a:t>
            </a:r>
          </a:p>
        </p:txBody>
      </p:sp>
      <p:sp>
        <p:nvSpPr>
          <p:cNvPr id="22" name="Shape 3538">
            <a:extLst>
              <a:ext uri="{FF2B5EF4-FFF2-40B4-BE49-F238E27FC236}">
                <a16:creationId xmlns:a16="http://schemas.microsoft.com/office/drawing/2014/main" id="{BD2E93CF-7EB0-1D44-8FE8-B42CB15F1E38}"/>
              </a:ext>
            </a:extLst>
          </p:cNvPr>
          <p:cNvSpPr/>
          <p:nvPr userDrawn="1"/>
        </p:nvSpPr>
        <p:spPr>
          <a:xfrm>
            <a:off x="7547701" y="5103515"/>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12</a:t>
            </a:r>
          </a:p>
        </p:txBody>
      </p:sp>
      <p:sp>
        <p:nvSpPr>
          <p:cNvPr id="23" name="Shape 3538">
            <a:extLst>
              <a:ext uri="{FF2B5EF4-FFF2-40B4-BE49-F238E27FC236}">
                <a16:creationId xmlns:a16="http://schemas.microsoft.com/office/drawing/2014/main" id="{1CA058CB-FB2E-7B41-9FC5-4261D2748707}"/>
              </a:ext>
            </a:extLst>
          </p:cNvPr>
          <p:cNvSpPr/>
          <p:nvPr userDrawn="1"/>
        </p:nvSpPr>
        <p:spPr>
          <a:xfrm>
            <a:off x="2308791" y="2475684"/>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05</a:t>
            </a:r>
          </a:p>
        </p:txBody>
      </p:sp>
      <p:sp>
        <p:nvSpPr>
          <p:cNvPr id="24" name="Shape 3539">
            <a:extLst>
              <a:ext uri="{FF2B5EF4-FFF2-40B4-BE49-F238E27FC236}">
                <a16:creationId xmlns:a16="http://schemas.microsoft.com/office/drawing/2014/main" id="{9FFAAAAB-BD81-254B-BB85-D3B92CADBECE}"/>
              </a:ext>
            </a:extLst>
          </p:cNvPr>
          <p:cNvSpPr/>
          <p:nvPr userDrawn="1"/>
        </p:nvSpPr>
        <p:spPr>
          <a:xfrm>
            <a:off x="2727791" y="2465838"/>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5" name="Inhaltsplatzhalter 1">
            <a:extLst>
              <a:ext uri="{FF2B5EF4-FFF2-40B4-BE49-F238E27FC236}">
                <a16:creationId xmlns:a16="http://schemas.microsoft.com/office/drawing/2014/main" id="{A948F616-4F52-274D-9802-62F7B100D2E0}"/>
              </a:ext>
            </a:extLst>
          </p:cNvPr>
          <p:cNvSpPr>
            <a:spLocks noGrp="1"/>
          </p:cNvSpPr>
          <p:nvPr>
            <p:ph idx="1" hasCustomPrompt="1"/>
          </p:nvPr>
        </p:nvSpPr>
        <p:spPr>
          <a:xfrm>
            <a:off x="383051" y="801295"/>
            <a:ext cx="11617325" cy="698184"/>
          </a:xfrm>
        </p:spPr>
        <p:txBody>
          <a:bodyPr>
            <a:normAutofit/>
          </a:bodyPr>
          <a:lstStyle>
            <a:lvl1pPr rtl="0">
              <a:defRPr/>
            </a:lvl1pPr>
          </a:lstStyle>
          <a:p>
            <a:r>
              <a:rPr lang="en-IE" b="1">
                <a:solidFill>
                  <a:srgbClr val="0F218B"/>
                </a:solidFill>
              </a:rPr>
              <a:t>Headline 3 – Edit text here.</a:t>
            </a:r>
            <a:endParaRPr lang="en-IE" b="1" i="1">
              <a:solidFill>
                <a:srgbClr val="0F218B"/>
              </a:solidFill>
            </a:endParaRPr>
          </a:p>
        </p:txBody>
      </p:sp>
      <p:sp>
        <p:nvSpPr>
          <p:cNvPr id="26" name="Shape 3539">
            <a:extLst>
              <a:ext uri="{FF2B5EF4-FFF2-40B4-BE49-F238E27FC236}">
                <a16:creationId xmlns:a16="http://schemas.microsoft.com/office/drawing/2014/main" id="{32B242B5-D413-7245-BEA1-FE249884F79E}"/>
              </a:ext>
            </a:extLst>
          </p:cNvPr>
          <p:cNvSpPr/>
          <p:nvPr userDrawn="1"/>
        </p:nvSpPr>
        <p:spPr>
          <a:xfrm>
            <a:off x="6188917" y="2443752"/>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7" name="Shape 3539">
            <a:extLst>
              <a:ext uri="{FF2B5EF4-FFF2-40B4-BE49-F238E27FC236}">
                <a16:creationId xmlns:a16="http://schemas.microsoft.com/office/drawing/2014/main" id="{44E594EA-C5DC-8D44-884B-A44AA0741311}"/>
              </a:ext>
            </a:extLst>
          </p:cNvPr>
          <p:cNvSpPr/>
          <p:nvPr userDrawn="1"/>
        </p:nvSpPr>
        <p:spPr>
          <a:xfrm>
            <a:off x="4501613" y="5134372"/>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8" name="Shape 3539">
            <a:extLst>
              <a:ext uri="{FF2B5EF4-FFF2-40B4-BE49-F238E27FC236}">
                <a16:creationId xmlns:a16="http://schemas.microsoft.com/office/drawing/2014/main" id="{6F33F5F3-AC6F-7047-9582-A2C841E188AD}"/>
              </a:ext>
            </a:extLst>
          </p:cNvPr>
          <p:cNvSpPr/>
          <p:nvPr userDrawn="1"/>
        </p:nvSpPr>
        <p:spPr>
          <a:xfrm>
            <a:off x="7962739" y="5112286"/>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Tree>
    <p:extLst>
      <p:ext uri="{BB962C8B-B14F-4D97-AF65-F5344CB8AC3E}">
        <p14:creationId xmlns:p14="http://schemas.microsoft.com/office/powerpoint/2010/main" val="4106511450"/>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6_ENTSO-E Graph 1">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FEB7A2A-75B9-62C4-D3DE-00A41ADEE7ED}"/>
              </a:ext>
            </a:extLst>
          </p:cNvPr>
          <p:cNvGraphicFramePr>
            <a:graphicFrameLocks noChangeAspect="1"/>
          </p:cNvGraphicFramePr>
          <p:nvPr userDrawn="1">
            <p:custDataLst>
              <p:tags r:id="rId1"/>
            </p:custDataLst>
            <p:extLst>
              <p:ext uri="{D42A27DB-BD31-4B8C-83A1-F6EECF244321}">
                <p14:modId xmlns:p14="http://schemas.microsoft.com/office/powerpoint/2010/main" val="2958869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6" name="Object 5" hidden="1">
                        <a:extLst>
                          <a:ext uri="{FF2B5EF4-FFF2-40B4-BE49-F238E27FC236}">
                            <a16:creationId xmlns:a16="http://schemas.microsoft.com/office/drawing/2014/main" id="{9FEB7A2A-75B9-62C4-D3DE-00A41ADEE7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
        <p:nvSpPr>
          <p:cNvPr id="3" name="Inhaltsplatzhalter 10">
            <a:extLst>
              <a:ext uri="{FF2B5EF4-FFF2-40B4-BE49-F238E27FC236}">
                <a16:creationId xmlns:a16="http://schemas.microsoft.com/office/drawing/2014/main" id="{E54CE07E-D134-8945-B928-3A2AD7482FB9}"/>
              </a:ext>
            </a:extLst>
          </p:cNvPr>
          <p:cNvSpPr>
            <a:spLocks noGrp="1"/>
          </p:cNvSpPr>
          <p:nvPr>
            <p:ph idx="1" hasCustomPrompt="1"/>
          </p:nvPr>
        </p:nvSpPr>
        <p:spPr>
          <a:xfrm>
            <a:off x="388159" y="820513"/>
            <a:ext cx="11606646" cy="698594"/>
          </a:xfrm>
        </p:spPr>
        <p:txBody>
          <a:bodyPr>
            <a:normAutofit/>
          </a:bodyPr>
          <a:lstStyle>
            <a:lvl1pPr rtl="0">
              <a:defRPr/>
            </a:lvl1pPr>
          </a:lstStyle>
          <a:p>
            <a:r>
              <a:rPr lang="en-IE">
                <a:solidFill>
                  <a:srgbClr val="0F218B"/>
                </a:solidFill>
              </a:rPr>
              <a:t>Headline 3 – These SmartArt charts can be edited directly by clicking in the elements, then on SmartArt-Tools</a:t>
            </a:r>
          </a:p>
        </p:txBody>
      </p:sp>
      <p:graphicFrame>
        <p:nvGraphicFramePr>
          <p:cNvPr id="4" name="Diagramm 4" title="SmartArt-Grafik Platzhalter">
            <a:extLst>
              <a:ext uri="{FF2B5EF4-FFF2-40B4-BE49-F238E27FC236}">
                <a16:creationId xmlns:a16="http://schemas.microsoft.com/office/drawing/2014/main" id="{3D20D492-DCEB-1548-9F8A-4D5C573DEF13}"/>
              </a:ext>
            </a:extLst>
          </p:cNvPr>
          <p:cNvGraphicFramePr/>
          <p:nvPr userDrawn="1">
            <p:extLst>
              <p:ext uri="{D42A27DB-BD31-4B8C-83A1-F6EECF244321}">
                <p14:modId xmlns:p14="http://schemas.microsoft.com/office/powerpoint/2010/main" val="3857082432"/>
              </p:ext>
            </p:extLst>
          </p:nvPr>
        </p:nvGraphicFramePr>
        <p:xfrm>
          <a:off x="382588" y="2384884"/>
          <a:ext cx="11522075" cy="305985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1749305933"/>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9_ENTSO-E Thank you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4A1201-4071-E78E-3B2B-1703B49F8014}"/>
              </a:ext>
            </a:extLst>
          </p:cNvPr>
          <p:cNvGraphicFramePr>
            <a:graphicFrameLocks noChangeAspect="1"/>
          </p:cNvGraphicFramePr>
          <p:nvPr userDrawn="1">
            <p:custDataLst>
              <p:tags r:id="rId1"/>
            </p:custDataLst>
            <p:extLst>
              <p:ext uri="{D42A27DB-BD31-4B8C-83A1-F6EECF244321}">
                <p14:modId xmlns:p14="http://schemas.microsoft.com/office/powerpoint/2010/main" val="933032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104A1201-4071-E78E-3B2B-1703B49F80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495600" y="2780928"/>
            <a:ext cx="11617788" cy="936104"/>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Thank you very much for your attention </a:t>
            </a:r>
          </a:p>
        </p:txBody>
      </p:sp>
    </p:spTree>
    <p:extLst>
      <p:ext uri="{BB962C8B-B14F-4D97-AF65-F5344CB8AC3E}">
        <p14:creationId xmlns:p14="http://schemas.microsoft.com/office/powerpoint/2010/main" val="432083624"/>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GAS">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588" y="177800"/>
            <a:ext cx="4408487" cy="215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p:cNvCxnSpPr>
            <a:cxnSpLocks/>
          </p:cNvCxnSpPr>
          <p:nvPr userDrawn="1"/>
        </p:nvCxnSpPr>
        <p:spPr>
          <a:xfrm>
            <a:off x="4430713" y="728663"/>
            <a:ext cx="0" cy="5400675"/>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Box 7"/>
          <p:cNvSpPr txBox="1">
            <a:spLocks noChangeArrowheads="1"/>
          </p:cNvSpPr>
          <p:nvPr userDrawn="1"/>
        </p:nvSpPr>
        <p:spPr bwMode="auto">
          <a:xfrm>
            <a:off x="5114925" y="5813425"/>
            <a:ext cx="3605213" cy="368300"/>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nl-NL" altLang="nl-NL" b="1">
                <a:solidFill>
                  <a:schemeClr val="tx2"/>
                </a:solidFill>
              </a:rPr>
              <a:t>Insert Sensitivity Marking</a:t>
            </a:r>
          </a:p>
        </p:txBody>
      </p:sp>
      <p:sp>
        <p:nvSpPr>
          <p:cNvPr id="11" name="Title 1"/>
          <p:cNvSpPr>
            <a:spLocks noGrp="1"/>
          </p:cNvSpPr>
          <p:nvPr>
            <p:ph type="ctrTitle"/>
          </p:nvPr>
        </p:nvSpPr>
        <p:spPr>
          <a:xfrm>
            <a:off x="5114930" y="729000"/>
            <a:ext cx="6372220" cy="3273362"/>
          </a:xfrm>
        </p:spPr>
        <p:txBody>
          <a:bodyPr>
            <a:normAutofit/>
          </a:bodyPr>
          <a:lstStyle>
            <a:lvl1pPr algn="l">
              <a:defRPr sz="4500">
                <a:solidFill>
                  <a:schemeClr val="bg1"/>
                </a:solidFill>
              </a:defRPr>
            </a:lvl1pPr>
          </a:lstStyle>
          <a:p>
            <a:r>
              <a:rPr lang="nl-NL"/>
              <a:t>Klik om de stijl te bewerken</a:t>
            </a:r>
            <a:endParaRPr lang="en-US" dirty="0"/>
          </a:p>
        </p:txBody>
      </p:sp>
      <p:sp>
        <p:nvSpPr>
          <p:cNvPr id="7" name="Subtitle 2"/>
          <p:cNvSpPr>
            <a:spLocks noGrp="1"/>
          </p:cNvSpPr>
          <p:nvPr>
            <p:ph type="subTitle" idx="1"/>
          </p:nvPr>
        </p:nvSpPr>
        <p:spPr>
          <a:xfrm>
            <a:off x="5114930" y="4234934"/>
            <a:ext cx="6449470" cy="1271201"/>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 om de ondertitelstijl van het model te bewerken</a:t>
            </a:r>
            <a:endParaRPr lang="en-US" dirty="0"/>
          </a:p>
        </p:txBody>
      </p:sp>
    </p:spTree>
    <p:extLst>
      <p:ext uri="{BB962C8B-B14F-4D97-AF65-F5344CB8AC3E}">
        <p14:creationId xmlns:p14="http://schemas.microsoft.com/office/powerpoint/2010/main" val="258964965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0_ENTSO-E Thank you slide_value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422F04E-7072-09CB-8C2A-5B76D4F70A14}"/>
              </a:ext>
            </a:extLst>
          </p:cNvPr>
          <p:cNvGraphicFramePr>
            <a:graphicFrameLocks noChangeAspect="1"/>
          </p:cNvGraphicFramePr>
          <p:nvPr userDrawn="1">
            <p:custDataLst>
              <p:tags r:id="rId1"/>
            </p:custDataLst>
            <p:extLst>
              <p:ext uri="{D42A27DB-BD31-4B8C-83A1-F6EECF244321}">
                <p14:modId xmlns:p14="http://schemas.microsoft.com/office/powerpoint/2010/main" val="3979043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8" name="Object 7" hidden="1">
                        <a:extLst>
                          <a:ext uri="{FF2B5EF4-FFF2-40B4-BE49-F238E27FC236}">
                            <a16:creationId xmlns:a16="http://schemas.microsoft.com/office/drawing/2014/main" id="{2422F04E-7072-09CB-8C2A-5B76D4F70A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382588" y="134634"/>
            <a:ext cx="11426825" cy="936104"/>
          </a:xfrm>
          <a:prstGeom prst="rect">
            <a:avLst/>
          </a:prstGeom>
          <a:ln>
            <a:noFill/>
          </a:ln>
        </p:spPr>
        <p:txBody>
          <a:bodyPr vert="horz" anchor="ctr"/>
          <a:lstStyle>
            <a:lvl1pPr algn="ct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Thank you very much for your attention </a:t>
            </a:r>
          </a:p>
        </p:txBody>
      </p:sp>
      <p:sp>
        <p:nvSpPr>
          <p:cNvPr id="3" name="Title 1">
            <a:extLst>
              <a:ext uri="{FF2B5EF4-FFF2-40B4-BE49-F238E27FC236}">
                <a16:creationId xmlns:a16="http://schemas.microsoft.com/office/drawing/2014/main" id="{8D053C00-E906-E444-8E28-BAE1FF9E76D0}"/>
              </a:ext>
            </a:extLst>
          </p:cNvPr>
          <p:cNvSpPr txBox="1">
            <a:spLocks/>
          </p:cNvSpPr>
          <p:nvPr userDrawn="1"/>
        </p:nvSpPr>
        <p:spPr>
          <a:xfrm>
            <a:off x="382587" y="1186850"/>
            <a:ext cx="11426825" cy="6318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800" b="0">
                <a:solidFill>
                  <a:schemeClr val="tx1">
                    <a:lumMod val="50000"/>
                  </a:schemeClr>
                </a:solidFill>
                <a:effectLst/>
                <a:latin typeface="Calibri" panose="020F0502020204030204" pitchFamily="34" charset="0"/>
                <a:cs typeface="Calibri" panose="020F0502020204030204" pitchFamily="34" charset="0"/>
              </a:rPr>
              <a:t>Our values define who we are, what we stand for and how we behave.</a:t>
            </a:r>
          </a:p>
          <a:p>
            <a:pPr algn="ctr" rtl="0"/>
            <a:r>
              <a:rPr lang="en-IE" sz="1800" b="0">
                <a:solidFill>
                  <a:schemeClr val="tx1">
                    <a:lumMod val="50000"/>
                  </a:schemeClr>
                </a:solidFill>
                <a:effectLst/>
                <a:latin typeface="Calibri" panose="020F0502020204030204" pitchFamily="34" charset="0"/>
                <a:cs typeface="Calibri" panose="020F0502020204030204" pitchFamily="34" charset="0"/>
              </a:rPr>
              <a:t>We all play a part in bringing them to life</a:t>
            </a:r>
            <a:r>
              <a:rPr lang="en-IE" sz="2000" b="0">
                <a:solidFill>
                  <a:schemeClr val="tx1">
                    <a:lumMod val="50000"/>
                  </a:schemeClr>
                </a:solidFill>
                <a:effectLst/>
                <a:latin typeface="Calibri" panose="020F0502020204030204" pitchFamily="34" charset="0"/>
                <a:cs typeface="Calibri" panose="020F0502020204030204" pitchFamily="34" charset="0"/>
              </a:rPr>
              <a:t>.</a:t>
            </a:r>
          </a:p>
          <a:p>
            <a:pPr algn="ctr" rtl="0"/>
            <a:r>
              <a:rPr lang="en-IE" sz="2000" b="0">
                <a:solidFill>
                  <a:schemeClr val="tx1">
                    <a:lumMod val="50000"/>
                  </a:schemeClr>
                </a:solidFill>
                <a:effectLst/>
                <a:latin typeface="Calibri" panose="020F0502020204030204" pitchFamily="34" charset="0"/>
                <a:cs typeface="Calibri" panose="020F0502020204030204" pitchFamily="34" charset="0"/>
              </a:rPr>
              <a:t> </a:t>
            </a:r>
            <a:endParaRPr lang="en-IE" sz="1050" b="0">
              <a:solidFill>
                <a:schemeClr val="tx1">
                  <a:lumMod val="50000"/>
                </a:schemeClr>
              </a:solidFill>
              <a:effectLst/>
              <a:latin typeface="Calibri" panose="020F0502020204030204" pitchFamily="34" charset="0"/>
              <a:cs typeface="Calibri" panose="020F0502020204030204" pitchFamily="34" charset="0"/>
            </a:endParaRPr>
          </a:p>
        </p:txBody>
      </p:sp>
      <p:sp>
        <p:nvSpPr>
          <p:cNvPr id="5" name="Titel 5">
            <a:extLst>
              <a:ext uri="{FF2B5EF4-FFF2-40B4-BE49-F238E27FC236}">
                <a16:creationId xmlns:a16="http://schemas.microsoft.com/office/drawing/2014/main" id="{7550E8E7-BAB3-40B9-AB4C-F3ABA9592AFF}"/>
              </a:ext>
            </a:extLst>
          </p:cNvPr>
          <p:cNvSpPr txBox="1">
            <a:spLocks/>
          </p:cNvSpPr>
          <p:nvPr userDrawn="1"/>
        </p:nvSpPr>
        <p:spPr>
          <a:xfrm>
            <a:off x="286875" y="5533432"/>
            <a:ext cx="11617788" cy="631871"/>
          </a:xfrm>
          <a:prstGeom prst="rect">
            <a:avLst/>
          </a:prstGeom>
          <a:ln>
            <a:noFill/>
          </a:ln>
        </p:spPr>
        <p:txBody>
          <a:bodyPr anchor="ctr"/>
          <a:lstStyle>
            <a:lvl1pPr algn="ctr" defTabSz="914400" rtl="0" eaLnBrk="1" latinLnBrk="0" hangingPunct="1">
              <a:lnSpc>
                <a:spcPts val="3200"/>
              </a:lnSpc>
              <a:spcBef>
                <a:spcPct val="0"/>
              </a:spcBef>
              <a:buNone/>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pPr rtl="0"/>
            <a:r>
              <a:rPr lang="en-IE"/>
              <a:t>We are ENTSO-E</a:t>
            </a:r>
          </a:p>
        </p:txBody>
      </p:sp>
      <p:sp>
        <p:nvSpPr>
          <p:cNvPr id="6" name="Title 1">
            <a:extLst>
              <a:ext uri="{FF2B5EF4-FFF2-40B4-BE49-F238E27FC236}">
                <a16:creationId xmlns:a16="http://schemas.microsoft.com/office/drawing/2014/main" id="{70B34F4F-2938-408E-99E5-B9481D786209}"/>
              </a:ext>
            </a:extLst>
          </p:cNvPr>
          <p:cNvSpPr txBox="1">
            <a:spLocks/>
          </p:cNvSpPr>
          <p:nvPr userDrawn="1"/>
        </p:nvSpPr>
        <p:spPr>
          <a:xfrm>
            <a:off x="1201008"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200" b="0">
                <a:solidFill>
                  <a:schemeClr val="bg1"/>
                </a:solidFill>
                <a:effectLst/>
                <a:latin typeface="Calibri" panose="020F0502020204030204" pitchFamily="34" charset="0"/>
                <a:cs typeface="Calibri" panose="020F0502020204030204" pitchFamily="34" charset="0"/>
              </a:rPr>
              <a:t>We deliver to the highest standards. We provide an environment in which people can develop to their full potential.</a:t>
            </a:r>
          </a:p>
        </p:txBody>
      </p:sp>
      <p:sp>
        <p:nvSpPr>
          <p:cNvPr id="7" name="Title 1">
            <a:extLst>
              <a:ext uri="{FF2B5EF4-FFF2-40B4-BE49-F238E27FC236}">
                <a16:creationId xmlns:a16="http://schemas.microsoft.com/office/drawing/2014/main" id="{81A3B0E4-3084-4984-B778-6DEE61707D69}"/>
              </a:ext>
            </a:extLst>
          </p:cNvPr>
          <p:cNvSpPr txBox="1">
            <a:spLocks/>
          </p:cNvSpPr>
          <p:nvPr userDrawn="1"/>
        </p:nvSpPr>
        <p:spPr>
          <a:xfrm>
            <a:off x="1201009"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800" b="1">
                <a:solidFill>
                  <a:schemeClr val="bg1"/>
                </a:solidFill>
                <a:effectLst/>
                <a:latin typeface="Calibri" panose="020F0502020204030204" pitchFamily="34" charset="0"/>
                <a:cs typeface="Calibri" panose="020F0502020204030204" pitchFamily="34" charset="0"/>
              </a:rPr>
              <a:t>EXCELLENCE</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1" name="Gruppieren 10">
            <a:extLst>
              <a:ext uri="{FF2B5EF4-FFF2-40B4-BE49-F238E27FC236}">
                <a16:creationId xmlns:a16="http://schemas.microsoft.com/office/drawing/2014/main" id="{82D4A0DE-6C67-44B0-B22A-C0A05BBC69FC}"/>
              </a:ext>
            </a:extLst>
          </p:cNvPr>
          <p:cNvGrpSpPr/>
          <p:nvPr userDrawn="1"/>
        </p:nvGrpSpPr>
        <p:grpSpPr>
          <a:xfrm>
            <a:off x="1376411" y="2083344"/>
            <a:ext cx="1089193" cy="1118842"/>
            <a:chOff x="1478254" y="1759825"/>
            <a:chExt cx="1089193" cy="1118842"/>
          </a:xfrm>
        </p:grpSpPr>
        <p:sp>
          <p:nvSpPr>
            <p:cNvPr id="2" name="Ellipse 1">
              <a:extLst>
                <a:ext uri="{FF2B5EF4-FFF2-40B4-BE49-F238E27FC236}">
                  <a16:creationId xmlns:a16="http://schemas.microsoft.com/office/drawing/2014/main" id="{EF03CA22-6B13-49DE-A795-8B07042FA0BE}"/>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a:p>
          </p:txBody>
        </p:sp>
        <p:pic>
          <p:nvPicPr>
            <p:cNvPr id="10" name="Grafik 9">
              <a:extLst>
                <a:ext uri="{FF2B5EF4-FFF2-40B4-BE49-F238E27FC236}">
                  <a16:creationId xmlns:a16="http://schemas.microsoft.com/office/drawing/2014/main" id="{161B2F95-9B35-4040-81B2-ACDE054BDD8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78254" y="1798667"/>
              <a:ext cx="1080000" cy="1080000"/>
            </a:xfrm>
            <a:prstGeom prst="rect">
              <a:avLst/>
            </a:prstGeom>
          </p:spPr>
        </p:pic>
      </p:grpSp>
      <p:sp>
        <p:nvSpPr>
          <p:cNvPr id="12" name="Title 1">
            <a:extLst>
              <a:ext uri="{FF2B5EF4-FFF2-40B4-BE49-F238E27FC236}">
                <a16:creationId xmlns:a16="http://schemas.microsoft.com/office/drawing/2014/main" id="{E81CF4DD-25A2-40F4-952B-66B4466BBD93}"/>
              </a:ext>
            </a:extLst>
          </p:cNvPr>
          <p:cNvSpPr txBox="1">
            <a:spLocks/>
          </p:cNvSpPr>
          <p:nvPr userDrawn="1"/>
        </p:nvSpPr>
        <p:spPr>
          <a:xfrm>
            <a:off x="3287689"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200" b="0">
                <a:solidFill>
                  <a:schemeClr val="bg1"/>
                </a:solidFill>
                <a:effectLst/>
                <a:latin typeface="Calibri" panose="020F0502020204030204" pitchFamily="34" charset="0"/>
                <a:cs typeface="Calibri" panose="020F0502020204030204" pitchFamily="34" charset="0"/>
              </a:rPr>
              <a:t>We trust each other, we are transparent and we empower people. We respect diversity.</a:t>
            </a:r>
          </a:p>
        </p:txBody>
      </p:sp>
      <p:sp>
        <p:nvSpPr>
          <p:cNvPr id="13" name="Title 1">
            <a:extLst>
              <a:ext uri="{FF2B5EF4-FFF2-40B4-BE49-F238E27FC236}">
                <a16:creationId xmlns:a16="http://schemas.microsoft.com/office/drawing/2014/main" id="{33B85503-5C78-444D-B346-AB59AA416AC8}"/>
              </a:ext>
            </a:extLst>
          </p:cNvPr>
          <p:cNvSpPr txBox="1">
            <a:spLocks/>
          </p:cNvSpPr>
          <p:nvPr userDrawn="1"/>
        </p:nvSpPr>
        <p:spPr>
          <a:xfrm>
            <a:off x="3287688"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800" b="1">
                <a:solidFill>
                  <a:schemeClr val="bg1"/>
                </a:solidFill>
                <a:effectLst/>
                <a:latin typeface="Calibri" panose="020F0502020204030204" pitchFamily="34" charset="0"/>
                <a:cs typeface="Calibri" panose="020F0502020204030204" pitchFamily="34" charset="0"/>
              </a:rPr>
              <a:t>TRUST</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4" name="Gruppieren 13">
            <a:extLst>
              <a:ext uri="{FF2B5EF4-FFF2-40B4-BE49-F238E27FC236}">
                <a16:creationId xmlns:a16="http://schemas.microsoft.com/office/drawing/2014/main" id="{B5475377-A926-4847-B972-EA12DF6C0701}"/>
              </a:ext>
            </a:extLst>
          </p:cNvPr>
          <p:cNvGrpSpPr/>
          <p:nvPr userDrawn="1"/>
        </p:nvGrpSpPr>
        <p:grpSpPr>
          <a:xfrm>
            <a:off x="3463091" y="2083344"/>
            <a:ext cx="1089193" cy="1118842"/>
            <a:chOff x="1478254" y="1759825"/>
            <a:chExt cx="1089193" cy="1118842"/>
          </a:xfrm>
        </p:grpSpPr>
        <p:sp>
          <p:nvSpPr>
            <p:cNvPr id="15" name="Ellipse 14">
              <a:extLst>
                <a:ext uri="{FF2B5EF4-FFF2-40B4-BE49-F238E27FC236}">
                  <a16:creationId xmlns:a16="http://schemas.microsoft.com/office/drawing/2014/main" id="{13BB04B6-217B-499D-8F98-894FB375B2F9}"/>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a:p>
          </p:txBody>
        </p:sp>
        <p:pic>
          <p:nvPicPr>
            <p:cNvPr id="16" name="Grafik 15">
              <a:extLst>
                <a:ext uri="{FF2B5EF4-FFF2-40B4-BE49-F238E27FC236}">
                  <a16:creationId xmlns:a16="http://schemas.microsoft.com/office/drawing/2014/main" id="{2760D55D-13ED-4E94-966A-95F12368925C}"/>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a:xfrm>
              <a:off x="1478254" y="1798667"/>
              <a:ext cx="1080000" cy="1080000"/>
            </a:xfrm>
            <a:prstGeom prst="rect">
              <a:avLst/>
            </a:prstGeom>
          </p:spPr>
        </p:pic>
      </p:grpSp>
      <p:sp>
        <p:nvSpPr>
          <p:cNvPr id="17" name="Title 1">
            <a:extLst>
              <a:ext uri="{FF2B5EF4-FFF2-40B4-BE49-F238E27FC236}">
                <a16:creationId xmlns:a16="http://schemas.microsoft.com/office/drawing/2014/main" id="{E979720F-B102-477C-A18C-F42F69F7B3FA}"/>
              </a:ext>
            </a:extLst>
          </p:cNvPr>
          <p:cNvSpPr txBox="1">
            <a:spLocks/>
          </p:cNvSpPr>
          <p:nvPr userDrawn="1"/>
        </p:nvSpPr>
        <p:spPr>
          <a:xfrm>
            <a:off x="537600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200" b="0">
                <a:solidFill>
                  <a:schemeClr val="bg1"/>
                </a:solidFill>
                <a:effectLst/>
                <a:latin typeface="Calibri" panose="020F0502020204030204" pitchFamily="34" charset="0"/>
                <a:cs typeface="Calibri" panose="020F0502020204030204" pitchFamily="34" charset="0"/>
              </a:rPr>
              <a:t>We act in the interest of </a:t>
            </a:r>
            <a:br>
              <a:rPr lang="en-IE" sz="1200" b="0">
                <a:solidFill>
                  <a:schemeClr val="bg1"/>
                </a:solidFill>
                <a:effectLst/>
                <a:latin typeface="Calibri" panose="020F0502020204030204" pitchFamily="34" charset="0"/>
                <a:cs typeface="Calibri" panose="020F0502020204030204" pitchFamily="34" charset="0"/>
              </a:rPr>
            </a:br>
            <a:r>
              <a:rPr lang="en-IE" sz="1200" b="0">
                <a:solidFill>
                  <a:schemeClr val="bg1"/>
                </a:solidFill>
                <a:effectLst/>
                <a:latin typeface="Calibri" panose="020F0502020204030204" pitchFamily="34" charset="0"/>
                <a:cs typeface="Calibri" panose="020F0502020204030204" pitchFamily="34" charset="0"/>
              </a:rPr>
              <a:t>ENTSO-E</a:t>
            </a:r>
          </a:p>
        </p:txBody>
      </p:sp>
      <p:sp>
        <p:nvSpPr>
          <p:cNvPr id="18" name="Title 1">
            <a:extLst>
              <a:ext uri="{FF2B5EF4-FFF2-40B4-BE49-F238E27FC236}">
                <a16:creationId xmlns:a16="http://schemas.microsoft.com/office/drawing/2014/main" id="{DEDA1B90-9F8A-4C63-B8FF-D940062EC4C4}"/>
              </a:ext>
            </a:extLst>
          </p:cNvPr>
          <p:cNvSpPr txBox="1">
            <a:spLocks/>
          </p:cNvSpPr>
          <p:nvPr userDrawn="1"/>
        </p:nvSpPr>
        <p:spPr>
          <a:xfrm>
            <a:off x="537600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800" b="1">
                <a:solidFill>
                  <a:schemeClr val="bg1"/>
                </a:solidFill>
                <a:effectLst/>
                <a:latin typeface="Calibri" panose="020F0502020204030204" pitchFamily="34" charset="0"/>
                <a:cs typeface="Calibri" panose="020F0502020204030204" pitchFamily="34" charset="0"/>
              </a:rPr>
              <a:t>INTEGRITY</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9" name="Gruppieren 18">
            <a:extLst>
              <a:ext uri="{FF2B5EF4-FFF2-40B4-BE49-F238E27FC236}">
                <a16:creationId xmlns:a16="http://schemas.microsoft.com/office/drawing/2014/main" id="{955A5FDF-13A6-4E3F-98FC-5D8B5F750CF6}"/>
              </a:ext>
            </a:extLst>
          </p:cNvPr>
          <p:cNvGrpSpPr/>
          <p:nvPr userDrawn="1"/>
        </p:nvGrpSpPr>
        <p:grpSpPr>
          <a:xfrm>
            <a:off x="5551403" y="2024327"/>
            <a:ext cx="1089193" cy="1139017"/>
            <a:chOff x="1478254" y="1700808"/>
            <a:chExt cx="1089193" cy="1139017"/>
          </a:xfrm>
        </p:grpSpPr>
        <p:sp>
          <p:nvSpPr>
            <p:cNvPr id="20" name="Ellipse 19">
              <a:extLst>
                <a:ext uri="{FF2B5EF4-FFF2-40B4-BE49-F238E27FC236}">
                  <a16:creationId xmlns:a16="http://schemas.microsoft.com/office/drawing/2014/main" id="{7B46EB16-3C21-4C1F-96E5-A09D69B4EA5B}"/>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a:p>
          </p:txBody>
        </p:sp>
        <p:pic>
          <p:nvPicPr>
            <p:cNvPr id="21" name="Grafik 20">
              <a:extLst>
                <a:ext uri="{FF2B5EF4-FFF2-40B4-BE49-F238E27FC236}">
                  <a16:creationId xmlns:a16="http://schemas.microsoft.com/office/drawing/2014/main" id="{4B4C9A02-66CE-4BBC-A5CB-9F9670516C1D}"/>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1478254" y="1700808"/>
              <a:ext cx="1080000" cy="1080000"/>
            </a:xfrm>
            <a:prstGeom prst="rect">
              <a:avLst/>
            </a:prstGeom>
          </p:spPr>
        </p:pic>
      </p:grpSp>
      <p:sp>
        <p:nvSpPr>
          <p:cNvPr id="22" name="Title 1">
            <a:extLst>
              <a:ext uri="{FF2B5EF4-FFF2-40B4-BE49-F238E27FC236}">
                <a16:creationId xmlns:a16="http://schemas.microsoft.com/office/drawing/2014/main" id="{2E634EBD-DFF6-43C8-9422-8F16AAB96C86}"/>
              </a:ext>
            </a:extLst>
          </p:cNvPr>
          <p:cNvSpPr txBox="1">
            <a:spLocks/>
          </p:cNvSpPr>
          <p:nvPr userDrawn="1"/>
        </p:nvSpPr>
        <p:spPr>
          <a:xfrm>
            <a:off x="7392263"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200" b="0">
                <a:solidFill>
                  <a:schemeClr val="bg1"/>
                </a:solidFill>
                <a:effectLst/>
                <a:latin typeface="Calibri" panose="020F0502020204030204" pitchFamily="34" charset="0"/>
                <a:cs typeface="Calibri" panose="020F0502020204030204" pitchFamily="34" charset="0"/>
              </a:rPr>
              <a:t>We care about people. We work transversal and we support each other. We celebrate success.</a:t>
            </a:r>
          </a:p>
        </p:txBody>
      </p:sp>
      <p:sp>
        <p:nvSpPr>
          <p:cNvPr id="23" name="Title 1">
            <a:extLst>
              <a:ext uri="{FF2B5EF4-FFF2-40B4-BE49-F238E27FC236}">
                <a16:creationId xmlns:a16="http://schemas.microsoft.com/office/drawing/2014/main" id="{2B8B0EDA-AFDC-4A3F-8B48-271A245E4727}"/>
              </a:ext>
            </a:extLst>
          </p:cNvPr>
          <p:cNvSpPr txBox="1">
            <a:spLocks/>
          </p:cNvSpPr>
          <p:nvPr userDrawn="1"/>
        </p:nvSpPr>
        <p:spPr>
          <a:xfrm>
            <a:off x="7392262"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800" b="1">
                <a:solidFill>
                  <a:schemeClr val="bg1"/>
                </a:solidFill>
                <a:effectLst/>
                <a:latin typeface="Calibri" panose="020F0502020204030204" pitchFamily="34" charset="0"/>
                <a:cs typeface="Calibri" panose="020F0502020204030204" pitchFamily="34" charset="0"/>
              </a:rPr>
              <a:t>TEAM</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24" name="Gruppieren 23">
            <a:extLst>
              <a:ext uri="{FF2B5EF4-FFF2-40B4-BE49-F238E27FC236}">
                <a16:creationId xmlns:a16="http://schemas.microsoft.com/office/drawing/2014/main" id="{DB57394F-A3ED-46EA-ACEB-FE66F27FAB09}"/>
              </a:ext>
            </a:extLst>
          </p:cNvPr>
          <p:cNvGrpSpPr/>
          <p:nvPr userDrawn="1"/>
        </p:nvGrpSpPr>
        <p:grpSpPr>
          <a:xfrm>
            <a:off x="7576858" y="2080275"/>
            <a:ext cx="1080000" cy="1083069"/>
            <a:chOff x="1487447" y="1756756"/>
            <a:chExt cx="1080000" cy="1083069"/>
          </a:xfrm>
        </p:grpSpPr>
        <p:sp>
          <p:nvSpPr>
            <p:cNvPr id="25" name="Ellipse 24">
              <a:extLst>
                <a:ext uri="{FF2B5EF4-FFF2-40B4-BE49-F238E27FC236}">
                  <a16:creationId xmlns:a16="http://schemas.microsoft.com/office/drawing/2014/main" id="{047968BE-8FA5-46E6-AEB4-7BBD707663C8}"/>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a:p>
          </p:txBody>
        </p:sp>
        <p:pic>
          <p:nvPicPr>
            <p:cNvPr id="26" name="Grafik 25">
              <a:extLst>
                <a:ext uri="{FF2B5EF4-FFF2-40B4-BE49-F238E27FC236}">
                  <a16:creationId xmlns:a16="http://schemas.microsoft.com/office/drawing/2014/main" id="{7EB613B2-536A-4138-AE88-6840149C7A1B}"/>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
        <p:nvSpPr>
          <p:cNvPr id="27" name="Title 1">
            <a:extLst>
              <a:ext uri="{FF2B5EF4-FFF2-40B4-BE49-F238E27FC236}">
                <a16:creationId xmlns:a16="http://schemas.microsoft.com/office/drawing/2014/main" id="{EC54E769-6637-4291-8E33-04784D80068D}"/>
              </a:ext>
            </a:extLst>
          </p:cNvPr>
          <p:cNvSpPr txBox="1">
            <a:spLocks/>
          </p:cNvSpPr>
          <p:nvPr userDrawn="1"/>
        </p:nvSpPr>
        <p:spPr>
          <a:xfrm>
            <a:off x="933636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200" b="0">
                <a:solidFill>
                  <a:schemeClr val="bg1"/>
                </a:solidFill>
                <a:effectLst/>
                <a:latin typeface="Calibri" panose="020F0502020204030204" pitchFamily="34" charset="0"/>
                <a:cs typeface="Calibri" panose="020F0502020204030204" pitchFamily="34" charset="0"/>
              </a:rPr>
              <a:t>We are a learning organisation. </a:t>
            </a:r>
            <a:br>
              <a:rPr lang="en-IE" sz="1200" b="0">
                <a:solidFill>
                  <a:schemeClr val="bg1"/>
                </a:solidFill>
                <a:effectLst/>
                <a:latin typeface="Calibri" panose="020F0502020204030204" pitchFamily="34" charset="0"/>
                <a:cs typeface="Calibri" panose="020F0502020204030204" pitchFamily="34" charset="0"/>
              </a:rPr>
            </a:br>
            <a:r>
              <a:rPr lang="en-IE" sz="1200" b="0">
                <a:solidFill>
                  <a:schemeClr val="bg1"/>
                </a:solidFill>
                <a:effectLst/>
                <a:latin typeface="Calibri" panose="020F0502020204030204" pitchFamily="34" charset="0"/>
                <a:cs typeface="Calibri" panose="020F0502020204030204" pitchFamily="34" charset="0"/>
              </a:rPr>
              <a:t>We explore new paths and solutions.</a:t>
            </a:r>
          </a:p>
        </p:txBody>
      </p:sp>
      <p:sp>
        <p:nvSpPr>
          <p:cNvPr id="28" name="Title 1">
            <a:extLst>
              <a:ext uri="{FF2B5EF4-FFF2-40B4-BE49-F238E27FC236}">
                <a16:creationId xmlns:a16="http://schemas.microsoft.com/office/drawing/2014/main" id="{1EAE1D68-1D65-449A-A1D4-1C7A4EE8D7F3}"/>
              </a:ext>
            </a:extLst>
          </p:cNvPr>
          <p:cNvSpPr txBox="1">
            <a:spLocks/>
          </p:cNvSpPr>
          <p:nvPr userDrawn="1"/>
        </p:nvSpPr>
        <p:spPr>
          <a:xfrm>
            <a:off x="933636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800" b="1">
                <a:solidFill>
                  <a:schemeClr val="bg1"/>
                </a:solidFill>
                <a:effectLst/>
                <a:latin typeface="Calibri" panose="020F0502020204030204" pitchFamily="34" charset="0"/>
                <a:cs typeface="Calibri" panose="020F0502020204030204" pitchFamily="34" charset="0"/>
              </a:rPr>
              <a:t>FUTURE THINKING</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29" name="Gruppieren 28">
            <a:extLst>
              <a:ext uri="{FF2B5EF4-FFF2-40B4-BE49-F238E27FC236}">
                <a16:creationId xmlns:a16="http://schemas.microsoft.com/office/drawing/2014/main" id="{3C70C999-7CBE-4D11-A6B2-D77A57C5B0AD}"/>
              </a:ext>
            </a:extLst>
          </p:cNvPr>
          <p:cNvGrpSpPr/>
          <p:nvPr userDrawn="1"/>
        </p:nvGrpSpPr>
        <p:grpSpPr>
          <a:xfrm>
            <a:off x="9520956" y="2080275"/>
            <a:ext cx="1080000" cy="1083069"/>
            <a:chOff x="1487447" y="1756756"/>
            <a:chExt cx="1080000" cy="1083069"/>
          </a:xfrm>
        </p:grpSpPr>
        <p:sp>
          <p:nvSpPr>
            <p:cNvPr id="30" name="Ellipse 29">
              <a:extLst>
                <a:ext uri="{FF2B5EF4-FFF2-40B4-BE49-F238E27FC236}">
                  <a16:creationId xmlns:a16="http://schemas.microsoft.com/office/drawing/2014/main" id="{29D45C60-2B3F-49B7-BD2B-64F936E7A262}"/>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a:p>
          </p:txBody>
        </p:sp>
        <p:pic>
          <p:nvPicPr>
            <p:cNvPr id="31" name="Grafik 30">
              <a:extLst>
                <a:ext uri="{FF2B5EF4-FFF2-40B4-BE49-F238E27FC236}">
                  <a16:creationId xmlns:a16="http://schemas.microsoft.com/office/drawing/2014/main" id="{C7C06749-CCF9-45D3-B10D-3B95BF64A939}"/>
                </a:ext>
              </a:extLst>
            </p:cNvPr>
            <p:cNvPicPr>
              <a:picLocks noChangeAspect="1"/>
            </p:cNvPicPr>
            <p:nvPr userDrawn="1"/>
          </p:nvPicPr>
          <p:blipFill>
            <a:blip r:embed="rId9" cstate="print">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Tree>
    <p:extLst>
      <p:ext uri="{BB962C8B-B14F-4D97-AF65-F5344CB8AC3E}">
        <p14:creationId xmlns:p14="http://schemas.microsoft.com/office/powerpoint/2010/main" val="310599410"/>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1_ENTSO-E Key take-away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AB8C1AA-6A9C-8C5D-3908-DC3888D08956}"/>
              </a:ext>
            </a:extLst>
          </p:cNvPr>
          <p:cNvGraphicFramePr>
            <a:graphicFrameLocks noChangeAspect="1"/>
          </p:cNvGraphicFramePr>
          <p:nvPr userDrawn="1">
            <p:custDataLst>
              <p:tags r:id="rId1"/>
            </p:custDataLst>
            <p:extLst>
              <p:ext uri="{D42A27DB-BD31-4B8C-83A1-F6EECF244321}">
                <p14:modId xmlns:p14="http://schemas.microsoft.com/office/powerpoint/2010/main" val="2691018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FAB8C1AA-6A9C-8C5D-3908-DC3888D089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86346" y="476672"/>
            <a:ext cx="11617788" cy="936104"/>
          </a:xfrm>
          <a:prstGeom prst="rect">
            <a:avLst/>
          </a:prstGeom>
          <a:ln>
            <a:noFill/>
          </a:ln>
        </p:spPr>
        <p:txBody>
          <a:bodyPr vert="horz" anchor="t"/>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Key take-aways</a:t>
            </a:r>
          </a:p>
        </p:txBody>
      </p:sp>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rtl="0">
              <a:lnSpc>
                <a:spcPts val="2600"/>
              </a:lnSpc>
              <a:spcBef>
                <a:spcPts val="0"/>
              </a:spcBef>
              <a:buNone/>
              <a:defRPr sz="2000" b="0">
                <a:solidFill>
                  <a:schemeClr val="tx1"/>
                </a:solidFill>
                <a:latin typeface="Calibri" panose="020F0502020204030204" pitchFamily="34" charset="0"/>
                <a:cs typeface="Calibri" panose="020F0502020204030204" pitchFamily="34" charset="0"/>
              </a:defRPr>
            </a:lvl1pPr>
          </a:lstStyle>
          <a:p>
            <a:pPr lvl="0"/>
            <a:r>
              <a:rPr lang="en-IE"/>
              <a:t>Text</a:t>
            </a:r>
          </a:p>
        </p:txBody>
      </p:sp>
      <p:sp>
        <p:nvSpPr>
          <p:cNvPr id="4" name="Rechteck 1">
            <a:extLst>
              <a:ext uri="{FF2B5EF4-FFF2-40B4-BE49-F238E27FC236}">
                <a16:creationId xmlns:a16="http://schemas.microsoft.com/office/drawing/2014/main" id="{9B4626A2-3A46-4841-8EA9-2789E9CF76F6}"/>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sz="1800">
              <a:solidFill>
                <a:schemeClr val="accent2"/>
              </a:solidFill>
            </a:endParaRPr>
          </a:p>
        </p:txBody>
      </p:sp>
    </p:spTree>
    <p:extLst>
      <p:ext uri="{BB962C8B-B14F-4D97-AF65-F5344CB8AC3E}">
        <p14:creationId xmlns:p14="http://schemas.microsoft.com/office/powerpoint/2010/main" val="2874208908"/>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2_ENTSO-E Questio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D287EF1-6A7B-12BB-C2F2-6E16D7E63650}"/>
              </a:ext>
            </a:extLst>
          </p:cNvPr>
          <p:cNvGraphicFramePr>
            <a:graphicFrameLocks noChangeAspect="1"/>
          </p:cNvGraphicFramePr>
          <p:nvPr userDrawn="1">
            <p:custDataLst>
              <p:tags r:id="rId1"/>
            </p:custDataLst>
            <p:extLst>
              <p:ext uri="{D42A27DB-BD31-4B8C-83A1-F6EECF244321}">
                <p14:modId xmlns:p14="http://schemas.microsoft.com/office/powerpoint/2010/main" val="333346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3D287EF1-6A7B-12BB-C2F2-6E16D7E636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gn="ctr" rtl="0">
              <a:lnSpc>
                <a:spcPts val="2600"/>
              </a:lnSpc>
              <a:spcBef>
                <a:spcPts val="0"/>
              </a:spcBef>
              <a:buNone/>
              <a:tabLst>
                <a:tab pos="3763963" algn="l"/>
              </a:tabLst>
              <a:defRPr sz="2800" b="1">
                <a:solidFill>
                  <a:srgbClr val="0F218B"/>
                </a:solidFill>
                <a:latin typeface="Calibri" panose="020F0502020204030204" pitchFamily="34" charset="0"/>
                <a:cs typeface="Calibri" panose="020F0502020204030204" pitchFamily="34" charset="0"/>
              </a:defRPr>
            </a:lvl1pPr>
          </a:lstStyle>
          <a:p>
            <a:pPr lvl="0"/>
            <a:r>
              <a:rPr lang="en-IE"/>
              <a:t>Questions?</a:t>
            </a:r>
          </a:p>
        </p:txBody>
      </p:sp>
      <p:sp>
        <p:nvSpPr>
          <p:cNvPr id="2" name="TextBox 1">
            <a:extLst>
              <a:ext uri="{FF2B5EF4-FFF2-40B4-BE49-F238E27FC236}">
                <a16:creationId xmlns:a16="http://schemas.microsoft.com/office/drawing/2014/main" id="{ED24F55E-FB99-4958-B7AF-F28A79322EB2}"/>
              </a:ext>
            </a:extLst>
          </p:cNvPr>
          <p:cNvSpPr txBox="1"/>
          <p:nvPr userDrawn="1"/>
        </p:nvSpPr>
        <p:spPr>
          <a:xfrm>
            <a:off x="5447928" y="4149080"/>
            <a:ext cx="3384376" cy="369332"/>
          </a:xfrm>
          <a:prstGeom prst="rect">
            <a:avLst/>
          </a:prstGeom>
          <a:noFill/>
        </p:spPr>
        <p:txBody>
          <a:bodyPr wrap="square" rtlCol="0">
            <a:spAutoFit/>
          </a:bodyPr>
          <a:lstStyle/>
          <a:p>
            <a:pPr rtl="0"/>
            <a:r>
              <a:rPr lang="en-IE">
                <a:solidFill>
                  <a:srgbClr val="0F218B"/>
                </a:solidFill>
                <a:latin typeface="Calibri" panose="020F0502020204030204" pitchFamily="34" charset="0"/>
                <a:cs typeface="Calibri" panose="020F0502020204030204" pitchFamily="34" charset="0"/>
              </a:rPr>
              <a:t>contact:</a:t>
            </a:r>
          </a:p>
        </p:txBody>
      </p:sp>
      <p:sp>
        <p:nvSpPr>
          <p:cNvPr id="5" name="Rechteck 1">
            <a:extLst>
              <a:ext uri="{FF2B5EF4-FFF2-40B4-BE49-F238E27FC236}">
                <a16:creationId xmlns:a16="http://schemas.microsoft.com/office/drawing/2014/main" id="{C2D06D34-321E-4E67-BD6C-917AD342E7D4}"/>
              </a:ext>
            </a:extLst>
          </p:cNvPr>
          <p:cNvSpPr/>
          <p:nvPr userDrawn="1"/>
        </p:nvSpPr>
        <p:spPr>
          <a:xfrm rot="5400000" flipH="1">
            <a:off x="6064640" y="3063656"/>
            <a:ext cx="61200" cy="180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sz="1800">
              <a:solidFill>
                <a:schemeClr val="accent2"/>
              </a:solidFill>
            </a:endParaRPr>
          </a:p>
        </p:txBody>
      </p:sp>
    </p:spTree>
    <p:extLst>
      <p:ext uri="{BB962C8B-B14F-4D97-AF65-F5344CB8AC3E}">
        <p14:creationId xmlns:p14="http://schemas.microsoft.com/office/powerpoint/2010/main" val="1891509036"/>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cover page option 1">
    <p:bg>
      <p:bgPr>
        <a:solidFill>
          <a:srgbClr val="003399"/>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4675400-3E4A-4805-76D4-89E3DBA2294C}"/>
              </a:ext>
            </a:extLst>
          </p:cNvPr>
          <p:cNvSpPr>
            <a:spLocks noGrp="1"/>
          </p:cNvSpPr>
          <p:nvPr>
            <p:ph type="sldNum" sz="quarter" idx="4"/>
          </p:nvPr>
        </p:nvSpPr>
        <p:spPr>
          <a:xfrm>
            <a:off x="838200" y="6317486"/>
            <a:ext cx="2743200" cy="172523"/>
          </a:xfrm>
          <a:prstGeom prst="rect">
            <a:avLst/>
          </a:prstGeom>
          <a:noFill/>
        </p:spPr>
        <p:txBody>
          <a:bodyPr vert="horz" lIns="91440" tIns="45720" rIns="91440" bIns="45720" rtlCol="0" anchor="ctr"/>
          <a:lstStyle>
            <a:lvl1pPr algn="r">
              <a:defRPr sz="1200">
                <a:solidFill>
                  <a:schemeClr val="bg1"/>
                </a:solidFill>
                <a:latin typeface="+mn-lt"/>
              </a:defRPr>
            </a:lvl1pPr>
          </a:lstStyle>
          <a:p>
            <a:pPr algn="l"/>
            <a:r>
              <a:rPr lang="fr-BE"/>
              <a:t>DD/MM/YYYY</a:t>
            </a:r>
            <a:endParaRPr lang="en-IE"/>
          </a:p>
        </p:txBody>
      </p:sp>
      <p:sp>
        <p:nvSpPr>
          <p:cNvPr id="4" name="Title 1">
            <a:extLst>
              <a:ext uri="{FF2B5EF4-FFF2-40B4-BE49-F238E27FC236}">
                <a16:creationId xmlns:a16="http://schemas.microsoft.com/office/drawing/2014/main" id="{DB290A50-B43D-A2B6-515F-75425256ACB5}"/>
              </a:ext>
            </a:extLst>
          </p:cNvPr>
          <p:cNvSpPr>
            <a:spLocks noGrp="1"/>
          </p:cNvSpPr>
          <p:nvPr>
            <p:ph type="title" hasCustomPrompt="1"/>
          </p:nvPr>
        </p:nvSpPr>
        <p:spPr>
          <a:xfrm>
            <a:off x="838200" y="3040714"/>
            <a:ext cx="10515600" cy="1020337"/>
          </a:xfrm>
          <a:noFill/>
        </p:spPr>
        <p:txBody>
          <a:bodyPr>
            <a:noAutofit/>
          </a:bodyPr>
          <a:lstStyle>
            <a:lvl1pPr>
              <a:defRPr sz="8800">
                <a:solidFill>
                  <a:schemeClr val="bg1"/>
                </a:solidFill>
              </a:defRPr>
            </a:lvl1pPr>
          </a:lstStyle>
          <a:p>
            <a:r>
              <a:rPr lang="en-US"/>
              <a:t>Click to add a title</a:t>
            </a:r>
            <a:endParaRPr lang="en-IE"/>
          </a:p>
        </p:txBody>
      </p:sp>
      <p:sp>
        <p:nvSpPr>
          <p:cNvPr id="15" name="Content Placeholder 14">
            <a:extLst>
              <a:ext uri="{FF2B5EF4-FFF2-40B4-BE49-F238E27FC236}">
                <a16:creationId xmlns:a16="http://schemas.microsoft.com/office/drawing/2014/main" id="{69D02D42-BA7D-84CC-873F-80F08362B35A}"/>
              </a:ext>
            </a:extLst>
          </p:cNvPr>
          <p:cNvSpPr>
            <a:spLocks noGrp="1"/>
          </p:cNvSpPr>
          <p:nvPr>
            <p:ph sz="quarter" idx="11"/>
          </p:nvPr>
        </p:nvSpPr>
        <p:spPr>
          <a:xfrm>
            <a:off x="838200" y="4219575"/>
            <a:ext cx="4929188" cy="611188"/>
          </a:xfrm>
        </p:spPr>
        <p:txBody>
          <a:bodyPr/>
          <a:lstStyle>
            <a:lvl1pPr marL="0" indent="0">
              <a:buNone/>
              <a:defRPr>
                <a:solidFill>
                  <a:schemeClr val="bg1"/>
                </a:solidFill>
              </a:defRPr>
            </a:lvl1pPr>
          </a:lstStyle>
          <a:p>
            <a:pPr lvl="0"/>
            <a:r>
              <a:rPr lang="en-US"/>
              <a:t>Click to edit Master text styles</a:t>
            </a:r>
          </a:p>
        </p:txBody>
      </p:sp>
      <p:sp>
        <p:nvSpPr>
          <p:cNvPr id="11" name="Content Placeholder 2">
            <a:extLst>
              <a:ext uri="{FF2B5EF4-FFF2-40B4-BE49-F238E27FC236}">
                <a16:creationId xmlns:a16="http://schemas.microsoft.com/office/drawing/2014/main" id="{C600E4EF-7051-9AAC-2C78-0958FBC514BC}"/>
              </a:ext>
            </a:extLst>
          </p:cNvPr>
          <p:cNvSpPr>
            <a:spLocks noGrp="1"/>
          </p:cNvSpPr>
          <p:nvPr>
            <p:ph sz="half" idx="10"/>
          </p:nvPr>
        </p:nvSpPr>
        <p:spPr>
          <a:xfrm>
            <a:off x="838199" y="5243158"/>
            <a:ext cx="3176847" cy="304616"/>
          </a:xfrm>
          <a:solidFill>
            <a:schemeClr val="accent5"/>
          </a:solidFill>
          <a:ln w="12700" cap="rnd">
            <a:noFill/>
            <a:round/>
          </a:ln>
        </p:spPr>
        <p:style>
          <a:lnRef idx="2">
            <a:schemeClr val="accent1"/>
          </a:lnRef>
          <a:fillRef idx="1">
            <a:schemeClr val="lt1"/>
          </a:fillRef>
          <a:effectRef idx="0">
            <a:schemeClr val="accent1"/>
          </a:effectRef>
          <a:fontRef idx="minor">
            <a:schemeClr val="dk1"/>
          </a:fontRef>
        </p:style>
        <p:txBody>
          <a:bodyPr anchor="ctr">
            <a:noAutofit/>
          </a:bodyPr>
          <a:lstStyle>
            <a:lvl1pPr marL="0" indent="0">
              <a:buNone/>
              <a:defRPr sz="1600" b="0" i="1">
                <a:solidFill>
                  <a:schemeClr val="tx2"/>
                </a:solidFill>
              </a:defRPr>
            </a:lvl1pPr>
          </a:lstStyle>
          <a:p>
            <a:pPr lvl="0"/>
            <a:r>
              <a:rPr lang="en-US"/>
              <a:t>Click to edit Master text styles</a:t>
            </a:r>
          </a:p>
        </p:txBody>
      </p:sp>
      <p:pic>
        <p:nvPicPr>
          <p:cNvPr id="3" name="Picture 2" descr="European Commission">
            <a:extLst>
              <a:ext uri="{FF2B5EF4-FFF2-40B4-BE49-F238E27FC236}">
                <a16:creationId xmlns:a16="http://schemas.microsoft.com/office/drawing/2014/main" id="{85D80D5D-B11B-B8B1-1D33-81E7377D5953}"/>
              </a:ext>
              <a:ext uri="{C183D7F6-B498-43B3-948B-1728B52AA6E4}">
                <adec:decorative xmlns:adec="http://schemas.microsoft.com/office/drawing/2017/decorative" val="0"/>
              </a:ext>
            </a:extLst>
          </p:cNvPr>
          <p:cNvPicPr/>
          <p:nvPr userDrawn="1"/>
        </p:nvPicPr>
        <p:blipFill>
          <a:blip r:embed="rId2"/>
          <a:stretch>
            <a:fillRect/>
          </a:stretch>
        </p:blipFill>
        <p:spPr>
          <a:xfrm>
            <a:off x="9463383" y="5738784"/>
            <a:ext cx="2544024" cy="941017"/>
          </a:xfrm>
          <a:prstGeom prst="rect">
            <a:avLst/>
          </a:prstGeom>
          <a:noFill/>
        </p:spPr>
      </p:pic>
    </p:spTree>
    <p:extLst>
      <p:ext uri="{BB962C8B-B14F-4D97-AF65-F5344CB8AC3E}">
        <p14:creationId xmlns:p14="http://schemas.microsoft.com/office/powerpoint/2010/main" val="2937538802"/>
      </p:ext>
    </p:extLst>
  </p:cSld>
  <p:clrMapOvr>
    <a:masterClrMapping/>
  </p:clrMapOvr>
  <p:extLst>
    <p:ext uri="{DCECCB84-F9BA-43D5-87BE-67443E8EF086}">
      <p15:sldGuideLst xmlns:p15="http://schemas.microsoft.com/office/powerpoint/2012/main">
        <p15:guide id="3" orient="horz" pos="2160">
          <p15:clr>
            <a:srgbClr val="FBAE40"/>
          </p15:clr>
        </p15:guide>
        <p15:guide id="4" pos="384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cover page option 2">
    <p:spTree>
      <p:nvGrpSpPr>
        <p:cNvPr id="1" name=""/>
        <p:cNvGrpSpPr/>
        <p:nvPr/>
      </p:nvGrpSpPr>
      <p:grpSpPr>
        <a:xfrm>
          <a:off x="0" y="0"/>
          <a:ext cx="0" cy="0"/>
          <a:chOff x="0" y="0"/>
          <a:chExt cx="0" cy="0"/>
        </a:xfrm>
      </p:grpSpPr>
      <p:sp>
        <p:nvSpPr>
          <p:cNvPr id="4" name="Google Shape;75;p31">
            <a:extLst>
              <a:ext uri="{FF2B5EF4-FFF2-40B4-BE49-F238E27FC236}">
                <a16:creationId xmlns:a16="http://schemas.microsoft.com/office/drawing/2014/main" id="{D3CADB7B-43FA-62FF-A4B3-5E073752114C}"/>
              </a:ext>
            </a:extLst>
          </p:cNvPr>
          <p:cNvSpPr>
            <a:spLocks noGrp="1"/>
          </p:cNvSpPr>
          <p:nvPr>
            <p:ph type="pic" idx="2"/>
          </p:nvPr>
        </p:nvSpPr>
        <p:spPr>
          <a:xfrm>
            <a:off x="0" y="1981200"/>
            <a:ext cx="12192000" cy="4876799"/>
          </a:xfrm>
          <a:prstGeom prst="rect">
            <a:avLst/>
          </a:prstGeom>
          <a:solidFill>
            <a:schemeClr val="lt2"/>
          </a:solidFill>
          <a:ln>
            <a:noFill/>
          </a:ln>
        </p:spPr>
        <p:txBody>
          <a:bodyPr/>
          <a:lstStyle>
            <a:lvl1pPr marL="0" indent="0">
              <a:buNone/>
              <a:defRPr>
                <a:solidFill>
                  <a:schemeClr val="tx2"/>
                </a:solidFill>
              </a:defRPr>
            </a:lvl1pPr>
          </a:lstStyle>
          <a:p>
            <a:r>
              <a:rPr lang="en-US"/>
              <a:t>Click icon to add picture</a:t>
            </a:r>
            <a:endParaRPr lang="en-IE"/>
          </a:p>
        </p:txBody>
      </p:sp>
      <p:sp>
        <p:nvSpPr>
          <p:cNvPr id="2" name="Title 1">
            <a:extLst>
              <a:ext uri="{FF2B5EF4-FFF2-40B4-BE49-F238E27FC236}">
                <a16:creationId xmlns:a16="http://schemas.microsoft.com/office/drawing/2014/main" id="{2910E61F-C8F9-4190-1EE4-9217CF0F1D1D}"/>
              </a:ext>
            </a:extLst>
          </p:cNvPr>
          <p:cNvSpPr>
            <a:spLocks noGrp="1"/>
          </p:cNvSpPr>
          <p:nvPr>
            <p:ph type="title" hasCustomPrompt="1"/>
          </p:nvPr>
        </p:nvSpPr>
        <p:spPr>
          <a:xfrm>
            <a:off x="838200" y="1594518"/>
            <a:ext cx="10515600" cy="1068400"/>
          </a:xfrm>
          <a:solidFill>
            <a:schemeClr val="bg1"/>
          </a:solidFill>
        </p:spPr>
        <p:txBody>
          <a:bodyPr lIns="144000" tIns="144000" rIns="144000" bIns="144000" anchor="b">
            <a:noAutofit/>
          </a:bodyPr>
          <a:lstStyle>
            <a:lvl1pPr>
              <a:defRPr sz="8800"/>
            </a:lvl1pPr>
          </a:lstStyle>
          <a:p>
            <a:r>
              <a:rPr lang="en-US"/>
              <a:t>Click to add a title</a:t>
            </a:r>
            <a:endParaRPr lang="en-IE"/>
          </a:p>
        </p:txBody>
      </p:sp>
      <p:sp>
        <p:nvSpPr>
          <p:cNvPr id="6" name="Content Placeholder 14">
            <a:extLst>
              <a:ext uri="{FF2B5EF4-FFF2-40B4-BE49-F238E27FC236}">
                <a16:creationId xmlns:a16="http://schemas.microsoft.com/office/drawing/2014/main" id="{F041A8C2-E23F-3F85-E8AE-2AEEB496419A}"/>
              </a:ext>
            </a:extLst>
          </p:cNvPr>
          <p:cNvSpPr>
            <a:spLocks noGrp="1"/>
          </p:cNvSpPr>
          <p:nvPr>
            <p:ph sz="quarter" idx="11"/>
          </p:nvPr>
        </p:nvSpPr>
        <p:spPr>
          <a:xfrm>
            <a:off x="838200" y="2942564"/>
            <a:ext cx="4929188" cy="611188"/>
          </a:xfrm>
        </p:spPr>
        <p:txBody>
          <a:bodyPr/>
          <a:lstStyle>
            <a:lvl1pPr marL="0" indent="0">
              <a:buNone/>
              <a:defRPr>
                <a:solidFill>
                  <a:schemeClr val="tx2"/>
                </a:solidFill>
              </a:defRPr>
            </a:lvl1pPr>
          </a:lstStyle>
          <a:p>
            <a:pPr lvl="0"/>
            <a:r>
              <a:rPr lang="en-US"/>
              <a:t>Click to edit Master text styles</a:t>
            </a:r>
          </a:p>
        </p:txBody>
      </p:sp>
      <p:pic>
        <p:nvPicPr>
          <p:cNvPr id="8" name="Picture 7" descr="A red dotted line with a couple of people&#10;&#10;Description automatically generated with medium confidence" hidden="1">
            <a:extLst>
              <a:ext uri="{FF2B5EF4-FFF2-40B4-BE49-F238E27FC236}">
                <a16:creationId xmlns:a16="http://schemas.microsoft.com/office/drawing/2014/main" id="{95398073-E69B-2867-360F-504F7007FD00}"/>
              </a:ext>
            </a:extLst>
          </p:cNvPr>
          <p:cNvPicPr>
            <a:picLocks noGrp="1" noRot="1" noChangeAspect="1" noMove="1" noResize="1" noEditPoints="1" noAdjustHandles="1" noChangeArrowheads="1" noChangeShapeType="1" noCrop="1"/>
          </p:cNvPicPr>
          <p:nvPr/>
        </p:nvPicPr>
        <p:blipFill>
          <a:blip r:embed="rId2">
            <a:alphaModFix amt="20000"/>
          </a:blip>
          <a:stretch>
            <a:fillRect/>
          </a:stretch>
        </p:blipFill>
        <p:spPr>
          <a:xfrm>
            <a:off x="0" y="0"/>
            <a:ext cx="12192000" cy="6858000"/>
          </a:xfrm>
          <a:prstGeom prst="rect">
            <a:avLst/>
          </a:prstGeom>
        </p:spPr>
      </p:pic>
      <p:pic>
        <p:nvPicPr>
          <p:cNvPr id="3" name="Picture 2" descr="A red dotted line with a couple of people&#10;&#10;Description automatically generated with medium confidence" hidden="1">
            <a:extLst>
              <a:ext uri="{FF2B5EF4-FFF2-40B4-BE49-F238E27FC236}">
                <a16:creationId xmlns:a16="http://schemas.microsoft.com/office/drawing/2014/main" id="{6437CF6F-3079-899D-F025-61C0BCD596A4}"/>
              </a:ext>
            </a:extLst>
          </p:cNvPr>
          <p:cNvPicPr/>
          <p:nvPr userDrawn="1"/>
        </p:nvPicPr>
        <p:blipFill>
          <a:blip r:embed="rId2">
            <a:alphaModFix amt="20000"/>
          </a:blip>
          <a:stretch>
            <a:fillRect/>
          </a:stretch>
        </p:blipFill>
        <p:spPr>
          <a:xfrm>
            <a:off x="0" y="0"/>
            <a:ext cx="12192000" cy="6858000"/>
          </a:xfrm>
          <a:prstGeom prst="rect">
            <a:avLst/>
          </a:prstGeom>
        </p:spPr>
      </p:pic>
      <p:pic>
        <p:nvPicPr>
          <p:cNvPr id="5" name="Picture 4" descr="European Commission">
            <a:extLst>
              <a:ext uri="{FF2B5EF4-FFF2-40B4-BE49-F238E27FC236}">
                <a16:creationId xmlns:a16="http://schemas.microsoft.com/office/drawing/2014/main" id="{97034CB8-2B4A-3519-77AF-1512D68F2797}"/>
              </a:ext>
            </a:extLst>
          </p:cNvPr>
          <p:cNvPicPr/>
          <p:nvPr userDrawn="1"/>
        </p:nvPicPr>
        <p:blipFill>
          <a:blip r:embed="rId3"/>
          <a:srcRect/>
          <a:stretch/>
        </p:blipFill>
        <p:spPr>
          <a:xfrm>
            <a:off x="170664" y="174518"/>
            <a:ext cx="2544024" cy="915848"/>
          </a:xfrm>
          <a:prstGeom prst="rect">
            <a:avLst/>
          </a:prstGeom>
          <a:noFill/>
        </p:spPr>
      </p:pic>
    </p:spTree>
    <p:extLst>
      <p:ext uri="{BB962C8B-B14F-4D97-AF65-F5344CB8AC3E}">
        <p14:creationId xmlns:p14="http://schemas.microsoft.com/office/powerpoint/2010/main" val="188805564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Chapter page option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78779EA-6394-AAE5-959A-6BB82A7D90AE}"/>
              </a:ext>
            </a:extLst>
          </p:cNvPr>
          <p:cNvSpPr/>
          <p:nvPr/>
        </p:nvSpPr>
        <p:spPr>
          <a:xfrm>
            <a:off x="0" y="0"/>
            <a:ext cx="12192000" cy="3810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 name="Google Shape;75;p31">
            <a:extLst>
              <a:ext uri="{FF2B5EF4-FFF2-40B4-BE49-F238E27FC236}">
                <a16:creationId xmlns:a16="http://schemas.microsoft.com/office/drawing/2014/main" id="{66DB0E40-389A-4ADF-E594-6BBAB29E7192}"/>
              </a:ext>
            </a:extLst>
          </p:cNvPr>
          <p:cNvSpPr>
            <a:spLocks noGrp="1"/>
          </p:cNvSpPr>
          <p:nvPr>
            <p:ph type="pic" idx="2"/>
          </p:nvPr>
        </p:nvSpPr>
        <p:spPr>
          <a:xfrm>
            <a:off x="0" y="0"/>
            <a:ext cx="12192000" cy="3810000"/>
          </a:xfrm>
          <a:prstGeom prst="rect">
            <a:avLst/>
          </a:prstGeom>
          <a:solidFill>
            <a:schemeClr val="lt2"/>
          </a:solidFill>
          <a:ln>
            <a:noFill/>
          </a:ln>
        </p:spPr>
        <p:txBody>
          <a:bodyPr/>
          <a:lstStyle>
            <a:lvl1pPr marL="0" indent="0">
              <a:buNone/>
              <a:defRPr>
                <a:solidFill>
                  <a:schemeClr val="tx2"/>
                </a:solidFill>
              </a:defRPr>
            </a:lvl1pPr>
          </a:lstStyle>
          <a:p>
            <a:r>
              <a:rPr lang="en-US"/>
              <a:t>Click icon to add picture</a:t>
            </a:r>
            <a:endParaRPr lang="en-IE"/>
          </a:p>
        </p:txBody>
      </p:sp>
      <p:sp>
        <p:nvSpPr>
          <p:cNvPr id="10" name="Title 1">
            <a:extLst>
              <a:ext uri="{FF2B5EF4-FFF2-40B4-BE49-F238E27FC236}">
                <a16:creationId xmlns:a16="http://schemas.microsoft.com/office/drawing/2014/main" id="{BD6BCEAD-64F8-A9C2-D826-FF1F037B20C7}"/>
              </a:ext>
            </a:extLst>
          </p:cNvPr>
          <p:cNvSpPr>
            <a:spLocks noGrp="1"/>
          </p:cNvSpPr>
          <p:nvPr>
            <p:ph type="title"/>
          </p:nvPr>
        </p:nvSpPr>
        <p:spPr>
          <a:xfrm>
            <a:off x="838200" y="3434898"/>
            <a:ext cx="10515600" cy="816904"/>
          </a:xfrm>
          <a:solidFill>
            <a:schemeClr val="bg1"/>
          </a:solidFill>
        </p:spPr>
        <p:txBody>
          <a:bodyPr lIns="180000"/>
          <a:lstStyle/>
          <a:p>
            <a:r>
              <a:rPr lang="en-US"/>
              <a:t>Click to edit Master title style</a:t>
            </a:r>
            <a:endParaRPr lang="en-IE"/>
          </a:p>
        </p:txBody>
      </p:sp>
      <p:sp>
        <p:nvSpPr>
          <p:cNvPr id="8" name="Content Placeholder 6">
            <a:extLst>
              <a:ext uri="{FF2B5EF4-FFF2-40B4-BE49-F238E27FC236}">
                <a16:creationId xmlns:a16="http://schemas.microsoft.com/office/drawing/2014/main" id="{A59C8E60-AD13-6DDB-15AD-A3F8E3F22A78}"/>
              </a:ext>
            </a:extLst>
          </p:cNvPr>
          <p:cNvSpPr>
            <a:spLocks noGrp="1"/>
          </p:cNvSpPr>
          <p:nvPr>
            <p:ph sz="quarter" idx="11"/>
          </p:nvPr>
        </p:nvSpPr>
        <p:spPr>
          <a:xfrm>
            <a:off x="838200" y="4441825"/>
            <a:ext cx="10515600" cy="587375"/>
          </a:xfrm>
        </p:spPr>
        <p:txBody>
          <a:bodyPr>
            <a:noAutofit/>
          </a:bodyPr>
          <a:lstStyle>
            <a:lvl1pPr marL="0" indent="0">
              <a:buNone/>
              <a:defRPr sz="2000"/>
            </a:lvl1pPr>
          </a:lstStyle>
          <a:p>
            <a:pPr lvl="0"/>
            <a:r>
              <a:rPr lang="en-US"/>
              <a:t>Click to edit Master text styles</a:t>
            </a:r>
          </a:p>
        </p:txBody>
      </p:sp>
      <p:sp>
        <p:nvSpPr>
          <p:cNvPr id="2" name="Slide Number Placeholder 5">
            <a:extLst>
              <a:ext uri="{FF2B5EF4-FFF2-40B4-BE49-F238E27FC236}">
                <a16:creationId xmlns:a16="http://schemas.microsoft.com/office/drawing/2014/main" id="{C239B419-47F7-2FF3-C377-FBB7B2DBA65C}"/>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tx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244573195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Chapter page option 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D5B256C-F848-9C9F-2A9C-E218DE9A1995}"/>
              </a:ext>
            </a:extLst>
          </p:cNvPr>
          <p:cNvSpPr/>
          <p:nvPr userDrawn="1"/>
        </p:nvSpPr>
        <p:spPr>
          <a:xfrm>
            <a:off x="0" y="0"/>
            <a:ext cx="12192000" cy="3810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solidFill>
                <a:schemeClr val="bg1"/>
              </a:solidFill>
            </a:endParaRPr>
          </a:p>
        </p:txBody>
      </p:sp>
      <p:sp>
        <p:nvSpPr>
          <p:cNvPr id="3" name="Slide Number Placeholder 2">
            <a:extLst>
              <a:ext uri="{FF2B5EF4-FFF2-40B4-BE49-F238E27FC236}">
                <a16:creationId xmlns:a16="http://schemas.microsoft.com/office/drawing/2014/main" id="{E92597A6-449C-FD56-6361-6B67C1420435}"/>
              </a:ext>
            </a:extLst>
          </p:cNvPr>
          <p:cNvSpPr>
            <a:spLocks noGrp="1"/>
          </p:cNvSpPr>
          <p:nvPr>
            <p:ph type="sldNum" sz="quarter" idx="10"/>
          </p:nvPr>
        </p:nvSpPr>
        <p:spPr/>
        <p:txBody>
          <a:bodyPr/>
          <a:lstStyle/>
          <a:p>
            <a:pPr algn="l"/>
            <a:fld id="{768364BB-9B21-4D29-A19C-C6410F652861}" type="slidenum">
              <a:rPr lang="en-IE" smtClean="0"/>
              <a:pPr algn="l"/>
              <a:t>‹#›</a:t>
            </a:fld>
            <a:endParaRPr lang="en-IE"/>
          </a:p>
        </p:txBody>
      </p:sp>
      <p:sp>
        <p:nvSpPr>
          <p:cNvPr id="4" name="Rectangle 3">
            <a:extLst>
              <a:ext uri="{FF2B5EF4-FFF2-40B4-BE49-F238E27FC236}">
                <a16:creationId xmlns:a16="http://schemas.microsoft.com/office/drawing/2014/main" id="{EE1DFA4B-D09C-D3C7-CF14-10151C0BAF5D}"/>
              </a:ext>
            </a:extLst>
          </p:cNvPr>
          <p:cNvSpPr/>
          <p:nvPr/>
        </p:nvSpPr>
        <p:spPr>
          <a:xfrm>
            <a:off x="0" y="0"/>
            <a:ext cx="12192000" cy="3810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solidFill>
                <a:schemeClr val="bg1"/>
              </a:solidFill>
            </a:endParaRPr>
          </a:p>
        </p:txBody>
      </p:sp>
      <p:sp>
        <p:nvSpPr>
          <p:cNvPr id="2" name="Title 1">
            <a:extLst>
              <a:ext uri="{FF2B5EF4-FFF2-40B4-BE49-F238E27FC236}">
                <a16:creationId xmlns:a16="http://schemas.microsoft.com/office/drawing/2014/main" id="{D922CA66-7408-CA5B-7EAD-6C36A01B53B5}"/>
              </a:ext>
            </a:extLst>
          </p:cNvPr>
          <p:cNvSpPr>
            <a:spLocks noGrp="1"/>
          </p:cNvSpPr>
          <p:nvPr>
            <p:ph type="title"/>
          </p:nvPr>
        </p:nvSpPr>
        <p:spPr>
          <a:xfrm>
            <a:off x="838200" y="3434898"/>
            <a:ext cx="10515600" cy="816904"/>
          </a:xfrm>
          <a:solidFill>
            <a:schemeClr val="bg1"/>
          </a:solidFill>
        </p:spPr>
        <p:txBody>
          <a:bodyPr lIns="180000"/>
          <a:lstStyle/>
          <a:p>
            <a:r>
              <a:rPr lang="en-US"/>
              <a:t>Click to edit Master title style</a:t>
            </a:r>
            <a:endParaRPr lang="en-IE"/>
          </a:p>
        </p:txBody>
      </p:sp>
      <p:sp>
        <p:nvSpPr>
          <p:cNvPr id="7" name="Content Placeholder 6">
            <a:extLst>
              <a:ext uri="{FF2B5EF4-FFF2-40B4-BE49-F238E27FC236}">
                <a16:creationId xmlns:a16="http://schemas.microsoft.com/office/drawing/2014/main" id="{CA90F452-4E6C-2A2B-2B9D-88A3D16A05C1}"/>
              </a:ext>
            </a:extLst>
          </p:cNvPr>
          <p:cNvSpPr>
            <a:spLocks noGrp="1"/>
          </p:cNvSpPr>
          <p:nvPr>
            <p:ph sz="quarter" idx="11"/>
          </p:nvPr>
        </p:nvSpPr>
        <p:spPr>
          <a:xfrm>
            <a:off x="838200" y="4441825"/>
            <a:ext cx="10515600" cy="587375"/>
          </a:xfrm>
        </p:spPr>
        <p:txBody>
          <a:bodyPr>
            <a:noAutofit/>
          </a:bodyPr>
          <a:lstStyle>
            <a:lvl1pPr marL="0" indent="0">
              <a:buNone/>
              <a:defRPr sz="2000"/>
            </a:lvl1pPr>
          </a:lstStyle>
          <a:p>
            <a:pPr lvl="0"/>
            <a:r>
              <a:rPr lang="en-US"/>
              <a:t>Click to edit Master text styles</a:t>
            </a:r>
          </a:p>
        </p:txBody>
      </p:sp>
    </p:spTree>
    <p:extLst>
      <p:ext uri="{BB962C8B-B14F-4D97-AF65-F5344CB8AC3E}">
        <p14:creationId xmlns:p14="http://schemas.microsoft.com/office/powerpoint/2010/main" val="94506540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Chapter page option 3">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8D58619-8012-9B7D-9C59-16671B374575}"/>
              </a:ext>
            </a:extLst>
          </p:cNvPr>
          <p:cNvSpPr/>
          <p:nvPr userDrawn="1"/>
        </p:nvSpPr>
        <p:spPr>
          <a:xfrm>
            <a:off x="0" y="0"/>
            <a:ext cx="12192000" cy="3810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 name="Slide Number Placeholder 2">
            <a:extLst>
              <a:ext uri="{FF2B5EF4-FFF2-40B4-BE49-F238E27FC236}">
                <a16:creationId xmlns:a16="http://schemas.microsoft.com/office/drawing/2014/main" id="{E92597A6-449C-FD56-6361-6B67C1420435}"/>
              </a:ext>
            </a:extLst>
          </p:cNvPr>
          <p:cNvSpPr>
            <a:spLocks noGrp="1"/>
          </p:cNvSpPr>
          <p:nvPr>
            <p:ph type="sldNum" sz="quarter" idx="10"/>
          </p:nvPr>
        </p:nvSpPr>
        <p:spPr/>
        <p:txBody>
          <a:bodyPr/>
          <a:lstStyle/>
          <a:p>
            <a:pPr algn="l"/>
            <a:fld id="{768364BB-9B21-4D29-A19C-C6410F652861}" type="slidenum">
              <a:rPr lang="en-IE" smtClean="0"/>
              <a:pPr algn="l"/>
              <a:t>‹#›</a:t>
            </a:fld>
            <a:endParaRPr lang="en-IE"/>
          </a:p>
        </p:txBody>
      </p:sp>
      <p:sp>
        <p:nvSpPr>
          <p:cNvPr id="4" name="Rectangle 3">
            <a:extLst>
              <a:ext uri="{FF2B5EF4-FFF2-40B4-BE49-F238E27FC236}">
                <a16:creationId xmlns:a16="http://schemas.microsoft.com/office/drawing/2014/main" id="{EE1DFA4B-D09C-D3C7-CF14-10151C0BAF5D}"/>
              </a:ext>
            </a:extLst>
          </p:cNvPr>
          <p:cNvSpPr/>
          <p:nvPr/>
        </p:nvSpPr>
        <p:spPr>
          <a:xfrm>
            <a:off x="0" y="0"/>
            <a:ext cx="12192000" cy="3810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 name="Title 1">
            <a:extLst>
              <a:ext uri="{FF2B5EF4-FFF2-40B4-BE49-F238E27FC236}">
                <a16:creationId xmlns:a16="http://schemas.microsoft.com/office/drawing/2014/main" id="{D922CA66-7408-CA5B-7EAD-6C36A01B53B5}"/>
              </a:ext>
            </a:extLst>
          </p:cNvPr>
          <p:cNvSpPr>
            <a:spLocks noGrp="1"/>
          </p:cNvSpPr>
          <p:nvPr>
            <p:ph type="title"/>
          </p:nvPr>
        </p:nvSpPr>
        <p:spPr>
          <a:xfrm>
            <a:off x="838200" y="3434898"/>
            <a:ext cx="10515600" cy="816904"/>
          </a:xfrm>
          <a:solidFill>
            <a:schemeClr val="bg1"/>
          </a:solidFill>
        </p:spPr>
        <p:txBody>
          <a:bodyPr lIns="180000"/>
          <a:lstStyle/>
          <a:p>
            <a:r>
              <a:rPr lang="en-US"/>
              <a:t>Click to edit Master title style</a:t>
            </a:r>
            <a:endParaRPr lang="en-IE"/>
          </a:p>
        </p:txBody>
      </p:sp>
      <p:sp>
        <p:nvSpPr>
          <p:cNvPr id="7" name="Content Placeholder 6">
            <a:extLst>
              <a:ext uri="{FF2B5EF4-FFF2-40B4-BE49-F238E27FC236}">
                <a16:creationId xmlns:a16="http://schemas.microsoft.com/office/drawing/2014/main" id="{CA90F452-4E6C-2A2B-2B9D-88A3D16A05C1}"/>
              </a:ext>
            </a:extLst>
          </p:cNvPr>
          <p:cNvSpPr>
            <a:spLocks noGrp="1"/>
          </p:cNvSpPr>
          <p:nvPr>
            <p:ph sz="quarter" idx="11"/>
          </p:nvPr>
        </p:nvSpPr>
        <p:spPr>
          <a:xfrm>
            <a:off x="838200" y="4441825"/>
            <a:ext cx="10515600" cy="587375"/>
          </a:xfrm>
        </p:spPr>
        <p:txBody>
          <a:bodyPr>
            <a:noAutofit/>
          </a:bodyPr>
          <a:lstStyle>
            <a:lvl1pPr marL="0" indent="0">
              <a:buNone/>
              <a:defRPr sz="2000"/>
            </a:lvl1pPr>
          </a:lstStyle>
          <a:p>
            <a:pPr lvl="0"/>
            <a:r>
              <a:rPr lang="en-US"/>
              <a:t>Click to edit Master text styles</a:t>
            </a:r>
          </a:p>
        </p:txBody>
      </p:sp>
    </p:spTree>
    <p:extLst>
      <p:ext uri="{BB962C8B-B14F-4D97-AF65-F5344CB8AC3E}">
        <p14:creationId xmlns:p14="http://schemas.microsoft.com/office/powerpoint/2010/main" val="427763679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Chapter page option 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145A3C0-5810-CECB-04D1-E370BADB2EE8}"/>
              </a:ext>
            </a:extLst>
          </p:cNvPr>
          <p:cNvSpPr/>
          <p:nvPr userDrawn="1"/>
        </p:nvSpPr>
        <p:spPr>
          <a:xfrm flipV="1">
            <a:off x="0" y="1861457"/>
            <a:ext cx="12192000" cy="4996543"/>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 name="Rectangle 3">
            <a:extLst>
              <a:ext uri="{FF2B5EF4-FFF2-40B4-BE49-F238E27FC236}">
                <a16:creationId xmlns:a16="http://schemas.microsoft.com/office/drawing/2014/main" id="{EE1DFA4B-D09C-D3C7-CF14-10151C0BAF5D}"/>
              </a:ext>
            </a:extLst>
          </p:cNvPr>
          <p:cNvSpPr/>
          <p:nvPr/>
        </p:nvSpPr>
        <p:spPr>
          <a:xfrm flipV="1">
            <a:off x="0" y="1861457"/>
            <a:ext cx="12192000" cy="4996543"/>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 name="Slide Number Placeholder 2">
            <a:extLst>
              <a:ext uri="{FF2B5EF4-FFF2-40B4-BE49-F238E27FC236}">
                <a16:creationId xmlns:a16="http://schemas.microsoft.com/office/drawing/2014/main" id="{E92597A6-449C-FD56-6361-6B67C1420435}"/>
              </a:ext>
            </a:extLst>
          </p:cNvPr>
          <p:cNvSpPr>
            <a:spLocks noGrp="1"/>
          </p:cNvSpPr>
          <p:nvPr>
            <p:ph type="sldNum" sz="quarter" idx="10"/>
          </p:nvPr>
        </p:nvSpPr>
        <p:spPr/>
        <p:txBody>
          <a:bodyPr/>
          <a:lstStyle>
            <a:lvl1pPr>
              <a:defRPr>
                <a:solidFill>
                  <a:schemeClr val="bg1"/>
                </a:solidFill>
              </a:defRPr>
            </a:lvl1pPr>
          </a:lstStyle>
          <a:p>
            <a:pPr algn="l"/>
            <a:fld id="{768364BB-9B21-4D29-A19C-C6410F652861}" type="slidenum">
              <a:rPr lang="en-IE" smtClean="0"/>
              <a:pPr algn="l"/>
              <a:t>‹#›</a:t>
            </a:fld>
            <a:endParaRPr lang="en-IE"/>
          </a:p>
        </p:txBody>
      </p:sp>
      <p:sp>
        <p:nvSpPr>
          <p:cNvPr id="2" name="Title 1">
            <a:extLst>
              <a:ext uri="{FF2B5EF4-FFF2-40B4-BE49-F238E27FC236}">
                <a16:creationId xmlns:a16="http://schemas.microsoft.com/office/drawing/2014/main" id="{D922CA66-7408-CA5B-7EAD-6C36A01B53B5}"/>
              </a:ext>
            </a:extLst>
          </p:cNvPr>
          <p:cNvSpPr>
            <a:spLocks noGrp="1"/>
          </p:cNvSpPr>
          <p:nvPr>
            <p:ph type="title"/>
          </p:nvPr>
        </p:nvSpPr>
        <p:spPr>
          <a:xfrm>
            <a:off x="838200" y="1410155"/>
            <a:ext cx="10515600" cy="816904"/>
          </a:xfrm>
          <a:solidFill>
            <a:schemeClr val="bg1"/>
          </a:solidFill>
        </p:spPr>
        <p:txBody>
          <a:bodyPr lIns="180000" tIns="144000" rIns="144000" bIns="144000" anchor="ctr"/>
          <a:lstStyle/>
          <a:p>
            <a:r>
              <a:rPr lang="en-US"/>
              <a:t>Click to edit Master title style</a:t>
            </a:r>
            <a:endParaRPr lang="en-IE"/>
          </a:p>
        </p:txBody>
      </p:sp>
      <p:sp>
        <p:nvSpPr>
          <p:cNvPr id="7" name="Content Placeholder 6">
            <a:extLst>
              <a:ext uri="{FF2B5EF4-FFF2-40B4-BE49-F238E27FC236}">
                <a16:creationId xmlns:a16="http://schemas.microsoft.com/office/drawing/2014/main" id="{CA90F452-4E6C-2A2B-2B9D-88A3D16A05C1}"/>
              </a:ext>
            </a:extLst>
          </p:cNvPr>
          <p:cNvSpPr>
            <a:spLocks noGrp="1"/>
          </p:cNvSpPr>
          <p:nvPr>
            <p:ph sz="quarter" idx="11"/>
          </p:nvPr>
        </p:nvSpPr>
        <p:spPr>
          <a:xfrm>
            <a:off x="838200" y="2482397"/>
            <a:ext cx="10515600" cy="587375"/>
          </a:xfrm>
        </p:spPr>
        <p:txBody>
          <a:bodyPr>
            <a:noAutofit/>
          </a:bodyPr>
          <a:lstStyle>
            <a:lvl1pPr marL="0" indent="0">
              <a:buNone/>
              <a:defRPr sz="2000">
                <a:solidFill>
                  <a:schemeClr val="bg1"/>
                </a:solidFill>
              </a:defRPr>
            </a:lvl1pPr>
          </a:lstStyle>
          <a:p>
            <a:pPr lvl="0"/>
            <a:r>
              <a:rPr lang="en-US"/>
              <a:t>Click to edit Master text styles</a:t>
            </a:r>
          </a:p>
        </p:txBody>
      </p:sp>
      <p:pic>
        <p:nvPicPr>
          <p:cNvPr id="9" name="Picture 8" descr="A blue flag with yellow stars and stripes&#10;&#10;Description automatically generated">
            <a:extLst>
              <a:ext uri="{FF2B5EF4-FFF2-40B4-BE49-F238E27FC236}">
                <a16:creationId xmlns:a16="http://schemas.microsoft.com/office/drawing/2014/main" id="{9BD178DF-B2B3-E383-43AA-D54BBF22737D}"/>
              </a:ext>
            </a:extLst>
          </p:cNvPr>
          <p:cNvPicPr>
            <a:picLocks noChangeAspect="1"/>
          </p:cNvPicPr>
          <p:nvPr/>
        </p:nvPicPr>
        <p:blipFill>
          <a:blip r:embed="rId2"/>
          <a:stretch>
            <a:fillRect/>
          </a:stretch>
        </p:blipFill>
        <p:spPr>
          <a:xfrm>
            <a:off x="10725768" y="5901016"/>
            <a:ext cx="1257867" cy="763200"/>
          </a:xfrm>
          <a:prstGeom prst="rect">
            <a:avLst/>
          </a:prstGeom>
        </p:spPr>
      </p:pic>
      <p:pic>
        <p:nvPicPr>
          <p:cNvPr id="6" name="Picture 5" descr="A blue flag with yellow stars and stripes&#10;&#10;Description automatically generated">
            <a:extLst>
              <a:ext uri="{FF2B5EF4-FFF2-40B4-BE49-F238E27FC236}">
                <a16:creationId xmlns:a16="http://schemas.microsoft.com/office/drawing/2014/main" id="{9C194F48-423C-93CB-1A61-CE12CAB5B444}"/>
              </a:ext>
            </a:extLst>
          </p:cNvPr>
          <p:cNvPicPr>
            <a:picLocks noChangeAspect="1"/>
          </p:cNvPicPr>
          <p:nvPr userDrawn="1"/>
        </p:nvPicPr>
        <p:blipFill>
          <a:blip r:embed="rId2"/>
          <a:stretch>
            <a:fillRect/>
          </a:stretch>
        </p:blipFill>
        <p:spPr>
          <a:xfrm>
            <a:off x="10725768" y="5901016"/>
            <a:ext cx="1257867" cy="763200"/>
          </a:xfrm>
          <a:prstGeom prst="rect">
            <a:avLst/>
          </a:prstGeom>
        </p:spPr>
      </p:pic>
    </p:spTree>
    <p:extLst>
      <p:ext uri="{BB962C8B-B14F-4D97-AF65-F5344CB8AC3E}">
        <p14:creationId xmlns:p14="http://schemas.microsoft.com/office/powerpoint/2010/main" val="344783613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Chapter page option 5">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9526B31-D383-5ABA-08B1-8097743DECE0}"/>
              </a:ext>
            </a:extLst>
          </p:cNvPr>
          <p:cNvSpPr/>
          <p:nvPr userDrawn="1"/>
        </p:nvSpPr>
        <p:spPr>
          <a:xfrm flipV="1">
            <a:off x="0" y="1861457"/>
            <a:ext cx="12192000" cy="499654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 name="Rectangle 3">
            <a:extLst>
              <a:ext uri="{FF2B5EF4-FFF2-40B4-BE49-F238E27FC236}">
                <a16:creationId xmlns:a16="http://schemas.microsoft.com/office/drawing/2014/main" id="{EE1DFA4B-D09C-D3C7-CF14-10151C0BAF5D}"/>
              </a:ext>
            </a:extLst>
          </p:cNvPr>
          <p:cNvSpPr/>
          <p:nvPr/>
        </p:nvSpPr>
        <p:spPr>
          <a:xfrm flipV="1">
            <a:off x="0" y="1861457"/>
            <a:ext cx="12192000" cy="499654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 name="Slide Number Placeholder 2">
            <a:extLst>
              <a:ext uri="{FF2B5EF4-FFF2-40B4-BE49-F238E27FC236}">
                <a16:creationId xmlns:a16="http://schemas.microsoft.com/office/drawing/2014/main" id="{E92597A6-449C-FD56-6361-6B67C1420435}"/>
              </a:ext>
            </a:extLst>
          </p:cNvPr>
          <p:cNvSpPr>
            <a:spLocks noGrp="1"/>
          </p:cNvSpPr>
          <p:nvPr>
            <p:ph type="sldNum" sz="quarter" idx="10"/>
          </p:nvPr>
        </p:nvSpPr>
        <p:spPr/>
        <p:txBody>
          <a:bodyPr/>
          <a:lstStyle>
            <a:lvl1pPr>
              <a:defRPr>
                <a:solidFill>
                  <a:schemeClr val="tx1"/>
                </a:solidFill>
              </a:defRPr>
            </a:lvl1pPr>
          </a:lstStyle>
          <a:p>
            <a:pPr algn="l"/>
            <a:fld id="{768364BB-9B21-4D29-A19C-C6410F652861}" type="slidenum">
              <a:rPr lang="en-IE" smtClean="0"/>
              <a:pPr algn="l"/>
              <a:t>‹#›</a:t>
            </a:fld>
            <a:endParaRPr lang="en-IE"/>
          </a:p>
        </p:txBody>
      </p:sp>
      <p:sp>
        <p:nvSpPr>
          <p:cNvPr id="2" name="Title 1">
            <a:extLst>
              <a:ext uri="{FF2B5EF4-FFF2-40B4-BE49-F238E27FC236}">
                <a16:creationId xmlns:a16="http://schemas.microsoft.com/office/drawing/2014/main" id="{D922CA66-7408-CA5B-7EAD-6C36A01B53B5}"/>
              </a:ext>
            </a:extLst>
          </p:cNvPr>
          <p:cNvSpPr>
            <a:spLocks noGrp="1"/>
          </p:cNvSpPr>
          <p:nvPr>
            <p:ph type="title"/>
          </p:nvPr>
        </p:nvSpPr>
        <p:spPr>
          <a:xfrm>
            <a:off x="838200" y="1410155"/>
            <a:ext cx="10515600" cy="816904"/>
          </a:xfrm>
          <a:solidFill>
            <a:schemeClr val="bg1"/>
          </a:solidFill>
        </p:spPr>
        <p:txBody>
          <a:bodyPr lIns="180000"/>
          <a:lstStyle/>
          <a:p>
            <a:r>
              <a:rPr lang="en-US"/>
              <a:t>Click to edit Master title style</a:t>
            </a:r>
            <a:endParaRPr lang="en-IE"/>
          </a:p>
        </p:txBody>
      </p:sp>
      <p:sp>
        <p:nvSpPr>
          <p:cNvPr id="7" name="Content Placeholder 6">
            <a:extLst>
              <a:ext uri="{FF2B5EF4-FFF2-40B4-BE49-F238E27FC236}">
                <a16:creationId xmlns:a16="http://schemas.microsoft.com/office/drawing/2014/main" id="{CA90F452-4E6C-2A2B-2B9D-88A3D16A05C1}"/>
              </a:ext>
            </a:extLst>
          </p:cNvPr>
          <p:cNvSpPr>
            <a:spLocks noGrp="1"/>
          </p:cNvSpPr>
          <p:nvPr>
            <p:ph sz="quarter" idx="11"/>
          </p:nvPr>
        </p:nvSpPr>
        <p:spPr>
          <a:xfrm>
            <a:off x="838200" y="2482397"/>
            <a:ext cx="10515600" cy="587375"/>
          </a:xfrm>
        </p:spPr>
        <p:txBody>
          <a:bodyPr>
            <a:noAutofit/>
          </a:bodyPr>
          <a:lstStyle>
            <a:lvl1pPr marL="0" indent="0">
              <a:buNone/>
              <a:defRPr sz="2000">
                <a:solidFill>
                  <a:schemeClr val="tx2"/>
                </a:solidFill>
              </a:defRPr>
            </a:lvl1pPr>
          </a:lstStyle>
          <a:p>
            <a:pPr lvl="0"/>
            <a:r>
              <a:rPr lang="en-US"/>
              <a:t>Click to edit Master text styles</a:t>
            </a:r>
          </a:p>
        </p:txBody>
      </p:sp>
      <p:pic>
        <p:nvPicPr>
          <p:cNvPr id="5" name="Picture 4" descr="A blue flag with yellow stars&#10;&#10;Description automatically generated">
            <a:extLst>
              <a:ext uri="{FF2B5EF4-FFF2-40B4-BE49-F238E27FC236}">
                <a16:creationId xmlns:a16="http://schemas.microsoft.com/office/drawing/2014/main" id="{D7151F52-9DDF-CEC4-58EC-587B7A1D7791}"/>
              </a:ext>
            </a:extLst>
          </p:cNvPr>
          <p:cNvPicPr>
            <a:picLocks noChangeAspect="1"/>
          </p:cNvPicPr>
          <p:nvPr/>
        </p:nvPicPr>
        <p:blipFill>
          <a:blip r:embed="rId2"/>
          <a:stretch>
            <a:fillRect/>
          </a:stretch>
        </p:blipFill>
        <p:spPr>
          <a:xfrm>
            <a:off x="10725768" y="5901016"/>
            <a:ext cx="1256063" cy="762106"/>
          </a:xfrm>
          <a:prstGeom prst="rect">
            <a:avLst/>
          </a:prstGeom>
        </p:spPr>
      </p:pic>
      <p:pic>
        <p:nvPicPr>
          <p:cNvPr id="8" name="Picture 7" descr="A blue flag with yellow stars&#10;&#10;Description automatically generated">
            <a:extLst>
              <a:ext uri="{FF2B5EF4-FFF2-40B4-BE49-F238E27FC236}">
                <a16:creationId xmlns:a16="http://schemas.microsoft.com/office/drawing/2014/main" id="{8B94F84F-1590-9DE6-C3AC-9FBA58E40EFC}"/>
              </a:ext>
            </a:extLst>
          </p:cNvPr>
          <p:cNvPicPr>
            <a:picLocks noChangeAspect="1"/>
          </p:cNvPicPr>
          <p:nvPr userDrawn="1"/>
        </p:nvPicPr>
        <p:blipFill>
          <a:blip r:embed="rId2"/>
          <a:stretch>
            <a:fillRect/>
          </a:stretch>
        </p:blipFill>
        <p:spPr>
          <a:xfrm>
            <a:off x="10725768" y="5901016"/>
            <a:ext cx="1256063" cy="762106"/>
          </a:xfrm>
          <a:prstGeom prst="rect">
            <a:avLst/>
          </a:prstGeom>
        </p:spPr>
      </p:pic>
    </p:spTree>
    <p:extLst>
      <p:ext uri="{BB962C8B-B14F-4D97-AF65-F5344CB8AC3E}">
        <p14:creationId xmlns:p14="http://schemas.microsoft.com/office/powerpoint/2010/main" val="7657181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Rectangle 4"/>
          <p:cNvSpPr/>
          <p:nvPr userDrawn="1"/>
        </p:nvSpPr>
        <p:spPr>
          <a:xfrm>
            <a:off x="0" y="6281738"/>
            <a:ext cx="12192000" cy="576262"/>
          </a:xfrm>
          <a:prstGeom prst="rect">
            <a:avLst/>
          </a:prstGeom>
          <a:solidFill>
            <a:schemeClr val="tx2"/>
          </a:solidFill>
          <a:ln>
            <a:noFill/>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eaLnBrk="1" fontAlgn="auto" hangingPunct="1">
              <a:spcBef>
                <a:spcPts val="0"/>
              </a:spcBef>
              <a:spcAft>
                <a:spcPts val="0"/>
              </a:spcAft>
              <a:defRPr/>
            </a:pPr>
            <a:endParaRPr lang="x-none"/>
          </a:p>
        </p:txBody>
      </p:sp>
      <p:sp>
        <p:nvSpPr>
          <p:cNvPr id="2" name="Title 1"/>
          <p:cNvSpPr>
            <a:spLocks noGrp="1"/>
          </p:cNvSpPr>
          <p:nvPr>
            <p:ph type="title"/>
          </p:nvPr>
        </p:nvSpPr>
        <p:spPr/>
        <p:txBody>
          <a:bodyPr/>
          <a:lstStyle>
            <a:lvl1pPr>
              <a:defRPr>
                <a:solidFill>
                  <a:schemeClr val="tx1"/>
                </a:solidFill>
              </a:defRPr>
            </a:lvl1pPr>
          </a:lstStyle>
          <a:p>
            <a:r>
              <a:rPr lang="nl-NL"/>
              <a:t>Klik om de stijl te bewerken</a:t>
            </a:r>
            <a:endParaRPr lang="en-US" dirty="0"/>
          </a:p>
        </p:txBody>
      </p:sp>
      <p:sp>
        <p:nvSpPr>
          <p:cNvPr id="8" name="Content Placeholder 2"/>
          <p:cNvSpPr>
            <a:spLocks noGrp="1"/>
          </p:cNvSpPr>
          <p:nvPr>
            <p:ph idx="1"/>
          </p:nvPr>
        </p:nvSpPr>
        <p:spPr>
          <a:xfrm>
            <a:off x="2780270" y="1430209"/>
            <a:ext cx="8734362" cy="4351338"/>
          </a:xfrm>
        </p:spPr>
        <p:txBody>
          <a:bodyPr/>
          <a:lstStyle>
            <a:lvl1pPr marL="342900" indent="-342900">
              <a:buClr>
                <a:schemeClr val="tx2"/>
              </a:buClr>
              <a:buFont typeface="Wingdings" pitchFamily="2" charset="2"/>
              <a:buChar char="§"/>
              <a:defRPr b="1"/>
            </a:lvl1pPr>
            <a:lvl2pPr marL="457200" indent="0">
              <a:buNone/>
              <a:defRPr/>
            </a:lvl2pPr>
            <a:lvl3pPr marL="914400" indent="0">
              <a:buNone/>
              <a:defRPr/>
            </a:lvl3pPr>
            <a:lvl4pPr marL="1371600" indent="0">
              <a:buNone/>
              <a:defRPr/>
            </a:lvl4pPr>
            <a:lvl5pPr marL="1828800" indent="0">
              <a:buNone/>
              <a:defRPr/>
            </a:lvl5pPr>
          </a:lstStyle>
          <a:p>
            <a:pPr lvl="0"/>
            <a:r>
              <a:rPr lang="nl-NL"/>
              <a:t>Klik om de modelstijlen te bewerken</a:t>
            </a:r>
          </a:p>
          <a:p>
            <a:pPr lvl="1"/>
            <a:r>
              <a:rPr lang="nl-NL"/>
              <a:t>Tweede niveau</a:t>
            </a:r>
          </a:p>
          <a:p>
            <a:pPr lvl="2"/>
            <a:r>
              <a:rPr lang="nl-NL"/>
              <a:t>Derde niveau</a:t>
            </a:r>
          </a:p>
        </p:txBody>
      </p:sp>
      <p:sp>
        <p:nvSpPr>
          <p:cNvPr id="5" name="Slide Number Placeholder 5"/>
          <p:cNvSpPr>
            <a:spLocks noGrp="1"/>
          </p:cNvSpPr>
          <p:nvPr>
            <p:ph type="sldNum" sz="quarter" idx="10"/>
          </p:nvPr>
        </p:nvSpPr>
        <p:spPr/>
        <p:txBody>
          <a:bodyPr/>
          <a:lstStyle>
            <a:lvl1pPr>
              <a:defRPr>
                <a:solidFill>
                  <a:schemeClr val="bg1"/>
                </a:solidFill>
              </a:defRPr>
            </a:lvl1pPr>
          </a:lstStyle>
          <a:p>
            <a:pPr>
              <a:defRPr/>
            </a:pPr>
            <a:fld id="{ACEB6D7F-F02D-4BAC-A1C1-72BFF6340D7F}" type="slidenum">
              <a:rPr lang="nl-NL" altLang="nl-NL"/>
              <a:pPr>
                <a:defRPr/>
              </a:pPr>
              <a:t>‹#›</a:t>
            </a:fld>
            <a:endParaRPr lang="nl-NL" altLang="nl-NL"/>
          </a:p>
        </p:txBody>
      </p:sp>
    </p:spTree>
    <p:extLst>
      <p:ext uri="{BB962C8B-B14F-4D97-AF65-F5344CB8AC3E}">
        <p14:creationId xmlns:p14="http://schemas.microsoft.com/office/powerpoint/2010/main" val="203424414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and body text on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a:solidFill>
            <a:schemeClr val="bg1"/>
          </a:solidFill>
        </p:spPr>
        <p:txBody>
          <a:bodyPr/>
          <a:lstStyle/>
          <a:p>
            <a:r>
              <a:rPr lang="en-US"/>
              <a:t>Click to edit Master title style</a:t>
            </a:r>
            <a:endParaRPr lang="en-IE"/>
          </a:p>
        </p:txBody>
      </p:sp>
      <p:sp>
        <p:nvSpPr>
          <p:cNvPr id="7" name="Text Placeholder 2">
            <a:extLst>
              <a:ext uri="{FF2B5EF4-FFF2-40B4-BE49-F238E27FC236}">
                <a16:creationId xmlns:a16="http://schemas.microsoft.com/office/drawing/2014/main" id="{ABBD8A8F-01F7-069C-2D69-AFCA2F78DFC9}"/>
              </a:ext>
            </a:extLst>
          </p:cNvPr>
          <p:cNvSpPr>
            <a:spLocks noGrp="1"/>
          </p:cNvSpPr>
          <p:nvPr>
            <p:ph idx="1"/>
          </p:nvPr>
        </p:nvSpPr>
        <p:spPr>
          <a:xfrm>
            <a:off x="838200" y="1825625"/>
            <a:ext cx="10515600" cy="3638473"/>
          </a:xfrm>
          <a:prstGeom prst="rect">
            <a:avLst/>
          </a:prstGeom>
        </p:spPr>
        <p:txBody>
          <a:bodyPr vert="horz" lIns="144000" tIns="144000" rIns="144000" bIns="144000" rtlCol="0">
            <a:noAutofit/>
          </a:bodyPr>
          <a:lstStyle>
            <a:lvl1pPr marL="0" indent="0">
              <a:buNone/>
              <a:defRPr sz="2000"/>
            </a:lvl1pPr>
          </a:lstStyle>
          <a:p>
            <a:pPr lvl="0"/>
            <a:r>
              <a:rPr lang="en-US"/>
              <a:t>Click to edit Master text styles</a:t>
            </a:r>
          </a:p>
        </p:txBody>
      </p:sp>
      <p:sp>
        <p:nvSpPr>
          <p:cNvPr id="3" name="Slide Number Placeholder 5">
            <a:extLst>
              <a:ext uri="{FF2B5EF4-FFF2-40B4-BE49-F238E27FC236}">
                <a16:creationId xmlns:a16="http://schemas.microsoft.com/office/drawing/2014/main" id="{487499CD-21D1-84C4-7FD1-F33A396395B0}"/>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tx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150776243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nd body text and bullet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p:txBody>
          <a:bodyPr/>
          <a:lstStyle/>
          <a:p>
            <a:r>
              <a:rPr lang="en-US"/>
              <a:t>Click to edit Master title style</a:t>
            </a:r>
            <a:endParaRPr lang="en-IE"/>
          </a:p>
        </p:txBody>
      </p:sp>
      <p:sp>
        <p:nvSpPr>
          <p:cNvPr id="6" name="Text Placeholder 2">
            <a:extLst>
              <a:ext uri="{FF2B5EF4-FFF2-40B4-BE49-F238E27FC236}">
                <a16:creationId xmlns:a16="http://schemas.microsoft.com/office/drawing/2014/main" id="{509BE7C2-2602-0313-8D83-EAB1C755A713}"/>
              </a:ext>
            </a:extLst>
          </p:cNvPr>
          <p:cNvSpPr>
            <a:spLocks noGrp="1"/>
          </p:cNvSpPr>
          <p:nvPr>
            <p:ph idx="1"/>
          </p:nvPr>
        </p:nvSpPr>
        <p:spPr>
          <a:xfrm>
            <a:off x="838200" y="1825625"/>
            <a:ext cx="10515600" cy="3638473"/>
          </a:xfrm>
          <a:prstGeom prst="rect">
            <a:avLst/>
          </a:prstGeom>
        </p:spPr>
        <p:txBody>
          <a:bodyPr vert="horz" lIns="144000" tIns="144000" rIns="144000" bIns="144000" rtlCol="0">
            <a:noAutofit/>
          </a:bodyPr>
          <a:lstStyle>
            <a:lvl1pPr marL="342900" indent="-342900">
              <a:buClr>
                <a:schemeClr val="tx2"/>
              </a:buClr>
              <a:buSzPct val="150000"/>
              <a:buFont typeface="Arial" panose="020B0604020202020204" pitchFamily="34" charset="0"/>
              <a:buChar char="•"/>
              <a:defRPr sz="2000"/>
            </a:lvl1pPr>
            <a:lvl2pPr>
              <a:buClr>
                <a:schemeClr val="tx2"/>
              </a:buClr>
              <a:buSzPct val="100000"/>
              <a:defRPr sz="1800"/>
            </a:lvl2pPr>
            <a:lvl3pPr>
              <a:buClr>
                <a:schemeClr val="tx2"/>
              </a:buClr>
              <a:defRPr sz="1600"/>
            </a:lvl3pPr>
            <a:lvl4pPr>
              <a:buClr>
                <a:schemeClr val="tx2"/>
              </a:buClr>
              <a:defRPr sz="1400"/>
            </a:lvl4pPr>
          </a:lstStyle>
          <a:p>
            <a:pPr lvl="0"/>
            <a:r>
              <a:rPr lang="en-US"/>
              <a:t>Click to edit Master text styles</a:t>
            </a:r>
          </a:p>
          <a:p>
            <a:pPr lvl="1"/>
            <a:r>
              <a:rPr lang="en-US"/>
              <a:t>Second level</a:t>
            </a:r>
          </a:p>
          <a:p>
            <a:pPr lvl="2"/>
            <a:r>
              <a:rPr lang="en-US"/>
              <a:t>Third level</a:t>
            </a:r>
          </a:p>
        </p:txBody>
      </p:sp>
      <p:sp>
        <p:nvSpPr>
          <p:cNvPr id="3" name="Slide Number Placeholder 5">
            <a:extLst>
              <a:ext uri="{FF2B5EF4-FFF2-40B4-BE49-F238E27FC236}">
                <a16:creationId xmlns:a16="http://schemas.microsoft.com/office/drawing/2014/main" id="{5D43C2E6-DFE0-78B7-AEF2-E94F28383CAA}"/>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tx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103678876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and body text two columns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833F6E74-65E4-088E-A627-F5CBCB9E0FAA}"/>
              </a:ext>
            </a:extLst>
          </p:cNvPr>
          <p:cNvSpPr>
            <a:spLocks noGrp="1"/>
          </p:cNvSpPr>
          <p:nvPr>
            <p:ph sz="half" idx="1"/>
          </p:nvPr>
        </p:nvSpPr>
        <p:spPr>
          <a:xfrm>
            <a:off x="838199" y="1989056"/>
            <a:ext cx="5019675" cy="3271102"/>
          </a:xfrm>
          <a:noFill/>
        </p:spPr>
        <p:txBody>
          <a:bodyPr lIns="144000" tIns="144000" rIns="144000" bIns="144000">
            <a:noAutofit/>
          </a:bodyPr>
          <a:lstStyle>
            <a:lvl1pPr marL="0" indent="0">
              <a:buNone/>
              <a:defRPr sz="2000">
                <a:solidFill>
                  <a:schemeClr val="tx1"/>
                </a:solidFill>
              </a:defRPr>
            </a:lvl1pPr>
          </a:lstStyle>
          <a:p>
            <a:pPr lvl="0"/>
            <a:r>
              <a:rPr lang="en-US"/>
              <a:t>Click to edit Master text styles</a:t>
            </a:r>
          </a:p>
        </p:txBody>
      </p:sp>
      <p:sp>
        <p:nvSpPr>
          <p:cNvPr id="6" name="Content Placeholder 2">
            <a:extLst>
              <a:ext uri="{FF2B5EF4-FFF2-40B4-BE49-F238E27FC236}">
                <a16:creationId xmlns:a16="http://schemas.microsoft.com/office/drawing/2014/main" id="{5F39DED1-43B7-A54B-D3D7-54792E535D26}"/>
              </a:ext>
            </a:extLst>
          </p:cNvPr>
          <p:cNvSpPr>
            <a:spLocks noGrp="1"/>
          </p:cNvSpPr>
          <p:nvPr>
            <p:ph sz="half" idx="10"/>
          </p:nvPr>
        </p:nvSpPr>
        <p:spPr>
          <a:xfrm>
            <a:off x="6334125" y="1989056"/>
            <a:ext cx="5019675" cy="3271102"/>
          </a:xfrm>
          <a:noFill/>
        </p:spPr>
        <p:txBody>
          <a:bodyPr lIns="144000" tIns="144000" rIns="144000" bIns="144000">
            <a:noAutofit/>
          </a:bodyPr>
          <a:lstStyle>
            <a:lvl1pPr marL="0" indent="0">
              <a:buNone/>
              <a:defRPr sz="2000">
                <a:solidFill>
                  <a:schemeClr val="tx1"/>
                </a:solidFill>
              </a:defRPr>
            </a:lvl1pPr>
          </a:lstStyle>
          <a:p>
            <a:pPr lvl="0"/>
            <a:r>
              <a:rPr lang="en-US"/>
              <a:t>Click to edit Master text styles</a:t>
            </a:r>
          </a:p>
        </p:txBody>
      </p:sp>
      <p:sp>
        <p:nvSpPr>
          <p:cNvPr id="4" name="Slide Number Placeholder 5">
            <a:extLst>
              <a:ext uri="{FF2B5EF4-FFF2-40B4-BE49-F238E27FC236}">
                <a16:creationId xmlns:a16="http://schemas.microsoft.com/office/drawing/2014/main" id="{B9416748-3994-A02A-B7BD-AC8272883D95}"/>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tx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74868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and body text two columns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833F6E74-65E4-088E-A627-F5CBCB9E0FAA}"/>
              </a:ext>
            </a:extLst>
          </p:cNvPr>
          <p:cNvSpPr>
            <a:spLocks noGrp="1"/>
          </p:cNvSpPr>
          <p:nvPr>
            <p:ph sz="half" idx="1"/>
          </p:nvPr>
        </p:nvSpPr>
        <p:spPr>
          <a:xfrm>
            <a:off x="838199" y="1989056"/>
            <a:ext cx="5019675" cy="3271102"/>
          </a:xfrm>
          <a:solidFill>
            <a:schemeClr val="tx2"/>
          </a:solidFill>
        </p:spPr>
        <p:txBody>
          <a:bodyPr lIns="144000" tIns="144000" rIns="144000" bIns="144000">
            <a:noAutofit/>
          </a:bodyPr>
          <a:lstStyle>
            <a:lvl1pPr marL="0" indent="0">
              <a:buNone/>
              <a:defRPr sz="2000">
                <a:solidFill>
                  <a:schemeClr val="bg1"/>
                </a:solidFill>
              </a:defRPr>
            </a:lvl1pPr>
          </a:lstStyle>
          <a:p>
            <a:pPr lvl="0"/>
            <a:r>
              <a:rPr lang="en-US"/>
              <a:t>Click to edit Master text styles</a:t>
            </a:r>
          </a:p>
        </p:txBody>
      </p:sp>
      <p:sp>
        <p:nvSpPr>
          <p:cNvPr id="5" name="Content Placeholder 2">
            <a:extLst>
              <a:ext uri="{FF2B5EF4-FFF2-40B4-BE49-F238E27FC236}">
                <a16:creationId xmlns:a16="http://schemas.microsoft.com/office/drawing/2014/main" id="{DC0E4D59-AF6A-8993-094A-5A4FED57EA37}"/>
              </a:ext>
            </a:extLst>
          </p:cNvPr>
          <p:cNvSpPr>
            <a:spLocks noGrp="1"/>
          </p:cNvSpPr>
          <p:nvPr>
            <p:ph sz="half" idx="10"/>
          </p:nvPr>
        </p:nvSpPr>
        <p:spPr>
          <a:xfrm>
            <a:off x="6334125" y="1989056"/>
            <a:ext cx="5019675" cy="3271102"/>
          </a:xfrm>
          <a:solidFill>
            <a:schemeClr val="tx2"/>
          </a:solidFill>
        </p:spPr>
        <p:txBody>
          <a:bodyPr lIns="144000" tIns="144000" rIns="144000" bIns="144000">
            <a:noAutofit/>
          </a:bodyPr>
          <a:lstStyle>
            <a:lvl1pPr marL="0" indent="0">
              <a:buNone/>
              <a:defRPr sz="2000">
                <a:solidFill>
                  <a:schemeClr val="bg1"/>
                </a:solidFill>
              </a:defRPr>
            </a:lvl1pPr>
          </a:lstStyle>
          <a:p>
            <a:pPr lvl="0"/>
            <a:r>
              <a:rPr lang="en-US"/>
              <a:t>Click to edit Master text styles</a:t>
            </a:r>
          </a:p>
        </p:txBody>
      </p:sp>
      <p:sp>
        <p:nvSpPr>
          <p:cNvPr id="4" name="Slide Number Placeholder 5">
            <a:extLst>
              <a:ext uri="{FF2B5EF4-FFF2-40B4-BE49-F238E27FC236}">
                <a16:creationId xmlns:a16="http://schemas.microsoft.com/office/drawing/2014/main" id="{8C3588F2-1E00-50BC-0820-CB663EE9719E}"/>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tx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410676961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and body text two columns with subtit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lstStyle/>
          <a:p>
            <a:r>
              <a:rPr lang="en-US"/>
              <a:t>Click to edit Master title style</a:t>
            </a:r>
            <a:endParaRPr lang="en-IE"/>
          </a:p>
        </p:txBody>
      </p:sp>
      <p:sp>
        <p:nvSpPr>
          <p:cNvPr id="4" name="Content Placeholder 2">
            <a:extLst>
              <a:ext uri="{FF2B5EF4-FFF2-40B4-BE49-F238E27FC236}">
                <a16:creationId xmlns:a16="http://schemas.microsoft.com/office/drawing/2014/main" id="{E0920A60-FD35-93DC-D952-15BAEF0C0BB5}"/>
              </a:ext>
            </a:extLst>
          </p:cNvPr>
          <p:cNvSpPr>
            <a:spLocks noGrp="1"/>
          </p:cNvSpPr>
          <p:nvPr>
            <p:ph sz="half" idx="15" hasCustomPrompt="1"/>
          </p:nvPr>
        </p:nvSpPr>
        <p:spPr>
          <a:xfrm>
            <a:off x="838200" y="2029022"/>
            <a:ext cx="5019674" cy="460375"/>
          </a:xfrm>
          <a:solidFill>
            <a:schemeClr val="tx2"/>
          </a:solidFill>
          <a:ln w="12700" cap="rnd">
            <a:noFill/>
            <a:round/>
          </a:ln>
        </p:spPr>
        <p:style>
          <a:lnRef idx="2">
            <a:schemeClr val="accent1"/>
          </a:lnRef>
          <a:fillRef idx="1">
            <a:schemeClr val="lt1"/>
          </a:fillRef>
          <a:effectRef idx="0">
            <a:schemeClr val="accent1"/>
          </a:effectRef>
          <a:fontRef idx="minor">
            <a:schemeClr val="dk1"/>
          </a:fontRef>
        </p:style>
        <p:txBody>
          <a:bodyPr lIns="72000" tIns="72000" rIns="72000" bIns="72000">
            <a:noAutofit/>
          </a:bodyPr>
          <a:lstStyle>
            <a:lvl1pPr marL="0" indent="0">
              <a:buNone/>
              <a:defRPr sz="2400" b="1">
                <a:solidFill>
                  <a:schemeClr val="bg1"/>
                </a:solidFill>
              </a:defRPr>
            </a:lvl1pPr>
          </a:lstStyle>
          <a:p>
            <a:pPr lvl="0"/>
            <a:r>
              <a:rPr lang="en-US"/>
              <a:t>Click to add subtitle</a:t>
            </a:r>
          </a:p>
        </p:txBody>
      </p:sp>
      <p:sp>
        <p:nvSpPr>
          <p:cNvPr id="3" name="Content Placeholder 2">
            <a:extLst>
              <a:ext uri="{FF2B5EF4-FFF2-40B4-BE49-F238E27FC236}">
                <a16:creationId xmlns:a16="http://schemas.microsoft.com/office/drawing/2014/main" id="{833F6E74-65E4-088E-A627-F5CBCB9E0FAA}"/>
              </a:ext>
            </a:extLst>
          </p:cNvPr>
          <p:cNvSpPr>
            <a:spLocks noGrp="1"/>
          </p:cNvSpPr>
          <p:nvPr>
            <p:ph sz="half" idx="1"/>
          </p:nvPr>
        </p:nvSpPr>
        <p:spPr>
          <a:xfrm>
            <a:off x="838199" y="2724150"/>
            <a:ext cx="5019675" cy="2536008"/>
          </a:xfrm>
          <a:noFill/>
        </p:spPr>
        <p:txBody>
          <a:bodyPr lIns="144000" tIns="144000" rIns="144000" bIns="144000">
            <a:noAutofit/>
          </a:bodyPr>
          <a:lstStyle>
            <a:lvl1pPr marL="0" indent="0">
              <a:buNone/>
              <a:defRPr sz="2000">
                <a:solidFill>
                  <a:schemeClr val="tx1"/>
                </a:solidFill>
              </a:defRPr>
            </a:lvl1pPr>
          </a:lstStyle>
          <a:p>
            <a:pPr lvl="0"/>
            <a:r>
              <a:rPr lang="en-US"/>
              <a:t>Click to edit Master text styles</a:t>
            </a:r>
          </a:p>
        </p:txBody>
      </p:sp>
      <p:sp>
        <p:nvSpPr>
          <p:cNvPr id="7" name="Content Placeholder 2">
            <a:extLst>
              <a:ext uri="{FF2B5EF4-FFF2-40B4-BE49-F238E27FC236}">
                <a16:creationId xmlns:a16="http://schemas.microsoft.com/office/drawing/2014/main" id="{26B8E071-31DF-2C06-04A9-3BC538CDA6CD}"/>
              </a:ext>
            </a:extLst>
          </p:cNvPr>
          <p:cNvSpPr>
            <a:spLocks noGrp="1"/>
          </p:cNvSpPr>
          <p:nvPr>
            <p:ph sz="half" idx="17" hasCustomPrompt="1"/>
          </p:nvPr>
        </p:nvSpPr>
        <p:spPr>
          <a:xfrm>
            <a:off x="6334126" y="2029022"/>
            <a:ext cx="5019674" cy="460375"/>
          </a:xfrm>
          <a:solidFill>
            <a:schemeClr val="tx2"/>
          </a:solidFill>
          <a:ln w="12700" cap="rnd">
            <a:noFill/>
            <a:round/>
          </a:ln>
        </p:spPr>
        <p:style>
          <a:lnRef idx="2">
            <a:schemeClr val="accent1"/>
          </a:lnRef>
          <a:fillRef idx="1">
            <a:schemeClr val="lt1"/>
          </a:fillRef>
          <a:effectRef idx="0">
            <a:schemeClr val="accent1"/>
          </a:effectRef>
          <a:fontRef idx="minor">
            <a:schemeClr val="dk1"/>
          </a:fontRef>
        </p:style>
        <p:txBody>
          <a:bodyPr lIns="72000" tIns="72000" rIns="72000" bIns="72000">
            <a:noAutofit/>
          </a:bodyPr>
          <a:lstStyle>
            <a:lvl1pPr marL="0" indent="0">
              <a:buNone/>
              <a:defRPr sz="2400" b="1">
                <a:solidFill>
                  <a:schemeClr val="bg1"/>
                </a:solidFill>
              </a:defRPr>
            </a:lvl1pPr>
          </a:lstStyle>
          <a:p>
            <a:pPr lvl="0"/>
            <a:r>
              <a:rPr lang="en-US"/>
              <a:t>Click to add subtitle</a:t>
            </a:r>
          </a:p>
        </p:txBody>
      </p:sp>
      <p:sp>
        <p:nvSpPr>
          <p:cNvPr id="5" name="Content Placeholder 2">
            <a:extLst>
              <a:ext uri="{FF2B5EF4-FFF2-40B4-BE49-F238E27FC236}">
                <a16:creationId xmlns:a16="http://schemas.microsoft.com/office/drawing/2014/main" id="{118A63BF-772E-9151-C37F-6751BC1781DA}"/>
              </a:ext>
            </a:extLst>
          </p:cNvPr>
          <p:cNvSpPr>
            <a:spLocks noGrp="1"/>
          </p:cNvSpPr>
          <p:nvPr>
            <p:ph sz="half" idx="16"/>
          </p:nvPr>
        </p:nvSpPr>
        <p:spPr>
          <a:xfrm>
            <a:off x="6334125" y="2724150"/>
            <a:ext cx="5019675" cy="2536008"/>
          </a:xfrm>
          <a:noFill/>
        </p:spPr>
        <p:txBody>
          <a:bodyPr lIns="144000" tIns="144000" rIns="144000" bIns="144000">
            <a:noAutofit/>
          </a:bodyPr>
          <a:lstStyle>
            <a:lvl1pPr marL="0" indent="0">
              <a:buNone/>
              <a:defRPr sz="2000">
                <a:solidFill>
                  <a:schemeClr val="tx1"/>
                </a:solidFil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A10AA9BB-29EC-79EA-02CA-8452ADF649A1}"/>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tx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121506267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and body text two columns with subtitles blu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B8270BF-EE76-A46D-95E0-FB617042099B}"/>
              </a:ext>
            </a:extLst>
          </p:cNvPr>
          <p:cNvSpPr>
            <a:spLocks/>
          </p:cNvSpPr>
          <p:nvPr/>
        </p:nvSpPr>
        <p:spPr>
          <a:xfrm>
            <a:off x="0" y="1487978"/>
            <a:ext cx="12192000" cy="5370022"/>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solidFill>
                <a:schemeClr val="tx2"/>
              </a:solidFill>
            </a:endParaRPr>
          </a:p>
        </p:txBody>
      </p:sp>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lstStyle/>
          <a:p>
            <a:r>
              <a:rPr lang="en-US"/>
              <a:t>Click to edit Master title style</a:t>
            </a:r>
            <a:endParaRPr lang="en-IE"/>
          </a:p>
        </p:txBody>
      </p:sp>
      <p:sp>
        <p:nvSpPr>
          <p:cNvPr id="4" name="Content Placeholder 2">
            <a:extLst>
              <a:ext uri="{FF2B5EF4-FFF2-40B4-BE49-F238E27FC236}">
                <a16:creationId xmlns:a16="http://schemas.microsoft.com/office/drawing/2014/main" id="{E0920A60-FD35-93DC-D952-15BAEF0C0BB5}"/>
              </a:ext>
            </a:extLst>
          </p:cNvPr>
          <p:cNvSpPr>
            <a:spLocks noGrp="1"/>
          </p:cNvSpPr>
          <p:nvPr>
            <p:ph sz="half" idx="15" hasCustomPrompt="1"/>
          </p:nvPr>
        </p:nvSpPr>
        <p:spPr>
          <a:xfrm>
            <a:off x="838200" y="2029022"/>
            <a:ext cx="5019674" cy="460375"/>
          </a:xfrm>
          <a:solidFill>
            <a:schemeClr val="accent5"/>
          </a:solidFill>
          <a:ln w="12700" cap="rnd">
            <a:noFill/>
            <a:round/>
          </a:ln>
        </p:spPr>
        <p:style>
          <a:lnRef idx="2">
            <a:schemeClr val="accent1"/>
          </a:lnRef>
          <a:fillRef idx="1">
            <a:schemeClr val="lt1"/>
          </a:fillRef>
          <a:effectRef idx="0">
            <a:schemeClr val="accent1"/>
          </a:effectRef>
          <a:fontRef idx="minor">
            <a:schemeClr val="dk1"/>
          </a:fontRef>
        </p:style>
        <p:txBody>
          <a:bodyPr lIns="72000" tIns="72000" rIns="72000" bIns="72000">
            <a:noAutofit/>
          </a:bodyPr>
          <a:lstStyle>
            <a:lvl1pPr marL="0" indent="0">
              <a:buNone/>
              <a:defRPr sz="2400" b="1">
                <a:solidFill>
                  <a:schemeClr val="tx2"/>
                </a:solidFill>
              </a:defRPr>
            </a:lvl1pPr>
          </a:lstStyle>
          <a:p>
            <a:pPr lvl="0"/>
            <a:r>
              <a:rPr lang="en-US"/>
              <a:t>Click to add subtitle</a:t>
            </a:r>
          </a:p>
        </p:txBody>
      </p:sp>
      <p:sp>
        <p:nvSpPr>
          <p:cNvPr id="3" name="Content Placeholder 2">
            <a:extLst>
              <a:ext uri="{FF2B5EF4-FFF2-40B4-BE49-F238E27FC236}">
                <a16:creationId xmlns:a16="http://schemas.microsoft.com/office/drawing/2014/main" id="{833F6E74-65E4-088E-A627-F5CBCB9E0FAA}"/>
              </a:ext>
            </a:extLst>
          </p:cNvPr>
          <p:cNvSpPr>
            <a:spLocks noGrp="1"/>
          </p:cNvSpPr>
          <p:nvPr>
            <p:ph sz="half" idx="1"/>
          </p:nvPr>
        </p:nvSpPr>
        <p:spPr>
          <a:xfrm>
            <a:off x="838199" y="2724150"/>
            <a:ext cx="5019675" cy="2536008"/>
          </a:xfrm>
          <a:noFill/>
        </p:spPr>
        <p:txBody>
          <a:bodyPr lIns="144000" tIns="144000" rIns="144000" bIns="144000">
            <a:noAutofit/>
          </a:bodyPr>
          <a:lstStyle>
            <a:lvl1pPr marL="0" indent="0">
              <a:buNone/>
              <a:defRPr sz="2000">
                <a:solidFill>
                  <a:schemeClr val="bg1"/>
                </a:solidFill>
              </a:defRPr>
            </a:lvl1pPr>
          </a:lstStyle>
          <a:p>
            <a:pPr lvl="0"/>
            <a:r>
              <a:rPr lang="en-US"/>
              <a:t>Click to edit Master text styles</a:t>
            </a:r>
          </a:p>
        </p:txBody>
      </p:sp>
      <p:sp>
        <p:nvSpPr>
          <p:cNvPr id="7" name="Content Placeholder 2">
            <a:extLst>
              <a:ext uri="{FF2B5EF4-FFF2-40B4-BE49-F238E27FC236}">
                <a16:creationId xmlns:a16="http://schemas.microsoft.com/office/drawing/2014/main" id="{26B8E071-31DF-2C06-04A9-3BC538CDA6CD}"/>
              </a:ext>
            </a:extLst>
          </p:cNvPr>
          <p:cNvSpPr>
            <a:spLocks noGrp="1"/>
          </p:cNvSpPr>
          <p:nvPr>
            <p:ph sz="half" idx="17" hasCustomPrompt="1"/>
          </p:nvPr>
        </p:nvSpPr>
        <p:spPr>
          <a:xfrm>
            <a:off x="6334126" y="2029022"/>
            <a:ext cx="5019674" cy="460375"/>
          </a:xfrm>
          <a:solidFill>
            <a:schemeClr val="accent5"/>
          </a:solidFill>
          <a:ln w="12700" cap="rnd">
            <a:noFill/>
            <a:round/>
          </a:ln>
        </p:spPr>
        <p:style>
          <a:lnRef idx="2">
            <a:schemeClr val="accent1"/>
          </a:lnRef>
          <a:fillRef idx="1">
            <a:schemeClr val="lt1"/>
          </a:fillRef>
          <a:effectRef idx="0">
            <a:schemeClr val="accent1"/>
          </a:effectRef>
          <a:fontRef idx="minor">
            <a:schemeClr val="dk1"/>
          </a:fontRef>
        </p:style>
        <p:txBody>
          <a:bodyPr lIns="72000" tIns="72000" rIns="72000" bIns="72000">
            <a:noAutofit/>
          </a:bodyPr>
          <a:lstStyle>
            <a:lvl1pPr marL="0" indent="0">
              <a:buNone/>
              <a:defRPr sz="2400" b="1">
                <a:solidFill>
                  <a:schemeClr val="tx2"/>
                </a:solidFill>
              </a:defRPr>
            </a:lvl1pPr>
          </a:lstStyle>
          <a:p>
            <a:pPr lvl="0"/>
            <a:r>
              <a:rPr lang="en-US"/>
              <a:t>Click to add subtitle</a:t>
            </a:r>
          </a:p>
        </p:txBody>
      </p:sp>
      <p:sp>
        <p:nvSpPr>
          <p:cNvPr id="5" name="Content Placeholder 2">
            <a:extLst>
              <a:ext uri="{FF2B5EF4-FFF2-40B4-BE49-F238E27FC236}">
                <a16:creationId xmlns:a16="http://schemas.microsoft.com/office/drawing/2014/main" id="{118A63BF-772E-9151-C37F-6751BC1781DA}"/>
              </a:ext>
            </a:extLst>
          </p:cNvPr>
          <p:cNvSpPr>
            <a:spLocks noGrp="1"/>
          </p:cNvSpPr>
          <p:nvPr>
            <p:ph sz="half" idx="16"/>
          </p:nvPr>
        </p:nvSpPr>
        <p:spPr>
          <a:xfrm>
            <a:off x="6334125" y="2724150"/>
            <a:ext cx="5019675" cy="2536008"/>
          </a:xfrm>
          <a:noFill/>
        </p:spPr>
        <p:txBody>
          <a:bodyPr lIns="144000" tIns="144000" rIns="144000" bIns="144000">
            <a:noAutofit/>
          </a:bodyPr>
          <a:lstStyle>
            <a:lvl1pPr marL="0" indent="0">
              <a:buNone/>
              <a:defRPr sz="2000">
                <a:solidFill>
                  <a:schemeClr val="bg1"/>
                </a:solidFill>
              </a:defRPr>
            </a:lvl1pPr>
          </a:lstStyle>
          <a:p>
            <a:pPr lvl="0"/>
            <a:r>
              <a:rPr lang="en-US"/>
              <a:t>Click to edit Master text styles</a:t>
            </a:r>
          </a:p>
        </p:txBody>
      </p:sp>
      <p:pic>
        <p:nvPicPr>
          <p:cNvPr id="10" name="Picture 9" descr="A blue flag with yellow stars and stripes&#10;&#10;Description automatically generated">
            <a:extLst>
              <a:ext uri="{FF2B5EF4-FFF2-40B4-BE49-F238E27FC236}">
                <a16:creationId xmlns:a16="http://schemas.microsoft.com/office/drawing/2014/main" id="{7262511B-BA2E-7984-66D6-B5152DA09D7B}"/>
              </a:ext>
            </a:extLst>
          </p:cNvPr>
          <p:cNvPicPr>
            <a:picLocks noChangeAspect="1"/>
          </p:cNvPicPr>
          <p:nvPr/>
        </p:nvPicPr>
        <p:blipFill>
          <a:blip r:embed="rId2"/>
          <a:stretch>
            <a:fillRect/>
          </a:stretch>
        </p:blipFill>
        <p:spPr>
          <a:xfrm>
            <a:off x="10725768" y="5901016"/>
            <a:ext cx="1257867" cy="763200"/>
          </a:xfrm>
          <a:prstGeom prst="rect">
            <a:avLst/>
          </a:prstGeom>
        </p:spPr>
      </p:pic>
      <p:pic>
        <p:nvPicPr>
          <p:cNvPr id="11" name="Picture 10" descr="A blue flag with yellow stars and stripes&#10;&#10;Description automatically generated">
            <a:extLst>
              <a:ext uri="{FF2B5EF4-FFF2-40B4-BE49-F238E27FC236}">
                <a16:creationId xmlns:a16="http://schemas.microsoft.com/office/drawing/2014/main" id="{DB557BE9-B8DC-E601-A0F8-16CD84F91810}"/>
              </a:ext>
            </a:extLst>
          </p:cNvPr>
          <p:cNvPicPr>
            <a:picLocks noChangeAspect="1"/>
          </p:cNvPicPr>
          <p:nvPr userDrawn="1"/>
        </p:nvPicPr>
        <p:blipFill>
          <a:blip r:embed="rId2"/>
          <a:stretch>
            <a:fillRect/>
          </a:stretch>
        </p:blipFill>
        <p:spPr>
          <a:xfrm>
            <a:off x="10725768" y="5901016"/>
            <a:ext cx="1257867" cy="763200"/>
          </a:xfrm>
          <a:prstGeom prst="rect">
            <a:avLst/>
          </a:prstGeom>
        </p:spPr>
      </p:pic>
      <p:sp>
        <p:nvSpPr>
          <p:cNvPr id="9" name="Slide Number Placeholder 5">
            <a:extLst>
              <a:ext uri="{FF2B5EF4-FFF2-40B4-BE49-F238E27FC236}">
                <a16:creationId xmlns:a16="http://schemas.microsoft.com/office/drawing/2014/main" id="{BEFAC7B2-2467-A72A-9F8B-CBD0FB0D8C42}"/>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bg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186257889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and body text two columns colured backgrou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CFB38-4E5F-126B-A212-3CBD911F9836}"/>
              </a:ext>
            </a:extLst>
          </p:cNvPr>
          <p:cNvSpPr>
            <a:spLocks noGrp="1" noRot="1" noMove="1" noResize="1" noEditPoints="1" noAdjustHandles="1" noChangeArrowheads="1" noChangeShapeType="1"/>
          </p:cNvSpPr>
          <p:nvPr/>
        </p:nvSpPr>
        <p:spPr>
          <a:xfrm>
            <a:off x="0" y="1487978"/>
            <a:ext cx="12192000" cy="5370022"/>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833F6E74-65E4-088E-A627-F5CBCB9E0FAA}"/>
              </a:ext>
            </a:extLst>
          </p:cNvPr>
          <p:cNvSpPr>
            <a:spLocks noGrp="1"/>
          </p:cNvSpPr>
          <p:nvPr>
            <p:ph sz="half" idx="1"/>
          </p:nvPr>
        </p:nvSpPr>
        <p:spPr>
          <a:xfrm>
            <a:off x="838200" y="2587083"/>
            <a:ext cx="4670502" cy="2899317"/>
          </a:xfrm>
          <a:noFill/>
        </p:spPr>
        <p:txBody>
          <a:bodyPr>
            <a:noAutofit/>
          </a:bodyPr>
          <a:lstStyle>
            <a:lvl1pPr marL="0" indent="0">
              <a:buNone/>
              <a:defRPr sz="2000">
                <a:solidFill>
                  <a:schemeClr val="bg1"/>
                </a:solidFill>
              </a:defRPr>
            </a:lvl1pPr>
          </a:lstStyle>
          <a:p>
            <a:pPr lvl="0"/>
            <a:r>
              <a:rPr lang="en-US"/>
              <a:t>Click to edit Master text styles</a:t>
            </a:r>
          </a:p>
        </p:txBody>
      </p:sp>
      <p:sp>
        <p:nvSpPr>
          <p:cNvPr id="4" name="Content Placeholder 3">
            <a:extLst>
              <a:ext uri="{FF2B5EF4-FFF2-40B4-BE49-F238E27FC236}">
                <a16:creationId xmlns:a16="http://schemas.microsoft.com/office/drawing/2014/main" id="{AE36259F-C7F8-D963-3DFD-92239B4D3FA2}"/>
              </a:ext>
            </a:extLst>
          </p:cNvPr>
          <p:cNvSpPr>
            <a:spLocks noGrp="1"/>
          </p:cNvSpPr>
          <p:nvPr>
            <p:ph sz="half" idx="2"/>
          </p:nvPr>
        </p:nvSpPr>
        <p:spPr>
          <a:xfrm>
            <a:off x="6172200" y="2587083"/>
            <a:ext cx="5181600" cy="2899317"/>
          </a:xfrm>
          <a:noFill/>
        </p:spPr>
        <p:txBody>
          <a:bodyPr>
            <a:noAutofit/>
          </a:bodyPr>
          <a:lstStyle>
            <a:lvl1pPr marL="0" indent="0">
              <a:buNone/>
              <a:defRPr sz="2000">
                <a:solidFill>
                  <a:schemeClr val="bg1"/>
                </a:solidFill>
              </a:defRPr>
            </a:lvl1pPr>
          </a:lstStyle>
          <a:p>
            <a:pPr lvl="0"/>
            <a:r>
              <a:rPr lang="en-US"/>
              <a:t>Click to edit Master text styles</a:t>
            </a:r>
          </a:p>
        </p:txBody>
      </p:sp>
      <p:pic>
        <p:nvPicPr>
          <p:cNvPr id="8" name="Picture 7" descr="A blue flag with yellow stars and stripes&#10;&#10;Description automatically generated">
            <a:extLst>
              <a:ext uri="{FF2B5EF4-FFF2-40B4-BE49-F238E27FC236}">
                <a16:creationId xmlns:a16="http://schemas.microsoft.com/office/drawing/2014/main" id="{02BBC44B-821F-21ED-8464-03E521698175}"/>
              </a:ext>
            </a:extLst>
          </p:cNvPr>
          <p:cNvPicPr>
            <a:picLocks noChangeAspect="1"/>
          </p:cNvPicPr>
          <p:nvPr/>
        </p:nvPicPr>
        <p:blipFill>
          <a:blip r:embed="rId2"/>
          <a:stretch>
            <a:fillRect/>
          </a:stretch>
        </p:blipFill>
        <p:spPr>
          <a:xfrm>
            <a:off x="10725768" y="5901016"/>
            <a:ext cx="1257867" cy="763200"/>
          </a:xfrm>
          <a:prstGeom prst="rect">
            <a:avLst/>
          </a:prstGeom>
        </p:spPr>
      </p:pic>
      <p:pic>
        <p:nvPicPr>
          <p:cNvPr id="9" name="Picture 8" descr="A blue flag with yellow stars and stripes&#10;&#10;Description automatically generated">
            <a:extLst>
              <a:ext uri="{FF2B5EF4-FFF2-40B4-BE49-F238E27FC236}">
                <a16:creationId xmlns:a16="http://schemas.microsoft.com/office/drawing/2014/main" id="{22B46DA4-CDDE-5119-2E5E-AD549E681C9C}"/>
              </a:ext>
            </a:extLst>
          </p:cNvPr>
          <p:cNvPicPr>
            <a:picLocks noChangeAspect="1"/>
          </p:cNvPicPr>
          <p:nvPr userDrawn="1"/>
        </p:nvPicPr>
        <p:blipFill>
          <a:blip r:embed="rId2"/>
          <a:stretch>
            <a:fillRect/>
          </a:stretch>
        </p:blipFill>
        <p:spPr>
          <a:xfrm>
            <a:off x="10725768" y="5901016"/>
            <a:ext cx="1257867" cy="763200"/>
          </a:xfrm>
          <a:prstGeom prst="rect">
            <a:avLst/>
          </a:prstGeom>
        </p:spPr>
      </p:pic>
      <p:sp>
        <p:nvSpPr>
          <p:cNvPr id="5" name="Slide Number Placeholder 5">
            <a:extLst>
              <a:ext uri="{FF2B5EF4-FFF2-40B4-BE49-F238E27FC236}">
                <a16:creationId xmlns:a16="http://schemas.microsoft.com/office/drawing/2014/main" id="{4A321162-C08B-5D98-4E1F-FE50C321D819}"/>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bg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104719614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and body text three columns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noAutofit/>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833F6E74-65E4-088E-A627-F5CBCB9E0FAA}"/>
              </a:ext>
            </a:extLst>
          </p:cNvPr>
          <p:cNvSpPr>
            <a:spLocks noGrp="1"/>
          </p:cNvSpPr>
          <p:nvPr>
            <p:ph sz="half" idx="1"/>
          </p:nvPr>
        </p:nvSpPr>
        <p:spPr>
          <a:xfrm>
            <a:off x="838200" y="1989056"/>
            <a:ext cx="3055070" cy="3299381"/>
          </a:xfrm>
          <a:solidFill>
            <a:schemeClr val="tx2"/>
          </a:solidFill>
        </p:spPr>
        <p:txBody>
          <a:bodyPr>
            <a:noAutofit/>
          </a:bodyPr>
          <a:lstStyle>
            <a:lvl1pPr marL="0" indent="0">
              <a:buNone/>
              <a:defRPr sz="2000">
                <a:solidFill>
                  <a:schemeClr val="bg1"/>
                </a:solidFill>
              </a:defRPr>
            </a:lvl1pPr>
          </a:lstStyle>
          <a:p>
            <a:pPr lvl="0"/>
            <a:r>
              <a:rPr lang="en-US"/>
              <a:t>Click to edit Master text styles</a:t>
            </a:r>
          </a:p>
        </p:txBody>
      </p:sp>
      <p:sp>
        <p:nvSpPr>
          <p:cNvPr id="7" name="Content Placeholder 2">
            <a:extLst>
              <a:ext uri="{FF2B5EF4-FFF2-40B4-BE49-F238E27FC236}">
                <a16:creationId xmlns:a16="http://schemas.microsoft.com/office/drawing/2014/main" id="{11A8786C-FCBD-3783-706E-0CBF5B0343E3}"/>
              </a:ext>
            </a:extLst>
          </p:cNvPr>
          <p:cNvSpPr>
            <a:spLocks noGrp="1"/>
          </p:cNvSpPr>
          <p:nvPr>
            <p:ph sz="half" idx="10"/>
          </p:nvPr>
        </p:nvSpPr>
        <p:spPr>
          <a:xfrm>
            <a:off x="4629467" y="1989056"/>
            <a:ext cx="3056400" cy="3299381"/>
          </a:xfrm>
          <a:solidFill>
            <a:schemeClr val="tx2"/>
          </a:solidFill>
        </p:spPr>
        <p:txBody>
          <a:bodyPr>
            <a:noAutofit/>
          </a:bodyPr>
          <a:lstStyle>
            <a:lvl1pPr marL="0" indent="0">
              <a:buNone/>
              <a:defRPr sz="2000">
                <a:solidFill>
                  <a:schemeClr val="bg1"/>
                </a:solidFill>
              </a:defRPr>
            </a:lvl1pPr>
          </a:lstStyle>
          <a:p>
            <a:pPr lvl="0"/>
            <a:r>
              <a:rPr lang="en-US"/>
              <a:t>Click to edit Master text styles</a:t>
            </a:r>
          </a:p>
        </p:txBody>
      </p:sp>
      <p:sp>
        <p:nvSpPr>
          <p:cNvPr id="12" name="Content Placeholder 2">
            <a:extLst>
              <a:ext uri="{FF2B5EF4-FFF2-40B4-BE49-F238E27FC236}">
                <a16:creationId xmlns:a16="http://schemas.microsoft.com/office/drawing/2014/main" id="{F4DC31AC-D39C-A8A3-ED76-D3399E224DE3}"/>
              </a:ext>
            </a:extLst>
          </p:cNvPr>
          <p:cNvSpPr>
            <a:spLocks noGrp="1"/>
          </p:cNvSpPr>
          <p:nvPr>
            <p:ph sz="half" idx="11"/>
          </p:nvPr>
        </p:nvSpPr>
        <p:spPr>
          <a:xfrm>
            <a:off x="8297400" y="1989056"/>
            <a:ext cx="3056400" cy="3299381"/>
          </a:xfrm>
          <a:solidFill>
            <a:schemeClr val="tx2"/>
          </a:solidFill>
        </p:spPr>
        <p:txBody>
          <a:bodyPr>
            <a:noAutofit/>
          </a:bodyPr>
          <a:lstStyle>
            <a:lvl1pPr marL="0" indent="0">
              <a:buNone/>
              <a:defRPr sz="2000">
                <a:solidFill>
                  <a:schemeClr val="bg1"/>
                </a:solidFill>
              </a:defRPr>
            </a:lvl1pPr>
          </a:lstStyle>
          <a:p>
            <a:pPr lvl="0"/>
            <a:r>
              <a:rPr lang="en-US"/>
              <a:t>Click to edit Master text styles</a:t>
            </a:r>
          </a:p>
        </p:txBody>
      </p:sp>
      <p:sp>
        <p:nvSpPr>
          <p:cNvPr id="5" name="Slide Number Placeholder 5">
            <a:extLst>
              <a:ext uri="{FF2B5EF4-FFF2-40B4-BE49-F238E27FC236}">
                <a16:creationId xmlns:a16="http://schemas.microsoft.com/office/drawing/2014/main" id="{6D635DEE-A882-2487-2337-D6BB66A7AF82}"/>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tx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323310753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body text three columns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noAutofit/>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833F6E74-65E4-088E-A627-F5CBCB9E0FAA}"/>
              </a:ext>
            </a:extLst>
          </p:cNvPr>
          <p:cNvSpPr>
            <a:spLocks noGrp="1"/>
          </p:cNvSpPr>
          <p:nvPr>
            <p:ph sz="half" idx="1"/>
          </p:nvPr>
        </p:nvSpPr>
        <p:spPr>
          <a:xfrm>
            <a:off x="838200" y="1989056"/>
            <a:ext cx="3055070" cy="3299381"/>
          </a:xfrm>
        </p:spPr>
        <p:txBody>
          <a:bodyPr>
            <a:noAutofit/>
          </a:bodyPr>
          <a:lstStyle>
            <a:lvl1pPr marL="0" indent="0">
              <a:buClr>
                <a:schemeClr val="tx2"/>
              </a:buClr>
              <a:buSzPct val="150000"/>
              <a:buFont typeface="Arial" panose="020B0604020202020204" pitchFamily="34" charset="0"/>
              <a:buNone/>
              <a:defRPr sz="2000">
                <a:solidFill>
                  <a:schemeClr val="tx1"/>
                </a:solidFill>
              </a:defRPr>
            </a:lvl1pPr>
          </a:lstStyle>
          <a:p>
            <a:pPr lvl="0"/>
            <a:r>
              <a:rPr lang="en-US"/>
              <a:t>Click to edit Master text styles</a:t>
            </a:r>
          </a:p>
        </p:txBody>
      </p:sp>
      <p:sp>
        <p:nvSpPr>
          <p:cNvPr id="4" name="Content Placeholder 2">
            <a:extLst>
              <a:ext uri="{FF2B5EF4-FFF2-40B4-BE49-F238E27FC236}">
                <a16:creationId xmlns:a16="http://schemas.microsoft.com/office/drawing/2014/main" id="{AFF39438-760E-ED2B-8243-319A5EF04778}"/>
              </a:ext>
            </a:extLst>
          </p:cNvPr>
          <p:cNvSpPr>
            <a:spLocks noGrp="1"/>
          </p:cNvSpPr>
          <p:nvPr>
            <p:ph sz="half" idx="10"/>
          </p:nvPr>
        </p:nvSpPr>
        <p:spPr>
          <a:xfrm>
            <a:off x="4568465" y="1989055"/>
            <a:ext cx="3055070" cy="3299381"/>
          </a:xfrm>
        </p:spPr>
        <p:txBody>
          <a:bodyPr>
            <a:noAutofit/>
          </a:bodyPr>
          <a:lstStyle>
            <a:lvl1pPr marL="0" indent="0">
              <a:buClr>
                <a:schemeClr val="tx2"/>
              </a:buClr>
              <a:buSzPct val="150000"/>
              <a:buFont typeface="Arial" panose="020B0604020202020204" pitchFamily="34" charset="0"/>
              <a:buNone/>
              <a:defRPr sz="2000">
                <a:solidFill>
                  <a:schemeClr val="tx1"/>
                </a:solidFil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B6FA7DAD-79FF-9241-7523-B9F28613FBC3}"/>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5" name="Content Placeholder 2">
            <a:extLst>
              <a:ext uri="{FF2B5EF4-FFF2-40B4-BE49-F238E27FC236}">
                <a16:creationId xmlns:a16="http://schemas.microsoft.com/office/drawing/2014/main" id="{C2284C9D-0459-8584-A6B3-FFE83837141D}"/>
              </a:ext>
            </a:extLst>
          </p:cNvPr>
          <p:cNvSpPr>
            <a:spLocks noGrp="1"/>
          </p:cNvSpPr>
          <p:nvPr>
            <p:ph sz="half" idx="11"/>
          </p:nvPr>
        </p:nvSpPr>
        <p:spPr>
          <a:xfrm>
            <a:off x="8298730" y="1989055"/>
            <a:ext cx="3055070" cy="3299381"/>
          </a:xfrm>
        </p:spPr>
        <p:txBody>
          <a:bodyPr>
            <a:noAutofit/>
          </a:bodyPr>
          <a:lstStyle>
            <a:lvl1pPr marL="0" indent="0">
              <a:buClr>
                <a:schemeClr val="tx2"/>
              </a:buClr>
              <a:buSzPct val="150000"/>
              <a:buFont typeface="Arial" panose="020B0604020202020204" pitchFamily="34" charset="0"/>
              <a:buNone/>
              <a:defRPr sz="20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9496801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and body text three columns with subtit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noAutofit/>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389E2655-E9DF-246B-F4FD-D62B2B37A4B3}"/>
              </a:ext>
            </a:extLst>
          </p:cNvPr>
          <p:cNvSpPr>
            <a:spLocks noGrp="1"/>
          </p:cNvSpPr>
          <p:nvPr>
            <p:ph sz="half" idx="15" hasCustomPrompt="1"/>
          </p:nvPr>
        </p:nvSpPr>
        <p:spPr>
          <a:xfrm>
            <a:off x="838200" y="2029022"/>
            <a:ext cx="3045644" cy="460375"/>
          </a:xfrm>
          <a:solidFill>
            <a:schemeClr val="tx2"/>
          </a:solidFill>
          <a:ln w="12700" cap="rnd">
            <a:noFill/>
            <a:round/>
          </a:ln>
        </p:spPr>
        <p:style>
          <a:lnRef idx="2">
            <a:schemeClr val="accent1"/>
          </a:lnRef>
          <a:fillRef idx="1">
            <a:schemeClr val="lt1"/>
          </a:fillRef>
          <a:effectRef idx="0">
            <a:schemeClr val="accent1"/>
          </a:effectRef>
          <a:fontRef idx="minor">
            <a:schemeClr val="dk1"/>
          </a:fontRef>
        </p:style>
        <p:txBody>
          <a:bodyPr lIns="72000" tIns="72000" rIns="72000" bIns="72000">
            <a:noAutofit/>
          </a:bodyPr>
          <a:lstStyle>
            <a:lvl1pPr marL="0" indent="0">
              <a:buNone/>
              <a:defRPr sz="2400" b="1">
                <a:solidFill>
                  <a:schemeClr val="bg1"/>
                </a:solidFill>
              </a:defRPr>
            </a:lvl1pPr>
          </a:lstStyle>
          <a:p>
            <a:pPr lvl="0"/>
            <a:r>
              <a:rPr lang="en-US"/>
              <a:t>Click to add subtitle</a:t>
            </a:r>
          </a:p>
        </p:txBody>
      </p:sp>
      <p:sp>
        <p:nvSpPr>
          <p:cNvPr id="14" name="Content Placeholder 2">
            <a:extLst>
              <a:ext uri="{FF2B5EF4-FFF2-40B4-BE49-F238E27FC236}">
                <a16:creationId xmlns:a16="http://schemas.microsoft.com/office/drawing/2014/main" id="{A1C7A71E-B4AA-350C-C619-6CD926C5FB05}"/>
              </a:ext>
            </a:extLst>
          </p:cNvPr>
          <p:cNvSpPr>
            <a:spLocks noGrp="1"/>
          </p:cNvSpPr>
          <p:nvPr>
            <p:ph sz="half" idx="1"/>
          </p:nvPr>
        </p:nvSpPr>
        <p:spPr>
          <a:xfrm>
            <a:off x="838200" y="2690199"/>
            <a:ext cx="3045644" cy="2598238"/>
          </a:xfrm>
        </p:spPr>
        <p:txBody>
          <a:bodyPr>
            <a:noAutofit/>
          </a:bodyPr>
          <a:lstStyle>
            <a:lvl1pPr marL="0" indent="0">
              <a:buNone/>
              <a:defRPr sz="2000">
                <a:solidFill>
                  <a:schemeClr val="tx1"/>
                </a:solidFill>
              </a:defRPr>
            </a:lvl1pPr>
          </a:lstStyle>
          <a:p>
            <a:pPr lvl="0"/>
            <a:r>
              <a:rPr lang="en-US"/>
              <a:t>Click to edit Master text styles</a:t>
            </a:r>
          </a:p>
        </p:txBody>
      </p:sp>
      <p:sp>
        <p:nvSpPr>
          <p:cNvPr id="4" name="Content Placeholder 2">
            <a:extLst>
              <a:ext uri="{FF2B5EF4-FFF2-40B4-BE49-F238E27FC236}">
                <a16:creationId xmlns:a16="http://schemas.microsoft.com/office/drawing/2014/main" id="{0B64B145-4048-55E1-B2E9-6B27CC0E5870}"/>
              </a:ext>
            </a:extLst>
          </p:cNvPr>
          <p:cNvSpPr>
            <a:spLocks noGrp="1"/>
          </p:cNvSpPr>
          <p:nvPr>
            <p:ph sz="half" idx="16" hasCustomPrompt="1"/>
          </p:nvPr>
        </p:nvSpPr>
        <p:spPr>
          <a:xfrm>
            <a:off x="4586925" y="2010169"/>
            <a:ext cx="3132055" cy="460375"/>
          </a:xfrm>
          <a:solidFill>
            <a:schemeClr val="tx2"/>
          </a:solidFill>
          <a:ln w="12700" cap="rnd">
            <a:noFill/>
            <a:round/>
          </a:ln>
        </p:spPr>
        <p:style>
          <a:lnRef idx="2">
            <a:schemeClr val="accent1"/>
          </a:lnRef>
          <a:fillRef idx="1">
            <a:schemeClr val="lt1"/>
          </a:fillRef>
          <a:effectRef idx="0">
            <a:schemeClr val="accent1"/>
          </a:effectRef>
          <a:fontRef idx="minor">
            <a:schemeClr val="dk1"/>
          </a:fontRef>
        </p:style>
        <p:txBody>
          <a:bodyPr lIns="72000" tIns="72000" rIns="72000" bIns="72000">
            <a:noAutofit/>
          </a:bodyPr>
          <a:lstStyle>
            <a:lvl1pPr marL="0" indent="0">
              <a:buNone/>
              <a:defRPr sz="2400" b="1">
                <a:solidFill>
                  <a:schemeClr val="bg1"/>
                </a:solidFill>
              </a:defRPr>
            </a:lvl1pPr>
          </a:lstStyle>
          <a:p>
            <a:pPr lvl="0"/>
            <a:r>
              <a:rPr lang="en-US"/>
              <a:t>Click to add subtitle</a:t>
            </a:r>
          </a:p>
        </p:txBody>
      </p:sp>
      <p:sp>
        <p:nvSpPr>
          <p:cNvPr id="16" name="Content Placeholder 2">
            <a:extLst>
              <a:ext uri="{FF2B5EF4-FFF2-40B4-BE49-F238E27FC236}">
                <a16:creationId xmlns:a16="http://schemas.microsoft.com/office/drawing/2014/main" id="{56044468-6F92-BCD9-357B-E33281665606}"/>
              </a:ext>
            </a:extLst>
          </p:cNvPr>
          <p:cNvSpPr>
            <a:spLocks noGrp="1"/>
          </p:cNvSpPr>
          <p:nvPr>
            <p:ph sz="half" idx="10"/>
          </p:nvPr>
        </p:nvSpPr>
        <p:spPr>
          <a:xfrm>
            <a:off x="4586926" y="2690199"/>
            <a:ext cx="3132055" cy="2598238"/>
          </a:xfrm>
        </p:spPr>
        <p:txBody>
          <a:bodyPr>
            <a:noAutofit/>
          </a:bodyPr>
          <a:lstStyle>
            <a:lvl1pPr marL="0" indent="0">
              <a:buNone/>
              <a:defRPr sz="2000">
                <a:solidFill>
                  <a:schemeClr val="tx1"/>
                </a:solidFill>
              </a:defRPr>
            </a:lvl1pPr>
          </a:lstStyle>
          <a:p>
            <a:pPr lvl="0"/>
            <a:r>
              <a:rPr lang="en-US"/>
              <a:t>Click to edit Master text styles</a:t>
            </a:r>
          </a:p>
        </p:txBody>
      </p:sp>
      <p:sp>
        <p:nvSpPr>
          <p:cNvPr id="5" name="Content Placeholder 2">
            <a:extLst>
              <a:ext uri="{FF2B5EF4-FFF2-40B4-BE49-F238E27FC236}">
                <a16:creationId xmlns:a16="http://schemas.microsoft.com/office/drawing/2014/main" id="{AE2839C1-28EB-C84A-8FE0-1EB86DE1BDEE}"/>
              </a:ext>
            </a:extLst>
          </p:cNvPr>
          <p:cNvSpPr>
            <a:spLocks noGrp="1"/>
          </p:cNvSpPr>
          <p:nvPr>
            <p:ph sz="half" idx="17" hasCustomPrompt="1"/>
          </p:nvPr>
        </p:nvSpPr>
        <p:spPr>
          <a:xfrm>
            <a:off x="8422064" y="2029022"/>
            <a:ext cx="3045644" cy="460375"/>
          </a:xfrm>
          <a:solidFill>
            <a:schemeClr val="tx2"/>
          </a:solidFill>
          <a:ln w="12700" cap="rnd">
            <a:noFill/>
            <a:round/>
          </a:ln>
        </p:spPr>
        <p:style>
          <a:lnRef idx="2">
            <a:schemeClr val="accent1"/>
          </a:lnRef>
          <a:fillRef idx="1">
            <a:schemeClr val="lt1"/>
          </a:fillRef>
          <a:effectRef idx="0">
            <a:schemeClr val="accent1"/>
          </a:effectRef>
          <a:fontRef idx="minor">
            <a:schemeClr val="dk1"/>
          </a:fontRef>
        </p:style>
        <p:txBody>
          <a:bodyPr lIns="72000" tIns="72000" rIns="72000" bIns="72000">
            <a:noAutofit/>
          </a:bodyPr>
          <a:lstStyle>
            <a:lvl1pPr marL="0" indent="0">
              <a:buNone/>
              <a:defRPr sz="2400" b="1">
                <a:solidFill>
                  <a:schemeClr val="bg1"/>
                </a:solidFill>
              </a:defRPr>
            </a:lvl1pPr>
          </a:lstStyle>
          <a:p>
            <a:pPr lvl="0"/>
            <a:r>
              <a:rPr lang="en-US"/>
              <a:t>Click to add subtitle</a:t>
            </a:r>
          </a:p>
        </p:txBody>
      </p:sp>
      <p:sp>
        <p:nvSpPr>
          <p:cNvPr id="18" name="Content Placeholder 2">
            <a:extLst>
              <a:ext uri="{FF2B5EF4-FFF2-40B4-BE49-F238E27FC236}">
                <a16:creationId xmlns:a16="http://schemas.microsoft.com/office/drawing/2014/main" id="{A1E8E11D-2B2A-C5C5-EFFC-16D798510576}"/>
              </a:ext>
            </a:extLst>
          </p:cNvPr>
          <p:cNvSpPr>
            <a:spLocks noGrp="1"/>
          </p:cNvSpPr>
          <p:nvPr>
            <p:ph sz="half" idx="11"/>
          </p:nvPr>
        </p:nvSpPr>
        <p:spPr>
          <a:xfrm>
            <a:off x="8422064" y="2690199"/>
            <a:ext cx="3045644" cy="2598238"/>
          </a:xfrm>
        </p:spPr>
        <p:txBody>
          <a:bodyPr>
            <a:noAutofit/>
          </a:bodyPr>
          <a:lstStyle>
            <a:lvl1pPr>
              <a:defRPr sz="2000">
                <a:solidFill>
                  <a:schemeClr val="tx1"/>
                </a:solidFill>
              </a:defRPr>
            </a:lvl1pPr>
          </a:lstStyle>
          <a:p>
            <a:pPr marL="0" marR="0" lvl="0" indent="0" algn="l" defTabSz="914400" rtl="0" eaLnBrk="1" fontAlgn="auto" latinLnBrk="0" hangingPunct="1">
              <a:lnSpc>
                <a:spcPct val="90000"/>
              </a:lnSpc>
              <a:spcBef>
                <a:spcPts val="1000"/>
              </a:spcBef>
              <a:spcAft>
                <a:spcPts val="0"/>
              </a:spcAft>
              <a:buClrTx/>
              <a:buSzTx/>
              <a:buFontTx/>
              <a:buNone/>
              <a:tabLst/>
              <a:defRPr/>
            </a:pPr>
            <a:r>
              <a:rPr lang="en-US"/>
              <a:t>Click to edit Master text styles</a:t>
            </a:r>
          </a:p>
        </p:txBody>
      </p:sp>
      <p:sp>
        <p:nvSpPr>
          <p:cNvPr id="7" name="Slide Number Placeholder 5">
            <a:extLst>
              <a:ext uri="{FF2B5EF4-FFF2-40B4-BE49-F238E27FC236}">
                <a16:creationId xmlns:a16="http://schemas.microsoft.com/office/drawing/2014/main" id="{62761D88-1D18-A805-8D96-5BEBFEFE219D}"/>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10092449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White">
    <p:spTree>
      <p:nvGrpSpPr>
        <p:cNvPr id="1" name=""/>
        <p:cNvGrpSpPr/>
        <p:nvPr/>
      </p:nvGrpSpPr>
      <p:grpSpPr>
        <a:xfrm>
          <a:off x="0" y="0"/>
          <a:ext cx="0" cy="0"/>
          <a:chOff x="0" y="0"/>
          <a:chExt cx="0" cy="0"/>
        </a:xfrm>
      </p:grpSpPr>
      <p:cxnSp>
        <p:nvCxnSpPr>
          <p:cNvPr id="4" name="Straight Connector 6"/>
          <p:cNvCxnSpPr>
            <a:cxnSpLocks/>
          </p:cNvCxnSpPr>
          <p:nvPr userDrawn="1"/>
        </p:nvCxnSpPr>
        <p:spPr>
          <a:xfrm>
            <a:off x="695325" y="4165600"/>
            <a:ext cx="1080135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96000" y="1066800"/>
            <a:ext cx="10800000" cy="3084787"/>
          </a:xfrm>
        </p:spPr>
        <p:txBody>
          <a:bodyPr>
            <a:normAutofit/>
          </a:bodyPr>
          <a:lstStyle>
            <a:lvl1pPr algn="l">
              <a:defRPr sz="6000"/>
            </a:lvl1pPr>
          </a:lstStyle>
          <a:p>
            <a:r>
              <a:rPr lang="nl-NL"/>
              <a:t>Klik om de stijl te bewerken</a:t>
            </a:r>
            <a:endParaRPr lang="en-US" dirty="0"/>
          </a:p>
        </p:txBody>
      </p:sp>
      <p:sp>
        <p:nvSpPr>
          <p:cNvPr id="3" name="Text Placeholder 2"/>
          <p:cNvSpPr>
            <a:spLocks noGrp="1"/>
          </p:cNvSpPr>
          <p:nvPr>
            <p:ph type="body" idx="1"/>
          </p:nvPr>
        </p:nvSpPr>
        <p:spPr>
          <a:xfrm>
            <a:off x="694800" y="4410075"/>
            <a:ext cx="10800000" cy="1476376"/>
          </a:xfrm>
        </p:spPr>
        <p:txBody>
          <a:bodyPr>
            <a:norm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Klik om de modelstijlen te bewerken</a:t>
            </a:r>
          </a:p>
        </p:txBody>
      </p:sp>
      <p:sp>
        <p:nvSpPr>
          <p:cNvPr id="5" name="Slide Number Placeholder 5"/>
          <p:cNvSpPr>
            <a:spLocks noGrp="1"/>
          </p:cNvSpPr>
          <p:nvPr>
            <p:ph type="sldNum" sz="quarter" idx="10"/>
          </p:nvPr>
        </p:nvSpPr>
        <p:spPr/>
        <p:txBody>
          <a:bodyPr/>
          <a:lstStyle>
            <a:lvl1pPr>
              <a:defRPr/>
            </a:lvl1pPr>
          </a:lstStyle>
          <a:p>
            <a:pPr>
              <a:defRPr/>
            </a:pPr>
            <a:fld id="{7D6BFB81-ACB6-4B47-B782-A9BD0F7DA54F}" type="slidenum">
              <a:rPr lang="nl-NL" altLang="nl-NL"/>
              <a:pPr>
                <a:defRPr/>
              </a:pPr>
              <a:t>‹#›</a:t>
            </a:fld>
            <a:endParaRPr lang="nl-NL" altLang="nl-NL"/>
          </a:p>
        </p:txBody>
      </p:sp>
    </p:spTree>
    <p:extLst>
      <p:ext uri="{BB962C8B-B14F-4D97-AF65-F5344CB8AC3E}">
        <p14:creationId xmlns:p14="http://schemas.microsoft.com/office/powerpoint/2010/main" val="20386795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ody text and image coloured background">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a:xfrm>
            <a:off x="838200" y="365126"/>
            <a:ext cx="10515602" cy="816904"/>
          </a:xfrm>
        </p:spPr>
        <p:txBody>
          <a:bodyPr>
            <a:noAutofit/>
          </a:bodyPr>
          <a:lstStyle>
            <a:lvl1pPr>
              <a:defRPr>
                <a:solidFill>
                  <a:schemeClr val="tx1"/>
                </a:solidFill>
              </a:defRPr>
            </a:lvl1pPr>
          </a:lstStyle>
          <a:p>
            <a:r>
              <a:rPr lang="en-US"/>
              <a:t>Click to edit Master title style</a:t>
            </a:r>
            <a:endParaRPr lang="en-IE"/>
          </a:p>
        </p:txBody>
      </p:sp>
      <p:sp>
        <p:nvSpPr>
          <p:cNvPr id="7" name="Content Placeholder 2">
            <a:extLst>
              <a:ext uri="{FF2B5EF4-FFF2-40B4-BE49-F238E27FC236}">
                <a16:creationId xmlns:a16="http://schemas.microsoft.com/office/drawing/2014/main" id="{4F9DE773-46A1-EE6A-D3DF-FC96DCA4C7CB}"/>
              </a:ext>
            </a:extLst>
          </p:cNvPr>
          <p:cNvSpPr>
            <a:spLocks noGrp="1"/>
          </p:cNvSpPr>
          <p:nvPr>
            <p:ph sz="half" idx="1"/>
          </p:nvPr>
        </p:nvSpPr>
        <p:spPr>
          <a:xfrm>
            <a:off x="838200" y="1847851"/>
            <a:ext cx="4670502" cy="3638549"/>
          </a:xfrm>
          <a:noFill/>
        </p:spPr>
        <p:txBody>
          <a:bodyPr>
            <a:noAutofit/>
          </a:bodyPr>
          <a:lstStyle>
            <a:lvl1pPr marL="0" indent="0">
              <a:buNone/>
              <a:defRPr sz="2000">
                <a:solidFill>
                  <a:schemeClr val="tx1"/>
                </a:solidFill>
              </a:defRPr>
            </a:lvl1pPr>
          </a:lstStyle>
          <a:p>
            <a:pPr lvl="0"/>
            <a:r>
              <a:rPr lang="en-US"/>
              <a:t>Click to edit Master text styles</a:t>
            </a:r>
          </a:p>
        </p:txBody>
      </p:sp>
      <p:sp>
        <p:nvSpPr>
          <p:cNvPr id="4" name="Picture Placeholder 3">
            <a:extLst>
              <a:ext uri="{FF2B5EF4-FFF2-40B4-BE49-F238E27FC236}">
                <a16:creationId xmlns:a16="http://schemas.microsoft.com/office/drawing/2014/main" id="{36CC71E5-FBEB-2751-9FF1-D81B32C5D665}"/>
              </a:ext>
            </a:extLst>
          </p:cNvPr>
          <p:cNvSpPr>
            <a:spLocks noGrp="1"/>
          </p:cNvSpPr>
          <p:nvPr>
            <p:ph type="pic" sz="quarter" idx="10"/>
          </p:nvPr>
        </p:nvSpPr>
        <p:spPr>
          <a:xfrm>
            <a:off x="6350002" y="1825625"/>
            <a:ext cx="5003800" cy="3638550"/>
          </a:xfrm>
          <a:solidFill>
            <a:schemeClr val="tx2"/>
          </a:solidFill>
          <a:ln w="76200">
            <a:noFill/>
          </a:ln>
          <a:effectLst/>
        </p:spPr>
        <p:txBody>
          <a:bodyPr/>
          <a:lstStyle>
            <a:lvl1pPr marL="0" indent="0">
              <a:buNone/>
              <a:defRPr>
                <a:solidFill>
                  <a:schemeClr val="bg2"/>
                </a:solidFill>
              </a:defRPr>
            </a:lvl1pPr>
          </a:lstStyle>
          <a:p>
            <a:r>
              <a:rPr lang="en-US"/>
              <a:t>Click icon to add picture</a:t>
            </a:r>
            <a:endParaRPr lang="en-IE"/>
          </a:p>
        </p:txBody>
      </p:sp>
      <p:pic>
        <p:nvPicPr>
          <p:cNvPr id="6" name="Picture 5" descr="A blue flag with yellow stars and stripes&#10;&#10;Description automatically generated">
            <a:extLst>
              <a:ext uri="{FF2B5EF4-FFF2-40B4-BE49-F238E27FC236}">
                <a16:creationId xmlns:a16="http://schemas.microsoft.com/office/drawing/2014/main" id="{93834467-B58A-08E2-AA0A-DB1D50F360BB}"/>
              </a:ext>
            </a:extLst>
          </p:cNvPr>
          <p:cNvPicPr>
            <a:picLocks noChangeAspect="1"/>
          </p:cNvPicPr>
          <p:nvPr/>
        </p:nvPicPr>
        <p:blipFill>
          <a:blip r:embed="rId2"/>
          <a:stretch>
            <a:fillRect/>
          </a:stretch>
        </p:blipFill>
        <p:spPr>
          <a:xfrm>
            <a:off x="10725768" y="5901016"/>
            <a:ext cx="1257867" cy="763200"/>
          </a:xfrm>
          <a:prstGeom prst="rect">
            <a:avLst/>
          </a:prstGeom>
        </p:spPr>
      </p:pic>
      <p:pic>
        <p:nvPicPr>
          <p:cNvPr id="5" name="Picture 4" descr="A blue flag with yellow stars and stripes&#10;&#10;Description automatically generated">
            <a:extLst>
              <a:ext uri="{FF2B5EF4-FFF2-40B4-BE49-F238E27FC236}">
                <a16:creationId xmlns:a16="http://schemas.microsoft.com/office/drawing/2014/main" id="{570F0233-3DB4-DD9F-5F0F-396910702D84}"/>
              </a:ext>
            </a:extLst>
          </p:cNvPr>
          <p:cNvPicPr>
            <a:picLocks noChangeAspect="1"/>
          </p:cNvPicPr>
          <p:nvPr userDrawn="1"/>
        </p:nvPicPr>
        <p:blipFill>
          <a:blip r:embed="rId2"/>
          <a:stretch>
            <a:fillRect/>
          </a:stretch>
        </p:blipFill>
        <p:spPr>
          <a:xfrm>
            <a:off x="10725768" y="5901016"/>
            <a:ext cx="1257867" cy="763200"/>
          </a:xfrm>
          <a:prstGeom prst="rect">
            <a:avLst/>
          </a:prstGeom>
        </p:spPr>
      </p:pic>
      <p:sp>
        <p:nvSpPr>
          <p:cNvPr id="8" name="Slide Number Placeholder 5">
            <a:extLst>
              <a:ext uri="{FF2B5EF4-FFF2-40B4-BE49-F238E27FC236}">
                <a16:creationId xmlns:a16="http://schemas.microsoft.com/office/drawing/2014/main" id="{4A4DF5A1-9706-DCB7-1601-51D0F26AEF16}"/>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2322584854"/>
      </p:ext>
    </p:extLst>
  </p:cSld>
  <p:clrMapOvr>
    <a:overrideClrMapping bg1="dk1" tx1="lt1" bg2="dk2" tx2="lt2" accent1="accent1" accent2="accent2" accent3="accent3" accent4="accent4" accent5="accent5" accent6="accent6" hlink="hlink" folHlink="folHlink"/>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Body text and image ">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a:xfrm>
            <a:off x="838200" y="365126"/>
            <a:ext cx="10515602" cy="816904"/>
          </a:xfrm>
        </p:spPr>
        <p:txBody>
          <a:bodyPr>
            <a:noAutofit/>
          </a:bodyPr>
          <a:lstStyle>
            <a:lvl1pPr>
              <a:defRPr>
                <a:solidFill>
                  <a:schemeClr val="bg2"/>
                </a:solidFill>
              </a:defRPr>
            </a:lvl1pPr>
          </a:lstStyle>
          <a:p>
            <a:r>
              <a:rPr lang="en-US"/>
              <a:t>Click to edit Master title style</a:t>
            </a:r>
            <a:endParaRPr lang="en-IE"/>
          </a:p>
        </p:txBody>
      </p:sp>
      <p:sp>
        <p:nvSpPr>
          <p:cNvPr id="5" name="Content Placeholder 2">
            <a:extLst>
              <a:ext uri="{FF2B5EF4-FFF2-40B4-BE49-F238E27FC236}">
                <a16:creationId xmlns:a16="http://schemas.microsoft.com/office/drawing/2014/main" id="{CA9BD169-F6A4-2E23-F2D4-B7DED1FC9941}"/>
              </a:ext>
            </a:extLst>
          </p:cNvPr>
          <p:cNvSpPr>
            <a:spLocks noGrp="1"/>
          </p:cNvSpPr>
          <p:nvPr>
            <p:ph sz="half" idx="1"/>
          </p:nvPr>
        </p:nvSpPr>
        <p:spPr>
          <a:xfrm>
            <a:off x="838200" y="1847851"/>
            <a:ext cx="4670502" cy="3638549"/>
          </a:xfrm>
          <a:noFill/>
        </p:spPr>
        <p:txBody>
          <a:bodyPr>
            <a:noAutofit/>
          </a:bodyPr>
          <a:lstStyle>
            <a:lvl1pPr marL="0" indent="0">
              <a:buNone/>
              <a:defRPr sz="2000">
                <a:solidFill>
                  <a:schemeClr val="bg1"/>
                </a:solidFill>
              </a:defRPr>
            </a:lvl1pPr>
          </a:lstStyle>
          <a:p>
            <a:pPr lvl="0"/>
            <a:r>
              <a:rPr lang="en-US"/>
              <a:t>Click to edit Master text styles</a:t>
            </a:r>
          </a:p>
        </p:txBody>
      </p:sp>
      <p:sp>
        <p:nvSpPr>
          <p:cNvPr id="4" name="Picture Placeholder 3">
            <a:extLst>
              <a:ext uri="{FF2B5EF4-FFF2-40B4-BE49-F238E27FC236}">
                <a16:creationId xmlns:a16="http://schemas.microsoft.com/office/drawing/2014/main" id="{36CC71E5-FBEB-2751-9FF1-D81B32C5D665}"/>
              </a:ext>
            </a:extLst>
          </p:cNvPr>
          <p:cNvSpPr>
            <a:spLocks noGrp="1"/>
          </p:cNvSpPr>
          <p:nvPr>
            <p:ph type="pic" sz="quarter" idx="10"/>
          </p:nvPr>
        </p:nvSpPr>
        <p:spPr>
          <a:xfrm>
            <a:off x="6350002" y="1825625"/>
            <a:ext cx="5003800" cy="3638550"/>
          </a:xfrm>
          <a:solidFill>
            <a:schemeClr val="tx2"/>
          </a:solidFill>
          <a:ln w="76200">
            <a:noFill/>
          </a:ln>
          <a:effectLst/>
        </p:spPr>
        <p:txBody>
          <a:bodyPr/>
          <a:lstStyle>
            <a:lvl1pPr marL="0" indent="0">
              <a:buNone/>
              <a:defRPr>
                <a:solidFill>
                  <a:schemeClr val="bg2"/>
                </a:solidFill>
              </a:defRPr>
            </a:lvl1pPr>
          </a:lstStyle>
          <a:p>
            <a:r>
              <a:rPr lang="en-US"/>
              <a:t>Click icon to add picture</a:t>
            </a:r>
            <a:endParaRPr lang="en-IE"/>
          </a:p>
        </p:txBody>
      </p:sp>
      <p:sp>
        <p:nvSpPr>
          <p:cNvPr id="6" name="Slide Number Placeholder 5">
            <a:extLst>
              <a:ext uri="{FF2B5EF4-FFF2-40B4-BE49-F238E27FC236}">
                <a16:creationId xmlns:a16="http://schemas.microsoft.com/office/drawing/2014/main" id="{880C2FD4-3B80-FE70-83EA-C9956AF116F3}"/>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bg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642288252"/>
      </p:ext>
    </p:extLst>
  </p:cSld>
  <p:clrMapOvr>
    <a:overrideClrMapping bg1="dk1" tx1="lt1" bg2="dk2" tx2="lt2" accent1="accent1" accent2="accent2" accent3="accent3" accent4="accent4" accent5="accent5" accent6="accent6" hlink="hlink" folHlink="folHlink"/>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ody text and 4 images ">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a:xfrm>
            <a:off x="838200" y="365126"/>
            <a:ext cx="10515602" cy="816904"/>
          </a:xfrm>
        </p:spPr>
        <p:txBody>
          <a:bodyPr/>
          <a:lstStyle>
            <a:lvl1pPr>
              <a:defRPr>
                <a:solidFill>
                  <a:schemeClr val="bg2"/>
                </a:solidFill>
              </a:defRPr>
            </a:lvl1pPr>
          </a:lstStyle>
          <a:p>
            <a:r>
              <a:rPr lang="en-US"/>
              <a:t>Click to edit Master title style</a:t>
            </a:r>
            <a:endParaRPr lang="en-IE"/>
          </a:p>
        </p:txBody>
      </p:sp>
      <p:sp>
        <p:nvSpPr>
          <p:cNvPr id="3" name="Google Shape;91;p33">
            <a:extLst>
              <a:ext uri="{FF2B5EF4-FFF2-40B4-BE49-F238E27FC236}">
                <a16:creationId xmlns:a16="http://schemas.microsoft.com/office/drawing/2014/main" id="{A9F38C94-2545-ED67-4909-C5A475FCF803}"/>
              </a:ext>
            </a:extLst>
          </p:cNvPr>
          <p:cNvSpPr>
            <a:spLocks noGrp="1"/>
          </p:cNvSpPr>
          <p:nvPr>
            <p:ph type="pic" idx="2"/>
          </p:nvPr>
        </p:nvSpPr>
        <p:spPr>
          <a:xfrm>
            <a:off x="3538332" y="2197664"/>
            <a:ext cx="2461591" cy="1638158"/>
          </a:xfrm>
          <a:prstGeom prst="rect">
            <a:avLst/>
          </a:prstGeom>
          <a:solidFill>
            <a:schemeClr val="lt2"/>
          </a:solidFill>
          <a:ln>
            <a:noFill/>
          </a:ln>
        </p:spPr>
        <p:txBody>
          <a:bodyPr/>
          <a:lstStyle>
            <a:lvl1pPr marL="0" indent="0">
              <a:buNone/>
              <a:defRPr>
                <a:solidFill>
                  <a:schemeClr val="bg2"/>
                </a:solidFill>
              </a:defRPr>
            </a:lvl1pPr>
          </a:lstStyle>
          <a:p>
            <a:r>
              <a:rPr lang="en-US"/>
              <a:t>Click icon to add picture</a:t>
            </a:r>
            <a:endParaRPr lang="en-IE"/>
          </a:p>
        </p:txBody>
      </p:sp>
      <p:sp>
        <p:nvSpPr>
          <p:cNvPr id="10" name="Google Shape;95;p33">
            <a:extLst>
              <a:ext uri="{FF2B5EF4-FFF2-40B4-BE49-F238E27FC236}">
                <a16:creationId xmlns:a16="http://schemas.microsoft.com/office/drawing/2014/main" id="{45EC68E1-18F5-04CB-00B3-F8948F3B4F18}"/>
              </a:ext>
            </a:extLst>
          </p:cNvPr>
          <p:cNvSpPr>
            <a:spLocks noGrp="1"/>
          </p:cNvSpPr>
          <p:nvPr>
            <p:ph type="pic" idx="5"/>
          </p:nvPr>
        </p:nvSpPr>
        <p:spPr>
          <a:xfrm>
            <a:off x="6161035" y="2197663"/>
            <a:ext cx="2461593" cy="1638159"/>
          </a:xfrm>
          <a:prstGeom prst="rect">
            <a:avLst/>
          </a:prstGeom>
          <a:solidFill>
            <a:schemeClr val="lt2"/>
          </a:solidFill>
          <a:ln>
            <a:noFill/>
          </a:ln>
        </p:spPr>
        <p:txBody>
          <a:bodyPr/>
          <a:lstStyle>
            <a:lvl1pPr marL="0" indent="0">
              <a:buNone/>
              <a:defRPr>
                <a:solidFill>
                  <a:schemeClr val="bg2"/>
                </a:solidFill>
              </a:defRPr>
            </a:lvl1pPr>
          </a:lstStyle>
          <a:p>
            <a:r>
              <a:rPr lang="en-US"/>
              <a:t>Click icon to add picture</a:t>
            </a:r>
            <a:endParaRPr lang="en-IE"/>
          </a:p>
        </p:txBody>
      </p:sp>
      <p:sp>
        <p:nvSpPr>
          <p:cNvPr id="13" name="Text Placeholder 12">
            <a:extLst>
              <a:ext uri="{FF2B5EF4-FFF2-40B4-BE49-F238E27FC236}">
                <a16:creationId xmlns:a16="http://schemas.microsoft.com/office/drawing/2014/main" id="{00A4763F-1C9A-B628-1609-DA5C75C90FC9}"/>
              </a:ext>
            </a:extLst>
          </p:cNvPr>
          <p:cNvSpPr>
            <a:spLocks noGrp="1"/>
          </p:cNvSpPr>
          <p:nvPr>
            <p:ph type="body" sz="quarter" idx="10"/>
          </p:nvPr>
        </p:nvSpPr>
        <p:spPr>
          <a:xfrm>
            <a:off x="8802758" y="2197100"/>
            <a:ext cx="2519363" cy="1638300"/>
          </a:xfrm>
        </p:spPr>
        <p:txBody>
          <a:bodyPr/>
          <a:lstStyle>
            <a:lvl1pPr marL="0" indent="0">
              <a:buNone/>
              <a:defRPr>
                <a:solidFill>
                  <a:schemeClr val="bg1"/>
                </a:solidFill>
              </a:defRPr>
            </a:lvl1pPr>
            <a:lvl2pPr marL="457200" indent="0">
              <a:buNone/>
              <a:defRPr/>
            </a:lvl2pPr>
          </a:lstStyle>
          <a:p>
            <a:pPr lvl="0"/>
            <a:r>
              <a:rPr lang="en-US"/>
              <a:t>Click to edit Master text styles</a:t>
            </a:r>
          </a:p>
          <a:p>
            <a:pPr lvl="1"/>
            <a:r>
              <a:rPr lang="en-US"/>
              <a:t>Second level</a:t>
            </a:r>
          </a:p>
        </p:txBody>
      </p:sp>
      <p:sp>
        <p:nvSpPr>
          <p:cNvPr id="15" name="Google Shape;91;p33">
            <a:extLst>
              <a:ext uri="{FF2B5EF4-FFF2-40B4-BE49-F238E27FC236}">
                <a16:creationId xmlns:a16="http://schemas.microsoft.com/office/drawing/2014/main" id="{0AB5F208-A96D-CEBC-874F-7B719FD86FEB}"/>
              </a:ext>
            </a:extLst>
          </p:cNvPr>
          <p:cNvSpPr>
            <a:spLocks noGrp="1"/>
          </p:cNvSpPr>
          <p:nvPr>
            <p:ph type="pic" idx="11"/>
          </p:nvPr>
        </p:nvSpPr>
        <p:spPr>
          <a:xfrm>
            <a:off x="3538332" y="4031391"/>
            <a:ext cx="2461591" cy="1638158"/>
          </a:xfrm>
          <a:prstGeom prst="rect">
            <a:avLst/>
          </a:prstGeom>
          <a:solidFill>
            <a:schemeClr val="lt2"/>
          </a:solidFill>
          <a:ln>
            <a:noFill/>
          </a:ln>
        </p:spPr>
        <p:txBody>
          <a:bodyPr/>
          <a:lstStyle>
            <a:lvl1pPr marL="0" indent="0">
              <a:buNone/>
              <a:defRPr>
                <a:solidFill>
                  <a:schemeClr val="bg2"/>
                </a:solidFill>
              </a:defRPr>
            </a:lvl1pPr>
          </a:lstStyle>
          <a:p>
            <a:r>
              <a:rPr lang="en-US"/>
              <a:t>Click icon to add picture</a:t>
            </a:r>
            <a:endParaRPr lang="en-IE"/>
          </a:p>
        </p:txBody>
      </p:sp>
      <p:sp>
        <p:nvSpPr>
          <p:cNvPr id="17" name="Google Shape;95;p33">
            <a:extLst>
              <a:ext uri="{FF2B5EF4-FFF2-40B4-BE49-F238E27FC236}">
                <a16:creationId xmlns:a16="http://schemas.microsoft.com/office/drawing/2014/main" id="{0AC28D44-5B34-89F9-D8AB-62E99E380E36}"/>
              </a:ext>
            </a:extLst>
          </p:cNvPr>
          <p:cNvSpPr>
            <a:spLocks noGrp="1"/>
          </p:cNvSpPr>
          <p:nvPr>
            <p:ph type="pic" idx="13"/>
          </p:nvPr>
        </p:nvSpPr>
        <p:spPr>
          <a:xfrm>
            <a:off x="6161035" y="4031390"/>
            <a:ext cx="2461593" cy="1638159"/>
          </a:xfrm>
          <a:prstGeom prst="rect">
            <a:avLst/>
          </a:prstGeom>
          <a:solidFill>
            <a:schemeClr val="lt2"/>
          </a:solidFill>
          <a:ln>
            <a:noFill/>
          </a:ln>
        </p:spPr>
        <p:txBody>
          <a:bodyPr/>
          <a:lstStyle>
            <a:lvl1pPr marL="0" indent="0">
              <a:buNone/>
              <a:defRPr>
                <a:solidFill>
                  <a:schemeClr val="bg2"/>
                </a:solidFill>
              </a:defRPr>
            </a:lvl1pPr>
          </a:lstStyle>
          <a:p>
            <a:r>
              <a:rPr lang="en-US"/>
              <a:t>Click icon to add picture</a:t>
            </a:r>
            <a:endParaRPr lang="en-IE"/>
          </a:p>
        </p:txBody>
      </p:sp>
      <p:sp>
        <p:nvSpPr>
          <p:cNvPr id="18" name="Text Placeholder 12">
            <a:extLst>
              <a:ext uri="{FF2B5EF4-FFF2-40B4-BE49-F238E27FC236}">
                <a16:creationId xmlns:a16="http://schemas.microsoft.com/office/drawing/2014/main" id="{14095A4F-385F-CF4A-5E10-E3628D85F6C8}"/>
              </a:ext>
            </a:extLst>
          </p:cNvPr>
          <p:cNvSpPr>
            <a:spLocks noGrp="1"/>
          </p:cNvSpPr>
          <p:nvPr>
            <p:ph type="body" sz="quarter" idx="14"/>
          </p:nvPr>
        </p:nvSpPr>
        <p:spPr>
          <a:xfrm>
            <a:off x="8802758" y="4030827"/>
            <a:ext cx="2519363" cy="1638300"/>
          </a:xfrm>
        </p:spPr>
        <p:txBody>
          <a:bodyPr/>
          <a:lstStyle>
            <a:lvl1pPr marL="0" indent="0">
              <a:buNone/>
              <a:defRPr>
                <a:solidFill>
                  <a:schemeClr val="bg1"/>
                </a:solidFill>
              </a:defRPr>
            </a:lvl1pPr>
            <a:lvl2pPr marL="457200" indent="0">
              <a:buNone/>
              <a:defRPr/>
            </a:lvl2pPr>
          </a:lstStyle>
          <a:p>
            <a:pPr lvl="0"/>
            <a:r>
              <a:rPr lang="en-US"/>
              <a:t>Click to edit Master text styles</a:t>
            </a:r>
          </a:p>
          <a:p>
            <a:pPr lvl="1"/>
            <a:r>
              <a:rPr lang="en-US"/>
              <a:t>Second level</a:t>
            </a:r>
          </a:p>
        </p:txBody>
      </p:sp>
      <p:sp>
        <p:nvSpPr>
          <p:cNvPr id="4" name="Text Placeholder 12">
            <a:extLst>
              <a:ext uri="{FF2B5EF4-FFF2-40B4-BE49-F238E27FC236}">
                <a16:creationId xmlns:a16="http://schemas.microsoft.com/office/drawing/2014/main" id="{092A6C90-A6CE-C107-4350-7906F5FDD7FC}"/>
              </a:ext>
            </a:extLst>
          </p:cNvPr>
          <p:cNvSpPr>
            <a:spLocks noGrp="1"/>
          </p:cNvSpPr>
          <p:nvPr>
            <p:ph type="body" sz="quarter" idx="15"/>
          </p:nvPr>
        </p:nvSpPr>
        <p:spPr>
          <a:xfrm>
            <a:off x="838839" y="2197100"/>
            <a:ext cx="2519363" cy="1638300"/>
          </a:xfrm>
        </p:spPr>
        <p:txBody>
          <a:bodyPr/>
          <a:lstStyle>
            <a:lvl1pPr marL="0" indent="0">
              <a:buNone/>
              <a:defRPr>
                <a:solidFill>
                  <a:schemeClr val="bg1"/>
                </a:solidFill>
              </a:defRPr>
            </a:lvl1pPr>
            <a:lvl2pPr marL="457200" indent="0">
              <a:buNone/>
              <a:defRPr/>
            </a:lvl2pPr>
          </a:lstStyle>
          <a:p>
            <a:pPr lvl="0"/>
            <a:r>
              <a:rPr lang="en-US"/>
              <a:t>Click to edit Master text styles</a:t>
            </a:r>
          </a:p>
          <a:p>
            <a:pPr lvl="1"/>
            <a:r>
              <a:rPr lang="en-US"/>
              <a:t>Second level</a:t>
            </a:r>
          </a:p>
        </p:txBody>
      </p:sp>
      <p:sp>
        <p:nvSpPr>
          <p:cNvPr id="6" name="Text Placeholder 12">
            <a:extLst>
              <a:ext uri="{FF2B5EF4-FFF2-40B4-BE49-F238E27FC236}">
                <a16:creationId xmlns:a16="http://schemas.microsoft.com/office/drawing/2014/main" id="{FA45C4F8-1803-A72B-10DF-5927ABF6E406}"/>
              </a:ext>
            </a:extLst>
          </p:cNvPr>
          <p:cNvSpPr>
            <a:spLocks noGrp="1"/>
          </p:cNvSpPr>
          <p:nvPr>
            <p:ph type="body" sz="quarter" idx="16"/>
          </p:nvPr>
        </p:nvSpPr>
        <p:spPr>
          <a:xfrm>
            <a:off x="838839" y="4030827"/>
            <a:ext cx="2519363" cy="1638300"/>
          </a:xfrm>
        </p:spPr>
        <p:txBody>
          <a:bodyPr/>
          <a:lstStyle>
            <a:lvl1pPr marL="0" indent="0">
              <a:buNone/>
              <a:defRPr>
                <a:solidFill>
                  <a:schemeClr val="bg1"/>
                </a:solidFill>
              </a:defRPr>
            </a:lvl1pPr>
            <a:lvl2pPr marL="457200" indent="0">
              <a:buNone/>
              <a:defRPr/>
            </a:lvl2pPr>
          </a:lstStyle>
          <a:p>
            <a:pPr lvl="0"/>
            <a:r>
              <a:rPr lang="en-US"/>
              <a:t>Click to edit Master text styles</a:t>
            </a:r>
          </a:p>
          <a:p>
            <a:pPr lvl="1"/>
            <a:r>
              <a:rPr lang="en-US"/>
              <a:t>Second level</a:t>
            </a:r>
          </a:p>
        </p:txBody>
      </p:sp>
      <p:sp>
        <p:nvSpPr>
          <p:cNvPr id="8" name="Slide Number Placeholder 5">
            <a:extLst>
              <a:ext uri="{FF2B5EF4-FFF2-40B4-BE49-F238E27FC236}">
                <a16:creationId xmlns:a16="http://schemas.microsoft.com/office/drawing/2014/main" id="{8F9C7B51-3F16-5ABF-3BE2-AA17BD10DB6C}"/>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bg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320261775"/>
      </p:ext>
    </p:extLst>
  </p:cSld>
  <p:clrMapOvr>
    <a:overrideClrMapping bg1="dk1" tx1="lt1" bg2="dk2" tx2="lt2" accent1="accent1" accent2="accent2" accent3="accent3" accent4="accent4" accent5="accent5" accent6="accent6" hlink="hlink" folHlink="folHlink"/>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ext and big photo">
    <p:spTree>
      <p:nvGrpSpPr>
        <p:cNvPr id="1" name=""/>
        <p:cNvGrpSpPr/>
        <p:nvPr/>
      </p:nvGrpSpPr>
      <p:grpSpPr>
        <a:xfrm>
          <a:off x="0" y="0"/>
          <a:ext cx="0" cy="0"/>
          <a:chOff x="0" y="0"/>
          <a:chExt cx="0" cy="0"/>
        </a:xfrm>
      </p:grpSpPr>
      <p:sp>
        <p:nvSpPr>
          <p:cNvPr id="3" name="Google Shape;72;p30">
            <a:extLst>
              <a:ext uri="{FF2B5EF4-FFF2-40B4-BE49-F238E27FC236}">
                <a16:creationId xmlns:a16="http://schemas.microsoft.com/office/drawing/2014/main" id="{252B282C-4F3C-02C6-86A1-F51B8A650847}"/>
              </a:ext>
            </a:extLst>
          </p:cNvPr>
          <p:cNvSpPr>
            <a:spLocks noGrp="1"/>
          </p:cNvSpPr>
          <p:nvPr>
            <p:ph type="pic" idx="2"/>
          </p:nvPr>
        </p:nvSpPr>
        <p:spPr>
          <a:xfrm>
            <a:off x="0" y="1"/>
            <a:ext cx="5388429" cy="6857999"/>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a:xfrm>
            <a:off x="3766457" y="589047"/>
            <a:ext cx="7587343" cy="717240"/>
          </a:xfrm>
          <a:solidFill>
            <a:schemeClr val="bg1"/>
          </a:solidFill>
        </p:spPr>
        <p:txBody>
          <a:bodyPr>
            <a:noAutofit/>
          </a:bodyPr>
          <a:lstStyle>
            <a:lvl1pPr>
              <a:defRPr sz="4400"/>
            </a:lvl1pPr>
          </a:lstStyle>
          <a:p>
            <a:r>
              <a:rPr lang="en-US"/>
              <a:t>Click to edit Master title style</a:t>
            </a:r>
            <a:endParaRPr lang="en-IE"/>
          </a:p>
        </p:txBody>
      </p:sp>
      <p:sp>
        <p:nvSpPr>
          <p:cNvPr id="5" name="Content Placeholder 2">
            <a:extLst>
              <a:ext uri="{FF2B5EF4-FFF2-40B4-BE49-F238E27FC236}">
                <a16:creationId xmlns:a16="http://schemas.microsoft.com/office/drawing/2014/main" id="{303EC882-6BB1-D514-72D9-A7D3FAE8C698}"/>
              </a:ext>
            </a:extLst>
          </p:cNvPr>
          <p:cNvSpPr>
            <a:spLocks noGrp="1"/>
          </p:cNvSpPr>
          <p:nvPr>
            <p:ph sz="half" idx="15"/>
          </p:nvPr>
        </p:nvSpPr>
        <p:spPr>
          <a:xfrm>
            <a:off x="3766457" y="1895333"/>
            <a:ext cx="7587342" cy="3845577"/>
          </a:xfrm>
          <a:solidFill>
            <a:schemeClr val="bg1"/>
          </a:solidFill>
        </p:spPr>
        <p:txBody>
          <a:bodyPr>
            <a:noAutofit/>
          </a:bodyPr>
          <a:lstStyle>
            <a:lvl1pPr>
              <a:defRPr sz="2000"/>
            </a:lvl1pPr>
          </a:lstStyle>
          <a:p>
            <a:pPr lvl="0"/>
            <a:r>
              <a:rPr lang="en-US"/>
              <a:t>Click to edit Master text styles</a:t>
            </a:r>
          </a:p>
        </p:txBody>
      </p:sp>
    </p:spTree>
    <p:extLst>
      <p:ext uri="{BB962C8B-B14F-4D97-AF65-F5344CB8AC3E}">
        <p14:creationId xmlns:p14="http://schemas.microsoft.com/office/powerpoint/2010/main" val="374348421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ext and big photo coloured title 1">
    <p:spTree>
      <p:nvGrpSpPr>
        <p:cNvPr id="1" name=""/>
        <p:cNvGrpSpPr/>
        <p:nvPr/>
      </p:nvGrpSpPr>
      <p:grpSpPr>
        <a:xfrm>
          <a:off x="0" y="0"/>
          <a:ext cx="0" cy="0"/>
          <a:chOff x="0" y="0"/>
          <a:chExt cx="0" cy="0"/>
        </a:xfrm>
      </p:grpSpPr>
      <p:sp>
        <p:nvSpPr>
          <p:cNvPr id="3" name="Google Shape;72;p30">
            <a:extLst>
              <a:ext uri="{FF2B5EF4-FFF2-40B4-BE49-F238E27FC236}">
                <a16:creationId xmlns:a16="http://schemas.microsoft.com/office/drawing/2014/main" id="{252B282C-4F3C-02C6-86A1-F51B8A650847}"/>
              </a:ext>
            </a:extLst>
          </p:cNvPr>
          <p:cNvSpPr>
            <a:spLocks noGrp="1"/>
          </p:cNvSpPr>
          <p:nvPr>
            <p:ph type="pic" idx="2"/>
          </p:nvPr>
        </p:nvSpPr>
        <p:spPr>
          <a:xfrm>
            <a:off x="0" y="1"/>
            <a:ext cx="5388429" cy="6857999"/>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6" name="Content Placeholder 2">
            <a:extLst>
              <a:ext uri="{FF2B5EF4-FFF2-40B4-BE49-F238E27FC236}">
                <a16:creationId xmlns:a16="http://schemas.microsoft.com/office/drawing/2014/main" id="{E2F83483-47D9-4712-A8D7-6CBF61775821}"/>
              </a:ext>
            </a:extLst>
          </p:cNvPr>
          <p:cNvSpPr>
            <a:spLocks noGrp="1"/>
          </p:cNvSpPr>
          <p:nvPr>
            <p:ph sz="half" idx="16" hasCustomPrompt="1"/>
          </p:nvPr>
        </p:nvSpPr>
        <p:spPr>
          <a:xfrm>
            <a:off x="125185" y="6162533"/>
            <a:ext cx="6090558" cy="390667"/>
          </a:xfrm>
          <a:solidFill>
            <a:schemeClr val="bg1"/>
          </a:solidFill>
        </p:spPr>
        <p:txBody>
          <a:bodyPr anchor="ctr">
            <a:noAutofit/>
          </a:bodyPr>
          <a:lstStyle>
            <a:lvl1pPr marL="0" indent="0">
              <a:buNone/>
              <a:defRPr sz="1800" i="1"/>
            </a:lvl1pPr>
          </a:lstStyle>
          <a:p>
            <a:pPr lvl="0"/>
            <a:r>
              <a:rPr lang="en-US"/>
              <a:t>Click to edit Master text styles (caption)</a:t>
            </a:r>
          </a:p>
        </p:txBody>
      </p:sp>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a:xfrm>
            <a:off x="6215743" y="589047"/>
            <a:ext cx="5138057" cy="717240"/>
          </a:xfrm>
          <a:solidFill>
            <a:schemeClr val="bg1"/>
          </a:solidFill>
        </p:spPr>
        <p:txBody>
          <a:bodyPr lIns="72000" tIns="72000" rIns="72000" bIns="72000">
            <a:noAutofit/>
          </a:bodyPr>
          <a:lstStyle>
            <a:lvl1pPr>
              <a:defRPr sz="4400">
                <a:solidFill>
                  <a:schemeClr val="bg1"/>
                </a:solidFill>
                <a:highlight>
                  <a:srgbClr val="003399"/>
                </a:highlight>
              </a:defRPr>
            </a:lvl1pPr>
          </a:lstStyle>
          <a:p>
            <a:r>
              <a:rPr lang="en-US"/>
              <a:t>Click to edit Master title style</a:t>
            </a:r>
            <a:endParaRPr lang="en-IE"/>
          </a:p>
        </p:txBody>
      </p:sp>
      <p:sp>
        <p:nvSpPr>
          <p:cNvPr id="5" name="Content Placeholder 2">
            <a:extLst>
              <a:ext uri="{FF2B5EF4-FFF2-40B4-BE49-F238E27FC236}">
                <a16:creationId xmlns:a16="http://schemas.microsoft.com/office/drawing/2014/main" id="{303EC882-6BB1-D514-72D9-A7D3FAE8C698}"/>
              </a:ext>
            </a:extLst>
          </p:cNvPr>
          <p:cNvSpPr>
            <a:spLocks noGrp="1"/>
          </p:cNvSpPr>
          <p:nvPr>
            <p:ph sz="half" idx="15"/>
          </p:nvPr>
        </p:nvSpPr>
        <p:spPr>
          <a:xfrm>
            <a:off x="6215743" y="1895333"/>
            <a:ext cx="5138056" cy="3845577"/>
          </a:xfrm>
          <a:solidFill>
            <a:schemeClr val="bg1"/>
          </a:solidFill>
        </p:spPr>
        <p:txBody>
          <a:bodyPr>
            <a:noAutofit/>
          </a:bodyPr>
          <a:lstStyle>
            <a:lvl1pPr marL="0" indent="0">
              <a:buClr>
                <a:schemeClr val="tx2"/>
              </a:buClr>
              <a:buSzPct val="150000"/>
              <a:buFont typeface="Arial" panose="020B0604020202020204" pitchFamily="34" charset="0"/>
              <a:buNone/>
              <a:defRPr sz="20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413893842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ext and big photo coloured title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2F035CA-6728-7746-C9FC-81382094BF06}"/>
              </a:ext>
            </a:extLst>
          </p:cNvPr>
          <p:cNvSpPr/>
          <p:nvPr/>
        </p:nvSpPr>
        <p:spPr>
          <a:xfrm>
            <a:off x="5388429" y="0"/>
            <a:ext cx="6803571" cy="6857999"/>
          </a:xfrm>
          <a:prstGeom prst="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 name="Google Shape;72;p30">
            <a:extLst>
              <a:ext uri="{FF2B5EF4-FFF2-40B4-BE49-F238E27FC236}">
                <a16:creationId xmlns:a16="http://schemas.microsoft.com/office/drawing/2014/main" id="{252B282C-4F3C-02C6-86A1-F51B8A650847}"/>
              </a:ext>
            </a:extLst>
          </p:cNvPr>
          <p:cNvSpPr>
            <a:spLocks noGrp="1"/>
          </p:cNvSpPr>
          <p:nvPr>
            <p:ph type="pic" idx="2"/>
          </p:nvPr>
        </p:nvSpPr>
        <p:spPr>
          <a:xfrm>
            <a:off x="0" y="1"/>
            <a:ext cx="5388429" cy="6857999"/>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8" name="Content Placeholder 2">
            <a:extLst>
              <a:ext uri="{FF2B5EF4-FFF2-40B4-BE49-F238E27FC236}">
                <a16:creationId xmlns:a16="http://schemas.microsoft.com/office/drawing/2014/main" id="{4DE701F0-97E6-7792-DA18-AD6E08BC874A}"/>
              </a:ext>
            </a:extLst>
          </p:cNvPr>
          <p:cNvSpPr>
            <a:spLocks noGrp="1"/>
          </p:cNvSpPr>
          <p:nvPr>
            <p:ph sz="half" idx="16" hasCustomPrompt="1"/>
          </p:nvPr>
        </p:nvSpPr>
        <p:spPr>
          <a:xfrm>
            <a:off x="125185" y="6162533"/>
            <a:ext cx="6090558" cy="390667"/>
          </a:xfrm>
          <a:solidFill>
            <a:schemeClr val="bg1"/>
          </a:solidFill>
        </p:spPr>
        <p:txBody>
          <a:bodyPr anchor="ctr">
            <a:noAutofit/>
          </a:bodyPr>
          <a:lstStyle>
            <a:lvl1pPr marL="0" indent="0">
              <a:buNone/>
              <a:defRPr sz="1800" i="1"/>
            </a:lvl1pPr>
          </a:lstStyle>
          <a:p>
            <a:pPr lvl="0"/>
            <a:r>
              <a:rPr lang="en-US"/>
              <a:t>Click to edit Master text styles (caption)</a:t>
            </a:r>
          </a:p>
        </p:txBody>
      </p:sp>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a:xfrm>
            <a:off x="6215743" y="589046"/>
            <a:ext cx="5138057" cy="1000267"/>
          </a:xfrm>
          <a:noFill/>
        </p:spPr>
        <p:txBody>
          <a:bodyPr lIns="72000" tIns="72000" rIns="72000" bIns="72000">
            <a:noAutofit/>
          </a:bodyPr>
          <a:lstStyle>
            <a:lvl1pPr>
              <a:defRPr sz="4400">
                <a:solidFill>
                  <a:schemeClr val="tx2"/>
                </a:solidFill>
                <a:highlight>
                  <a:srgbClr val="FFD34E"/>
                </a:highlight>
              </a:defRPr>
            </a:lvl1pPr>
          </a:lstStyle>
          <a:p>
            <a:r>
              <a:rPr lang="en-US"/>
              <a:t>Click to edit Master title style</a:t>
            </a:r>
            <a:endParaRPr lang="en-IE"/>
          </a:p>
        </p:txBody>
      </p:sp>
      <p:sp>
        <p:nvSpPr>
          <p:cNvPr id="5" name="Content Placeholder 2">
            <a:extLst>
              <a:ext uri="{FF2B5EF4-FFF2-40B4-BE49-F238E27FC236}">
                <a16:creationId xmlns:a16="http://schemas.microsoft.com/office/drawing/2014/main" id="{303EC882-6BB1-D514-72D9-A7D3FAE8C698}"/>
              </a:ext>
            </a:extLst>
          </p:cNvPr>
          <p:cNvSpPr>
            <a:spLocks noGrp="1"/>
          </p:cNvSpPr>
          <p:nvPr>
            <p:ph sz="half" idx="15"/>
          </p:nvPr>
        </p:nvSpPr>
        <p:spPr>
          <a:xfrm>
            <a:off x="6215743" y="1895333"/>
            <a:ext cx="5138056" cy="3845577"/>
          </a:xfrm>
          <a:noFill/>
        </p:spPr>
        <p:txBody>
          <a:bodyPr>
            <a:noAutofit/>
          </a:bodyPr>
          <a:lstStyle>
            <a:lvl1pPr marL="0" indent="0">
              <a:buClr>
                <a:schemeClr val="bg1"/>
              </a:buClr>
              <a:buSzPct val="150000"/>
              <a:buFont typeface="Arial" panose="020B0604020202020204" pitchFamily="34" charset="0"/>
              <a:buNone/>
              <a:defRPr sz="2000">
                <a:solidFill>
                  <a:schemeClr val="bg1"/>
                </a:solidFill>
              </a:defRPr>
            </a:lvl1pPr>
          </a:lstStyle>
          <a:p>
            <a:pPr lvl="0"/>
            <a:r>
              <a:rPr lang="en-US"/>
              <a:t>Click to edit Master text styles</a:t>
            </a:r>
          </a:p>
        </p:txBody>
      </p:sp>
      <p:pic>
        <p:nvPicPr>
          <p:cNvPr id="6" name="Picture 5" descr="A blue flag with yellow stars and stripes&#10;&#10;Description automatically generated">
            <a:extLst>
              <a:ext uri="{FF2B5EF4-FFF2-40B4-BE49-F238E27FC236}">
                <a16:creationId xmlns:a16="http://schemas.microsoft.com/office/drawing/2014/main" id="{F07C9B7E-A9F7-E74E-8B7F-3BB737CA3989}"/>
              </a:ext>
            </a:extLst>
          </p:cNvPr>
          <p:cNvPicPr>
            <a:picLocks noChangeAspect="1"/>
          </p:cNvPicPr>
          <p:nvPr/>
        </p:nvPicPr>
        <p:blipFill>
          <a:blip r:embed="rId2"/>
          <a:stretch>
            <a:fillRect/>
          </a:stretch>
        </p:blipFill>
        <p:spPr>
          <a:xfrm>
            <a:off x="10725768" y="5901016"/>
            <a:ext cx="1257867" cy="763200"/>
          </a:xfrm>
          <a:prstGeom prst="rect">
            <a:avLst/>
          </a:prstGeom>
        </p:spPr>
      </p:pic>
      <p:pic>
        <p:nvPicPr>
          <p:cNvPr id="9" name="Picture 8" descr="A blue flag with yellow stars and stripes&#10;&#10;Description automatically generated">
            <a:extLst>
              <a:ext uri="{FF2B5EF4-FFF2-40B4-BE49-F238E27FC236}">
                <a16:creationId xmlns:a16="http://schemas.microsoft.com/office/drawing/2014/main" id="{B7786630-3DC2-B1C3-65DD-397E44619752}"/>
              </a:ext>
            </a:extLst>
          </p:cNvPr>
          <p:cNvPicPr>
            <a:picLocks noChangeAspect="1"/>
          </p:cNvPicPr>
          <p:nvPr userDrawn="1"/>
        </p:nvPicPr>
        <p:blipFill>
          <a:blip r:embed="rId2"/>
          <a:stretch>
            <a:fillRect/>
          </a:stretch>
        </p:blipFill>
        <p:spPr>
          <a:xfrm>
            <a:off x="10725768" y="5901016"/>
            <a:ext cx="1257867" cy="763200"/>
          </a:xfrm>
          <a:prstGeom prst="rect">
            <a:avLst/>
          </a:prstGeom>
        </p:spPr>
      </p:pic>
    </p:spTree>
    <p:extLst>
      <p:ext uri="{BB962C8B-B14F-4D97-AF65-F5344CB8AC3E}">
        <p14:creationId xmlns:p14="http://schemas.microsoft.com/office/powerpoint/2010/main" val="124007225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ext in 2 columns and big photo">
    <p:spTree>
      <p:nvGrpSpPr>
        <p:cNvPr id="1" name=""/>
        <p:cNvGrpSpPr/>
        <p:nvPr/>
      </p:nvGrpSpPr>
      <p:grpSpPr>
        <a:xfrm>
          <a:off x="0" y="0"/>
          <a:ext cx="0" cy="0"/>
          <a:chOff x="0" y="0"/>
          <a:chExt cx="0" cy="0"/>
        </a:xfrm>
      </p:grpSpPr>
      <p:sp>
        <p:nvSpPr>
          <p:cNvPr id="3" name="Google Shape;72;p30">
            <a:extLst>
              <a:ext uri="{FF2B5EF4-FFF2-40B4-BE49-F238E27FC236}">
                <a16:creationId xmlns:a16="http://schemas.microsoft.com/office/drawing/2014/main" id="{252B282C-4F3C-02C6-86A1-F51B8A650847}"/>
              </a:ext>
            </a:extLst>
          </p:cNvPr>
          <p:cNvSpPr>
            <a:spLocks noGrp="1"/>
          </p:cNvSpPr>
          <p:nvPr>
            <p:ph type="pic" idx="2"/>
          </p:nvPr>
        </p:nvSpPr>
        <p:spPr>
          <a:xfrm>
            <a:off x="7773642" y="0"/>
            <a:ext cx="4418358" cy="6857999"/>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9" name="Title 1">
            <a:extLst>
              <a:ext uri="{FF2B5EF4-FFF2-40B4-BE49-F238E27FC236}">
                <a16:creationId xmlns:a16="http://schemas.microsoft.com/office/drawing/2014/main" id="{278936A4-CDCB-C345-F71F-92F2A35F2AF4}"/>
              </a:ext>
            </a:extLst>
          </p:cNvPr>
          <p:cNvSpPr>
            <a:spLocks noGrp="1"/>
          </p:cNvSpPr>
          <p:nvPr>
            <p:ph type="title"/>
          </p:nvPr>
        </p:nvSpPr>
        <p:spPr>
          <a:xfrm>
            <a:off x="838200" y="461067"/>
            <a:ext cx="7915275" cy="717240"/>
          </a:xfrm>
          <a:solidFill>
            <a:schemeClr val="bg1"/>
          </a:solidFill>
        </p:spPr>
        <p:txBody>
          <a:bodyPr>
            <a:noAutofit/>
          </a:bodyPr>
          <a:lstStyle>
            <a:lvl1pPr>
              <a:defRPr sz="4400"/>
            </a:lvl1pPr>
          </a:lstStyle>
          <a:p>
            <a:r>
              <a:rPr lang="en-US"/>
              <a:t>Click to edit Master title style</a:t>
            </a:r>
            <a:endParaRPr lang="en-IE"/>
          </a:p>
        </p:txBody>
      </p:sp>
      <p:sp>
        <p:nvSpPr>
          <p:cNvPr id="6" name="Content Placeholder 2">
            <a:extLst>
              <a:ext uri="{FF2B5EF4-FFF2-40B4-BE49-F238E27FC236}">
                <a16:creationId xmlns:a16="http://schemas.microsoft.com/office/drawing/2014/main" id="{BFE590DB-1C31-60F0-D6F8-A1706796115D}"/>
              </a:ext>
            </a:extLst>
          </p:cNvPr>
          <p:cNvSpPr>
            <a:spLocks noGrp="1"/>
          </p:cNvSpPr>
          <p:nvPr>
            <p:ph sz="half" idx="13"/>
          </p:nvPr>
        </p:nvSpPr>
        <p:spPr>
          <a:xfrm>
            <a:off x="838200" y="1833753"/>
            <a:ext cx="2974761" cy="3638550"/>
          </a:xfrm>
          <a:noFill/>
        </p:spPr>
        <p:txBody>
          <a:bodyPr>
            <a:noAutofit/>
          </a:bodyPr>
          <a:lstStyle>
            <a:lvl1pPr marL="0" indent="0">
              <a:buNone/>
              <a:defRPr sz="2000">
                <a:solidFill>
                  <a:schemeClr val="tx1"/>
                </a:solidFill>
              </a:defRPr>
            </a:lvl1pPr>
          </a:lstStyle>
          <a:p>
            <a:pPr lvl="0"/>
            <a:r>
              <a:rPr lang="en-US"/>
              <a:t>Click to edit Master text styles</a:t>
            </a:r>
          </a:p>
        </p:txBody>
      </p:sp>
      <p:sp>
        <p:nvSpPr>
          <p:cNvPr id="4" name="Content Placeholder 2">
            <a:extLst>
              <a:ext uri="{FF2B5EF4-FFF2-40B4-BE49-F238E27FC236}">
                <a16:creationId xmlns:a16="http://schemas.microsoft.com/office/drawing/2014/main" id="{094C5D68-6EAE-4A7A-7185-241C6CF3B9BB}"/>
              </a:ext>
            </a:extLst>
          </p:cNvPr>
          <p:cNvSpPr>
            <a:spLocks noGrp="1"/>
          </p:cNvSpPr>
          <p:nvPr>
            <p:ph sz="half" idx="12"/>
          </p:nvPr>
        </p:nvSpPr>
        <p:spPr>
          <a:xfrm>
            <a:off x="4305921" y="1833753"/>
            <a:ext cx="2974761" cy="3638550"/>
          </a:xfrm>
          <a:noFill/>
        </p:spPr>
        <p:txBody>
          <a:bodyPr>
            <a:noAutofit/>
          </a:bodyPr>
          <a:lstStyle>
            <a:lvl1pPr marL="0" indent="0">
              <a:buNone/>
              <a:defRPr sz="2000">
                <a:solidFill>
                  <a:schemeClr val="tx1"/>
                </a:solidFill>
              </a:defRPr>
            </a:lvl1pPr>
          </a:lstStyle>
          <a:p>
            <a:pPr lvl="0"/>
            <a:r>
              <a:rPr lang="en-US"/>
              <a:t>Click to edit Master text styles</a:t>
            </a:r>
          </a:p>
        </p:txBody>
      </p:sp>
      <p:pic>
        <p:nvPicPr>
          <p:cNvPr id="2" name="Picture 1" descr="A blue flag with yellow stars&#10;&#10;Description automatically generated">
            <a:extLst>
              <a:ext uri="{FF2B5EF4-FFF2-40B4-BE49-F238E27FC236}">
                <a16:creationId xmlns:a16="http://schemas.microsoft.com/office/drawing/2014/main" id="{901A7271-B7CF-4C49-1423-D7CA7ECEF27B}"/>
              </a:ext>
            </a:extLst>
          </p:cNvPr>
          <p:cNvPicPr>
            <a:picLocks noChangeAspect="1"/>
          </p:cNvPicPr>
          <p:nvPr/>
        </p:nvPicPr>
        <p:blipFill>
          <a:blip r:embed="rId2"/>
          <a:stretch>
            <a:fillRect/>
          </a:stretch>
        </p:blipFill>
        <p:spPr>
          <a:xfrm>
            <a:off x="10725768" y="5901016"/>
            <a:ext cx="1256063" cy="762106"/>
          </a:xfrm>
          <a:prstGeom prst="rect">
            <a:avLst/>
          </a:prstGeom>
        </p:spPr>
      </p:pic>
      <p:pic>
        <p:nvPicPr>
          <p:cNvPr id="5" name="Picture 4" descr="A blue flag with yellow stars&#10;&#10;Description automatically generated">
            <a:extLst>
              <a:ext uri="{FF2B5EF4-FFF2-40B4-BE49-F238E27FC236}">
                <a16:creationId xmlns:a16="http://schemas.microsoft.com/office/drawing/2014/main" id="{C0DCEE1B-27AC-37B6-7683-71F823E43E96}"/>
              </a:ext>
            </a:extLst>
          </p:cNvPr>
          <p:cNvPicPr>
            <a:picLocks noChangeAspect="1"/>
          </p:cNvPicPr>
          <p:nvPr userDrawn="1"/>
        </p:nvPicPr>
        <p:blipFill>
          <a:blip r:embed="rId2"/>
          <a:stretch>
            <a:fillRect/>
          </a:stretch>
        </p:blipFill>
        <p:spPr>
          <a:xfrm>
            <a:off x="10725768" y="5901016"/>
            <a:ext cx="1256063" cy="762106"/>
          </a:xfrm>
          <a:prstGeom prst="rect">
            <a:avLst/>
          </a:prstGeom>
        </p:spPr>
      </p:pic>
      <p:sp>
        <p:nvSpPr>
          <p:cNvPr id="7" name="Slide Number Placeholder 5">
            <a:extLst>
              <a:ext uri="{FF2B5EF4-FFF2-40B4-BE49-F238E27FC236}">
                <a16:creationId xmlns:a16="http://schemas.microsoft.com/office/drawing/2014/main" id="{6397D846-EECB-7092-C88A-21E2250BDEB7}"/>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367699569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3 photos and three text boxes">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41187F8-6993-4E2B-6622-C25429339D60}"/>
              </a:ext>
            </a:extLst>
          </p:cNvPr>
          <p:cNvSpPr>
            <a:spLocks noGrp="1"/>
          </p:cNvSpPr>
          <p:nvPr>
            <p:ph type="title"/>
          </p:nvPr>
        </p:nvSpPr>
        <p:spPr>
          <a:xfrm>
            <a:off x="838200" y="365126"/>
            <a:ext cx="10515602" cy="816904"/>
          </a:xfrm>
        </p:spPr>
        <p:txBody>
          <a:bodyPr>
            <a:noAutofit/>
          </a:bodyPr>
          <a:lstStyle>
            <a:lvl1pPr algn="l" defTabSz="914400" rtl="0" eaLnBrk="1" latinLnBrk="0" hangingPunct="1">
              <a:lnSpc>
                <a:spcPct val="90000"/>
              </a:lnSpc>
              <a:spcBef>
                <a:spcPct val="0"/>
              </a:spcBef>
              <a:buNone/>
              <a:defRPr lang="en-IE" sz="4400" kern="1200" dirty="0">
                <a:solidFill>
                  <a:schemeClr val="tx2"/>
                </a:solidFill>
                <a:latin typeface="+mj-lt"/>
                <a:ea typeface="+mj-ea"/>
                <a:cs typeface="+mj-cs"/>
              </a:defRPr>
            </a:lvl1pPr>
          </a:lstStyle>
          <a:p>
            <a:r>
              <a:rPr lang="en-US"/>
              <a:t>Click to edit Master title style</a:t>
            </a:r>
            <a:endParaRPr lang="en-IE"/>
          </a:p>
        </p:txBody>
      </p:sp>
      <p:sp>
        <p:nvSpPr>
          <p:cNvPr id="3" name="Google Shape;72;p30">
            <a:extLst>
              <a:ext uri="{FF2B5EF4-FFF2-40B4-BE49-F238E27FC236}">
                <a16:creationId xmlns:a16="http://schemas.microsoft.com/office/drawing/2014/main" id="{252B282C-4F3C-02C6-86A1-F51B8A650847}"/>
              </a:ext>
            </a:extLst>
          </p:cNvPr>
          <p:cNvSpPr>
            <a:spLocks noGrp="1"/>
          </p:cNvSpPr>
          <p:nvPr>
            <p:ph type="pic" idx="2"/>
          </p:nvPr>
        </p:nvSpPr>
        <p:spPr>
          <a:xfrm>
            <a:off x="872591" y="1571394"/>
            <a:ext cx="3008502" cy="2763002"/>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5" name="Text Placeholder 4">
            <a:extLst>
              <a:ext uri="{FF2B5EF4-FFF2-40B4-BE49-F238E27FC236}">
                <a16:creationId xmlns:a16="http://schemas.microsoft.com/office/drawing/2014/main" id="{953FA7EE-FB05-1C4E-138A-F50BCF45EECE}"/>
              </a:ext>
            </a:extLst>
          </p:cNvPr>
          <p:cNvSpPr>
            <a:spLocks noGrp="1"/>
          </p:cNvSpPr>
          <p:nvPr>
            <p:ph type="body" sz="quarter" idx="29"/>
          </p:nvPr>
        </p:nvSpPr>
        <p:spPr>
          <a:xfrm>
            <a:off x="873125" y="4591050"/>
            <a:ext cx="3008313" cy="1103313"/>
          </a:xfrm>
        </p:spPr>
        <p:txBody>
          <a:bodyPr>
            <a:noAutofit/>
          </a:bodyPr>
          <a:lstStyle>
            <a:lvl1pPr marL="0" indent="0">
              <a:buNone/>
              <a:defRPr/>
            </a:lvl1pPr>
          </a:lstStyle>
          <a:p>
            <a:pPr lvl="0"/>
            <a:r>
              <a:rPr lang="en-US"/>
              <a:t>Click to edit Master text styles</a:t>
            </a:r>
          </a:p>
        </p:txBody>
      </p:sp>
      <p:sp>
        <p:nvSpPr>
          <p:cNvPr id="7" name="Google Shape;72;p30">
            <a:extLst>
              <a:ext uri="{FF2B5EF4-FFF2-40B4-BE49-F238E27FC236}">
                <a16:creationId xmlns:a16="http://schemas.microsoft.com/office/drawing/2014/main" id="{463AB235-233D-D0DB-E16C-CB9366541FFD}"/>
              </a:ext>
            </a:extLst>
          </p:cNvPr>
          <p:cNvSpPr>
            <a:spLocks noGrp="1"/>
          </p:cNvSpPr>
          <p:nvPr>
            <p:ph type="pic" idx="27"/>
          </p:nvPr>
        </p:nvSpPr>
        <p:spPr>
          <a:xfrm>
            <a:off x="4608944" y="1571394"/>
            <a:ext cx="3008502" cy="2763002"/>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9" name="Text Placeholder 4">
            <a:extLst>
              <a:ext uri="{FF2B5EF4-FFF2-40B4-BE49-F238E27FC236}">
                <a16:creationId xmlns:a16="http://schemas.microsoft.com/office/drawing/2014/main" id="{321AD6DD-14BD-E044-8AD7-2881DB891822}"/>
              </a:ext>
            </a:extLst>
          </p:cNvPr>
          <p:cNvSpPr>
            <a:spLocks noGrp="1"/>
          </p:cNvSpPr>
          <p:nvPr>
            <p:ph type="body" sz="quarter" idx="30"/>
          </p:nvPr>
        </p:nvSpPr>
        <p:spPr>
          <a:xfrm>
            <a:off x="4609133" y="4611671"/>
            <a:ext cx="3008313" cy="1103313"/>
          </a:xfrm>
        </p:spPr>
        <p:txBody>
          <a:bodyPr>
            <a:noAutofit/>
          </a:bodyPr>
          <a:lstStyle>
            <a:lvl1pPr marL="0" indent="0">
              <a:buNone/>
              <a:defRPr/>
            </a:lvl1pPr>
          </a:lstStyle>
          <a:p>
            <a:pPr lvl="0"/>
            <a:r>
              <a:rPr lang="en-US"/>
              <a:t>Click to edit Master text styles</a:t>
            </a:r>
          </a:p>
        </p:txBody>
      </p:sp>
      <p:sp>
        <p:nvSpPr>
          <p:cNvPr id="8" name="Google Shape;72;p30">
            <a:extLst>
              <a:ext uri="{FF2B5EF4-FFF2-40B4-BE49-F238E27FC236}">
                <a16:creationId xmlns:a16="http://schemas.microsoft.com/office/drawing/2014/main" id="{18BFCAC6-D624-8622-7879-6E32A21B7DBA}"/>
              </a:ext>
            </a:extLst>
          </p:cNvPr>
          <p:cNvSpPr>
            <a:spLocks noGrp="1"/>
          </p:cNvSpPr>
          <p:nvPr>
            <p:ph type="pic" idx="28"/>
          </p:nvPr>
        </p:nvSpPr>
        <p:spPr>
          <a:xfrm>
            <a:off x="8345298" y="1571394"/>
            <a:ext cx="3008502" cy="2763002"/>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10" name="Text Placeholder 4">
            <a:extLst>
              <a:ext uri="{FF2B5EF4-FFF2-40B4-BE49-F238E27FC236}">
                <a16:creationId xmlns:a16="http://schemas.microsoft.com/office/drawing/2014/main" id="{12415A3E-5C31-4007-8208-34FF613FDA4D}"/>
              </a:ext>
            </a:extLst>
          </p:cNvPr>
          <p:cNvSpPr>
            <a:spLocks noGrp="1"/>
          </p:cNvSpPr>
          <p:nvPr>
            <p:ph type="body" sz="quarter" idx="31"/>
          </p:nvPr>
        </p:nvSpPr>
        <p:spPr>
          <a:xfrm>
            <a:off x="8345487" y="4611671"/>
            <a:ext cx="3008313" cy="1103313"/>
          </a:xfrm>
        </p:spPr>
        <p:txBody>
          <a:bodyPr>
            <a:noAutofit/>
          </a:bodyPr>
          <a:lstStyle>
            <a:lvl1pPr marL="0" indent="0">
              <a:buNone/>
              <a:defRPr/>
            </a:lvl1pPr>
          </a:lstStyle>
          <a:p>
            <a:pPr lvl="0"/>
            <a:r>
              <a:rPr lang="en-US"/>
              <a:t>Click to edit Master text styles</a:t>
            </a:r>
          </a:p>
        </p:txBody>
      </p:sp>
      <p:sp>
        <p:nvSpPr>
          <p:cNvPr id="2" name="Slide Number Placeholder 5">
            <a:extLst>
              <a:ext uri="{FF2B5EF4-FFF2-40B4-BE49-F238E27FC236}">
                <a16:creationId xmlns:a16="http://schemas.microsoft.com/office/drawing/2014/main" id="{3314E959-31F1-870D-FAE7-99D8E6333021}"/>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295282915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3 photos and three coloured text boxes">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41187F8-6993-4E2B-6622-C25429339D60}"/>
              </a:ext>
            </a:extLst>
          </p:cNvPr>
          <p:cNvSpPr>
            <a:spLocks noGrp="1"/>
          </p:cNvSpPr>
          <p:nvPr>
            <p:ph type="title"/>
          </p:nvPr>
        </p:nvSpPr>
        <p:spPr>
          <a:xfrm>
            <a:off x="838200" y="365126"/>
            <a:ext cx="10515602" cy="816904"/>
          </a:xfrm>
        </p:spPr>
        <p:txBody>
          <a:bodyPr>
            <a:noAutofit/>
          </a:bodyPr>
          <a:lstStyle>
            <a:lvl1pPr algn="l" defTabSz="914400" rtl="0" eaLnBrk="1" latinLnBrk="0" hangingPunct="1">
              <a:lnSpc>
                <a:spcPct val="90000"/>
              </a:lnSpc>
              <a:spcBef>
                <a:spcPct val="0"/>
              </a:spcBef>
              <a:buNone/>
              <a:defRPr lang="en-IE" sz="4400" kern="1200" dirty="0">
                <a:solidFill>
                  <a:schemeClr val="tx2"/>
                </a:solidFill>
                <a:latin typeface="+mj-lt"/>
                <a:ea typeface="+mj-ea"/>
                <a:cs typeface="+mj-cs"/>
              </a:defRPr>
            </a:lvl1pPr>
          </a:lstStyle>
          <a:p>
            <a:r>
              <a:rPr lang="en-US"/>
              <a:t>Click to edit Master title style</a:t>
            </a:r>
            <a:endParaRPr lang="en-IE"/>
          </a:p>
        </p:txBody>
      </p:sp>
      <p:sp>
        <p:nvSpPr>
          <p:cNvPr id="3" name="Google Shape;72;p30">
            <a:extLst>
              <a:ext uri="{FF2B5EF4-FFF2-40B4-BE49-F238E27FC236}">
                <a16:creationId xmlns:a16="http://schemas.microsoft.com/office/drawing/2014/main" id="{252B282C-4F3C-02C6-86A1-F51B8A650847}"/>
              </a:ext>
            </a:extLst>
          </p:cNvPr>
          <p:cNvSpPr>
            <a:spLocks noGrp="1"/>
          </p:cNvSpPr>
          <p:nvPr>
            <p:ph type="pic" idx="2"/>
          </p:nvPr>
        </p:nvSpPr>
        <p:spPr>
          <a:xfrm>
            <a:off x="872591" y="1571394"/>
            <a:ext cx="3008502" cy="2763002"/>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5" name="Text Placeholder 4">
            <a:extLst>
              <a:ext uri="{FF2B5EF4-FFF2-40B4-BE49-F238E27FC236}">
                <a16:creationId xmlns:a16="http://schemas.microsoft.com/office/drawing/2014/main" id="{953FA7EE-FB05-1C4E-138A-F50BCF45EECE}"/>
              </a:ext>
            </a:extLst>
          </p:cNvPr>
          <p:cNvSpPr>
            <a:spLocks noGrp="1"/>
          </p:cNvSpPr>
          <p:nvPr>
            <p:ph type="body" sz="quarter" idx="29"/>
          </p:nvPr>
        </p:nvSpPr>
        <p:spPr>
          <a:xfrm>
            <a:off x="873125" y="4591050"/>
            <a:ext cx="3008313" cy="1103313"/>
          </a:xfrm>
          <a:solidFill>
            <a:schemeClr val="tx2"/>
          </a:solidFill>
        </p:spPr>
        <p:txBody>
          <a:bodyPr>
            <a:noAutofit/>
          </a:bodyPr>
          <a:lstStyle>
            <a:lvl1pPr marL="0" indent="0">
              <a:buNone/>
              <a:defRPr>
                <a:solidFill>
                  <a:schemeClr val="bg1"/>
                </a:solidFill>
              </a:defRPr>
            </a:lvl1pPr>
          </a:lstStyle>
          <a:p>
            <a:pPr lvl="0"/>
            <a:r>
              <a:rPr lang="en-US"/>
              <a:t>Click to edit Master text styles</a:t>
            </a:r>
          </a:p>
        </p:txBody>
      </p:sp>
      <p:sp>
        <p:nvSpPr>
          <p:cNvPr id="7" name="Google Shape;72;p30">
            <a:extLst>
              <a:ext uri="{FF2B5EF4-FFF2-40B4-BE49-F238E27FC236}">
                <a16:creationId xmlns:a16="http://schemas.microsoft.com/office/drawing/2014/main" id="{463AB235-233D-D0DB-E16C-CB9366541FFD}"/>
              </a:ext>
            </a:extLst>
          </p:cNvPr>
          <p:cNvSpPr>
            <a:spLocks noGrp="1"/>
          </p:cNvSpPr>
          <p:nvPr>
            <p:ph type="pic" idx="27"/>
          </p:nvPr>
        </p:nvSpPr>
        <p:spPr>
          <a:xfrm>
            <a:off x="4608944" y="1571394"/>
            <a:ext cx="3008502" cy="2763002"/>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9" name="Text Placeholder 4">
            <a:extLst>
              <a:ext uri="{FF2B5EF4-FFF2-40B4-BE49-F238E27FC236}">
                <a16:creationId xmlns:a16="http://schemas.microsoft.com/office/drawing/2014/main" id="{321AD6DD-14BD-E044-8AD7-2881DB891822}"/>
              </a:ext>
            </a:extLst>
          </p:cNvPr>
          <p:cNvSpPr>
            <a:spLocks noGrp="1"/>
          </p:cNvSpPr>
          <p:nvPr>
            <p:ph type="body" sz="quarter" idx="30"/>
          </p:nvPr>
        </p:nvSpPr>
        <p:spPr>
          <a:xfrm>
            <a:off x="4609133" y="4611671"/>
            <a:ext cx="3008313" cy="1103313"/>
          </a:xfrm>
          <a:solidFill>
            <a:schemeClr val="tx2"/>
          </a:solidFill>
        </p:spPr>
        <p:txBody>
          <a:bodyPr>
            <a:noAutofit/>
          </a:bodyPr>
          <a:lstStyle>
            <a:lvl1pPr marL="0" indent="0">
              <a:buNone/>
              <a:defRPr>
                <a:solidFill>
                  <a:schemeClr val="bg1"/>
                </a:solidFill>
              </a:defRPr>
            </a:lvl1pPr>
          </a:lstStyle>
          <a:p>
            <a:pPr lvl="0"/>
            <a:r>
              <a:rPr lang="en-US"/>
              <a:t>Click to edit Master text styles</a:t>
            </a:r>
          </a:p>
        </p:txBody>
      </p:sp>
      <p:sp>
        <p:nvSpPr>
          <p:cNvPr id="8" name="Google Shape;72;p30">
            <a:extLst>
              <a:ext uri="{FF2B5EF4-FFF2-40B4-BE49-F238E27FC236}">
                <a16:creationId xmlns:a16="http://schemas.microsoft.com/office/drawing/2014/main" id="{18BFCAC6-D624-8622-7879-6E32A21B7DBA}"/>
              </a:ext>
            </a:extLst>
          </p:cNvPr>
          <p:cNvSpPr>
            <a:spLocks noGrp="1"/>
          </p:cNvSpPr>
          <p:nvPr>
            <p:ph type="pic" idx="28"/>
          </p:nvPr>
        </p:nvSpPr>
        <p:spPr>
          <a:xfrm>
            <a:off x="8345298" y="1571394"/>
            <a:ext cx="3008502" cy="2763002"/>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10" name="Text Placeholder 4">
            <a:extLst>
              <a:ext uri="{FF2B5EF4-FFF2-40B4-BE49-F238E27FC236}">
                <a16:creationId xmlns:a16="http://schemas.microsoft.com/office/drawing/2014/main" id="{12415A3E-5C31-4007-8208-34FF613FDA4D}"/>
              </a:ext>
            </a:extLst>
          </p:cNvPr>
          <p:cNvSpPr>
            <a:spLocks noGrp="1"/>
          </p:cNvSpPr>
          <p:nvPr>
            <p:ph type="body" sz="quarter" idx="31"/>
          </p:nvPr>
        </p:nvSpPr>
        <p:spPr>
          <a:xfrm>
            <a:off x="8345487" y="4611671"/>
            <a:ext cx="3008313" cy="1103313"/>
          </a:xfrm>
          <a:solidFill>
            <a:schemeClr val="tx2"/>
          </a:solidFill>
        </p:spPr>
        <p:txBody>
          <a:bodyPr>
            <a:noAutofit/>
          </a:bodyPr>
          <a:lstStyle>
            <a:lvl1pPr marL="0" indent="0">
              <a:buNone/>
              <a:defRPr>
                <a:solidFill>
                  <a:schemeClr val="bg1"/>
                </a:solidFil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0E52517C-B46F-A98F-0643-A97107DEC79E}"/>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288342244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ext and a coloured text box">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30C1291-4A16-4E7F-D6F2-0662C6CCE1C1}"/>
              </a:ext>
            </a:extLst>
          </p:cNvPr>
          <p:cNvSpPr>
            <a:spLocks noGrp="1"/>
          </p:cNvSpPr>
          <p:nvPr>
            <p:ph type="title"/>
          </p:nvPr>
        </p:nvSpPr>
        <p:spPr>
          <a:xfrm>
            <a:off x="838200" y="365126"/>
            <a:ext cx="10515600" cy="816904"/>
          </a:xfrm>
        </p:spPr>
        <p:txBody>
          <a:bodyPr>
            <a:noAutofit/>
          </a:bodyPr>
          <a:lstStyle>
            <a:lvl1pPr>
              <a:defRPr/>
            </a:lvl1pPr>
          </a:lstStyle>
          <a:p>
            <a:r>
              <a:rPr lang="en-US"/>
              <a:t>Click to edit Master title style</a:t>
            </a:r>
            <a:endParaRPr lang="en-IE"/>
          </a:p>
        </p:txBody>
      </p:sp>
      <p:sp>
        <p:nvSpPr>
          <p:cNvPr id="3" name="Google Shape;72;p30">
            <a:extLst>
              <a:ext uri="{FF2B5EF4-FFF2-40B4-BE49-F238E27FC236}">
                <a16:creationId xmlns:a16="http://schemas.microsoft.com/office/drawing/2014/main" id="{252B282C-4F3C-02C6-86A1-F51B8A650847}"/>
              </a:ext>
            </a:extLst>
          </p:cNvPr>
          <p:cNvSpPr>
            <a:spLocks noGrp="1"/>
          </p:cNvSpPr>
          <p:nvPr>
            <p:ph type="pic" idx="2"/>
          </p:nvPr>
        </p:nvSpPr>
        <p:spPr>
          <a:xfrm>
            <a:off x="838200" y="1706136"/>
            <a:ext cx="4840275" cy="3463179"/>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8" name="Content Placeholder 2">
            <a:extLst>
              <a:ext uri="{FF2B5EF4-FFF2-40B4-BE49-F238E27FC236}">
                <a16:creationId xmlns:a16="http://schemas.microsoft.com/office/drawing/2014/main" id="{621CCFCC-12CB-E276-21C2-DAA2C8D36EC9}"/>
              </a:ext>
            </a:extLst>
          </p:cNvPr>
          <p:cNvSpPr>
            <a:spLocks noGrp="1"/>
          </p:cNvSpPr>
          <p:nvPr>
            <p:ph sz="half" idx="19"/>
          </p:nvPr>
        </p:nvSpPr>
        <p:spPr>
          <a:xfrm>
            <a:off x="6393779" y="1706137"/>
            <a:ext cx="4960021" cy="3463178"/>
          </a:xfrm>
          <a:solidFill>
            <a:schemeClr val="tx2"/>
          </a:solidFill>
        </p:spPr>
        <p:txBody>
          <a:bodyPr>
            <a:noAutofit/>
          </a:bodyPr>
          <a:lstStyle>
            <a:lvl1pPr marL="0" indent="0">
              <a:buNone/>
              <a:defRPr sz="2000">
                <a:solidFill>
                  <a:schemeClr val="bg1"/>
                </a:solidFill>
              </a:defRPr>
            </a:lvl1pPr>
          </a:lstStyle>
          <a:p>
            <a:pPr lvl="0"/>
            <a:r>
              <a:rPr lang="en-US"/>
              <a:t>Click to edit Master text styles</a:t>
            </a:r>
          </a:p>
        </p:txBody>
      </p:sp>
      <p:sp>
        <p:nvSpPr>
          <p:cNvPr id="2" name="Slide Number Placeholder 5">
            <a:extLst>
              <a:ext uri="{FF2B5EF4-FFF2-40B4-BE49-F238E27FC236}">
                <a16:creationId xmlns:a16="http://schemas.microsoft.com/office/drawing/2014/main" id="{9240A71C-FBDC-ABE7-AF08-221E5E629542}"/>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39349278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Section Header Blue">
    <p:spTree>
      <p:nvGrpSpPr>
        <p:cNvPr id="1" name=""/>
        <p:cNvGrpSpPr/>
        <p:nvPr/>
      </p:nvGrpSpPr>
      <p:grpSpPr>
        <a:xfrm>
          <a:off x="0" y="0"/>
          <a:ext cx="0" cy="0"/>
          <a:chOff x="0" y="0"/>
          <a:chExt cx="0" cy="0"/>
        </a:xfrm>
      </p:grpSpPr>
      <p:sp>
        <p:nvSpPr>
          <p:cNvPr id="4" name="Rectangle 7"/>
          <p:cNvSpPr/>
          <p:nvPr userDrawn="1"/>
        </p:nvSpPr>
        <p:spPr>
          <a:xfrm>
            <a:off x="-9525" y="1057275"/>
            <a:ext cx="12201525" cy="52244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x-none" dirty="0">
              <a:cs typeface="Arial" panose="020B0604020202020204" pitchFamily="34" charset="0"/>
            </a:endParaRPr>
          </a:p>
        </p:txBody>
      </p:sp>
      <p:cxnSp>
        <p:nvCxnSpPr>
          <p:cNvPr id="5" name="Straight Connector 6"/>
          <p:cNvCxnSpPr>
            <a:cxnSpLocks/>
          </p:cNvCxnSpPr>
          <p:nvPr userDrawn="1"/>
        </p:nvCxnSpPr>
        <p:spPr>
          <a:xfrm>
            <a:off x="695325" y="4165600"/>
            <a:ext cx="1080135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96000" y="1057274"/>
            <a:ext cx="10800000" cy="3094314"/>
          </a:xfrm>
        </p:spPr>
        <p:txBody>
          <a:bodyPr>
            <a:normAutofit/>
          </a:bodyPr>
          <a:lstStyle>
            <a:lvl1pPr algn="l">
              <a:defRPr sz="6000">
                <a:solidFill>
                  <a:schemeClr val="bg1"/>
                </a:solidFill>
              </a:defRPr>
            </a:lvl1pPr>
          </a:lstStyle>
          <a:p>
            <a:r>
              <a:rPr lang="nl-NL"/>
              <a:t>Klik om de stijl te bewerken</a:t>
            </a:r>
            <a:endParaRPr lang="en-US" dirty="0"/>
          </a:p>
        </p:txBody>
      </p:sp>
      <p:sp>
        <p:nvSpPr>
          <p:cNvPr id="3" name="Text Placeholder 2"/>
          <p:cNvSpPr>
            <a:spLocks noGrp="1"/>
          </p:cNvSpPr>
          <p:nvPr>
            <p:ph type="body" idx="1"/>
          </p:nvPr>
        </p:nvSpPr>
        <p:spPr>
          <a:xfrm>
            <a:off x="696000" y="4410075"/>
            <a:ext cx="10800000" cy="1476376"/>
          </a:xfrm>
        </p:spPr>
        <p:txBody>
          <a:bodyPr>
            <a:normAutofit/>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Klik om de modelstijlen te bewerken</a:t>
            </a:r>
          </a:p>
        </p:txBody>
      </p:sp>
      <p:sp>
        <p:nvSpPr>
          <p:cNvPr id="6" name="Slide Number Placeholder 5"/>
          <p:cNvSpPr>
            <a:spLocks noGrp="1"/>
          </p:cNvSpPr>
          <p:nvPr>
            <p:ph type="sldNum" sz="quarter" idx="10"/>
          </p:nvPr>
        </p:nvSpPr>
        <p:spPr/>
        <p:txBody>
          <a:bodyPr/>
          <a:lstStyle>
            <a:lvl1pPr>
              <a:defRPr/>
            </a:lvl1pPr>
          </a:lstStyle>
          <a:p>
            <a:pPr>
              <a:defRPr/>
            </a:pPr>
            <a:fld id="{4706E5CA-9F4E-43A1-AD38-E8DD3E382554}" type="slidenum">
              <a:rPr lang="nl-NL" altLang="nl-NL"/>
              <a:pPr>
                <a:defRPr/>
              </a:pPr>
              <a:t>‹#›</a:t>
            </a:fld>
            <a:endParaRPr lang="nl-NL" altLang="nl-NL"/>
          </a:p>
        </p:txBody>
      </p:sp>
    </p:spTree>
    <p:extLst>
      <p:ext uri="{BB962C8B-B14F-4D97-AF65-F5344CB8AC3E}">
        <p14:creationId xmlns:p14="http://schemas.microsoft.com/office/powerpoint/2010/main" val="64732114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Quote positive logo">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3559404-34AB-2AB1-76B4-CB85000D699F}"/>
              </a:ext>
            </a:extLst>
          </p:cNvPr>
          <p:cNvSpPr>
            <a:spLocks noGrp="1"/>
          </p:cNvSpPr>
          <p:nvPr>
            <p:ph type="title"/>
          </p:nvPr>
        </p:nvSpPr>
        <p:spPr>
          <a:xfrm>
            <a:off x="0" y="-816904"/>
            <a:ext cx="10515600" cy="816904"/>
          </a:xfrm>
        </p:spPr>
        <p:txBody>
          <a:bodyPr/>
          <a:lstStyle>
            <a:lvl1pPr>
              <a:defRPr>
                <a:solidFill>
                  <a:schemeClr val="tx1">
                    <a:lumMod val="65000"/>
                    <a:lumOff val="35000"/>
                  </a:schemeClr>
                </a:solidFill>
              </a:defRPr>
            </a:lvl1pPr>
          </a:lstStyle>
          <a:p>
            <a:r>
              <a:rPr lang="en-US"/>
              <a:t>Click to edit Master title style</a:t>
            </a:r>
            <a:endParaRPr lang="en-IE"/>
          </a:p>
        </p:txBody>
      </p:sp>
      <p:sp>
        <p:nvSpPr>
          <p:cNvPr id="6" name="Picture Placeholder 5">
            <a:extLst>
              <a:ext uri="{FF2B5EF4-FFF2-40B4-BE49-F238E27FC236}">
                <a16:creationId xmlns:a16="http://schemas.microsoft.com/office/drawing/2014/main" id="{A012AF7B-3A7E-8763-817E-DD321C64A6B1}"/>
              </a:ext>
            </a:extLst>
          </p:cNvPr>
          <p:cNvSpPr>
            <a:spLocks noGrp="1"/>
          </p:cNvSpPr>
          <p:nvPr>
            <p:ph type="pic" sz="quarter" idx="11"/>
          </p:nvPr>
        </p:nvSpPr>
        <p:spPr>
          <a:xfrm>
            <a:off x="0" y="0"/>
            <a:ext cx="12238038" cy="6858000"/>
          </a:xfrm>
          <a:solidFill>
            <a:schemeClr val="bg2"/>
          </a:solidFill>
        </p:spPr>
        <p:txBody>
          <a:bodyPr/>
          <a:lstStyle>
            <a:lvl1pPr marL="0" indent="0">
              <a:buNone/>
              <a:defRPr>
                <a:solidFill>
                  <a:schemeClr val="tx2"/>
                </a:solidFill>
              </a:defRPr>
            </a:lvl1pPr>
          </a:lstStyle>
          <a:p>
            <a:r>
              <a:rPr lang="en-US"/>
              <a:t>Click icon to add picture</a:t>
            </a:r>
            <a:endParaRPr lang="en-IE"/>
          </a:p>
        </p:txBody>
      </p:sp>
      <p:sp>
        <p:nvSpPr>
          <p:cNvPr id="8" name="Content Placeholder 7">
            <a:extLst>
              <a:ext uri="{FF2B5EF4-FFF2-40B4-BE49-F238E27FC236}">
                <a16:creationId xmlns:a16="http://schemas.microsoft.com/office/drawing/2014/main" id="{68A2B82B-3461-6DA2-3E41-F3AC81391822}"/>
              </a:ext>
            </a:extLst>
          </p:cNvPr>
          <p:cNvSpPr>
            <a:spLocks noGrp="1"/>
          </p:cNvSpPr>
          <p:nvPr>
            <p:ph sz="quarter" idx="12"/>
          </p:nvPr>
        </p:nvSpPr>
        <p:spPr>
          <a:xfrm>
            <a:off x="0" y="994438"/>
            <a:ext cx="6096000" cy="4521200"/>
          </a:xfrm>
          <a:solidFill>
            <a:schemeClr val="tx2"/>
          </a:solidFill>
        </p:spPr>
        <p:txBody>
          <a:bodyPr lIns="504000" anchor="ctr">
            <a:noAutofit/>
          </a:bodyPr>
          <a:lstStyle>
            <a:lvl1pPr marL="0" indent="0">
              <a:buNone/>
              <a:defRPr/>
            </a:lvl1pPr>
            <a:lvl2pPr marL="457200" indent="0">
              <a:buNone/>
              <a:defRPr lang="en-US" sz="2400" b="1" i="1" kern="1200" dirty="0">
                <a:solidFill>
                  <a:schemeClr val="bg1"/>
                </a:solidFill>
                <a:latin typeface="+mn-lt"/>
                <a:ea typeface="+mn-ea"/>
                <a:cs typeface="+mn-cs"/>
              </a:defRPr>
            </a:lvl2pPr>
          </a:lstStyle>
          <a:p>
            <a:pPr lvl="0"/>
            <a:r>
              <a:rPr lang="en-US"/>
              <a:t>Click to edit Master text styles</a:t>
            </a:r>
          </a:p>
        </p:txBody>
      </p:sp>
      <p:pic>
        <p:nvPicPr>
          <p:cNvPr id="13" name="Google Shape;66;p29" descr="Quote">
            <a:extLst>
              <a:ext uri="{FF2B5EF4-FFF2-40B4-BE49-F238E27FC236}">
                <a16:creationId xmlns:a16="http://schemas.microsoft.com/office/drawing/2014/main" id="{2BA61D73-E039-6C69-A4A9-27D86CB30D1D}"/>
              </a:ext>
            </a:extLst>
          </p:cNvPr>
          <p:cNvPicPr preferRelativeResize="0"/>
          <p:nvPr/>
        </p:nvPicPr>
        <p:blipFill rotWithShape="1">
          <a:blip r:embed="rId2">
            <a:alphaModFix/>
            <a:biLevel thresh="50000"/>
          </a:blip>
          <a:srcRect/>
          <a:stretch/>
        </p:blipFill>
        <p:spPr>
          <a:xfrm rot="10800000">
            <a:off x="5349220" y="5138020"/>
            <a:ext cx="989729" cy="989729"/>
          </a:xfrm>
          <a:prstGeom prst="rect">
            <a:avLst/>
          </a:prstGeom>
          <a:noFill/>
          <a:ln>
            <a:noFill/>
          </a:ln>
        </p:spPr>
      </p:pic>
      <p:pic>
        <p:nvPicPr>
          <p:cNvPr id="3" name="Picture 2" descr="A blue flag with yellow stars&#10;&#10;Description automatically generated">
            <a:extLst>
              <a:ext uri="{FF2B5EF4-FFF2-40B4-BE49-F238E27FC236}">
                <a16:creationId xmlns:a16="http://schemas.microsoft.com/office/drawing/2014/main" id="{BE2FFB7F-6A6F-E203-E2CE-AAC503E40FFA}"/>
              </a:ext>
            </a:extLst>
          </p:cNvPr>
          <p:cNvPicPr>
            <a:picLocks noChangeAspect="1"/>
          </p:cNvPicPr>
          <p:nvPr/>
        </p:nvPicPr>
        <p:blipFill>
          <a:blip r:embed="rId3"/>
          <a:stretch>
            <a:fillRect/>
          </a:stretch>
        </p:blipFill>
        <p:spPr>
          <a:xfrm>
            <a:off x="10725768" y="5901016"/>
            <a:ext cx="1256063" cy="762106"/>
          </a:xfrm>
          <a:prstGeom prst="rect">
            <a:avLst/>
          </a:prstGeom>
        </p:spPr>
      </p:pic>
      <p:pic>
        <p:nvPicPr>
          <p:cNvPr id="5" name="Google Shape;66;p29" descr="Quote">
            <a:extLst>
              <a:ext uri="{FF2B5EF4-FFF2-40B4-BE49-F238E27FC236}">
                <a16:creationId xmlns:a16="http://schemas.microsoft.com/office/drawing/2014/main" id="{D61A7912-F509-F977-C8A3-05B55096DDA4}"/>
              </a:ext>
            </a:extLst>
          </p:cNvPr>
          <p:cNvPicPr preferRelativeResize="0"/>
          <p:nvPr userDrawn="1"/>
        </p:nvPicPr>
        <p:blipFill rotWithShape="1">
          <a:blip r:embed="rId2">
            <a:alphaModFix/>
            <a:biLevel thresh="50000"/>
          </a:blip>
          <a:srcRect/>
          <a:stretch/>
        </p:blipFill>
        <p:spPr>
          <a:xfrm rot="10800000">
            <a:off x="5349220" y="5138020"/>
            <a:ext cx="989729" cy="989729"/>
          </a:xfrm>
          <a:prstGeom prst="rect">
            <a:avLst/>
          </a:prstGeom>
          <a:noFill/>
          <a:ln>
            <a:noFill/>
          </a:ln>
        </p:spPr>
      </p:pic>
      <p:pic>
        <p:nvPicPr>
          <p:cNvPr id="7" name="Picture 6" descr="A blue flag with yellow stars&#10;&#10;Description automatically generated">
            <a:extLst>
              <a:ext uri="{FF2B5EF4-FFF2-40B4-BE49-F238E27FC236}">
                <a16:creationId xmlns:a16="http://schemas.microsoft.com/office/drawing/2014/main" id="{519F3A2E-810F-F3DF-534B-DFE8563EDCFA}"/>
              </a:ext>
            </a:extLst>
          </p:cNvPr>
          <p:cNvPicPr>
            <a:picLocks noChangeAspect="1"/>
          </p:cNvPicPr>
          <p:nvPr userDrawn="1"/>
        </p:nvPicPr>
        <p:blipFill>
          <a:blip r:embed="rId3"/>
          <a:stretch>
            <a:fillRect/>
          </a:stretch>
        </p:blipFill>
        <p:spPr>
          <a:xfrm>
            <a:off x="10725768" y="5901016"/>
            <a:ext cx="1256063" cy="762106"/>
          </a:xfrm>
          <a:prstGeom prst="rect">
            <a:avLst/>
          </a:prstGeom>
        </p:spPr>
      </p:pic>
      <p:sp>
        <p:nvSpPr>
          <p:cNvPr id="9" name="Slide Number Placeholder 5">
            <a:extLst>
              <a:ext uri="{FF2B5EF4-FFF2-40B4-BE49-F238E27FC236}">
                <a16:creationId xmlns:a16="http://schemas.microsoft.com/office/drawing/2014/main" id="{AC0BD146-26A9-B2E3-790A-137432E6994D}"/>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tx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4208360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Quote negative logo">
    <p:spTree>
      <p:nvGrpSpPr>
        <p:cNvPr id="1" name=""/>
        <p:cNvGrpSpPr/>
        <p:nvPr/>
      </p:nvGrpSpPr>
      <p:grpSpPr>
        <a:xfrm>
          <a:off x="0" y="0"/>
          <a:ext cx="0" cy="0"/>
          <a:chOff x="0" y="0"/>
          <a:chExt cx="0" cy="0"/>
        </a:xfrm>
      </p:grpSpPr>
      <p:sp>
        <p:nvSpPr>
          <p:cNvPr id="4" name="Picture Placeholder 5">
            <a:extLst>
              <a:ext uri="{FF2B5EF4-FFF2-40B4-BE49-F238E27FC236}">
                <a16:creationId xmlns:a16="http://schemas.microsoft.com/office/drawing/2014/main" id="{16039EEF-B8E6-4383-4827-068F0611752D}"/>
              </a:ext>
            </a:extLst>
          </p:cNvPr>
          <p:cNvSpPr>
            <a:spLocks noGrp="1"/>
          </p:cNvSpPr>
          <p:nvPr>
            <p:ph type="pic" sz="quarter" idx="11"/>
          </p:nvPr>
        </p:nvSpPr>
        <p:spPr>
          <a:xfrm>
            <a:off x="0" y="0"/>
            <a:ext cx="12238038" cy="6858000"/>
          </a:xfrm>
          <a:solidFill>
            <a:schemeClr val="tx2"/>
          </a:solidFill>
        </p:spPr>
        <p:txBody>
          <a:bodyPr/>
          <a:lstStyle>
            <a:lvl1pPr marL="0" indent="0">
              <a:buNone/>
              <a:defRPr>
                <a:solidFill>
                  <a:schemeClr val="bg1"/>
                </a:solidFill>
              </a:defRPr>
            </a:lvl1pPr>
          </a:lstStyle>
          <a:p>
            <a:r>
              <a:rPr lang="en-US"/>
              <a:t>Click icon to add picture</a:t>
            </a:r>
            <a:endParaRPr lang="en-IE"/>
          </a:p>
        </p:txBody>
      </p:sp>
      <p:sp>
        <p:nvSpPr>
          <p:cNvPr id="7" name="Content Placeholder 7">
            <a:extLst>
              <a:ext uri="{FF2B5EF4-FFF2-40B4-BE49-F238E27FC236}">
                <a16:creationId xmlns:a16="http://schemas.microsoft.com/office/drawing/2014/main" id="{1BE876A1-64BE-0A6D-B28E-A01C8883D1FD}"/>
              </a:ext>
            </a:extLst>
          </p:cNvPr>
          <p:cNvSpPr>
            <a:spLocks noGrp="1"/>
          </p:cNvSpPr>
          <p:nvPr>
            <p:ph sz="quarter" idx="12"/>
          </p:nvPr>
        </p:nvSpPr>
        <p:spPr>
          <a:xfrm>
            <a:off x="0" y="994438"/>
            <a:ext cx="6096000" cy="4521200"/>
          </a:xfrm>
          <a:solidFill>
            <a:schemeClr val="bg2"/>
          </a:solidFill>
        </p:spPr>
        <p:txBody>
          <a:bodyPr lIns="504000" anchor="ctr">
            <a:noAutofit/>
          </a:bodyPr>
          <a:lstStyle>
            <a:lvl1pPr marL="0" indent="0">
              <a:buNone/>
              <a:defRPr/>
            </a:lvl1pPr>
            <a:lvl2pPr marL="457200" indent="0">
              <a:buNone/>
              <a:defRPr lang="en-US" sz="2400" b="1" i="1" kern="1200" dirty="0">
                <a:solidFill>
                  <a:schemeClr val="tx2"/>
                </a:solidFill>
                <a:latin typeface="+mn-lt"/>
                <a:ea typeface="+mn-ea"/>
                <a:cs typeface="+mn-cs"/>
              </a:defRPr>
            </a:lvl2pPr>
          </a:lstStyle>
          <a:p>
            <a:pPr lvl="0"/>
            <a:r>
              <a:rPr lang="en-US"/>
              <a:t>Click to edit Master text styles</a:t>
            </a:r>
          </a:p>
        </p:txBody>
      </p:sp>
      <p:pic>
        <p:nvPicPr>
          <p:cNvPr id="8" name="Google Shape;66;p29" descr="Quote">
            <a:extLst>
              <a:ext uri="{FF2B5EF4-FFF2-40B4-BE49-F238E27FC236}">
                <a16:creationId xmlns:a16="http://schemas.microsoft.com/office/drawing/2014/main" id="{E1B4A183-929D-5431-B365-FECE6A72A484}"/>
              </a:ext>
            </a:extLst>
          </p:cNvPr>
          <p:cNvPicPr preferRelativeResize="0"/>
          <p:nvPr/>
        </p:nvPicPr>
        <p:blipFill rotWithShape="1">
          <a:blip r:embed="rId2">
            <a:alphaModFix/>
            <a:biLevel thresh="50000"/>
          </a:blip>
          <a:srcRect/>
          <a:stretch/>
        </p:blipFill>
        <p:spPr>
          <a:xfrm rot="10800000">
            <a:off x="5349220" y="5138020"/>
            <a:ext cx="989729" cy="989729"/>
          </a:xfrm>
          <a:prstGeom prst="rect">
            <a:avLst/>
          </a:prstGeom>
          <a:noFill/>
          <a:ln>
            <a:noFill/>
          </a:ln>
        </p:spPr>
      </p:pic>
      <p:pic>
        <p:nvPicPr>
          <p:cNvPr id="9" name="Picture 8" descr="A blue flag with yellow stars and stripes&#10;&#10;Description automatically generated">
            <a:extLst>
              <a:ext uri="{FF2B5EF4-FFF2-40B4-BE49-F238E27FC236}">
                <a16:creationId xmlns:a16="http://schemas.microsoft.com/office/drawing/2014/main" id="{E6CD1AA0-BE2D-038C-5423-E271CF1636D7}"/>
              </a:ext>
            </a:extLst>
          </p:cNvPr>
          <p:cNvPicPr>
            <a:picLocks noChangeAspect="1"/>
          </p:cNvPicPr>
          <p:nvPr/>
        </p:nvPicPr>
        <p:blipFill>
          <a:blip r:embed="rId3"/>
          <a:stretch>
            <a:fillRect/>
          </a:stretch>
        </p:blipFill>
        <p:spPr>
          <a:xfrm>
            <a:off x="10725768" y="5901016"/>
            <a:ext cx="1257867" cy="763200"/>
          </a:xfrm>
          <a:prstGeom prst="rect">
            <a:avLst/>
          </a:prstGeom>
        </p:spPr>
      </p:pic>
      <p:sp>
        <p:nvSpPr>
          <p:cNvPr id="2" name="Title 1">
            <a:extLst>
              <a:ext uri="{FF2B5EF4-FFF2-40B4-BE49-F238E27FC236}">
                <a16:creationId xmlns:a16="http://schemas.microsoft.com/office/drawing/2014/main" id="{51148383-BBA9-7909-CFDF-60BEA0FE957B}"/>
              </a:ext>
            </a:extLst>
          </p:cNvPr>
          <p:cNvSpPr>
            <a:spLocks noGrp="1"/>
          </p:cNvSpPr>
          <p:nvPr>
            <p:ph type="title"/>
          </p:nvPr>
        </p:nvSpPr>
        <p:spPr>
          <a:xfrm>
            <a:off x="0" y="-803511"/>
            <a:ext cx="10515600" cy="816904"/>
          </a:xfrm>
        </p:spPr>
        <p:txBody>
          <a:bodyPr/>
          <a:lstStyle>
            <a:lvl1pPr>
              <a:defRPr>
                <a:solidFill>
                  <a:schemeClr val="bg1">
                    <a:lumMod val="65000"/>
                  </a:schemeClr>
                </a:solidFill>
              </a:defRPr>
            </a:lvl1pPr>
          </a:lstStyle>
          <a:p>
            <a:r>
              <a:rPr lang="en-US"/>
              <a:t>Click to edit Master title style</a:t>
            </a:r>
            <a:endParaRPr lang="en-IE"/>
          </a:p>
        </p:txBody>
      </p:sp>
      <p:pic>
        <p:nvPicPr>
          <p:cNvPr id="6" name="Google Shape;66;p29" descr="Quote">
            <a:extLst>
              <a:ext uri="{FF2B5EF4-FFF2-40B4-BE49-F238E27FC236}">
                <a16:creationId xmlns:a16="http://schemas.microsoft.com/office/drawing/2014/main" id="{DE2EBF53-76CE-6C8F-0861-C3A5D384E180}"/>
              </a:ext>
            </a:extLst>
          </p:cNvPr>
          <p:cNvPicPr preferRelativeResize="0"/>
          <p:nvPr userDrawn="1"/>
        </p:nvPicPr>
        <p:blipFill rotWithShape="1">
          <a:blip r:embed="rId2">
            <a:alphaModFix/>
            <a:biLevel thresh="50000"/>
          </a:blip>
          <a:srcRect/>
          <a:stretch/>
        </p:blipFill>
        <p:spPr>
          <a:xfrm rot="10800000">
            <a:off x="5349220" y="5138020"/>
            <a:ext cx="989729" cy="989729"/>
          </a:xfrm>
          <a:prstGeom prst="rect">
            <a:avLst/>
          </a:prstGeom>
          <a:noFill/>
          <a:ln>
            <a:noFill/>
          </a:ln>
        </p:spPr>
      </p:pic>
      <p:pic>
        <p:nvPicPr>
          <p:cNvPr id="10" name="Picture 9" descr="A blue flag with yellow stars and stripes&#10;&#10;Description automatically generated">
            <a:extLst>
              <a:ext uri="{FF2B5EF4-FFF2-40B4-BE49-F238E27FC236}">
                <a16:creationId xmlns:a16="http://schemas.microsoft.com/office/drawing/2014/main" id="{AB87E6E1-A561-866F-CE99-26D96476848A}"/>
              </a:ext>
            </a:extLst>
          </p:cNvPr>
          <p:cNvPicPr>
            <a:picLocks noChangeAspect="1"/>
          </p:cNvPicPr>
          <p:nvPr userDrawn="1"/>
        </p:nvPicPr>
        <p:blipFill>
          <a:blip r:embed="rId3"/>
          <a:stretch>
            <a:fillRect/>
          </a:stretch>
        </p:blipFill>
        <p:spPr>
          <a:xfrm>
            <a:off x="10725768" y="5901016"/>
            <a:ext cx="1257867" cy="763200"/>
          </a:xfrm>
          <a:prstGeom prst="rect">
            <a:avLst/>
          </a:prstGeom>
        </p:spPr>
      </p:pic>
      <p:sp>
        <p:nvSpPr>
          <p:cNvPr id="11" name="Slide Number Placeholder 5">
            <a:extLst>
              <a:ext uri="{FF2B5EF4-FFF2-40B4-BE49-F238E27FC236}">
                <a16:creationId xmlns:a16="http://schemas.microsoft.com/office/drawing/2014/main" id="{7765A446-C679-3C21-6DB2-E6E244E9DB91}"/>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bg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425346204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Circle picture coloured background">
    <p:bg>
      <p:bgPr>
        <a:solidFill>
          <a:srgbClr val="00339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noAutofit/>
          </a:bodyPr>
          <a:lstStyle>
            <a:lvl1pPr>
              <a:defRPr>
                <a:solidFill>
                  <a:schemeClr val="bg1"/>
                </a:solidFill>
              </a:defRPr>
            </a:lvl1pPr>
          </a:lstStyle>
          <a:p>
            <a:r>
              <a:rPr lang="en-US"/>
              <a:t>Click to edit Master title style</a:t>
            </a:r>
            <a:endParaRPr lang="en-IE"/>
          </a:p>
        </p:txBody>
      </p:sp>
      <p:sp>
        <p:nvSpPr>
          <p:cNvPr id="5" name="Google Shape;128;p36">
            <a:extLst>
              <a:ext uri="{FF2B5EF4-FFF2-40B4-BE49-F238E27FC236}">
                <a16:creationId xmlns:a16="http://schemas.microsoft.com/office/drawing/2014/main" id="{A266CAEF-D60F-6624-41DB-56608F2B46A5}"/>
              </a:ext>
            </a:extLst>
          </p:cNvPr>
          <p:cNvSpPr>
            <a:spLocks noGrp="1"/>
          </p:cNvSpPr>
          <p:nvPr>
            <p:ph type="pic" idx="10"/>
          </p:nvPr>
        </p:nvSpPr>
        <p:spPr>
          <a:xfrm>
            <a:off x="4152718" y="1683033"/>
            <a:ext cx="3886563" cy="3886563"/>
          </a:xfrm>
          <a:prstGeom prst="ellipse">
            <a:avLst/>
          </a:prstGeom>
          <a:solidFill>
            <a:schemeClr val="lt2"/>
          </a:solidFill>
          <a:ln w="76200">
            <a:noFill/>
          </a:ln>
        </p:spPr>
        <p:txBody>
          <a:bodyPr/>
          <a:lstStyle>
            <a:lvl1pPr marL="0" indent="0">
              <a:buNone/>
              <a:defRPr sz="2000">
                <a:solidFill>
                  <a:schemeClr val="tx2"/>
                </a:solidFill>
              </a:defRPr>
            </a:lvl1pPr>
          </a:lstStyle>
          <a:p>
            <a:r>
              <a:rPr lang="en-US"/>
              <a:t>Click icon to add picture</a:t>
            </a:r>
            <a:endParaRPr lang="en-IE"/>
          </a:p>
        </p:txBody>
      </p:sp>
      <p:pic>
        <p:nvPicPr>
          <p:cNvPr id="6" name="Picture 5" descr="A blue flag with yellow stars and stripes&#10;&#10;Description automatically generated">
            <a:extLst>
              <a:ext uri="{FF2B5EF4-FFF2-40B4-BE49-F238E27FC236}">
                <a16:creationId xmlns:a16="http://schemas.microsoft.com/office/drawing/2014/main" id="{43A5598A-C2EA-5505-BEB5-E80CA68AEDA1}"/>
              </a:ext>
            </a:extLst>
          </p:cNvPr>
          <p:cNvPicPr>
            <a:picLocks noChangeAspect="1"/>
          </p:cNvPicPr>
          <p:nvPr/>
        </p:nvPicPr>
        <p:blipFill>
          <a:blip r:embed="rId2"/>
          <a:stretch>
            <a:fillRect/>
          </a:stretch>
        </p:blipFill>
        <p:spPr>
          <a:xfrm>
            <a:off x="10725768" y="5901016"/>
            <a:ext cx="1257867" cy="763200"/>
          </a:xfrm>
          <a:prstGeom prst="rect">
            <a:avLst/>
          </a:prstGeom>
        </p:spPr>
      </p:pic>
      <p:pic>
        <p:nvPicPr>
          <p:cNvPr id="4" name="Picture 3" descr="A blue flag with yellow stars and stripes&#10;&#10;Description automatically generated">
            <a:extLst>
              <a:ext uri="{FF2B5EF4-FFF2-40B4-BE49-F238E27FC236}">
                <a16:creationId xmlns:a16="http://schemas.microsoft.com/office/drawing/2014/main" id="{3D5D7A7A-28D1-BC55-7F75-53B9E5FBC534}"/>
              </a:ext>
            </a:extLst>
          </p:cNvPr>
          <p:cNvPicPr>
            <a:picLocks noChangeAspect="1"/>
          </p:cNvPicPr>
          <p:nvPr userDrawn="1"/>
        </p:nvPicPr>
        <p:blipFill>
          <a:blip r:embed="rId2"/>
          <a:stretch>
            <a:fillRect/>
          </a:stretch>
        </p:blipFill>
        <p:spPr>
          <a:xfrm>
            <a:off x="10725768" y="5901016"/>
            <a:ext cx="1257867" cy="763200"/>
          </a:xfrm>
          <a:prstGeom prst="rect">
            <a:avLst/>
          </a:prstGeom>
        </p:spPr>
      </p:pic>
      <p:sp>
        <p:nvSpPr>
          <p:cNvPr id="7" name="Slide Number Placeholder 5">
            <a:extLst>
              <a:ext uri="{FF2B5EF4-FFF2-40B4-BE49-F238E27FC236}">
                <a16:creationId xmlns:a16="http://schemas.microsoft.com/office/drawing/2014/main" id="{32B7D111-DE2E-9994-A799-F62F38E83DB4}"/>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bg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2355712863"/>
      </p:ext>
    </p:extLst>
  </p:cSld>
  <p:clrMapOvr>
    <a:overrideClrMapping bg1="lt1" tx1="dk1" bg2="lt2" tx2="dk2" accent1="accent1" accent2="accent2" accent3="accent3" accent4="accent4" accent5="accent5" accent6="accent6" hlink="hlink" folHlink="folHlink"/>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3 Circles pictures coloured background">
    <p:bg>
      <p:bgPr>
        <a:solidFill>
          <a:srgbClr val="00339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noAutofit/>
          </a:bodyPr>
          <a:lstStyle>
            <a:lvl1pPr>
              <a:defRPr>
                <a:solidFill>
                  <a:schemeClr val="bg1"/>
                </a:solidFill>
              </a:defRPr>
            </a:lvl1pPr>
          </a:lstStyle>
          <a:p>
            <a:r>
              <a:rPr lang="en-US"/>
              <a:t>Click to edit Master title style</a:t>
            </a:r>
            <a:endParaRPr lang="en-IE"/>
          </a:p>
        </p:txBody>
      </p:sp>
      <p:sp>
        <p:nvSpPr>
          <p:cNvPr id="5" name="Google Shape;128;p36">
            <a:extLst>
              <a:ext uri="{FF2B5EF4-FFF2-40B4-BE49-F238E27FC236}">
                <a16:creationId xmlns:a16="http://schemas.microsoft.com/office/drawing/2014/main" id="{A266CAEF-D60F-6624-41DB-56608F2B46A5}"/>
              </a:ext>
            </a:extLst>
          </p:cNvPr>
          <p:cNvSpPr>
            <a:spLocks noGrp="1"/>
          </p:cNvSpPr>
          <p:nvPr>
            <p:ph type="pic" idx="10"/>
          </p:nvPr>
        </p:nvSpPr>
        <p:spPr>
          <a:xfrm>
            <a:off x="838200" y="1923896"/>
            <a:ext cx="3010207" cy="3010207"/>
          </a:xfrm>
          <a:prstGeom prst="ellipse">
            <a:avLst/>
          </a:prstGeom>
          <a:solidFill>
            <a:schemeClr val="lt2"/>
          </a:solidFill>
          <a:ln w="76200">
            <a:noFill/>
          </a:ln>
        </p:spPr>
        <p:txBody>
          <a:bodyPr/>
          <a:lstStyle>
            <a:lvl1pPr marL="0" indent="0">
              <a:buNone/>
              <a:defRPr sz="2000">
                <a:solidFill>
                  <a:schemeClr val="tx2"/>
                </a:solidFill>
              </a:defRPr>
            </a:lvl1pPr>
          </a:lstStyle>
          <a:p>
            <a:r>
              <a:rPr lang="en-US"/>
              <a:t>Click icon to add picture</a:t>
            </a:r>
            <a:endParaRPr lang="en-IE"/>
          </a:p>
        </p:txBody>
      </p:sp>
      <p:sp>
        <p:nvSpPr>
          <p:cNvPr id="8" name="Google Shape;128;p36">
            <a:extLst>
              <a:ext uri="{FF2B5EF4-FFF2-40B4-BE49-F238E27FC236}">
                <a16:creationId xmlns:a16="http://schemas.microsoft.com/office/drawing/2014/main" id="{7DC5575C-474B-C81C-6517-E882E9E5246B}"/>
              </a:ext>
            </a:extLst>
          </p:cNvPr>
          <p:cNvSpPr>
            <a:spLocks noGrp="1"/>
          </p:cNvSpPr>
          <p:nvPr>
            <p:ph type="pic" idx="11"/>
          </p:nvPr>
        </p:nvSpPr>
        <p:spPr>
          <a:xfrm>
            <a:off x="4590896" y="1923896"/>
            <a:ext cx="3010207" cy="3010207"/>
          </a:xfrm>
          <a:prstGeom prst="ellipse">
            <a:avLst/>
          </a:prstGeom>
          <a:solidFill>
            <a:schemeClr val="lt2"/>
          </a:solidFill>
          <a:ln w="76200">
            <a:noFill/>
          </a:ln>
        </p:spPr>
        <p:txBody>
          <a:bodyPr/>
          <a:lstStyle>
            <a:lvl1pPr marL="0" indent="0">
              <a:buNone/>
              <a:defRPr sz="2000">
                <a:solidFill>
                  <a:schemeClr val="tx2"/>
                </a:solidFill>
              </a:defRPr>
            </a:lvl1pPr>
          </a:lstStyle>
          <a:p>
            <a:r>
              <a:rPr lang="en-US"/>
              <a:t>Click icon to add picture</a:t>
            </a:r>
            <a:endParaRPr lang="en-IE"/>
          </a:p>
        </p:txBody>
      </p:sp>
      <p:sp>
        <p:nvSpPr>
          <p:cNvPr id="10" name="Google Shape;128;p36">
            <a:extLst>
              <a:ext uri="{FF2B5EF4-FFF2-40B4-BE49-F238E27FC236}">
                <a16:creationId xmlns:a16="http://schemas.microsoft.com/office/drawing/2014/main" id="{948E1B30-A652-44AE-9B5E-AC9365965BF4}"/>
              </a:ext>
            </a:extLst>
          </p:cNvPr>
          <p:cNvSpPr>
            <a:spLocks noGrp="1"/>
          </p:cNvSpPr>
          <p:nvPr>
            <p:ph type="pic" idx="12"/>
          </p:nvPr>
        </p:nvSpPr>
        <p:spPr>
          <a:xfrm>
            <a:off x="8343593" y="1923896"/>
            <a:ext cx="3010207" cy="3010207"/>
          </a:xfrm>
          <a:prstGeom prst="ellipse">
            <a:avLst/>
          </a:prstGeom>
          <a:solidFill>
            <a:schemeClr val="lt2"/>
          </a:solidFill>
          <a:ln w="76200">
            <a:noFill/>
          </a:ln>
        </p:spPr>
        <p:txBody>
          <a:bodyPr/>
          <a:lstStyle>
            <a:lvl1pPr marL="0" indent="0">
              <a:buNone/>
              <a:defRPr sz="2000">
                <a:solidFill>
                  <a:schemeClr val="tx2"/>
                </a:solidFill>
              </a:defRPr>
            </a:lvl1pPr>
          </a:lstStyle>
          <a:p>
            <a:r>
              <a:rPr lang="en-US"/>
              <a:t>Click icon to add picture</a:t>
            </a:r>
            <a:endParaRPr lang="en-IE"/>
          </a:p>
        </p:txBody>
      </p:sp>
      <p:pic>
        <p:nvPicPr>
          <p:cNvPr id="6" name="Picture 5" descr="A blue flag with yellow stars and stripes&#10;&#10;Description automatically generated">
            <a:extLst>
              <a:ext uri="{FF2B5EF4-FFF2-40B4-BE49-F238E27FC236}">
                <a16:creationId xmlns:a16="http://schemas.microsoft.com/office/drawing/2014/main" id="{D4D01C79-8E51-7320-51B2-6B4D1CD158EC}"/>
              </a:ext>
            </a:extLst>
          </p:cNvPr>
          <p:cNvPicPr>
            <a:picLocks noChangeAspect="1"/>
          </p:cNvPicPr>
          <p:nvPr/>
        </p:nvPicPr>
        <p:blipFill>
          <a:blip r:embed="rId2"/>
          <a:stretch>
            <a:fillRect/>
          </a:stretch>
        </p:blipFill>
        <p:spPr>
          <a:xfrm>
            <a:off x="10725768" y="5901016"/>
            <a:ext cx="1257867" cy="763200"/>
          </a:xfrm>
          <a:prstGeom prst="rect">
            <a:avLst/>
          </a:prstGeom>
        </p:spPr>
      </p:pic>
      <p:pic>
        <p:nvPicPr>
          <p:cNvPr id="3" name="Picture 2" descr="A blue flag with yellow stars and stripes&#10;&#10;Description automatically generated">
            <a:extLst>
              <a:ext uri="{FF2B5EF4-FFF2-40B4-BE49-F238E27FC236}">
                <a16:creationId xmlns:a16="http://schemas.microsoft.com/office/drawing/2014/main" id="{D6200794-8F7F-E0F0-3735-90CCC24A8AC7}"/>
              </a:ext>
            </a:extLst>
          </p:cNvPr>
          <p:cNvPicPr>
            <a:picLocks noChangeAspect="1"/>
          </p:cNvPicPr>
          <p:nvPr userDrawn="1"/>
        </p:nvPicPr>
        <p:blipFill>
          <a:blip r:embed="rId2"/>
          <a:stretch>
            <a:fillRect/>
          </a:stretch>
        </p:blipFill>
        <p:spPr>
          <a:xfrm>
            <a:off x="10725768" y="5901016"/>
            <a:ext cx="1257867" cy="763200"/>
          </a:xfrm>
          <a:prstGeom prst="rect">
            <a:avLst/>
          </a:prstGeom>
        </p:spPr>
      </p:pic>
      <p:sp>
        <p:nvSpPr>
          <p:cNvPr id="7" name="Slide Number Placeholder 5">
            <a:extLst>
              <a:ext uri="{FF2B5EF4-FFF2-40B4-BE49-F238E27FC236}">
                <a16:creationId xmlns:a16="http://schemas.microsoft.com/office/drawing/2014/main" id="{C6271D99-21D4-ED76-0E54-1ECA6FD71E4F}"/>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bg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400326910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3 Circles pictures white backgroun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noAutofit/>
          </a:bodyPr>
          <a:lstStyle>
            <a:lvl1pPr>
              <a:defRPr>
                <a:solidFill>
                  <a:srgbClr val="003399"/>
                </a:solidFill>
              </a:defRPr>
            </a:lvl1pPr>
          </a:lstStyle>
          <a:p>
            <a:r>
              <a:rPr lang="en-US"/>
              <a:t>Click to edit Master title style</a:t>
            </a:r>
            <a:endParaRPr lang="en-IE"/>
          </a:p>
        </p:txBody>
      </p:sp>
      <p:sp>
        <p:nvSpPr>
          <p:cNvPr id="5" name="Google Shape;128;p36">
            <a:extLst>
              <a:ext uri="{FF2B5EF4-FFF2-40B4-BE49-F238E27FC236}">
                <a16:creationId xmlns:a16="http://schemas.microsoft.com/office/drawing/2014/main" id="{A266CAEF-D60F-6624-41DB-56608F2B46A5}"/>
              </a:ext>
            </a:extLst>
          </p:cNvPr>
          <p:cNvSpPr>
            <a:spLocks noGrp="1"/>
          </p:cNvSpPr>
          <p:nvPr>
            <p:ph type="pic" idx="10"/>
          </p:nvPr>
        </p:nvSpPr>
        <p:spPr>
          <a:xfrm>
            <a:off x="838200" y="1923896"/>
            <a:ext cx="3010207" cy="3010207"/>
          </a:xfrm>
          <a:prstGeom prst="ellipse">
            <a:avLst/>
          </a:prstGeom>
          <a:solidFill>
            <a:schemeClr val="lt2"/>
          </a:solidFill>
          <a:ln w="76200">
            <a:noFill/>
          </a:ln>
        </p:spPr>
        <p:txBody>
          <a:bodyPr/>
          <a:lstStyle>
            <a:lvl1pPr marL="0" indent="0">
              <a:buNone/>
              <a:defRPr sz="2000">
                <a:solidFill>
                  <a:schemeClr val="tx2"/>
                </a:solidFill>
              </a:defRPr>
            </a:lvl1pPr>
          </a:lstStyle>
          <a:p>
            <a:r>
              <a:rPr lang="en-US"/>
              <a:t>Click icon to add picture</a:t>
            </a:r>
            <a:endParaRPr lang="en-IE"/>
          </a:p>
        </p:txBody>
      </p:sp>
      <p:sp>
        <p:nvSpPr>
          <p:cNvPr id="8" name="Google Shape;128;p36">
            <a:extLst>
              <a:ext uri="{FF2B5EF4-FFF2-40B4-BE49-F238E27FC236}">
                <a16:creationId xmlns:a16="http://schemas.microsoft.com/office/drawing/2014/main" id="{7DC5575C-474B-C81C-6517-E882E9E5246B}"/>
              </a:ext>
            </a:extLst>
          </p:cNvPr>
          <p:cNvSpPr>
            <a:spLocks noGrp="1"/>
          </p:cNvSpPr>
          <p:nvPr>
            <p:ph type="pic" idx="11"/>
          </p:nvPr>
        </p:nvSpPr>
        <p:spPr>
          <a:xfrm>
            <a:off x="4590896" y="1923896"/>
            <a:ext cx="3010207" cy="3010207"/>
          </a:xfrm>
          <a:prstGeom prst="ellipse">
            <a:avLst/>
          </a:prstGeom>
          <a:solidFill>
            <a:schemeClr val="lt2"/>
          </a:solidFill>
          <a:ln w="76200">
            <a:noFill/>
          </a:ln>
        </p:spPr>
        <p:txBody>
          <a:bodyPr/>
          <a:lstStyle>
            <a:lvl1pPr marL="0" indent="0">
              <a:buNone/>
              <a:defRPr sz="2000">
                <a:solidFill>
                  <a:schemeClr val="tx2"/>
                </a:solidFill>
              </a:defRPr>
            </a:lvl1pPr>
          </a:lstStyle>
          <a:p>
            <a:r>
              <a:rPr lang="en-US"/>
              <a:t>Click icon to add picture</a:t>
            </a:r>
            <a:endParaRPr lang="en-IE"/>
          </a:p>
        </p:txBody>
      </p:sp>
      <p:sp>
        <p:nvSpPr>
          <p:cNvPr id="10" name="Google Shape;128;p36">
            <a:extLst>
              <a:ext uri="{FF2B5EF4-FFF2-40B4-BE49-F238E27FC236}">
                <a16:creationId xmlns:a16="http://schemas.microsoft.com/office/drawing/2014/main" id="{948E1B30-A652-44AE-9B5E-AC9365965BF4}"/>
              </a:ext>
            </a:extLst>
          </p:cNvPr>
          <p:cNvSpPr>
            <a:spLocks noGrp="1"/>
          </p:cNvSpPr>
          <p:nvPr>
            <p:ph type="pic" idx="12"/>
          </p:nvPr>
        </p:nvSpPr>
        <p:spPr>
          <a:xfrm>
            <a:off x="8343593" y="1923896"/>
            <a:ext cx="3010207" cy="3010207"/>
          </a:xfrm>
          <a:prstGeom prst="ellipse">
            <a:avLst/>
          </a:prstGeom>
          <a:solidFill>
            <a:schemeClr val="lt2"/>
          </a:solidFill>
          <a:ln w="76200">
            <a:noFill/>
          </a:ln>
        </p:spPr>
        <p:txBody>
          <a:bodyPr/>
          <a:lstStyle>
            <a:lvl1pPr marL="0" indent="0">
              <a:buNone/>
              <a:defRPr sz="2000">
                <a:solidFill>
                  <a:schemeClr val="tx2"/>
                </a:solidFill>
              </a:defRPr>
            </a:lvl1pPr>
          </a:lstStyle>
          <a:p>
            <a:r>
              <a:rPr lang="en-US"/>
              <a:t>Click icon to add picture</a:t>
            </a:r>
            <a:endParaRPr lang="en-IE"/>
          </a:p>
        </p:txBody>
      </p:sp>
      <p:sp>
        <p:nvSpPr>
          <p:cNvPr id="4" name="Slide Number Placeholder 5">
            <a:extLst>
              <a:ext uri="{FF2B5EF4-FFF2-40B4-BE49-F238E27FC236}">
                <a16:creationId xmlns:a16="http://schemas.microsoft.com/office/drawing/2014/main" id="{F37EF38B-E8AF-66F2-44F8-7A5DA7FF345C}"/>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3803992094"/>
      </p:ext>
    </p:extLst>
  </p:cSld>
  <p:clrMapOvr>
    <a:overrideClrMapping bg1="lt1" tx1="dk1" bg2="lt2" tx2="dk2" accent1="accent1" accent2="accent2" accent3="accent3" accent4="accent4" accent5="accent5" accent6="accent6" hlink="hlink" folHlink="folHlink"/>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4 Circles pictures 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noAutofit/>
          </a:bodyPr>
          <a:lstStyle/>
          <a:p>
            <a:r>
              <a:rPr lang="en-US"/>
              <a:t>Click to edit Master title style</a:t>
            </a:r>
            <a:endParaRPr lang="en-IE"/>
          </a:p>
        </p:txBody>
      </p:sp>
      <p:sp>
        <p:nvSpPr>
          <p:cNvPr id="4" name="Google Shape;128;p36">
            <a:extLst>
              <a:ext uri="{FF2B5EF4-FFF2-40B4-BE49-F238E27FC236}">
                <a16:creationId xmlns:a16="http://schemas.microsoft.com/office/drawing/2014/main" id="{C6066961-5253-C2E8-C59C-7D3AEA190748}"/>
              </a:ext>
            </a:extLst>
          </p:cNvPr>
          <p:cNvSpPr>
            <a:spLocks noGrp="1"/>
          </p:cNvSpPr>
          <p:nvPr>
            <p:ph type="pic" idx="2"/>
          </p:nvPr>
        </p:nvSpPr>
        <p:spPr>
          <a:xfrm>
            <a:off x="838200" y="1644073"/>
            <a:ext cx="1784927" cy="1784927"/>
          </a:xfrm>
          <a:prstGeom prst="ellipse">
            <a:avLst/>
          </a:prstGeom>
          <a:solidFill>
            <a:schemeClr val="lt2"/>
          </a:solidFill>
          <a:ln w="57150">
            <a:noFill/>
          </a:ln>
        </p:spPr>
        <p:txBody>
          <a:bodyPr/>
          <a:lstStyle>
            <a:lvl1pPr marL="0" indent="0">
              <a:buNone/>
              <a:defRPr sz="2000">
                <a:solidFill>
                  <a:schemeClr val="tx2"/>
                </a:solidFill>
              </a:defRPr>
            </a:lvl1pPr>
          </a:lstStyle>
          <a:p>
            <a:r>
              <a:rPr lang="en-US"/>
              <a:t>Click icon to add picture</a:t>
            </a:r>
            <a:endParaRPr lang="en-IE"/>
          </a:p>
        </p:txBody>
      </p:sp>
      <p:sp>
        <p:nvSpPr>
          <p:cNvPr id="3" name="Content Placeholder 2">
            <a:extLst>
              <a:ext uri="{FF2B5EF4-FFF2-40B4-BE49-F238E27FC236}">
                <a16:creationId xmlns:a16="http://schemas.microsoft.com/office/drawing/2014/main" id="{833F6E74-65E4-088E-A627-F5CBCB9E0FAA}"/>
              </a:ext>
            </a:extLst>
          </p:cNvPr>
          <p:cNvSpPr>
            <a:spLocks noGrp="1"/>
          </p:cNvSpPr>
          <p:nvPr>
            <p:ph sz="half" idx="1"/>
          </p:nvPr>
        </p:nvSpPr>
        <p:spPr>
          <a:xfrm>
            <a:off x="2887354" y="1792421"/>
            <a:ext cx="2881850" cy="1488229"/>
          </a:xfrm>
        </p:spPr>
        <p:txBody>
          <a:bodyPr>
            <a:noAutofit/>
          </a:bodyPr>
          <a:lstStyle>
            <a:lvl1pPr marL="0" indent="0">
              <a:buNone/>
              <a:defRPr sz="2000"/>
            </a:lvl1pPr>
          </a:lstStyle>
          <a:p>
            <a:pPr lvl="0"/>
            <a:r>
              <a:rPr lang="en-US"/>
              <a:t>Click to edit Master text styles</a:t>
            </a:r>
          </a:p>
        </p:txBody>
      </p:sp>
      <p:sp>
        <p:nvSpPr>
          <p:cNvPr id="22" name="Google Shape;128;p36">
            <a:extLst>
              <a:ext uri="{FF2B5EF4-FFF2-40B4-BE49-F238E27FC236}">
                <a16:creationId xmlns:a16="http://schemas.microsoft.com/office/drawing/2014/main" id="{530B519E-B8E9-0851-34A7-4EBCABDB1F24}"/>
              </a:ext>
            </a:extLst>
          </p:cNvPr>
          <p:cNvSpPr>
            <a:spLocks noGrp="1"/>
          </p:cNvSpPr>
          <p:nvPr>
            <p:ph type="pic" idx="19"/>
          </p:nvPr>
        </p:nvSpPr>
        <p:spPr>
          <a:xfrm>
            <a:off x="838198" y="3793520"/>
            <a:ext cx="1784927" cy="1784927"/>
          </a:xfrm>
          <a:prstGeom prst="ellipse">
            <a:avLst/>
          </a:prstGeom>
          <a:solidFill>
            <a:schemeClr val="lt2"/>
          </a:solidFill>
          <a:ln w="57150">
            <a:noFill/>
          </a:ln>
        </p:spPr>
        <p:txBody>
          <a:bodyPr/>
          <a:lstStyle>
            <a:lvl1pPr marL="0" indent="0">
              <a:buNone/>
              <a:defRPr sz="2000">
                <a:solidFill>
                  <a:schemeClr val="tx2"/>
                </a:solidFill>
              </a:defRPr>
            </a:lvl1pPr>
          </a:lstStyle>
          <a:p>
            <a:r>
              <a:rPr lang="en-US"/>
              <a:t>Click icon to add picture</a:t>
            </a:r>
            <a:endParaRPr lang="en-IE"/>
          </a:p>
        </p:txBody>
      </p:sp>
      <p:sp>
        <p:nvSpPr>
          <p:cNvPr id="21" name="Content Placeholder 2">
            <a:extLst>
              <a:ext uri="{FF2B5EF4-FFF2-40B4-BE49-F238E27FC236}">
                <a16:creationId xmlns:a16="http://schemas.microsoft.com/office/drawing/2014/main" id="{B7CC6BA2-60D9-1664-3253-8468AB06B3BA}"/>
              </a:ext>
            </a:extLst>
          </p:cNvPr>
          <p:cNvSpPr>
            <a:spLocks noGrp="1"/>
          </p:cNvSpPr>
          <p:nvPr>
            <p:ph sz="half" idx="18"/>
          </p:nvPr>
        </p:nvSpPr>
        <p:spPr>
          <a:xfrm>
            <a:off x="2887352" y="3941868"/>
            <a:ext cx="2881850" cy="1488229"/>
          </a:xfrm>
        </p:spPr>
        <p:txBody>
          <a:bodyPr>
            <a:noAutofit/>
          </a:bodyPr>
          <a:lstStyle>
            <a:lvl1pPr marL="0" indent="0">
              <a:buNone/>
              <a:defRPr sz="2000"/>
            </a:lvl1pPr>
          </a:lstStyle>
          <a:p>
            <a:pPr lvl="0"/>
            <a:r>
              <a:rPr lang="en-US"/>
              <a:t>Click to edit Master text styles</a:t>
            </a:r>
          </a:p>
        </p:txBody>
      </p:sp>
      <p:sp>
        <p:nvSpPr>
          <p:cNvPr id="6" name="Google Shape;128;p36">
            <a:extLst>
              <a:ext uri="{FF2B5EF4-FFF2-40B4-BE49-F238E27FC236}">
                <a16:creationId xmlns:a16="http://schemas.microsoft.com/office/drawing/2014/main" id="{B0466037-50F3-96B3-1B0E-06D3D18B8BCE}"/>
              </a:ext>
            </a:extLst>
          </p:cNvPr>
          <p:cNvSpPr>
            <a:spLocks noGrp="1"/>
          </p:cNvSpPr>
          <p:nvPr>
            <p:ph type="pic" idx="21"/>
          </p:nvPr>
        </p:nvSpPr>
        <p:spPr>
          <a:xfrm>
            <a:off x="6422796" y="1679603"/>
            <a:ext cx="1784927" cy="1784927"/>
          </a:xfrm>
          <a:prstGeom prst="ellipse">
            <a:avLst/>
          </a:prstGeom>
          <a:solidFill>
            <a:schemeClr val="lt2"/>
          </a:solidFill>
          <a:ln w="57150">
            <a:noFill/>
          </a:ln>
        </p:spPr>
        <p:txBody>
          <a:bodyPr/>
          <a:lstStyle>
            <a:lvl1pPr marL="0" indent="0">
              <a:buNone/>
              <a:defRPr sz="2000">
                <a:solidFill>
                  <a:schemeClr val="tx2"/>
                </a:solidFill>
              </a:defRPr>
            </a:lvl1pPr>
          </a:lstStyle>
          <a:p>
            <a:r>
              <a:rPr lang="en-US"/>
              <a:t>Click icon to add picture</a:t>
            </a:r>
            <a:endParaRPr lang="en-IE"/>
          </a:p>
        </p:txBody>
      </p:sp>
      <p:sp>
        <p:nvSpPr>
          <p:cNvPr id="5" name="Content Placeholder 2">
            <a:extLst>
              <a:ext uri="{FF2B5EF4-FFF2-40B4-BE49-F238E27FC236}">
                <a16:creationId xmlns:a16="http://schemas.microsoft.com/office/drawing/2014/main" id="{6BC1C8BB-B6BF-EFC9-4FB7-FE68ADABF649}"/>
              </a:ext>
            </a:extLst>
          </p:cNvPr>
          <p:cNvSpPr>
            <a:spLocks noGrp="1"/>
          </p:cNvSpPr>
          <p:nvPr>
            <p:ph sz="half" idx="20"/>
          </p:nvPr>
        </p:nvSpPr>
        <p:spPr>
          <a:xfrm>
            <a:off x="8471950" y="1827951"/>
            <a:ext cx="2881850" cy="1488229"/>
          </a:xfrm>
        </p:spPr>
        <p:txBody>
          <a:bodyPr>
            <a:noAutofit/>
          </a:bodyPr>
          <a:lstStyle>
            <a:lvl1pPr marL="0" indent="0">
              <a:buNone/>
              <a:defRPr sz="2000"/>
            </a:lvl1pPr>
          </a:lstStyle>
          <a:p>
            <a:pPr lvl="0"/>
            <a:r>
              <a:rPr lang="en-US"/>
              <a:t>Click to edit Master text styles</a:t>
            </a:r>
          </a:p>
        </p:txBody>
      </p:sp>
      <p:sp>
        <p:nvSpPr>
          <p:cNvPr id="8" name="Google Shape;128;p36">
            <a:extLst>
              <a:ext uri="{FF2B5EF4-FFF2-40B4-BE49-F238E27FC236}">
                <a16:creationId xmlns:a16="http://schemas.microsoft.com/office/drawing/2014/main" id="{2B2D1DEC-353D-0530-46BD-FAC7D81DC42A}"/>
              </a:ext>
            </a:extLst>
          </p:cNvPr>
          <p:cNvSpPr>
            <a:spLocks noGrp="1"/>
          </p:cNvSpPr>
          <p:nvPr>
            <p:ph type="pic" idx="23"/>
          </p:nvPr>
        </p:nvSpPr>
        <p:spPr>
          <a:xfrm>
            <a:off x="6422794" y="3829050"/>
            <a:ext cx="1784927" cy="1784927"/>
          </a:xfrm>
          <a:prstGeom prst="ellipse">
            <a:avLst/>
          </a:prstGeom>
          <a:solidFill>
            <a:schemeClr val="lt2"/>
          </a:solidFill>
          <a:ln w="57150">
            <a:noFill/>
          </a:ln>
        </p:spPr>
        <p:txBody>
          <a:bodyPr/>
          <a:lstStyle>
            <a:lvl1pPr marL="0" indent="0">
              <a:buNone/>
              <a:defRPr sz="2000">
                <a:solidFill>
                  <a:schemeClr val="tx2"/>
                </a:solidFill>
              </a:defRPr>
            </a:lvl1pPr>
          </a:lstStyle>
          <a:p>
            <a:r>
              <a:rPr lang="en-US"/>
              <a:t>Click icon to add picture</a:t>
            </a:r>
            <a:endParaRPr lang="en-IE"/>
          </a:p>
        </p:txBody>
      </p:sp>
      <p:sp>
        <p:nvSpPr>
          <p:cNvPr id="7" name="Content Placeholder 2">
            <a:extLst>
              <a:ext uri="{FF2B5EF4-FFF2-40B4-BE49-F238E27FC236}">
                <a16:creationId xmlns:a16="http://schemas.microsoft.com/office/drawing/2014/main" id="{DEC01048-C2DE-CFE9-C353-8ED3741099B7}"/>
              </a:ext>
            </a:extLst>
          </p:cNvPr>
          <p:cNvSpPr>
            <a:spLocks noGrp="1"/>
          </p:cNvSpPr>
          <p:nvPr>
            <p:ph sz="half" idx="22"/>
          </p:nvPr>
        </p:nvSpPr>
        <p:spPr>
          <a:xfrm>
            <a:off x="8471948" y="3977398"/>
            <a:ext cx="2881850" cy="1488229"/>
          </a:xfrm>
        </p:spPr>
        <p:txBody>
          <a:bodyPr>
            <a:noAutofit/>
          </a:bodyPr>
          <a:lstStyle>
            <a:lvl1pPr marL="0" indent="0">
              <a:buNone/>
              <a:defRPr sz="2000"/>
            </a:lvl1pPr>
          </a:lstStyle>
          <a:p>
            <a:pPr lvl="0"/>
            <a:r>
              <a:rPr lang="en-US"/>
              <a:t>Click to edit Master text styles</a:t>
            </a:r>
          </a:p>
        </p:txBody>
      </p:sp>
      <p:sp>
        <p:nvSpPr>
          <p:cNvPr id="9" name="Slide Number Placeholder 5">
            <a:extLst>
              <a:ext uri="{FF2B5EF4-FFF2-40B4-BE49-F238E27FC236}">
                <a16:creationId xmlns:a16="http://schemas.microsoft.com/office/drawing/2014/main" id="{C67E4CCE-C35C-C711-24D0-0F4BCA80C282}"/>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424266438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4 rectangles pictures white background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noAutofit/>
          </a:bodyPr>
          <a:lstStyle/>
          <a:p>
            <a:r>
              <a:rPr lang="en-US"/>
              <a:t>Click to edit Master title style</a:t>
            </a:r>
            <a:endParaRPr lang="en-IE"/>
          </a:p>
        </p:txBody>
      </p:sp>
      <p:sp>
        <p:nvSpPr>
          <p:cNvPr id="15" name="Google Shape;97;p33">
            <a:extLst>
              <a:ext uri="{FF2B5EF4-FFF2-40B4-BE49-F238E27FC236}">
                <a16:creationId xmlns:a16="http://schemas.microsoft.com/office/drawing/2014/main" id="{51CBB8A7-3E08-DCAC-14AF-878AC33CDC30}"/>
              </a:ext>
            </a:extLst>
          </p:cNvPr>
          <p:cNvSpPr>
            <a:spLocks noGrp="1"/>
          </p:cNvSpPr>
          <p:nvPr>
            <p:ph type="pic" idx="17"/>
          </p:nvPr>
        </p:nvSpPr>
        <p:spPr>
          <a:xfrm>
            <a:off x="838200" y="1931348"/>
            <a:ext cx="2461591" cy="1638158"/>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0" name="Text Placeholder 9">
            <a:extLst>
              <a:ext uri="{FF2B5EF4-FFF2-40B4-BE49-F238E27FC236}">
                <a16:creationId xmlns:a16="http://schemas.microsoft.com/office/drawing/2014/main" id="{83438DF5-CCC4-87AD-037A-C14F79B6266F}"/>
              </a:ext>
            </a:extLst>
          </p:cNvPr>
          <p:cNvSpPr>
            <a:spLocks noGrp="1"/>
          </p:cNvSpPr>
          <p:nvPr>
            <p:ph type="body" sz="quarter" idx="13"/>
          </p:nvPr>
        </p:nvSpPr>
        <p:spPr>
          <a:xfrm>
            <a:off x="3508868" y="1931348"/>
            <a:ext cx="2462213" cy="1638300"/>
          </a:xfrm>
        </p:spPr>
        <p:txBody>
          <a:bodyPr>
            <a:noAutofit/>
          </a:bodyPr>
          <a:lstStyle>
            <a:lvl1pPr marL="0" indent="0">
              <a:buNone/>
              <a:defRPr/>
            </a:lvl1pPr>
          </a:lstStyle>
          <a:p>
            <a:pPr lvl="0"/>
            <a:r>
              <a:rPr lang="en-US"/>
              <a:t>Click to edit Master text styles</a:t>
            </a:r>
          </a:p>
        </p:txBody>
      </p:sp>
      <p:sp>
        <p:nvSpPr>
          <p:cNvPr id="18" name="Google Shape;97;p33">
            <a:extLst>
              <a:ext uri="{FF2B5EF4-FFF2-40B4-BE49-F238E27FC236}">
                <a16:creationId xmlns:a16="http://schemas.microsoft.com/office/drawing/2014/main" id="{BFE9E99F-07A9-26A1-106E-78351E5222CA}"/>
              </a:ext>
            </a:extLst>
          </p:cNvPr>
          <p:cNvSpPr>
            <a:spLocks noGrp="1"/>
          </p:cNvSpPr>
          <p:nvPr>
            <p:ph type="pic" idx="7"/>
          </p:nvPr>
        </p:nvSpPr>
        <p:spPr>
          <a:xfrm>
            <a:off x="838202" y="3740272"/>
            <a:ext cx="2461591" cy="1638158"/>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2" name="Text Placeholder 9">
            <a:extLst>
              <a:ext uri="{FF2B5EF4-FFF2-40B4-BE49-F238E27FC236}">
                <a16:creationId xmlns:a16="http://schemas.microsoft.com/office/drawing/2014/main" id="{8A6A52A8-BCDE-0058-03FA-48265F58CC4D}"/>
              </a:ext>
            </a:extLst>
          </p:cNvPr>
          <p:cNvSpPr>
            <a:spLocks noGrp="1"/>
          </p:cNvSpPr>
          <p:nvPr>
            <p:ph type="body" sz="quarter" idx="15"/>
          </p:nvPr>
        </p:nvSpPr>
        <p:spPr>
          <a:xfrm>
            <a:off x="3508868" y="3740131"/>
            <a:ext cx="2462213" cy="1638300"/>
          </a:xfrm>
        </p:spPr>
        <p:txBody>
          <a:bodyPr>
            <a:noAutofit/>
          </a:bodyPr>
          <a:lstStyle>
            <a:lvl1pPr marL="0" indent="0">
              <a:buNone/>
              <a:defRPr/>
            </a:lvl1pPr>
          </a:lstStyle>
          <a:p>
            <a:pPr lvl="0"/>
            <a:r>
              <a:rPr lang="en-US"/>
              <a:t>Click to edit Master text styles</a:t>
            </a:r>
          </a:p>
        </p:txBody>
      </p:sp>
      <p:sp>
        <p:nvSpPr>
          <p:cNvPr id="3" name="Google Shape;95;p33">
            <a:extLst>
              <a:ext uri="{FF2B5EF4-FFF2-40B4-BE49-F238E27FC236}">
                <a16:creationId xmlns:a16="http://schemas.microsoft.com/office/drawing/2014/main" id="{A15E4B72-6400-86B0-FD40-4FCA9F38655E}"/>
              </a:ext>
            </a:extLst>
          </p:cNvPr>
          <p:cNvSpPr>
            <a:spLocks noGrp="1"/>
          </p:cNvSpPr>
          <p:nvPr>
            <p:ph type="pic" idx="10"/>
          </p:nvPr>
        </p:nvSpPr>
        <p:spPr>
          <a:xfrm>
            <a:off x="6180157" y="1931348"/>
            <a:ext cx="2461593" cy="163815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1" name="Text Placeholder 9">
            <a:extLst>
              <a:ext uri="{FF2B5EF4-FFF2-40B4-BE49-F238E27FC236}">
                <a16:creationId xmlns:a16="http://schemas.microsoft.com/office/drawing/2014/main" id="{76022ECE-0EE9-F2CA-72F3-353CAD2AB488}"/>
              </a:ext>
            </a:extLst>
          </p:cNvPr>
          <p:cNvSpPr>
            <a:spLocks noGrp="1"/>
          </p:cNvSpPr>
          <p:nvPr>
            <p:ph type="body" sz="quarter" idx="14"/>
          </p:nvPr>
        </p:nvSpPr>
        <p:spPr>
          <a:xfrm>
            <a:off x="8891587" y="1931348"/>
            <a:ext cx="2462213" cy="1638300"/>
          </a:xfrm>
        </p:spPr>
        <p:txBody>
          <a:bodyPr>
            <a:noAutofit/>
          </a:bodyPr>
          <a:lstStyle>
            <a:lvl1pPr marL="0" indent="0">
              <a:buNone/>
              <a:defRPr/>
            </a:lvl1pPr>
          </a:lstStyle>
          <a:p>
            <a:pPr lvl="0"/>
            <a:r>
              <a:rPr lang="en-US"/>
              <a:t>Click to edit Master text styles</a:t>
            </a:r>
          </a:p>
        </p:txBody>
      </p:sp>
      <p:sp>
        <p:nvSpPr>
          <p:cNvPr id="8" name="Google Shape;97;p33">
            <a:extLst>
              <a:ext uri="{FF2B5EF4-FFF2-40B4-BE49-F238E27FC236}">
                <a16:creationId xmlns:a16="http://schemas.microsoft.com/office/drawing/2014/main" id="{0D3E0C88-3573-7B0F-D8F7-5AAD283A42F2}"/>
              </a:ext>
            </a:extLst>
          </p:cNvPr>
          <p:cNvSpPr>
            <a:spLocks noGrp="1"/>
          </p:cNvSpPr>
          <p:nvPr>
            <p:ph type="pic" idx="12"/>
          </p:nvPr>
        </p:nvSpPr>
        <p:spPr>
          <a:xfrm>
            <a:off x="6180157" y="3740272"/>
            <a:ext cx="2461591" cy="1638158"/>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3" name="Text Placeholder 9">
            <a:extLst>
              <a:ext uri="{FF2B5EF4-FFF2-40B4-BE49-F238E27FC236}">
                <a16:creationId xmlns:a16="http://schemas.microsoft.com/office/drawing/2014/main" id="{5F2FF4C0-B8CC-5E9A-7FF2-0BA1FD86664D}"/>
              </a:ext>
            </a:extLst>
          </p:cNvPr>
          <p:cNvSpPr>
            <a:spLocks noGrp="1"/>
          </p:cNvSpPr>
          <p:nvPr>
            <p:ph type="body" sz="quarter" idx="16"/>
          </p:nvPr>
        </p:nvSpPr>
        <p:spPr>
          <a:xfrm>
            <a:off x="8891587" y="3740131"/>
            <a:ext cx="2462213" cy="1638300"/>
          </a:xfrm>
        </p:spPr>
        <p:txBody>
          <a:bodyPr>
            <a:noAutofit/>
          </a:bodyPr>
          <a:lstStyle>
            <a:lvl1pPr marL="0" indent="0">
              <a:buNone/>
              <a:defRPr/>
            </a:lvl1pPr>
          </a:lstStyle>
          <a:p>
            <a:pPr lvl="0"/>
            <a:r>
              <a:rPr lang="en-US"/>
              <a:t>Click to edit Master text styles</a:t>
            </a:r>
          </a:p>
        </p:txBody>
      </p:sp>
      <p:sp>
        <p:nvSpPr>
          <p:cNvPr id="4" name="Slide Number Placeholder 5">
            <a:extLst>
              <a:ext uri="{FF2B5EF4-FFF2-40B4-BE49-F238E27FC236}">
                <a16:creationId xmlns:a16="http://schemas.microsoft.com/office/drawing/2014/main" id="{73F815C1-0113-F490-4A53-0227959CF68C}"/>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282062789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10 squared pictures ">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p:txBody>
          <a:bodyPr/>
          <a:lstStyle/>
          <a:p>
            <a:r>
              <a:rPr lang="en-US"/>
              <a:t>Click to edit Master title style</a:t>
            </a:r>
            <a:endParaRPr lang="en-IE"/>
          </a:p>
        </p:txBody>
      </p:sp>
      <p:sp>
        <p:nvSpPr>
          <p:cNvPr id="3" name="Google Shape;114;p35">
            <a:extLst>
              <a:ext uri="{FF2B5EF4-FFF2-40B4-BE49-F238E27FC236}">
                <a16:creationId xmlns:a16="http://schemas.microsoft.com/office/drawing/2014/main" id="{28399EF8-5B4D-A564-C46D-6AC3EE3700F1}"/>
              </a:ext>
            </a:extLst>
          </p:cNvPr>
          <p:cNvSpPr>
            <a:spLocks noGrp="1"/>
          </p:cNvSpPr>
          <p:nvPr>
            <p:ph type="pic" idx="2"/>
          </p:nvPr>
        </p:nvSpPr>
        <p:spPr>
          <a:xfrm>
            <a:off x="838200" y="1613730"/>
            <a:ext cx="1896289" cy="189628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4" name="Google Shape;115;p35">
            <a:extLst>
              <a:ext uri="{FF2B5EF4-FFF2-40B4-BE49-F238E27FC236}">
                <a16:creationId xmlns:a16="http://schemas.microsoft.com/office/drawing/2014/main" id="{1DB67F50-B209-813A-55E2-A45CCD6BCAE1}"/>
              </a:ext>
            </a:extLst>
          </p:cNvPr>
          <p:cNvSpPr>
            <a:spLocks noGrp="1"/>
          </p:cNvSpPr>
          <p:nvPr>
            <p:ph type="pic" idx="3"/>
          </p:nvPr>
        </p:nvSpPr>
        <p:spPr>
          <a:xfrm>
            <a:off x="2993028" y="1613730"/>
            <a:ext cx="1896289" cy="189628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5" name="Google Shape;116;p35">
            <a:extLst>
              <a:ext uri="{FF2B5EF4-FFF2-40B4-BE49-F238E27FC236}">
                <a16:creationId xmlns:a16="http://schemas.microsoft.com/office/drawing/2014/main" id="{80AA888C-2660-9749-11E6-8A96DD56EACF}"/>
              </a:ext>
            </a:extLst>
          </p:cNvPr>
          <p:cNvSpPr>
            <a:spLocks noGrp="1"/>
          </p:cNvSpPr>
          <p:nvPr>
            <p:ph type="pic" idx="10"/>
          </p:nvPr>
        </p:nvSpPr>
        <p:spPr>
          <a:xfrm>
            <a:off x="5147856" y="1613729"/>
            <a:ext cx="1896289" cy="189628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8" name="Google Shape;117;p35">
            <a:extLst>
              <a:ext uri="{FF2B5EF4-FFF2-40B4-BE49-F238E27FC236}">
                <a16:creationId xmlns:a16="http://schemas.microsoft.com/office/drawing/2014/main" id="{95752BFF-4A6F-68EA-E048-C405D776F6A9}"/>
              </a:ext>
            </a:extLst>
          </p:cNvPr>
          <p:cNvSpPr>
            <a:spLocks noGrp="1"/>
          </p:cNvSpPr>
          <p:nvPr>
            <p:ph type="pic" idx="5"/>
          </p:nvPr>
        </p:nvSpPr>
        <p:spPr>
          <a:xfrm>
            <a:off x="7302684" y="1613728"/>
            <a:ext cx="1896289" cy="189628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9" name="Google Shape;118;p35">
            <a:extLst>
              <a:ext uri="{FF2B5EF4-FFF2-40B4-BE49-F238E27FC236}">
                <a16:creationId xmlns:a16="http://schemas.microsoft.com/office/drawing/2014/main" id="{69A61CD2-9393-897F-4851-B55A256B6577}"/>
              </a:ext>
            </a:extLst>
          </p:cNvPr>
          <p:cNvSpPr>
            <a:spLocks noGrp="1"/>
          </p:cNvSpPr>
          <p:nvPr>
            <p:ph type="pic" idx="6"/>
          </p:nvPr>
        </p:nvSpPr>
        <p:spPr>
          <a:xfrm>
            <a:off x="9457512" y="1613728"/>
            <a:ext cx="1896289" cy="189628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5" name="Google Shape;114;p35">
            <a:extLst>
              <a:ext uri="{FF2B5EF4-FFF2-40B4-BE49-F238E27FC236}">
                <a16:creationId xmlns:a16="http://schemas.microsoft.com/office/drawing/2014/main" id="{5BBBB0BA-17D9-1A2A-5573-A96E32CB11C7}"/>
              </a:ext>
            </a:extLst>
          </p:cNvPr>
          <p:cNvSpPr>
            <a:spLocks noGrp="1"/>
          </p:cNvSpPr>
          <p:nvPr>
            <p:ph type="pic" idx="11"/>
          </p:nvPr>
        </p:nvSpPr>
        <p:spPr>
          <a:xfrm>
            <a:off x="838200" y="3799760"/>
            <a:ext cx="1896289" cy="189628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6" name="Google Shape;115;p35">
            <a:extLst>
              <a:ext uri="{FF2B5EF4-FFF2-40B4-BE49-F238E27FC236}">
                <a16:creationId xmlns:a16="http://schemas.microsoft.com/office/drawing/2014/main" id="{E234676C-5503-D335-7C9F-8EBF756F24A7}"/>
              </a:ext>
            </a:extLst>
          </p:cNvPr>
          <p:cNvSpPr>
            <a:spLocks noGrp="1"/>
          </p:cNvSpPr>
          <p:nvPr>
            <p:ph type="pic" idx="12"/>
          </p:nvPr>
        </p:nvSpPr>
        <p:spPr>
          <a:xfrm>
            <a:off x="2993028" y="3799760"/>
            <a:ext cx="1896289" cy="189628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7" name="Google Shape;116;p35">
            <a:extLst>
              <a:ext uri="{FF2B5EF4-FFF2-40B4-BE49-F238E27FC236}">
                <a16:creationId xmlns:a16="http://schemas.microsoft.com/office/drawing/2014/main" id="{8C059826-5CA9-F193-6C89-8B0DECF9ACE5}"/>
              </a:ext>
            </a:extLst>
          </p:cNvPr>
          <p:cNvSpPr>
            <a:spLocks noGrp="1"/>
          </p:cNvSpPr>
          <p:nvPr>
            <p:ph type="pic" idx="13"/>
          </p:nvPr>
        </p:nvSpPr>
        <p:spPr>
          <a:xfrm>
            <a:off x="5147856" y="3799759"/>
            <a:ext cx="1896289" cy="189628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8" name="Google Shape;117;p35">
            <a:extLst>
              <a:ext uri="{FF2B5EF4-FFF2-40B4-BE49-F238E27FC236}">
                <a16:creationId xmlns:a16="http://schemas.microsoft.com/office/drawing/2014/main" id="{E57729DD-0495-06CF-3D2B-B8EC5F7D6EF2}"/>
              </a:ext>
            </a:extLst>
          </p:cNvPr>
          <p:cNvSpPr>
            <a:spLocks noGrp="1"/>
          </p:cNvSpPr>
          <p:nvPr>
            <p:ph type="pic" idx="14"/>
          </p:nvPr>
        </p:nvSpPr>
        <p:spPr>
          <a:xfrm>
            <a:off x="7302684" y="3799758"/>
            <a:ext cx="1896289" cy="189628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9" name="Google Shape;118;p35">
            <a:extLst>
              <a:ext uri="{FF2B5EF4-FFF2-40B4-BE49-F238E27FC236}">
                <a16:creationId xmlns:a16="http://schemas.microsoft.com/office/drawing/2014/main" id="{DDFD3960-357B-A667-2997-F567232AE448}"/>
              </a:ext>
            </a:extLst>
          </p:cNvPr>
          <p:cNvSpPr>
            <a:spLocks noGrp="1"/>
          </p:cNvSpPr>
          <p:nvPr>
            <p:ph type="pic" idx="15"/>
          </p:nvPr>
        </p:nvSpPr>
        <p:spPr>
          <a:xfrm>
            <a:off x="9457512" y="3799758"/>
            <a:ext cx="1896289" cy="189628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6" name="Slide Number Placeholder 5">
            <a:extLst>
              <a:ext uri="{FF2B5EF4-FFF2-40B4-BE49-F238E27FC236}">
                <a16:creationId xmlns:a16="http://schemas.microsoft.com/office/drawing/2014/main" id="{9594EF7B-6FA5-122A-260D-E885CDDAA587}"/>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tx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575549069"/>
      </p:ext>
    </p:extLst>
  </p:cSld>
  <p:clrMapOvr>
    <a:overrideClrMapping bg1="lt1" tx1="dk1" bg2="lt2" tx2="dk2" accent1="accent1" accent2="accent2" accent3="accent3" accent4="accent4" accent5="accent5" accent6="accent6" hlink="hlink" folHlink="folHlink"/>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3 squared pictures 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p:txBody>
          <a:bodyPr>
            <a:noAutofit/>
          </a:bodyPr>
          <a:lstStyle/>
          <a:p>
            <a:r>
              <a:rPr lang="en-US"/>
              <a:t>Click to edit Master title style</a:t>
            </a:r>
            <a:endParaRPr lang="en-IE"/>
          </a:p>
        </p:txBody>
      </p:sp>
      <p:sp>
        <p:nvSpPr>
          <p:cNvPr id="3" name="Google Shape;114;p35">
            <a:extLst>
              <a:ext uri="{FF2B5EF4-FFF2-40B4-BE49-F238E27FC236}">
                <a16:creationId xmlns:a16="http://schemas.microsoft.com/office/drawing/2014/main" id="{28399EF8-5B4D-A564-C46D-6AC3EE3700F1}"/>
              </a:ext>
            </a:extLst>
          </p:cNvPr>
          <p:cNvSpPr>
            <a:spLocks noGrp="1"/>
          </p:cNvSpPr>
          <p:nvPr>
            <p:ph type="pic" idx="2"/>
          </p:nvPr>
        </p:nvSpPr>
        <p:spPr>
          <a:xfrm>
            <a:off x="882651" y="2079625"/>
            <a:ext cx="2698749" cy="269874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4" name="Google Shape;115;p35">
            <a:extLst>
              <a:ext uri="{FF2B5EF4-FFF2-40B4-BE49-F238E27FC236}">
                <a16:creationId xmlns:a16="http://schemas.microsoft.com/office/drawing/2014/main" id="{1DB67F50-B209-813A-55E2-A45CCD6BCAE1}"/>
              </a:ext>
            </a:extLst>
          </p:cNvPr>
          <p:cNvSpPr>
            <a:spLocks noGrp="1"/>
          </p:cNvSpPr>
          <p:nvPr>
            <p:ph type="pic" idx="3"/>
          </p:nvPr>
        </p:nvSpPr>
        <p:spPr>
          <a:xfrm>
            <a:off x="4746625" y="2079624"/>
            <a:ext cx="2698749" cy="269874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2" name="Google Shape;121;p35">
            <a:extLst>
              <a:ext uri="{FF2B5EF4-FFF2-40B4-BE49-F238E27FC236}">
                <a16:creationId xmlns:a16="http://schemas.microsoft.com/office/drawing/2014/main" id="{2EA4C09F-A3D0-2FDF-C8EF-EDEF2FCF78CE}"/>
              </a:ext>
            </a:extLst>
          </p:cNvPr>
          <p:cNvSpPr>
            <a:spLocks noGrp="1"/>
          </p:cNvSpPr>
          <p:nvPr>
            <p:ph type="pic" idx="9"/>
          </p:nvPr>
        </p:nvSpPr>
        <p:spPr>
          <a:xfrm>
            <a:off x="8655051" y="2079623"/>
            <a:ext cx="2698749" cy="269874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6" name="Slide Number Placeholder 5">
            <a:extLst>
              <a:ext uri="{FF2B5EF4-FFF2-40B4-BE49-F238E27FC236}">
                <a16:creationId xmlns:a16="http://schemas.microsoft.com/office/drawing/2014/main" id="{A50CC5C1-4287-4FC9-8450-3D86D951FE12}"/>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21562327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3 squared pictures coloured background">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p:txBody>
          <a:bodyPr>
            <a:noAutofit/>
          </a:bodyPr>
          <a:lstStyle>
            <a:lvl1pPr>
              <a:defRPr>
                <a:solidFill>
                  <a:schemeClr val="tx1"/>
                </a:solidFill>
              </a:defRPr>
            </a:lvl1pPr>
          </a:lstStyle>
          <a:p>
            <a:r>
              <a:rPr lang="en-US"/>
              <a:t>Click to edit Master title style</a:t>
            </a:r>
            <a:endParaRPr lang="en-IE"/>
          </a:p>
        </p:txBody>
      </p:sp>
      <p:sp>
        <p:nvSpPr>
          <p:cNvPr id="8" name="Google Shape;114;p35">
            <a:extLst>
              <a:ext uri="{FF2B5EF4-FFF2-40B4-BE49-F238E27FC236}">
                <a16:creationId xmlns:a16="http://schemas.microsoft.com/office/drawing/2014/main" id="{F38470BA-1066-4059-A16D-B9EE9722C73D}"/>
              </a:ext>
            </a:extLst>
          </p:cNvPr>
          <p:cNvSpPr>
            <a:spLocks noGrp="1"/>
          </p:cNvSpPr>
          <p:nvPr>
            <p:ph type="pic" idx="2"/>
          </p:nvPr>
        </p:nvSpPr>
        <p:spPr>
          <a:xfrm>
            <a:off x="882651" y="2079625"/>
            <a:ext cx="2698749" cy="2698749"/>
          </a:xfrm>
          <a:prstGeom prst="rect">
            <a:avLst/>
          </a:prstGeom>
          <a:solidFill>
            <a:schemeClr val="lt2"/>
          </a:solidFill>
          <a:ln w="57150">
            <a:noFill/>
          </a:ln>
        </p:spPr>
        <p:txBody>
          <a:bodyPr/>
          <a:lstStyle>
            <a:lvl1pPr marL="0" indent="0">
              <a:buNone/>
              <a:defRPr>
                <a:solidFill>
                  <a:schemeClr val="bg2"/>
                </a:solidFill>
              </a:defRPr>
            </a:lvl1pPr>
          </a:lstStyle>
          <a:p>
            <a:r>
              <a:rPr lang="en-US"/>
              <a:t>Click icon to add picture</a:t>
            </a:r>
            <a:endParaRPr lang="en-IE"/>
          </a:p>
        </p:txBody>
      </p:sp>
      <p:sp>
        <p:nvSpPr>
          <p:cNvPr id="10" name="Google Shape;115;p35">
            <a:extLst>
              <a:ext uri="{FF2B5EF4-FFF2-40B4-BE49-F238E27FC236}">
                <a16:creationId xmlns:a16="http://schemas.microsoft.com/office/drawing/2014/main" id="{4C5EDD4B-6148-8C81-CEE4-C4C5BFE4E787}"/>
              </a:ext>
            </a:extLst>
          </p:cNvPr>
          <p:cNvSpPr>
            <a:spLocks noGrp="1"/>
          </p:cNvSpPr>
          <p:nvPr>
            <p:ph type="pic" idx="3"/>
          </p:nvPr>
        </p:nvSpPr>
        <p:spPr>
          <a:xfrm>
            <a:off x="4746625" y="2079624"/>
            <a:ext cx="2698749" cy="2698749"/>
          </a:xfrm>
          <a:prstGeom prst="rect">
            <a:avLst/>
          </a:prstGeom>
          <a:solidFill>
            <a:schemeClr val="lt2"/>
          </a:solidFill>
          <a:ln w="57150">
            <a:noFill/>
          </a:ln>
        </p:spPr>
        <p:txBody>
          <a:bodyPr/>
          <a:lstStyle>
            <a:lvl1pPr marL="0" indent="0">
              <a:buNone/>
              <a:defRPr>
                <a:solidFill>
                  <a:schemeClr val="bg2"/>
                </a:solidFill>
              </a:defRPr>
            </a:lvl1pPr>
          </a:lstStyle>
          <a:p>
            <a:r>
              <a:rPr lang="en-US"/>
              <a:t>Click icon to add picture</a:t>
            </a:r>
            <a:endParaRPr lang="en-IE"/>
          </a:p>
        </p:txBody>
      </p:sp>
      <p:sp>
        <p:nvSpPr>
          <p:cNvPr id="9" name="Google Shape;121;p35">
            <a:extLst>
              <a:ext uri="{FF2B5EF4-FFF2-40B4-BE49-F238E27FC236}">
                <a16:creationId xmlns:a16="http://schemas.microsoft.com/office/drawing/2014/main" id="{85A61031-57E6-E855-38A1-FA502D6C575D}"/>
              </a:ext>
            </a:extLst>
          </p:cNvPr>
          <p:cNvSpPr>
            <a:spLocks noGrp="1"/>
          </p:cNvSpPr>
          <p:nvPr>
            <p:ph type="pic" idx="9"/>
          </p:nvPr>
        </p:nvSpPr>
        <p:spPr>
          <a:xfrm>
            <a:off x="8655051" y="2079623"/>
            <a:ext cx="2698749" cy="2698749"/>
          </a:xfrm>
          <a:prstGeom prst="rect">
            <a:avLst/>
          </a:prstGeom>
          <a:solidFill>
            <a:schemeClr val="lt2"/>
          </a:solidFill>
          <a:ln w="57150">
            <a:noFill/>
          </a:ln>
        </p:spPr>
        <p:txBody>
          <a:bodyPr/>
          <a:lstStyle>
            <a:lvl1pPr marL="0" indent="0">
              <a:buNone/>
              <a:defRPr>
                <a:solidFill>
                  <a:schemeClr val="bg2"/>
                </a:solidFill>
              </a:defRPr>
            </a:lvl1pPr>
          </a:lstStyle>
          <a:p>
            <a:r>
              <a:rPr lang="en-US"/>
              <a:t>Click icon to add picture</a:t>
            </a:r>
            <a:endParaRPr lang="en-IE"/>
          </a:p>
        </p:txBody>
      </p:sp>
      <p:pic>
        <p:nvPicPr>
          <p:cNvPr id="3" name="Picture 2" descr="A blue flag with yellow stars and stripes&#10;&#10;Description automatically generated">
            <a:extLst>
              <a:ext uri="{FF2B5EF4-FFF2-40B4-BE49-F238E27FC236}">
                <a16:creationId xmlns:a16="http://schemas.microsoft.com/office/drawing/2014/main" id="{EC730096-D3D5-78FF-DEE5-BE9525C4DBC8}"/>
              </a:ext>
            </a:extLst>
          </p:cNvPr>
          <p:cNvPicPr>
            <a:picLocks noChangeAspect="1"/>
          </p:cNvPicPr>
          <p:nvPr/>
        </p:nvPicPr>
        <p:blipFill>
          <a:blip r:embed="rId2"/>
          <a:stretch>
            <a:fillRect/>
          </a:stretch>
        </p:blipFill>
        <p:spPr>
          <a:xfrm>
            <a:off x="10725768" y="5901016"/>
            <a:ext cx="1257867" cy="763200"/>
          </a:xfrm>
          <a:prstGeom prst="rect">
            <a:avLst/>
          </a:prstGeom>
        </p:spPr>
      </p:pic>
      <p:pic>
        <p:nvPicPr>
          <p:cNvPr id="4" name="Picture 3" descr="A blue flag with yellow stars and stripes&#10;&#10;Description automatically generated">
            <a:extLst>
              <a:ext uri="{FF2B5EF4-FFF2-40B4-BE49-F238E27FC236}">
                <a16:creationId xmlns:a16="http://schemas.microsoft.com/office/drawing/2014/main" id="{F9F566B8-5CFB-8DB0-6A67-925C39BEFB8C}"/>
              </a:ext>
            </a:extLst>
          </p:cNvPr>
          <p:cNvPicPr>
            <a:picLocks noChangeAspect="1"/>
          </p:cNvPicPr>
          <p:nvPr userDrawn="1"/>
        </p:nvPicPr>
        <p:blipFill>
          <a:blip r:embed="rId2"/>
          <a:stretch>
            <a:fillRect/>
          </a:stretch>
        </p:blipFill>
        <p:spPr>
          <a:xfrm>
            <a:off x="10725768" y="5901016"/>
            <a:ext cx="1257867" cy="763200"/>
          </a:xfrm>
          <a:prstGeom prst="rect">
            <a:avLst/>
          </a:prstGeom>
        </p:spPr>
      </p:pic>
      <p:sp>
        <p:nvSpPr>
          <p:cNvPr id="6" name="Slide Number Placeholder 5">
            <a:extLst>
              <a:ext uri="{FF2B5EF4-FFF2-40B4-BE49-F238E27FC236}">
                <a16:creationId xmlns:a16="http://schemas.microsoft.com/office/drawing/2014/main" id="{C27800A1-1EE4-975A-7B55-1404DB41F071}"/>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1016950284"/>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3" Type="http://schemas.openxmlformats.org/officeDocument/2006/relationships/slideLayout" Target="../slideLayouts/slideLayout115.xml"/><Relationship Id="rId21" Type="http://schemas.openxmlformats.org/officeDocument/2006/relationships/theme" Target="../theme/theme10.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slideLayout" Target="../slideLayouts/slideLayout132.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10" Type="http://schemas.openxmlformats.org/officeDocument/2006/relationships/slideLayout" Target="../slideLayouts/slideLayout122.xml"/><Relationship Id="rId19" Type="http://schemas.openxmlformats.org/officeDocument/2006/relationships/slideLayout" Target="../slideLayouts/slideLayout131.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image" Target="../media/image17.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slideLayout" Target="../slideLayouts/slideLayout145.xml"/><Relationship Id="rId18" Type="http://schemas.openxmlformats.org/officeDocument/2006/relationships/slideLayout" Target="../slideLayouts/slideLayout150.xml"/><Relationship Id="rId3" Type="http://schemas.openxmlformats.org/officeDocument/2006/relationships/slideLayout" Target="../slideLayouts/slideLayout135.xml"/><Relationship Id="rId21" Type="http://schemas.openxmlformats.org/officeDocument/2006/relationships/tags" Target="../tags/tag28.xml"/><Relationship Id="rId7" Type="http://schemas.openxmlformats.org/officeDocument/2006/relationships/slideLayout" Target="../slideLayouts/slideLayout139.xml"/><Relationship Id="rId12" Type="http://schemas.openxmlformats.org/officeDocument/2006/relationships/slideLayout" Target="../slideLayouts/slideLayout144.xml"/><Relationship Id="rId17" Type="http://schemas.openxmlformats.org/officeDocument/2006/relationships/slideLayout" Target="../slideLayouts/slideLayout149.xml"/><Relationship Id="rId2" Type="http://schemas.openxmlformats.org/officeDocument/2006/relationships/slideLayout" Target="../slideLayouts/slideLayout134.xml"/><Relationship Id="rId16" Type="http://schemas.openxmlformats.org/officeDocument/2006/relationships/slideLayout" Target="../slideLayouts/slideLayout148.xml"/><Relationship Id="rId20" Type="http://schemas.openxmlformats.org/officeDocument/2006/relationships/theme" Target="../theme/theme11.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24" Type="http://schemas.openxmlformats.org/officeDocument/2006/relationships/image" Target="../media/image17.png"/><Relationship Id="rId5" Type="http://schemas.openxmlformats.org/officeDocument/2006/relationships/slideLayout" Target="../slideLayouts/slideLayout137.xml"/><Relationship Id="rId15" Type="http://schemas.openxmlformats.org/officeDocument/2006/relationships/slideLayout" Target="../slideLayouts/slideLayout147.xml"/><Relationship Id="rId23" Type="http://schemas.openxmlformats.org/officeDocument/2006/relationships/image" Target="../media/image50.emf"/><Relationship Id="rId10" Type="http://schemas.openxmlformats.org/officeDocument/2006/relationships/slideLayout" Target="../slideLayouts/slideLayout142.xml"/><Relationship Id="rId19" Type="http://schemas.openxmlformats.org/officeDocument/2006/relationships/slideLayout" Target="../slideLayouts/slideLayout151.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 Id="rId22" Type="http://schemas.openxmlformats.org/officeDocument/2006/relationships/oleObject" Target="../embeddings/oleObject24.bin"/></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slideLayout" Target="../slideLayouts/slideLayout164.xml"/><Relationship Id="rId18" Type="http://schemas.openxmlformats.org/officeDocument/2006/relationships/slideLayout" Target="../slideLayouts/slideLayout169.xml"/><Relationship Id="rId3" Type="http://schemas.openxmlformats.org/officeDocument/2006/relationships/slideLayout" Target="../slideLayouts/slideLayout154.xml"/><Relationship Id="rId21" Type="http://schemas.openxmlformats.org/officeDocument/2006/relationships/oleObject" Target="../embeddings/oleObject25.bin"/><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 Type="http://schemas.openxmlformats.org/officeDocument/2006/relationships/slideLayout" Target="../slideLayouts/slideLayout153.xml"/><Relationship Id="rId16" Type="http://schemas.openxmlformats.org/officeDocument/2006/relationships/slideLayout" Target="../slideLayouts/slideLayout167.xml"/><Relationship Id="rId20" Type="http://schemas.openxmlformats.org/officeDocument/2006/relationships/tags" Target="../tags/tag29.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5" Type="http://schemas.openxmlformats.org/officeDocument/2006/relationships/slideLayout" Target="../slideLayouts/slideLayout156.xml"/><Relationship Id="rId15" Type="http://schemas.openxmlformats.org/officeDocument/2006/relationships/slideLayout" Target="../slideLayouts/slideLayout166.xml"/><Relationship Id="rId10" Type="http://schemas.openxmlformats.org/officeDocument/2006/relationships/slideLayout" Target="../slideLayouts/slideLayout161.xml"/><Relationship Id="rId19" Type="http://schemas.openxmlformats.org/officeDocument/2006/relationships/theme" Target="../theme/theme12.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 Id="rId22" Type="http://schemas.openxmlformats.org/officeDocument/2006/relationships/image" Target="../media/image51.emf"/></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77.xml"/><Relationship Id="rId13" Type="http://schemas.openxmlformats.org/officeDocument/2006/relationships/slideLayout" Target="../slideLayouts/slideLayout182.xml"/><Relationship Id="rId18" Type="http://schemas.openxmlformats.org/officeDocument/2006/relationships/slideLayout" Target="../slideLayouts/slideLayout187.xml"/><Relationship Id="rId26" Type="http://schemas.openxmlformats.org/officeDocument/2006/relationships/image" Target="../media/image1.png"/><Relationship Id="rId3" Type="http://schemas.openxmlformats.org/officeDocument/2006/relationships/slideLayout" Target="../slideLayouts/slideLayout172.xml"/><Relationship Id="rId21" Type="http://schemas.openxmlformats.org/officeDocument/2006/relationships/slideLayout" Target="../slideLayouts/slideLayout190.xml"/><Relationship Id="rId7" Type="http://schemas.openxmlformats.org/officeDocument/2006/relationships/slideLayout" Target="../slideLayouts/slideLayout176.xml"/><Relationship Id="rId12" Type="http://schemas.openxmlformats.org/officeDocument/2006/relationships/slideLayout" Target="../slideLayouts/slideLayout181.xml"/><Relationship Id="rId17" Type="http://schemas.openxmlformats.org/officeDocument/2006/relationships/slideLayout" Target="../slideLayouts/slideLayout186.xml"/><Relationship Id="rId25" Type="http://schemas.openxmlformats.org/officeDocument/2006/relationships/theme" Target="../theme/theme13.xml"/><Relationship Id="rId2" Type="http://schemas.openxmlformats.org/officeDocument/2006/relationships/slideLayout" Target="../slideLayouts/slideLayout171.xml"/><Relationship Id="rId16" Type="http://schemas.openxmlformats.org/officeDocument/2006/relationships/slideLayout" Target="../slideLayouts/slideLayout185.xml"/><Relationship Id="rId20" Type="http://schemas.openxmlformats.org/officeDocument/2006/relationships/slideLayout" Target="../slideLayouts/slideLayout189.xml"/><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slideLayout" Target="../slideLayouts/slideLayout180.xml"/><Relationship Id="rId24" Type="http://schemas.openxmlformats.org/officeDocument/2006/relationships/slideLayout" Target="../slideLayouts/slideLayout193.xml"/><Relationship Id="rId5" Type="http://schemas.openxmlformats.org/officeDocument/2006/relationships/slideLayout" Target="../slideLayouts/slideLayout174.xml"/><Relationship Id="rId15" Type="http://schemas.openxmlformats.org/officeDocument/2006/relationships/slideLayout" Target="../slideLayouts/slideLayout184.xml"/><Relationship Id="rId23" Type="http://schemas.openxmlformats.org/officeDocument/2006/relationships/slideLayout" Target="../slideLayouts/slideLayout192.xml"/><Relationship Id="rId10" Type="http://schemas.openxmlformats.org/officeDocument/2006/relationships/slideLayout" Target="../slideLayouts/slideLayout179.xml"/><Relationship Id="rId19" Type="http://schemas.openxmlformats.org/officeDocument/2006/relationships/slideLayout" Target="../slideLayouts/slideLayout188.xml"/><Relationship Id="rId4" Type="http://schemas.openxmlformats.org/officeDocument/2006/relationships/slideLayout" Target="../slideLayouts/slideLayout173.xml"/><Relationship Id="rId9" Type="http://schemas.openxmlformats.org/officeDocument/2006/relationships/slideLayout" Target="../slideLayouts/slideLayout178.xml"/><Relationship Id="rId14" Type="http://schemas.openxmlformats.org/officeDocument/2006/relationships/slideLayout" Target="../slideLayouts/slideLayout183.xml"/><Relationship Id="rId22" Type="http://schemas.openxmlformats.org/officeDocument/2006/relationships/slideLayout" Target="../slideLayouts/slideLayout191.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01.xml"/><Relationship Id="rId13" Type="http://schemas.openxmlformats.org/officeDocument/2006/relationships/slideLayout" Target="../slideLayouts/slideLayout206.xml"/><Relationship Id="rId18" Type="http://schemas.openxmlformats.org/officeDocument/2006/relationships/slideLayout" Target="../slideLayouts/slideLayout211.xml"/><Relationship Id="rId3" Type="http://schemas.openxmlformats.org/officeDocument/2006/relationships/slideLayout" Target="../slideLayouts/slideLayout196.xml"/><Relationship Id="rId21" Type="http://schemas.openxmlformats.org/officeDocument/2006/relationships/theme" Target="../theme/theme14.xml"/><Relationship Id="rId7" Type="http://schemas.openxmlformats.org/officeDocument/2006/relationships/slideLayout" Target="../slideLayouts/slideLayout200.xml"/><Relationship Id="rId12" Type="http://schemas.openxmlformats.org/officeDocument/2006/relationships/slideLayout" Target="../slideLayouts/slideLayout205.xml"/><Relationship Id="rId17" Type="http://schemas.openxmlformats.org/officeDocument/2006/relationships/slideLayout" Target="../slideLayouts/slideLayout210.xml"/><Relationship Id="rId25" Type="http://schemas.openxmlformats.org/officeDocument/2006/relationships/image" Target="../media/image17.png"/><Relationship Id="rId2" Type="http://schemas.openxmlformats.org/officeDocument/2006/relationships/slideLayout" Target="../slideLayouts/slideLayout195.xml"/><Relationship Id="rId16" Type="http://schemas.openxmlformats.org/officeDocument/2006/relationships/slideLayout" Target="../slideLayouts/slideLayout209.xml"/><Relationship Id="rId20" Type="http://schemas.openxmlformats.org/officeDocument/2006/relationships/slideLayout" Target="../slideLayouts/slideLayout213.xml"/><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slideLayout" Target="../slideLayouts/slideLayout204.xml"/><Relationship Id="rId24" Type="http://schemas.openxmlformats.org/officeDocument/2006/relationships/image" Target="../media/image78.emf"/><Relationship Id="rId5" Type="http://schemas.openxmlformats.org/officeDocument/2006/relationships/slideLayout" Target="../slideLayouts/slideLayout198.xml"/><Relationship Id="rId15" Type="http://schemas.openxmlformats.org/officeDocument/2006/relationships/slideLayout" Target="../slideLayouts/slideLayout208.xml"/><Relationship Id="rId23" Type="http://schemas.openxmlformats.org/officeDocument/2006/relationships/oleObject" Target="../embeddings/oleObject31.bin"/><Relationship Id="rId10" Type="http://schemas.openxmlformats.org/officeDocument/2006/relationships/slideLayout" Target="../slideLayouts/slideLayout203.xml"/><Relationship Id="rId19" Type="http://schemas.openxmlformats.org/officeDocument/2006/relationships/slideLayout" Target="../slideLayouts/slideLayout212.xml"/><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slideLayout" Target="../slideLayouts/slideLayout207.xml"/><Relationship Id="rId22" Type="http://schemas.openxmlformats.org/officeDocument/2006/relationships/tags" Target="../tags/tag44.xml"/></Relationships>
</file>

<file path=ppt/slideMasters/_rels/slideMaster15.xml.rels><?xml version="1.0" encoding="UTF-8" standalone="yes"?>
<Relationships xmlns="http://schemas.openxmlformats.org/package/2006/relationships"><Relationship Id="rId8" Type="http://schemas.openxmlformats.org/officeDocument/2006/relationships/image" Target="../media/image79.emf"/><Relationship Id="rId3" Type="http://schemas.openxmlformats.org/officeDocument/2006/relationships/slideLayout" Target="../slideLayouts/slideLayout216.xml"/><Relationship Id="rId7" Type="http://schemas.openxmlformats.org/officeDocument/2006/relationships/oleObject" Target="../embeddings/oleObject32.bin"/><Relationship Id="rId2" Type="http://schemas.openxmlformats.org/officeDocument/2006/relationships/slideLayout" Target="../slideLayouts/slideLayout215.xml"/><Relationship Id="rId1" Type="http://schemas.openxmlformats.org/officeDocument/2006/relationships/slideLayout" Target="../slideLayouts/slideLayout214.xml"/><Relationship Id="rId6" Type="http://schemas.openxmlformats.org/officeDocument/2006/relationships/tags" Target="../tags/tag47.xml"/><Relationship Id="rId5" Type="http://schemas.openxmlformats.org/officeDocument/2006/relationships/theme" Target="../theme/theme15.xml"/><Relationship Id="rId4" Type="http://schemas.openxmlformats.org/officeDocument/2006/relationships/slideLayout" Target="../slideLayouts/slideLayout217.xml"/><Relationship Id="rId9" Type="http://schemas.openxmlformats.org/officeDocument/2006/relationships/image" Target="../media/image80.jpeg"/></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8.xml"/><Relationship Id="rId1"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1.xml"/><Relationship Id="rId7" Type="http://schemas.openxmlformats.org/officeDocument/2006/relationships/slideLayout" Target="../slideLayouts/slideLayout25.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5" Type="http://schemas.openxmlformats.org/officeDocument/2006/relationships/slideLayout" Target="../slideLayouts/slideLayout23.xml"/><Relationship Id="rId4" Type="http://schemas.openxmlformats.org/officeDocument/2006/relationships/slideLayout" Target="../slideLayouts/slideLayout22.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theme" Target="../theme/theme4.xml"/><Relationship Id="rId1" Type="http://schemas.openxmlformats.org/officeDocument/2006/relationships/slideLayout" Target="../slideLayouts/slideLayout26.xml"/><Relationship Id="rId4" Type="http://schemas.openxmlformats.org/officeDocument/2006/relationships/image" Target="../media/image16.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image" Target="../media/image17.png"/><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10" Type="http://schemas.openxmlformats.org/officeDocument/2006/relationships/slideLayout" Target="../slideLayouts/slideLayout36.xml"/><Relationship Id="rId19" Type="http://schemas.openxmlformats.org/officeDocument/2006/relationships/theme" Target="../theme/theme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3" Type="http://schemas.openxmlformats.org/officeDocument/2006/relationships/slideLayout" Target="../slideLayouts/slideLayout47.xml"/><Relationship Id="rId21" Type="http://schemas.openxmlformats.org/officeDocument/2006/relationships/oleObject" Target="../embeddings/oleObject1.bin"/><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tags" Target="../tags/tag1.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image" Target="../media/image17.png"/><Relationship Id="rId10" Type="http://schemas.openxmlformats.org/officeDocument/2006/relationships/slideLayout" Target="../slideLayouts/slideLayout54.xml"/><Relationship Id="rId19" Type="http://schemas.openxmlformats.org/officeDocument/2006/relationships/theme" Target="../theme/theme6.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image" Target="../media/image23.emf"/></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9" Type="http://schemas.openxmlformats.org/officeDocument/2006/relationships/theme" Target="../theme/theme7.xml"/><Relationship Id="rId21" Type="http://schemas.openxmlformats.org/officeDocument/2006/relationships/slideLayout" Target="../slideLayouts/slideLayout83.xml"/><Relationship Id="rId34" Type="http://schemas.openxmlformats.org/officeDocument/2006/relationships/slideLayout" Target="../slideLayouts/slideLayout96.xml"/><Relationship Id="rId7" Type="http://schemas.openxmlformats.org/officeDocument/2006/relationships/slideLayout" Target="../slideLayouts/slideLayout6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slideLayout" Target="../slideLayouts/slideLayout91.xml"/><Relationship Id="rId41" Type="http://schemas.openxmlformats.org/officeDocument/2006/relationships/image" Target="../media/image30.jpeg"/><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32" Type="http://schemas.openxmlformats.org/officeDocument/2006/relationships/slideLayout" Target="../slideLayouts/slideLayout94.xml"/><Relationship Id="rId37" Type="http://schemas.openxmlformats.org/officeDocument/2006/relationships/slideLayout" Target="../slideLayouts/slideLayout99.xml"/><Relationship Id="rId40" Type="http://schemas.openxmlformats.org/officeDocument/2006/relationships/image" Target="../media/image29.png"/><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36" Type="http://schemas.openxmlformats.org/officeDocument/2006/relationships/slideLayout" Target="../slideLayouts/slideLayout98.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slideLayout" Target="../slideLayouts/slideLayout93.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slideLayout" Target="../slideLayouts/slideLayout92.xml"/><Relationship Id="rId35" Type="http://schemas.openxmlformats.org/officeDocument/2006/relationships/slideLayout" Target="../slideLayouts/slideLayout97.xml"/><Relationship Id="rId8" Type="http://schemas.openxmlformats.org/officeDocument/2006/relationships/slideLayout" Target="../slideLayouts/slideLayout70.xml"/><Relationship Id="rId3" Type="http://schemas.openxmlformats.org/officeDocument/2006/relationships/slideLayout" Target="../slideLayouts/slideLayout65.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33" Type="http://schemas.openxmlformats.org/officeDocument/2006/relationships/slideLayout" Target="../slideLayouts/slideLayout95.xml"/><Relationship Id="rId38" Type="http://schemas.openxmlformats.org/officeDocument/2006/relationships/slideLayout" Target="../slideLayouts/slideLayout100.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image" Target="../media/image40.png"/><Relationship Id="rId3" Type="http://schemas.openxmlformats.org/officeDocument/2006/relationships/slideLayout" Target="../slideLayouts/slideLayout103.xml"/><Relationship Id="rId7" Type="http://schemas.openxmlformats.org/officeDocument/2006/relationships/theme" Target="../theme/theme8.xml"/><Relationship Id="rId12" Type="http://schemas.openxmlformats.org/officeDocument/2006/relationships/image" Target="../media/image39.svg"/><Relationship Id="rId2" Type="http://schemas.openxmlformats.org/officeDocument/2006/relationships/slideLayout" Target="../slideLayouts/slideLayout102.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image" Target="../media/image38.png"/><Relationship Id="rId5" Type="http://schemas.openxmlformats.org/officeDocument/2006/relationships/slideLayout" Target="../slideLayouts/slideLayout105.xml"/><Relationship Id="rId10" Type="http://schemas.openxmlformats.org/officeDocument/2006/relationships/image" Target="../media/image37.emf"/><Relationship Id="rId4" Type="http://schemas.openxmlformats.org/officeDocument/2006/relationships/slideLayout" Target="../slideLayouts/slideLayout104.xml"/><Relationship Id="rId9" Type="http://schemas.openxmlformats.org/officeDocument/2006/relationships/oleObject" Target="../embeddings/oleObject20.bin"/><Relationship Id="rId14" Type="http://schemas.openxmlformats.org/officeDocument/2006/relationships/image" Target="../media/image41.svg"/></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image" Target="../media/image40.png"/><Relationship Id="rId3" Type="http://schemas.openxmlformats.org/officeDocument/2006/relationships/slideLayout" Target="../slideLayouts/slideLayout109.xml"/><Relationship Id="rId7" Type="http://schemas.openxmlformats.org/officeDocument/2006/relationships/theme" Target="../theme/theme9.xml"/><Relationship Id="rId12" Type="http://schemas.openxmlformats.org/officeDocument/2006/relationships/image" Target="../media/image39.svg"/><Relationship Id="rId2" Type="http://schemas.openxmlformats.org/officeDocument/2006/relationships/slideLayout" Target="../slideLayouts/slideLayout108.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image" Target="../media/image38.png"/><Relationship Id="rId5" Type="http://schemas.openxmlformats.org/officeDocument/2006/relationships/slideLayout" Target="../slideLayouts/slideLayout111.xml"/><Relationship Id="rId10" Type="http://schemas.openxmlformats.org/officeDocument/2006/relationships/image" Target="../media/image37.emf"/><Relationship Id="rId4" Type="http://schemas.openxmlformats.org/officeDocument/2006/relationships/slideLayout" Target="../slideLayouts/slideLayout110.xml"/><Relationship Id="rId9" Type="http://schemas.openxmlformats.org/officeDocument/2006/relationships/oleObject" Target="../embeddings/oleObject20.bin"/><Relationship Id="rId14" Type="http://schemas.openxmlformats.org/officeDocument/2006/relationships/image" Target="../media/image41.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p:cNvSpPr/>
          <p:nvPr userDrawn="1"/>
        </p:nvSpPr>
        <p:spPr>
          <a:xfrm>
            <a:off x="0" y="6281738"/>
            <a:ext cx="12192000" cy="576262"/>
          </a:xfrm>
          <a:prstGeom prst="rect">
            <a:avLst/>
          </a:prstGeom>
          <a:solidFill>
            <a:schemeClr val="accent5"/>
          </a:solidFill>
          <a:ln>
            <a:noFill/>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eaLnBrk="1" fontAlgn="auto" hangingPunct="1">
              <a:spcBef>
                <a:spcPts val="0"/>
              </a:spcBef>
              <a:spcAft>
                <a:spcPts val="0"/>
              </a:spcAft>
              <a:defRPr/>
            </a:pPr>
            <a:endParaRPr lang="x-none"/>
          </a:p>
        </p:txBody>
      </p:sp>
      <p:sp>
        <p:nvSpPr>
          <p:cNvPr id="1027" name="Title Placeholder 1"/>
          <p:cNvSpPr>
            <a:spLocks noGrp="1"/>
          </p:cNvSpPr>
          <p:nvPr>
            <p:ph type="title"/>
          </p:nvPr>
        </p:nvSpPr>
        <p:spPr bwMode="auto">
          <a:xfrm>
            <a:off x="2779713" y="0"/>
            <a:ext cx="8716962" cy="107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180000" rIns="0" bIns="180000" numCol="1" anchor="ctr" anchorCtr="0" compatLnSpc="1">
            <a:prstTxWarp prst="textNoShape">
              <a:avLst/>
            </a:prstTxWarp>
          </a:bodyPr>
          <a:lstStyle/>
          <a:p>
            <a:pPr lvl="0"/>
            <a:r>
              <a:rPr lang="en-GB" altLang="nl-NL"/>
              <a:t>Slide title</a:t>
            </a:r>
            <a:endParaRPr lang="en-US" altLang="nl-NL"/>
          </a:p>
        </p:txBody>
      </p:sp>
      <p:sp>
        <p:nvSpPr>
          <p:cNvPr id="1028" name="Text Placeholder 2"/>
          <p:cNvSpPr>
            <a:spLocks noGrp="1"/>
          </p:cNvSpPr>
          <p:nvPr>
            <p:ph type="body" idx="1"/>
          </p:nvPr>
        </p:nvSpPr>
        <p:spPr bwMode="auto">
          <a:xfrm>
            <a:off x="714375" y="1430338"/>
            <a:ext cx="10799763" cy="435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nl-NL"/>
              <a:t>Edit Master text styles</a:t>
            </a:r>
          </a:p>
          <a:p>
            <a:pPr lvl="1"/>
            <a:r>
              <a:rPr lang="en-US" altLang="nl-NL"/>
              <a:t>Second level</a:t>
            </a:r>
          </a:p>
          <a:p>
            <a:pPr lvl="2"/>
            <a:r>
              <a:rPr lang="en-US" altLang="nl-NL"/>
              <a:t>Third level</a:t>
            </a:r>
          </a:p>
          <a:p>
            <a:pPr lvl="3"/>
            <a:r>
              <a:rPr lang="en-US" altLang="nl-NL"/>
              <a:t>Fourth level</a:t>
            </a:r>
          </a:p>
          <a:p>
            <a:pPr lvl="4"/>
            <a:r>
              <a:rPr lang="en-US" altLang="nl-NL"/>
              <a:t>Fifth level</a:t>
            </a:r>
          </a:p>
        </p:txBody>
      </p:sp>
      <p:sp>
        <p:nvSpPr>
          <p:cNvPr id="6" name="Slide Number Placeholder 5"/>
          <p:cNvSpPr>
            <a:spLocks noGrp="1"/>
          </p:cNvSpPr>
          <p:nvPr>
            <p:ph type="sldNum" sz="quarter" idx="4"/>
          </p:nvPr>
        </p:nvSpPr>
        <p:spPr>
          <a:xfrm>
            <a:off x="11471275" y="6281738"/>
            <a:ext cx="720725" cy="576262"/>
          </a:xfrm>
          <a:prstGeom prst="rect">
            <a:avLst/>
          </a:prstGeom>
        </p:spPr>
        <p:txBody>
          <a:bodyPr vert="horz" wrap="square" lIns="91440" tIns="45720" rIns="91440" bIns="45720" numCol="1" anchor="ctr" anchorCtr="0" compatLnSpc="1">
            <a:prstTxWarp prst="textNoShape">
              <a:avLst/>
            </a:prstTxWarp>
          </a:bodyPr>
          <a:lstStyle>
            <a:lvl1pPr algn="ctr" eaLnBrk="1" hangingPunct="1">
              <a:defRPr sz="1500" b="1"/>
            </a:lvl1pPr>
          </a:lstStyle>
          <a:p>
            <a:pPr>
              <a:defRPr/>
            </a:pPr>
            <a:fld id="{8EFD174F-2B37-464E-BA8E-3856C4C085BB}" type="slidenum">
              <a:rPr lang="nl-NL" altLang="nl-NL"/>
              <a:pPr>
                <a:defRPr/>
              </a:pPr>
              <a:t>‹#›</a:t>
            </a:fld>
            <a:endParaRPr lang="nl-NL" altLang="nl-NL"/>
          </a:p>
        </p:txBody>
      </p:sp>
      <p:pic>
        <p:nvPicPr>
          <p:cNvPr id="1030" name="Picture 6" descr="A picture containing graphical user interface&#10;&#10;Description automatically generated"/>
          <p:cNvPicPr>
            <a:picLocks noChangeAspect="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433388" y="0"/>
            <a:ext cx="2206625" cy="107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7"/>
          <p:cNvCxnSpPr>
            <a:cxnSpLocks/>
          </p:cNvCxnSpPr>
          <p:nvPr userDrawn="1"/>
        </p:nvCxnSpPr>
        <p:spPr>
          <a:xfrm>
            <a:off x="695325" y="1079500"/>
            <a:ext cx="1080135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6618" r:id="rId1"/>
    <p:sldLayoutId id="2147486619" r:id="rId2"/>
    <p:sldLayoutId id="2147486620" r:id="rId3"/>
    <p:sldLayoutId id="2147486621" r:id="rId4"/>
    <p:sldLayoutId id="2147486622" r:id="rId5"/>
    <p:sldLayoutId id="2147486623" r:id="rId6"/>
    <p:sldLayoutId id="2147486624" r:id="rId7"/>
    <p:sldLayoutId id="2147486625" r:id="rId8"/>
    <p:sldLayoutId id="2147486626" r:id="rId9"/>
    <p:sldLayoutId id="2147486627" r:id="rId10"/>
    <p:sldLayoutId id="2147486603" r:id="rId11"/>
    <p:sldLayoutId id="2147486604" r:id="rId12"/>
    <p:sldLayoutId id="2147486605" r:id="rId13"/>
    <p:sldLayoutId id="2147486628" r:id="rId14"/>
    <p:sldLayoutId id="2147486629" r:id="rId15"/>
    <p:sldLayoutId id="2147487787" r:id="rId16"/>
  </p:sldLayoutIdLst>
  <p:hf hdr="0" ftr="0" dt="0"/>
  <p:txStyles>
    <p:titleStyle>
      <a:lvl1pPr algn="r" rtl="0" eaLnBrk="0" fontAlgn="base" hangingPunct="0">
        <a:lnSpc>
          <a:spcPct val="90000"/>
        </a:lnSpc>
        <a:spcBef>
          <a:spcPct val="0"/>
        </a:spcBef>
        <a:spcAft>
          <a:spcPct val="0"/>
        </a:spcAft>
        <a:defRPr sz="3000" b="1" kern="1200">
          <a:solidFill>
            <a:schemeClr val="tx1"/>
          </a:solidFill>
          <a:latin typeface="Arial" panose="020B0604020202020204" pitchFamily="34" charset="0"/>
          <a:ea typeface="+mj-ea"/>
          <a:cs typeface="Arial" panose="020B0604020202020204" pitchFamily="34" charset="0"/>
        </a:defRPr>
      </a:lvl1pPr>
      <a:lvl2pPr algn="r" rtl="0" eaLnBrk="0" fontAlgn="base" hangingPunct="0">
        <a:lnSpc>
          <a:spcPct val="90000"/>
        </a:lnSpc>
        <a:spcBef>
          <a:spcPct val="0"/>
        </a:spcBef>
        <a:spcAft>
          <a:spcPct val="0"/>
        </a:spcAft>
        <a:defRPr sz="3000" b="1">
          <a:solidFill>
            <a:schemeClr val="tx1"/>
          </a:solidFill>
          <a:latin typeface="Arial" panose="020B0604020202020204" pitchFamily="34" charset="0"/>
          <a:cs typeface="Arial" panose="020B0604020202020204" pitchFamily="34" charset="0"/>
        </a:defRPr>
      </a:lvl2pPr>
      <a:lvl3pPr algn="r" rtl="0" eaLnBrk="0" fontAlgn="base" hangingPunct="0">
        <a:lnSpc>
          <a:spcPct val="90000"/>
        </a:lnSpc>
        <a:spcBef>
          <a:spcPct val="0"/>
        </a:spcBef>
        <a:spcAft>
          <a:spcPct val="0"/>
        </a:spcAft>
        <a:defRPr sz="3000" b="1">
          <a:solidFill>
            <a:schemeClr val="tx1"/>
          </a:solidFill>
          <a:latin typeface="Arial" panose="020B0604020202020204" pitchFamily="34" charset="0"/>
          <a:cs typeface="Arial" panose="020B0604020202020204" pitchFamily="34" charset="0"/>
        </a:defRPr>
      </a:lvl3pPr>
      <a:lvl4pPr algn="r" rtl="0" eaLnBrk="0" fontAlgn="base" hangingPunct="0">
        <a:lnSpc>
          <a:spcPct val="90000"/>
        </a:lnSpc>
        <a:spcBef>
          <a:spcPct val="0"/>
        </a:spcBef>
        <a:spcAft>
          <a:spcPct val="0"/>
        </a:spcAft>
        <a:defRPr sz="3000" b="1">
          <a:solidFill>
            <a:schemeClr val="tx1"/>
          </a:solidFill>
          <a:latin typeface="Arial" panose="020B0604020202020204" pitchFamily="34" charset="0"/>
          <a:cs typeface="Arial" panose="020B0604020202020204" pitchFamily="34" charset="0"/>
        </a:defRPr>
      </a:lvl4pPr>
      <a:lvl5pPr algn="r" rtl="0" eaLnBrk="0" fontAlgn="base" hangingPunct="0">
        <a:lnSpc>
          <a:spcPct val="90000"/>
        </a:lnSpc>
        <a:spcBef>
          <a:spcPct val="0"/>
        </a:spcBef>
        <a:spcAft>
          <a:spcPct val="0"/>
        </a:spcAft>
        <a:defRPr sz="3000" b="1">
          <a:solidFill>
            <a:schemeClr val="tx1"/>
          </a:solidFill>
          <a:latin typeface="Arial" panose="020B0604020202020204" pitchFamily="34" charset="0"/>
          <a:cs typeface="Arial" panose="020B0604020202020204" pitchFamily="34" charset="0"/>
        </a:defRPr>
      </a:lvl5pPr>
      <a:lvl6pPr marL="457200" algn="r" rtl="0" fontAlgn="base">
        <a:lnSpc>
          <a:spcPct val="90000"/>
        </a:lnSpc>
        <a:spcBef>
          <a:spcPct val="0"/>
        </a:spcBef>
        <a:spcAft>
          <a:spcPct val="0"/>
        </a:spcAft>
        <a:defRPr sz="3000" b="1">
          <a:solidFill>
            <a:schemeClr val="tx1"/>
          </a:solidFill>
          <a:latin typeface="Arial" panose="020B0604020202020204" pitchFamily="34" charset="0"/>
          <a:cs typeface="Arial" panose="020B0604020202020204" pitchFamily="34" charset="0"/>
        </a:defRPr>
      </a:lvl6pPr>
      <a:lvl7pPr marL="914400" algn="r" rtl="0" fontAlgn="base">
        <a:lnSpc>
          <a:spcPct val="90000"/>
        </a:lnSpc>
        <a:spcBef>
          <a:spcPct val="0"/>
        </a:spcBef>
        <a:spcAft>
          <a:spcPct val="0"/>
        </a:spcAft>
        <a:defRPr sz="3000" b="1">
          <a:solidFill>
            <a:schemeClr val="tx1"/>
          </a:solidFill>
          <a:latin typeface="Arial" panose="020B0604020202020204" pitchFamily="34" charset="0"/>
          <a:cs typeface="Arial" panose="020B0604020202020204" pitchFamily="34" charset="0"/>
        </a:defRPr>
      </a:lvl7pPr>
      <a:lvl8pPr marL="1371600" algn="r" rtl="0" fontAlgn="base">
        <a:lnSpc>
          <a:spcPct val="90000"/>
        </a:lnSpc>
        <a:spcBef>
          <a:spcPct val="0"/>
        </a:spcBef>
        <a:spcAft>
          <a:spcPct val="0"/>
        </a:spcAft>
        <a:defRPr sz="3000" b="1">
          <a:solidFill>
            <a:schemeClr val="tx1"/>
          </a:solidFill>
          <a:latin typeface="Arial" panose="020B0604020202020204" pitchFamily="34" charset="0"/>
          <a:cs typeface="Arial" panose="020B0604020202020204" pitchFamily="34" charset="0"/>
        </a:defRPr>
      </a:lvl8pPr>
      <a:lvl9pPr marL="1828800" algn="r" rtl="0" fontAlgn="base">
        <a:lnSpc>
          <a:spcPct val="90000"/>
        </a:lnSpc>
        <a:spcBef>
          <a:spcPct val="0"/>
        </a:spcBef>
        <a:spcAft>
          <a:spcPct val="0"/>
        </a:spcAft>
        <a:defRPr sz="3000" b="1">
          <a:solidFill>
            <a:schemeClr val="tx1"/>
          </a:solidFill>
          <a:latin typeface="Arial" panose="020B0604020202020204" pitchFamily="34" charset="0"/>
          <a:cs typeface="Arial" panose="020B0604020202020204" pitchFamily="34" charset="0"/>
        </a:defRPr>
      </a:lvl9pPr>
    </p:titleStyle>
    <p:bodyStyle>
      <a:lvl1pPr marL="228600" indent="-228600" algn="l" rtl="0" eaLnBrk="0" fontAlgn="base" hangingPunct="0">
        <a:lnSpc>
          <a:spcPct val="90000"/>
        </a:lnSpc>
        <a:spcBef>
          <a:spcPts val="1000"/>
        </a:spcBef>
        <a:spcAft>
          <a:spcPct val="0"/>
        </a:spcAft>
        <a:buClr>
          <a:schemeClr val="tx2"/>
        </a:buClr>
        <a:buFont typeface="Wingdings" panose="05000000000000000000" pitchFamily="2" charset="2"/>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rtl="0" eaLnBrk="0" fontAlgn="base" hangingPunct="0">
        <a:lnSpc>
          <a:spcPct val="90000"/>
        </a:lnSpc>
        <a:spcBef>
          <a:spcPts val="500"/>
        </a:spcBef>
        <a:spcAft>
          <a:spcPct val="0"/>
        </a:spcAft>
        <a:buClr>
          <a:schemeClr val="tx2"/>
        </a:buClr>
        <a:buFont typeface="Wingdings" panose="05000000000000000000" pitchFamily="2" charset="2"/>
        <a:buChar char="§"/>
        <a:defRPr kern="1200">
          <a:solidFill>
            <a:schemeClr val="tx1"/>
          </a:solidFill>
          <a:latin typeface="Arial" panose="020B0604020202020204" pitchFamily="34" charset="0"/>
          <a:ea typeface="+mn-ea"/>
          <a:cs typeface="Arial" panose="020B0604020202020204" pitchFamily="34" charset="0"/>
        </a:defRPr>
      </a:lvl2pPr>
      <a:lvl3pPr marL="1143000" indent="-228600" algn="l" rtl="0" eaLnBrk="0" fontAlgn="base" hangingPunct="0">
        <a:lnSpc>
          <a:spcPct val="90000"/>
        </a:lnSpc>
        <a:spcBef>
          <a:spcPts val="500"/>
        </a:spcBef>
        <a:spcAft>
          <a:spcPct val="0"/>
        </a:spcAft>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rtl="0" eaLnBrk="0" fontAlgn="base" hangingPunct="0">
        <a:lnSpc>
          <a:spcPct val="90000"/>
        </a:lnSpc>
        <a:spcBef>
          <a:spcPts val="500"/>
        </a:spcBef>
        <a:spcAft>
          <a:spcPct val="0"/>
        </a:spcAft>
        <a:buClr>
          <a:schemeClr val="tx2"/>
        </a:buClr>
        <a:buFont typeface="System Font Regular"/>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rtl="0" eaLnBrk="0" fontAlgn="base" hangingPunct="0">
        <a:lnSpc>
          <a:spcPct val="90000"/>
        </a:lnSpc>
        <a:spcBef>
          <a:spcPts val="500"/>
        </a:spcBef>
        <a:spcAft>
          <a:spcPct val="0"/>
        </a:spcAft>
        <a:buClr>
          <a:schemeClr val="tx1"/>
        </a:buClr>
        <a:buFont typeface="System Font Regular"/>
        <a:buChar char="-"/>
        <a:defRPr sz="1400" kern="1200">
          <a:solidFill>
            <a:srgbClr val="40404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4" name="Textplatzhalter 2"/>
          <p:cNvSpPr>
            <a:spLocks noGrp="1"/>
          </p:cNvSpPr>
          <p:nvPr>
            <p:ph type="body" idx="1"/>
          </p:nvPr>
        </p:nvSpPr>
        <p:spPr>
          <a:xfrm>
            <a:off x="263352" y="1206960"/>
            <a:ext cx="11616780" cy="3311326"/>
          </a:xfrm>
          <a:prstGeom prst="rect">
            <a:avLst/>
          </a:prstGeom>
          <a:ln>
            <a:noFill/>
          </a:ln>
        </p:spPr>
        <p:txBody>
          <a:bodyPr vert="horz" lIns="91440" tIns="45720" rIns="91440" bIns="45720" rtlCol="0">
            <a:normAutofit/>
          </a:bodyPr>
          <a:lstStyle/>
          <a:p>
            <a:pPr lvl="0"/>
            <a:r>
              <a:rPr lang="de-DE"/>
              <a:t>Edit </a:t>
            </a:r>
            <a:r>
              <a:rPr lang="de-DE" err="1"/>
              <a:t>the</a:t>
            </a:r>
            <a:r>
              <a:rPr lang="de-DE"/>
              <a:t> </a:t>
            </a:r>
            <a:r>
              <a:rPr lang="de-DE" err="1"/>
              <a:t>text</a:t>
            </a:r>
            <a:r>
              <a:rPr lang="de-DE"/>
              <a:t> </a:t>
            </a:r>
            <a:r>
              <a:rPr lang="de-DE" err="1"/>
              <a:t>here</a:t>
            </a:r>
            <a:r>
              <a:rPr lang="de-DE"/>
              <a:t>; Firs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8" name="Datumsplatzhalter 4"/>
          <p:cNvSpPr txBox="1">
            <a:spLocks/>
          </p:cNvSpPr>
          <p:nvPr userDrawn="1"/>
        </p:nvSpPr>
        <p:spPr>
          <a:xfrm>
            <a:off x="6168008" y="6237313"/>
            <a:ext cx="5832649" cy="365125"/>
          </a:xfrm>
          <a:prstGeom prst="rect">
            <a:avLst/>
          </a:prstGeom>
        </p:spPr>
        <p:txBody>
          <a:bodyPr vert="horz" lIns="91440" tIns="45720" rIns="91440" bIns="45720" rtlCol="0" anchor="ctr"/>
          <a:lstStyle>
            <a:defPPr>
              <a:defRPr lang="en-US"/>
            </a:defPPr>
            <a:lvl1pPr marL="0" indent="0" algn="l" defTabSz="685783" rtl="0" eaLnBrk="1" latinLnBrk="0" hangingPunct="1">
              <a:lnSpc>
                <a:spcPts val="900"/>
              </a:lnSpc>
              <a:spcBef>
                <a:spcPts val="0"/>
              </a:spcBef>
              <a:buFont typeface="Arial"/>
              <a:buNone/>
              <a:defRPr lang="pt-BR" sz="900" b="0" i="0" kern="1200" smtClean="0">
                <a:solidFill>
                  <a:srgbClr val="005B9C"/>
                </a:solidFill>
                <a:effectLst/>
                <a:latin typeface="+mn-lt"/>
                <a:ea typeface="Microsoft YaHei" pitchFamily="34" charset="-122"/>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de-DE" sz="900">
                <a:solidFill>
                  <a:schemeClr val="accent1"/>
                </a:solidFill>
              </a:rPr>
              <a:t> </a:t>
            </a:r>
            <a:fld id="{9D8EEF28-5ABD-4429-9AD9-DE956F602A14}" type="slidenum">
              <a:rPr lang="de-DE" sz="900" smtClean="0">
                <a:solidFill>
                  <a:schemeClr val="tx1">
                    <a:lumMod val="50000"/>
                  </a:schemeClr>
                </a:solidFill>
              </a:rPr>
              <a:pPr algn="r"/>
              <a:t>‹#›</a:t>
            </a:fld>
            <a:endParaRPr lang="de-DE" sz="900">
              <a:solidFill>
                <a:schemeClr val="tx1">
                  <a:lumMod val="50000"/>
                </a:schemeClr>
              </a:solidFill>
            </a:endParaRPr>
          </a:p>
        </p:txBody>
      </p:sp>
      <p:pic>
        <p:nvPicPr>
          <p:cNvPr id="5" name="Picture 4">
            <a:extLst>
              <a:ext uri="{FF2B5EF4-FFF2-40B4-BE49-F238E27FC236}">
                <a16:creationId xmlns:a16="http://schemas.microsoft.com/office/drawing/2014/main" id="{38D89FAA-E980-408C-B430-CBF368494B7B}"/>
              </a:ext>
            </a:extLst>
          </p:cNvPr>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10776520" y="6314495"/>
            <a:ext cx="778960" cy="210759"/>
          </a:xfrm>
          <a:prstGeom prst="rect">
            <a:avLst/>
          </a:prstGeom>
        </p:spPr>
      </p:pic>
    </p:spTree>
    <p:extLst>
      <p:ext uri="{BB962C8B-B14F-4D97-AF65-F5344CB8AC3E}">
        <p14:creationId xmlns:p14="http://schemas.microsoft.com/office/powerpoint/2010/main" val="1375812392"/>
      </p:ext>
    </p:extLst>
  </p:cSld>
  <p:clrMap bg1="lt1" tx1="dk1" bg2="lt2" tx2="dk2" accent1="accent1" accent2="accent2" accent3="accent3" accent4="accent4" accent5="accent5" accent6="accent6" hlink="hlink" folHlink="folHlink"/>
  <p:sldLayoutIdLst>
    <p:sldLayoutId id="2147487621" r:id="rId1"/>
    <p:sldLayoutId id="2147487622" r:id="rId2"/>
    <p:sldLayoutId id="2147487623" r:id="rId3"/>
    <p:sldLayoutId id="2147487624" r:id="rId4"/>
    <p:sldLayoutId id="2147487625" r:id="rId5"/>
    <p:sldLayoutId id="2147487626" r:id="rId6"/>
    <p:sldLayoutId id="2147487627" r:id="rId7"/>
    <p:sldLayoutId id="2147487628" r:id="rId8"/>
    <p:sldLayoutId id="2147487629" r:id="rId9"/>
    <p:sldLayoutId id="2147487630" r:id="rId10"/>
    <p:sldLayoutId id="2147487631" r:id="rId11"/>
    <p:sldLayoutId id="2147487632" r:id="rId12"/>
    <p:sldLayoutId id="2147487633" r:id="rId13"/>
    <p:sldLayoutId id="2147487634" r:id="rId14"/>
    <p:sldLayoutId id="2147487635" r:id="rId15"/>
    <p:sldLayoutId id="2147487636" r:id="rId16"/>
    <p:sldLayoutId id="2147487637" r:id="rId17"/>
    <p:sldLayoutId id="2147487638" r:id="rId18"/>
    <p:sldLayoutId id="2147487639" r:id="rId19"/>
    <p:sldLayoutId id="2147487640" r:id="rId20"/>
  </p:sldLayoutIdLst>
  <p:txStyles>
    <p:titleStyle>
      <a:lvl1pPr algn="l" defTabSz="914400" rtl="0" eaLnBrk="1" latinLnBrk="0" hangingPunct="1">
        <a:lnSpc>
          <a:spcPct val="90000"/>
        </a:lnSpc>
        <a:spcBef>
          <a:spcPct val="0"/>
        </a:spcBef>
        <a:buNone/>
        <a:defRPr lang="de-DE" sz="3000" kern="1200" dirty="0">
          <a:solidFill>
            <a:srgbClr val="005CA9"/>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1">
          <p15:clr>
            <a:srgbClr val="F26B43"/>
          </p15:clr>
        </p15:guide>
        <p15:guide id="2" pos="7439">
          <p15:clr>
            <a:srgbClr val="F26B43"/>
          </p15:clr>
        </p15:guide>
        <p15:guide id="6" orient="horz" pos="4133">
          <p15:clr>
            <a:srgbClr val="F26B43"/>
          </p15:clr>
        </p15:guide>
        <p15:guide id="7" orient="horz" pos="187">
          <p15:clr>
            <a:srgbClr val="F26B43"/>
          </p15:clr>
        </p15:guide>
        <p15:guide id="8" orient="horz" pos="2160">
          <p15:clr>
            <a:srgbClr val="F26B43"/>
          </p15:clr>
        </p15:guide>
        <p15:guide id="13" pos="3840">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658376F-DB1E-BC9B-0F97-17517A5DD810}"/>
              </a:ext>
            </a:extLst>
          </p:cNvPr>
          <p:cNvGraphicFramePr>
            <a:graphicFrameLocks noChangeAspect="1"/>
          </p:cNvGraphicFramePr>
          <p:nvPr userDrawn="1">
            <p:custDataLst>
              <p:tags r:id="rId21"/>
            </p:custDataLst>
            <p:extLst>
              <p:ext uri="{D42A27DB-BD31-4B8C-83A1-F6EECF244321}">
                <p14:modId xmlns:p14="http://schemas.microsoft.com/office/powerpoint/2010/main" val="1837130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2" imgW="590" imgH="605" progId="TCLayout.ActiveDocument.1">
                  <p:embed/>
                </p:oleObj>
              </mc:Choice>
              <mc:Fallback>
                <p:oleObj name="think-cell Folie" r:id="rId22" imgW="590" imgH="605" progId="TCLayout.ActiveDocument.1">
                  <p:embed/>
                  <p:pic>
                    <p:nvPicPr>
                      <p:cNvPr id="2" name="think-cell data - do not delete" hidden="1">
                        <a:extLst>
                          <a:ext uri="{FF2B5EF4-FFF2-40B4-BE49-F238E27FC236}">
                            <a16:creationId xmlns:a16="http://schemas.microsoft.com/office/drawing/2014/main" id="{C658376F-DB1E-BC9B-0F97-17517A5DD810}"/>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4" name="Textplatzhalter 2"/>
          <p:cNvSpPr>
            <a:spLocks noGrp="1"/>
          </p:cNvSpPr>
          <p:nvPr>
            <p:ph type="body" idx="1"/>
          </p:nvPr>
        </p:nvSpPr>
        <p:spPr>
          <a:xfrm>
            <a:off x="263352" y="1206960"/>
            <a:ext cx="11616780" cy="3311326"/>
          </a:xfrm>
          <a:prstGeom prst="rect">
            <a:avLst/>
          </a:prstGeom>
          <a:ln>
            <a:noFill/>
          </a:ln>
        </p:spPr>
        <p:txBody>
          <a:bodyPr vert="horz" lIns="91440" tIns="45720" rIns="91440" bIns="45720" rtlCol="0">
            <a:normAutofit/>
          </a:bodyPr>
          <a:lstStyle/>
          <a:p>
            <a:pPr lvl="0"/>
            <a:r>
              <a:rPr lang="de-DE"/>
              <a:t>Edit </a:t>
            </a:r>
            <a:r>
              <a:rPr lang="de-DE" err="1"/>
              <a:t>the</a:t>
            </a:r>
            <a:r>
              <a:rPr lang="de-DE"/>
              <a:t> </a:t>
            </a:r>
            <a:r>
              <a:rPr lang="de-DE" err="1"/>
              <a:t>text</a:t>
            </a:r>
            <a:r>
              <a:rPr lang="de-DE"/>
              <a:t> </a:t>
            </a:r>
            <a:r>
              <a:rPr lang="de-DE" err="1"/>
              <a:t>here</a:t>
            </a:r>
            <a:r>
              <a:rPr lang="de-DE"/>
              <a:t>; Firs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8" name="Datumsplatzhalter 4"/>
          <p:cNvSpPr txBox="1">
            <a:spLocks/>
          </p:cNvSpPr>
          <p:nvPr userDrawn="1"/>
        </p:nvSpPr>
        <p:spPr>
          <a:xfrm>
            <a:off x="6168008" y="6237313"/>
            <a:ext cx="5832649" cy="365125"/>
          </a:xfrm>
          <a:prstGeom prst="rect">
            <a:avLst/>
          </a:prstGeom>
        </p:spPr>
        <p:txBody>
          <a:bodyPr vert="horz" lIns="91440" tIns="45720" rIns="91440" bIns="45720" rtlCol="0" anchor="ctr"/>
          <a:lstStyle>
            <a:defPPr>
              <a:defRPr lang="en-US"/>
            </a:defPPr>
            <a:lvl1pPr marL="0" indent="0" algn="l" defTabSz="685783" rtl="0" eaLnBrk="1" latinLnBrk="0" hangingPunct="1">
              <a:lnSpc>
                <a:spcPts val="900"/>
              </a:lnSpc>
              <a:spcBef>
                <a:spcPts val="0"/>
              </a:spcBef>
              <a:buFont typeface="Arial"/>
              <a:buNone/>
              <a:defRPr lang="pt-BR" sz="900" b="0" i="0" kern="1200" smtClean="0">
                <a:solidFill>
                  <a:srgbClr val="005B9C"/>
                </a:solidFill>
                <a:effectLst/>
                <a:latin typeface="+mn-lt"/>
                <a:ea typeface="Microsoft YaHei" pitchFamily="34" charset="-122"/>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de-DE" sz="900">
                <a:solidFill>
                  <a:schemeClr val="accent1"/>
                </a:solidFill>
              </a:rPr>
              <a:t> </a:t>
            </a:r>
            <a:fld id="{9D8EEF28-5ABD-4429-9AD9-DE956F602A14}" type="slidenum">
              <a:rPr lang="de-DE" sz="900" smtClean="0">
                <a:solidFill>
                  <a:schemeClr val="tx1">
                    <a:lumMod val="50000"/>
                  </a:schemeClr>
                </a:solidFill>
              </a:rPr>
              <a:pPr algn="r"/>
              <a:t>‹#›</a:t>
            </a:fld>
            <a:endParaRPr lang="de-DE" sz="900">
              <a:solidFill>
                <a:schemeClr val="tx1">
                  <a:lumMod val="50000"/>
                </a:schemeClr>
              </a:solidFill>
            </a:endParaRPr>
          </a:p>
        </p:txBody>
      </p:sp>
      <p:pic>
        <p:nvPicPr>
          <p:cNvPr id="5" name="Picture 4">
            <a:extLst>
              <a:ext uri="{FF2B5EF4-FFF2-40B4-BE49-F238E27FC236}">
                <a16:creationId xmlns:a16="http://schemas.microsoft.com/office/drawing/2014/main" id="{38D89FAA-E980-408C-B430-CBF368494B7B}"/>
              </a:ext>
            </a:extLst>
          </p:cNvPr>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a:off x="10776520" y="6314495"/>
            <a:ext cx="778960" cy="210759"/>
          </a:xfrm>
          <a:prstGeom prst="rect">
            <a:avLst/>
          </a:prstGeom>
        </p:spPr>
      </p:pic>
    </p:spTree>
    <p:extLst>
      <p:ext uri="{BB962C8B-B14F-4D97-AF65-F5344CB8AC3E}">
        <p14:creationId xmlns:p14="http://schemas.microsoft.com/office/powerpoint/2010/main" val="1700763625"/>
      </p:ext>
    </p:extLst>
  </p:cSld>
  <p:clrMap bg1="lt1" tx1="dk1" bg2="lt2" tx2="dk2" accent1="accent1" accent2="accent2" accent3="accent3" accent4="accent4" accent5="accent5" accent6="accent6" hlink="hlink" folHlink="folHlink"/>
  <p:sldLayoutIdLst>
    <p:sldLayoutId id="2147487668" r:id="rId1"/>
    <p:sldLayoutId id="2147487669" r:id="rId2"/>
    <p:sldLayoutId id="2147487670" r:id="rId3"/>
    <p:sldLayoutId id="2147487671" r:id="rId4"/>
    <p:sldLayoutId id="2147487672" r:id="rId5"/>
    <p:sldLayoutId id="2147487673" r:id="rId6"/>
    <p:sldLayoutId id="2147487674" r:id="rId7"/>
    <p:sldLayoutId id="2147487675" r:id="rId8"/>
    <p:sldLayoutId id="2147487676" r:id="rId9"/>
    <p:sldLayoutId id="2147487677" r:id="rId10"/>
    <p:sldLayoutId id="2147487678" r:id="rId11"/>
    <p:sldLayoutId id="2147487679" r:id="rId12"/>
    <p:sldLayoutId id="2147487680" r:id="rId13"/>
    <p:sldLayoutId id="2147487681" r:id="rId14"/>
    <p:sldLayoutId id="2147487682" r:id="rId15"/>
    <p:sldLayoutId id="2147487683" r:id="rId16"/>
    <p:sldLayoutId id="2147487684" r:id="rId17"/>
    <p:sldLayoutId id="2147487685" r:id="rId18"/>
    <p:sldLayoutId id="2147487686" r:id="rId19"/>
  </p:sldLayoutIdLst>
  <p:txStyles>
    <p:titleStyle>
      <a:lvl1pPr algn="l" defTabSz="914400" rtl="0" eaLnBrk="1" latinLnBrk="0" hangingPunct="1">
        <a:lnSpc>
          <a:spcPct val="90000"/>
        </a:lnSpc>
        <a:spcBef>
          <a:spcPct val="0"/>
        </a:spcBef>
        <a:buNone/>
        <a:defRPr lang="de-DE" sz="3000" kern="1200" dirty="0">
          <a:solidFill>
            <a:srgbClr val="005CA9"/>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1">
          <p15:clr>
            <a:srgbClr val="F26B43"/>
          </p15:clr>
        </p15:guide>
        <p15:guide id="2" pos="7439">
          <p15:clr>
            <a:srgbClr val="F26B43"/>
          </p15:clr>
        </p15:guide>
        <p15:guide id="6" orient="horz" pos="4133">
          <p15:clr>
            <a:srgbClr val="F26B43"/>
          </p15:clr>
        </p15:guide>
        <p15:guide id="7" orient="horz" pos="187">
          <p15:clr>
            <a:srgbClr val="F26B43"/>
          </p15:clr>
        </p15:guide>
        <p15:guide id="8" orient="horz" pos="2160">
          <p15:clr>
            <a:srgbClr val="F26B43"/>
          </p15:clr>
        </p15:guide>
        <p15:guide id="13" pos="3840">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2DD262C4-97D3-052A-2CEF-6B5571F19ED3}"/>
              </a:ext>
            </a:extLst>
          </p:cNvPr>
          <p:cNvGraphicFramePr>
            <a:graphicFrameLocks noChangeAspect="1"/>
          </p:cNvGraphicFramePr>
          <p:nvPr userDrawn="1">
            <p:custDataLst>
              <p:tags r:id="rId20"/>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Folie" r:id="rId21" imgW="624" imgH="623" progId="TCLayout.ActiveDocument.1">
                  <p:embed/>
                </p:oleObj>
              </mc:Choice>
              <mc:Fallback>
                <p:oleObj name="think-cell Folie" r:id="rId21" imgW="624" imgH="623" progId="TCLayout.ActiveDocument.1">
                  <p:embed/>
                  <p:pic>
                    <p:nvPicPr>
                      <p:cNvPr id="10" name="think-cell data - do not delete" hidden="1">
                        <a:extLst>
                          <a:ext uri="{FF2B5EF4-FFF2-40B4-BE49-F238E27FC236}">
                            <a16:creationId xmlns:a16="http://schemas.microsoft.com/office/drawing/2014/main" id="{2DD262C4-97D3-052A-2CEF-6B5571F19ED3}"/>
                          </a:ext>
                        </a:extLst>
                      </p:cNvPr>
                      <p:cNvPicPr/>
                      <p:nvPr/>
                    </p:nvPicPr>
                    <p:blipFill>
                      <a:blip r:embed="rId22"/>
                      <a:stretch>
                        <a:fillRect/>
                      </a:stretch>
                    </p:blipFill>
                    <p:spPr>
                      <a:xfrm>
                        <a:off x="2118" y="1588"/>
                        <a:ext cx="211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F4EDF5E-F9BB-AAD8-4593-23650CC88C33}"/>
              </a:ext>
            </a:extLst>
          </p:cNvPr>
          <p:cNvSpPr>
            <a:spLocks noGrp="1"/>
          </p:cNvSpPr>
          <p:nvPr>
            <p:ph type="title"/>
          </p:nvPr>
        </p:nvSpPr>
        <p:spPr>
          <a:xfrm>
            <a:off x="581247" y="233915"/>
            <a:ext cx="11072037" cy="382774"/>
          </a:xfrm>
          <a:prstGeom prst="rect">
            <a:avLst/>
          </a:prstGeom>
        </p:spPr>
        <p:txBody>
          <a:bodyPr vert="horz" lIns="91440" tIns="45720" rIns="91440" bIns="45720" rtlCol="0" anchor="ctr">
            <a:noAutofit/>
          </a:body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B8942101-293A-D1CB-689B-9DAF6305B49F}"/>
              </a:ext>
            </a:extLst>
          </p:cNvPr>
          <p:cNvSpPr>
            <a:spLocks noGrp="1"/>
          </p:cNvSpPr>
          <p:nvPr>
            <p:ph type="body" idx="1"/>
          </p:nvPr>
        </p:nvSpPr>
        <p:spPr>
          <a:xfrm>
            <a:off x="581247" y="1265275"/>
            <a:ext cx="11072037" cy="502919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a:extLst>
              <a:ext uri="{FF2B5EF4-FFF2-40B4-BE49-F238E27FC236}">
                <a16:creationId xmlns:a16="http://schemas.microsoft.com/office/drawing/2014/main" id="{AC25D5D2-24DE-6234-E5C8-7B06217B09F6}"/>
              </a:ext>
            </a:extLst>
          </p:cNvPr>
          <p:cNvSpPr>
            <a:spLocks noGrp="1"/>
          </p:cNvSpPr>
          <p:nvPr>
            <p:ph type="dt" sz="half" idx="2"/>
          </p:nvPr>
        </p:nvSpPr>
        <p:spPr>
          <a:xfrm>
            <a:off x="581247" y="6473312"/>
            <a:ext cx="2743200" cy="246469"/>
          </a:xfrm>
          <a:prstGeom prst="rect">
            <a:avLst/>
          </a:prstGeom>
        </p:spPr>
        <p:txBody>
          <a:bodyPr vert="horz" lIns="91440" tIns="45720" rIns="91440" bIns="45720" rtlCol="0" anchor="ctr"/>
          <a:lstStyle>
            <a:lvl1pPr algn="l">
              <a:defRPr sz="1100">
                <a:solidFill>
                  <a:schemeClr val="bg1">
                    <a:lumMod val="50000"/>
                  </a:schemeClr>
                </a:solidFill>
              </a:defRPr>
            </a:lvl1pPr>
          </a:lstStyle>
          <a:p>
            <a:r>
              <a:rPr lang="en-GB"/>
              <a:t>23/09/2024</a:t>
            </a:r>
          </a:p>
        </p:txBody>
      </p:sp>
      <p:sp>
        <p:nvSpPr>
          <p:cNvPr id="5" name="Footer Placeholder 4">
            <a:extLst>
              <a:ext uri="{FF2B5EF4-FFF2-40B4-BE49-F238E27FC236}">
                <a16:creationId xmlns:a16="http://schemas.microsoft.com/office/drawing/2014/main" id="{6FA79D72-4C07-F207-FA7D-FE2F885D4A03}"/>
              </a:ext>
            </a:extLst>
          </p:cNvPr>
          <p:cNvSpPr>
            <a:spLocks noGrp="1"/>
          </p:cNvSpPr>
          <p:nvPr>
            <p:ph type="ftr" sz="quarter" idx="3"/>
          </p:nvPr>
        </p:nvSpPr>
        <p:spPr>
          <a:xfrm>
            <a:off x="4038600" y="6473312"/>
            <a:ext cx="4114800" cy="246469"/>
          </a:xfrm>
          <a:prstGeom prst="rect">
            <a:avLst/>
          </a:prstGeom>
        </p:spPr>
        <p:txBody>
          <a:bodyPr vert="horz" lIns="91440" tIns="45720" rIns="91440" bIns="45720" rtlCol="0" anchor="ctr"/>
          <a:lstStyle>
            <a:lvl1pPr algn="ctr">
              <a:defRPr sz="1100">
                <a:solidFill>
                  <a:schemeClr val="bg1">
                    <a:lumMod val="50000"/>
                  </a:schemeClr>
                </a:solidFill>
              </a:defRPr>
            </a:lvl1pPr>
          </a:lstStyle>
          <a:p>
            <a:r>
              <a:rPr lang="en-GB"/>
              <a:t>CE/Core NRAs call</a:t>
            </a:r>
          </a:p>
        </p:txBody>
      </p:sp>
      <p:sp>
        <p:nvSpPr>
          <p:cNvPr id="6" name="Slide Number Placeholder 5">
            <a:extLst>
              <a:ext uri="{FF2B5EF4-FFF2-40B4-BE49-F238E27FC236}">
                <a16:creationId xmlns:a16="http://schemas.microsoft.com/office/drawing/2014/main" id="{38DEF4ED-BAF8-C2B5-0363-9E91F1605469}"/>
              </a:ext>
            </a:extLst>
          </p:cNvPr>
          <p:cNvSpPr>
            <a:spLocks noGrp="1"/>
          </p:cNvSpPr>
          <p:nvPr>
            <p:ph type="sldNum" sz="quarter" idx="4"/>
          </p:nvPr>
        </p:nvSpPr>
        <p:spPr>
          <a:xfrm>
            <a:off x="8910084" y="6473312"/>
            <a:ext cx="2743200" cy="246469"/>
          </a:xfrm>
          <a:prstGeom prst="rect">
            <a:avLst/>
          </a:prstGeom>
        </p:spPr>
        <p:txBody>
          <a:bodyPr vert="horz" lIns="91440" tIns="45720" rIns="91440" bIns="45720" rtlCol="0" anchor="ctr"/>
          <a:lstStyle>
            <a:lvl1pPr algn="r">
              <a:defRPr sz="1100">
                <a:solidFill>
                  <a:schemeClr val="bg1">
                    <a:lumMod val="50000"/>
                  </a:schemeClr>
                </a:solidFill>
              </a:defRPr>
            </a:lvl1pPr>
          </a:lstStyle>
          <a:p>
            <a:fld id="{F1618D91-53CD-491F-8743-B0A22B448184}" type="slidenum">
              <a:rPr lang="en-GB" smtClean="0"/>
              <a:pPr/>
              <a:t>‹#›</a:t>
            </a:fld>
            <a:endParaRPr lang="en-GB"/>
          </a:p>
        </p:txBody>
      </p:sp>
    </p:spTree>
    <p:extLst>
      <p:ext uri="{BB962C8B-B14F-4D97-AF65-F5344CB8AC3E}">
        <p14:creationId xmlns:p14="http://schemas.microsoft.com/office/powerpoint/2010/main" val="3804424245"/>
      </p:ext>
    </p:extLst>
  </p:cSld>
  <p:clrMap bg1="lt1" tx1="dk1" bg2="lt2" tx2="dk2" accent1="accent1" accent2="accent2" accent3="accent3" accent4="accent4" accent5="accent5" accent6="accent6" hlink="hlink" folHlink="folHlink"/>
  <p:sldLayoutIdLst>
    <p:sldLayoutId id="2147487785" r:id="rId1"/>
    <p:sldLayoutId id="2147487786" r:id="rId2"/>
    <p:sldLayoutId id="2147483677" r:id="rId3"/>
    <p:sldLayoutId id="2147483689" r:id="rId4"/>
    <p:sldLayoutId id="2147483678" r:id="rId5"/>
    <p:sldLayoutId id="2147483691" r:id="rId6"/>
    <p:sldLayoutId id="2147483679" r:id="rId7"/>
    <p:sldLayoutId id="2147483680" r:id="rId8"/>
    <p:sldLayoutId id="2147487783" r:id="rId9"/>
    <p:sldLayoutId id="2147483682" r:id="rId10"/>
    <p:sldLayoutId id="2147487784" r:id="rId11"/>
    <p:sldLayoutId id="2147483684" r:id="rId12"/>
    <p:sldLayoutId id="2147483685" r:id="rId13"/>
    <p:sldLayoutId id="2147483686" r:id="rId14"/>
    <p:sldLayoutId id="2147483687" r:id="rId15"/>
    <p:sldLayoutId id="2147483675" r:id="rId16"/>
    <p:sldLayoutId id="2147483674" r:id="rId17"/>
    <p:sldLayoutId id="2147483672" r:id="rId18"/>
  </p:sldLayoutIdLst>
  <p:hf hdr="0"/>
  <p:txStyles>
    <p:titleStyle>
      <a:lvl1pPr algn="l" defTabSz="914400" rtl="0" eaLnBrk="1" latinLnBrk="0" hangingPunct="1">
        <a:lnSpc>
          <a:spcPct val="90000"/>
        </a:lnSpc>
        <a:spcBef>
          <a:spcPct val="0"/>
        </a:spcBef>
        <a:buNone/>
        <a:defRPr sz="2200" kern="1200">
          <a:solidFill>
            <a:srgbClr val="002060"/>
          </a:solidFill>
          <a:latin typeface="+mj-lt"/>
          <a:ea typeface="+mj-ea"/>
          <a:cs typeface="+mj-cs"/>
        </a:defRPr>
      </a:lvl1pPr>
    </p:titleStyle>
    <p:bodyStyle>
      <a:lvl1pPr marL="266700" indent="-266700" algn="l" defTabSz="914400" rtl="0" eaLnBrk="1" latinLnBrk="0" hangingPunct="1">
        <a:lnSpc>
          <a:spcPct val="90000"/>
        </a:lnSpc>
        <a:spcBef>
          <a:spcPts val="1000"/>
        </a:spcBef>
        <a:buFont typeface="Arial" panose="020B0604020202020204" pitchFamily="34" charset="0"/>
        <a:buChar char="•"/>
        <a:tabLst>
          <a:tab pos="266700" algn="l"/>
        </a:tabLst>
        <a:defRPr sz="2200" kern="1200">
          <a:solidFill>
            <a:srgbClr val="002060"/>
          </a:solidFill>
          <a:latin typeface="+mn-lt"/>
          <a:ea typeface="+mn-ea"/>
          <a:cs typeface="+mn-cs"/>
        </a:defRPr>
      </a:lvl1pPr>
      <a:lvl2pPr marL="628650" indent="-269875" algn="l" defTabSz="914400" rtl="0" eaLnBrk="1" latinLnBrk="0" hangingPunct="1">
        <a:lnSpc>
          <a:spcPct val="90000"/>
        </a:lnSpc>
        <a:spcBef>
          <a:spcPts val="500"/>
        </a:spcBef>
        <a:buFont typeface="Arial" panose="020B0604020202020204" pitchFamily="34" charset="0"/>
        <a:buChar char="•"/>
        <a:defRPr sz="2200" kern="1200">
          <a:solidFill>
            <a:srgbClr val="002060"/>
          </a:solidFill>
          <a:latin typeface="+mn-lt"/>
          <a:ea typeface="+mn-ea"/>
          <a:cs typeface="+mn-cs"/>
        </a:defRPr>
      </a:lvl2pPr>
      <a:lvl3pPr marL="987425" indent="-271463" algn="l" defTabSz="914400" rtl="0" eaLnBrk="1" latinLnBrk="0" hangingPunct="1">
        <a:lnSpc>
          <a:spcPct val="90000"/>
        </a:lnSpc>
        <a:spcBef>
          <a:spcPts val="500"/>
        </a:spcBef>
        <a:buFont typeface="Arial" panose="020B0604020202020204" pitchFamily="34" charset="0"/>
        <a:buChar char="•"/>
        <a:defRPr sz="2000" kern="1200">
          <a:solidFill>
            <a:srgbClr val="002060"/>
          </a:solidFill>
          <a:latin typeface="+mn-lt"/>
          <a:ea typeface="+mn-ea"/>
          <a:cs typeface="+mn-cs"/>
        </a:defRPr>
      </a:lvl3pPr>
      <a:lvl4pPr marL="1344613" indent="-266700" algn="l" defTabSz="914400" rtl="0" eaLnBrk="1" latinLnBrk="0" hangingPunct="1">
        <a:lnSpc>
          <a:spcPct val="90000"/>
        </a:lnSpc>
        <a:spcBef>
          <a:spcPts val="500"/>
        </a:spcBef>
        <a:buFont typeface="Arial" panose="020B0604020202020204" pitchFamily="34" charset="0"/>
        <a:buChar char="•"/>
        <a:tabLst>
          <a:tab pos="1344613" algn="l"/>
        </a:tabLst>
        <a:defRPr sz="1800" kern="1200">
          <a:solidFill>
            <a:srgbClr val="002060"/>
          </a:solidFill>
          <a:latin typeface="+mn-lt"/>
          <a:ea typeface="+mn-ea"/>
          <a:cs typeface="+mn-cs"/>
        </a:defRPr>
      </a:lvl4pPr>
      <a:lvl5pPr marL="1703388" indent="-266700" algn="l" defTabSz="914400" rtl="0" eaLnBrk="1" latinLnBrk="0" hangingPunct="1">
        <a:lnSpc>
          <a:spcPct val="90000"/>
        </a:lnSpc>
        <a:spcBef>
          <a:spcPts val="500"/>
        </a:spcBef>
        <a:buFont typeface="Arial" panose="020B0604020202020204" pitchFamily="34" charset="0"/>
        <a:buChar char="•"/>
        <a:defRPr sz="1800" kern="1200">
          <a:solidFill>
            <a:srgbClr val="00206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591B5B6-D938-0F47-BF55-D21DE155CC0B}"/>
              </a:ext>
            </a:extLst>
          </p:cNvPr>
          <p:cNvSpPr/>
          <p:nvPr userDrawn="1"/>
        </p:nvSpPr>
        <p:spPr>
          <a:xfrm>
            <a:off x="0" y="6282000"/>
            <a:ext cx="12192000" cy="576000"/>
          </a:xfrm>
          <a:prstGeom prst="rect">
            <a:avLst/>
          </a:prstGeom>
          <a:solidFill>
            <a:schemeClr val="bg2"/>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SI"/>
          </a:p>
        </p:txBody>
      </p:sp>
      <p:sp>
        <p:nvSpPr>
          <p:cNvPr id="2" name="Title Placeholder 1"/>
          <p:cNvSpPr>
            <a:spLocks noGrp="1"/>
          </p:cNvSpPr>
          <p:nvPr>
            <p:ph type="title"/>
          </p:nvPr>
        </p:nvSpPr>
        <p:spPr>
          <a:xfrm>
            <a:off x="2780270" y="0"/>
            <a:ext cx="8715730" cy="1080000"/>
          </a:xfrm>
          <a:prstGeom prst="rect">
            <a:avLst/>
          </a:prstGeom>
        </p:spPr>
        <p:txBody>
          <a:bodyPr vert="horz" lIns="0" tIns="180000" rIns="0" bIns="180000" rtlCol="0" anchor="ctr">
            <a:noAutofit/>
          </a:bodyPr>
          <a:lstStyle/>
          <a:p>
            <a:r>
              <a:rPr lang="en-GB" dirty="0"/>
              <a:t>Slide title</a:t>
            </a:r>
            <a:endParaRPr lang="en-US" dirty="0"/>
          </a:p>
        </p:txBody>
      </p:sp>
      <p:sp>
        <p:nvSpPr>
          <p:cNvPr id="3" name="Text Placeholder 2"/>
          <p:cNvSpPr>
            <a:spLocks noGrp="1"/>
          </p:cNvSpPr>
          <p:nvPr>
            <p:ph type="body" idx="1"/>
          </p:nvPr>
        </p:nvSpPr>
        <p:spPr>
          <a:xfrm>
            <a:off x="700984" y="1423384"/>
            <a:ext cx="10795016" cy="4490051"/>
          </a:xfrm>
          <a:prstGeom prst="rect">
            <a:avLst/>
          </a:prstGeom>
        </p:spPr>
        <p:txBody>
          <a:bodyPr vert="horz" lIns="9144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6" name="Slide Number Placeholder 5"/>
          <p:cNvSpPr>
            <a:spLocks noGrp="1"/>
          </p:cNvSpPr>
          <p:nvPr>
            <p:ph type="sldNum" sz="quarter" idx="4"/>
          </p:nvPr>
        </p:nvSpPr>
        <p:spPr>
          <a:xfrm>
            <a:off x="11472000" y="6281998"/>
            <a:ext cx="720000" cy="576001"/>
          </a:xfrm>
          <a:prstGeom prst="rect">
            <a:avLst/>
          </a:prstGeom>
        </p:spPr>
        <p:txBody>
          <a:bodyPr vert="horz" lIns="91440" tIns="45720" rIns="91440" bIns="45720" rtlCol="0" anchor="ctr"/>
          <a:lstStyle>
            <a:lvl1pPr algn="ctr">
              <a:defRPr sz="1500" b="1" i="0">
                <a:solidFill>
                  <a:schemeClr val="tx1"/>
                </a:solidFill>
                <a:latin typeface="Arial" panose="020B0604020202020204" pitchFamily="34" charset="0"/>
                <a:cs typeface="Arial" panose="020B0604020202020204" pitchFamily="34" charset="0"/>
              </a:defRPr>
            </a:lvl1pPr>
          </a:lstStyle>
          <a:p>
            <a:fld id="{68E16D21-2873-7F4D-BC1C-4DCC7B7156B8}" type="slidenum">
              <a:rPr lang="en-SI" smtClean="0"/>
              <a:pPr/>
              <a:t>‹#›</a:t>
            </a:fld>
            <a:endParaRPr lang="en-SI"/>
          </a:p>
        </p:txBody>
      </p:sp>
      <p:pic>
        <p:nvPicPr>
          <p:cNvPr id="7" name="Picture 6" descr="A picture containing graphical user interface&#10;&#10;Description automatically generated">
            <a:extLst>
              <a:ext uri="{FF2B5EF4-FFF2-40B4-BE49-F238E27FC236}">
                <a16:creationId xmlns:a16="http://schemas.microsoft.com/office/drawing/2014/main" id="{AC56792E-A1FB-BC4F-B5FD-E43FDCCB94F8}"/>
              </a:ext>
            </a:extLst>
          </p:cNvPr>
          <p:cNvPicPr>
            <a:picLocks noChangeAspect="1"/>
          </p:cNvPicPr>
          <p:nvPr/>
        </p:nvPicPr>
        <p:blipFill>
          <a:blip r:embed="rId26"/>
          <a:stretch>
            <a:fillRect/>
          </a:stretch>
        </p:blipFill>
        <p:spPr>
          <a:xfrm>
            <a:off x="434142" y="0"/>
            <a:ext cx="2205958" cy="1080000"/>
          </a:xfrm>
          <a:prstGeom prst="rect">
            <a:avLst/>
          </a:prstGeom>
        </p:spPr>
      </p:pic>
      <p:cxnSp>
        <p:nvCxnSpPr>
          <p:cNvPr id="8" name="Straight Connector 7">
            <a:extLst>
              <a:ext uri="{FF2B5EF4-FFF2-40B4-BE49-F238E27FC236}">
                <a16:creationId xmlns:a16="http://schemas.microsoft.com/office/drawing/2014/main" id="{1D2DEC96-CFD0-C54C-AEEF-2574905C03C2}"/>
              </a:ext>
            </a:extLst>
          </p:cNvPr>
          <p:cNvCxnSpPr>
            <a:cxnSpLocks/>
          </p:cNvCxnSpPr>
          <p:nvPr/>
        </p:nvCxnSpPr>
        <p:spPr>
          <a:xfrm>
            <a:off x="696000" y="1080000"/>
            <a:ext cx="1080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Picture 10" descr="A picture containing graphical user interface&#10;&#10;Description automatically generated">
            <a:extLst>
              <a:ext uri="{FF2B5EF4-FFF2-40B4-BE49-F238E27FC236}">
                <a16:creationId xmlns:a16="http://schemas.microsoft.com/office/drawing/2014/main" id="{3375F696-5CE6-CE46-AE30-00563537777A}"/>
              </a:ext>
            </a:extLst>
          </p:cNvPr>
          <p:cNvPicPr>
            <a:picLocks noChangeAspect="1"/>
          </p:cNvPicPr>
          <p:nvPr userDrawn="1"/>
        </p:nvPicPr>
        <p:blipFill>
          <a:blip r:embed="rId26"/>
          <a:stretch>
            <a:fillRect/>
          </a:stretch>
        </p:blipFill>
        <p:spPr>
          <a:xfrm>
            <a:off x="434142" y="0"/>
            <a:ext cx="2205958" cy="1080000"/>
          </a:xfrm>
          <a:prstGeom prst="rect">
            <a:avLst/>
          </a:prstGeom>
        </p:spPr>
      </p:pic>
      <p:cxnSp>
        <p:nvCxnSpPr>
          <p:cNvPr id="12" name="Straight Connector 11">
            <a:extLst>
              <a:ext uri="{FF2B5EF4-FFF2-40B4-BE49-F238E27FC236}">
                <a16:creationId xmlns:a16="http://schemas.microsoft.com/office/drawing/2014/main" id="{76EFC4A9-1E97-2044-9DB0-7D4F091944BB}"/>
              </a:ext>
            </a:extLst>
          </p:cNvPr>
          <p:cNvCxnSpPr>
            <a:cxnSpLocks/>
          </p:cNvCxnSpPr>
          <p:nvPr userDrawn="1"/>
        </p:nvCxnSpPr>
        <p:spPr>
          <a:xfrm>
            <a:off x="696000" y="1080000"/>
            <a:ext cx="1080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0946252"/>
      </p:ext>
    </p:extLst>
  </p:cSld>
  <p:clrMap bg1="lt1" tx1="dk1" bg2="lt2" tx2="dk2" accent1="accent1" accent2="accent2" accent3="accent3" accent4="accent4" accent5="accent5" accent6="accent6" hlink="hlink" folHlink="folHlink"/>
  <p:sldLayoutIdLst>
    <p:sldLayoutId id="2147487688" r:id="rId1"/>
    <p:sldLayoutId id="2147487689" r:id="rId2"/>
    <p:sldLayoutId id="2147487690" r:id="rId3"/>
    <p:sldLayoutId id="2147487691" r:id="rId4"/>
    <p:sldLayoutId id="2147487692" r:id="rId5"/>
    <p:sldLayoutId id="2147487693" r:id="rId6"/>
    <p:sldLayoutId id="2147487694" r:id="rId7"/>
    <p:sldLayoutId id="2147487695" r:id="rId8"/>
    <p:sldLayoutId id="2147487696" r:id="rId9"/>
    <p:sldLayoutId id="2147487697" r:id="rId10"/>
    <p:sldLayoutId id="2147487698" r:id="rId11"/>
    <p:sldLayoutId id="2147487699" r:id="rId12"/>
    <p:sldLayoutId id="2147487700" r:id="rId13"/>
    <p:sldLayoutId id="2147487701" r:id="rId14"/>
    <p:sldLayoutId id="2147487702" r:id="rId15"/>
    <p:sldLayoutId id="2147487703" r:id="rId16"/>
    <p:sldLayoutId id="2147487704" r:id="rId17"/>
    <p:sldLayoutId id="2147487705" r:id="rId18"/>
    <p:sldLayoutId id="2147487706" r:id="rId19"/>
    <p:sldLayoutId id="2147487707" r:id="rId20"/>
    <p:sldLayoutId id="2147487708" r:id="rId21"/>
    <p:sldLayoutId id="2147487709" r:id="rId22"/>
    <p:sldLayoutId id="2147487710" r:id="rId23"/>
    <p:sldLayoutId id="2147487711" r:id="rId24"/>
  </p:sldLayoutIdLst>
  <p:hf hdr="0" ftr="0" dt="0"/>
  <p:txStyles>
    <p:titleStyle>
      <a:lvl1pPr algn="r" defTabSz="914400" rtl="0" eaLnBrk="1" latinLnBrk="0" hangingPunct="1">
        <a:lnSpc>
          <a:spcPct val="90000"/>
        </a:lnSpc>
        <a:spcBef>
          <a:spcPct val="0"/>
        </a:spcBef>
        <a:buNone/>
        <a:defRPr sz="3000" b="1" i="0" kern="1200">
          <a:solidFill>
            <a:schemeClr val="tx1"/>
          </a:solidFill>
          <a:latin typeface="Arial" panose="020B0604020202020204" pitchFamily="34" charset="0"/>
          <a:ea typeface="+mj-ea"/>
          <a:cs typeface="Arial" panose="020B0604020202020204" pitchFamily="34" charset="0"/>
        </a:defRPr>
      </a:lvl1pPr>
    </p:titleStyle>
    <p:bodyStyle>
      <a:lvl1pPr marL="216000" indent="-216000" algn="l" defTabSz="914400" rtl="0" eaLnBrk="1" latinLnBrk="0" hangingPunct="1">
        <a:lnSpc>
          <a:spcPct val="90000"/>
        </a:lnSpc>
        <a:spcBef>
          <a:spcPts val="600"/>
        </a:spcBef>
        <a:spcAft>
          <a:spcPts val="600"/>
        </a:spcAft>
        <a:buClr>
          <a:schemeClr val="tx2"/>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432000" indent="-216000" algn="l" defTabSz="914400" rtl="0" eaLnBrk="1" latinLnBrk="0" hangingPunct="1">
        <a:lnSpc>
          <a:spcPct val="90000"/>
        </a:lnSpc>
        <a:spcBef>
          <a:spcPts val="500"/>
        </a:spcBef>
        <a:spcAft>
          <a:spcPts val="600"/>
        </a:spcAft>
        <a:buClr>
          <a:schemeClr val="tx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648000" indent="-2160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864000" indent="-2160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1080000" indent="-2160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90">
          <p15:clr>
            <a:srgbClr val="F26B43"/>
          </p15:clr>
        </p15:guide>
        <p15:guide id="2" pos="3840">
          <p15:clr>
            <a:srgbClr val="F26B43"/>
          </p15:clr>
        </p15:guide>
        <p15:guide id="3" pos="7242">
          <p15:clr>
            <a:srgbClr val="F26B43"/>
          </p15:clr>
        </p15:guide>
        <p15:guide id="4" pos="438">
          <p15:clr>
            <a:srgbClr val="F26B43"/>
          </p15:clr>
        </p15:guide>
        <p15:guide id="5" pos="4883">
          <p15:clr>
            <a:srgbClr val="F26B43"/>
          </p15:clr>
        </p15:guide>
        <p15:guide id="6" pos="2797">
          <p15:clr>
            <a:srgbClr val="F26B43"/>
          </p15:clr>
        </p15:guide>
        <p15:guide id="7" orient="horz" pos="2273">
          <p15:clr>
            <a:srgbClr val="F26B43"/>
          </p15:clr>
        </p15:guide>
        <p15:guide id="8" orient="horz" pos="3725">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E7A6E24-4C45-A597-F0DA-CE741161F3FD}"/>
              </a:ext>
            </a:extLst>
          </p:cNvPr>
          <p:cNvGraphicFramePr>
            <a:graphicFrameLocks noChangeAspect="1"/>
          </p:cNvGraphicFramePr>
          <p:nvPr userDrawn="1">
            <p:custDataLst>
              <p:tags r:id="rId22"/>
            </p:custDataLst>
            <p:extLst>
              <p:ext uri="{D42A27DB-BD31-4B8C-83A1-F6EECF244321}">
                <p14:modId xmlns:p14="http://schemas.microsoft.com/office/powerpoint/2010/main" val="13106872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3" imgW="7772400" imgH="10058400" progId="TCLayout.ActiveDocument.1">
                  <p:embed/>
                </p:oleObj>
              </mc:Choice>
              <mc:Fallback>
                <p:oleObj name="think-cell Slide" r:id="rId23" imgW="7772400" imgH="10058400" progId="TCLayout.ActiveDocument.1">
                  <p:embed/>
                  <p:pic>
                    <p:nvPicPr>
                      <p:cNvPr id="2" name="think-cell data - do not delete" hidden="1">
                        <a:extLst>
                          <a:ext uri="{FF2B5EF4-FFF2-40B4-BE49-F238E27FC236}">
                            <a16:creationId xmlns:a16="http://schemas.microsoft.com/office/drawing/2014/main" id="{5E7A6E24-4C45-A597-F0DA-CE741161F3FD}"/>
                          </a:ext>
                        </a:extLst>
                      </p:cNvPr>
                      <p:cNvPicPr/>
                      <p:nvPr/>
                    </p:nvPicPr>
                    <p:blipFill>
                      <a:blip r:embed="rId24"/>
                      <a:stretch>
                        <a:fillRect/>
                      </a:stretch>
                    </p:blipFill>
                    <p:spPr>
                      <a:xfrm>
                        <a:off x="1588" y="1588"/>
                        <a:ext cx="1227" cy="1588"/>
                      </a:xfrm>
                      <a:prstGeom prst="rect">
                        <a:avLst/>
                      </a:prstGeom>
                    </p:spPr>
                  </p:pic>
                </p:oleObj>
              </mc:Fallback>
            </mc:AlternateContent>
          </a:graphicData>
        </a:graphic>
      </p:graphicFrame>
      <p:sp>
        <p:nvSpPr>
          <p:cNvPr id="24" name="Textplatzhalter 2"/>
          <p:cNvSpPr>
            <a:spLocks noGrp="1"/>
          </p:cNvSpPr>
          <p:nvPr>
            <p:ph type="body" idx="1"/>
          </p:nvPr>
        </p:nvSpPr>
        <p:spPr>
          <a:xfrm>
            <a:off x="263352" y="1206960"/>
            <a:ext cx="11616780" cy="3311326"/>
          </a:xfrm>
          <a:prstGeom prst="rect">
            <a:avLst/>
          </a:prstGeom>
          <a:ln>
            <a:noFill/>
          </a:ln>
        </p:spPr>
        <p:txBody>
          <a:bodyPr vert="horz" lIns="91440" tIns="45720" rIns="91440" bIns="45720" rtlCol="0">
            <a:normAutofit/>
          </a:bodyPr>
          <a:lstStyle/>
          <a:p>
            <a:pPr lvl="0"/>
            <a:r>
              <a:rPr lang="de-DE"/>
              <a:t>Edit </a:t>
            </a:r>
            <a:r>
              <a:rPr lang="de-DE" err="1"/>
              <a:t>the</a:t>
            </a:r>
            <a:r>
              <a:rPr lang="de-DE"/>
              <a:t> </a:t>
            </a:r>
            <a:r>
              <a:rPr lang="de-DE" err="1"/>
              <a:t>text</a:t>
            </a:r>
            <a:r>
              <a:rPr lang="de-DE"/>
              <a:t> </a:t>
            </a:r>
            <a:r>
              <a:rPr lang="de-DE" err="1"/>
              <a:t>here</a:t>
            </a:r>
            <a:r>
              <a:rPr lang="de-DE"/>
              <a:t>; Firs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8" name="Datumsplatzhalter 4"/>
          <p:cNvSpPr txBox="1">
            <a:spLocks/>
          </p:cNvSpPr>
          <p:nvPr userDrawn="1"/>
        </p:nvSpPr>
        <p:spPr>
          <a:xfrm>
            <a:off x="6168008" y="6237313"/>
            <a:ext cx="5832649" cy="365125"/>
          </a:xfrm>
          <a:prstGeom prst="rect">
            <a:avLst/>
          </a:prstGeom>
        </p:spPr>
        <p:txBody>
          <a:bodyPr vert="horz" lIns="91440" tIns="45720" rIns="91440" bIns="45720" rtlCol="0" anchor="ctr"/>
          <a:lstStyle>
            <a:defPPr>
              <a:defRPr lang="en-US"/>
            </a:defPPr>
            <a:lvl1pPr marL="0" indent="0" algn="l" defTabSz="685783" rtl="0" eaLnBrk="1" latinLnBrk="0" hangingPunct="1">
              <a:lnSpc>
                <a:spcPts val="900"/>
              </a:lnSpc>
              <a:spcBef>
                <a:spcPts val="0"/>
              </a:spcBef>
              <a:buFont typeface="Arial"/>
              <a:buNone/>
              <a:defRPr lang="pt-BR" sz="900" b="0" i="0" kern="1200" smtClean="0">
                <a:solidFill>
                  <a:srgbClr val="005B9C"/>
                </a:solidFill>
                <a:effectLst/>
                <a:latin typeface="+mn-lt"/>
                <a:ea typeface="Microsoft YaHei" pitchFamily="34" charset="-122"/>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de-DE" sz="900">
                <a:solidFill>
                  <a:schemeClr val="accent1"/>
                </a:solidFill>
              </a:rPr>
              <a:t> </a:t>
            </a:r>
            <a:fld id="{9D8EEF28-5ABD-4429-9AD9-DE956F602A14}" type="slidenum">
              <a:rPr lang="de-DE" sz="900" smtClean="0">
                <a:solidFill>
                  <a:schemeClr val="tx1">
                    <a:lumMod val="50000"/>
                  </a:schemeClr>
                </a:solidFill>
              </a:rPr>
              <a:pPr algn="r"/>
              <a:t>‹#›</a:t>
            </a:fld>
            <a:endParaRPr lang="de-DE" sz="900">
              <a:solidFill>
                <a:schemeClr val="tx1">
                  <a:lumMod val="50000"/>
                </a:schemeClr>
              </a:solidFill>
            </a:endParaRPr>
          </a:p>
        </p:txBody>
      </p:sp>
      <p:pic>
        <p:nvPicPr>
          <p:cNvPr id="5" name="Picture 4">
            <a:extLst>
              <a:ext uri="{FF2B5EF4-FFF2-40B4-BE49-F238E27FC236}">
                <a16:creationId xmlns:a16="http://schemas.microsoft.com/office/drawing/2014/main" id="{38D89FAA-E980-408C-B430-CBF368494B7B}"/>
              </a:ext>
            </a:extLst>
          </p:cNvPr>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a:off x="10776520" y="6314495"/>
            <a:ext cx="778960" cy="210759"/>
          </a:xfrm>
          <a:prstGeom prst="rect">
            <a:avLst/>
          </a:prstGeom>
        </p:spPr>
      </p:pic>
    </p:spTree>
    <p:extLst>
      <p:ext uri="{BB962C8B-B14F-4D97-AF65-F5344CB8AC3E}">
        <p14:creationId xmlns:p14="http://schemas.microsoft.com/office/powerpoint/2010/main" val="2575029430"/>
      </p:ext>
    </p:extLst>
  </p:cSld>
  <p:clrMap bg1="lt1" tx1="dk1" bg2="lt2" tx2="dk2" accent1="accent1" accent2="accent2" accent3="accent3" accent4="accent4" accent5="accent5" accent6="accent6" hlink="hlink" folHlink="folHlink"/>
  <p:sldLayoutIdLst>
    <p:sldLayoutId id="2147487740" r:id="rId1"/>
    <p:sldLayoutId id="2147487741" r:id="rId2"/>
    <p:sldLayoutId id="2147487742" r:id="rId3"/>
    <p:sldLayoutId id="2147487743" r:id="rId4"/>
    <p:sldLayoutId id="2147487744" r:id="rId5"/>
    <p:sldLayoutId id="2147487745" r:id="rId6"/>
    <p:sldLayoutId id="2147487746" r:id="rId7"/>
    <p:sldLayoutId id="2147487747" r:id="rId8"/>
    <p:sldLayoutId id="2147487748" r:id="rId9"/>
    <p:sldLayoutId id="2147487749" r:id="rId10"/>
    <p:sldLayoutId id="2147487750" r:id="rId11"/>
    <p:sldLayoutId id="2147487751" r:id="rId12"/>
    <p:sldLayoutId id="2147487752" r:id="rId13"/>
    <p:sldLayoutId id="2147487753" r:id="rId14"/>
    <p:sldLayoutId id="2147487754" r:id="rId15"/>
    <p:sldLayoutId id="2147487755" r:id="rId16"/>
    <p:sldLayoutId id="2147487756" r:id="rId17"/>
    <p:sldLayoutId id="2147487757" r:id="rId18"/>
    <p:sldLayoutId id="2147487758" r:id="rId19"/>
    <p:sldLayoutId id="2147487759" r:id="rId20"/>
  </p:sldLayoutIdLst>
  <p:txStyles>
    <p:titleStyle>
      <a:lvl1pPr algn="l" defTabSz="914400" rtl="0" eaLnBrk="1" latinLnBrk="0" hangingPunct="1">
        <a:lnSpc>
          <a:spcPct val="90000"/>
        </a:lnSpc>
        <a:spcBef>
          <a:spcPct val="0"/>
        </a:spcBef>
        <a:buNone/>
        <a:defRPr lang="de-DE" sz="3000" kern="1200" dirty="0">
          <a:solidFill>
            <a:srgbClr val="005CA9"/>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1">
          <p15:clr>
            <a:srgbClr val="F26B43"/>
          </p15:clr>
        </p15:guide>
        <p15:guide id="2" pos="7439">
          <p15:clr>
            <a:srgbClr val="F26B43"/>
          </p15:clr>
        </p15:guide>
        <p15:guide id="6" orient="horz" pos="4133">
          <p15:clr>
            <a:srgbClr val="F26B43"/>
          </p15:clr>
        </p15:guide>
        <p15:guide id="7" orient="horz" pos="187">
          <p15:clr>
            <a:srgbClr val="F26B43"/>
          </p15:clr>
        </p15:guide>
        <p15:guide id="8" orient="horz" pos="2160">
          <p15:clr>
            <a:srgbClr val="F26B43"/>
          </p15:clr>
        </p15:guide>
        <p15:guide id="13" pos="3840">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DB3CAF3-C762-534F-ADB5-DB2B0740A3D0}"/>
              </a:ext>
            </a:extLst>
          </p:cNvPr>
          <p:cNvGraphicFramePr>
            <a:graphicFrameLocks noChangeAspect="1"/>
          </p:cNvGraphicFramePr>
          <p:nvPr userDrawn="1">
            <p:custDataLst>
              <p:tags r:id="rId6"/>
            </p:custDataLst>
            <p:extLst>
              <p:ext uri="{D42A27DB-BD31-4B8C-83A1-F6EECF244321}">
                <p14:modId xmlns:p14="http://schemas.microsoft.com/office/powerpoint/2010/main" val="303922271"/>
              </p:ext>
            </p:extLst>
          </p:nvPr>
        </p:nvGraphicFramePr>
        <p:xfrm>
          <a:off x="1955" y="1588"/>
          <a:ext cx="1510" cy="1588"/>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6" name="Object 5" hidden="1">
                        <a:extLst>
                          <a:ext uri="{FF2B5EF4-FFF2-40B4-BE49-F238E27FC236}">
                            <a16:creationId xmlns:a16="http://schemas.microsoft.com/office/drawing/2014/main" id="{1DB3CAF3-C762-534F-ADB5-DB2B0740A3D0}"/>
                          </a:ext>
                        </a:extLst>
                      </p:cNvPr>
                      <p:cNvPicPr/>
                      <p:nvPr/>
                    </p:nvPicPr>
                    <p:blipFill>
                      <a:blip r:embed="rId8"/>
                      <a:stretch>
                        <a:fillRect/>
                      </a:stretch>
                    </p:blipFill>
                    <p:spPr>
                      <a:xfrm>
                        <a:off x="1955" y="1588"/>
                        <a:ext cx="1510"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D05AA23E-9F3B-4705-91CC-5E7E5423DC71}"/>
              </a:ext>
            </a:extLst>
          </p:cNvPr>
          <p:cNvPicPr>
            <a:picLocks noChangeAspect="1"/>
          </p:cNvPicPr>
          <p:nvPr userDrawn="1"/>
        </p:nvPicPr>
        <p:blipFill>
          <a:blip r:embed="rId9"/>
          <a:stretch>
            <a:fillRect/>
          </a:stretch>
        </p:blipFill>
        <p:spPr>
          <a:xfrm>
            <a:off x="0" y="1"/>
            <a:ext cx="12192000" cy="835819"/>
          </a:xfrm>
          <a:prstGeom prst="rect">
            <a:avLst/>
          </a:prstGeom>
        </p:spPr>
      </p:pic>
      <p:sp>
        <p:nvSpPr>
          <p:cNvPr id="2" name="Espace réservé du numéro de diapositive 1"/>
          <p:cNvSpPr>
            <a:spLocks noGrp="1"/>
          </p:cNvSpPr>
          <p:nvPr>
            <p:ph type="sldNum" sz="quarter" idx="4"/>
          </p:nvPr>
        </p:nvSpPr>
        <p:spPr>
          <a:xfrm>
            <a:off x="11260270" y="6553201"/>
            <a:ext cx="819105" cy="273089"/>
          </a:xfrm>
          <a:prstGeom prst="rect">
            <a:avLst/>
          </a:prstGeom>
        </p:spPr>
        <p:txBody>
          <a:bodyPr vert="horz" lIns="91440" tIns="45720" rIns="91440" bIns="45720" rtlCol="0" anchor="ctr"/>
          <a:lstStyle>
            <a:lvl1pPr algn="r">
              <a:defRPr sz="900"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a:t>
            </a:fld>
            <a:endParaRPr lang="en-US"/>
          </a:p>
        </p:txBody>
      </p:sp>
      <p:sp>
        <p:nvSpPr>
          <p:cNvPr id="5" name="Title Placeholder 4"/>
          <p:cNvSpPr>
            <a:spLocks noGrp="1"/>
          </p:cNvSpPr>
          <p:nvPr>
            <p:ph type="title"/>
          </p:nvPr>
        </p:nvSpPr>
        <p:spPr>
          <a:xfrm>
            <a:off x="644771" y="108000"/>
            <a:ext cx="10535446" cy="336550"/>
          </a:xfrm>
          <a:prstGeom prst="rect">
            <a:avLst/>
          </a:prstGeom>
        </p:spPr>
        <p:txBody>
          <a:bodyPr vert="horz" lIns="72000" tIns="36000" rIns="72000" bIns="36000" rtlCol="0" anchor="t">
            <a:noAutofit/>
          </a:bodyPr>
          <a:lstStyle/>
          <a:p>
            <a:pPr lvl="0"/>
            <a:r>
              <a:rPr lang="en-US"/>
              <a:t>Click to edit Master title style</a:t>
            </a:r>
            <a:endParaRPr lang="nl-NL"/>
          </a:p>
        </p:txBody>
      </p:sp>
      <p:sp>
        <p:nvSpPr>
          <p:cNvPr id="3" name="Text Placeholder 2"/>
          <p:cNvSpPr>
            <a:spLocks noGrp="1"/>
          </p:cNvSpPr>
          <p:nvPr>
            <p:ph type="body" idx="1"/>
          </p:nvPr>
        </p:nvSpPr>
        <p:spPr>
          <a:xfrm>
            <a:off x="644770" y="1080000"/>
            <a:ext cx="11078308" cy="4351338"/>
          </a:xfrm>
          <a:prstGeom prst="rect">
            <a:avLst/>
          </a:prstGeom>
        </p:spPr>
        <p:txBody>
          <a:bodyPr vert="horz" lIns="91440" tIns="45720" rIns="91440" bIns="45720" rtlCol="0">
            <a:noAutofit/>
          </a:bodyPr>
          <a:lstStyle/>
          <a:p>
            <a:pPr lvl="0"/>
            <a:r>
              <a:rPr lang="en-US"/>
              <a:t>Edit Master text styles</a:t>
            </a:r>
          </a:p>
          <a:p>
            <a:pPr lvl="1"/>
            <a:r>
              <a:rPr lang="en-US"/>
              <a:t>[Add text]</a:t>
            </a:r>
          </a:p>
          <a:p>
            <a:pPr lvl="2"/>
            <a:r>
              <a:rPr lang="en-US"/>
              <a:t>[Add text]</a:t>
            </a:r>
          </a:p>
          <a:p>
            <a:pPr lvl="3"/>
            <a:r>
              <a:rPr lang="en-US"/>
              <a:t>[Add text]</a:t>
            </a:r>
          </a:p>
        </p:txBody>
      </p:sp>
      <p:sp>
        <p:nvSpPr>
          <p:cNvPr id="8" name="Footer Placeholder 7">
            <a:extLst>
              <a:ext uri="{FF2B5EF4-FFF2-40B4-BE49-F238E27FC236}">
                <a16:creationId xmlns:a16="http://schemas.microsoft.com/office/drawing/2014/main" id="{5628CF29-3142-8B4B-BA3F-FDB831D3CA22}"/>
              </a:ext>
            </a:extLst>
          </p:cNvPr>
          <p:cNvSpPr>
            <a:spLocks noGrp="1"/>
          </p:cNvSpPr>
          <p:nvPr>
            <p:ph type="ftr" sz="quarter" idx="3"/>
          </p:nvPr>
        </p:nvSpPr>
        <p:spPr>
          <a:xfrm>
            <a:off x="644770" y="6553201"/>
            <a:ext cx="4134645" cy="273089"/>
          </a:xfrm>
          <a:prstGeom prst="rect">
            <a:avLst/>
          </a:prstGeom>
        </p:spPr>
        <p:txBody>
          <a:bodyPr vert="horz" lIns="72000" tIns="45720" rIns="72000" bIns="45720" rtlCol="0" anchor="ctr"/>
          <a:lstStyle>
            <a:lvl1pPr algn="l">
              <a:defRPr lang="en-GB" sz="900" b="0" i="0" dirty="0">
                <a:solidFill>
                  <a:schemeClr val="bg1">
                    <a:lumMod val="50000"/>
                  </a:schemeClr>
                </a:solidFill>
                <a:latin typeface="+mn-lt"/>
                <a:ea typeface="Arial Unicode MS" panose="020B0604020202020204" pitchFamily="34" charset="-128"/>
                <a:cs typeface="Arial" panose="020B0604020202020204" pitchFamily="34" charset="0"/>
              </a:defRPr>
            </a:lvl1pPr>
          </a:lstStyle>
          <a:p>
            <a:r>
              <a:rPr lang="en-GB"/>
              <a:t>Core SG | 06/11/2025</a:t>
            </a:r>
            <a:endParaRPr lang="en-NL"/>
          </a:p>
        </p:txBody>
      </p:sp>
      <p:grpSp>
        <p:nvGrpSpPr>
          <p:cNvPr id="4" name="Graphic 3">
            <a:extLst>
              <a:ext uri="{FF2B5EF4-FFF2-40B4-BE49-F238E27FC236}">
                <a16:creationId xmlns:a16="http://schemas.microsoft.com/office/drawing/2014/main" id="{5D5D4427-E138-7CB8-D631-E824BA858BB9}"/>
              </a:ext>
            </a:extLst>
          </p:cNvPr>
          <p:cNvGrpSpPr>
            <a:grpSpLocks noChangeAspect="1"/>
          </p:cNvGrpSpPr>
          <p:nvPr userDrawn="1"/>
        </p:nvGrpSpPr>
        <p:grpSpPr>
          <a:xfrm>
            <a:off x="10989868" y="22125"/>
            <a:ext cx="1053143" cy="790433"/>
            <a:chOff x="75454" y="-24876"/>
            <a:chExt cx="6367081" cy="5881591"/>
          </a:xfrm>
        </p:grpSpPr>
        <p:sp>
          <p:nvSpPr>
            <p:cNvPr id="9" name="Freeform: Shape 46">
              <a:extLst>
                <a:ext uri="{FF2B5EF4-FFF2-40B4-BE49-F238E27FC236}">
                  <a16:creationId xmlns:a16="http://schemas.microsoft.com/office/drawing/2014/main" id="{C232BF6E-1DDD-B7EC-8F9D-C7BD176A030B}"/>
                </a:ext>
              </a:extLst>
            </p:cNvPr>
            <p:cNvSpPr/>
            <p:nvPr/>
          </p:nvSpPr>
          <p:spPr>
            <a:xfrm>
              <a:off x="5751687" y="4420250"/>
              <a:ext cx="484155" cy="202882"/>
            </a:xfrm>
            <a:custGeom>
              <a:avLst/>
              <a:gdLst>
                <a:gd name="connsiteX0" fmla="*/ 426530 w 484155"/>
                <a:gd name="connsiteY0" fmla="*/ 0 h 202882"/>
                <a:gd name="connsiteX1" fmla="*/ 396050 w 484155"/>
                <a:gd name="connsiteY1" fmla="*/ 0 h 202882"/>
                <a:gd name="connsiteX2" fmla="*/ 0 w 484155"/>
                <a:gd name="connsiteY2" fmla="*/ 95 h 202882"/>
                <a:gd name="connsiteX3" fmla="*/ 0 w 484155"/>
                <a:gd name="connsiteY3" fmla="*/ 196596 h 202882"/>
                <a:gd name="connsiteX4" fmla="*/ 476 w 484155"/>
                <a:gd name="connsiteY4" fmla="*/ 202882 h 202882"/>
                <a:gd name="connsiteX5" fmla="*/ 69152 w 484155"/>
                <a:gd name="connsiteY5" fmla="*/ 135255 h 202882"/>
                <a:gd name="connsiteX6" fmla="*/ 426530 w 484155"/>
                <a:gd name="connsiteY6" fmla="*/ 135350 h 202882"/>
                <a:gd name="connsiteX7" fmla="*/ 484156 w 484155"/>
                <a:gd name="connsiteY7" fmla="*/ 77724 h 202882"/>
                <a:gd name="connsiteX8" fmla="*/ 484156 w 484155"/>
                <a:gd name="connsiteY8" fmla="*/ 57721 h 202882"/>
                <a:gd name="connsiteX9" fmla="*/ 426530 w 484155"/>
                <a:gd name="connsiteY9" fmla="*/ 0 h 20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4155" h="202882">
                  <a:moveTo>
                    <a:pt x="426530" y="0"/>
                  </a:moveTo>
                  <a:lnTo>
                    <a:pt x="396050" y="0"/>
                  </a:lnTo>
                  <a:cubicBezTo>
                    <a:pt x="63913" y="0"/>
                    <a:pt x="40767" y="0"/>
                    <a:pt x="0" y="95"/>
                  </a:cubicBezTo>
                  <a:lnTo>
                    <a:pt x="0" y="196596"/>
                  </a:lnTo>
                  <a:cubicBezTo>
                    <a:pt x="571" y="196977"/>
                    <a:pt x="476" y="199930"/>
                    <a:pt x="476" y="202882"/>
                  </a:cubicBezTo>
                  <a:cubicBezTo>
                    <a:pt x="476" y="170497"/>
                    <a:pt x="7334" y="135255"/>
                    <a:pt x="69152" y="135255"/>
                  </a:cubicBezTo>
                  <a:lnTo>
                    <a:pt x="426530" y="135350"/>
                  </a:lnTo>
                  <a:cubicBezTo>
                    <a:pt x="458248" y="135350"/>
                    <a:pt x="484156" y="109442"/>
                    <a:pt x="484156" y="77724"/>
                  </a:cubicBezTo>
                  <a:lnTo>
                    <a:pt x="484156" y="57721"/>
                  </a:lnTo>
                  <a:cubicBezTo>
                    <a:pt x="484156" y="25908"/>
                    <a:pt x="458153" y="0"/>
                    <a:pt x="426530" y="0"/>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0" name="Freeform: Shape 47">
              <a:extLst>
                <a:ext uri="{FF2B5EF4-FFF2-40B4-BE49-F238E27FC236}">
                  <a16:creationId xmlns:a16="http://schemas.microsoft.com/office/drawing/2014/main" id="{3CECFD8D-D833-1477-99E0-231B54D0F422}"/>
                </a:ext>
              </a:extLst>
            </p:cNvPr>
            <p:cNvSpPr/>
            <p:nvPr/>
          </p:nvSpPr>
          <p:spPr>
            <a:xfrm>
              <a:off x="4971686" y="52273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1" name="Freeform: Shape 48">
              <a:extLst>
                <a:ext uri="{FF2B5EF4-FFF2-40B4-BE49-F238E27FC236}">
                  <a16:creationId xmlns:a16="http://schemas.microsoft.com/office/drawing/2014/main" id="{4BCB3D49-619A-6765-CC59-046ABE612FE1}"/>
                </a:ext>
              </a:extLst>
            </p:cNvPr>
            <p:cNvSpPr/>
            <p:nvPr/>
          </p:nvSpPr>
          <p:spPr>
            <a:xfrm>
              <a:off x="4507341" y="448711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2" name="Freeform: Shape 49">
              <a:extLst>
                <a:ext uri="{FF2B5EF4-FFF2-40B4-BE49-F238E27FC236}">
                  <a16:creationId xmlns:a16="http://schemas.microsoft.com/office/drawing/2014/main" id="{B8D713A5-05BA-486E-6CED-986655E3445D}"/>
                </a:ext>
              </a:extLst>
            </p:cNvPr>
            <p:cNvSpPr/>
            <p:nvPr/>
          </p:nvSpPr>
          <p:spPr>
            <a:xfrm>
              <a:off x="4659360" y="479953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3" name="Freeform: Shape 50">
              <a:extLst>
                <a:ext uri="{FF2B5EF4-FFF2-40B4-BE49-F238E27FC236}">
                  <a16:creationId xmlns:a16="http://schemas.microsoft.com/office/drawing/2014/main" id="{2EC0098F-CDA1-28A5-948B-DED2ECBC7468}"/>
                </a:ext>
              </a:extLst>
            </p:cNvPr>
            <p:cNvSpPr/>
            <p:nvPr/>
          </p:nvSpPr>
          <p:spPr>
            <a:xfrm>
              <a:off x="4806046" y="50789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4" name="Freeform: Shape 51">
              <a:extLst>
                <a:ext uri="{FF2B5EF4-FFF2-40B4-BE49-F238E27FC236}">
                  <a16:creationId xmlns:a16="http://schemas.microsoft.com/office/drawing/2014/main" id="{2A189EF6-A9C5-D19A-10B5-960D3464E24F}"/>
                </a:ext>
              </a:extLst>
            </p:cNvPr>
            <p:cNvSpPr/>
            <p:nvPr/>
          </p:nvSpPr>
          <p:spPr>
            <a:xfrm>
              <a:off x="539988" y="2223595"/>
              <a:ext cx="151257" cy="159829"/>
            </a:xfrm>
            <a:custGeom>
              <a:avLst/>
              <a:gdLst>
                <a:gd name="connsiteX0" fmla="*/ 151257 w 151257"/>
                <a:gd name="connsiteY0" fmla="*/ 159829 h 159829"/>
                <a:gd name="connsiteX1" fmla="*/ 151257 w 151257"/>
                <a:gd name="connsiteY1" fmla="*/ 83439 h 159829"/>
                <a:gd name="connsiteX2" fmla="*/ 67818 w 151257"/>
                <a:gd name="connsiteY2" fmla="*/ 0 h 159829"/>
                <a:gd name="connsiteX3" fmla="*/ 0 w 151257"/>
                <a:gd name="connsiteY3" fmla="*/ 0 h 159829"/>
                <a:gd name="connsiteX4" fmla="*/ 0 w 151257"/>
                <a:gd name="connsiteY4" fmla="*/ 76391 h 159829"/>
                <a:gd name="connsiteX5" fmla="*/ 83439 w 151257"/>
                <a:gd name="connsiteY5" fmla="*/ 159829 h 159829"/>
                <a:gd name="connsiteX6" fmla="*/ 151257 w 151257"/>
                <a:gd name="connsiteY6" fmla="*/ 159829 h 159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257" h="159829">
                  <a:moveTo>
                    <a:pt x="151257" y="159829"/>
                  </a:moveTo>
                  <a:lnTo>
                    <a:pt x="151257" y="83439"/>
                  </a:lnTo>
                  <a:cubicBezTo>
                    <a:pt x="151257" y="37529"/>
                    <a:pt x="113729" y="0"/>
                    <a:pt x="67818" y="0"/>
                  </a:cubicBezTo>
                  <a:lnTo>
                    <a:pt x="0" y="0"/>
                  </a:lnTo>
                  <a:lnTo>
                    <a:pt x="0" y="76391"/>
                  </a:lnTo>
                  <a:cubicBezTo>
                    <a:pt x="0" y="122301"/>
                    <a:pt x="37529" y="159829"/>
                    <a:pt x="83439" y="159829"/>
                  </a:cubicBezTo>
                  <a:lnTo>
                    <a:pt x="151257" y="159829"/>
                  </a:lnTo>
                  <a:close/>
                </a:path>
              </a:pathLst>
            </a:custGeom>
            <a:solidFill>
              <a:srgbClr val="0C29FF"/>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5" name="Freeform: Shape 52">
              <a:extLst>
                <a:ext uri="{FF2B5EF4-FFF2-40B4-BE49-F238E27FC236}">
                  <a16:creationId xmlns:a16="http://schemas.microsoft.com/office/drawing/2014/main" id="{97EAE257-A73B-6854-FA30-C80667E682B0}"/>
                </a:ext>
              </a:extLst>
            </p:cNvPr>
            <p:cNvSpPr/>
            <p:nvPr/>
          </p:nvSpPr>
          <p:spPr>
            <a:xfrm>
              <a:off x="243761" y="2223595"/>
              <a:ext cx="447484" cy="566261"/>
            </a:xfrm>
            <a:custGeom>
              <a:avLst/>
              <a:gdLst>
                <a:gd name="connsiteX0" fmla="*/ 83344 w 447484"/>
                <a:gd name="connsiteY0" fmla="*/ 566261 h 566261"/>
                <a:gd name="connsiteX1" fmla="*/ 364046 w 447484"/>
                <a:gd name="connsiteY1" fmla="*/ 566261 h 566261"/>
                <a:gd name="connsiteX2" fmla="*/ 447485 w 447484"/>
                <a:gd name="connsiteY2" fmla="*/ 482822 h 566261"/>
                <a:gd name="connsiteX3" fmla="*/ 447485 w 447484"/>
                <a:gd name="connsiteY3" fmla="*/ 240316 h 566261"/>
                <a:gd name="connsiteX4" fmla="*/ 447485 w 447484"/>
                <a:gd name="connsiteY4" fmla="*/ 159829 h 566261"/>
                <a:gd name="connsiteX5" fmla="*/ 379667 w 447484"/>
                <a:gd name="connsiteY5" fmla="*/ 159829 h 566261"/>
                <a:gd name="connsiteX6" fmla="*/ 375952 w 447484"/>
                <a:gd name="connsiteY6" fmla="*/ 159829 h 566261"/>
                <a:gd name="connsiteX7" fmla="*/ 372999 w 447484"/>
                <a:gd name="connsiteY7" fmla="*/ 159544 h 566261"/>
                <a:gd name="connsiteX8" fmla="*/ 296228 w 447484"/>
                <a:gd name="connsiteY8" fmla="*/ 76391 h 566261"/>
                <a:gd name="connsiteX9" fmla="*/ 296228 w 447484"/>
                <a:gd name="connsiteY9" fmla="*/ 0 h 566261"/>
                <a:gd name="connsiteX10" fmla="*/ 237458 w 447484"/>
                <a:gd name="connsiteY10" fmla="*/ 0 h 566261"/>
                <a:gd name="connsiteX11" fmla="*/ 156496 w 447484"/>
                <a:gd name="connsiteY11" fmla="*/ 78676 h 566261"/>
                <a:gd name="connsiteX12" fmla="*/ 77153 w 447484"/>
                <a:gd name="connsiteY12" fmla="*/ 159639 h 566261"/>
                <a:gd name="connsiteX13" fmla="*/ 0 w 447484"/>
                <a:gd name="connsiteY13" fmla="*/ 240506 h 566261"/>
                <a:gd name="connsiteX14" fmla="*/ 0 w 447484"/>
                <a:gd name="connsiteY14" fmla="*/ 482632 h 566261"/>
                <a:gd name="connsiteX15" fmla="*/ 83344 w 447484"/>
                <a:gd name="connsiteY15" fmla="*/ 566261 h 566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7484" h="566261">
                  <a:moveTo>
                    <a:pt x="83344" y="566261"/>
                  </a:moveTo>
                  <a:lnTo>
                    <a:pt x="364046" y="566261"/>
                  </a:lnTo>
                  <a:cubicBezTo>
                    <a:pt x="409956" y="566261"/>
                    <a:pt x="447485" y="528733"/>
                    <a:pt x="447485" y="482822"/>
                  </a:cubicBezTo>
                  <a:lnTo>
                    <a:pt x="447485" y="240316"/>
                  </a:lnTo>
                  <a:lnTo>
                    <a:pt x="447485" y="159829"/>
                  </a:lnTo>
                  <a:lnTo>
                    <a:pt x="379667" y="159829"/>
                  </a:lnTo>
                  <a:cubicBezTo>
                    <a:pt x="378428" y="159829"/>
                    <a:pt x="377190" y="159829"/>
                    <a:pt x="375952" y="159829"/>
                  </a:cubicBezTo>
                  <a:cubicBezTo>
                    <a:pt x="374999" y="159734"/>
                    <a:pt x="373951" y="159639"/>
                    <a:pt x="372999" y="159544"/>
                  </a:cubicBezTo>
                  <a:cubicBezTo>
                    <a:pt x="330232" y="156115"/>
                    <a:pt x="296228" y="120015"/>
                    <a:pt x="296228" y="76391"/>
                  </a:cubicBezTo>
                  <a:lnTo>
                    <a:pt x="296228" y="0"/>
                  </a:lnTo>
                  <a:lnTo>
                    <a:pt x="237458" y="0"/>
                  </a:lnTo>
                  <a:cubicBezTo>
                    <a:pt x="193643" y="0"/>
                    <a:pt x="157734" y="34957"/>
                    <a:pt x="156496" y="78676"/>
                  </a:cubicBezTo>
                  <a:cubicBezTo>
                    <a:pt x="155258" y="122110"/>
                    <a:pt x="120396" y="157543"/>
                    <a:pt x="77153" y="159639"/>
                  </a:cubicBezTo>
                  <a:cubicBezTo>
                    <a:pt x="33909" y="161734"/>
                    <a:pt x="0" y="197263"/>
                    <a:pt x="0" y="240506"/>
                  </a:cubicBezTo>
                  <a:lnTo>
                    <a:pt x="0" y="482632"/>
                  </a:lnTo>
                  <a:cubicBezTo>
                    <a:pt x="0" y="528733"/>
                    <a:pt x="37529" y="566261"/>
                    <a:pt x="83344" y="566261"/>
                  </a:cubicBezTo>
                  <a:close/>
                </a:path>
              </a:pathLst>
            </a:custGeom>
            <a:solidFill>
              <a:srgbClr val="0C29FF"/>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6" name="Freeform: Shape 53">
              <a:extLst>
                <a:ext uri="{FF2B5EF4-FFF2-40B4-BE49-F238E27FC236}">
                  <a16:creationId xmlns:a16="http://schemas.microsoft.com/office/drawing/2014/main" id="{730E8A59-C261-2441-D3CD-1D5B9448F240}"/>
                </a:ext>
              </a:extLst>
            </p:cNvPr>
            <p:cNvSpPr/>
            <p:nvPr/>
          </p:nvSpPr>
          <p:spPr>
            <a:xfrm>
              <a:off x="718392" y="1652285"/>
              <a:ext cx="1079087" cy="1436369"/>
            </a:xfrm>
            <a:custGeom>
              <a:avLst/>
              <a:gdLst>
                <a:gd name="connsiteX0" fmla="*/ 235363 w 1079087"/>
                <a:gd name="connsiteY0" fmla="*/ 707612 h 1436369"/>
                <a:gd name="connsiteX1" fmla="*/ 366617 w 1079087"/>
                <a:gd name="connsiteY1" fmla="*/ 707612 h 1436369"/>
                <a:gd name="connsiteX2" fmla="*/ 373856 w 1079087"/>
                <a:gd name="connsiteY2" fmla="*/ 707326 h 1436369"/>
                <a:gd name="connsiteX3" fmla="*/ 387953 w 1079087"/>
                <a:gd name="connsiteY3" fmla="*/ 707326 h 1436369"/>
                <a:gd name="connsiteX4" fmla="*/ 388906 w 1079087"/>
                <a:gd name="connsiteY4" fmla="*/ 707422 h 1436369"/>
                <a:gd name="connsiteX5" fmla="*/ 463772 w 1079087"/>
                <a:gd name="connsiteY5" fmla="*/ 788194 h 1436369"/>
                <a:gd name="connsiteX6" fmla="*/ 463772 w 1079087"/>
                <a:gd name="connsiteY6" fmla="*/ 789527 h 1436369"/>
                <a:gd name="connsiteX7" fmla="*/ 386239 w 1079087"/>
                <a:gd name="connsiteY7" fmla="*/ 870490 h 1436369"/>
                <a:gd name="connsiteX8" fmla="*/ 306896 w 1079087"/>
                <a:gd name="connsiteY8" fmla="*/ 945166 h 1436369"/>
                <a:gd name="connsiteX9" fmla="*/ 226314 w 1079087"/>
                <a:gd name="connsiteY9" fmla="*/ 1017746 h 1436369"/>
                <a:gd name="connsiteX10" fmla="*/ 206407 w 1079087"/>
                <a:gd name="connsiteY10" fmla="*/ 1017746 h 1436369"/>
                <a:gd name="connsiteX11" fmla="*/ 146495 w 1079087"/>
                <a:gd name="connsiteY11" fmla="*/ 1077658 h 1436369"/>
                <a:gd name="connsiteX12" fmla="*/ 146495 w 1079087"/>
                <a:gd name="connsiteY12" fmla="*/ 1083850 h 1436369"/>
                <a:gd name="connsiteX13" fmla="*/ 206407 w 1079087"/>
                <a:gd name="connsiteY13" fmla="*/ 1143762 h 1436369"/>
                <a:gd name="connsiteX14" fmla="*/ 225362 w 1079087"/>
                <a:gd name="connsiteY14" fmla="*/ 1143762 h 1436369"/>
                <a:gd name="connsiteX15" fmla="*/ 306324 w 1079087"/>
                <a:gd name="connsiteY15" fmla="*/ 1224724 h 1436369"/>
                <a:gd name="connsiteX16" fmla="*/ 306324 w 1079087"/>
                <a:gd name="connsiteY16" fmla="*/ 1229392 h 1436369"/>
                <a:gd name="connsiteX17" fmla="*/ 225362 w 1079087"/>
                <a:gd name="connsiteY17" fmla="*/ 1310354 h 1436369"/>
                <a:gd name="connsiteX18" fmla="*/ 59912 w 1079087"/>
                <a:gd name="connsiteY18" fmla="*/ 1310354 h 1436369"/>
                <a:gd name="connsiteX19" fmla="*/ 0 w 1079087"/>
                <a:gd name="connsiteY19" fmla="*/ 1370266 h 1436369"/>
                <a:gd name="connsiteX20" fmla="*/ 0 w 1079087"/>
                <a:gd name="connsiteY20" fmla="*/ 1376458 h 1436369"/>
                <a:gd name="connsiteX21" fmla="*/ 59912 w 1079087"/>
                <a:gd name="connsiteY21" fmla="*/ 1436370 h 1436369"/>
                <a:gd name="connsiteX22" fmla="*/ 389954 w 1079087"/>
                <a:gd name="connsiteY22" fmla="*/ 1436370 h 1436369"/>
                <a:gd name="connsiteX23" fmla="*/ 397764 w 1079087"/>
                <a:gd name="connsiteY23" fmla="*/ 1436370 h 1436369"/>
                <a:gd name="connsiteX24" fmla="*/ 521208 w 1079087"/>
                <a:gd name="connsiteY24" fmla="*/ 1436370 h 1436369"/>
                <a:gd name="connsiteX25" fmla="*/ 603980 w 1079087"/>
                <a:gd name="connsiteY25" fmla="*/ 1363218 h 1436369"/>
                <a:gd name="connsiteX26" fmla="*/ 684371 w 1079087"/>
                <a:gd name="connsiteY26" fmla="*/ 1292162 h 1436369"/>
                <a:gd name="connsiteX27" fmla="*/ 838390 w 1079087"/>
                <a:gd name="connsiteY27" fmla="*/ 1292162 h 1436369"/>
                <a:gd name="connsiteX28" fmla="*/ 920782 w 1079087"/>
                <a:gd name="connsiteY28" fmla="*/ 1221581 h 1436369"/>
                <a:gd name="connsiteX29" fmla="*/ 998315 w 1079087"/>
                <a:gd name="connsiteY29" fmla="*/ 1153192 h 1436369"/>
                <a:gd name="connsiteX30" fmla="*/ 1079087 w 1079087"/>
                <a:gd name="connsiteY30" fmla="*/ 1069848 h 1436369"/>
                <a:gd name="connsiteX31" fmla="*/ 1079087 w 1079087"/>
                <a:gd name="connsiteY31" fmla="*/ 956310 h 1436369"/>
                <a:gd name="connsiteX32" fmla="*/ 998792 w 1079087"/>
                <a:gd name="connsiteY32" fmla="*/ 872966 h 1436369"/>
                <a:gd name="connsiteX33" fmla="*/ 921258 w 1079087"/>
                <a:gd name="connsiteY33" fmla="*/ 800672 h 1436369"/>
                <a:gd name="connsiteX34" fmla="*/ 840581 w 1079087"/>
                <a:gd name="connsiteY34" fmla="*/ 726186 h 1436369"/>
                <a:gd name="connsiteX35" fmla="*/ 761810 w 1079087"/>
                <a:gd name="connsiteY35" fmla="*/ 645223 h 1436369"/>
                <a:gd name="connsiteX36" fmla="*/ 761810 w 1079087"/>
                <a:gd name="connsiteY36" fmla="*/ 515969 h 1436369"/>
                <a:gd name="connsiteX37" fmla="*/ 684657 w 1079087"/>
                <a:gd name="connsiteY37" fmla="*/ 432816 h 1436369"/>
                <a:gd name="connsiteX38" fmla="*/ 609695 w 1079087"/>
                <a:gd name="connsiteY38" fmla="*/ 352044 h 1436369"/>
                <a:gd name="connsiteX39" fmla="*/ 609695 w 1079087"/>
                <a:gd name="connsiteY39" fmla="*/ 224980 h 1436369"/>
                <a:gd name="connsiteX40" fmla="*/ 527780 w 1079087"/>
                <a:gd name="connsiteY40" fmla="*/ 141541 h 1436369"/>
                <a:gd name="connsiteX41" fmla="*/ 449009 w 1079087"/>
                <a:gd name="connsiteY41" fmla="*/ 71818 h 1436369"/>
                <a:gd name="connsiteX42" fmla="*/ 366427 w 1079087"/>
                <a:gd name="connsiteY42" fmla="*/ 0 h 1436369"/>
                <a:gd name="connsiteX43" fmla="*/ 235363 w 1079087"/>
                <a:gd name="connsiteY43" fmla="*/ 0 h 1436369"/>
                <a:gd name="connsiteX44" fmla="*/ 151924 w 1079087"/>
                <a:gd name="connsiteY44" fmla="*/ 83439 h 1436369"/>
                <a:gd name="connsiteX45" fmla="*/ 151924 w 1079087"/>
                <a:gd name="connsiteY45" fmla="*/ 624268 h 1436369"/>
                <a:gd name="connsiteX46" fmla="*/ 235363 w 1079087"/>
                <a:gd name="connsiteY46" fmla="*/ 707612 h 143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79087" h="1436369">
                  <a:moveTo>
                    <a:pt x="235363" y="707612"/>
                  </a:moveTo>
                  <a:lnTo>
                    <a:pt x="366617" y="707612"/>
                  </a:lnTo>
                  <a:cubicBezTo>
                    <a:pt x="369094" y="707612"/>
                    <a:pt x="371475" y="707517"/>
                    <a:pt x="373856" y="707326"/>
                  </a:cubicBezTo>
                  <a:cubicBezTo>
                    <a:pt x="378809" y="706850"/>
                    <a:pt x="383000" y="706850"/>
                    <a:pt x="387953" y="707326"/>
                  </a:cubicBezTo>
                  <a:cubicBezTo>
                    <a:pt x="388239" y="707326"/>
                    <a:pt x="388620" y="707422"/>
                    <a:pt x="388906" y="707422"/>
                  </a:cubicBezTo>
                  <a:cubicBezTo>
                    <a:pt x="431292" y="710660"/>
                    <a:pt x="463772" y="745712"/>
                    <a:pt x="463772" y="788194"/>
                  </a:cubicBezTo>
                  <a:lnTo>
                    <a:pt x="463772" y="789527"/>
                  </a:lnTo>
                  <a:cubicBezTo>
                    <a:pt x="463772" y="832866"/>
                    <a:pt x="429578" y="868585"/>
                    <a:pt x="386239" y="870490"/>
                  </a:cubicBezTo>
                  <a:cubicBezTo>
                    <a:pt x="344900" y="872299"/>
                    <a:pt x="311182" y="904494"/>
                    <a:pt x="306896" y="945166"/>
                  </a:cubicBezTo>
                  <a:cubicBezTo>
                    <a:pt x="302514" y="986599"/>
                    <a:pt x="267938" y="1017746"/>
                    <a:pt x="226314" y="1017746"/>
                  </a:cubicBezTo>
                  <a:lnTo>
                    <a:pt x="206407" y="1017746"/>
                  </a:lnTo>
                  <a:cubicBezTo>
                    <a:pt x="173450" y="1017746"/>
                    <a:pt x="146495" y="1044702"/>
                    <a:pt x="146495" y="1077658"/>
                  </a:cubicBezTo>
                  <a:lnTo>
                    <a:pt x="146495" y="1083850"/>
                  </a:lnTo>
                  <a:cubicBezTo>
                    <a:pt x="146495" y="1116806"/>
                    <a:pt x="173450" y="1143762"/>
                    <a:pt x="206407" y="1143762"/>
                  </a:cubicBezTo>
                  <a:lnTo>
                    <a:pt x="225362" y="1143762"/>
                  </a:lnTo>
                  <a:cubicBezTo>
                    <a:pt x="269939" y="1143762"/>
                    <a:pt x="306324" y="1180148"/>
                    <a:pt x="306324" y="1224724"/>
                  </a:cubicBezTo>
                  <a:lnTo>
                    <a:pt x="306324" y="1229392"/>
                  </a:lnTo>
                  <a:cubicBezTo>
                    <a:pt x="306324" y="1273969"/>
                    <a:pt x="269939" y="1310354"/>
                    <a:pt x="225362" y="1310354"/>
                  </a:cubicBezTo>
                  <a:lnTo>
                    <a:pt x="59912" y="1310354"/>
                  </a:lnTo>
                  <a:cubicBezTo>
                    <a:pt x="26956" y="1310354"/>
                    <a:pt x="0" y="1337310"/>
                    <a:pt x="0" y="1370266"/>
                  </a:cubicBezTo>
                  <a:lnTo>
                    <a:pt x="0" y="1376458"/>
                  </a:lnTo>
                  <a:cubicBezTo>
                    <a:pt x="0" y="1409414"/>
                    <a:pt x="26956" y="1436370"/>
                    <a:pt x="59912" y="1436370"/>
                  </a:cubicBezTo>
                  <a:lnTo>
                    <a:pt x="389954" y="1436370"/>
                  </a:lnTo>
                  <a:lnTo>
                    <a:pt x="397764" y="1436370"/>
                  </a:lnTo>
                  <a:lnTo>
                    <a:pt x="521208" y="1436370"/>
                  </a:lnTo>
                  <a:cubicBezTo>
                    <a:pt x="563594" y="1436370"/>
                    <a:pt x="598932" y="1404271"/>
                    <a:pt x="603980" y="1363218"/>
                  </a:cubicBezTo>
                  <a:cubicBezTo>
                    <a:pt x="609028" y="1322451"/>
                    <a:pt x="643223" y="1292162"/>
                    <a:pt x="684371" y="1292162"/>
                  </a:cubicBezTo>
                  <a:lnTo>
                    <a:pt x="838390" y="1292162"/>
                  </a:lnTo>
                  <a:cubicBezTo>
                    <a:pt x="879920" y="1292162"/>
                    <a:pt x="914590" y="1261396"/>
                    <a:pt x="920782" y="1221581"/>
                  </a:cubicBezTo>
                  <a:cubicBezTo>
                    <a:pt x="926878" y="1182719"/>
                    <a:pt x="958977" y="1154335"/>
                    <a:pt x="998315" y="1153192"/>
                  </a:cubicBezTo>
                  <a:cubicBezTo>
                    <a:pt x="1042988" y="1151763"/>
                    <a:pt x="1079087" y="1114806"/>
                    <a:pt x="1079087" y="1069848"/>
                  </a:cubicBezTo>
                  <a:lnTo>
                    <a:pt x="1079087" y="956310"/>
                  </a:lnTo>
                  <a:cubicBezTo>
                    <a:pt x="1079087" y="911447"/>
                    <a:pt x="1043273" y="874586"/>
                    <a:pt x="998792" y="872966"/>
                  </a:cubicBezTo>
                  <a:cubicBezTo>
                    <a:pt x="958310" y="871442"/>
                    <a:pt x="925640" y="840962"/>
                    <a:pt x="921258" y="800672"/>
                  </a:cubicBezTo>
                  <a:cubicBezTo>
                    <a:pt x="916877" y="759619"/>
                    <a:pt x="882396" y="727329"/>
                    <a:pt x="840581" y="726186"/>
                  </a:cubicBezTo>
                  <a:cubicBezTo>
                    <a:pt x="796766" y="724948"/>
                    <a:pt x="761810" y="689038"/>
                    <a:pt x="761810" y="645223"/>
                  </a:cubicBezTo>
                  <a:lnTo>
                    <a:pt x="761810" y="515969"/>
                  </a:lnTo>
                  <a:cubicBezTo>
                    <a:pt x="761810" y="472154"/>
                    <a:pt x="727615" y="436055"/>
                    <a:pt x="684657" y="432816"/>
                  </a:cubicBezTo>
                  <a:cubicBezTo>
                    <a:pt x="642271" y="429577"/>
                    <a:pt x="609695" y="394525"/>
                    <a:pt x="609695" y="352044"/>
                  </a:cubicBezTo>
                  <a:lnTo>
                    <a:pt x="609695" y="224980"/>
                  </a:lnTo>
                  <a:cubicBezTo>
                    <a:pt x="609695" y="179641"/>
                    <a:pt x="572929" y="142399"/>
                    <a:pt x="527780" y="141541"/>
                  </a:cubicBezTo>
                  <a:cubicBezTo>
                    <a:pt x="487680" y="140875"/>
                    <a:pt x="454533" y="111538"/>
                    <a:pt x="449009" y="71818"/>
                  </a:cubicBezTo>
                  <a:cubicBezTo>
                    <a:pt x="443294" y="31337"/>
                    <a:pt x="408337" y="0"/>
                    <a:pt x="366427" y="0"/>
                  </a:cubicBezTo>
                  <a:lnTo>
                    <a:pt x="235363" y="0"/>
                  </a:lnTo>
                  <a:cubicBezTo>
                    <a:pt x="189452" y="0"/>
                    <a:pt x="151924" y="37528"/>
                    <a:pt x="151924" y="83439"/>
                  </a:cubicBezTo>
                  <a:lnTo>
                    <a:pt x="151924" y="624268"/>
                  </a:lnTo>
                  <a:cubicBezTo>
                    <a:pt x="151924" y="670084"/>
                    <a:pt x="189452" y="707612"/>
                    <a:pt x="235363" y="707612"/>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7" name="Freeform: Shape 54">
              <a:extLst>
                <a:ext uri="{FF2B5EF4-FFF2-40B4-BE49-F238E27FC236}">
                  <a16:creationId xmlns:a16="http://schemas.microsoft.com/office/drawing/2014/main" id="{DE056888-C898-D865-5027-C946EE753A21}"/>
                </a:ext>
              </a:extLst>
            </p:cNvPr>
            <p:cNvSpPr/>
            <p:nvPr/>
          </p:nvSpPr>
          <p:spPr>
            <a:xfrm>
              <a:off x="4979019" y="1499219"/>
              <a:ext cx="450437" cy="290036"/>
            </a:xfrm>
            <a:custGeom>
              <a:avLst/>
              <a:gdLst>
                <a:gd name="connsiteX0" fmla="*/ 450438 w 450437"/>
                <a:gd name="connsiteY0" fmla="*/ 0 h 290036"/>
                <a:gd name="connsiteX1" fmla="*/ 70009 w 450437"/>
                <a:gd name="connsiteY1" fmla="*/ 0 h 290036"/>
                <a:gd name="connsiteX2" fmla="*/ 0 w 450437"/>
                <a:gd name="connsiteY2" fmla="*/ 70009 h 290036"/>
                <a:gd name="connsiteX3" fmla="*/ 0 w 450437"/>
                <a:gd name="connsiteY3" fmla="*/ 220028 h 290036"/>
                <a:gd name="connsiteX4" fmla="*/ 70009 w 450437"/>
                <a:gd name="connsiteY4" fmla="*/ 290036 h 290036"/>
                <a:gd name="connsiteX5" fmla="*/ 450438 w 450437"/>
                <a:gd name="connsiteY5" fmla="*/ 290036 h 290036"/>
                <a:gd name="connsiteX6" fmla="*/ 450438 w 450437"/>
                <a:gd name="connsiteY6" fmla="*/ 0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437" h="290036">
                  <a:moveTo>
                    <a:pt x="450438" y="0"/>
                  </a:moveTo>
                  <a:lnTo>
                    <a:pt x="70009" y="0"/>
                  </a:lnTo>
                  <a:cubicBezTo>
                    <a:pt x="31528" y="0"/>
                    <a:pt x="0" y="31528"/>
                    <a:pt x="0" y="70009"/>
                  </a:cubicBezTo>
                  <a:lnTo>
                    <a:pt x="0" y="220028"/>
                  </a:lnTo>
                  <a:cubicBezTo>
                    <a:pt x="0" y="258509"/>
                    <a:pt x="31528" y="290036"/>
                    <a:pt x="70009" y="290036"/>
                  </a:cubicBezTo>
                  <a:lnTo>
                    <a:pt x="450438" y="290036"/>
                  </a:lnTo>
                  <a:lnTo>
                    <a:pt x="45043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8" name="Freeform: Shape 55">
              <a:extLst>
                <a:ext uri="{FF2B5EF4-FFF2-40B4-BE49-F238E27FC236}">
                  <a16:creationId xmlns:a16="http://schemas.microsoft.com/office/drawing/2014/main" id="{09316AD7-AB07-78EB-ACCD-7944EECA2E2D}"/>
                </a:ext>
              </a:extLst>
            </p:cNvPr>
            <p:cNvSpPr/>
            <p:nvPr/>
          </p:nvSpPr>
          <p:spPr>
            <a:xfrm>
              <a:off x="4666981" y="1789445"/>
              <a:ext cx="762571" cy="290036"/>
            </a:xfrm>
            <a:custGeom>
              <a:avLst/>
              <a:gdLst>
                <a:gd name="connsiteX0" fmla="*/ 762476 w 762571"/>
                <a:gd name="connsiteY0" fmla="*/ 290036 h 290036"/>
                <a:gd name="connsiteX1" fmla="*/ 70009 w 762571"/>
                <a:gd name="connsiteY1" fmla="*/ 290036 h 290036"/>
                <a:gd name="connsiteX2" fmla="*/ 0 w 762571"/>
                <a:gd name="connsiteY2" fmla="*/ 220028 h 290036"/>
                <a:gd name="connsiteX3" fmla="*/ 0 w 762571"/>
                <a:gd name="connsiteY3" fmla="*/ 70009 h 290036"/>
                <a:gd name="connsiteX4" fmla="*/ 70009 w 762571"/>
                <a:gd name="connsiteY4" fmla="*/ 0 h 290036"/>
                <a:gd name="connsiteX5" fmla="*/ 208216 w 762571"/>
                <a:gd name="connsiteY5" fmla="*/ 0 h 290036"/>
                <a:gd name="connsiteX6" fmla="*/ 299847 w 762571"/>
                <a:gd name="connsiteY6" fmla="*/ 61531 h 290036"/>
                <a:gd name="connsiteX7" fmla="*/ 299847 w 762571"/>
                <a:gd name="connsiteY7" fmla="*/ 77629 h 290036"/>
                <a:gd name="connsiteX8" fmla="*/ 368046 w 762571"/>
                <a:gd name="connsiteY8" fmla="*/ 145828 h 290036"/>
                <a:gd name="connsiteX9" fmla="*/ 391763 w 762571"/>
                <a:gd name="connsiteY9" fmla="*/ 145828 h 290036"/>
                <a:gd name="connsiteX10" fmla="*/ 459962 w 762571"/>
                <a:gd name="connsiteY10" fmla="*/ 77629 h 290036"/>
                <a:gd name="connsiteX11" fmla="*/ 459962 w 762571"/>
                <a:gd name="connsiteY11" fmla="*/ 61531 h 290036"/>
                <a:gd name="connsiteX12" fmla="*/ 421005 w 762571"/>
                <a:gd name="connsiteY12" fmla="*/ 0 h 290036"/>
                <a:gd name="connsiteX13" fmla="*/ 762571 w 762571"/>
                <a:gd name="connsiteY13" fmla="*/ 0 h 290036"/>
                <a:gd name="connsiteX14" fmla="*/ 762571 w 762571"/>
                <a:gd name="connsiteY14" fmla="*/ 290036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2571" h="290036">
                  <a:moveTo>
                    <a:pt x="762476" y="290036"/>
                  </a:moveTo>
                  <a:lnTo>
                    <a:pt x="70009" y="290036"/>
                  </a:lnTo>
                  <a:cubicBezTo>
                    <a:pt x="31528" y="290036"/>
                    <a:pt x="0" y="258509"/>
                    <a:pt x="0" y="220028"/>
                  </a:cubicBezTo>
                  <a:lnTo>
                    <a:pt x="0" y="70009"/>
                  </a:lnTo>
                  <a:cubicBezTo>
                    <a:pt x="0" y="31528"/>
                    <a:pt x="31528" y="0"/>
                    <a:pt x="70009" y="0"/>
                  </a:cubicBezTo>
                  <a:lnTo>
                    <a:pt x="208216" y="0"/>
                  </a:lnTo>
                  <a:cubicBezTo>
                    <a:pt x="268224" y="1143"/>
                    <a:pt x="299847" y="34480"/>
                    <a:pt x="299847" y="61531"/>
                  </a:cubicBezTo>
                  <a:lnTo>
                    <a:pt x="299847" y="77629"/>
                  </a:lnTo>
                  <a:cubicBezTo>
                    <a:pt x="299847" y="115157"/>
                    <a:pt x="330517" y="145828"/>
                    <a:pt x="368046" y="145828"/>
                  </a:cubicBezTo>
                  <a:lnTo>
                    <a:pt x="391763" y="145828"/>
                  </a:lnTo>
                  <a:cubicBezTo>
                    <a:pt x="429292" y="145828"/>
                    <a:pt x="459962" y="115157"/>
                    <a:pt x="459962" y="77629"/>
                  </a:cubicBezTo>
                  <a:lnTo>
                    <a:pt x="459962" y="61531"/>
                  </a:lnTo>
                  <a:cubicBezTo>
                    <a:pt x="459962" y="34480"/>
                    <a:pt x="443960" y="10954"/>
                    <a:pt x="421005" y="0"/>
                  </a:cubicBezTo>
                  <a:lnTo>
                    <a:pt x="762571" y="0"/>
                  </a:lnTo>
                  <a:lnTo>
                    <a:pt x="762571" y="290036"/>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9" name="Freeform: Shape 56">
              <a:extLst>
                <a:ext uri="{FF2B5EF4-FFF2-40B4-BE49-F238E27FC236}">
                  <a16:creationId xmlns:a16="http://schemas.microsoft.com/office/drawing/2014/main" id="{FE7D75C4-0F68-9910-8360-97875B967C67}"/>
                </a:ext>
              </a:extLst>
            </p:cNvPr>
            <p:cNvSpPr/>
            <p:nvPr/>
          </p:nvSpPr>
          <p:spPr>
            <a:xfrm>
              <a:off x="4752787" y="2078719"/>
              <a:ext cx="676764" cy="280797"/>
            </a:xfrm>
            <a:custGeom>
              <a:avLst/>
              <a:gdLst>
                <a:gd name="connsiteX0" fmla="*/ 676764 w 676764"/>
                <a:gd name="connsiteY0" fmla="*/ 63056 h 280797"/>
                <a:gd name="connsiteX1" fmla="*/ 676764 w 676764"/>
                <a:gd name="connsiteY1" fmla="*/ 75914 h 280797"/>
                <a:gd name="connsiteX2" fmla="*/ 676764 w 676764"/>
                <a:gd name="connsiteY2" fmla="*/ 84106 h 280797"/>
                <a:gd name="connsiteX3" fmla="*/ 616281 w 676764"/>
                <a:gd name="connsiteY3" fmla="*/ 144590 h 280797"/>
                <a:gd name="connsiteX4" fmla="*/ 526174 w 676764"/>
                <a:gd name="connsiteY4" fmla="*/ 144590 h 280797"/>
                <a:gd name="connsiteX5" fmla="*/ 526174 w 676764"/>
                <a:gd name="connsiteY5" fmla="*/ 220313 h 280797"/>
                <a:gd name="connsiteX6" fmla="*/ 465691 w 676764"/>
                <a:gd name="connsiteY6" fmla="*/ 280797 h 280797"/>
                <a:gd name="connsiteX7" fmla="*/ 227566 w 676764"/>
                <a:gd name="connsiteY7" fmla="*/ 280797 h 280797"/>
                <a:gd name="connsiteX8" fmla="*/ 227566 w 676764"/>
                <a:gd name="connsiteY8" fmla="*/ 205073 h 280797"/>
                <a:gd name="connsiteX9" fmla="*/ 167082 w 676764"/>
                <a:gd name="connsiteY9" fmla="*/ 144590 h 280797"/>
                <a:gd name="connsiteX10" fmla="*/ 7348 w 676764"/>
                <a:gd name="connsiteY10" fmla="*/ 144590 h 280797"/>
                <a:gd name="connsiteX11" fmla="*/ 67832 w 676764"/>
                <a:gd name="connsiteY11" fmla="*/ 84106 h 280797"/>
                <a:gd name="connsiteX12" fmla="*/ 67832 w 676764"/>
                <a:gd name="connsiteY12" fmla="*/ 63056 h 280797"/>
                <a:gd name="connsiteX13" fmla="*/ 7348 w 676764"/>
                <a:gd name="connsiteY13" fmla="*/ 2572 h 280797"/>
                <a:gd name="connsiteX14" fmla="*/ 96502 w 676764"/>
                <a:gd name="connsiteY14" fmla="*/ 1905 h 280797"/>
                <a:gd name="connsiteX15" fmla="*/ 96502 w 676764"/>
                <a:gd name="connsiteY15" fmla="*/ 0 h 280797"/>
                <a:gd name="connsiteX16" fmla="*/ 465691 w 676764"/>
                <a:gd name="connsiteY16" fmla="*/ 0 h 280797"/>
                <a:gd name="connsiteX17" fmla="*/ 676764 w 676764"/>
                <a:gd name="connsiteY17" fmla="*/ 0 h 280797"/>
                <a:gd name="connsiteX18" fmla="*/ 676764 w 676764"/>
                <a:gd name="connsiteY18" fmla="*/ 63056 h 280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6764" h="280797">
                  <a:moveTo>
                    <a:pt x="676764" y="63056"/>
                  </a:moveTo>
                  <a:lnTo>
                    <a:pt x="676764" y="75914"/>
                  </a:lnTo>
                  <a:lnTo>
                    <a:pt x="676764" y="84106"/>
                  </a:lnTo>
                  <a:cubicBezTo>
                    <a:pt x="676764" y="117348"/>
                    <a:pt x="649523" y="144590"/>
                    <a:pt x="616281" y="144590"/>
                  </a:cubicBezTo>
                  <a:lnTo>
                    <a:pt x="526174" y="144590"/>
                  </a:lnTo>
                  <a:lnTo>
                    <a:pt x="526174" y="220313"/>
                  </a:lnTo>
                  <a:cubicBezTo>
                    <a:pt x="526174" y="253556"/>
                    <a:pt x="498933" y="280797"/>
                    <a:pt x="465691" y="280797"/>
                  </a:cubicBezTo>
                  <a:lnTo>
                    <a:pt x="227566" y="280797"/>
                  </a:lnTo>
                  <a:lnTo>
                    <a:pt x="227566" y="205073"/>
                  </a:lnTo>
                  <a:cubicBezTo>
                    <a:pt x="227566" y="171831"/>
                    <a:pt x="200324" y="144590"/>
                    <a:pt x="167082" y="144590"/>
                  </a:cubicBezTo>
                  <a:lnTo>
                    <a:pt x="7348" y="144590"/>
                  </a:lnTo>
                  <a:cubicBezTo>
                    <a:pt x="40590" y="144590"/>
                    <a:pt x="67832" y="117443"/>
                    <a:pt x="67832" y="84106"/>
                  </a:cubicBezTo>
                  <a:lnTo>
                    <a:pt x="67832" y="63056"/>
                  </a:lnTo>
                  <a:cubicBezTo>
                    <a:pt x="67832" y="29813"/>
                    <a:pt x="40590" y="2572"/>
                    <a:pt x="7348" y="2572"/>
                  </a:cubicBezTo>
                  <a:cubicBezTo>
                    <a:pt x="-18370" y="2572"/>
                    <a:pt x="26302" y="2286"/>
                    <a:pt x="96502" y="1905"/>
                  </a:cubicBezTo>
                  <a:lnTo>
                    <a:pt x="96502" y="0"/>
                  </a:lnTo>
                  <a:lnTo>
                    <a:pt x="465691" y="0"/>
                  </a:lnTo>
                  <a:lnTo>
                    <a:pt x="676764" y="0"/>
                  </a:lnTo>
                  <a:lnTo>
                    <a:pt x="676764" y="63056"/>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20" name="Freeform: Shape 57">
              <a:extLst>
                <a:ext uri="{FF2B5EF4-FFF2-40B4-BE49-F238E27FC236}">
                  <a16:creationId xmlns:a16="http://schemas.microsoft.com/office/drawing/2014/main" id="{EE02F6E8-2AAD-C037-85B5-93DC2E12F193}"/>
                </a:ext>
              </a:extLst>
            </p:cNvPr>
            <p:cNvSpPr/>
            <p:nvPr/>
          </p:nvSpPr>
          <p:spPr>
            <a:xfrm>
              <a:off x="4480672" y="2223214"/>
              <a:ext cx="495776" cy="136207"/>
            </a:xfrm>
            <a:custGeom>
              <a:avLst/>
              <a:gdLst>
                <a:gd name="connsiteX0" fmla="*/ 495776 w 495776"/>
                <a:gd name="connsiteY0" fmla="*/ 136208 h 136207"/>
                <a:gd name="connsiteX1" fmla="*/ 495776 w 495776"/>
                <a:gd name="connsiteY1" fmla="*/ 60484 h 136207"/>
                <a:gd name="connsiteX2" fmla="*/ 435292 w 495776"/>
                <a:gd name="connsiteY2" fmla="*/ 0 h 136207"/>
                <a:gd name="connsiteX3" fmla="*/ 89630 w 495776"/>
                <a:gd name="connsiteY3" fmla="*/ 0 h 136207"/>
                <a:gd name="connsiteX4" fmla="*/ 29146 w 495776"/>
                <a:gd name="connsiteY4" fmla="*/ 60484 h 136207"/>
                <a:gd name="connsiteX5" fmla="*/ 29146 w 495776"/>
                <a:gd name="connsiteY5" fmla="*/ 73914 h 136207"/>
                <a:gd name="connsiteX6" fmla="*/ 0 w 495776"/>
                <a:gd name="connsiteY6" fmla="*/ 136208 h 136207"/>
                <a:gd name="connsiteX7" fmla="*/ 495776 w 495776"/>
                <a:gd name="connsiteY7" fmla="*/ 136208 h 13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776" h="136207">
                  <a:moveTo>
                    <a:pt x="495776" y="136208"/>
                  </a:moveTo>
                  <a:lnTo>
                    <a:pt x="495776" y="60484"/>
                  </a:lnTo>
                  <a:cubicBezTo>
                    <a:pt x="495776" y="27242"/>
                    <a:pt x="468534" y="0"/>
                    <a:pt x="435292" y="0"/>
                  </a:cubicBezTo>
                  <a:lnTo>
                    <a:pt x="89630" y="0"/>
                  </a:lnTo>
                  <a:cubicBezTo>
                    <a:pt x="56388" y="0"/>
                    <a:pt x="29146" y="27242"/>
                    <a:pt x="29146" y="60484"/>
                  </a:cubicBezTo>
                  <a:lnTo>
                    <a:pt x="29146" y="73914"/>
                  </a:lnTo>
                  <a:cubicBezTo>
                    <a:pt x="29146" y="98870"/>
                    <a:pt x="17907" y="121253"/>
                    <a:pt x="0" y="136208"/>
                  </a:cubicBezTo>
                  <a:lnTo>
                    <a:pt x="495776" y="136208"/>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21" name="Freeform: Shape 58">
              <a:extLst>
                <a:ext uri="{FF2B5EF4-FFF2-40B4-BE49-F238E27FC236}">
                  <a16:creationId xmlns:a16="http://schemas.microsoft.com/office/drawing/2014/main" id="{D3D77C7E-F042-DC7C-B686-5B769A81D9F4}"/>
                </a:ext>
              </a:extLst>
            </p:cNvPr>
            <p:cNvSpPr/>
            <p:nvPr/>
          </p:nvSpPr>
          <p:spPr>
            <a:xfrm>
              <a:off x="3380820" y="2942637"/>
              <a:ext cx="1117568" cy="468344"/>
            </a:xfrm>
            <a:custGeom>
              <a:avLst/>
              <a:gdLst>
                <a:gd name="connsiteX0" fmla="*/ 1117568 w 1117568"/>
                <a:gd name="connsiteY0" fmla="*/ 208883 h 468344"/>
                <a:gd name="connsiteX1" fmla="*/ 1117568 w 1117568"/>
                <a:gd name="connsiteY1" fmla="*/ 303943 h 468344"/>
                <a:gd name="connsiteX2" fmla="*/ 1047559 w 1117568"/>
                <a:gd name="connsiteY2" fmla="*/ 303276 h 468344"/>
                <a:gd name="connsiteX3" fmla="*/ 1041273 w 1117568"/>
                <a:gd name="connsiteY3" fmla="*/ 303276 h 468344"/>
                <a:gd name="connsiteX4" fmla="*/ 960310 w 1117568"/>
                <a:gd name="connsiteY4" fmla="*/ 384238 h 468344"/>
                <a:gd name="connsiteX5" fmla="*/ 960310 w 1117568"/>
                <a:gd name="connsiteY5" fmla="*/ 398335 h 468344"/>
                <a:gd name="connsiteX6" fmla="*/ 890302 w 1117568"/>
                <a:gd name="connsiteY6" fmla="*/ 468344 h 468344"/>
                <a:gd name="connsiteX7" fmla="*/ 323088 w 1117568"/>
                <a:gd name="connsiteY7" fmla="*/ 468344 h 468344"/>
                <a:gd name="connsiteX8" fmla="*/ 322421 w 1117568"/>
                <a:gd name="connsiteY8" fmla="*/ 398335 h 468344"/>
                <a:gd name="connsiteX9" fmla="*/ 322421 w 1117568"/>
                <a:gd name="connsiteY9" fmla="*/ 384238 h 468344"/>
                <a:gd name="connsiteX10" fmla="*/ 241459 w 1117568"/>
                <a:gd name="connsiteY10" fmla="*/ 303276 h 468344"/>
                <a:gd name="connsiteX11" fmla="*/ 224695 w 1117568"/>
                <a:gd name="connsiteY11" fmla="*/ 303276 h 468344"/>
                <a:gd name="connsiteX12" fmla="*/ 154876 w 1117568"/>
                <a:gd name="connsiteY12" fmla="*/ 238887 h 468344"/>
                <a:gd name="connsiteX13" fmla="*/ 74104 w 1117568"/>
                <a:gd name="connsiteY13" fmla="*/ 164401 h 468344"/>
                <a:gd name="connsiteX14" fmla="*/ 70009 w 1117568"/>
                <a:gd name="connsiteY14" fmla="*/ 164401 h 468344"/>
                <a:gd name="connsiteX15" fmla="*/ 0 w 1117568"/>
                <a:gd name="connsiteY15" fmla="*/ 94393 h 468344"/>
                <a:gd name="connsiteX16" fmla="*/ 0 w 1117568"/>
                <a:gd name="connsiteY16" fmla="*/ 70009 h 468344"/>
                <a:gd name="connsiteX17" fmla="*/ 70009 w 1117568"/>
                <a:gd name="connsiteY17" fmla="*/ 0 h 468344"/>
                <a:gd name="connsiteX18" fmla="*/ 403003 w 1117568"/>
                <a:gd name="connsiteY18" fmla="*/ 0 h 468344"/>
                <a:gd name="connsiteX19" fmla="*/ 452533 w 1117568"/>
                <a:gd name="connsiteY19" fmla="*/ 0 h 468344"/>
                <a:gd name="connsiteX20" fmla="*/ 567880 w 1117568"/>
                <a:gd name="connsiteY20" fmla="*/ 0 h 468344"/>
                <a:gd name="connsiteX21" fmla="*/ 637699 w 1117568"/>
                <a:gd name="connsiteY21" fmla="*/ 64389 h 468344"/>
                <a:gd name="connsiteX22" fmla="*/ 718471 w 1117568"/>
                <a:gd name="connsiteY22" fmla="*/ 138874 h 468344"/>
                <a:gd name="connsiteX23" fmla="*/ 1047655 w 1117568"/>
                <a:gd name="connsiteY23" fmla="*/ 138874 h 468344"/>
                <a:gd name="connsiteX24" fmla="*/ 1117568 w 1117568"/>
                <a:gd name="connsiteY24" fmla="*/ 208883 h 46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17568" h="468344">
                  <a:moveTo>
                    <a:pt x="1117568" y="208883"/>
                  </a:moveTo>
                  <a:lnTo>
                    <a:pt x="1117568" y="303943"/>
                  </a:lnTo>
                  <a:lnTo>
                    <a:pt x="1047559" y="303276"/>
                  </a:lnTo>
                  <a:lnTo>
                    <a:pt x="1041273" y="303276"/>
                  </a:lnTo>
                  <a:cubicBezTo>
                    <a:pt x="996696" y="303276"/>
                    <a:pt x="960310" y="339662"/>
                    <a:pt x="960310" y="384238"/>
                  </a:cubicBezTo>
                  <a:lnTo>
                    <a:pt x="960310" y="398335"/>
                  </a:lnTo>
                  <a:cubicBezTo>
                    <a:pt x="960310" y="436816"/>
                    <a:pt x="928783" y="468344"/>
                    <a:pt x="890302" y="468344"/>
                  </a:cubicBezTo>
                  <a:lnTo>
                    <a:pt x="323088" y="468344"/>
                  </a:lnTo>
                  <a:lnTo>
                    <a:pt x="322421" y="398335"/>
                  </a:lnTo>
                  <a:lnTo>
                    <a:pt x="322421" y="384238"/>
                  </a:lnTo>
                  <a:cubicBezTo>
                    <a:pt x="322421" y="339662"/>
                    <a:pt x="286036" y="303276"/>
                    <a:pt x="241459" y="303276"/>
                  </a:cubicBezTo>
                  <a:lnTo>
                    <a:pt x="224695" y="303276"/>
                  </a:lnTo>
                  <a:cubicBezTo>
                    <a:pt x="188023" y="303276"/>
                    <a:pt x="157734" y="274796"/>
                    <a:pt x="154876" y="238887"/>
                  </a:cubicBezTo>
                  <a:cubicBezTo>
                    <a:pt x="151447" y="196691"/>
                    <a:pt x="116491" y="164401"/>
                    <a:pt x="74104" y="164401"/>
                  </a:cubicBezTo>
                  <a:lnTo>
                    <a:pt x="70009" y="164401"/>
                  </a:lnTo>
                  <a:cubicBezTo>
                    <a:pt x="31528" y="164401"/>
                    <a:pt x="0" y="132874"/>
                    <a:pt x="0" y="94393"/>
                  </a:cubicBezTo>
                  <a:lnTo>
                    <a:pt x="0" y="70009"/>
                  </a:lnTo>
                  <a:cubicBezTo>
                    <a:pt x="0" y="31528"/>
                    <a:pt x="31528" y="0"/>
                    <a:pt x="70009" y="0"/>
                  </a:cubicBezTo>
                  <a:lnTo>
                    <a:pt x="403003" y="0"/>
                  </a:lnTo>
                  <a:lnTo>
                    <a:pt x="452533" y="0"/>
                  </a:lnTo>
                  <a:lnTo>
                    <a:pt x="567880" y="0"/>
                  </a:lnTo>
                  <a:cubicBezTo>
                    <a:pt x="604456" y="0"/>
                    <a:pt x="634841" y="28480"/>
                    <a:pt x="637699" y="64389"/>
                  </a:cubicBezTo>
                  <a:cubicBezTo>
                    <a:pt x="641128" y="106585"/>
                    <a:pt x="676084" y="138874"/>
                    <a:pt x="718471" y="138874"/>
                  </a:cubicBezTo>
                  <a:lnTo>
                    <a:pt x="1047655" y="138874"/>
                  </a:lnTo>
                  <a:cubicBezTo>
                    <a:pt x="1086040" y="138874"/>
                    <a:pt x="1117568" y="170402"/>
                    <a:pt x="1117568" y="208883"/>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22" name="Freeform: Shape 59">
              <a:extLst>
                <a:ext uri="{FF2B5EF4-FFF2-40B4-BE49-F238E27FC236}">
                  <a16:creationId xmlns:a16="http://schemas.microsoft.com/office/drawing/2014/main" id="{6F0EBDFD-3F08-D782-AF03-2305F33666DF}"/>
                </a:ext>
              </a:extLst>
            </p:cNvPr>
            <p:cNvSpPr/>
            <p:nvPr/>
          </p:nvSpPr>
          <p:spPr>
            <a:xfrm>
              <a:off x="4183110" y="3246961"/>
              <a:ext cx="781336" cy="280130"/>
            </a:xfrm>
            <a:custGeom>
              <a:avLst/>
              <a:gdLst>
                <a:gd name="connsiteX0" fmla="*/ 0 w 781336"/>
                <a:gd name="connsiteY0" fmla="*/ 164116 h 280130"/>
                <a:gd name="connsiteX1" fmla="*/ 0 w 781336"/>
                <a:gd name="connsiteY1" fmla="*/ 280130 h 280130"/>
                <a:gd name="connsiteX2" fmla="*/ 241363 w 781336"/>
                <a:gd name="connsiteY2" fmla="*/ 280130 h 280130"/>
                <a:gd name="connsiteX3" fmla="*/ 290894 w 781336"/>
                <a:gd name="connsiteY3" fmla="*/ 280130 h 280130"/>
                <a:gd name="connsiteX4" fmla="*/ 406241 w 781336"/>
                <a:gd name="connsiteY4" fmla="*/ 280130 h 280130"/>
                <a:gd name="connsiteX5" fmla="*/ 476060 w 781336"/>
                <a:gd name="connsiteY5" fmla="*/ 215741 h 280130"/>
                <a:gd name="connsiteX6" fmla="*/ 556832 w 781336"/>
                <a:gd name="connsiteY6" fmla="*/ 141256 h 280130"/>
                <a:gd name="connsiteX7" fmla="*/ 781336 w 781336"/>
                <a:gd name="connsiteY7" fmla="*/ 141256 h 280130"/>
                <a:gd name="connsiteX8" fmla="*/ 781336 w 781336"/>
                <a:gd name="connsiteY8" fmla="*/ 1524 h 280130"/>
                <a:gd name="connsiteX9" fmla="*/ 530162 w 781336"/>
                <a:gd name="connsiteY9" fmla="*/ 1524 h 280130"/>
                <a:gd name="connsiteX10" fmla="*/ 223647 w 781336"/>
                <a:gd name="connsiteY10" fmla="*/ 0 h 280130"/>
                <a:gd name="connsiteX11" fmla="*/ 157925 w 781336"/>
                <a:gd name="connsiteY11" fmla="*/ 80010 h 280130"/>
                <a:gd name="connsiteX12" fmla="*/ 157925 w 781336"/>
                <a:gd name="connsiteY12" fmla="*/ 94107 h 280130"/>
                <a:gd name="connsiteX13" fmla="*/ 87916 w 781336"/>
                <a:gd name="connsiteY13" fmla="*/ 164116 h 280130"/>
                <a:gd name="connsiteX14" fmla="*/ 0 w 781336"/>
                <a:gd name="connsiteY14" fmla="*/ 164116 h 280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1336" h="280130">
                  <a:moveTo>
                    <a:pt x="0" y="164116"/>
                  </a:moveTo>
                  <a:lnTo>
                    <a:pt x="0" y="280130"/>
                  </a:lnTo>
                  <a:lnTo>
                    <a:pt x="241363" y="280130"/>
                  </a:lnTo>
                  <a:lnTo>
                    <a:pt x="290894" y="280130"/>
                  </a:lnTo>
                  <a:lnTo>
                    <a:pt x="406241" y="280130"/>
                  </a:lnTo>
                  <a:cubicBezTo>
                    <a:pt x="442817" y="280130"/>
                    <a:pt x="473202" y="251651"/>
                    <a:pt x="476060" y="215741"/>
                  </a:cubicBezTo>
                  <a:cubicBezTo>
                    <a:pt x="479488" y="173546"/>
                    <a:pt x="514445" y="141256"/>
                    <a:pt x="556832" y="141256"/>
                  </a:cubicBezTo>
                  <a:lnTo>
                    <a:pt x="781336" y="141256"/>
                  </a:lnTo>
                  <a:lnTo>
                    <a:pt x="781336" y="1524"/>
                  </a:lnTo>
                  <a:lnTo>
                    <a:pt x="530162" y="1524"/>
                  </a:lnTo>
                  <a:lnTo>
                    <a:pt x="223647" y="0"/>
                  </a:lnTo>
                  <a:cubicBezTo>
                    <a:pt x="188500" y="8858"/>
                    <a:pt x="157925" y="42196"/>
                    <a:pt x="157925" y="80010"/>
                  </a:cubicBezTo>
                  <a:lnTo>
                    <a:pt x="157925" y="94107"/>
                  </a:lnTo>
                  <a:cubicBezTo>
                    <a:pt x="157925" y="132588"/>
                    <a:pt x="126397" y="164116"/>
                    <a:pt x="87916" y="164116"/>
                  </a:cubicBezTo>
                  <a:lnTo>
                    <a:pt x="0" y="164116"/>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23" name="Freeform: Shape 60">
              <a:extLst>
                <a:ext uri="{FF2B5EF4-FFF2-40B4-BE49-F238E27FC236}">
                  <a16:creationId xmlns:a16="http://schemas.microsoft.com/office/drawing/2014/main" id="{26FD5FCB-A659-C66D-4A11-CBCF2BC06EBA}"/>
                </a:ext>
              </a:extLst>
            </p:cNvPr>
            <p:cNvSpPr/>
            <p:nvPr/>
          </p:nvSpPr>
          <p:spPr>
            <a:xfrm>
              <a:off x="3700479" y="2359612"/>
              <a:ext cx="1578101" cy="888872"/>
            </a:xfrm>
            <a:custGeom>
              <a:avLst/>
              <a:gdLst>
                <a:gd name="connsiteX0" fmla="*/ 1423702 w 1578101"/>
                <a:gd name="connsiteY0" fmla="*/ 828389 h 888872"/>
                <a:gd name="connsiteX1" fmla="*/ 1363218 w 1578101"/>
                <a:gd name="connsiteY1" fmla="*/ 888873 h 888872"/>
                <a:gd name="connsiteX2" fmla="*/ 1012793 w 1578101"/>
                <a:gd name="connsiteY2" fmla="*/ 888873 h 888872"/>
                <a:gd name="connsiteX3" fmla="*/ 797909 w 1578101"/>
                <a:gd name="connsiteY3" fmla="*/ 887063 h 888872"/>
                <a:gd name="connsiteX4" fmla="*/ 797909 w 1578101"/>
                <a:gd name="connsiteY4" fmla="*/ 792004 h 888872"/>
                <a:gd name="connsiteX5" fmla="*/ 727900 w 1578101"/>
                <a:gd name="connsiteY5" fmla="*/ 721995 h 888872"/>
                <a:gd name="connsiteX6" fmla="*/ 398716 w 1578101"/>
                <a:gd name="connsiteY6" fmla="*/ 721995 h 888872"/>
                <a:gd name="connsiteX7" fmla="*/ 317945 w 1578101"/>
                <a:gd name="connsiteY7" fmla="*/ 647509 h 888872"/>
                <a:gd name="connsiteX8" fmla="*/ 248126 w 1578101"/>
                <a:gd name="connsiteY8" fmla="*/ 583120 h 888872"/>
                <a:gd name="connsiteX9" fmla="*/ 132683 w 1578101"/>
                <a:gd name="connsiteY9" fmla="*/ 583120 h 888872"/>
                <a:gd name="connsiteX10" fmla="*/ 83153 w 1578101"/>
                <a:gd name="connsiteY10" fmla="*/ 583120 h 888872"/>
                <a:gd name="connsiteX11" fmla="*/ 0 w 1578101"/>
                <a:gd name="connsiteY11" fmla="*/ 583120 h 888872"/>
                <a:gd name="connsiteX12" fmla="*/ 0 w 1578101"/>
                <a:gd name="connsiteY12" fmla="*/ 60484 h 888872"/>
                <a:gd name="connsiteX13" fmla="*/ 60484 w 1578101"/>
                <a:gd name="connsiteY13" fmla="*/ 0 h 888872"/>
                <a:gd name="connsiteX14" fmla="*/ 1420939 w 1578101"/>
                <a:gd name="connsiteY14" fmla="*/ 0 h 888872"/>
                <a:gd name="connsiteX15" fmla="*/ 1420939 w 1578101"/>
                <a:gd name="connsiteY15" fmla="*/ 338328 h 888872"/>
                <a:gd name="connsiteX16" fmla="*/ 1420939 w 1578101"/>
                <a:gd name="connsiteY16" fmla="*/ 390716 h 888872"/>
                <a:gd name="connsiteX17" fmla="*/ 1481423 w 1578101"/>
                <a:gd name="connsiteY17" fmla="*/ 451199 h 888872"/>
                <a:gd name="connsiteX18" fmla="*/ 1575721 w 1578101"/>
                <a:gd name="connsiteY18" fmla="*/ 451199 h 888872"/>
                <a:gd name="connsiteX19" fmla="*/ 1578102 w 1578101"/>
                <a:gd name="connsiteY19" fmla="*/ 729996 h 888872"/>
                <a:gd name="connsiteX20" fmla="*/ 1496282 w 1578101"/>
                <a:gd name="connsiteY20" fmla="*/ 729996 h 888872"/>
                <a:gd name="connsiteX21" fmla="*/ 1423797 w 1578101"/>
                <a:gd name="connsiteY21" fmla="*/ 797624 h 888872"/>
                <a:gd name="connsiteX22" fmla="*/ 1423702 w 1578101"/>
                <a:gd name="connsiteY22" fmla="*/ 828389 h 88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8101" h="888872">
                  <a:moveTo>
                    <a:pt x="1423702" y="828389"/>
                  </a:moveTo>
                  <a:cubicBezTo>
                    <a:pt x="1423511" y="861632"/>
                    <a:pt x="1396460" y="888873"/>
                    <a:pt x="1363218" y="888873"/>
                  </a:cubicBezTo>
                  <a:lnTo>
                    <a:pt x="1012793" y="888873"/>
                  </a:lnTo>
                  <a:lnTo>
                    <a:pt x="797909" y="887063"/>
                  </a:lnTo>
                  <a:lnTo>
                    <a:pt x="797909" y="792004"/>
                  </a:lnTo>
                  <a:cubicBezTo>
                    <a:pt x="797909" y="753523"/>
                    <a:pt x="766381" y="721995"/>
                    <a:pt x="727900" y="721995"/>
                  </a:cubicBezTo>
                  <a:lnTo>
                    <a:pt x="398716" y="721995"/>
                  </a:lnTo>
                  <a:cubicBezTo>
                    <a:pt x="356425" y="721995"/>
                    <a:pt x="321373" y="689705"/>
                    <a:pt x="317945" y="647509"/>
                  </a:cubicBezTo>
                  <a:cubicBezTo>
                    <a:pt x="315087" y="611600"/>
                    <a:pt x="284797" y="583120"/>
                    <a:pt x="248126" y="583120"/>
                  </a:cubicBezTo>
                  <a:lnTo>
                    <a:pt x="132683" y="583120"/>
                  </a:lnTo>
                  <a:lnTo>
                    <a:pt x="83153" y="583120"/>
                  </a:lnTo>
                  <a:lnTo>
                    <a:pt x="0" y="583120"/>
                  </a:lnTo>
                  <a:lnTo>
                    <a:pt x="0" y="60484"/>
                  </a:lnTo>
                  <a:cubicBezTo>
                    <a:pt x="0" y="27242"/>
                    <a:pt x="27241" y="0"/>
                    <a:pt x="60484" y="0"/>
                  </a:cubicBezTo>
                  <a:lnTo>
                    <a:pt x="1420939" y="0"/>
                  </a:lnTo>
                  <a:lnTo>
                    <a:pt x="1420939" y="338328"/>
                  </a:lnTo>
                  <a:lnTo>
                    <a:pt x="1420939" y="390716"/>
                  </a:lnTo>
                  <a:cubicBezTo>
                    <a:pt x="1420939" y="423958"/>
                    <a:pt x="1448181" y="451199"/>
                    <a:pt x="1481423" y="451199"/>
                  </a:cubicBezTo>
                  <a:lnTo>
                    <a:pt x="1575721" y="451199"/>
                  </a:lnTo>
                  <a:lnTo>
                    <a:pt x="1578102" y="729996"/>
                  </a:lnTo>
                  <a:lnTo>
                    <a:pt x="1496282" y="729996"/>
                  </a:lnTo>
                  <a:cubicBezTo>
                    <a:pt x="1457801" y="729996"/>
                    <a:pt x="1423988" y="759047"/>
                    <a:pt x="1423797" y="797624"/>
                  </a:cubicBezTo>
                  <a:lnTo>
                    <a:pt x="1423702" y="828389"/>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24" name="Freeform: Shape 61">
              <a:extLst>
                <a:ext uri="{FF2B5EF4-FFF2-40B4-BE49-F238E27FC236}">
                  <a16:creationId xmlns:a16="http://schemas.microsoft.com/office/drawing/2014/main" id="{BB2A79DE-7BFF-00A8-DA98-F3A75DD6DBA0}"/>
                </a:ext>
              </a:extLst>
            </p:cNvPr>
            <p:cNvSpPr/>
            <p:nvPr/>
          </p:nvSpPr>
          <p:spPr>
            <a:xfrm>
              <a:off x="2589388" y="2358278"/>
              <a:ext cx="1112234" cy="1175003"/>
            </a:xfrm>
            <a:custGeom>
              <a:avLst/>
              <a:gdLst>
                <a:gd name="connsiteX0" fmla="*/ 162115 w 1112234"/>
                <a:gd name="connsiteY0" fmla="*/ 371475 h 1175003"/>
                <a:gd name="connsiteX1" fmla="*/ 162115 w 1112234"/>
                <a:gd name="connsiteY1" fmla="*/ 164402 h 1175003"/>
                <a:gd name="connsiteX2" fmla="*/ 219837 w 1112234"/>
                <a:gd name="connsiteY2" fmla="*/ 164116 h 1175003"/>
                <a:gd name="connsiteX3" fmla="*/ 246412 w 1112234"/>
                <a:gd name="connsiteY3" fmla="*/ 164116 h 1175003"/>
                <a:gd name="connsiteX4" fmla="*/ 322802 w 1112234"/>
                <a:gd name="connsiteY4" fmla="*/ 87725 h 1175003"/>
                <a:gd name="connsiteX5" fmla="*/ 322802 w 1112234"/>
                <a:gd name="connsiteY5" fmla="*/ 69723 h 1175003"/>
                <a:gd name="connsiteX6" fmla="*/ 279844 w 1112234"/>
                <a:gd name="connsiteY6" fmla="*/ 1143 h 1175003"/>
                <a:gd name="connsiteX7" fmla="*/ 876872 w 1112234"/>
                <a:gd name="connsiteY7" fmla="*/ 0 h 1175003"/>
                <a:gd name="connsiteX8" fmla="*/ 948309 w 1112234"/>
                <a:gd name="connsiteY8" fmla="*/ 69723 h 1175003"/>
                <a:gd name="connsiteX9" fmla="*/ 948309 w 1112234"/>
                <a:gd name="connsiteY9" fmla="*/ 87725 h 1175003"/>
                <a:gd name="connsiteX10" fmla="*/ 1024699 w 1112234"/>
                <a:gd name="connsiteY10" fmla="*/ 164116 h 1175003"/>
                <a:gd name="connsiteX11" fmla="*/ 1051274 w 1112234"/>
                <a:gd name="connsiteY11" fmla="*/ 164116 h 1175003"/>
                <a:gd name="connsiteX12" fmla="*/ 1112234 w 1112234"/>
                <a:gd name="connsiteY12" fmla="*/ 133636 h 1175003"/>
                <a:gd name="connsiteX13" fmla="*/ 1112234 w 1112234"/>
                <a:gd name="connsiteY13" fmla="*/ 584263 h 1175003"/>
                <a:gd name="connsiteX14" fmla="*/ 861346 w 1112234"/>
                <a:gd name="connsiteY14" fmla="*/ 584263 h 1175003"/>
                <a:gd name="connsiteX15" fmla="*/ 791337 w 1112234"/>
                <a:gd name="connsiteY15" fmla="*/ 654272 h 1175003"/>
                <a:gd name="connsiteX16" fmla="*/ 791337 w 1112234"/>
                <a:gd name="connsiteY16" fmla="*/ 678656 h 1175003"/>
                <a:gd name="connsiteX17" fmla="*/ 861346 w 1112234"/>
                <a:gd name="connsiteY17" fmla="*/ 748665 h 1175003"/>
                <a:gd name="connsiteX18" fmla="*/ 865441 w 1112234"/>
                <a:gd name="connsiteY18" fmla="*/ 748665 h 1175003"/>
                <a:gd name="connsiteX19" fmla="*/ 946213 w 1112234"/>
                <a:gd name="connsiteY19" fmla="*/ 823150 h 1175003"/>
                <a:gd name="connsiteX20" fmla="*/ 1016032 w 1112234"/>
                <a:gd name="connsiteY20" fmla="*/ 887539 h 1175003"/>
                <a:gd name="connsiteX21" fmla="*/ 1032796 w 1112234"/>
                <a:gd name="connsiteY21" fmla="*/ 887539 h 1175003"/>
                <a:gd name="connsiteX22" fmla="*/ 1112234 w 1112234"/>
                <a:gd name="connsiteY22" fmla="*/ 952786 h 1175003"/>
                <a:gd name="connsiteX23" fmla="*/ 1112234 w 1112234"/>
                <a:gd name="connsiteY23" fmla="*/ 1103948 h 1175003"/>
                <a:gd name="connsiteX24" fmla="*/ 1042225 w 1112234"/>
                <a:gd name="connsiteY24" fmla="*/ 1173956 h 1175003"/>
                <a:gd name="connsiteX25" fmla="*/ 743236 w 1112234"/>
                <a:gd name="connsiteY25" fmla="*/ 1173956 h 1175003"/>
                <a:gd name="connsiteX26" fmla="*/ 735330 w 1112234"/>
                <a:gd name="connsiteY26" fmla="*/ 1174337 h 1175003"/>
                <a:gd name="connsiteX27" fmla="*/ 720757 w 1112234"/>
                <a:gd name="connsiteY27" fmla="*/ 1175004 h 1175003"/>
                <a:gd name="connsiteX28" fmla="*/ 162782 w 1112234"/>
                <a:gd name="connsiteY28" fmla="*/ 1175004 h 1175003"/>
                <a:gd name="connsiteX29" fmla="*/ 162782 w 1112234"/>
                <a:gd name="connsiteY29" fmla="*/ 1111853 h 1175003"/>
                <a:gd name="connsiteX30" fmla="*/ 81820 w 1112234"/>
                <a:gd name="connsiteY30" fmla="*/ 1030891 h 1175003"/>
                <a:gd name="connsiteX31" fmla="*/ 70009 w 1112234"/>
                <a:gd name="connsiteY31" fmla="*/ 1030891 h 1175003"/>
                <a:gd name="connsiteX32" fmla="*/ 0 w 1112234"/>
                <a:gd name="connsiteY32" fmla="*/ 960882 h 1175003"/>
                <a:gd name="connsiteX33" fmla="*/ 0 w 1112234"/>
                <a:gd name="connsiteY33" fmla="*/ 522446 h 1175003"/>
                <a:gd name="connsiteX34" fmla="*/ 70009 w 1112234"/>
                <a:gd name="connsiteY34" fmla="*/ 452438 h 1175003"/>
                <a:gd name="connsiteX35" fmla="*/ 81153 w 1112234"/>
                <a:gd name="connsiteY35" fmla="*/ 452438 h 1175003"/>
                <a:gd name="connsiteX36" fmla="*/ 162115 w 1112234"/>
                <a:gd name="connsiteY36" fmla="*/ 371475 h 1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12234" h="1175003">
                  <a:moveTo>
                    <a:pt x="162115" y="371475"/>
                  </a:moveTo>
                  <a:lnTo>
                    <a:pt x="162115" y="164402"/>
                  </a:lnTo>
                  <a:lnTo>
                    <a:pt x="219837" y="164116"/>
                  </a:lnTo>
                  <a:lnTo>
                    <a:pt x="246412" y="164116"/>
                  </a:lnTo>
                  <a:cubicBezTo>
                    <a:pt x="288417" y="164116"/>
                    <a:pt x="322802" y="129730"/>
                    <a:pt x="322802" y="87725"/>
                  </a:cubicBezTo>
                  <a:lnTo>
                    <a:pt x="322802" y="69723"/>
                  </a:lnTo>
                  <a:cubicBezTo>
                    <a:pt x="322802" y="39719"/>
                    <a:pt x="305181" y="13621"/>
                    <a:pt x="279844" y="1143"/>
                  </a:cubicBezTo>
                  <a:cubicBezTo>
                    <a:pt x="462439" y="1143"/>
                    <a:pt x="695897" y="0"/>
                    <a:pt x="876872" y="0"/>
                  </a:cubicBezTo>
                  <a:cubicBezTo>
                    <a:pt x="939736" y="1524"/>
                    <a:pt x="948309" y="38767"/>
                    <a:pt x="948309" y="69723"/>
                  </a:cubicBezTo>
                  <a:lnTo>
                    <a:pt x="948309" y="87725"/>
                  </a:lnTo>
                  <a:cubicBezTo>
                    <a:pt x="948309" y="129730"/>
                    <a:pt x="982694" y="164116"/>
                    <a:pt x="1024699" y="164116"/>
                  </a:cubicBezTo>
                  <a:lnTo>
                    <a:pt x="1051274" y="164116"/>
                  </a:lnTo>
                  <a:cubicBezTo>
                    <a:pt x="1076134" y="164116"/>
                    <a:pt x="1098232" y="152114"/>
                    <a:pt x="1112234" y="133636"/>
                  </a:cubicBezTo>
                  <a:lnTo>
                    <a:pt x="1112234" y="584263"/>
                  </a:lnTo>
                  <a:lnTo>
                    <a:pt x="861346" y="584263"/>
                  </a:lnTo>
                  <a:cubicBezTo>
                    <a:pt x="822865" y="584263"/>
                    <a:pt x="791337" y="615791"/>
                    <a:pt x="791337" y="654272"/>
                  </a:cubicBezTo>
                  <a:lnTo>
                    <a:pt x="791337" y="678656"/>
                  </a:lnTo>
                  <a:cubicBezTo>
                    <a:pt x="791337" y="717137"/>
                    <a:pt x="822865" y="748665"/>
                    <a:pt x="861346" y="748665"/>
                  </a:cubicBezTo>
                  <a:lnTo>
                    <a:pt x="865441" y="748665"/>
                  </a:lnTo>
                  <a:cubicBezTo>
                    <a:pt x="907828" y="748665"/>
                    <a:pt x="942784" y="780955"/>
                    <a:pt x="946213" y="823150"/>
                  </a:cubicBezTo>
                  <a:cubicBezTo>
                    <a:pt x="949071" y="859060"/>
                    <a:pt x="979360" y="887539"/>
                    <a:pt x="1016032" y="887539"/>
                  </a:cubicBezTo>
                  <a:lnTo>
                    <a:pt x="1032796" y="887539"/>
                  </a:lnTo>
                  <a:cubicBezTo>
                    <a:pt x="1072039" y="887539"/>
                    <a:pt x="1104900" y="915638"/>
                    <a:pt x="1112234" y="952786"/>
                  </a:cubicBezTo>
                  <a:lnTo>
                    <a:pt x="1112234" y="1103948"/>
                  </a:lnTo>
                  <a:cubicBezTo>
                    <a:pt x="1112234" y="1142429"/>
                    <a:pt x="1080706" y="1173956"/>
                    <a:pt x="1042225" y="1173956"/>
                  </a:cubicBezTo>
                  <a:lnTo>
                    <a:pt x="743236" y="1173956"/>
                  </a:lnTo>
                  <a:cubicBezTo>
                    <a:pt x="740473" y="1173956"/>
                    <a:pt x="738092" y="1174052"/>
                    <a:pt x="735330" y="1174337"/>
                  </a:cubicBezTo>
                  <a:cubicBezTo>
                    <a:pt x="730567" y="1174814"/>
                    <a:pt x="725710" y="1175004"/>
                    <a:pt x="720757" y="1175004"/>
                  </a:cubicBezTo>
                  <a:lnTo>
                    <a:pt x="162782" y="1175004"/>
                  </a:lnTo>
                  <a:lnTo>
                    <a:pt x="162782" y="1111853"/>
                  </a:lnTo>
                  <a:cubicBezTo>
                    <a:pt x="162782" y="1067276"/>
                    <a:pt x="126397" y="1030891"/>
                    <a:pt x="81820" y="1030891"/>
                  </a:cubicBezTo>
                  <a:lnTo>
                    <a:pt x="70009" y="1030891"/>
                  </a:lnTo>
                  <a:cubicBezTo>
                    <a:pt x="31528" y="1030891"/>
                    <a:pt x="0" y="999363"/>
                    <a:pt x="0" y="960882"/>
                  </a:cubicBezTo>
                  <a:lnTo>
                    <a:pt x="0" y="522446"/>
                  </a:lnTo>
                  <a:cubicBezTo>
                    <a:pt x="0" y="483965"/>
                    <a:pt x="31528" y="452438"/>
                    <a:pt x="70009" y="452438"/>
                  </a:cubicBezTo>
                  <a:lnTo>
                    <a:pt x="81153" y="452438"/>
                  </a:lnTo>
                  <a:cubicBezTo>
                    <a:pt x="125730" y="452438"/>
                    <a:pt x="162115" y="416052"/>
                    <a:pt x="162115" y="371475"/>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25" name="Freeform: Shape 62">
              <a:extLst>
                <a:ext uri="{FF2B5EF4-FFF2-40B4-BE49-F238E27FC236}">
                  <a16:creationId xmlns:a16="http://schemas.microsoft.com/office/drawing/2014/main" id="{A591211D-F84F-DAD3-449F-C9119D41CE66}"/>
                </a:ext>
              </a:extLst>
            </p:cNvPr>
            <p:cNvSpPr/>
            <p:nvPr/>
          </p:nvSpPr>
          <p:spPr>
            <a:xfrm>
              <a:off x="2763124" y="1790874"/>
              <a:ext cx="304800" cy="536924"/>
            </a:xfrm>
            <a:custGeom>
              <a:avLst/>
              <a:gdLst>
                <a:gd name="connsiteX0" fmla="*/ 303657 w 304800"/>
                <a:gd name="connsiteY0" fmla="*/ 536639 h 536924"/>
                <a:gd name="connsiteX1" fmla="*/ 304800 w 304800"/>
                <a:gd name="connsiteY1" fmla="*/ 57626 h 536924"/>
                <a:gd name="connsiteX2" fmla="*/ 247174 w 304800"/>
                <a:gd name="connsiteY2" fmla="*/ 0 h 536924"/>
                <a:gd name="connsiteX3" fmla="*/ 227076 w 304800"/>
                <a:gd name="connsiteY3" fmla="*/ 0 h 536924"/>
                <a:gd name="connsiteX4" fmla="*/ 169450 w 304800"/>
                <a:gd name="connsiteY4" fmla="*/ 57626 h 536924"/>
                <a:gd name="connsiteX5" fmla="*/ 169450 w 304800"/>
                <a:gd name="connsiteY5" fmla="*/ 66866 h 536924"/>
                <a:gd name="connsiteX6" fmla="*/ 88487 w 304800"/>
                <a:gd name="connsiteY6" fmla="*/ 147828 h 536924"/>
                <a:gd name="connsiteX7" fmla="*/ 76390 w 304800"/>
                <a:gd name="connsiteY7" fmla="*/ 147828 h 536924"/>
                <a:gd name="connsiteX8" fmla="*/ 0 w 304800"/>
                <a:gd name="connsiteY8" fmla="*/ 224219 h 536924"/>
                <a:gd name="connsiteX9" fmla="*/ 0 w 304800"/>
                <a:gd name="connsiteY9" fmla="*/ 432340 h 536924"/>
                <a:gd name="connsiteX10" fmla="*/ 0 w 304800"/>
                <a:gd name="connsiteY10" fmla="*/ 434531 h 536924"/>
                <a:gd name="connsiteX11" fmla="*/ 0 w 304800"/>
                <a:gd name="connsiteY11" fmla="*/ 439579 h 536924"/>
                <a:gd name="connsiteX12" fmla="*/ 0 w 304800"/>
                <a:gd name="connsiteY12" fmla="*/ 441770 h 536924"/>
                <a:gd name="connsiteX13" fmla="*/ 0 w 304800"/>
                <a:gd name="connsiteY13" fmla="*/ 459772 h 536924"/>
                <a:gd name="connsiteX14" fmla="*/ 76390 w 304800"/>
                <a:gd name="connsiteY14" fmla="*/ 536162 h 536924"/>
                <a:gd name="connsiteX15" fmla="*/ 94107 w 304800"/>
                <a:gd name="connsiteY15" fmla="*/ 536162 h 536924"/>
                <a:gd name="connsiteX16" fmla="*/ 117824 w 304800"/>
                <a:gd name="connsiteY16" fmla="*/ 536924 h 536924"/>
                <a:gd name="connsiteX17" fmla="*/ 303657 w 304800"/>
                <a:gd name="connsiteY17" fmla="*/ 536639 h 53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800" h="536924">
                  <a:moveTo>
                    <a:pt x="303657" y="536639"/>
                  </a:moveTo>
                  <a:lnTo>
                    <a:pt x="304800" y="57626"/>
                  </a:lnTo>
                  <a:cubicBezTo>
                    <a:pt x="304800" y="25908"/>
                    <a:pt x="278892" y="0"/>
                    <a:pt x="247174" y="0"/>
                  </a:cubicBezTo>
                  <a:lnTo>
                    <a:pt x="227076" y="0"/>
                  </a:lnTo>
                  <a:cubicBezTo>
                    <a:pt x="195358" y="0"/>
                    <a:pt x="169450" y="25908"/>
                    <a:pt x="169450" y="57626"/>
                  </a:cubicBezTo>
                  <a:lnTo>
                    <a:pt x="169450" y="66866"/>
                  </a:lnTo>
                  <a:cubicBezTo>
                    <a:pt x="169450" y="111443"/>
                    <a:pt x="133064" y="147828"/>
                    <a:pt x="88487" y="147828"/>
                  </a:cubicBezTo>
                  <a:lnTo>
                    <a:pt x="76390" y="147828"/>
                  </a:lnTo>
                  <a:cubicBezTo>
                    <a:pt x="34385" y="147828"/>
                    <a:pt x="0" y="182213"/>
                    <a:pt x="0" y="224219"/>
                  </a:cubicBezTo>
                  <a:lnTo>
                    <a:pt x="0" y="432340"/>
                  </a:lnTo>
                  <a:cubicBezTo>
                    <a:pt x="0" y="433102"/>
                    <a:pt x="0" y="433864"/>
                    <a:pt x="0" y="434531"/>
                  </a:cubicBezTo>
                  <a:cubicBezTo>
                    <a:pt x="95" y="436340"/>
                    <a:pt x="95" y="437864"/>
                    <a:pt x="0" y="439579"/>
                  </a:cubicBezTo>
                  <a:cubicBezTo>
                    <a:pt x="0" y="440341"/>
                    <a:pt x="0" y="441008"/>
                    <a:pt x="0" y="441770"/>
                  </a:cubicBezTo>
                  <a:lnTo>
                    <a:pt x="0" y="459772"/>
                  </a:lnTo>
                  <a:cubicBezTo>
                    <a:pt x="0" y="501777"/>
                    <a:pt x="34385" y="536162"/>
                    <a:pt x="76390" y="536162"/>
                  </a:cubicBezTo>
                  <a:lnTo>
                    <a:pt x="94107" y="536162"/>
                  </a:lnTo>
                  <a:cubicBezTo>
                    <a:pt x="102775" y="536162"/>
                    <a:pt x="108871" y="536924"/>
                    <a:pt x="117824" y="536924"/>
                  </a:cubicBezTo>
                  <a:cubicBezTo>
                    <a:pt x="176022" y="536924"/>
                    <a:pt x="238982" y="536829"/>
                    <a:pt x="303657" y="53663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26" name="Freeform: Shape 63">
              <a:extLst>
                <a:ext uri="{FF2B5EF4-FFF2-40B4-BE49-F238E27FC236}">
                  <a16:creationId xmlns:a16="http://schemas.microsoft.com/office/drawing/2014/main" id="{6E9D30F0-5EAC-5BAE-3160-96625D08690F}"/>
                </a:ext>
              </a:extLst>
            </p:cNvPr>
            <p:cNvSpPr/>
            <p:nvPr/>
          </p:nvSpPr>
          <p:spPr>
            <a:xfrm>
              <a:off x="3109262" y="2015378"/>
              <a:ext cx="266318" cy="238580"/>
            </a:xfrm>
            <a:custGeom>
              <a:avLst/>
              <a:gdLst>
                <a:gd name="connsiteX0" fmla="*/ 208693 w 266318"/>
                <a:gd name="connsiteY0" fmla="*/ 71533 h 238580"/>
                <a:gd name="connsiteX1" fmla="*/ 188690 w 266318"/>
                <a:gd name="connsiteY1" fmla="*/ 71533 h 238580"/>
                <a:gd name="connsiteX2" fmla="*/ 183547 w 266318"/>
                <a:gd name="connsiteY2" fmla="*/ 71818 h 238580"/>
                <a:gd name="connsiteX3" fmla="*/ 183547 w 266318"/>
                <a:gd name="connsiteY3" fmla="*/ 15907 h 238580"/>
                <a:gd name="connsiteX4" fmla="*/ 148876 w 266318"/>
                <a:gd name="connsiteY4" fmla="*/ 286 h 238580"/>
                <a:gd name="connsiteX5" fmla="*/ 136779 w 266318"/>
                <a:gd name="connsiteY5" fmla="*/ 286 h 238580"/>
                <a:gd name="connsiteX6" fmla="*/ 46006 w 266318"/>
                <a:gd name="connsiteY6" fmla="*/ 0 h 238580"/>
                <a:gd name="connsiteX7" fmla="*/ 0 w 266318"/>
                <a:gd name="connsiteY7" fmla="*/ 46006 h 238580"/>
                <a:gd name="connsiteX8" fmla="*/ 0 w 266318"/>
                <a:gd name="connsiteY8" fmla="*/ 134969 h 238580"/>
                <a:gd name="connsiteX9" fmla="*/ 0 w 266318"/>
                <a:gd name="connsiteY9" fmla="*/ 174403 h 238580"/>
                <a:gd name="connsiteX10" fmla="*/ 0 w 266318"/>
                <a:gd name="connsiteY10" fmla="*/ 177451 h 238580"/>
                <a:gd name="connsiteX11" fmla="*/ 0 w 266318"/>
                <a:gd name="connsiteY11" fmla="*/ 178784 h 238580"/>
                <a:gd name="connsiteX12" fmla="*/ 0 w 266318"/>
                <a:gd name="connsiteY12" fmla="*/ 189643 h 238580"/>
                <a:gd name="connsiteX13" fmla="*/ 48768 w 266318"/>
                <a:gd name="connsiteY13" fmla="*/ 238411 h 238580"/>
                <a:gd name="connsiteX14" fmla="*/ 56674 w 266318"/>
                <a:gd name="connsiteY14" fmla="*/ 238411 h 238580"/>
                <a:gd name="connsiteX15" fmla="*/ 180213 w 266318"/>
                <a:gd name="connsiteY15" fmla="*/ 238411 h 238580"/>
                <a:gd name="connsiteX16" fmla="*/ 188690 w 266318"/>
                <a:gd name="connsiteY16" fmla="*/ 238411 h 238580"/>
                <a:gd name="connsiteX17" fmla="*/ 208693 w 266318"/>
                <a:gd name="connsiteY17" fmla="*/ 238411 h 238580"/>
                <a:gd name="connsiteX18" fmla="*/ 266319 w 266318"/>
                <a:gd name="connsiteY18" fmla="*/ 180784 h 238580"/>
                <a:gd name="connsiteX19" fmla="*/ 266319 w 266318"/>
                <a:gd name="connsiteY19" fmla="*/ 129159 h 238580"/>
                <a:gd name="connsiteX20" fmla="*/ 208693 w 266318"/>
                <a:gd name="connsiteY20" fmla="*/ 71533 h 2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318" h="238580">
                  <a:moveTo>
                    <a:pt x="208693" y="71533"/>
                  </a:moveTo>
                  <a:lnTo>
                    <a:pt x="188690" y="71533"/>
                  </a:lnTo>
                  <a:cubicBezTo>
                    <a:pt x="186976" y="71533"/>
                    <a:pt x="185261" y="71628"/>
                    <a:pt x="183547" y="71818"/>
                  </a:cubicBezTo>
                  <a:lnTo>
                    <a:pt x="183547" y="15907"/>
                  </a:lnTo>
                  <a:cubicBezTo>
                    <a:pt x="183547" y="-3143"/>
                    <a:pt x="167926" y="286"/>
                    <a:pt x="148876" y="286"/>
                  </a:cubicBezTo>
                  <a:lnTo>
                    <a:pt x="136779" y="286"/>
                  </a:lnTo>
                  <a:cubicBezTo>
                    <a:pt x="117729" y="286"/>
                    <a:pt x="46006" y="0"/>
                    <a:pt x="46006" y="0"/>
                  </a:cubicBezTo>
                  <a:cubicBezTo>
                    <a:pt x="20669" y="0"/>
                    <a:pt x="0" y="20669"/>
                    <a:pt x="0" y="46006"/>
                  </a:cubicBezTo>
                  <a:lnTo>
                    <a:pt x="0" y="134969"/>
                  </a:lnTo>
                  <a:cubicBezTo>
                    <a:pt x="0" y="135446"/>
                    <a:pt x="0" y="173926"/>
                    <a:pt x="0" y="174403"/>
                  </a:cubicBezTo>
                  <a:cubicBezTo>
                    <a:pt x="0" y="175450"/>
                    <a:pt x="0" y="176403"/>
                    <a:pt x="0" y="177451"/>
                  </a:cubicBezTo>
                  <a:cubicBezTo>
                    <a:pt x="0" y="177927"/>
                    <a:pt x="0" y="178308"/>
                    <a:pt x="0" y="178784"/>
                  </a:cubicBezTo>
                  <a:lnTo>
                    <a:pt x="0" y="189643"/>
                  </a:lnTo>
                  <a:cubicBezTo>
                    <a:pt x="0" y="216503"/>
                    <a:pt x="22003" y="238411"/>
                    <a:pt x="48768" y="238411"/>
                  </a:cubicBezTo>
                  <a:lnTo>
                    <a:pt x="56674" y="238411"/>
                  </a:lnTo>
                  <a:cubicBezTo>
                    <a:pt x="61913" y="238411"/>
                    <a:pt x="142494" y="238506"/>
                    <a:pt x="180213" y="238411"/>
                  </a:cubicBezTo>
                  <a:cubicBezTo>
                    <a:pt x="182975" y="238792"/>
                    <a:pt x="185833" y="238411"/>
                    <a:pt x="188690" y="238411"/>
                  </a:cubicBezTo>
                  <a:lnTo>
                    <a:pt x="208693" y="238411"/>
                  </a:lnTo>
                  <a:cubicBezTo>
                    <a:pt x="240411" y="238411"/>
                    <a:pt x="266319" y="212503"/>
                    <a:pt x="266319" y="180784"/>
                  </a:cubicBezTo>
                  <a:lnTo>
                    <a:pt x="266319" y="129159"/>
                  </a:lnTo>
                  <a:cubicBezTo>
                    <a:pt x="266319" y="97441"/>
                    <a:pt x="240411" y="71533"/>
                    <a:pt x="208693" y="71533"/>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27" name="Freeform: Shape 64">
              <a:extLst>
                <a:ext uri="{FF2B5EF4-FFF2-40B4-BE49-F238E27FC236}">
                  <a16:creationId xmlns:a16="http://schemas.microsoft.com/office/drawing/2014/main" id="{787D069B-B9D0-A4C4-F7D6-61D8A254D748}"/>
                </a:ext>
              </a:extLst>
            </p:cNvPr>
            <p:cNvSpPr/>
            <p:nvPr/>
          </p:nvSpPr>
          <p:spPr>
            <a:xfrm>
              <a:off x="2926191" y="4271089"/>
              <a:ext cx="135255" cy="274415"/>
            </a:xfrm>
            <a:custGeom>
              <a:avLst/>
              <a:gdLst>
                <a:gd name="connsiteX0" fmla="*/ 57626 w 135255"/>
                <a:gd name="connsiteY0" fmla="*/ 274415 h 274415"/>
                <a:gd name="connsiteX1" fmla="*/ 77629 w 135255"/>
                <a:gd name="connsiteY1" fmla="*/ 274415 h 274415"/>
                <a:gd name="connsiteX2" fmla="*/ 135255 w 135255"/>
                <a:gd name="connsiteY2" fmla="*/ 216789 h 274415"/>
                <a:gd name="connsiteX3" fmla="*/ 135255 w 135255"/>
                <a:gd name="connsiteY3" fmla="*/ 57626 h 274415"/>
                <a:gd name="connsiteX4" fmla="*/ 77629 w 135255"/>
                <a:gd name="connsiteY4" fmla="*/ 0 h 274415"/>
                <a:gd name="connsiteX5" fmla="*/ 57626 w 135255"/>
                <a:gd name="connsiteY5" fmla="*/ 0 h 274415"/>
                <a:gd name="connsiteX6" fmla="*/ 0 w 135255"/>
                <a:gd name="connsiteY6" fmla="*/ 57626 h 274415"/>
                <a:gd name="connsiteX7" fmla="*/ 0 w 135255"/>
                <a:gd name="connsiteY7" fmla="*/ 216789 h 274415"/>
                <a:gd name="connsiteX8" fmla="*/ 57626 w 135255"/>
                <a:gd name="connsiteY8" fmla="*/ 274415 h 27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5" h="274415">
                  <a:moveTo>
                    <a:pt x="57626" y="274415"/>
                  </a:moveTo>
                  <a:lnTo>
                    <a:pt x="77629" y="274415"/>
                  </a:lnTo>
                  <a:cubicBezTo>
                    <a:pt x="109347" y="274415"/>
                    <a:pt x="135255" y="248507"/>
                    <a:pt x="135255" y="216789"/>
                  </a:cubicBezTo>
                  <a:lnTo>
                    <a:pt x="135255" y="57626"/>
                  </a:lnTo>
                  <a:cubicBezTo>
                    <a:pt x="135255" y="25908"/>
                    <a:pt x="109347" y="0"/>
                    <a:pt x="77629" y="0"/>
                  </a:cubicBezTo>
                  <a:lnTo>
                    <a:pt x="57626" y="0"/>
                  </a:lnTo>
                  <a:cubicBezTo>
                    <a:pt x="25908" y="0"/>
                    <a:pt x="0" y="25908"/>
                    <a:pt x="0" y="57626"/>
                  </a:cubicBezTo>
                  <a:lnTo>
                    <a:pt x="0" y="216789"/>
                  </a:lnTo>
                  <a:cubicBezTo>
                    <a:pt x="0" y="248412"/>
                    <a:pt x="25908" y="274415"/>
                    <a:pt x="57626" y="274415"/>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28" name="Freeform: Shape 65">
              <a:extLst>
                <a:ext uri="{FF2B5EF4-FFF2-40B4-BE49-F238E27FC236}">
                  <a16:creationId xmlns:a16="http://schemas.microsoft.com/office/drawing/2014/main" id="{5CA145EF-9525-C8C5-AD71-F28B650310CC}"/>
                </a:ext>
              </a:extLst>
            </p:cNvPr>
            <p:cNvSpPr/>
            <p:nvPr/>
          </p:nvSpPr>
          <p:spPr>
            <a:xfrm>
              <a:off x="2129520" y="2520773"/>
              <a:ext cx="621982" cy="435008"/>
            </a:xfrm>
            <a:custGeom>
              <a:avLst/>
              <a:gdLst>
                <a:gd name="connsiteX0" fmla="*/ 331280 w 621982"/>
                <a:gd name="connsiteY0" fmla="*/ 2 h 435008"/>
                <a:gd name="connsiteX1" fmla="*/ 247841 w 621982"/>
                <a:gd name="connsiteY1" fmla="*/ 83441 h 435008"/>
                <a:gd name="connsiteX2" fmla="*/ 247841 w 621982"/>
                <a:gd name="connsiteY2" fmla="*/ 146592 h 435008"/>
                <a:gd name="connsiteX3" fmla="*/ 83439 w 621982"/>
                <a:gd name="connsiteY3" fmla="*/ 146592 h 435008"/>
                <a:gd name="connsiteX4" fmla="*/ 0 w 621982"/>
                <a:gd name="connsiteY4" fmla="*/ 230030 h 435008"/>
                <a:gd name="connsiteX5" fmla="*/ 0 w 621982"/>
                <a:gd name="connsiteY5" fmla="*/ 283751 h 435008"/>
                <a:gd name="connsiteX6" fmla="*/ 232410 w 621982"/>
                <a:gd name="connsiteY6" fmla="*/ 283751 h 435008"/>
                <a:gd name="connsiteX7" fmla="*/ 315849 w 621982"/>
                <a:gd name="connsiteY7" fmla="*/ 367190 h 435008"/>
                <a:gd name="connsiteX8" fmla="*/ 393001 w 621982"/>
                <a:gd name="connsiteY8" fmla="*/ 435009 h 435008"/>
                <a:gd name="connsiteX9" fmla="*/ 459867 w 621982"/>
                <a:gd name="connsiteY9" fmla="*/ 434437 h 435008"/>
                <a:gd name="connsiteX10" fmla="*/ 459867 w 621982"/>
                <a:gd name="connsiteY10" fmla="*/ 360142 h 435008"/>
                <a:gd name="connsiteX11" fmla="*/ 529876 w 621982"/>
                <a:gd name="connsiteY11" fmla="*/ 290133 h 435008"/>
                <a:gd name="connsiteX12" fmla="*/ 541020 w 621982"/>
                <a:gd name="connsiteY12" fmla="*/ 290133 h 435008"/>
                <a:gd name="connsiteX13" fmla="*/ 621983 w 621982"/>
                <a:gd name="connsiteY13" fmla="*/ 209171 h 435008"/>
                <a:gd name="connsiteX14" fmla="*/ 621983 w 621982"/>
                <a:gd name="connsiteY14" fmla="*/ 2097 h 435008"/>
                <a:gd name="connsiteX15" fmla="*/ 331280 w 621982"/>
                <a:gd name="connsiteY15" fmla="*/ 2 h 43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1982" h="435008">
                  <a:moveTo>
                    <a:pt x="331280" y="2"/>
                  </a:moveTo>
                  <a:cubicBezTo>
                    <a:pt x="285369" y="-284"/>
                    <a:pt x="247841" y="37530"/>
                    <a:pt x="247841" y="83441"/>
                  </a:cubicBezTo>
                  <a:lnTo>
                    <a:pt x="247841" y="146592"/>
                  </a:lnTo>
                  <a:lnTo>
                    <a:pt x="83439" y="146592"/>
                  </a:lnTo>
                  <a:cubicBezTo>
                    <a:pt x="37529" y="146592"/>
                    <a:pt x="0" y="184120"/>
                    <a:pt x="0" y="230030"/>
                  </a:cubicBezTo>
                  <a:lnTo>
                    <a:pt x="0" y="283751"/>
                  </a:lnTo>
                  <a:lnTo>
                    <a:pt x="232410" y="283751"/>
                  </a:lnTo>
                  <a:cubicBezTo>
                    <a:pt x="278321" y="283751"/>
                    <a:pt x="315849" y="321280"/>
                    <a:pt x="315849" y="367190"/>
                  </a:cubicBezTo>
                  <a:cubicBezTo>
                    <a:pt x="312706" y="406052"/>
                    <a:pt x="339947" y="427103"/>
                    <a:pt x="393001" y="435009"/>
                  </a:cubicBezTo>
                  <a:lnTo>
                    <a:pt x="459867" y="434437"/>
                  </a:lnTo>
                  <a:lnTo>
                    <a:pt x="459867" y="360142"/>
                  </a:lnTo>
                  <a:cubicBezTo>
                    <a:pt x="459867" y="321661"/>
                    <a:pt x="491395" y="290133"/>
                    <a:pt x="529876" y="290133"/>
                  </a:cubicBezTo>
                  <a:lnTo>
                    <a:pt x="541020" y="290133"/>
                  </a:lnTo>
                  <a:cubicBezTo>
                    <a:pt x="585597" y="290133"/>
                    <a:pt x="621983" y="253748"/>
                    <a:pt x="621983" y="209171"/>
                  </a:cubicBezTo>
                  <a:lnTo>
                    <a:pt x="621983" y="2097"/>
                  </a:lnTo>
                  <a:lnTo>
                    <a:pt x="331280" y="2"/>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29" name="Freeform: Shape 66">
              <a:extLst>
                <a:ext uri="{FF2B5EF4-FFF2-40B4-BE49-F238E27FC236}">
                  <a16:creationId xmlns:a16="http://schemas.microsoft.com/office/drawing/2014/main" id="{BC9CA31C-2E58-3367-AFB3-7A19A8182BD5}"/>
                </a:ext>
              </a:extLst>
            </p:cNvPr>
            <p:cNvSpPr/>
            <p:nvPr/>
          </p:nvSpPr>
          <p:spPr>
            <a:xfrm>
              <a:off x="1962262" y="2804429"/>
              <a:ext cx="627126" cy="447484"/>
            </a:xfrm>
            <a:custGeom>
              <a:avLst/>
              <a:gdLst>
                <a:gd name="connsiteX0" fmla="*/ 627126 w 627126"/>
                <a:gd name="connsiteY0" fmla="*/ 447485 h 447484"/>
                <a:gd name="connsiteX1" fmla="*/ 627126 w 627126"/>
                <a:gd name="connsiteY1" fmla="*/ 150686 h 447484"/>
                <a:gd name="connsiteX2" fmla="*/ 560260 w 627126"/>
                <a:gd name="connsiteY2" fmla="*/ 151257 h 447484"/>
                <a:gd name="connsiteX3" fmla="*/ 483108 w 627126"/>
                <a:gd name="connsiteY3" fmla="*/ 83439 h 447484"/>
                <a:gd name="connsiteX4" fmla="*/ 399669 w 627126"/>
                <a:gd name="connsiteY4" fmla="*/ 0 h 447484"/>
                <a:gd name="connsiteX5" fmla="*/ 168212 w 627126"/>
                <a:gd name="connsiteY5" fmla="*/ 0 h 447484"/>
                <a:gd name="connsiteX6" fmla="*/ 168212 w 627126"/>
                <a:gd name="connsiteY6" fmla="*/ 69437 h 447484"/>
                <a:gd name="connsiteX7" fmla="*/ 84106 w 627126"/>
                <a:gd name="connsiteY7" fmla="*/ 158401 h 447484"/>
                <a:gd name="connsiteX8" fmla="*/ 0 w 627126"/>
                <a:gd name="connsiteY8" fmla="*/ 158401 h 447484"/>
                <a:gd name="connsiteX9" fmla="*/ 381 w 627126"/>
                <a:gd name="connsiteY9" fmla="*/ 212788 h 447484"/>
                <a:gd name="connsiteX10" fmla="*/ 83820 w 627126"/>
                <a:gd name="connsiteY10" fmla="*/ 296228 h 447484"/>
                <a:gd name="connsiteX11" fmla="*/ 225457 w 627126"/>
                <a:gd name="connsiteY11" fmla="*/ 296228 h 447484"/>
                <a:gd name="connsiteX12" fmla="*/ 318421 w 627126"/>
                <a:gd name="connsiteY12" fmla="*/ 364046 h 447484"/>
                <a:gd name="connsiteX13" fmla="*/ 401860 w 627126"/>
                <a:gd name="connsiteY13" fmla="*/ 447485 h 447484"/>
                <a:gd name="connsiteX14" fmla="*/ 627126 w 627126"/>
                <a:gd name="connsiteY14" fmla="*/ 447485 h 44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7126" h="447484">
                  <a:moveTo>
                    <a:pt x="627126" y="447485"/>
                  </a:moveTo>
                  <a:lnTo>
                    <a:pt x="627126" y="150686"/>
                  </a:lnTo>
                  <a:lnTo>
                    <a:pt x="560260" y="151257"/>
                  </a:lnTo>
                  <a:cubicBezTo>
                    <a:pt x="507301" y="143351"/>
                    <a:pt x="479965" y="122301"/>
                    <a:pt x="483108" y="83439"/>
                  </a:cubicBezTo>
                  <a:cubicBezTo>
                    <a:pt x="483108" y="37529"/>
                    <a:pt x="445580" y="0"/>
                    <a:pt x="399669" y="0"/>
                  </a:cubicBezTo>
                  <a:lnTo>
                    <a:pt x="168212" y="0"/>
                  </a:lnTo>
                  <a:lnTo>
                    <a:pt x="168212" y="69437"/>
                  </a:lnTo>
                  <a:cubicBezTo>
                    <a:pt x="168212" y="115348"/>
                    <a:pt x="130016" y="158401"/>
                    <a:pt x="84106" y="158401"/>
                  </a:cubicBezTo>
                  <a:lnTo>
                    <a:pt x="0" y="158401"/>
                  </a:lnTo>
                  <a:lnTo>
                    <a:pt x="381" y="212788"/>
                  </a:lnTo>
                  <a:cubicBezTo>
                    <a:pt x="667" y="258699"/>
                    <a:pt x="37909" y="296228"/>
                    <a:pt x="83820" y="296228"/>
                  </a:cubicBezTo>
                  <a:lnTo>
                    <a:pt x="225457" y="296228"/>
                  </a:lnTo>
                  <a:cubicBezTo>
                    <a:pt x="307753" y="293180"/>
                    <a:pt x="320326" y="324993"/>
                    <a:pt x="318421" y="364046"/>
                  </a:cubicBezTo>
                  <a:cubicBezTo>
                    <a:pt x="318421" y="409956"/>
                    <a:pt x="355949" y="447485"/>
                    <a:pt x="401860" y="447485"/>
                  </a:cubicBezTo>
                  <a:lnTo>
                    <a:pt x="627126" y="447485"/>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30" name="Freeform: Shape 67">
              <a:extLst>
                <a:ext uri="{FF2B5EF4-FFF2-40B4-BE49-F238E27FC236}">
                  <a16:creationId xmlns:a16="http://schemas.microsoft.com/office/drawing/2014/main" id="{EC44AA69-C6DB-7DF1-5CAF-382D55B0DFEE}"/>
                </a:ext>
              </a:extLst>
            </p:cNvPr>
            <p:cNvSpPr/>
            <p:nvPr/>
          </p:nvSpPr>
          <p:spPr>
            <a:xfrm>
              <a:off x="2437369" y="3095990"/>
              <a:ext cx="152019" cy="156019"/>
            </a:xfrm>
            <a:custGeom>
              <a:avLst/>
              <a:gdLst>
                <a:gd name="connsiteX0" fmla="*/ 152019 w 152019"/>
                <a:gd name="connsiteY0" fmla="*/ 0 h 156019"/>
                <a:gd name="connsiteX1" fmla="*/ 57626 w 152019"/>
                <a:gd name="connsiteY1" fmla="*/ 0 h 156019"/>
                <a:gd name="connsiteX2" fmla="*/ 0 w 152019"/>
                <a:gd name="connsiteY2" fmla="*/ 57626 h 156019"/>
                <a:gd name="connsiteX3" fmla="*/ 0 w 152019"/>
                <a:gd name="connsiteY3" fmla="*/ 156019 h 156019"/>
                <a:gd name="connsiteX4" fmla="*/ 152019 w 152019"/>
                <a:gd name="connsiteY4" fmla="*/ 156019 h 156019"/>
                <a:gd name="connsiteX5" fmla="*/ 152019 w 152019"/>
                <a:gd name="connsiteY5" fmla="*/ 0 h 156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019" h="156019">
                  <a:moveTo>
                    <a:pt x="152019" y="0"/>
                  </a:moveTo>
                  <a:lnTo>
                    <a:pt x="57626" y="0"/>
                  </a:lnTo>
                  <a:cubicBezTo>
                    <a:pt x="25908" y="0"/>
                    <a:pt x="0" y="25908"/>
                    <a:pt x="0" y="57626"/>
                  </a:cubicBezTo>
                  <a:lnTo>
                    <a:pt x="0" y="156019"/>
                  </a:lnTo>
                  <a:lnTo>
                    <a:pt x="152019" y="156019"/>
                  </a:lnTo>
                  <a:lnTo>
                    <a:pt x="152019" y="0"/>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31" name="Freeform: Shape 68">
              <a:extLst>
                <a:ext uri="{FF2B5EF4-FFF2-40B4-BE49-F238E27FC236}">
                  <a16:creationId xmlns:a16="http://schemas.microsoft.com/office/drawing/2014/main" id="{226834B0-FB29-3A6A-A276-856153B72832}"/>
                </a:ext>
              </a:extLst>
            </p:cNvPr>
            <p:cNvSpPr/>
            <p:nvPr/>
          </p:nvSpPr>
          <p:spPr>
            <a:xfrm>
              <a:off x="866029" y="2961973"/>
              <a:ext cx="1885569" cy="1438655"/>
            </a:xfrm>
            <a:custGeom>
              <a:avLst/>
              <a:gdLst>
                <a:gd name="connsiteX0" fmla="*/ 945452 w 1885569"/>
                <a:gd name="connsiteY0" fmla="*/ 114776 h 1438655"/>
                <a:gd name="connsiteX1" fmla="*/ 945452 w 1885569"/>
                <a:gd name="connsiteY1" fmla="*/ 205835 h 1438655"/>
                <a:gd name="connsiteX2" fmla="*/ 864489 w 1885569"/>
                <a:gd name="connsiteY2" fmla="*/ 286798 h 1438655"/>
                <a:gd name="connsiteX3" fmla="*/ 558165 w 1885569"/>
                <a:gd name="connsiteY3" fmla="*/ 286798 h 1438655"/>
                <a:gd name="connsiteX4" fmla="*/ 475393 w 1885569"/>
                <a:gd name="connsiteY4" fmla="*/ 359759 h 1438655"/>
                <a:gd name="connsiteX5" fmla="*/ 395002 w 1885569"/>
                <a:gd name="connsiteY5" fmla="*/ 430530 h 1438655"/>
                <a:gd name="connsiteX6" fmla="*/ 57626 w 1885569"/>
                <a:gd name="connsiteY6" fmla="*/ 430530 h 1438655"/>
                <a:gd name="connsiteX7" fmla="*/ 0 w 1885569"/>
                <a:gd name="connsiteY7" fmla="*/ 488156 h 1438655"/>
                <a:gd name="connsiteX8" fmla="*/ 0 w 1885569"/>
                <a:gd name="connsiteY8" fmla="*/ 508159 h 1438655"/>
                <a:gd name="connsiteX9" fmla="*/ 57626 w 1885569"/>
                <a:gd name="connsiteY9" fmla="*/ 565785 h 1438655"/>
                <a:gd name="connsiteX10" fmla="*/ 222885 w 1885569"/>
                <a:gd name="connsiteY10" fmla="*/ 565785 h 1438655"/>
                <a:gd name="connsiteX11" fmla="*/ 303848 w 1885569"/>
                <a:gd name="connsiteY11" fmla="*/ 645890 h 1438655"/>
                <a:gd name="connsiteX12" fmla="*/ 361474 w 1885569"/>
                <a:gd name="connsiteY12" fmla="*/ 702850 h 1438655"/>
                <a:gd name="connsiteX13" fmla="*/ 550736 w 1885569"/>
                <a:gd name="connsiteY13" fmla="*/ 702850 h 1438655"/>
                <a:gd name="connsiteX14" fmla="*/ 631698 w 1885569"/>
                <a:gd name="connsiteY14" fmla="*/ 783812 h 1438655"/>
                <a:gd name="connsiteX15" fmla="*/ 631698 w 1885569"/>
                <a:gd name="connsiteY15" fmla="*/ 924687 h 1438655"/>
                <a:gd name="connsiteX16" fmla="*/ 550736 w 1885569"/>
                <a:gd name="connsiteY16" fmla="*/ 1005649 h 1438655"/>
                <a:gd name="connsiteX17" fmla="*/ 536257 w 1885569"/>
                <a:gd name="connsiteY17" fmla="*/ 1005649 h 1438655"/>
                <a:gd name="connsiteX18" fmla="*/ 478631 w 1885569"/>
                <a:gd name="connsiteY18" fmla="*/ 1063276 h 1438655"/>
                <a:gd name="connsiteX19" fmla="*/ 478631 w 1885569"/>
                <a:gd name="connsiteY19" fmla="*/ 1220914 h 1438655"/>
                <a:gd name="connsiteX20" fmla="*/ 397669 w 1885569"/>
                <a:gd name="connsiteY20" fmla="*/ 1301877 h 1438655"/>
                <a:gd name="connsiteX21" fmla="*/ 883634 w 1885569"/>
                <a:gd name="connsiteY21" fmla="*/ 1301877 h 1438655"/>
                <a:gd name="connsiteX22" fmla="*/ 941261 w 1885569"/>
                <a:gd name="connsiteY22" fmla="*/ 1359503 h 1438655"/>
                <a:gd name="connsiteX23" fmla="*/ 941261 w 1885569"/>
                <a:gd name="connsiteY23" fmla="*/ 1380363 h 1438655"/>
                <a:gd name="connsiteX24" fmla="*/ 941546 w 1885569"/>
                <a:gd name="connsiteY24" fmla="*/ 1380363 h 1438655"/>
                <a:gd name="connsiteX25" fmla="*/ 941546 w 1885569"/>
                <a:gd name="connsiteY25" fmla="*/ 1381030 h 1438655"/>
                <a:gd name="connsiteX26" fmla="*/ 999173 w 1885569"/>
                <a:gd name="connsiteY26" fmla="*/ 1438656 h 1438655"/>
                <a:gd name="connsiteX27" fmla="*/ 1261110 w 1885569"/>
                <a:gd name="connsiteY27" fmla="*/ 1438656 h 1438655"/>
                <a:gd name="connsiteX28" fmla="*/ 1261110 w 1885569"/>
                <a:gd name="connsiteY28" fmla="*/ 1362647 h 1438655"/>
                <a:gd name="connsiteX29" fmla="*/ 1318736 w 1885569"/>
                <a:gd name="connsiteY29" fmla="*/ 1305020 h 1438655"/>
                <a:gd name="connsiteX30" fmla="*/ 1765459 w 1885569"/>
                <a:gd name="connsiteY30" fmla="*/ 1305020 h 1438655"/>
                <a:gd name="connsiteX31" fmla="*/ 1785557 w 1885569"/>
                <a:gd name="connsiteY31" fmla="*/ 1304544 h 1438655"/>
                <a:gd name="connsiteX32" fmla="*/ 1827181 w 1885569"/>
                <a:gd name="connsiteY32" fmla="*/ 1303115 h 1438655"/>
                <a:gd name="connsiteX33" fmla="*/ 1884807 w 1885569"/>
                <a:gd name="connsiteY33" fmla="*/ 1245489 h 1438655"/>
                <a:gd name="connsiteX34" fmla="*/ 1885093 w 1885569"/>
                <a:gd name="connsiteY34" fmla="*/ 865251 h 1438655"/>
                <a:gd name="connsiteX35" fmla="*/ 1789367 w 1885569"/>
                <a:gd name="connsiteY35" fmla="*/ 865251 h 1438655"/>
                <a:gd name="connsiteX36" fmla="*/ 1731740 w 1885569"/>
                <a:gd name="connsiteY36" fmla="*/ 807625 h 1438655"/>
                <a:gd name="connsiteX37" fmla="*/ 1731740 w 1885569"/>
                <a:gd name="connsiteY37" fmla="*/ 629983 h 1438655"/>
                <a:gd name="connsiteX38" fmla="*/ 1789367 w 1885569"/>
                <a:gd name="connsiteY38" fmla="*/ 572357 h 1438655"/>
                <a:gd name="connsiteX39" fmla="*/ 1885474 w 1885569"/>
                <a:gd name="connsiteY39" fmla="*/ 572357 h 1438655"/>
                <a:gd name="connsiteX40" fmla="*/ 1885569 w 1885569"/>
                <a:gd name="connsiteY40" fmla="*/ 495967 h 1438655"/>
                <a:gd name="connsiteX41" fmla="*/ 1805464 w 1885569"/>
                <a:gd name="connsiteY41" fmla="*/ 427101 h 1438655"/>
                <a:gd name="connsiteX42" fmla="*/ 1793653 w 1885569"/>
                <a:gd name="connsiteY42" fmla="*/ 427101 h 1438655"/>
                <a:gd name="connsiteX43" fmla="*/ 1723644 w 1885569"/>
                <a:gd name="connsiteY43" fmla="*/ 357092 h 1438655"/>
                <a:gd name="connsiteX44" fmla="*/ 1723644 w 1885569"/>
                <a:gd name="connsiteY44" fmla="*/ 289750 h 1438655"/>
                <a:gd name="connsiteX45" fmla="*/ 1498378 w 1885569"/>
                <a:gd name="connsiteY45" fmla="*/ 289750 h 1438655"/>
                <a:gd name="connsiteX46" fmla="*/ 1417225 w 1885569"/>
                <a:gd name="connsiteY46" fmla="*/ 225742 h 1438655"/>
                <a:gd name="connsiteX47" fmla="*/ 1415034 w 1885569"/>
                <a:gd name="connsiteY47" fmla="*/ 204025 h 1438655"/>
                <a:gd name="connsiteX48" fmla="*/ 1323308 w 1885569"/>
                <a:gd name="connsiteY48" fmla="*/ 138398 h 1438655"/>
                <a:gd name="connsiteX49" fmla="*/ 1320641 w 1885569"/>
                <a:gd name="connsiteY49" fmla="*/ 138398 h 1438655"/>
                <a:gd name="connsiteX50" fmla="*/ 1180338 w 1885569"/>
                <a:gd name="connsiteY50" fmla="*/ 138398 h 1438655"/>
                <a:gd name="connsiteX51" fmla="*/ 1121950 w 1885569"/>
                <a:gd name="connsiteY51" fmla="*/ 114490 h 1438655"/>
                <a:gd name="connsiteX52" fmla="*/ 1121950 w 1885569"/>
                <a:gd name="connsiteY52" fmla="*/ 114490 h 1438655"/>
                <a:gd name="connsiteX53" fmla="*/ 1115092 w 1885569"/>
                <a:gd name="connsiteY53" fmla="*/ 106966 h 1438655"/>
                <a:gd name="connsiteX54" fmla="*/ 1114616 w 1885569"/>
                <a:gd name="connsiteY54" fmla="*/ 106299 h 1438655"/>
                <a:gd name="connsiteX55" fmla="*/ 1114520 w 1885569"/>
                <a:gd name="connsiteY55" fmla="*/ 106204 h 1438655"/>
                <a:gd name="connsiteX56" fmla="*/ 1114425 w 1885569"/>
                <a:gd name="connsiteY56" fmla="*/ 106108 h 1438655"/>
                <a:gd name="connsiteX57" fmla="*/ 1109853 w 1885569"/>
                <a:gd name="connsiteY57" fmla="*/ 99631 h 1438655"/>
                <a:gd name="connsiteX58" fmla="*/ 1109853 w 1885569"/>
                <a:gd name="connsiteY58" fmla="*/ 99631 h 1438655"/>
                <a:gd name="connsiteX59" fmla="*/ 1108805 w 1885569"/>
                <a:gd name="connsiteY59" fmla="*/ 97917 h 1438655"/>
                <a:gd name="connsiteX60" fmla="*/ 1108805 w 1885569"/>
                <a:gd name="connsiteY60" fmla="*/ 97822 h 1438655"/>
                <a:gd name="connsiteX61" fmla="*/ 1108424 w 1885569"/>
                <a:gd name="connsiteY61" fmla="*/ 97155 h 1438655"/>
                <a:gd name="connsiteX62" fmla="*/ 1108329 w 1885569"/>
                <a:gd name="connsiteY62" fmla="*/ 96964 h 1438655"/>
                <a:gd name="connsiteX63" fmla="*/ 1107853 w 1885569"/>
                <a:gd name="connsiteY63" fmla="*/ 96107 h 1438655"/>
                <a:gd name="connsiteX64" fmla="*/ 1107853 w 1885569"/>
                <a:gd name="connsiteY64" fmla="*/ 96107 h 1438655"/>
                <a:gd name="connsiteX65" fmla="*/ 1107377 w 1885569"/>
                <a:gd name="connsiteY65" fmla="*/ 95250 h 1438655"/>
                <a:gd name="connsiteX66" fmla="*/ 1107377 w 1885569"/>
                <a:gd name="connsiteY66" fmla="*/ 95250 h 1438655"/>
                <a:gd name="connsiteX67" fmla="*/ 1106996 w 1885569"/>
                <a:gd name="connsiteY67" fmla="*/ 94488 h 1438655"/>
                <a:gd name="connsiteX68" fmla="*/ 1106900 w 1885569"/>
                <a:gd name="connsiteY68" fmla="*/ 94393 h 1438655"/>
                <a:gd name="connsiteX69" fmla="*/ 1106424 w 1885569"/>
                <a:gd name="connsiteY69" fmla="*/ 93536 h 1438655"/>
                <a:gd name="connsiteX70" fmla="*/ 1106424 w 1885569"/>
                <a:gd name="connsiteY70" fmla="*/ 93440 h 1438655"/>
                <a:gd name="connsiteX71" fmla="*/ 1106329 w 1885569"/>
                <a:gd name="connsiteY71" fmla="*/ 93154 h 1438655"/>
                <a:gd name="connsiteX72" fmla="*/ 1105948 w 1885569"/>
                <a:gd name="connsiteY72" fmla="*/ 92392 h 1438655"/>
                <a:gd name="connsiteX73" fmla="*/ 1105567 w 1885569"/>
                <a:gd name="connsiteY73" fmla="*/ 91630 h 1438655"/>
                <a:gd name="connsiteX74" fmla="*/ 1105091 w 1885569"/>
                <a:gd name="connsiteY74" fmla="*/ 90678 h 1438655"/>
                <a:gd name="connsiteX75" fmla="*/ 1104995 w 1885569"/>
                <a:gd name="connsiteY75" fmla="*/ 90583 h 1438655"/>
                <a:gd name="connsiteX76" fmla="*/ 1104614 w 1885569"/>
                <a:gd name="connsiteY76" fmla="*/ 89821 h 1438655"/>
                <a:gd name="connsiteX77" fmla="*/ 1104614 w 1885569"/>
                <a:gd name="connsiteY77" fmla="*/ 89821 h 1438655"/>
                <a:gd name="connsiteX78" fmla="*/ 1104233 w 1885569"/>
                <a:gd name="connsiteY78" fmla="*/ 88963 h 1438655"/>
                <a:gd name="connsiteX79" fmla="*/ 1104233 w 1885569"/>
                <a:gd name="connsiteY79" fmla="*/ 88963 h 1438655"/>
                <a:gd name="connsiteX80" fmla="*/ 1103852 w 1885569"/>
                <a:gd name="connsiteY80" fmla="*/ 88011 h 1438655"/>
                <a:gd name="connsiteX81" fmla="*/ 1103662 w 1885569"/>
                <a:gd name="connsiteY81" fmla="*/ 87535 h 1438655"/>
                <a:gd name="connsiteX82" fmla="*/ 1103281 w 1885569"/>
                <a:gd name="connsiteY82" fmla="*/ 86582 h 1438655"/>
                <a:gd name="connsiteX83" fmla="*/ 1103186 w 1885569"/>
                <a:gd name="connsiteY83" fmla="*/ 86392 h 1438655"/>
                <a:gd name="connsiteX84" fmla="*/ 1102614 w 1885569"/>
                <a:gd name="connsiteY84" fmla="*/ 84963 h 1438655"/>
                <a:gd name="connsiteX85" fmla="*/ 1102424 w 1885569"/>
                <a:gd name="connsiteY85" fmla="*/ 84582 h 1438655"/>
                <a:gd name="connsiteX86" fmla="*/ 1097090 w 1885569"/>
                <a:gd name="connsiteY86" fmla="*/ 55245 h 1438655"/>
                <a:gd name="connsiteX87" fmla="*/ 1097090 w 1885569"/>
                <a:gd name="connsiteY87" fmla="*/ 0 h 1438655"/>
                <a:gd name="connsiteX88" fmla="*/ 1029367 w 1885569"/>
                <a:gd name="connsiteY88" fmla="*/ 0 h 1438655"/>
                <a:gd name="connsiteX89" fmla="*/ 945928 w 1885569"/>
                <a:gd name="connsiteY89" fmla="*/ 83439 h 1438655"/>
                <a:gd name="connsiteX90" fmla="*/ 945452 w 1885569"/>
                <a:gd name="connsiteY90" fmla="*/ 114776 h 1438655"/>
                <a:gd name="connsiteX91" fmla="*/ 945452 w 1885569"/>
                <a:gd name="connsiteY91" fmla="*/ 114776 h 143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885569" h="1438655">
                  <a:moveTo>
                    <a:pt x="945452" y="114776"/>
                  </a:moveTo>
                  <a:lnTo>
                    <a:pt x="945452" y="205835"/>
                  </a:lnTo>
                  <a:cubicBezTo>
                    <a:pt x="945452" y="250412"/>
                    <a:pt x="909066" y="286798"/>
                    <a:pt x="864489" y="286798"/>
                  </a:cubicBezTo>
                  <a:lnTo>
                    <a:pt x="558165" y="286798"/>
                  </a:lnTo>
                  <a:cubicBezTo>
                    <a:pt x="515874" y="286798"/>
                    <a:pt x="480632" y="318706"/>
                    <a:pt x="475393" y="359759"/>
                  </a:cubicBezTo>
                  <a:cubicBezTo>
                    <a:pt x="470249" y="400431"/>
                    <a:pt x="436055" y="430530"/>
                    <a:pt x="395002" y="430530"/>
                  </a:cubicBezTo>
                  <a:lnTo>
                    <a:pt x="57626" y="430530"/>
                  </a:lnTo>
                  <a:cubicBezTo>
                    <a:pt x="25908" y="430530"/>
                    <a:pt x="0" y="456438"/>
                    <a:pt x="0" y="488156"/>
                  </a:cubicBezTo>
                  <a:lnTo>
                    <a:pt x="0" y="508159"/>
                  </a:lnTo>
                  <a:cubicBezTo>
                    <a:pt x="0" y="539877"/>
                    <a:pt x="25908" y="565785"/>
                    <a:pt x="57626" y="565785"/>
                  </a:cubicBezTo>
                  <a:lnTo>
                    <a:pt x="222885" y="565785"/>
                  </a:lnTo>
                  <a:cubicBezTo>
                    <a:pt x="267176" y="565785"/>
                    <a:pt x="303371" y="601599"/>
                    <a:pt x="303848" y="645890"/>
                  </a:cubicBezTo>
                  <a:cubicBezTo>
                    <a:pt x="304229" y="677323"/>
                    <a:pt x="329946" y="702850"/>
                    <a:pt x="361474" y="702850"/>
                  </a:cubicBezTo>
                  <a:lnTo>
                    <a:pt x="550736" y="702850"/>
                  </a:lnTo>
                  <a:cubicBezTo>
                    <a:pt x="595313" y="702850"/>
                    <a:pt x="631698" y="739235"/>
                    <a:pt x="631698" y="783812"/>
                  </a:cubicBezTo>
                  <a:lnTo>
                    <a:pt x="631698" y="924687"/>
                  </a:lnTo>
                  <a:cubicBezTo>
                    <a:pt x="631698" y="969264"/>
                    <a:pt x="595313" y="1005649"/>
                    <a:pt x="550736" y="1005649"/>
                  </a:cubicBezTo>
                  <a:lnTo>
                    <a:pt x="536257" y="1005649"/>
                  </a:lnTo>
                  <a:cubicBezTo>
                    <a:pt x="504539" y="1005649"/>
                    <a:pt x="478631" y="1031557"/>
                    <a:pt x="478631" y="1063276"/>
                  </a:cubicBezTo>
                  <a:lnTo>
                    <a:pt x="478631" y="1220914"/>
                  </a:lnTo>
                  <a:cubicBezTo>
                    <a:pt x="478631" y="1265491"/>
                    <a:pt x="442246" y="1301877"/>
                    <a:pt x="397669" y="1301877"/>
                  </a:cubicBezTo>
                  <a:lnTo>
                    <a:pt x="883634" y="1301877"/>
                  </a:lnTo>
                  <a:cubicBezTo>
                    <a:pt x="915353" y="1301877"/>
                    <a:pt x="941261" y="1327785"/>
                    <a:pt x="941261" y="1359503"/>
                  </a:cubicBezTo>
                  <a:lnTo>
                    <a:pt x="941261" y="1380363"/>
                  </a:lnTo>
                  <a:lnTo>
                    <a:pt x="941546" y="1380363"/>
                  </a:lnTo>
                  <a:lnTo>
                    <a:pt x="941546" y="1381030"/>
                  </a:lnTo>
                  <a:cubicBezTo>
                    <a:pt x="941546" y="1412748"/>
                    <a:pt x="967454" y="1438656"/>
                    <a:pt x="999173" y="1438656"/>
                  </a:cubicBezTo>
                  <a:lnTo>
                    <a:pt x="1261110" y="1438656"/>
                  </a:lnTo>
                  <a:lnTo>
                    <a:pt x="1261110" y="1362647"/>
                  </a:lnTo>
                  <a:cubicBezTo>
                    <a:pt x="1261110" y="1330928"/>
                    <a:pt x="1287018" y="1305020"/>
                    <a:pt x="1318736" y="1305020"/>
                  </a:cubicBezTo>
                  <a:lnTo>
                    <a:pt x="1765459" y="1305020"/>
                  </a:lnTo>
                  <a:lnTo>
                    <a:pt x="1785557" y="1304544"/>
                  </a:lnTo>
                  <a:lnTo>
                    <a:pt x="1827181" y="1303115"/>
                  </a:lnTo>
                  <a:cubicBezTo>
                    <a:pt x="1858804" y="1302067"/>
                    <a:pt x="1884807" y="1277207"/>
                    <a:pt x="1884807" y="1245489"/>
                  </a:cubicBezTo>
                  <a:cubicBezTo>
                    <a:pt x="1884807" y="1118806"/>
                    <a:pt x="1884902" y="991933"/>
                    <a:pt x="1885093" y="865251"/>
                  </a:cubicBezTo>
                  <a:lnTo>
                    <a:pt x="1789367" y="865251"/>
                  </a:lnTo>
                  <a:cubicBezTo>
                    <a:pt x="1757648" y="865251"/>
                    <a:pt x="1731740" y="839343"/>
                    <a:pt x="1731740" y="807625"/>
                  </a:cubicBezTo>
                  <a:lnTo>
                    <a:pt x="1731740" y="629983"/>
                  </a:lnTo>
                  <a:cubicBezTo>
                    <a:pt x="1731740" y="598265"/>
                    <a:pt x="1757648" y="572357"/>
                    <a:pt x="1789367" y="572357"/>
                  </a:cubicBezTo>
                  <a:lnTo>
                    <a:pt x="1885474" y="572357"/>
                  </a:lnTo>
                  <a:lnTo>
                    <a:pt x="1885569" y="495967"/>
                  </a:lnTo>
                  <a:cubicBezTo>
                    <a:pt x="1879663" y="457009"/>
                    <a:pt x="1845945" y="427101"/>
                    <a:pt x="1805464" y="427101"/>
                  </a:cubicBezTo>
                  <a:lnTo>
                    <a:pt x="1793653" y="427101"/>
                  </a:lnTo>
                  <a:cubicBezTo>
                    <a:pt x="1755172" y="427101"/>
                    <a:pt x="1723644" y="395573"/>
                    <a:pt x="1723644" y="357092"/>
                  </a:cubicBezTo>
                  <a:lnTo>
                    <a:pt x="1723644" y="289750"/>
                  </a:lnTo>
                  <a:lnTo>
                    <a:pt x="1498378" y="289750"/>
                  </a:lnTo>
                  <a:cubicBezTo>
                    <a:pt x="1459135" y="289750"/>
                    <a:pt x="1426083" y="262318"/>
                    <a:pt x="1417225" y="225742"/>
                  </a:cubicBezTo>
                  <a:cubicBezTo>
                    <a:pt x="1415415" y="218313"/>
                    <a:pt x="1414748" y="211741"/>
                    <a:pt x="1415034" y="204025"/>
                  </a:cubicBezTo>
                  <a:cubicBezTo>
                    <a:pt x="1416272" y="166211"/>
                    <a:pt x="1402842" y="135826"/>
                    <a:pt x="1323308" y="138398"/>
                  </a:cubicBezTo>
                  <a:cubicBezTo>
                    <a:pt x="1322356" y="138398"/>
                    <a:pt x="1321594" y="138398"/>
                    <a:pt x="1320641" y="138398"/>
                  </a:cubicBezTo>
                  <a:lnTo>
                    <a:pt x="1180338" y="138398"/>
                  </a:lnTo>
                  <a:cubicBezTo>
                    <a:pt x="1157669" y="138398"/>
                    <a:pt x="1137095" y="129254"/>
                    <a:pt x="1121950" y="114490"/>
                  </a:cubicBezTo>
                  <a:lnTo>
                    <a:pt x="1121950" y="114490"/>
                  </a:lnTo>
                  <a:cubicBezTo>
                    <a:pt x="1119569" y="112109"/>
                    <a:pt x="1117283" y="109633"/>
                    <a:pt x="1115092" y="106966"/>
                  </a:cubicBezTo>
                  <a:lnTo>
                    <a:pt x="1114616" y="106299"/>
                  </a:lnTo>
                  <a:lnTo>
                    <a:pt x="1114520" y="106204"/>
                  </a:lnTo>
                  <a:lnTo>
                    <a:pt x="1114425" y="106108"/>
                  </a:lnTo>
                  <a:cubicBezTo>
                    <a:pt x="1112806" y="104013"/>
                    <a:pt x="1111282" y="101822"/>
                    <a:pt x="1109853" y="99631"/>
                  </a:cubicBezTo>
                  <a:lnTo>
                    <a:pt x="1109853" y="99631"/>
                  </a:lnTo>
                  <a:cubicBezTo>
                    <a:pt x="1109472" y="99060"/>
                    <a:pt x="1109186" y="98488"/>
                    <a:pt x="1108805" y="97917"/>
                  </a:cubicBezTo>
                  <a:lnTo>
                    <a:pt x="1108805" y="97822"/>
                  </a:lnTo>
                  <a:lnTo>
                    <a:pt x="1108424" y="97155"/>
                  </a:lnTo>
                  <a:lnTo>
                    <a:pt x="1108329" y="96964"/>
                  </a:lnTo>
                  <a:lnTo>
                    <a:pt x="1107853" y="96107"/>
                  </a:lnTo>
                  <a:lnTo>
                    <a:pt x="1107853" y="96107"/>
                  </a:lnTo>
                  <a:lnTo>
                    <a:pt x="1107377" y="95250"/>
                  </a:lnTo>
                  <a:lnTo>
                    <a:pt x="1107377" y="95250"/>
                  </a:lnTo>
                  <a:lnTo>
                    <a:pt x="1106996" y="94488"/>
                  </a:lnTo>
                  <a:lnTo>
                    <a:pt x="1106900" y="94393"/>
                  </a:lnTo>
                  <a:lnTo>
                    <a:pt x="1106424" y="93536"/>
                  </a:lnTo>
                  <a:lnTo>
                    <a:pt x="1106424" y="93440"/>
                  </a:lnTo>
                  <a:lnTo>
                    <a:pt x="1106329" y="93154"/>
                  </a:lnTo>
                  <a:lnTo>
                    <a:pt x="1105948" y="92392"/>
                  </a:lnTo>
                  <a:lnTo>
                    <a:pt x="1105567" y="91630"/>
                  </a:lnTo>
                  <a:lnTo>
                    <a:pt x="1105091" y="90678"/>
                  </a:lnTo>
                  <a:lnTo>
                    <a:pt x="1104995" y="90583"/>
                  </a:lnTo>
                  <a:lnTo>
                    <a:pt x="1104614" y="89821"/>
                  </a:lnTo>
                  <a:lnTo>
                    <a:pt x="1104614" y="89821"/>
                  </a:lnTo>
                  <a:lnTo>
                    <a:pt x="1104233" y="88963"/>
                  </a:lnTo>
                  <a:lnTo>
                    <a:pt x="1104233" y="88963"/>
                  </a:lnTo>
                  <a:lnTo>
                    <a:pt x="1103852" y="88011"/>
                  </a:lnTo>
                  <a:lnTo>
                    <a:pt x="1103662" y="87535"/>
                  </a:lnTo>
                  <a:lnTo>
                    <a:pt x="1103281" y="86582"/>
                  </a:lnTo>
                  <a:lnTo>
                    <a:pt x="1103186" y="86392"/>
                  </a:lnTo>
                  <a:lnTo>
                    <a:pt x="1102614" y="84963"/>
                  </a:lnTo>
                  <a:lnTo>
                    <a:pt x="1102424" y="84582"/>
                  </a:lnTo>
                  <a:cubicBezTo>
                    <a:pt x="1098995" y="75438"/>
                    <a:pt x="1097090" y="65532"/>
                    <a:pt x="1097090" y="55245"/>
                  </a:cubicBezTo>
                  <a:lnTo>
                    <a:pt x="1097090" y="0"/>
                  </a:lnTo>
                  <a:lnTo>
                    <a:pt x="1029367" y="0"/>
                  </a:lnTo>
                  <a:cubicBezTo>
                    <a:pt x="983456" y="0"/>
                    <a:pt x="945928" y="37529"/>
                    <a:pt x="945928" y="83439"/>
                  </a:cubicBezTo>
                  <a:lnTo>
                    <a:pt x="945452" y="114776"/>
                  </a:lnTo>
                  <a:lnTo>
                    <a:pt x="945452" y="114776"/>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32" name="Freeform: Shape 69">
              <a:extLst>
                <a:ext uri="{FF2B5EF4-FFF2-40B4-BE49-F238E27FC236}">
                  <a16:creationId xmlns:a16="http://schemas.microsoft.com/office/drawing/2014/main" id="{269F1DB0-3890-941A-DC41-8CA0132FC514}"/>
                </a:ext>
              </a:extLst>
            </p:cNvPr>
            <p:cNvSpPr/>
            <p:nvPr/>
          </p:nvSpPr>
          <p:spPr>
            <a:xfrm>
              <a:off x="1972549" y="4846494"/>
              <a:ext cx="135254" cy="128873"/>
            </a:xfrm>
            <a:custGeom>
              <a:avLst/>
              <a:gdLst>
                <a:gd name="connsiteX0" fmla="*/ 57626 w 135254"/>
                <a:gd name="connsiteY0" fmla="*/ 128874 h 128873"/>
                <a:gd name="connsiteX1" fmla="*/ 77629 w 135254"/>
                <a:gd name="connsiteY1" fmla="*/ 128874 h 128873"/>
                <a:gd name="connsiteX2" fmla="*/ 135255 w 135254"/>
                <a:gd name="connsiteY2" fmla="*/ 71247 h 128873"/>
                <a:gd name="connsiteX3" fmla="*/ 135255 w 135254"/>
                <a:gd name="connsiteY3" fmla="*/ 57626 h 128873"/>
                <a:gd name="connsiteX4" fmla="*/ 77629 w 135254"/>
                <a:gd name="connsiteY4" fmla="*/ 0 h 128873"/>
                <a:gd name="connsiteX5" fmla="*/ 57626 w 135254"/>
                <a:gd name="connsiteY5" fmla="*/ 0 h 128873"/>
                <a:gd name="connsiteX6" fmla="*/ 0 w 135254"/>
                <a:gd name="connsiteY6" fmla="*/ 57626 h 128873"/>
                <a:gd name="connsiteX7" fmla="*/ 0 w 135254"/>
                <a:gd name="connsiteY7" fmla="*/ 71247 h 128873"/>
                <a:gd name="connsiteX8" fmla="*/ 57626 w 135254"/>
                <a:gd name="connsiteY8" fmla="*/ 128874 h 12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4" h="128873">
                  <a:moveTo>
                    <a:pt x="57626" y="128874"/>
                  </a:moveTo>
                  <a:lnTo>
                    <a:pt x="77629" y="128874"/>
                  </a:lnTo>
                  <a:cubicBezTo>
                    <a:pt x="109347" y="128874"/>
                    <a:pt x="135255" y="102965"/>
                    <a:pt x="135255" y="71247"/>
                  </a:cubicBezTo>
                  <a:lnTo>
                    <a:pt x="135255" y="57626"/>
                  </a:lnTo>
                  <a:cubicBezTo>
                    <a:pt x="135255" y="25908"/>
                    <a:pt x="109347" y="0"/>
                    <a:pt x="77629" y="0"/>
                  </a:cubicBezTo>
                  <a:lnTo>
                    <a:pt x="57626" y="0"/>
                  </a:lnTo>
                  <a:cubicBezTo>
                    <a:pt x="25908" y="0"/>
                    <a:pt x="0" y="25908"/>
                    <a:pt x="0" y="57626"/>
                  </a:cubicBezTo>
                  <a:lnTo>
                    <a:pt x="0" y="71247"/>
                  </a:lnTo>
                  <a:cubicBezTo>
                    <a:pt x="0" y="102965"/>
                    <a:pt x="25908" y="128874"/>
                    <a:pt x="57626" y="128874"/>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33" name="Freeform: Shape 70">
              <a:extLst>
                <a:ext uri="{FF2B5EF4-FFF2-40B4-BE49-F238E27FC236}">
                  <a16:creationId xmlns:a16="http://schemas.microsoft.com/office/drawing/2014/main" id="{81F0F71B-04F5-C4A7-9D2D-3B3E7586DBA7}"/>
                </a:ext>
              </a:extLst>
            </p:cNvPr>
            <p:cNvSpPr/>
            <p:nvPr/>
          </p:nvSpPr>
          <p:spPr>
            <a:xfrm>
              <a:off x="2926191" y="4710763"/>
              <a:ext cx="299656" cy="417766"/>
            </a:xfrm>
            <a:custGeom>
              <a:avLst/>
              <a:gdLst>
                <a:gd name="connsiteX0" fmla="*/ 57626 w 299656"/>
                <a:gd name="connsiteY0" fmla="*/ 417767 h 417766"/>
                <a:gd name="connsiteX1" fmla="*/ 77629 w 299656"/>
                <a:gd name="connsiteY1" fmla="*/ 417767 h 417766"/>
                <a:gd name="connsiteX2" fmla="*/ 135255 w 299656"/>
                <a:gd name="connsiteY2" fmla="*/ 360140 h 417766"/>
                <a:gd name="connsiteX3" fmla="*/ 135255 w 299656"/>
                <a:gd name="connsiteY3" fmla="*/ 216217 h 417766"/>
                <a:gd name="connsiteX4" fmla="*/ 216218 w 299656"/>
                <a:gd name="connsiteY4" fmla="*/ 135255 h 417766"/>
                <a:gd name="connsiteX5" fmla="*/ 242030 w 299656"/>
                <a:gd name="connsiteY5" fmla="*/ 135255 h 417766"/>
                <a:gd name="connsiteX6" fmla="*/ 299656 w 299656"/>
                <a:gd name="connsiteY6" fmla="*/ 77629 h 417766"/>
                <a:gd name="connsiteX7" fmla="*/ 299656 w 299656"/>
                <a:gd name="connsiteY7" fmla="*/ 57626 h 417766"/>
                <a:gd name="connsiteX8" fmla="*/ 242030 w 299656"/>
                <a:gd name="connsiteY8" fmla="*/ 0 h 417766"/>
                <a:gd name="connsiteX9" fmla="*/ 77629 w 299656"/>
                <a:gd name="connsiteY9" fmla="*/ 0 h 417766"/>
                <a:gd name="connsiteX10" fmla="*/ 57626 w 299656"/>
                <a:gd name="connsiteY10" fmla="*/ 0 h 417766"/>
                <a:gd name="connsiteX11" fmla="*/ 56197 w 299656"/>
                <a:gd name="connsiteY11" fmla="*/ 0 h 417766"/>
                <a:gd name="connsiteX12" fmla="*/ 56197 w 299656"/>
                <a:gd name="connsiteY12" fmla="*/ 0 h 417766"/>
                <a:gd name="connsiteX13" fmla="*/ 54769 w 299656"/>
                <a:gd name="connsiteY13" fmla="*/ 95 h 417766"/>
                <a:gd name="connsiteX14" fmla="*/ 54769 w 299656"/>
                <a:gd name="connsiteY14" fmla="*/ 95 h 417766"/>
                <a:gd name="connsiteX15" fmla="*/ 53340 w 299656"/>
                <a:gd name="connsiteY15" fmla="*/ 190 h 417766"/>
                <a:gd name="connsiteX16" fmla="*/ 53340 w 299656"/>
                <a:gd name="connsiteY16" fmla="*/ 190 h 417766"/>
                <a:gd name="connsiteX17" fmla="*/ 51911 w 299656"/>
                <a:gd name="connsiteY17" fmla="*/ 286 h 417766"/>
                <a:gd name="connsiteX18" fmla="*/ 51911 w 299656"/>
                <a:gd name="connsiteY18" fmla="*/ 286 h 417766"/>
                <a:gd name="connsiteX19" fmla="*/ 50482 w 299656"/>
                <a:gd name="connsiteY19" fmla="*/ 476 h 417766"/>
                <a:gd name="connsiteX20" fmla="*/ 50482 w 299656"/>
                <a:gd name="connsiteY20" fmla="*/ 476 h 417766"/>
                <a:gd name="connsiteX21" fmla="*/ 49054 w 299656"/>
                <a:gd name="connsiteY21" fmla="*/ 667 h 417766"/>
                <a:gd name="connsiteX22" fmla="*/ 49054 w 299656"/>
                <a:gd name="connsiteY22" fmla="*/ 667 h 417766"/>
                <a:gd name="connsiteX23" fmla="*/ 47625 w 299656"/>
                <a:gd name="connsiteY23" fmla="*/ 857 h 417766"/>
                <a:gd name="connsiteX24" fmla="*/ 47625 w 299656"/>
                <a:gd name="connsiteY24" fmla="*/ 857 h 417766"/>
                <a:gd name="connsiteX25" fmla="*/ 46196 w 299656"/>
                <a:gd name="connsiteY25" fmla="*/ 1143 h 417766"/>
                <a:gd name="connsiteX26" fmla="*/ 46196 w 299656"/>
                <a:gd name="connsiteY26" fmla="*/ 1143 h 417766"/>
                <a:gd name="connsiteX27" fmla="*/ 44768 w 299656"/>
                <a:gd name="connsiteY27" fmla="*/ 1429 h 417766"/>
                <a:gd name="connsiteX28" fmla="*/ 44768 w 299656"/>
                <a:gd name="connsiteY28" fmla="*/ 1429 h 417766"/>
                <a:gd name="connsiteX29" fmla="*/ 43339 w 299656"/>
                <a:gd name="connsiteY29" fmla="*/ 1809 h 417766"/>
                <a:gd name="connsiteX30" fmla="*/ 43339 w 299656"/>
                <a:gd name="connsiteY30" fmla="*/ 1809 h 417766"/>
                <a:gd name="connsiteX31" fmla="*/ 42005 w 299656"/>
                <a:gd name="connsiteY31" fmla="*/ 2191 h 417766"/>
                <a:gd name="connsiteX32" fmla="*/ 42005 w 299656"/>
                <a:gd name="connsiteY32" fmla="*/ 2191 h 417766"/>
                <a:gd name="connsiteX33" fmla="*/ 40672 w 299656"/>
                <a:gd name="connsiteY33" fmla="*/ 2572 h 417766"/>
                <a:gd name="connsiteX34" fmla="*/ 40672 w 299656"/>
                <a:gd name="connsiteY34" fmla="*/ 2572 h 417766"/>
                <a:gd name="connsiteX35" fmla="*/ 39338 w 299656"/>
                <a:gd name="connsiteY35" fmla="*/ 3048 h 417766"/>
                <a:gd name="connsiteX36" fmla="*/ 39338 w 299656"/>
                <a:gd name="connsiteY36" fmla="*/ 3048 h 417766"/>
                <a:gd name="connsiteX37" fmla="*/ 38005 w 299656"/>
                <a:gd name="connsiteY37" fmla="*/ 3524 h 417766"/>
                <a:gd name="connsiteX38" fmla="*/ 38005 w 299656"/>
                <a:gd name="connsiteY38" fmla="*/ 3524 h 417766"/>
                <a:gd name="connsiteX39" fmla="*/ 36671 w 299656"/>
                <a:gd name="connsiteY39" fmla="*/ 4000 h 417766"/>
                <a:gd name="connsiteX40" fmla="*/ 36671 w 299656"/>
                <a:gd name="connsiteY40" fmla="*/ 4000 h 417766"/>
                <a:gd name="connsiteX41" fmla="*/ 35338 w 299656"/>
                <a:gd name="connsiteY41" fmla="*/ 4572 h 417766"/>
                <a:gd name="connsiteX42" fmla="*/ 35338 w 299656"/>
                <a:gd name="connsiteY42" fmla="*/ 4572 h 417766"/>
                <a:gd name="connsiteX43" fmla="*/ 34099 w 299656"/>
                <a:gd name="connsiteY43" fmla="*/ 5143 h 417766"/>
                <a:gd name="connsiteX44" fmla="*/ 34099 w 299656"/>
                <a:gd name="connsiteY44" fmla="*/ 5143 h 417766"/>
                <a:gd name="connsiteX45" fmla="*/ 32861 w 299656"/>
                <a:gd name="connsiteY45" fmla="*/ 5715 h 417766"/>
                <a:gd name="connsiteX46" fmla="*/ 32861 w 299656"/>
                <a:gd name="connsiteY46" fmla="*/ 5715 h 417766"/>
                <a:gd name="connsiteX47" fmla="*/ 31623 w 299656"/>
                <a:gd name="connsiteY47" fmla="*/ 6382 h 417766"/>
                <a:gd name="connsiteX48" fmla="*/ 31623 w 299656"/>
                <a:gd name="connsiteY48" fmla="*/ 6382 h 417766"/>
                <a:gd name="connsiteX49" fmla="*/ 30385 w 299656"/>
                <a:gd name="connsiteY49" fmla="*/ 7048 h 417766"/>
                <a:gd name="connsiteX50" fmla="*/ 30385 w 299656"/>
                <a:gd name="connsiteY50" fmla="*/ 7048 h 417766"/>
                <a:gd name="connsiteX51" fmla="*/ 29146 w 299656"/>
                <a:gd name="connsiteY51" fmla="*/ 7715 h 417766"/>
                <a:gd name="connsiteX52" fmla="*/ 29146 w 299656"/>
                <a:gd name="connsiteY52" fmla="*/ 7715 h 417766"/>
                <a:gd name="connsiteX53" fmla="*/ 27908 w 299656"/>
                <a:gd name="connsiteY53" fmla="*/ 8382 h 417766"/>
                <a:gd name="connsiteX54" fmla="*/ 27908 w 299656"/>
                <a:gd name="connsiteY54" fmla="*/ 8382 h 417766"/>
                <a:gd name="connsiteX55" fmla="*/ 26765 w 299656"/>
                <a:gd name="connsiteY55" fmla="*/ 9144 h 417766"/>
                <a:gd name="connsiteX56" fmla="*/ 26765 w 299656"/>
                <a:gd name="connsiteY56" fmla="*/ 9144 h 417766"/>
                <a:gd name="connsiteX57" fmla="*/ 25622 w 299656"/>
                <a:gd name="connsiteY57" fmla="*/ 9906 h 417766"/>
                <a:gd name="connsiteX58" fmla="*/ 25622 w 299656"/>
                <a:gd name="connsiteY58" fmla="*/ 9906 h 417766"/>
                <a:gd name="connsiteX59" fmla="*/ 24479 w 299656"/>
                <a:gd name="connsiteY59" fmla="*/ 10668 h 417766"/>
                <a:gd name="connsiteX60" fmla="*/ 24479 w 299656"/>
                <a:gd name="connsiteY60" fmla="*/ 10668 h 417766"/>
                <a:gd name="connsiteX61" fmla="*/ 23336 w 299656"/>
                <a:gd name="connsiteY61" fmla="*/ 11525 h 417766"/>
                <a:gd name="connsiteX62" fmla="*/ 23336 w 299656"/>
                <a:gd name="connsiteY62" fmla="*/ 11525 h 417766"/>
                <a:gd name="connsiteX63" fmla="*/ 22193 w 299656"/>
                <a:gd name="connsiteY63" fmla="*/ 12382 h 417766"/>
                <a:gd name="connsiteX64" fmla="*/ 22193 w 299656"/>
                <a:gd name="connsiteY64" fmla="*/ 12382 h 417766"/>
                <a:gd name="connsiteX65" fmla="*/ 21146 w 299656"/>
                <a:gd name="connsiteY65" fmla="*/ 13240 h 417766"/>
                <a:gd name="connsiteX66" fmla="*/ 21146 w 299656"/>
                <a:gd name="connsiteY66" fmla="*/ 13240 h 417766"/>
                <a:gd name="connsiteX67" fmla="*/ 20098 w 299656"/>
                <a:gd name="connsiteY67" fmla="*/ 14097 h 417766"/>
                <a:gd name="connsiteX68" fmla="*/ 20098 w 299656"/>
                <a:gd name="connsiteY68" fmla="*/ 14097 h 417766"/>
                <a:gd name="connsiteX69" fmla="*/ 19050 w 299656"/>
                <a:gd name="connsiteY69" fmla="*/ 15049 h 417766"/>
                <a:gd name="connsiteX70" fmla="*/ 19050 w 299656"/>
                <a:gd name="connsiteY70" fmla="*/ 15049 h 417766"/>
                <a:gd name="connsiteX71" fmla="*/ 18002 w 299656"/>
                <a:gd name="connsiteY71" fmla="*/ 16002 h 417766"/>
                <a:gd name="connsiteX72" fmla="*/ 18002 w 299656"/>
                <a:gd name="connsiteY72" fmla="*/ 16002 h 417766"/>
                <a:gd name="connsiteX73" fmla="*/ 17050 w 299656"/>
                <a:gd name="connsiteY73" fmla="*/ 16954 h 417766"/>
                <a:gd name="connsiteX74" fmla="*/ 17050 w 299656"/>
                <a:gd name="connsiteY74" fmla="*/ 16954 h 417766"/>
                <a:gd name="connsiteX75" fmla="*/ 16097 w 299656"/>
                <a:gd name="connsiteY75" fmla="*/ 17907 h 417766"/>
                <a:gd name="connsiteX76" fmla="*/ 16097 w 299656"/>
                <a:gd name="connsiteY76" fmla="*/ 17907 h 417766"/>
                <a:gd name="connsiteX77" fmla="*/ 15145 w 299656"/>
                <a:gd name="connsiteY77" fmla="*/ 18955 h 417766"/>
                <a:gd name="connsiteX78" fmla="*/ 15145 w 299656"/>
                <a:gd name="connsiteY78" fmla="*/ 18955 h 417766"/>
                <a:gd name="connsiteX79" fmla="*/ 14192 w 299656"/>
                <a:gd name="connsiteY79" fmla="*/ 20002 h 417766"/>
                <a:gd name="connsiteX80" fmla="*/ 14192 w 299656"/>
                <a:gd name="connsiteY80" fmla="*/ 20002 h 417766"/>
                <a:gd name="connsiteX81" fmla="*/ 13335 w 299656"/>
                <a:gd name="connsiteY81" fmla="*/ 21050 h 417766"/>
                <a:gd name="connsiteX82" fmla="*/ 13335 w 299656"/>
                <a:gd name="connsiteY82" fmla="*/ 21050 h 417766"/>
                <a:gd name="connsiteX83" fmla="*/ 12478 w 299656"/>
                <a:gd name="connsiteY83" fmla="*/ 22098 h 417766"/>
                <a:gd name="connsiteX84" fmla="*/ 12478 w 299656"/>
                <a:gd name="connsiteY84" fmla="*/ 22098 h 417766"/>
                <a:gd name="connsiteX85" fmla="*/ 11621 w 299656"/>
                <a:gd name="connsiteY85" fmla="*/ 23146 h 417766"/>
                <a:gd name="connsiteX86" fmla="*/ 11621 w 299656"/>
                <a:gd name="connsiteY86" fmla="*/ 23146 h 417766"/>
                <a:gd name="connsiteX87" fmla="*/ 10763 w 299656"/>
                <a:gd name="connsiteY87" fmla="*/ 24289 h 417766"/>
                <a:gd name="connsiteX88" fmla="*/ 10763 w 299656"/>
                <a:gd name="connsiteY88" fmla="*/ 24289 h 417766"/>
                <a:gd name="connsiteX89" fmla="*/ 10001 w 299656"/>
                <a:gd name="connsiteY89" fmla="*/ 25432 h 417766"/>
                <a:gd name="connsiteX90" fmla="*/ 10001 w 299656"/>
                <a:gd name="connsiteY90" fmla="*/ 25432 h 417766"/>
                <a:gd name="connsiteX91" fmla="*/ 9239 w 299656"/>
                <a:gd name="connsiteY91" fmla="*/ 26575 h 417766"/>
                <a:gd name="connsiteX92" fmla="*/ 9239 w 299656"/>
                <a:gd name="connsiteY92" fmla="*/ 26575 h 417766"/>
                <a:gd name="connsiteX93" fmla="*/ 8477 w 299656"/>
                <a:gd name="connsiteY93" fmla="*/ 27717 h 417766"/>
                <a:gd name="connsiteX94" fmla="*/ 8477 w 299656"/>
                <a:gd name="connsiteY94" fmla="*/ 27717 h 417766"/>
                <a:gd name="connsiteX95" fmla="*/ 7811 w 299656"/>
                <a:gd name="connsiteY95" fmla="*/ 28956 h 417766"/>
                <a:gd name="connsiteX96" fmla="*/ 7811 w 299656"/>
                <a:gd name="connsiteY96" fmla="*/ 28956 h 417766"/>
                <a:gd name="connsiteX97" fmla="*/ 7144 w 299656"/>
                <a:gd name="connsiteY97" fmla="*/ 30194 h 417766"/>
                <a:gd name="connsiteX98" fmla="*/ 7144 w 299656"/>
                <a:gd name="connsiteY98" fmla="*/ 30194 h 417766"/>
                <a:gd name="connsiteX99" fmla="*/ 6477 w 299656"/>
                <a:gd name="connsiteY99" fmla="*/ 31432 h 417766"/>
                <a:gd name="connsiteX100" fmla="*/ 6477 w 299656"/>
                <a:gd name="connsiteY100" fmla="*/ 31432 h 417766"/>
                <a:gd name="connsiteX101" fmla="*/ 5810 w 299656"/>
                <a:gd name="connsiteY101" fmla="*/ 32671 h 417766"/>
                <a:gd name="connsiteX102" fmla="*/ 5810 w 299656"/>
                <a:gd name="connsiteY102" fmla="*/ 32671 h 417766"/>
                <a:gd name="connsiteX103" fmla="*/ 5239 w 299656"/>
                <a:gd name="connsiteY103" fmla="*/ 33909 h 417766"/>
                <a:gd name="connsiteX104" fmla="*/ 5239 w 299656"/>
                <a:gd name="connsiteY104" fmla="*/ 33909 h 417766"/>
                <a:gd name="connsiteX105" fmla="*/ 4667 w 299656"/>
                <a:gd name="connsiteY105" fmla="*/ 35147 h 417766"/>
                <a:gd name="connsiteX106" fmla="*/ 4667 w 299656"/>
                <a:gd name="connsiteY106" fmla="*/ 35147 h 417766"/>
                <a:gd name="connsiteX107" fmla="*/ 4096 w 299656"/>
                <a:gd name="connsiteY107" fmla="*/ 36481 h 417766"/>
                <a:gd name="connsiteX108" fmla="*/ 4096 w 299656"/>
                <a:gd name="connsiteY108" fmla="*/ 36481 h 417766"/>
                <a:gd name="connsiteX109" fmla="*/ 3620 w 299656"/>
                <a:gd name="connsiteY109" fmla="*/ 37814 h 417766"/>
                <a:gd name="connsiteX110" fmla="*/ 3620 w 299656"/>
                <a:gd name="connsiteY110" fmla="*/ 37814 h 417766"/>
                <a:gd name="connsiteX111" fmla="*/ 3143 w 299656"/>
                <a:gd name="connsiteY111" fmla="*/ 39148 h 417766"/>
                <a:gd name="connsiteX112" fmla="*/ 3143 w 299656"/>
                <a:gd name="connsiteY112" fmla="*/ 39148 h 417766"/>
                <a:gd name="connsiteX113" fmla="*/ 2667 w 299656"/>
                <a:gd name="connsiteY113" fmla="*/ 40481 h 417766"/>
                <a:gd name="connsiteX114" fmla="*/ 2667 w 299656"/>
                <a:gd name="connsiteY114" fmla="*/ 40481 h 417766"/>
                <a:gd name="connsiteX115" fmla="*/ 2286 w 299656"/>
                <a:gd name="connsiteY115" fmla="*/ 41815 h 417766"/>
                <a:gd name="connsiteX116" fmla="*/ 2286 w 299656"/>
                <a:gd name="connsiteY116" fmla="*/ 41815 h 417766"/>
                <a:gd name="connsiteX117" fmla="*/ 1905 w 299656"/>
                <a:gd name="connsiteY117" fmla="*/ 43148 h 417766"/>
                <a:gd name="connsiteX118" fmla="*/ 1905 w 299656"/>
                <a:gd name="connsiteY118" fmla="*/ 43148 h 417766"/>
                <a:gd name="connsiteX119" fmla="*/ 1524 w 299656"/>
                <a:gd name="connsiteY119" fmla="*/ 44482 h 417766"/>
                <a:gd name="connsiteX120" fmla="*/ 1524 w 299656"/>
                <a:gd name="connsiteY120" fmla="*/ 44482 h 417766"/>
                <a:gd name="connsiteX121" fmla="*/ 1238 w 299656"/>
                <a:gd name="connsiteY121" fmla="*/ 45910 h 417766"/>
                <a:gd name="connsiteX122" fmla="*/ 1238 w 299656"/>
                <a:gd name="connsiteY122" fmla="*/ 45910 h 417766"/>
                <a:gd name="connsiteX123" fmla="*/ 953 w 299656"/>
                <a:gd name="connsiteY123" fmla="*/ 47339 h 417766"/>
                <a:gd name="connsiteX124" fmla="*/ 953 w 299656"/>
                <a:gd name="connsiteY124" fmla="*/ 47339 h 417766"/>
                <a:gd name="connsiteX125" fmla="*/ 667 w 299656"/>
                <a:gd name="connsiteY125" fmla="*/ 48768 h 417766"/>
                <a:gd name="connsiteX126" fmla="*/ 667 w 299656"/>
                <a:gd name="connsiteY126" fmla="*/ 48768 h 417766"/>
                <a:gd name="connsiteX127" fmla="*/ 476 w 299656"/>
                <a:gd name="connsiteY127" fmla="*/ 50197 h 417766"/>
                <a:gd name="connsiteX128" fmla="*/ 476 w 299656"/>
                <a:gd name="connsiteY128" fmla="*/ 50197 h 417766"/>
                <a:gd name="connsiteX129" fmla="*/ 286 w 299656"/>
                <a:gd name="connsiteY129" fmla="*/ 51625 h 417766"/>
                <a:gd name="connsiteX130" fmla="*/ 286 w 299656"/>
                <a:gd name="connsiteY130" fmla="*/ 51625 h 417766"/>
                <a:gd name="connsiteX131" fmla="*/ 190 w 299656"/>
                <a:gd name="connsiteY131" fmla="*/ 53054 h 417766"/>
                <a:gd name="connsiteX132" fmla="*/ 190 w 299656"/>
                <a:gd name="connsiteY132" fmla="*/ 53054 h 417766"/>
                <a:gd name="connsiteX133" fmla="*/ 95 w 299656"/>
                <a:gd name="connsiteY133" fmla="*/ 54483 h 417766"/>
                <a:gd name="connsiteX134" fmla="*/ 95 w 299656"/>
                <a:gd name="connsiteY134" fmla="*/ 54483 h 417766"/>
                <a:gd name="connsiteX135" fmla="*/ 95 w 299656"/>
                <a:gd name="connsiteY135" fmla="*/ 54959 h 417766"/>
                <a:gd name="connsiteX136" fmla="*/ 0 w 299656"/>
                <a:gd name="connsiteY136" fmla="*/ 56864 h 417766"/>
                <a:gd name="connsiteX137" fmla="*/ 0 w 299656"/>
                <a:gd name="connsiteY137" fmla="*/ 57340 h 417766"/>
                <a:gd name="connsiteX138" fmla="*/ 0 w 299656"/>
                <a:gd name="connsiteY138" fmla="*/ 57340 h 417766"/>
                <a:gd name="connsiteX139" fmla="*/ 0 w 299656"/>
                <a:gd name="connsiteY139" fmla="*/ 77343 h 417766"/>
                <a:gd name="connsiteX140" fmla="*/ 0 w 299656"/>
                <a:gd name="connsiteY140" fmla="*/ 359855 h 417766"/>
                <a:gd name="connsiteX141" fmla="*/ 57626 w 299656"/>
                <a:gd name="connsiteY141" fmla="*/ 417767 h 417766"/>
                <a:gd name="connsiteX142" fmla="*/ 57626 w 299656"/>
                <a:gd name="connsiteY142" fmla="*/ 417767 h 417766"/>
                <a:gd name="connsiteX143" fmla="*/ 57626 w 299656"/>
                <a:gd name="connsiteY143" fmla="*/ 0 h 417766"/>
                <a:gd name="connsiteX144" fmla="*/ 57626 w 299656"/>
                <a:gd name="connsiteY144" fmla="*/ 0 h 417766"/>
                <a:gd name="connsiteX145" fmla="*/ 57626 w 299656"/>
                <a:gd name="connsiteY145" fmla="*/ 0 h 41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299656" h="417766">
                  <a:moveTo>
                    <a:pt x="57626" y="417767"/>
                  </a:moveTo>
                  <a:lnTo>
                    <a:pt x="77629" y="417767"/>
                  </a:lnTo>
                  <a:cubicBezTo>
                    <a:pt x="109347" y="417767"/>
                    <a:pt x="135255" y="391858"/>
                    <a:pt x="135255" y="360140"/>
                  </a:cubicBezTo>
                  <a:lnTo>
                    <a:pt x="135255" y="216217"/>
                  </a:lnTo>
                  <a:cubicBezTo>
                    <a:pt x="135255" y="171640"/>
                    <a:pt x="171640" y="135255"/>
                    <a:pt x="216218" y="135255"/>
                  </a:cubicBezTo>
                  <a:lnTo>
                    <a:pt x="242030" y="135255"/>
                  </a:lnTo>
                  <a:cubicBezTo>
                    <a:pt x="273748" y="135255"/>
                    <a:pt x="299656" y="109347"/>
                    <a:pt x="299656" y="77629"/>
                  </a:cubicBezTo>
                  <a:lnTo>
                    <a:pt x="299656" y="57626"/>
                  </a:lnTo>
                  <a:cubicBezTo>
                    <a:pt x="299656" y="25908"/>
                    <a:pt x="273748" y="0"/>
                    <a:pt x="242030" y="0"/>
                  </a:cubicBezTo>
                  <a:lnTo>
                    <a:pt x="77629" y="0"/>
                  </a:lnTo>
                  <a:lnTo>
                    <a:pt x="57626" y="0"/>
                  </a:lnTo>
                  <a:lnTo>
                    <a:pt x="56197" y="0"/>
                  </a:lnTo>
                  <a:lnTo>
                    <a:pt x="56197" y="0"/>
                  </a:lnTo>
                  <a:lnTo>
                    <a:pt x="54769" y="95"/>
                  </a:lnTo>
                  <a:lnTo>
                    <a:pt x="54769" y="95"/>
                  </a:lnTo>
                  <a:lnTo>
                    <a:pt x="53340" y="190"/>
                  </a:lnTo>
                  <a:lnTo>
                    <a:pt x="53340" y="190"/>
                  </a:lnTo>
                  <a:lnTo>
                    <a:pt x="51911" y="286"/>
                  </a:lnTo>
                  <a:lnTo>
                    <a:pt x="51911" y="286"/>
                  </a:lnTo>
                  <a:lnTo>
                    <a:pt x="50482" y="476"/>
                  </a:lnTo>
                  <a:lnTo>
                    <a:pt x="50482" y="476"/>
                  </a:lnTo>
                  <a:lnTo>
                    <a:pt x="49054" y="667"/>
                  </a:lnTo>
                  <a:lnTo>
                    <a:pt x="49054" y="667"/>
                  </a:lnTo>
                  <a:lnTo>
                    <a:pt x="47625" y="857"/>
                  </a:lnTo>
                  <a:lnTo>
                    <a:pt x="47625" y="857"/>
                  </a:lnTo>
                  <a:cubicBezTo>
                    <a:pt x="47149" y="952"/>
                    <a:pt x="46672" y="1048"/>
                    <a:pt x="46196" y="1143"/>
                  </a:cubicBezTo>
                  <a:lnTo>
                    <a:pt x="46196" y="1143"/>
                  </a:lnTo>
                  <a:lnTo>
                    <a:pt x="44768" y="1429"/>
                  </a:lnTo>
                  <a:lnTo>
                    <a:pt x="44768" y="1429"/>
                  </a:lnTo>
                  <a:lnTo>
                    <a:pt x="43339" y="1809"/>
                  </a:lnTo>
                  <a:lnTo>
                    <a:pt x="43339" y="1809"/>
                  </a:lnTo>
                  <a:lnTo>
                    <a:pt x="42005" y="2191"/>
                  </a:lnTo>
                  <a:lnTo>
                    <a:pt x="42005" y="2191"/>
                  </a:lnTo>
                  <a:lnTo>
                    <a:pt x="40672" y="2572"/>
                  </a:lnTo>
                  <a:lnTo>
                    <a:pt x="40672" y="2572"/>
                  </a:lnTo>
                  <a:lnTo>
                    <a:pt x="39338" y="3048"/>
                  </a:lnTo>
                  <a:lnTo>
                    <a:pt x="39338" y="3048"/>
                  </a:lnTo>
                  <a:lnTo>
                    <a:pt x="38005" y="3524"/>
                  </a:lnTo>
                  <a:lnTo>
                    <a:pt x="38005" y="3524"/>
                  </a:lnTo>
                  <a:lnTo>
                    <a:pt x="36671" y="4000"/>
                  </a:lnTo>
                  <a:lnTo>
                    <a:pt x="36671" y="4000"/>
                  </a:lnTo>
                  <a:lnTo>
                    <a:pt x="35338" y="4572"/>
                  </a:lnTo>
                  <a:lnTo>
                    <a:pt x="35338" y="4572"/>
                  </a:lnTo>
                  <a:lnTo>
                    <a:pt x="34099" y="5143"/>
                  </a:lnTo>
                  <a:lnTo>
                    <a:pt x="34099" y="5143"/>
                  </a:lnTo>
                  <a:lnTo>
                    <a:pt x="32861" y="5715"/>
                  </a:lnTo>
                  <a:lnTo>
                    <a:pt x="32861" y="5715"/>
                  </a:lnTo>
                  <a:lnTo>
                    <a:pt x="31623" y="6382"/>
                  </a:lnTo>
                  <a:lnTo>
                    <a:pt x="31623" y="6382"/>
                  </a:lnTo>
                  <a:cubicBezTo>
                    <a:pt x="31242" y="6572"/>
                    <a:pt x="30766" y="6763"/>
                    <a:pt x="30385" y="7048"/>
                  </a:cubicBezTo>
                  <a:lnTo>
                    <a:pt x="30385" y="7048"/>
                  </a:lnTo>
                  <a:lnTo>
                    <a:pt x="29146" y="7715"/>
                  </a:lnTo>
                  <a:lnTo>
                    <a:pt x="29146" y="7715"/>
                  </a:lnTo>
                  <a:cubicBezTo>
                    <a:pt x="28765" y="7906"/>
                    <a:pt x="28385" y="8191"/>
                    <a:pt x="27908" y="8382"/>
                  </a:cubicBezTo>
                  <a:lnTo>
                    <a:pt x="27908" y="8382"/>
                  </a:lnTo>
                  <a:lnTo>
                    <a:pt x="26765" y="9144"/>
                  </a:lnTo>
                  <a:lnTo>
                    <a:pt x="26765" y="9144"/>
                  </a:lnTo>
                  <a:lnTo>
                    <a:pt x="25622" y="9906"/>
                  </a:lnTo>
                  <a:lnTo>
                    <a:pt x="25622" y="9906"/>
                  </a:lnTo>
                  <a:lnTo>
                    <a:pt x="24479" y="10668"/>
                  </a:lnTo>
                  <a:lnTo>
                    <a:pt x="24479" y="10668"/>
                  </a:lnTo>
                  <a:lnTo>
                    <a:pt x="23336" y="11525"/>
                  </a:lnTo>
                  <a:lnTo>
                    <a:pt x="23336" y="11525"/>
                  </a:lnTo>
                  <a:lnTo>
                    <a:pt x="22193" y="12382"/>
                  </a:lnTo>
                  <a:lnTo>
                    <a:pt x="22193" y="12382"/>
                  </a:lnTo>
                  <a:cubicBezTo>
                    <a:pt x="21812" y="12668"/>
                    <a:pt x="21431" y="12954"/>
                    <a:pt x="21146" y="13240"/>
                  </a:cubicBezTo>
                  <a:lnTo>
                    <a:pt x="21146" y="13240"/>
                  </a:lnTo>
                  <a:lnTo>
                    <a:pt x="20098" y="14097"/>
                  </a:lnTo>
                  <a:lnTo>
                    <a:pt x="20098" y="14097"/>
                  </a:lnTo>
                  <a:lnTo>
                    <a:pt x="19050" y="15049"/>
                  </a:lnTo>
                  <a:lnTo>
                    <a:pt x="19050" y="15049"/>
                  </a:lnTo>
                  <a:lnTo>
                    <a:pt x="18002" y="16002"/>
                  </a:lnTo>
                  <a:lnTo>
                    <a:pt x="18002" y="16002"/>
                  </a:lnTo>
                  <a:lnTo>
                    <a:pt x="17050" y="16954"/>
                  </a:lnTo>
                  <a:lnTo>
                    <a:pt x="17050" y="16954"/>
                  </a:lnTo>
                  <a:lnTo>
                    <a:pt x="16097" y="17907"/>
                  </a:lnTo>
                  <a:lnTo>
                    <a:pt x="16097" y="17907"/>
                  </a:lnTo>
                  <a:lnTo>
                    <a:pt x="15145" y="18955"/>
                  </a:lnTo>
                  <a:lnTo>
                    <a:pt x="15145" y="18955"/>
                  </a:lnTo>
                  <a:lnTo>
                    <a:pt x="14192" y="20002"/>
                  </a:lnTo>
                  <a:lnTo>
                    <a:pt x="14192" y="20002"/>
                  </a:lnTo>
                  <a:lnTo>
                    <a:pt x="13335" y="21050"/>
                  </a:lnTo>
                  <a:lnTo>
                    <a:pt x="13335" y="21050"/>
                  </a:lnTo>
                  <a:cubicBezTo>
                    <a:pt x="13049" y="21431"/>
                    <a:pt x="12763" y="21812"/>
                    <a:pt x="12478" y="22098"/>
                  </a:cubicBezTo>
                  <a:lnTo>
                    <a:pt x="12478" y="22098"/>
                  </a:lnTo>
                  <a:cubicBezTo>
                    <a:pt x="12192" y="22479"/>
                    <a:pt x="11906" y="22860"/>
                    <a:pt x="11621" y="23146"/>
                  </a:cubicBezTo>
                  <a:lnTo>
                    <a:pt x="11621" y="23146"/>
                  </a:lnTo>
                  <a:lnTo>
                    <a:pt x="10763" y="24289"/>
                  </a:lnTo>
                  <a:lnTo>
                    <a:pt x="10763" y="24289"/>
                  </a:lnTo>
                  <a:lnTo>
                    <a:pt x="10001" y="25432"/>
                  </a:lnTo>
                  <a:lnTo>
                    <a:pt x="10001" y="25432"/>
                  </a:lnTo>
                  <a:lnTo>
                    <a:pt x="9239" y="26575"/>
                  </a:lnTo>
                  <a:lnTo>
                    <a:pt x="9239" y="26575"/>
                  </a:lnTo>
                  <a:lnTo>
                    <a:pt x="8477" y="27717"/>
                  </a:lnTo>
                  <a:lnTo>
                    <a:pt x="8477" y="27717"/>
                  </a:lnTo>
                  <a:lnTo>
                    <a:pt x="7811" y="28956"/>
                  </a:lnTo>
                  <a:lnTo>
                    <a:pt x="7811" y="28956"/>
                  </a:lnTo>
                  <a:lnTo>
                    <a:pt x="7144" y="30194"/>
                  </a:lnTo>
                  <a:lnTo>
                    <a:pt x="7144" y="30194"/>
                  </a:lnTo>
                  <a:lnTo>
                    <a:pt x="6477" y="31432"/>
                  </a:lnTo>
                  <a:lnTo>
                    <a:pt x="6477" y="31432"/>
                  </a:lnTo>
                  <a:lnTo>
                    <a:pt x="5810" y="32671"/>
                  </a:lnTo>
                  <a:lnTo>
                    <a:pt x="5810" y="32671"/>
                  </a:lnTo>
                  <a:lnTo>
                    <a:pt x="5239" y="33909"/>
                  </a:lnTo>
                  <a:lnTo>
                    <a:pt x="5239" y="33909"/>
                  </a:lnTo>
                  <a:cubicBezTo>
                    <a:pt x="5048" y="34290"/>
                    <a:pt x="4858" y="34766"/>
                    <a:pt x="4667" y="35147"/>
                  </a:cubicBezTo>
                  <a:lnTo>
                    <a:pt x="4667" y="35147"/>
                  </a:lnTo>
                  <a:lnTo>
                    <a:pt x="4096" y="36481"/>
                  </a:lnTo>
                  <a:lnTo>
                    <a:pt x="4096" y="36481"/>
                  </a:lnTo>
                  <a:lnTo>
                    <a:pt x="3620" y="37814"/>
                  </a:lnTo>
                  <a:lnTo>
                    <a:pt x="3620" y="37814"/>
                  </a:lnTo>
                  <a:lnTo>
                    <a:pt x="3143" y="39148"/>
                  </a:lnTo>
                  <a:lnTo>
                    <a:pt x="3143" y="39148"/>
                  </a:lnTo>
                  <a:lnTo>
                    <a:pt x="2667" y="40481"/>
                  </a:lnTo>
                  <a:lnTo>
                    <a:pt x="2667" y="40481"/>
                  </a:lnTo>
                  <a:lnTo>
                    <a:pt x="2286" y="41815"/>
                  </a:lnTo>
                  <a:lnTo>
                    <a:pt x="2286" y="41815"/>
                  </a:lnTo>
                  <a:lnTo>
                    <a:pt x="1905" y="43148"/>
                  </a:lnTo>
                  <a:lnTo>
                    <a:pt x="1905" y="43148"/>
                  </a:lnTo>
                  <a:lnTo>
                    <a:pt x="1524" y="44482"/>
                  </a:lnTo>
                  <a:lnTo>
                    <a:pt x="1524" y="44482"/>
                  </a:lnTo>
                  <a:lnTo>
                    <a:pt x="1238" y="45910"/>
                  </a:lnTo>
                  <a:lnTo>
                    <a:pt x="1238" y="45910"/>
                  </a:lnTo>
                  <a:cubicBezTo>
                    <a:pt x="1143" y="46387"/>
                    <a:pt x="1048" y="46863"/>
                    <a:pt x="953" y="47339"/>
                  </a:cubicBezTo>
                  <a:lnTo>
                    <a:pt x="953" y="47339"/>
                  </a:lnTo>
                  <a:lnTo>
                    <a:pt x="667" y="48768"/>
                  </a:lnTo>
                  <a:lnTo>
                    <a:pt x="667" y="48768"/>
                  </a:lnTo>
                  <a:lnTo>
                    <a:pt x="476" y="50197"/>
                  </a:lnTo>
                  <a:lnTo>
                    <a:pt x="476" y="50197"/>
                  </a:lnTo>
                  <a:lnTo>
                    <a:pt x="286" y="51625"/>
                  </a:lnTo>
                  <a:lnTo>
                    <a:pt x="286" y="51625"/>
                  </a:lnTo>
                  <a:lnTo>
                    <a:pt x="190" y="53054"/>
                  </a:lnTo>
                  <a:lnTo>
                    <a:pt x="190" y="53054"/>
                  </a:lnTo>
                  <a:lnTo>
                    <a:pt x="95" y="54483"/>
                  </a:lnTo>
                  <a:lnTo>
                    <a:pt x="95" y="54483"/>
                  </a:lnTo>
                  <a:lnTo>
                    <a:pt x="95" y="54959"/>
                  </a:lnTo>
                  <a:cubicBezTo>
                    <a:pt x="95" y="55626"/>
                    <a:pt x="95" y="56197"/>
                    <a:pt x="0" y="56864"/>
                  </a:cubicBezTo>
                  <a:lnTo>
                    <a:pt x="0" y="57340"/>
                  </a:lnTo>
                  <a:lnTo>
                    <a:pt x="0" y="57340"/>
                  </a:lnTo>
                  <a:lnTo>
                    <a:pt x="0" y="77343"/>
                  </a:lnTo>
                  <a:lnTo>
                    <a:pt x="0" y="359855"/>
                  </a:lnTo>
                  <a:cubicBezTo>
                    <a:pt x="0" y="391858"/>
                    <a:pt x="25908" y="417767"/>
                    <a:pt x="57626" y="417767"/>
                  </a:cubicBezTo>
                  <a:lnTo>
                    <a:pt x="57626" y="417767"/>
                  </a:lnTo>
                  <a:close/>
                  <a:moveTo>
                    <a:pt x="57626" y="0"/>
                  </a:moveTo>
                  <a:lnTo>
                    <a:pt x="57626" y="0"/>
                  </a:lnTo>
                  <a:lnTo>
                    <a:pt x="57626"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34" name="Freeform: Shape 71">
              <a:extLst>
                <a:ext uri="{FF2B5EF4-FFF2-40B4-BE49-F238E27FC236}">
                  <a16:creationId xmlns:a16="http://schemas.microsoft.com/office/drawing/2014/main" id="{DE4697ED-4B8B-F193-9BA9-934337322137}"/>
                </a:ext>
              </a:extLst>
            </p:cNvPr>
            <p:cNvSpPr/>
            <p:nvPr/>
          </p:nvSpPr>
          <p:spPr>
            <a:xfrm>
              <a:off x="75454" y="4553410"/>
              <a:ext cx="628078" cy="867822"/>
            </a:xfrm>
            <a:custGeom>
              <a:avLst/>
              <a:gdLst>
                <a:gd name="connsiteX0" fmla="*/ 550069 w 628078"/>
                <a:gd name="connsiteY0" fmla="*/ 300609 h 867822"/>
                <a:gd name="connsiteX1" fmla="*/ 570452 w 628078"/>
                <a:gd name="connsiteY1" fmla="*/ 300609 h 867822"/>
                <a:gd name="connsiteX2" fmla="*/ 628079 w 628078"/>
                <a:gd name="connsiteY2" fmla="*/ 242983 h 867822"/>
                <a:gd name="connsiteX3" fmla="*/ 628079 w 628078"/>
                <a:gd name="connsiteY3" fmla="*/ 57626 h 867822"/>
                <a:gd name="connsiteX4" fmla="*/ 570452 w 628078"/>
                <a:gd name="connsiteY4" fmla="*/ 0 h 867822"/>
                <a:gd name="connsiteX5" fmla="*/ 216599 w 628078"/>
                <a:gd name="connsiteY5" fmla="*/ 0 h 867822"/>
                <a:gd name="connsiteX6" fmla="*/ 158972 w 628078"/>
                <a:gd name="connsiteY6" fmla="*/ 857 h 867822"/>
                <a:gd name="connsiteX7" fmla="*/ 158972 w 628078"/>
                <a:gd name="connsiteY7" fmla="*/ 212884 h 867822"/>
                <a:gd name="connsiteX8" fmla="*/ 78010 w 628078"/>
                <a:gd name="connsiteY8" fmla="*/ 293846 h 867822"/>
                <a:gd name="connsiteX9" fmla="*/ 57626 w 628078"/>
                <a:gd name="connsiteY9" fmla="*/ 293846 h 867822"/>
                <a:gd name="connsiteX10" fmla="*/ 0 w 628078"/>
                <a:gd name="connsiteY10" fmla="*/ 352901 h 867822"/>
                <a:gd name="connsiteX11" fmla="*/ 0 w 628078"/>
                <a:gd name="connsiteY11" fmla="*/ 464153 h 867822"/>
                <a:gd name="connsiteX12" fmla="*/ 0 w 628078"/>
                <a:gd name="connsiteY12" fmla="*/ 520351 h 867822"/>
                <a:gd name="connsiteX13" fmla="*/ 0 w 628078"/>
                <a:gd name="connsiteY13" fmla="*/ 810197 h 867822"/>
                <a:gd name="connsiteX14" fmla="*/ 57626 w 628078"/>
                <a:gd name="connsiteY14" fmla="*/ 867823 h 867822"/>
                <a:gd name="connsiteX15" fmla="*/ 252413 w 628078"/>
                <a:gd name="connsiteY15" fmla="*/ 867823 h 867822"/>
                <a:gd name="connsiteX16" fmla="*/ 310039 w 628078"/>
                <a:gd name="connsiteY16" fmla="*/ 866965 h 867822"/>
                <a:gd name="connsiteX17" fmla="*/ 310039 w 628078"/>
                <a:gd name="connsiteY17" fmla="*/ 660559 h 867822"/>
                <a:gd name="connsiteX18" fmla="*/ 391001 w 628078"/>
                <a:gd name="connsiteY18" fmla="*/ 579596 h 867822"/>
                <a:gd name="connsiteX19" fmla="*/ 411385 w 628078"/>
                <a:gd name="connsiteY19" fmla="*/ 579596 h 867822"/>
                <a:gd name="connsiteX20" fmla="*/ 469011 w 628078"/>
                <a:gd name="connsiteY20" fmla="*/ 520541 h 867822"/>
                <a:gd name="connsiteX21" fmla="*/ 469011 w 628078"/>
                <a:gd name="connsiteY21" fmla="*/ 381667 h 867822"/>
                <a:gd name="connsiteX22" fmla="*/ 550069 w 628078"/>
                <a:gd name="connsiteY22" fmla="*/ 300609 h 867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8078" h="867822">
                  <a:moveTo>
                    <a:pt x="550069" y="300609"/>
                  </a:moveTo>
                  <a:lnTo>
                    <a:pt x="570452" y="300609"/>
                  </a:lnTo>
                  <a:cubicBezTo>
                    <a:pt x="602171" y="300609"/>
                    <a:pt x="628079" y="274701"/>
                    <a:pt x="628079" y="242983"/>
                  </a:cubicBezTo>
                  <a:lnTo>
                    <a:pt x="628079" y="57626"/>
                  </a:lnTo>
                  <a:cubicBezTo>
                    <a:pt x="628079" y="25908"/>
                    <a:pt x="602171" y="0"/>
                    <a:pt x="570452" y="0"/>
                  </a:cubicBezTo>
                  <a:lnTo>
                    <a:pt x="216599" y="0"/>
                  </a:lnTo>
                  <a:lnTo>
                    <a:pt x="158972" y="857"/>
                  </a:lnTo>
                  <a:lnTo>
                    <a:pt x="158972" y="212884"/>
                  </a:lnTo>
                  <a:cubicBezTo>
                    <a:pt x="158972" y="257461"/>
                    <a:pt x="122587" y="293846"/>
                    <a:pt x="78010" y="293846"/>
                  </a:cubicBezTo>
                  <a:lnTo>
                    <a:pt x="57626" y="293846"/>
                  </a:lnTo>
                  <a:cubicBezTo>
                    <a:pt x="25908" y="293846"/>
                    <a:pt x="0" y="320421"/>
                    <a:pt x="0" y="352901"/>
                  </a:cubicBezTo>
                  <a:lnTo>
                    <a:pt x="0" y="464153"/>
                  </a:lnTo>
                  <a:lnTo>
                    <a:pt x="0" y="520351"/>
                  </a:lnTo>
                  <a:lnTo>
                    <a:pt x="0" y="810197"/>
                  </a:lnTo>
                  <a:cubicBezTo>
                    <a:pt x="0" y="841915"/>
                    <a:pt x="25908" y="867823"/>
                    <a:pt x="57626" y="867823"/>
                  </a:cubicBezTo>
                  <a:lnTo>
                    <a:pt x="252413" y="867823"/>
                  </a:lnTo>
                  <a:lnTo>
                    <a:pt x="310039" y="866965"/>
                  </a:lnTo>
                  <a:lnTo>
                    <a:pt x="310039" y="660559"/>
                  </a:lnTo>
                  <a:cubicBezTo>
                    <a:pt x="310039" y="615982"/>
                    <a:pt x="346424" y="579596"/>
                    <a:pt x="391001" y="579596"/>
                  </a:cubicBezTo>
                  <a:lnTo>
                    <a:pt x="411385" y="579596"/>
                  </a:lnTo>
                  <a:cubicBezTo>
                    <a:pt x="443103" y="579596"/>
                    <a:pt x="469011" y="553022"/>
                    <a:pt x="469011" y="520541"/>
                  </a:cubicBezTo>
                  <a:lnTo>
                    <a:pt x="469011" y="381667"/>
                  </a:lnTo>
                  <a:cubicBezTo>
                    <a:pt x="469011" y="336995"/>
                    <a:pt x="505397" y="300609"/>
                    <a:pt x="550069" y="30060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35" name="Freeform: Shape 72">
              <a:extLst>
                <a:ext uri="{FF2B5EF4-FFF2-40B4-BE49-F238E27FC236}">
                  <a16:creationId xmlns:a16="http://schemas.microsoft.com/office/drawing/2014/main" id="{DDFA9F4A-E2E0-0B74-3334-82410E5973FC}"/>
                </a:ext>
              </a:extLst>
            </p:cNvPr>
            <p:cNvSpPr/>
            <p:nvPr/>
          </p:nvSpPr>
          <p:spPr>
            <a:xfrm>
              <a:off x="234712" y="4126976"/>
              <a:ext cx="1892046" cy="1432274"/>
            </a:xfrm>
            <a:custGeom>
              <a:avLst/>
              <a:gdLst>
                <a:gd name="connsiteX0" fmla="*/ 388906 w 1892046"/>
                <a:gd name="connsiteY0" fmla="*/ 1432274 h 1432274"/>
                <a:gd name="connsiteX1" fmla="*/ 542068 w 1892046"/>
                <a:gd name="connsiteY1" fmla="*/ 1432274 h 1432274"/>
                <a:gd name="connsiteX2" fmla="*/ 624364 w 1892046"/>
                <a:gd name="connsiteY2" fmla="*/ 1362266 h 1432274"/>
                <a:gd name="connsiteX3" fmla="*/ 704279 w 1892046"/>
                <a:gd name="connsiteY3" fmla="*/ 1294352 h 1432274"/>
                <a:gd name="connsiteX4" fmla="*/ 1017461 w 1892046"/>
                <a:gd name="connsiteY4" fmla="*/ 1294352 h 1432274"/>
                <a:gd name="connsiteX5" fmla="*/ 1100042 w 1892046"/>
                <a:gd name="connsiteY5" fmla="*/ 1222724 h 1432274"/>
                <a:gd name="connsiteX6" fmla="*/ 1177576 w 1892046"/>
                <a:gd name="connsiteY6" fmla="*/ 1153287 h 1432274"/>
                <a:gd name="connsiteX7" fmla="*/ 1258253 w 1892046"/>
                <a:gd name="connsiteY7" fmla="*/ 1069943 h 1432274"/>
                <a:gd name="connsiteX8" fmla="*/ 1258253 w 1892046"/>
                <a:gd name="connsiteY8" fmla="*/ 796194 h 1432274"/>
                <a:gd name="connsiteX9" fmla="*/ 1337405 w 1892046"/>
                <a:gd name="connsiteY9" fmla="*/ 715232 h 1432274"/>
                <a:gd name="connsiteX10" fmla="*/ 1417701 w 1892046"/>
                <a:gd name="connsiteY10" fmla="*/ 645605 h 1432274"/>
                <a:gd name="connsiteX11" fmla="*/ 1495235 w 1892046"/>
                <a:gd name="connsiteY11" fmla="*/ 578072 h 1432274"/>
                <a:gd name="connsiteX12" fmla="*/ 1576292 w 1892046"/>
                <a:gd name="connsiteY12" fmla="*/ 495681 h 1432274"/>
                <a:gd name="connsiteX13" fmla="*/ 1657255 w 1892046"/>
                <a:gd name="connsiteY13" fmla="*/ 415671 h 1432274"/>
                <a:gd name="connsiteX14" fmla="*/ 1833658 w 1892046"/>
                <a:gd name="connsiteY14" fmla="*/ 415671 h 1432274"/>
                <a:gd name="connsiteX15" fmla="*/ 1892046 w 1892046"/>
                <a:gd name="connsiteY15" fmla="*/ 363188 h 1432274"/>
                <a:gd name="connsiteX16" fmla="*/ 1891951 w 1892046"/>
                <a:gd name="connsiteY16" fmla="*/ 273177 h 1432274"/>
                <a:gd name="connsiteX17" fmla="*/ 1630299 w 1892046"/>
                <a:gd name="connsiteY17" fmla="*/ 273844 h 1432274"/>
                <a:gd name="connsiteX18" fmla="*/ 1572673 w 1892046"/>
                <a:gd name="connsiteY18" fmla="*/ 216217 h 1432274"/>
                <a:gd name="connsiteX19" fmla="*/ 1572673 w 1892046"/>
                <a:gd name="connsiteY19" fmla="*/ 215551 h 1432274"/>
                <a:gd name="connsiteX20" fmla="*/ 1572387 w 1892046"/>
                <a:gd name="connsiteY20" fmla="*/ 215551 h 1432274"/>
                <a:gd name="connsiteX21" fmla="*/ 1572387 w 1892046"/>
                <a:gd name="connsiteY21" fmla="*/ 194691 h 1432274"/>
                <a:gd name="connsiteX22" fmla="*/ 1514761 w 1892046"/>
                <a:gd name="connsiteY22" fmla="*/ 137065 h 1432274"/>
                <a:gd name="connsiteX23" fmla="*/ 1028795 w 1892046"/>
                <a:gd name="connsiteY23" fmla="*/ 137065 h 1432274"/>
                <a:gd name="connsiteX24" fmla="*/ 1028986 w 1892046"/>
                <a:gd name="connsiteY24" fmla="*/ 137065 h 1432274"/>
                <a:gd name="connsiteX25" fmla="*/ 852869 w 1892046"/>
                <a:gd name="connsiteY25" fmla="*/ 137065 h 1432274"/>
                <a:gd name="connsiteX26" fmla="*/ 771906 w 1892046"/>
                <a:gd name="connsiteY26" fmla="*/ 56959 h 1432274"/>
                <a:gd name="connsiteX27" fmla="*/ 714280 w 1892046"/>
                <a:gd name="connsiteY27" fmla="*/ 0 h 1432274"/>
                <a:gd name="connsiteX28" fmla="*/ 57626 w 1892046"/>
                <a:gd name="connsiteY28" fmla="*/ 0 h 1432274"/>
                <a:gd name="connsiteX29" fmla="*/ 0 w 1892046"/>
                <a:gd name="connsiteY29" fmla="*/ 57626 h 1432274"/>
                <a:gd name="connsiteX30" fmla="*/ 0 w 1892046"/>
                <a:gd name="connsiteY30" fmla="*/ 288798 h 1432274"/>
                <a:gd name="connsiteX31" fmla="*/ 95 w 1892046"/>
                <a:gd name="connsiteY31" fmla="*/ 291655 h 1432274"/>
                <a:gd name="connsiteX32" fmla="*/ 95 w 1892046"/>
                <a:gd name="connsiteY32" fmla="*/ 299656 h 1432274"/>
                <a:gd name="connsiteX33" fmla="*/ 0 w 1892046"/>
                <a:gd name="connsiteY33" fmla="*/ 303466 h 1432274"/>
                <a:gd name="connsiteX34" fmla="*/ 0 w 1892046"/>
                <a:gd name="connsiteY34" fmla="*/ 427387 h 1432274"/>
                <a:gd name="connsiteX35" fmla="*/ 57341 w 1892046"/>
                <a:gd name="connsiteY35" fmla="*/ 426530 h 1432274"/>
                <a:gd name="connsiteX36" fmla="*/ 411099 w 1892046"/>
                <a:gd name="connsiteY36" fmla="*/ 426530 h 1432274"/>
                <a:gd name="connsiteX37" fmla="*/ 468725 w 1892046"/>
                <a:gd name="connsiteY37" fmla="*/ 484156 h 1432274"/>
                <a:gd name="connsiteX38" fmla="*/ 468725 w 1892046"/>
                <a:gd name="connsiteY38" fmla="*/ 669512 h 1432274"/>
                <a:gd name="connsiteX39" fmla="*/ 411099 w 1892046"/>
                <a:gd name="connsiteY39" fmla="*/ 727138 h 1432274"/>
                <a:gd name="connsiteX40" fmla="*/ 390716 w 1892046"/>
                <a:gd name="connsiteY40" fmla="*/ 727138 h 1432274"/>
                <a:gd name="connsiteX41" fmla="*/ 309753 w 1892046"/>
                <a:gd name="connsiteY41" fmla="*/ 808101 h 1432274"/>
                <a:gd name="connsiteX42" fmla="*/ 309753 w 1892046"/>
                <a:gd name="connsiteY42" fmla="*/ 946975 h 1432274"/>
                <a:gd name="connsiteX43" fmla="*/ 252127 w 1892046"/>
                <a:gd name="connsiteY43" fmla="*/ 1006030 h 1432274"/>
                <a:gd name="connsiteX44" fmla="*/ 231743 w 1892046"/>
                <a:gd name="connsiteY44" fmla="*/ 1006030 h 1432274"/>
                <a:gd name="connsiteX45" fmla="*/ 150781 w 1892046"/>
                <a:gd name="connsiteY45" fmla="*/ 1086993 h 1432274"/>
                <a:gd name="connsiteX46" fmla="*/ 150781 w 1892046"/>
                <a:gd name="connsiteY46" fmla="*/ 1293495 h 1432274"/>
                <a:gd name="connsiteX47" fmla="*/ 107347 w 1892046"/>
                <a:gd name="connsiteY47" fmla="*/ 1294162 h 1432274"/>
                <a:gd name="connsiteX48" fmla="*/ 113348 w 1892046"/>
                <a:gd name="connsiteY48" fmla="*/ 1294352 h 1432274"/>
                <a:gd name="connsiteX49" fmla="*/ 226600 w 1892046"/>
                <a:gd name="connsiteY49" fmla="*/ 1294352 h 1432274"/>
                <a:gd name="connsiteX50" fmla="*/ 306515 w 1892046"/>
                <a:gd name="connsiteY50" fmla="*/ 1362266 h 1432274"/>
                <a:gd name="connsiteX51" fmla="*/ 388906 w 1892046"/>
                <a:gd name="connsiteY51" fmla="*/ 1432274 h 1432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892046" h="1432274">
                  <a:moveTo>
                    <a:pt x="388906" y="1432274"/>
                  </a:moveTo>
                  <a:lnTo>
                    <a:pt x="542068" y="1432274"/>
                  </a:lnTo>
                  <a:cubicBezTo>
                    <a:pt x="583406" y="1432274"/>
                    <a:pt x="617982" y="1401794"/>
                    <a:pt x="624364" y="1362266"/>
                  </a:cubicBezTo>
                  <a:cubicBezTo>
                    <a:pt x="630841" y="1322737"/>
                    <a:pt x="664274" y="1294352"/>
                    <a:pt x="704279" y="1294352"/>
                  </a:cubicBezTo>
                  <a:lnTo>
                    <a:pt x="1017461" y="1294352"/>
                  </a:lnTo>
                  <a:cubicBezTo>
                    <a:pt x="1059371" y="1294352"/>
                    <a:pt x="1094232" y="1263110"/>
                    <a:pt x="1100042" y="1222724"/>
                  </a:cubicBezTo>
                  <a:cubicBezTo>
                    <a:pt x="1105662" y="1183481"/>
                    <a:pt x="1137952" y="1154526"/>
                    <a:pt x="1177576" y="1153287"/>
                  </a:cubicBezTo>
                  <a:cubicBezTo>
                    <a:pt x="1222248" y="1151858"/>
                    <a:pt x="1258253" y="1114901"/>
                    <a:pt x="1258253" y="1069943"/>
                  </a:cubicBezTo>
                  <a:lnTo>
                    <a:pt x="1258253" y="796194"/>
                  </a:lnTo>
                  <a:cubicBezTo>
                    <a:pt x="1258253" y="752284"/>
                    <a:pt x="1293400" y="716280"/>
                    <a:pt x="1337405" y="715232"/>
                  </a:cubicBezTo>
                  <a:cubicBezTo>
                    <a:pt x="1377696" y="714280"/>
                    <a:pt x="1411224" y="684371"/>
                    <a:pt x="1417701" y="645605"/>
                  </a:cubicBezTo>
                  <a:cubicBezTo>
                    <a:pt x="1424178" y="607123"/>
                    <a:pt x="1456182" y="579215"/>
                    <a:pt x="1495235" y="578072"/>
                  </a:cubicBezTo>
                  <a:cubicBezTo>
                    <a:pt x="1539716" y="576834"/>
                    <a:pt x="1575721" y="540353"/>
                    <a:pt x="1576292" y="495681"/>
                  </a:cubicBezTo>
                  <a:cubicBezTo>
                    <a:pt x="1576864" y="451390"/>
                    <a:pt x="1613059" y="415671"/>
                    <a:pt x="1657255" y="415671"/>
                  </a:cubicBezTo>
                  <a:lnTo>
                    <a:pt x="1833658" y="415671"/>
                  </a:lnTo>
                  <a:cubicBezTo>
                    <a:pt x="1865376" y="415671"/>
                    <a:pt x="1892141" y="395002"/>
                    <a:pt x="1892046" y="363188"/>
                  </a:cubicBezTo>
                  <a:lnTo>
                    <a:pt x="1891951" y="273177"/>
                  </a:lnTo>
                  <a:cubicBezTo>
                    <a:pt x="1804130" y="273177"/>
                    <a:pt x="1718215" y="273844"/>
                    <a:pt x="1630299" y="273844"/>
                  </a:cubicBezTo>
                  <a:cubicBezTo>
                    <a:pt x="1598581" y="273844"/>
                    <a:pt x="1572673" y="247936"/>
                    <a:pt x="1572673" y="216217"/>
                  </a:cubicBezTo>
                  <a:lnTo>
                    <a:pt x="1572673" y="215551"/>
                  </a:lnTo>
                  <a:lnTo>
                    <a:pt x="1572387" y="215551"/>
                  </a:lnTo>
                  <a:lnTo>
                    <a:pt x="1572387" y="194691"/>
                  </a:lnTo>
                  <a:cubicBezTo>
                    <a:pt x="1572387" y="162973"/>
                    <a:pt x="1546479" y="137065"/>
                    <a:pt x="1514761" y="137065"/>
                  </a:cubicBezTo>
                  <a:lnTo>
                    <a:pt x="1028795" y="137065"/>
                  </a:lnTo>
                  <a:lnTo>
                    <a:pt x="1028986" y="137065"/>
                  </a:lnTo>
                  <a:lnTo>
                    <a:pt x="852869" y="137065"/>
                  </a:lnTo>
                  <a:cubicBezTo>
                    <a:pt x="808577" y="137065"/>
                    <a:pt x="772382" y="101251"/>
                    <a:pt x="771906" y="56959"/>
                  </a:cubicBezTo>
                  <a:cubicBezTo>
                    <a:pt x="771525" y="25622"/>
                    <a:pt x="745712" y="0"/>
                    <a:pt x="714280" y="0"/>
                  </a:cubicBezTo>
                  <a:lnTo>
                    <a:pt x="57626" y="0"/>
                  </a:lnTo>
                  <a:cubicBezTo>
                    <a:pt x="25908" y="0"/>
                    <a:pt x="0" y="25908"/>
                    <a:pt x="0" y="57626"/>
                  </a:cubicBezTo>
                  <a:lnTo>
                    <a:pt x="0" y="288798"/>
                  </a:lnTo>
                  <a:cubicBezTo>
                    <a:pt x="0" y="289750"/>
                    <a:pt x="0" y="290703"/>
                    <a:pt x="95" y="291655"/>
                  </a:cubicBezTo>
                  <a:cubicBezTo>
                    <a:pt x="286" y="294418"/>
                    <a:pt x="286" y="296799"/>
                    <a:pt x="95" y="299656"/>
                  </a:cubicBezTo>
                  <a:cubicBezTo>
                    <a:pt x="0" y="300895"/>
                    <a:pt x="0" y="302228"/>
                    <a:pt x="0" y="303466"/>
                  </a:cubicBezTo>
                  <a:lnTo>
                    <a:pt x="0" y="427387"/>
                  </a:lnTo>
                  <a:lnTo>
                    <a:pt x="57341" y="426530"/>
                  </a:lnTo>
                  <a:lnTo>
                    <a:pt x="411099" y="426530"/>
                  </a:lnTo>
                  <a:cubicBezTo>
                    <a:pt x="442817" y="426530"/>
                    <a:pt x="468725" y="452438"/>
                    <a:pt x="468725" y="484156"/>
                  </a:cubicBezTo>
                  <a:lnTo>
                    <a:pt x="468725" y="669512"/>
                  </a:lnTo>
                  <a:cubicBezTo>
                    <a:pt x="468725" y="701230"/>
                    <a:pt x="442817" y="727138"/>
                    <a:pt x="411099" y="727138"/>
                  </a:cubicBezTo>
                  <a:lnTo>
                    <a:pt x="390716" y="727138"/>
                  </a:lnTo>
                  <a:cubicBezTo>
                    <a:pt x="346139" y="727138"/>
                    <a:pt x="309753" y="763524"/>
                    <a:pt x="309753" y="808101"/>
                  </a:cubicBezTo>
                  <a:lnTo>
                    <a:pt x="309753" y="946975"/>
                  </a:lnTo>
                  <a:cubicBezTo>
                    <a:pt x="309753" y="979456"/>
                    <a:pt x="283845" y="1006030"/>
                    <a:pt x="252127" y="1006030"/>
                  </a:cubicBezTo>
                  <a:lnTo>
                    <a:pt x="231743" y="1006030"/>
                  </a:lnTo>
                  <a:cubicBezTo>
                    <a:pt x="187166" y="1006030"/>
                    <a:pt x="150781" y="1042416"/>
                    <a:pt x="150781" y="1086993"/>
                  </a:cubicBezTo>
                  <a:lnTo>
                    <a:pt x="150781" y="1293495"/>
                  </a:lnTo>
                  <a:lnTo>
                    <a:pt x="107347" y="1294162"/>
                  </a:lnTo>
                  <a:cubicBezTo>
                    <a:pt x="109347" y="1294352"/>
                    <a:pt x="111347" y="1294352"/>
                    <a:pt x="113348" y="1294352"/>
                  </a:cubicBezTo>
                  <a:lnTo>
                    <a:pt x="226600" y="1294352"/>
                  </a:lnTo>
                  <a:cubicBezTo>
                    <a:pt x="266605" y="1294352"/>
                    <a:pt x="300038" y="1322832"/>
                    <a:pt x="306515" y="1362266"/>
                  </a:cubicBezTo>
                  <a:cubicBezTo>
                    <a:pt x="312992" y="1401889"/>
                    <a:pt x="347567" y="1432274"/>
                    <a:pt x="388906" y="1432274"/>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36" name="Freeform: Shape 73">
              <a:extLst>
                <a:ext uri="{FF2B5EF4-FFF2-40B4-BE49-F238E27FC236}">
                  <a16:creationId xmlns:a16="http://schemas.microsoft.com/office/drawing/2014/main" id="{CCEE1050-4EE9-D140-06AE-57B82C1C0A3A}"/>
                </a:ext>
              </a:extLst>
            </p:cNvPr>
            <p:cNvSpPr/>
            <p:nvPr/>
          </p:nvSpPr>
          <p:spPr>
            <a:xfrm>
              <a:off x="3572367" y="5286168"/>
              <a:ext cx="417766" cy="299656"/>
            </a:xfrm>
            <a:custGeom>
              <a:avLst/>
              <a:gdLst>
                <a:gd name="connsiteX0" fmla="*/ 0 w 417766"/>
                <a:gd name="connsiteY0" fmla="*/ 57626 h 299656"/>
                <a:gd name="connsiteX1" fmla="*/ 0 w 417766"/>
                <a:gd name="connsiteY1" fmla="*/ 77628 h 299656"/>
                <a:gd name="connsiteX2" fmla="*/ 57626 w 417766"/>
                <a:gd name="connsiteY2" fmla="*/ 135255 h 299656"/>
                <a:gd name="connsiteX3" fmla="*/ 201549 w 417766"/>
                <a:gd name="connsiteY3" fmla="*/ 135255 h 299656"/>
                <a:gd name="connsiteX4" fmla="*/ 282512 w 417766"/>
                <a:gd name="connsiteY4" fmla="*/ 216218 h 299656"/>
                <a:gd name="connsiteX5" fmla="*/ 282512 w 417766"/>
                <a:gd name="connsiteY5" fmla="*/ 242030 h 299656"/>
                <a:gd name="connsiteX6" fmla="*/ 340138 w 417766"/>
                <a:gd name="connsiteY6" fmla="*/ 299656 h 299656"/>
                <a:gd name="connsiteX7" fmla="*/ 360140 w 417766"/>
                <a:gd name="connsiteY7" fmla="*/ 299656 h 299656"/>
                <a:gd name="connsiteX8" fmla="*/ 417767 w 417766"/>
                <a:gd name="connsiteY8" fmla="*/ 242030 h 299656"/>
                <a:gd name="connsiteX9" fmla="*/ 417767 w 417766"/>
                <a:gd name="connsiteY9" fmla="*/ 77628 h 299656"/>
                <a:gd name="connsiteX10" fmla="*/ 417767 w 417766"/>
                <a:gd name="connsiteY10" fmla="*/ 57626 h 299656"/>
                <a:gd name="connsiteX11" fmla="*/ 417767 w 417766"/>
                <a:gd name="connsiteY11" fmla="*/ 56102 h 299656"/>
                <a:gd name="connsiteX12" fmla="*/ 417767 w 417766"/>
                <a:gd name="connsiteY12" fmla="*/ 56102 h 299656"/>
                <a:gd name="connsiteX13" fmla="*/ 417671 w 417766"/>
                <a:gd name="connsiteY13" fmla="*/ 54673 h 299656"/>
                <a:gd name="connsiteX14" fmla="*/ 417671 w 417766"/>
                <a:gd name="connsiteY14" fmla="*/ 54673 h 299656"/>
                <a:gd name="connsiteX15" fmla="*/ 417576 w 417766"/>
                <a:gd name="connsiteY15" fmla="*/ 53244 h 299656"/>
                <a:gd name="connsiteX16" fmla="*/ 417576 w 417766"/>
                <a:gd name="connsiteY16" fmla="*/ 53244 h 299656"/>
                <a:gd name="connsiteX17" fmla="*/ 417481 w 417766"/>
                <a:gd name="connsiteY17" fmla="*/ 51816 h 299656"/>
                <a:gd name="connsiteX18" fmla="*/ 417481 w 417766"/>
                <a:gd name="connsiteY18" fmla="*/ 51816 h 299656"/>
                <a:gd name="connsiteX19" fmla="*/ 417290 w 417766"/>
                <a:gd name="connsiteY19" fmla="*/ 50387 h 299656"/>
                <a:gd name="connsiteX20" fmla="*/ 417290 w 417766"/>
                <a:gd name="connsiteY20" fmla="*/ 50387 h 299656"/>
                <a:gd name="connsiteX21" fmla="*/ 417100 w 417766"/>
                <a:gd name="connsiteY21" fmla="*/ 48958 h 299656"/>
                <a:gd name="connsiteX22" fmla="*/ 417100 w 417766"/>
                <a:gd name="connsiteY22" fmla="*/ 48958 h 299656"/>
                <a:gd name="connsiteX23" fmla="*/ 416909 w 417766"/>
                <a:gd name="connsiteY23" fmla="*/ 47530 h 299656"/>
                <a:gd name="connsiteX24" fmla="*/ 416909 w 417766"/>
                <a:gd name="connsiteY24" fmla="*/ 47530 h 299656"/>
                <a:gd name="connsiteX25" fmla="*/ 416623 w 417766"/>
                <a:gd name="connsiteY25" fmla="*/ 46101 h 299656"/>
                <a:gd name="connsiteX26" fmla="*/ 416623 w 417766"/>
                <a:gd name="connsiteY26" fmla="*/ 46101 h 299656"/>
                <a:gd name="connsiteX27" fmla="*/ 416338 w 417766"/>
                <a:gd name="connsiteY27" fmla="*/ 44672 h 299656"/>
                <a:gd name="connsiteX28" fmla="*/ 416338 w 417766"/>
                <a:gd name="connsiteY28" fmla="*/ 44672 h 299656"/>
                <a:gd name="connsiteX29" fmla="*/ 415957 w 417766"/>
                <a:gd name="connsiteY29" fmla="*/ 43243 h 299656"/>
                <a:gd name="connsiteX30" fmla="*/ 415957 w 417766"/>
                <a:gd name="connsiteY30" fmla="*/ 43243 h 299656"/>
                <a:gd name="connsiteX31" fmla="*/ 415576 w 417766"/>
                <a:gd name="connsiteY31" fmla="*/ 41910 h 299656"/>
                <a:gd name="connsiteX32" fmla="*/ 415576 w 417766"/>
                <a:gd name="connsiteY32" fmla="*/ 41910 h 299656"/>
                <a:gd name="connsiteX33" fmla="*/ 415195 w 417766"/>
                <a:gd name="connsiteY33" fmla="*/ 40577 h 299656"/>
                <a:gd name="connsiteX34" fmla="*/ 415195 w 417766"/>
                <a:gd name="connsiteY34" fmla="*/ 40577 h 299656"/>
                <a:gd name="connsiteX35" fmla="*/ 414719 w 417766"/>
                <a:gd name="connsiteY35" fmla="*/ 39243 h 299656"/>
                <a:gd name="connsiteX36" fmla="*/ 414719 w 417766"/>
                <a:gd name="connsiteY36" fmla="*/ 39243 h 299656"/>
                <a:gd name="connsiteX37" fmla="*/ 414242 w 417766"/>
                <a:gd name="connsiteY37" fmla="*/ 37909 h 299656"/>
                <a:gd name="connsiteX38" fmla="*/ 414242 w 417766"/>
                <a:gd name="connsiteY38" fmla="*/ 37909 h 299656"/>
                <a:gd name="connsiteX39" fmla="*/ 413766 w 417766"/>
                <a:gd name="connsiteY39" fmla="*/ 36576 h 299656"/>
                <a:gd name="connsiteX40" fmla="*/ 413766 w 417766"/>
                <a:gd name="connsiteY40" fmla="*/ 36576 h 299656"/>
                <a:gd name="connsiteX41" fmla="*/ 413195 w 417766"/>
                <a:gd name="connsiteY41" fmla="*/ 35243 h 299656"/>
                <a:gd name="connsiteX42" fmla="*/ 413195 w 417766"/>
                <a:gd name="connsiteY42" fmla="*/ 35243 h 299656"/>
                <a:gd name="connsiteX43" fmla="*/ 412623 w 417766"/>
                <a:gd name="connsiteY43" fmla="*/ 34004 h 299656"/>
                <a:gd name="connsiteX44" fmla="*/ 412623 w 417766"/>
                <a:gd name="connsiteY44" fmla="*/ 34004 h 299656"/>
                <a:gd name="connsiteX45" fmla="*/ 412052 w 417766"/>
                <a:gd name="connsiteY45" fmla="*/ 32766 h 299656"/>
                <a:gd name="connsiteX46" fmla="*/ 412052 w 417766"/>
                <a:gd name="connsiteY46" fmla="*/ 32766 h 299656"/>
                <a:gd name="connsiteX47" fmla="*/ 411385 w 417766"/>
                <a:gd name="connsiteY47" fmla="*/ 31528 h 299656"/>
                <a:gd name="connsiteX48" fmla="*/ 411385 w 417766"/>
                <a:gd name="connsiteY48" fmla="*/ 31528 h 299656"/>
                <a:gd name="connsiteX49" fmla="*/ 410718 w 417766"/>
                <a:gd name="connsiteY49" fmla="*/ 30289 h 299656"/>
                <a:gd name="connsiteX50" fmla="*/ 410718 w 417766"/>
                <a:gd name="connsiteY50" fmla="*/ 30289 h 299656"/>
                <a:gd name="connsiteX51" fmla="*/ 410051 w 417766"/>
                <a:gd name="connsiteY51" fmla="*/ 29051 h 299656"/>
                <a:gd name="connsiteX52" fmla="*/ 410051 w 417766"/>
                <a:gd name="connsiteY52" fmla="*/ 29051 h 299656"/>
                <a:gd name="connsiteX53" fmla="*/ 409385 w 417766"/>
                <a:gd name="connsiteY53" fmla="*/ 27813 h 299656"/>
                <a:gd name="connsiteX54" fmla="*/ 409385 w 417766"/>
                <a:gd name="connsiteY54" fmla="*/ 27813 h 299656"/>
                <a:gd name="connsiteX55" fmla="*/ 408622 w 417766"/>
                <a:gd name="connsiteY55" fmla="*/ 26670 h 299656"/>
                <a:gd name="connsiteX56" fmla="*/ 408622 w 417766"/>
                <a:gd name="connsiteY56" fmla="*/ 26670 h 299656"/>
                <a:gd name="connsiteX57" fmla="*/ 407861 w 417766"/>
                <a:gd name="connsiteY57" fmla="*/ 25527 h 299656"/>
                <a:gd name="connsiteX58" fmla="*/ 407861 w 417766"/>
                <a:gd name="connsiteY58" fmla="*/ 25527 h 299656"/>
                <a:gd name="connsiteX59" fmla="*/ 407098 w 417766"/>
                <a:gd name="connsiteY59" fmla="*/ 24384 h 299656"/>
                <a:gd name="connsiteX60" fmla="*/ 407098 w 417766"/>
                <a:gd name="connsiteY60" fmla="*/ 24384 h 299656"/>
                <a:gd name="connsiteX61" fmla="*/ 406241 w 417766"/>
                <a:gd name="connsiteY61" fmla="*/ 23241 h 299656"/>
                <a:gd name="connsiteX62" fmla="*/ 406241 w 417766"/>
                <a:gd name="connsiteY62" fmla="*/ 23241 h 299656"/>
                <a:gd name="connsiteX63" fmla="*/ 405384 w 417766"/>
                <a:gd name="connsiteY63" fmla="*/ 22193 h 299656"/>
                <a:gd name="connsiteX64" fmla="*/ 405384 w 417766"/>
                <a:gd name="connsiteY64" fmla="*/ 22193 h 299656"/>
                <a:gd name="connsiteX65" fmla="*/ 404527 w 417766"/>
                <a:gd name="connsiteY65" fmla="*/ 21145 h 299656"/>
                <a:gd name="connsiteX66" fmla="*/ 404527 w 417766"/>
                <a:gd name="connsiteY66" fmla="*/ 21145 h 299656"/>
                <a:gd name="connsiteX67" fmla="*/ 403670 w 417766"/>
                <a:gd name="connsiteY67" fmla="*/ 20098 h 299656"/>
                <a:gd name="connsiteX68" fmla="*/ 403670 w 417766"/>
                <a:gd name="connsiteY68" fmla="*/ 20098 h 299656"/>
                <a:gd name="connsiteX69" fmla="*/ 402717 w 417766"/>
                <a:gd name="connsiteY69" fmla="*/ 19050 h 299656"/>
                <a:gd name="connsiteX70" fmla="*/ 402717 w 417766"/>
                <a:gd name="connsiteY70" fmla="*/ 19050 h 299656"/>
                <a:gd name="connsiteX71" fmla="*/ 401764 w 417766"/>
                <a:gd name="connsiteY71" fmla="*/ 18002 h 299656"/>
                <a:gd name="connsiteX72" fmla="*/ 401764 w 417766"/>
                <a:gd name="connsiteY72" fmla="*/ 18002 h 299656"/>
                <a:gd name="connsiteX73" fmla="*/ 400812 w 417766"/>
                <a:gd name="connsiteY73" fmla="*/ 17050 h 299656"/>
                <a:gd name="connsiteX74" fmla="*/ 400812 w 417766"/>
                <a:gd name="connsiteY74" fmla="*/ 17050 h 299656"/>
                <a:gd name="connsiteX75" fmla="*/ 399860 w 417766"/>
                <a:gd name="connsiteY75" fmla="*/ 16097 h 299656"/>
                <a:gd name="connsiteX76" fmla="*/ 399860 w 417766"/>
                <a:gd name="connsiteY76" fmla="*/ 16097 h 299656"/>
                <a:gd name="connsiteX77" fmla="*/ 398812 w 417766"/>
                <a:gd name="connsiteY77" fmla="*/ 15144 h 299656"/>
                <a:gd name="connsiteX78" fmla="*/ 398812 w 417766"/>
                <a:gd name="connsiteY78" fmla="*/ 15144 h 299656"/>
                <a:gd name="connsiteX79" fmla="*/ 397764 w 417766"/>
                <a:gd name="connsiteY79" fmla="*/ 14192 h 299656"/>
                <a:gd name="connsiteX80" fmla="*/ 397764 w 417766"/>
                <a:gd name="connsiteY80" fmla="*/ 14192 h 299656"/>
                <a:gd name="connsiteX81" fmla="*/ 396716 w 417766"/>
                <a:gd name="connsiteY81" fmla="*/ 13335 h 299656"/>
                <a:gd name="connsiteX82" fmla="*/ 396716 w 417766"/>
                <a:gd name="connsiteY82" fmla="*/ 13335 h 299656"/>
                <a:gd name="connsiteX83" fmla="*/ 395669 w 417766"/>
                <a:gd name="connsiteY83" fmla="*/ 12478 h 299656"/>
                <a:gd name="connsiteX84" fmla="*/ 395669 w 417766"/>
                <a:gd name="connsiteY84" fmla="*/ 12478 h 299656"/>
                <a:gd name="connsiteX85" fmla="*/ 394621 w 417766"/>
                <a:gd name="connsiteY85" fmla="*/ 11620 h 299656"/>
                <a:gd name="connsiteX86" fmla="*/ 394621 w 417766"/>
                <a:gd name="connsiteY86" fmla="*/ 11620 h 299656"/>
                <a:gd name="connsiteX87" fmla="*/ 393478 w 417766"/>
                <a:gd name="connsiteY87" fmla="*/ 10763 h 299656"/>
                <a:gd name="connsiteX88" fmla="*/ 393478 w 417766"/>
                <a:gd name="connsiteY88" fmla="*/ 10763 h 299656"/>
                <a:gd name="connsiteX89" fmla="*/ 392335 w 417766"/>
                <a:gd name="connsiteY89" fmla="*/ 10001 h 299656"/>
                <a:gd name="connsiteX90" fmla="*/ 392335 w 417766"/>
                <a:gd name="connsiteY90" fmla="*/ 10001 h 299656"/>
                <a:gd name="connsiteX91" fmla="*/ 391192 w 417766"/>
                <a:gd name="connsiteY91" fmla="*/ 9239 h 299656"/>
                <a:gd name="connsiteX92" fmla="*/ 391192 w 417766"/>
                <a:gd name="connsiteY92" fmla="*/ 9239 h 299656"/>
                <a:gd name="connsiteX93" fmla="*/ 390049 w 417766"/>
                <a:gd name="connsiteY93" fmla="*/ 8477 h 299656"/>
                <a:gd name="connsiteX94" fmla="*/ 390049 w 417766"/>
                <a:gd name="connsiteY94" fmla="*/ 8477 h 299656"/>
                <a:gd name="connsiteX95" fmla="*/ 388811 w 417766"/>
                <a:gd name="connsiteY95" fmla="*/ 7811 h 299656"/>
                <a:gd name="connsiteX96" fmla="*/ 388811 w 417766"/>
                <a:gd name="connsiteY96" fmla="*/ 7811 h 299656"/>
                <a:gd name="connsiteX97" fmla="*/ 387572 w 417766"/>
                <a:gd name="connsiteY97" fmla="*/ 7144 h 299656"/>
                <a:gd name="connsiteX98" fmla="*/ 387572 w 417766"/>
                <a:gd name="connsiteY98" fmla="*/ 7144 h 299656"/>
                <a:gd name="connsiteX99" fmla="*/ 386334 w 417766"/>
                <a:gd name="connsiteY99" fmla="*/ 6477 h 299656"/>
                <a:gd name="connsiteX100" fmla="*/ 386334 w 417766"/>
                <a:gd name="connsiteY100" fmla="*/ 6477 h 299656"/>
                <a:gd name="connsiteX101" fmla="*/ 385096 w 417766"/>
                <a:gd name="connsiteY101" fmla="*/ 5810 h 299656"/>
                <a:gd name="connsiteX102" fmla="*/ 385096 w 417766"/>
                <a:gd name="connsiteY102" fmla="*/ 5810 h 299656"/>
                <a:gd name="connsiteX103" fmla="*/ 383858 w 417766"/>
                <a:gd name="connsiteY103" fmla="*/ 5239 h 299656"/>
                <a:gd name="connsiteX104" fmla="*/ 383858 w 417766"/>
                <a:gd name="connsiteY104" fmla="*/ 5239 h 299656"/>
                <a:gd name="connsiteX105" fmla="*/ 382619 w 417766"/>
                <a:gd name="connsiteY105" fmla="*/ 4667 h 299656"/>
                <a:gd name="connsiteX106" fmla="*/ 382619 w 417766"/>
                <a:gd name="connsiteY106" fmla="*/ 4667 h 299656"/>
                <a:gd name="connsiteX107" fmla="*/ 381286 w 417766"/>
                <a:gd name="connsiteY107" fmla="*/ 4096 h 299656"/>
                <a:gd name="connsiteX108" fmla="*/ 381286 w 417766"/>
                <a:gd name="connsiteY108" fmla="*/ 4096 h 299656"/>
                <a:gd name="connsiteX109" fmla="*/ 379952 w 417766"/>
                <a:gd name="connsiteY109" fmla="*/ 3620 h 299656"/>
                <a:gd name="connsiteX110" fmla="*/ 379952 w 417766"/>
                <a:gd name="connsiteY110" fmla="*/ 3620 h 299656"/>
                <a:gd name="connsiteX111" fmla="*/ 378619 w 417766"/>
                <a:gd name="connsiteY111" fmla="*/ 3143 h 299656"/>
                <a:gd name="connsiteX112" fmla="*/ 378619 w 417766"/>
                <a:gd name="connsiteY112" fmla="*/ 3143 h 299656"/>
                <a:gd name="connsiteX113" fmla="*/ 377285 w 417766"/>
                <a:gd name="connsiteY113" fmla="*/ 2667 h 299656"/>
                <a:gd name="connsiteX114" fmla="*/ 377285 w 417766"/>
                <a:gd name="connsiteY114" fmla="*/ 2667 h 299656"/>
                <a:gd name="connsiteX115" fmla="*/ 375952 w 417766"/>
                <a:gd name="connsiteY115" fmla="*/ 2286 h 299656"/>
                <a:gd name="connsiteX116" fmla="*/ 375952 w 417766"/>
                <a:gd name="connsiteY116" fmla="*/ 2286 h 299656"/>
                <a:gd name="connsiteX117" fmla="*/ 374618 w 417766"/>
                <a:gd name="connsiteY117" fmla="*/ 1905 h 299656"/>
                <a:gd name="connsiteX118" fmla="*/ 374618 w 417766"/>
                <a:gd name="connsiteY118" fmla="*/ 1905 h 299656"/>
                <a:gd name="connsiteX119" fmla="*/ 373285 w 417766"/>
                <a:gd name="connsiteY119" fmla="*/ 1524 h 299656"/>
                <a:gd name="connsiteX120" fmla="*/ 373285 w 417766"/>
                <a:gd name="connsiteY120" fmla="*/ 1524 h 299656"/>
                <a:gd name="connsiteX121" fmla="*/ 371856 w 417766"/>
                <a:gd name="connsiteY121" fmla="*/ 1238 h 299656"/>
                <a:gd name="connsiteX122" fmla="*/ 371856 w 417766"/>
                <a:gd name="connsiteY122" fmla="*/ 1238 h 299656"/>
                <a:gd name="connsiteX123" fmla="*/ 370427 w 417766"/>
                <a:gd name="connsiteY123" fmla="*/ 952 h 299656"/>
                <a:gd name="connsiteX124" fmla="*/ 370427 w 417766"/>
                <a:gd name="connsiteY124" fmla="*/ 952 h 299656"/>
                <a:gd name="connsiteX125" fmla="*/ 368998 w 417766"/>
                <a:gd name="connsiteY125" fmla="*/ 667 h 299656"/>
                <a:gd name="connsiteX126" fmla="*/ 368998 w 417766"/>
                <a:gd name="connsiteY126" fmla="*/ 667 h 299656"/>
                <a:gd name="connsiteX127" fmla="*/ 367570 w 417766"/>
                <a:gd name="connsiteY127" fmla="*/ 476 h 299656"/>
                <a:gd name="connsiteX128" fmla="*/ 367570 w 417766"/>
                <a:gd name="connsiteY128" fmla="*/ 476 h 299656"/>
                <a:gd name="connsiteX129" fmla="*/ 366141 w 417766"/>
                <a:gd name="connsiteY129" fmla="*/ 285 h 299656"/>
                <a:gd name="connsiteX130" fmla="*/ 366141 w 417766"/>
                <a:gd name="connsiteY130" fmla="*/ 285 h 299656"/>
                <a:gd name="connsiteX131" fmla="*/ 364712 w 417766"/>
                <a:gd name="connsiteY131" fmla="*/ 190 h 299656"/>
                <a:gd name="connsiteX132" fmla="*/ 364712 w 417766"/>
                <a:gd name="connsiteY132" fmla="*/ 190 h 299656"/>
                <a:gd name="connsiteX133" fmla="*/ 363284 w 417766"/>
                <a:gd name="connsiteY133" fmla="*/ 95 h 299656"/>
                <a:gd name="connsiteX134" fmla="*/ 363284 w 417766"/>
                <a:gd name="connsiteY134" fmla="*/ 95 h 299656"/>
                <a:gd name="connsiteX135" fmla="*/ 362807 w 417766"/>
                <a:gd name="connsiteY135" fmla="*/ 95 h 299656"/>
                <a:gd name="connsiteX136" fmla="*/ 360902 w 417766"/>
                <a:gd name="connsiteY136" fmla="*/ 0 h 299656"/>
                <a:gd name="connsiteX137" fmla="*/ 360426 w 417766"/>
                <a:gd name="connsiteY137" fmla="*/ 0 h 299656"/>
                <a:gd name="connsiteX138" fmla="*/ 360426 w 417766"/>
                <a:gd name="connsiteY138" fmla="*/ 0 h 299656"/>
                <a:gd name="connsiteX139" fmla="*/ 340423 w 417766"/>
                <a:gd name="connsiteY139" fmla="*/ 0 h 299656"/>
                <a:gd name="connsiteX140" fmla="*/ 57912 w 417766"/>
                <a:gd name="connsiteY140" fmla="*/ 0 h 299656"/>
                <a:gd name="connsiteX141" fmla="*/ 0 w 417766"/>
                <a:gd name="connsiteY141" fmla="*/ 57626 h 299656"/>
                <a:gd name="connsiteX142" fmla="*/ 0 w 417766"/>
                <a:gd name="connsiteY142" fmla="*/ 57626 h 299656"/>
                <a:gd name="connsiteX143" fmla="*/ 417767 w 417766"/>
                <a:gd name="connsiteY143" fmla="*/ 57626 h 299656"/>
                <a:gd name="connsiteX144" fmla="*/ 417767 w 417766"/>
                <a:gd name="connsiteY144" fmla="*/ 57626 h 299656"/>
                <a:gd name="connsiteX145" fmla="*/ 417767 w 417766"/>
                <a:gd name="connsiteY145" fmla="*/ 57626 h 299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17766" h="299656">
                  <a:moveTo>
                    <a:pt x="0" y="57626"/>
                  </a:moveTo>
                  <a:lnTo>
                    <a:pt x="0" y="77628"/>
                  </a:lnTo>
                  <a:cubicBezTo>
                    <a:pt x="0" y="109347"/>
                    <a:pt x="25908" y="135255"/>
                    <a:pt x="57626" y="135255"/>
                  </a:cubicBezTo>
                  <a:lnTo>
                    <a:pt x="201549" y="135255"/>
                  </a:lnTo>
                  <a:cubicBezTo>
                    <a:pt x="246126" y="135255"/>
                    <a:pt x="282512" y="171640"/>
                    <a:pt x="282512" y="216218"/>
                  </a:cubicBezTo>
                  <a:lnTo>
                    <a:pt x="282512" y="242030"/>
                  </a:lnTo>
                  <a:cubicBezTo>
                    <a:pt x="282512" y="273748"/>
                    <a:pt x="308420" y="299656"/>
                    <a:pt x="340138" y="299656"/>
                  </a:cubicBezTo>
                  <a:lnTo>
                    <a:pt x="360140" y="299656"/>
                  </a:lnTo>
                  <a:cubicBezTo>
                    <a:pt x="391859" y="299656"/>
                    <a:pt x="417767" y="273748"/>
                    <a:pt x="417767" y="242030"/>
                  </a:cubicBezTo>
                  <a:lnTo>
                    <a:pt x="417767" y="77628"/>
                  </a:lnTo>
                  <a:lnTo>
                    <a:pt x="417767" y="57626"/>
                  </a:lnTo>
                  <a:lnTo>
                    <a:pt x="417767" y="56102"/>
                  </a:lnTo>
                  <a:lnTo>
                    <a:pt x="417767" y="56102"/>
                  </a:lnTo>
                  <a:lnTo>
                    <a:pt x="417671" y="54673"/>
                  </a:lnTo>
                  <a:lnTo>
                    <a:pt x="417671" y="54673"/>
                  </a:lnTo>
                  <a:lnTo>
                    <a:pt x="417576" y="53244"/>
                  </a:lnTo>
                  <a:lnTo>
                    <a:pt x="417576" y="53244"/>
                  </a:lnTo>
                  <a:lnTo>
                    <a:pt x="417481" y="51816"/>
                  </a:lnTo>
                  <a:lnTo>
                    <a:pt x="417481" y="51816"/>
                  </a:lnTo>
                  <a:lnTo>
                    <a:pt x="417290" y="50387"/>
                  </a:lnTo>
                  <a:lnTo>
                    <a:pt x="417290" y="50387"/>
                  </a:lnTo>
                  <a:lnTo>
                    <a:pt x="417100" y="48958"/>
                  </a:lnTo>
                  <a:lnTo>
                    <a:pt x="417100" y="48958"/>
                  </a:lnTo>
                  <a:lnTo>
                    <a:pt x="416909" y="47530"/>
                  </a:lnTo>
                  <a:lnTo>
                    <a:pt x="416909" y="47530"/>
                  </a:lnTo>
                  <a:cubicBezTo>
                    <a:pt x="416814" y="47054"/>
                    <a:pt x="416719" y="46577"/>
                    <a:pt x="416623" y="46101"/>
                  </a:cubicBezTo>
                  <a:lnTo>
                    <a:pt x="416623" y="46101"/>
                  </a:lnTo>
                  <a:lnTo>
                    <a:pt x="416338" y="44672"/>
                  </a:lnTo>
                  <a:lnTo>
                    <a:pt x="416338" y="44672"/>
                  </a:lnTo>
                  <a:lnTo>
                    <a:pt x="415957" y="43243"/>
                  </a:lnTo>
                  <a:lnTo>
                    <a:pt x="415957" y="43243"/>
                  </a:lnTo>
                  <a:lnTo>
                    <a:pt x="415576" y="41910"/>
                  </a:lnTo>
                  <a:lnTo>
                    <a:pt x="415576" y="41910"/>
                  </a:lnTo>
                  <a:lnTo>
                    <a:pt x="415195" y="40577"/>
                  </a:lnTo>
                  <a:lnTo>
                    <a:pt x="415195" y="40577"/>
                  </a:lnTo>
                  <a:lnTo>
                    <a:pt x="414719" y="39243"/>
                  </a:lnTo>
                  <a:lnTo>
                    <a:pt x="414719" y="39243"/>
                  </a:lnTo>
                  <a:lnTo>
                    <a:pt x="414242" y="37909"/>
                  </a:lnTo>
                  <a:lnTo>
                    <a:pt x="414242" y="37909"/>
                  </a:lnTo>
                  <a:lnTo>
                    <a:pt x="413766" y="36576"/>
                  </a:lnTo>
                  <a:lnTo>
                    <a:pt x="413766" y="36576"/>
                  </a:lnTo>
                  <a:lnTo>
                    <a:pt x="413195" y="35243"/>
                  </a:lnTo>
                  <a:lnTo>
                    <a:pt x="413195" y="35243"/>
                  </a:lnTo>
                  <a:lnTo>
                    <a:pt x="412623" y="34004"/>
                  </a:lnTo>
                  <a:lnTo>
                    <a:pt x="412623" y="34004"/>
                  </a:lnTo>
                  <a:lnTo>
                    <a:pt x="412052" y="32766"/>
                  </a:lnTo>
                  <a:lnTo>
                    <a:pt x="412052" y="32766"/>
                  </a:lnTo>
                  <a:lnTo>
                    <a:pt x="411385" y="31528"/>
                  </a:lnTo>
                  <a:lnTo>
                    <a:pt x="411385" y="31528"/>
                  </a:lnTo>
                  <a:cubicBezTo>
                    <a:pt x="411194" y="31146"/>
                    <a:pt x="411004" y="30670"/>
                    <a:pt x="410718" y="30289"/>
                  </a:cubicBezTo>
                  <a:lnTo>
                    <a:pt x="410718" y="30289"/>
                  </a:lnTo>
                  <a:lnTo>
                    <a:pt x="410051" y="29051"/>
                  </a:lnTo>
                  <a:lnTo>
                    <a:pt x="410051" y="29051"/>
                  </a:lnTo>
                  <a:cubicBezTo>
                    <a:pt x="409861" y="28670"/>
                    <a:pt x="409575" y="28289"/>
                    <a:pt x="409385" y="27813"/>
                  </a:cubicBezTo>
                  <a:lnTo>
                    <a:pt x="409385" y="27813"/>
                  </a:lnTo>
                  <a:lnTo>
                    <a:pt x="408622" y="26670"/>
                  </a:lnTo>
                  <a:lnTo>
                    <a:pt x="408622" y="26670"/>
                  </a:lnTo>
                  <a:lnTo>
                    <a:pt x="407861" y="25527"/>
                  </a:lnTo>
                  <a:lnTo>
                    <a:pt x="407861" y="25527"/>
                  </a:lnTo>
                  <a:lnTo>
                    <a:pt x="407098" y="24384"/>
                  </a:lnTo>
                  <a:lnTo>
                    <a:pt x="407098" y="24384"/>
                  </a:lnTo>
                  <a:lnTo>
                    <a:pt x="406241" y="23241"/>
                  </a:lnTo>
                  <a:lnTo>
                    <a:pt x="406241" y="23241"/>
                  </a:lnTo>
                  <a:lnTo>
                    <a:pt x="405384" y="22193"/>
                  </a:lnTo>
                  <a:lnTo>
                    <a:pt x="405384" y="22193"/>
                  </a:lnTo>
                  <a:cubicBezTo>
                    <a:pt x="405098" y="21812"/>
                    <a:pt x="404813" y="21431"/>
                    <a:pt x="404527" y="21145"/>
                  </a:cubicBezTo>
                  <a:lnTo>
                    <a:pt x="404527" y="21145"/>
                  </a:lnTo>
                  <a:lnTo>
                    <a:pt x="403670" y="20098"/>
                  </a:lnTo>
                  <a:lnTo>
                    <a:pt x="403670" y="20098"/>
                  </a:lnTo>
                  <a:lnTo>
                    <a:pt x="402717" y="19050"/>
                  </a:lnTo>
                  <a:lnTo>
                    <a:pt x="402717" y="19050"/>
                  </a:lnTo>
                  <a:lnTo>
                    <a:pt x="401764" y="18002"/>
                  </a:lnTo>
                  <a:lnTo>
                    <a:pt x="401764" y="18002"/>
                  </a:lnTo>
                  <a:lnTo>
                    <a:pt x="400812" y="17050"/>
                  </a:lnTo>
                  <a:lnTo>
                    <a:pt x="400812" y="17050"/>
                  </a:lnTo>
                  <a:lnTo>
                    <a:pt x="399860" y="16097"/>
                  </a:lnTo>
                  <a:lnTo>
                    <a:pt x="399860" y="16097"/>
                  </a:lnTo>
                  <a:lnTo>
                    <a:pt x="398812" y="15144"/>
                  </a:lnTo>
                  <a:lnTo>
                    <a:pt x="398812" y="15144"/>
                  </a:lnTo>
                  <a:lnTo>
                    <a:pt x="397764" y="14192"/>
                  </a:lnTo>
                  <a:lnTo>
                    <a:pt x="397764" y="14192"/>
                  </a:lnTo>
                  <a:lnTo>
                    <a:pt x="396716" y="13335"/>
                  </a:lnTo>
                  <a:lnTo>
                    <a:pt x="396716" y="13335"/>
                  </a:lnTo>
                  <a:cubicBezTo>
                    <a:pt x="396335" y="13049"/>
                    <a:pt x="395954" y="12763"/>
                    <a:pt x="395669" y="12478"/>
                  </a:cubicBezTo>
                  <a:lnTo>
                    <a:pt x="395669" y="12478"/>
                  </a:lnTo>
                  <a:cubicBezTo>
                    <a:pt x="395288" y="12192"/>
                    <a:pt x="394906" y="11906"/>
                    <a:pt x="394621" y="11620"/>
                  </a:cubicBezTo>
                  <a:lnTo>
                    <a:pt x="394621" y="11620"/>
                  </a:lnTo>
                  <a:lnTo>
                    <a:pt x="393478" y="10763"/>
                  </a:lnTo>
                  <a:lnTo>
                    <a:pt x="393478" y="10763"/>
                  </a:lnTo>
                  <a:lnTo>
                    <a:pt x="392335" y="10001"/>
                  </a:lnTo>
                  <a:lnTo>
                    <a:pt x="392335" y="10001"/>
                  </a:lnTo>
                  <a:lnTo>
                    <a:pt x="391192" y="9239"/>
                  </a:lnTo>
                  <a:lnTo>
                    <a:pt x="391192" y="9239"/>
                  </a:lnTo>
                  <a:lnTo>
                    <a:pt x="390049" y="8477"/>
                  </a:lnTo>
                  <a:lnTo>
                    <a:pt x="390049" y="8477"/>
                  </a:lnTo>
                  <a:lnTo>
                    <a:pt x="388811" y="7811"/>
                  </a:lnTo>
                  <a:lnTo>
                    <a:pt x="388811" y="7811"/>
                  </a:lnTo>
                  <a:lnTo>
                    <a:pt x="387572" y="7144"/>
                  </a:lnTo>
                  <a:lnTo>
                    <a:pt x="387572" y="7144"/>
                  </a:lnTo>
                  <a:lnTo>
                    <a:pt x="386334" y="6477"/>
                  </a:lnTo>
                  <a:lnTo>
                    <a:pt x="386334" y="6477"/>
                  </a:lnTo>
                  <a:lnTo>
                    <a:pt x="385096" y="5810"/>
                  </a:lnTo>
                  <a:lnTo>
                    <a:pt x="385096" y="5810"/>
                  </a:lnTo>
                  <a:lnTo>
                    <a:pt x="383858" y="5239"/>
                  </a:lnTo>
                  <a:lnTo>
                    <a:pt x="383858" y="5239"/>
                  </a:lnTo>
                  <a:cubicBezTo>
                    <a:pt x="383477" y="5048"/>
                    <a:pt x="383000" y="4858"/>
                    <a:pt x="382619" y="4667"/>
                  </a:cubicBezTo>
                  <a:lnTo>
                    <a:pt x="382619" y="4667"/>
                  </a:lnTo>
                  <a:lnTo>
                    <a:pt x="381286" y="4096"/>
                  </a:lnTo>
                  <a:lnTo>
                    <a:pt x="381286" y="4096"/>
                  </a:lnTo>
                  <a:lnTo>
                    <a:pt x="379952" y="3620"/>
                  </a:lnTo>
                  <a:lnTo>
                    <a:pt x="379952" y="3620"/>
                  </a:lnTo>
                  <a:lnTo>
                    <a:pt x="378619" y="3143"/>
                  </a:lnTo>
                  <a:lnTo>
                    <a:pt x="378619" y="3143"/>
                  </a:lnTo>
                  <a:lnTo>
                    <a:pt x="377285" y="2667"/>
                  </a:lnTo>
                  <a:lnTo>
                    <a:pt x="377285" y="2667"/>
                  </a:lnTo>
                  <a:lnTo>
                    <a:pt x="375952" y="2286"/>
                  </a:lnTo>
                  <a:lnTo>
                    <a:pt x="375952" y="2286"/>
                  </a:lnTo>
                  <a:lnTo>
                    <a:pt x="374618" y="1905"/>
                  </a:lnTo>
                  <a:lnTo>
                    <a:pt x="374618" y="1905"/>
                  </a:lnTo>
                  <a:lnTo>
                    <a:pt x="373285" y="1524"/>
                  </a:lnTo>
                  <a:lnTo>
                    <a:pt x="373285" y="1524"/>
                  </a:lnTo>
                  <a:lnTo>
                    <a:pt x="371856" y="1238"/>
                  </a:lnTo>
                  <a:lnTo>
                    <a:pt x="371856" y="1238"/>
                  </a:lnTo>
                  <a:cubicBezTo>
                    <a:pt x="371380" y="1143"/>
                    <a:pt x="370904" y="1048"/>
                    <a:pt x="370427" y="952"/>
                  </a:cubicBezTo>
                  <a:lnTo>
                    <a:pt x="370427" y="952"/>
                  </a:lnTo>
                  <a:lnTo>
                    <a:pt x="368998" y="667"/>
                  </a:lnTo>
                  <a:lnTo>
                    <a:pt x="368998" y="667"/>
                  </a:lnTo>
                  <a:lnTo>
                    <a:pt x="367570" y="476"/>
                  </a:lnTo>
                  <a:lnTo>
                    <a:pt x="367570" y="476"/>
                  </a:lnTo>
                  <a:lnTo>
                    <a:pt x="366141" y="285"/>
                  </a:lnTo>
                  <a:lnTo>
                    <a:pt x="366141" y="285"/>
                  </a:lnTo>
                  <a:lnTo>
                    <a:pt x="364712" y="190"/>
                  </a:lnTo>
                  <a:lnTo>
                    <a:pt x="364712" y="190"/>
                  </a:lnTo>
                  <a:lnTo>
                    <a:pt x="363284" y="95"/>
                  </a:lnTo>
                  <a:lnTo>
                    <a:pt x="363284" y="95"/>
                  </a:lnTo>
                  <a:lnTo>
                    <a:pt x="362807" y="95"/>
                  </a:lnTo>
                  <a:cubicBezTo>
                    <a:pt x="362141" y="95"/>
                    <a:pt x="361569" y="95"/>
                    <a:pt x="360902" y="0"/>
                  </a:cubicBezTo>
                  <a:lnTo>
                    <a:pt x="360426" y="0"/>
                  </a:lnTo>
                  <a:lnTo>
                    <a:pt x="360426" y="0"/>
                  </a:lnTo>
                  <a:lnTo>
                    <a:pt x="340423" y="0"/>
                  </a:lnTo>
                  <a:lnTo>
                    <a:pt x="57912" y="0"/>
                  </a:lnTo>
                  <a:cubicBezTo>
                    <a:pt x="25908" y="0"/>
                    <a:pt x="0" y="25908"/>
                    <a:pt x="0" y="57626"/>
                  </a:cubicBezTo>
                  <a:lnTo>
                    <a:pt x="0" y="57626"/>
                  </a:lnTo>
                  <a:close/>
                  <a:moveTo>
                    <a:pt x="417767" y="57626"/>
                  </a:moveTo>
                  <a:lnTo>
                    <a:pt x="417767" y="57626"/>
                  </a:lnTo>
                  <a:lnTo>
                    <a:pt x="417767" y="57626"/>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37" name="Freeform: Shape 74">
              <a:extLst>
                <a:ext uri="{FF2B5EF4-FFF2-40B4-BE49-F238E27FC236}">
                  <a16:creationId xmlns:a16="http://schemas.microsoft.com/office/drawing/2014/main" id="{46F28313-8E62-D112-CEDF-EB120F271AF2}"/>
                </a:ext>
              </a:extLst>
            </p:cNvPr>
            <p:cNvSpPr/>
            <p:nvPr/>
          </p:nvSpPr>
          <p:spPr>
            <a:xfrm>
              <a:off x="2750550" y="3676824"/>
              <a:ext cx="1739455" cy="1600200"/>
            </a:xfrm>
            <a:custGeom>
              <a:avLst/>
              <a:gdLst>
                <a:gd name="connsiteX0" fmla="*/ 476 w 1739455"/>
                <a:gd name="connsiteY0" fmla="*/ 514921 h 1600200"/>
                <a:gd name="connsiteX1" fmla="*/ 48006 w 1739455"/>
                <a:gd name="connsiteY1" fmla="*/ 442722 h 1600200"/>
                <a:gd name="connsiteX2" fmla="*/ 234791 w 1739455"/>
                <a:gd name="connsiteY2" fmla="*/ 442722 h 1600200"/>
                <a:gd name="connsiteX3" fmla="*/ 319373 w 1739455"/>
                <a:gd name="connsiteY3" fmla="*/ 508063 h 1600200"/>
                <a:gd name="connsiteX4" fmla="*/ 319373 w 1739455"/>
                <a:gd name="connsiteY4" fmla="*/ 527018 h 1600200"/>
                <a:gd name="connsiteX5" fmla="*/ 377000 w 1739455"/>
                <a:gd name="connsiteY5" fmla="*/ 584645 h 1600200"/>
                <a:gd name="connsiteX6" fmla="*/ 405098 w 1739455"/>
                <a:gd name="connsiteY6" fmla="*/ 584645 h 1600200"/>
                <a:gd name="connsiteX7" fmla="*/ 486061 w 1739455"/>
                <a:gd name="connsiteY7" fmla="*/ 665607 h 1600200"/>
                <a:gd name="connsiteX8" fmla="*/ 486061 w 1739455"/>
                <a:gd name="connsiteY8" fmla="*/ 672751 h 1600200"/>
                <a:gd name="connsiteX9" fmla="*/ 486061 w 1739455"/>
                <a:gd name="connsiteY9" fmla="*/ 674275 h 1600200"/>
                <a:gd name="connsiteX10" fmla="*/ 486061 w 1739455"/>
                <a:gd name="connsiteY10" fmla="*/ 674275 h 1600200"/>
                <a:gd name="connsiteX11" fmla="*/ 486156 w 1739455"/>
                <a:gd name="connsiteY11" fmla="*/ 675704 h 1600200"/>
                <a:gd name="connsiteX12" fmla="*/ 486156 w 1739455"/>
                <a:gd name="connsiteY12" fmla="*/ 675704 h 1600200"/>
                <a:gd name="connsiteX13" fmla="*/ 486251 w 1739455"/>
                <a:gd name="connsiteY13" fmla="*/ 677132 h 1600200"/>
                <a:gd name="connsiteX14" fmla="*/ 486251 w 1739455"/>
                <a:gd name="connsiteY14" fmla="*/ 677132 h 1600200"/>
                <a:gd name="connsiteX15" fmla="*/ 486346 w 1739455"/>
                <a:gd name="connsiteY15" fmla="*/ 678561 h 1600200"/>
                <a:gd name="connsiteX16" fmla="*/ 486346 w 1739455"/>
                <a:gd name="connsiteY16" fmla="*/ 678561 h 1600200"/>
                <a:gd name="connsiteX17" fmla="*/ 486537 w 1739455"/>
                <a:gd name="connsiteY17" fmla="*/ 679990 h 1600200"/>
                <a:gd name="connsiteX18" fmla="*/ 486537 w 1739455"/>
                <a:gd name="connsiteY18" fmla="*/ 679990 h 1600200"/>
                <a:gd name="connsiteX19" fmla="*/ 486728 w 1739455"/>
                <a:gd name="connsiteY19" fmla="*/ 681419 h 1600200"/>
                <a:gd name="connsiteX20" fmla="*/ 486728 w 1739455"/>
                <a:gd name="connsiteY20" fmla="*/ 681419 h 1600200"/>
                <a:gd name="connsiteX21" fmla="*/ 486918 w 1739455"/>
                <a:gd name="connsiteY21" fmla="*/ 682847 h 1600200"/>
                <a:gd name="connsiteX22" fmla="*/ 486918 w 1739455"/>
                <a:gd name="connsiteY22" fmla="*/ 682847 h 1600200"/>
                <a:gd name="connsiteX23" fmla="*/ 509206 w 1739455"/>
                <a:gd name="connsiteY23" fmla="*/ 718852 h 1600200"/>
                <a:gd name="connsiteX24" fmla="*/ 509206 w 1739455"/>
                <a:gd name="connsiteY24" fmla="*/ 718852 h 1600200"/>
                <a:gd name="connsiteX25" fmla="*/ 510350 w 1739455"/>
                <a:gd name="connsiteY25" fmla="*/ 719709 h 1600200"/>
                <a:gd name="connsiteX26" fmla="*/ 510350 w 1739455"/>
                <a:gd name="connsiteY26" fmla="*/ 719709 h 1600200"/>
                <a:gd name="connsiteX27" fmla="*/ 511493 w 1739455"/>
                <a:gd name="connsiteY27" fmla="*/ 720471 h 1600200"/>
                <a:gd name="connsiteX28" fmla="*/ 511493 w 1739455"/>
                <a:gd name="connsiteY28" fmla="*/ 720471 h 1600200"/>
                <a:gd name="connsiteX29" fmla="*/ 512636 w 1739455"/>
                <a:gd name="connsiteY29" fmla="*/ 721233 h 1600200"/>
                <a:gd name="connsiteX30" fmla="*/ 512636 w 1739455"/>
                <a:gd name="connsiteY30" fmla="*/ 721233 h 1600200"/>
                <a:gd name="connsiteX31" fmla="*/ 513779 w 1739455"/>
                <a:gd name="connsiteY31" fmla="*/ 721995 h 1600200"/>
                <a:gd name="connsiteX32" fmla="*/ 513779 w 1739455"/>
                <a:gd name="connsiteY32" fmla="*/ 721995 h 1600200"/>
                <a:gd name="connsiteX33" fmla="*/ 514350 w 1739455"/>
                <a:gd name="connsiteY33" fmla="*/ 722281 h 1600200"/>
                <a:gd name="connsiteX34" fmla="*/ 515684 w 1739455"/>
                <a:gd name="connsiteY34" fmla="*/ 723043 h 1600200"/>
                <a:gd name="connsiteX35" fmla="*/ 516255 w 1739455"/>
                <a:gd name="connsiteY35" fmla="*/ 723329 h 1600200"/>
                <a:gd name="connsiteX36" fmla="*/ 516255 w 1739455"/>
                <a:gd name="connsiteY36" fmla="*/ 723329 h 1600200"/>
                <a:gd name="connsiteX37" fmla="*/ 517493 w 1739455"/>
                <a:gd name="connsiteY37" fmla="*/ 723995 h 1600200"/>
                <a:gd name="connsiteX38" fmla="*/ 517493 w 1739455"/>
                <a:gd name="connsiteY38" fmla="*/ 723995 h 1600200"/>
                <a:gd name="connsiteX39" fmla="*/ 518731 w 1739455"/>
                <a:gd name="connsiteY39" fmla="*/ 724662 h 1600200"/>
                <a:gd name="connsiteX40" fmla="*/ 518731 w 1739455"/>
                <a:gd name="connsiteY40" fmla="*/ 724662 h 1600200"/>
                <a:gd name="connsiteX41" fmla="*/ 519970 w 1739455"/>
                <a:gd name="connsiteY41" fmla="*/ 725234 h 1600200"/>
                <a:gd name="connsiteX42" fmla="*/ 519970 w 1739455"/>
                <a:gd name="connsiteY42" fmla="*/ 725234 h 1600200"/>
                <a:gd name="connsiteX43" fmla="*/ 521208 w 1739455"/>
                <a:gd name="connsiteY43" fmla="*/ 725805 h 1600200"/>
                <a:gd name="connsiteX44" fmla="*/ 521208 w 1739455"/>
                <a:gd name="connsiteY44" fmla="*/ 725805 h 1600200"/>
                <a:gd name="connsiteX45" fmla="*/ 522542 w 1739455"/>
                <a:gd name="connsiteY45" fmla="*/ 726377 h 1600200"/>
                <a:gd name="connsiteX46" fmla="*/ 522542 w 1739455"/>
                <a:gd name="connsiteY46" fmla="*/ 726377 h 1600200"/>
                <a:gd name="connsiteX47" fmla="*/ 523875 w 1739455"/>
                <a:gd name="connsiteY47" fmla="*/ 726853 h 1600200"/>
                <a:gd name="connsiteX48" fmla="*/ 523875 w 1739455"/>
                <a:gd name="connsiteY48" fmla="*/ 726853 h 1600200"/>
                <a:gd name="connsiteX49" fmla="*/ 525209 w 1739455"/>
                <a:gd name="connsiteY49" fmla="*/ 727329 h 1600200"/>
                <a:gd name="connsiteX50" fmla="*/ 525209 w 1739455"/>
                <a:gd name="connsiteY50" fmla="*/ 727329 h 1600200"/>
                <a:gd name="connsiteX51" fmla="*/ 525494 w 1739455"/>
                <a:gd name="connsiteY51" fmla="*/ 727424 h 1600200"/>
                <a:gd name="connsiteX52" fmla="*/ 527590 w 1739455"/>
                <a:gd name="connsiteY52" fmla="*/ 728091 h 1600200"/>
                <a:gd name="connsiteX53" fmla="*/ 527876 w 1739455"/>
                <a:gd name="connsiteY53" fmla="*/ 728186 h 1600200"/>
                <a:gd name="connsiteX54" fmla="*/ 527876 w 1739455"/>
                <a:gd name="connsiteY54" fmla="*/ 728186 h 1600200"/>
                <a:gd name="connsiteX55" fmla="*/ 529209 w 1739455"/>
                <a:gd name="connsiteY55" fmla="*/ 728567 h 1600200"/>
                <a:gd name="connsiteX56" fmla="*/ 529209 w 1739455"/>
                <a:gd name="connsiteY56" fmla="*/ 728567 h 1600200"/>
                <a:gd name="connsiteX57" fmla="*/ 530543 w 1739455"/>
                <a:gd name="connsiteY57" fmla="*/ 728948 h 1600200"/>
                <a:gd name="connsiteX58" fmla="*/ 530543 w 1739455"/>
                <a:gd name="connsiteY58" fmla="*/ 728948 h 1600200"/>
                <a:gd name="connsiteX59" fmla="*/ 531971 w 1739455"/>
                <a:gd name="connsiteY59" fmla="*/ 729234 h 1600200"/>
                <a:gd name="connsiteX60" fmla="*/ 531971 w 1739455"/>
                <a:gd name="connsiteY60" fmla="*/ 729234 h 1600200"/>
                <a:gd name="connsiteX61" fmla="*/ 533400 w 1739455"/>
                <a:gd name="connsiteY61" fmla="*/ 729520 h 1600200"/>
                <a:gd name="connsiteX62" fmla="*/ 533400 w 1739455"/>
                <a:gd name="connsiteY62" fmla="*/ 729520 h 1600200"/>
                <a:gd name="connsiteX63" fmla="*/ 533686 w 1739455"/>
                <a:gd name="connsiteY63" fmla="*/ 729520 h 1600200"/>
                <a:gd name="connsiteX64" fmla="*/ 536067 w 1739455"/>
                <a:gd name="connsiteY64" fmla="*/ 729901 h 1600200"/>
                <a:gd name="connsiteX65" fmla="*/ 536353 w 1739455"/>
                <a:gd name="connsiteY65" fmla="*/ 729901 h 1600200"/>
                <a:gd name="connsiteX66" fmla="*/ 536353 w 1739455"/>
                <a:gd name="connsiteY66" fmla="*/ 729901 h 1600200"/>
                <a:gd name="connsiteX67" fmla="*/ 537781 w 1739455"/>
                <a:gd name="connsiteY67" fmla="*/ 730091 h 1600200"/>
                <a:gd name="connsiteX68" fmla="*/ 537781 w 1739455"/>
                <a:gd name="connsiteY68" fmla="*/ 730091 h 1600200"/>
                <a:gd name="connsiteX69" fmla="*/ 539210 w 1739455"/>
                <a:gd name="connsiteY69" fmla="*/ 730187 h 1600200"/>
                <a:gd name="connsiteX70" fmla="*/ 539210 w 1739455"/>
                <a:gd name="connsiteY70" fmla="*/ 730187 h 1600200"/>
                <a:gd name="connsiteX71" fmla="*/ 540639 w 1739455"/>
                <a:gd name="connsiteY71" fmla="*/ 730282 h 1600200"/>
                <a:gd name="connsiteX72" fmla="*/ 540639 w 1739455"/>
                <a:gd name="connsiteY72" fmla="*/ 730282 h 1600200"/>
                <a:gd name="connsiteX73" fmla="*/ 541115 w 1739455"/>
                <a:gd name="connsiteY73" fmla="*/ 730282 h 1600200"/>
                <a:gd name="connsiteX74" fmla="*/ 544259 w 1739455"/>
                <a:gd name="connsiteY74" fmla="*/ 730377 h 1600200"/>
                <a:gd name="connsiteX75" fmla="*/ 563594 w 1739455"/>
                <a:gd name="connsiteY75" fmla="*/ 730377 h 1600200"/>
                <a:gd name="connsiteX76" fmla="*/ 565880 w 1739455"/>
                <a:gd name="connsiteY76" fmla="*/ 730377 h 1600200"/>
                <a:gd name="connsiteX77" fmla="*/ 646843 w 1739455"/>
                <a:gd name="connsiteY77" fmla="*/ 811339 h 1600200"/>
                <a:gd name="connsiteX78" fmla="*/ 646843 w 1739455"/>
                <a:gd name="connsiteY78" fmla="*/ 814864 h 1600200"/>
                <a:gd name="connsiteX79" fmla="*/ 646843 w 1739455"/>
                <a:gd name="connsiteY79" fmla="*/ 816388 h 1600200"/>
                <a:gd name="connsiteX80" fmla="*/ 646843 w 1739455"/>
                <a:gd name="connsiteY80" fmla="*/ 816388 h 1600200"/>
                <a:gd name="connsiteX81" fmla="*/ 646938 w 1739455"/>
                <a:gd name="connsiteY81" fmla="*/ 817817 h 1600200"/>
                <a:gd name="connsiteX82" fmla="*/ 646938 w 1739455"/>
                <a:gd name="connsiteY82" fmla="*/ 817817 h 1600200"/>
                <a:gd name="connsiteX83" fmla="*/ 647033 w 1739455"/>
                <a:gd name="connsiteY83" fmla="*/ 819245 h 1600200"/>
                <a:gd name="connsiteX84" fmla="*/ 647033 w 1739455"/>
                <a:gd name="connsiteY84" fmla="*/ 819245 h 1600200"/>
                <a:gd name="connsiteX85" fmla="*/ 647129 w 1739455"/>
                <a:gd name="connsiteY85" fmla="*/ 820674 h 1600200"/>
                <a:gd name="connsiteX86" fmla="*/ 647129 w 1739455"/>
                <a:gd name="connsiteY86" fmla="*/ 820674 h 1600200"/>
                <a:gd name="connsiteX87" fmla="*/ 647319 w 1739455"/>
                <a:gd name="connsiteY87" fmla="*/ 822103 h 1600200"/>
                <a:gd name="connsiteX88" fmla="*/ 647319 w 1739455"/>
                <a:gd name="connsiteY88" fmla="*/ 822103 h 1600200"/>
                <a:gd name="connsiteX89" fmla="*/ 647510 w 1739455"/>
                <a:gd name="connsiteY89" fmla="*/ 823531 h 1600200"/>
                <a:gd name="connsiteX90" fmla="*/ 647510 w 1739455"/>
                <a:gd name="connsiteY90" fmla="*/ 823531 h 1600200"/>
                <a:gd name="connsiteX91" fmla="*/ 647795 w 1739455"/>
                <a:gd name="connsiteY91" fmla="*/ 824960 h 1600200"/>
                <a:gd name="connsiteX92" fmla="*/ 647795 w 1739455"/>
                <a:gd name="connsiteY92" fmla="*/ 824960 h 1600200"/>
                <a:gd name="connsiteX93" fmla="*/ 648081 w 1739455"/>
                <a:gd name="connsiteY93" fmla="*/ 826389 h 1600200"/>
                <a:gd name="connsiteX94" fmla="*/ 648081 w 1739455"/>
                <a:gd name="connsiteY94" fmla="*/ 826389 h 1600200"/>
                <a:gd name="connsiteX95" fmla="*/ 648367 w 1739455"/>
                <a:gd name="connsiteY95" fmla="*/ 827818 h 1600200"/>
                <a:gd name="connsiteX96" fmla="*/ 648367 w 1739455"/>
                <a:gd name="connsiteY96" fmla="*/ 827818 h 1600200"/>
                <a:gd name="connsiteX97" fmla="*/ 648748 w 1739455"/>
                <a:gd name="connsiteY97" fmla="*/ 829247 h 1600200"/>
                <a:gd name="connsiteX98" fmla="*/ 648748 w 1739455"/>
                <a:gd name="connsiteY98" fmla="*/ 829247 h 1600200"/>
                <a:gd name="connsiteX99" fmla="*/ 700088 w 1739455"/>
                <a:gd name="connsiteY99" fmla="*/ 872300 h 1600200"/>
                <a:gd name="connsiteX100" fmla="*/ 700088 w 1739455"/>
                <a:gd name="connsiteY100" fmla="*/ 872300 h 1600200"/>
                <a:gd name="connsiteX101" fmla="*/ 701516 w 1739455"/>
                <a:gd name="connsiteY101" fmla="*/ 872395 h 1600200"/>
                <a:gd name="connsiteX102" fmla="*/ 701516 w 1739455"/>
                <a:gd name="connsiteY102" fmla="*/ 872395 h 1600200"/>
                <a:gd name="connsiteX103" fmla="*/ 701993 w 1739455"/>
                <a:gd name="connsiteY103" fmla="*/ 872395 h 1600200"/>
                <a:gd name="connsiteX104" fmla="*/ 705136 w 1739455"/>
                <a:gd name="connsiteY104" fmla="*/ 872490 h 1600200"/>
                <a:gd name="connsiteX105" fmla="*/ 712565 w 1739455"/>
                <a:gd name="connsiteY105" fmla="*/ 872490 h 1600200"/>
                <a:gd name="connsiteX106" fmla="*/ 793528 w 1739455"/>
                <a:gd name="connsiteY106" fmla="*/ 953453 h 1600200"/>
                <a:gd name="connsiteX107" fmla="*/ 793528 w 1739455"/>
                <a:gd name="connsiteY107" fmla="*/ 956977 h 1600200"/>
                <a:gd name="connsiteX108" fmla="*/ 793528 w 1739455"/>
                <a:gd name="connsiteY108" fmla="*/ 958501 h 1600200"/>
                <a:gd name="connsiteX109" fmla="*/ 793528 w 1739455"/>
                <a:gd name="connsiteY109" fmla="*/ 958501 h 1600200"/>
                <a:gd name="connsiteX110" fmla="*/ 793623 w 1739455"/>
                <a:gd name="connsiteY110" fmla="*/ 959930 h 1600200"/>
                <a:gd name="connsiteX111" fmla="*/ 793623 w 1739455"/>
                <a:gd name="connsiteY111" fmla="*/ 959930 h 1600200"/>
                <a:gd name="connsiteX112" fmla="*/ 793718 w 1739455"/>
                <a:gd name="connsiteY112" fmla="*/ 961358 h 1600200"/>
                <a:gd name="connsiteX113" fmla="*/ 793718 w 1739455"/>
                <a:gd name="connsiteY113" fmla="*/ 961358 h 1600200"/>
                <a:gd name="connsiteX114" fmla="*/ 793813 w 1739455"/>
                <a:gd name="connsiteY114" fmla="*/ 962787 h 1600200"/>
                <a:gd name="connsiteX115" fmla="*/ 793813 w 1739455"/>
                <a:gd name="connsiteY115" fmla="*/ 962787 h 1600200"/>
                <a:gd name="connsiteX116" fmla="*/ 794004 w 1739455"/>
                <a:gd name="connsiteY116" fmla="*/ 964216 h 1600200"/>
                <a:gd name="connsiteX117" fmla="*/ 794004 w 1739455"/>
                <a:gd name="connsiteY117" fmla="*/ 964216 h 1600200"/>
                <a:gd name="connsiteX118" fmla="*/ 794195 w 1739455"/>
                <a:gd name="connsiteY118" fmla="*/ 965645 h 1600200"/>
                <a:gd name="connsiteX119" fmla="*/ 794195 w 1739455"/>
                <a:gd name="connsiteY119" fmla="*/ 965645 h 1600200"/>
                <a:gd name="connsiteX120" fmla="*/ 823151 w 1739455"/>
                <a:gd name="connsiteY120" fmla="*/ 1007269 h 1600200"/>
                <a:gd name="connsiteX121" fmla="*/ 823722 w 1739455"/>
                <a:gd name="connsiteY121" fmla="*/ 1007555 h 1600200"/>
                <a:gd name="connsiteX122" fmla="*/ 823722 w 1739455"/>
                <a:gd name="connsiteY122" fmla="*/ 1007555 h 1600200"/>
                <a:gd name="connsiteX123" fmla="*/ 824960 w 1739455"/>
                <a:gd name="connsiteY123" fmla="*/ 1008221 h 1600200"/>
                <a:gd name="connsiteX124" fmla="*/ 824960 w 1739455"/>
                <a:gd name="connsiteY124" fmla="*/ 1008221 h 1600200"/>
                <a:gd name="connsiteX125" fmla="*/ 826198 w 1739455"/>
                <a:gd name="connsiteY125" fmla="*/ 1008888 h 1600200"/>
                <a:gd name="connsiteX126" fmla="*/ 826198 w 1739455"/>
                <a:gd name="connsiteY126" fmla="*/ 1008888 h 1600200"/>
                <a:gd name="connsiteX127" fmla="*/ 827437 w 1739455"/>
                <a:gd name="connsiteY127" fmla="*/ 1009460 h 1600200"/>
                <a:gd name="connsiteX128" fmla="*/ 827437 w 1739455"/>
                <a:gd name="connsiteY128" fmla="*/ 1009460 h 1600200"/>
                <a:gd name="connsiteX129" fmla="*/ 828675 w 1739455"/>
                <a:gd name="connsiteY129" fmla="*/ 1010031 h 1600200"/>
                <a:gd name="connsiteX130" fmla="*/ 828675 w 1739455"/>
                <a:gd name="connsiteY130" fmla="*/ 1010031 h 1600200"/>
                <a:gd name="connsiteX131" fmla="*/ 830009 w 1739455"/>
                <a:gd name="connsiteY131" fmla="*/ 1010603 h 1600200"/>
                <a:gd name="connsiteX132" fmla="*/ 830009 w 1739455"/>
                <a:gd name="connsiteY132" fmla="*/ 1010603 h 1600200"/>
                <a:gd name="connsiteX133" fmla="*/ 831342 w 1739455"/>
                <a:gd name="connsiteY133" fmla="*/ 1011079 h 1600200"/>
                <a:gd name="connsiteX134" fmla="*/ 831342 w 1739455"/>
                <a:gd name="connsiteY134" fmla="*/ 1011079 h 1600200"/>
                <a:gd name="connsiteX135" fmla="*/ 832676 w 1739455"/>
                <a:gd name="connsiteY135" fmla="*/ 1011555 h 1600200"/>
                <a:gd name="connsiteX136" fmla="*/ 832676 w 1739455"/>
                <a:gd name="connsiteY136" fmla="*/ 1011555 h 1600200"/>
                <a:gd name="connsiteX137" fmla="*/ 832961 w 1739455"/>
                <a:gd name="connsiteY137" fmla="*/ 1011650 h 1600200"/>
                <a:gd name="connsiteX138" fmla="*/ 835057 w 1739455"/>
                <a:gd name="connsiteY138" fmla="*/ 1012317 h 1600200"/>
                <a:gd name="connsiteX139" fmla="*/ 835343 w 1739455"/>
                <a:gd name="connsiteY139" fmla="*/ 1012412 h 1600200"/>
                <a:gd name="connsiteX140" fmla="*/ 835343 w 1739455"/>
                <a:gd name="connsiteY140" fmla="*/ 1012412 h 1600200"/>
                <a:gd name="connsiteX141" fmla="*/ 836676 w 1739455"/>
                <a:gd name="connsiteY141" fmla="*/ 1012793 h 1600200"/>
                <a:gd name="connsiteX142" fmla="*/ 836676 w 1739455"/>
                <a:gd name="connsiteY142" fmla="*/ 1012793 h 1600200"/>
                <a:gd name="connsiteX143" fmla="*/ 838010 w 1739455"/>
                <a:gd name="connsiteY143" fmla="*/ 1013174 h 1600200"/>
                <a:gd name="connsiteX144" fmla="*/ 838010 w 1739455"/>
                <a:gd name="connsiteY144" fmla="*/ 1013174 h 1600200"/>
                <a:gd name="connsiteX145" fmla="*/ 839438 w 1739455"/>
                <a:gd name="connsiteY145" fmla="*/ 1013460 h 1600200"/>
                <a:gd name="connsiteX146" fmla="*/ 839438 w 1739455"/>
                <a:gd name="connsiteY146" fmla="*/ 1013460 h 1600200"/>
                <a:gd name="connsiteX147" fmla="*/ 840867 w 1739455"/>
                <a:gd name="connsiteY147" fmla="*/ 1013746 h 1600200"/>
                <a:gd name="connsiteX148" fmla="*/ 840867 w 1739455"/>
                <a:gd name="connsiteY148" fmla="*/ 1013746 h 1600200"/>
                <a:gd name="connsiteX149" fmla="*/ 841153 w 1739455"/>
                <a:gd name="connsiteY149" fmla="*/ 1013746 h 1600200"/>
                <a:gd name="connsiteX150" fmla="*/ 843534 w 1739455"/>
                <a:gd name="connsiteY150" fmla="*/ 1014127 h 1600200"/>
                <a:gd name="connsiteX151" fmla="*/ 843820 w 1739455"/>
                <a:gd name="connsiteY151" fmla="*/ 1014127 h 1600200"/>
                <a:gd name="connsiteX152" fmla="*/ 843820 w 1739455"/>
                <a:gd name="connsiteY152" fmla="*/ 1014127 h 1600200"/>
                <a:gd name="connsiteX153" fmla="*/ 845248 w 1739455"/>
                <a:gd name="connsiteY153" fmla="*/ 1014317 h 1600200"/>
                <a:gd name="connsiteX154" fmla="*/ 845248 w 1739455"/>
                <a:gd name="connsiteY154" fmla="*/ 1014317 h 1600200"/>
                <a:gd name="connsiteX155" fmla="*/ 846677 w 1739455"/>
                <a:gd name="connsiteY155" fmla="*/ 1014413 h 1600200"/>
                <a:gd name="connsiteX156" fmla="*/ 846677 w 1739455"/>
                <a:gd name="connsiteY156" fmla="*/ 1014413 h 1600200"/>
                <a:gd name="connsiteX157" fmla="*/ 848106 w 1739455"/>
                <a:gd name="connsiteY157" fmla="*/ 1014508 h 1600200"/>
                <a:gd name="connsiteX158" fmla="*/ 848106 w 1739455"/>
                <a:gd name="connsiteY158" fmla="*/ 1014508 h 1600200"/>
                <a:gd name="connsiteX159" fmla="*/ 848582 w 1739455"/>
                <a:gd name="connsiteY159" fmla="*/ 1014508 h 1600200"/>
                <a:gd name="connsiteX160" fmla="*/ 851726 w 1739455"/>
                <a:gd name="connsiteY160" fmla="*/ 1014603 h 1600200"/>
                <a:gd name="connsiteX161" fmla="*/ 871156 w 1739455"/>
                <a:gd name="connsiteY161" fmla="*/ 1014603 h 1600200"/>
                <a:gd name="connsiteX162" fmla="*/ 878110 w 1739455"/>
                <a:gd name="connsiteY162" fmla="*/ 1014603 h 1600200"/>
                <a:gd name="connsiteX163" fmla="*/ 959072 w 1739455"/>
                <a:gd name="connsiteY163" fmla="*/ 1095566 h 1600200"/>
                <a:gd name="connsiteX164" fmla="*/ 959072 w 1739455"/>
                <a:gd name="connsiteY164" fmla="*/ 1105376 h 1600200"/>
                <a:gd name="connsiteX165" fmla="*/ 959072 w 1739455"/>
                <a:gd name="connsiteY165" fmla="*/ 1106805 h 1600200"/>
                <a:gd name="connsiteX166" fmla="*/ 959072 w 1739455"/>
                <a:gd name="connsiteY166" fmla="*/ 1106805 h 1600200"/>
                <a:gd name="connsiteX167" fmla="*/ 959168 w 1739455"/>
                <a:gd name="connsiteY167" fmla="*/ 1108234 h 1600200"/>
                <a:gd name="connsiteX168" fmla="*/ 959168 w 1739455"/>
                <a:gd name="connsiteY168" fmla="*/ 1108234 h 1600200"/>
                <a:gd name="connsiteX169" fmla="*/ 959263 w 1739455"/>
                <a:gd name="connsiteY169" fmla="*/ 1109663 h 1600200"/>
                <a:gd name="connsiteX170" fmla="*/ 959263 w 1739455"/>
                <a:gd name="connsiteY170" fmla="*/ 1109663 h 1600200"/>
                <a:gd name="connsiteX171" fmla="*/ 959358 w 1739455"/>
                <a:gd name="connsiteY171" fmla="*/ 1111091 h 1600200"/>
                <a:gd name="connsiteX172" fmla="*/ 959358 w 1739455"/>
                <a:gd name="connsiteY172" fmla="*/ 1111091 h 1600200"/>
                <a:gd name="connsiteX173" fmla="*/ 959548 w 1739455"/>
                <a:gd name="connsiteY173" fmla="*/ 1112520 h 1600200"/>
                <a:gd name="connsiteX174" fmla="*/ 959548 w 1739455"/>
                <a:gd name="connsiteY174" fmla="*/ 1112520 h 1600200"/>
                <a:gd name="connsiteX175" fmla="*/ 959739 w 1739455"/>
                <a:gd name="connsiteY175" fmla="*/ 1113949 h 1600200"/>
                <a:gd name="connsiteX176" fmla="*/ 959739 w 1739455"/>
                <a:gd name="connsiteY176" fmla="*/ 1113949 h 1600200"/>
                <a:gd name="connsiteX177" fmla="*/ 959930 w 1739455"/>
                <a:gd name="connsiteY177" fmla="*/ 1115378 h 1600200"/>
                <a:gd name="connsiteX178" fmla="*/ 959930 w 1739455"/>
                <a:gd name="connsiteY178" fmla="*/ 1115378 h 1600200"/>
                <a:gd name="connsiteX179" fmla="*/ 960215 w 1739455"/>
                <a:gd name="connsiteY179" fmla="*/ 1116806 h 1600200"/>
                <a:gd name="connsiteX180" fmla="*/ 960215 w 1739455"/>
                <a:gd name="connsiteY180" fmla="*/ 1116806 h 1600200"/>
                <a:gd name="connsiteX181" fmla="*/ 960501 w 1739455"/>
                <a:gd name="connsiteY181" fmla="*/ 1118235 h 1600200"/>
                <a:gd name="connsiteX182" fmla="*/ 960501 w 1739455"/>
                <a:gd name="connsiteY182" fmla="*/ 1118235 h 1600200"/>
                <a:gd name="connsiteX183" fmla="*/ 960882 w 1739455"/>
                <a:gd name="connsiteY183" fmla="*/ 1119664 h 1600200"/>
                <a:gd name="connsiteX184" fmla="*/ 960882 w 1739455"/>
                <a:gd name="connsiteY184" fmla="*/ 1119664 h 1600200"/>
                <a:gd name="connsiteX185" fmla="*/ 961263 w 1739455"/>
                <a:gd name="connsiteY185" fmla="*/ 1120997 h 1600200"/>
                <a:gd name="connsiteX186" fmla="*/ 961263 w 1739455"/>
                <a:gd name="connsiteY186" fmla="*/ 1120997 h 1600200"/>
                <a:gd name="connsiteX187" fmla="*/ 961644 w 1739455"/>
                <a:gd name="connsiteY187" fmla="*/ 1122331 h 1600200"/>
                <a:gd name="connsiteX188" fmla="*/ 961644 w 1739455"/>
                <a:gd name="connsiteY188" fmla="*/ 1122331 h 1600200"/>
                <a:gd name="connsiteX189" fmla="*/ 962120 w 1739455"/>
                <a:gd name="connsiteY189" fmla="*/ 1123664 h 1600200"/>
                <a:gd name="connsiteX190" fmla="*/ 962120 w 1739455"/>
                <a:gd name="connsiteY190" fmla="*/ 1123664 h 1600200"/>
                <a:gd name="connsiteX191" fmla="*/ 962597 w 1739455"/>
                <a:gd name="connsiteY191" fmla="*/ 1124998 h 1600200"/>
                <a:gd name="connsiteX192" fmla="*/ 962597 w 1739455"/>
                <a:gd name="connsiteY192" fmla="*/ 1124998 h 1600200"/>
                <a:gd name="connsiteX193" fmla="*/ 963073 w 1739455"/>
                <a:gd name="connsiteY193" fmla="*/ 1126331 h 1600200"/>
                <a:gd name="connsiteX194" fmla="*/ 963073 w 1739455"/>
                <a:gd name="connsiteY194" fmla="*/ 1126331 h 1600200"/>
                <a:gd name="connsiteX195" fmla="*/ 963644 w 1739455"/>
                <a:gd name="connsiteY195" fmla="*/ 1127665 h 1600200"/>
                <a:gd name="connsiteX196" fmla="*/ 963644 w 1739455"/>
                <a:gd name="connsiteY196" fmla="*/ 1127665 h 1600200"/>
                <a:gd name="connsiteX197" fmla="*/ 964216 w 1739455"/>
                <a:gd name="connsiteY197" fmla="*/ 1128903 h 1600200"/>
                <a:gd name="connsiteX198" fmla="*/ 964216 w 1739455"/>
                <a:gd name="connsiteY198" fmla="*/ 1128903 h 1600200"/>
                <a:gd name="connsiteX199" fmla="*/ 964787 w 1739455"/>
                <a:gd name="connsiteY199" fmla="*/ 1130141 h 1600200"/>
                <a:gd name="connsiteX200" fmla="*/ 964787 w 1739455"/>
                <a:gd name="connsiteY200" fmla="*/ 1130141 h 1600200"/>
                <a:gd name="connsiteX201" fmla="*/ 965454 w 1739455"/>
                <a:gd name="connsiteY201" fmla="*/ 1131380 h 1600200"/>
                <a:gd name="connsiteX202" fmla="*/ 965454 w 1739455"/>
                <a:gd name="connsiteY202" fmla="*/ 1131380 h 1600200"/>
                <a:gd name="connsiteX203" fmla="*/ 966121 w 1739455"/>
                <a:gd name="connsiteY203" fmla="*/ 1132618 h 1600200"/>
                <a:gd name="connsiteX204" fmla="*/ 966121 w 1739455"/>
                <a:gd name="connsiteY204" fmla="*/ 1132618 h 1600200"/>
                <a:gd name="connsiteX205" fmla="*/ 966788 w 1739455"/>
                <a:gd name="connsiteY205" fmla="*/ 1133856 h 1600200"/>
                <a:gd name="connsiteX206" fmla="*/ 966788 w 1739455"/>
                <a:gd name="connsiteY206" fmla="*/ 1133856 h 1600200"/>
                <a:gd name="connsiteX207" fmla="*/ 967454 w 1739455"/>
                <a:gd name="connsiteY207" fmla="*/ 1135094 h 1600200"/>
                <a:gd name="connsiteX208" fmla="*/ 967454 w 1739455"/>
                <a:gd name="connsiteY208" fmla="*/ 1135094 h 1600200"/>
                <a:gd name="connsiteX209" fmla="*/ 968216 w 1739455"/>
                <a:gd name="connsiteY209" fmla="*/ 1136237 h 1600200"/>
                <a:gd name="connsiteX210" fmla="*/ 968216 w 1739455"/>
                <a:gd name="connsiteY210" fmla="*/ 1136237 h 1600200"/>
                <a:gd name="connsiteX211" fmla="*/ 968978 w 1739455"/>
                <a:gd name="connsiteY211" fmla="*/ 1137380 h 1600200"/>
                <a:gd name="connsiteX212" fmla="*/ 968978 w 1739455"/>
                <a:gd name="connsiteY212" fmla="*/ 1137380 h 1600200"/>
                <a:gd name="connsiteX213" fmla="*/ 969740 w 1739455"/>
                <a:gd name="connsiteY213" fmla="*/ 1138523 h 1600200"/>
                <a:gd name="connsiteX214" fmla="*/ 969740 w 1739455"/>
                <a:gd name="connsiteY214" fmla="*/ 1138523 h 1600200"/>
                <a:gd name="connsiteX215" fmla="*/ 970597 w 1739455"/>
                <a:gd name="connsiteY215" fmla="*/ 1139666 h 1600200"/>
                <a:gd name="connsiteX216" fmla="*/ 970597 w 1739455"/>
                <a:gd name="connsiteY216" fmla="*/ 1139666 h 1600200"/>
                <a:gd name="connsiteX217" fmla="*/ 971455 w 1739455"/>
                <a:gd name="connsiteY217" fmla="*/ 1140809 h 1600200"/>
                <a:gd name="connsiteX218" fmla="*/ 971455 w 1739455"/>
                <a:gd name="connsiteY218" fmla="*/ 1140809 h 1600200"/>
                <a:gd name="connsiteX219" fmla="*/ 972312 w 1739455"/>
                <a:gd name="connsiteY219" fmla="*/ 1141857 h 1600200"/>
                <a:gd name="connsiteX220" fmla="*/ 972312 w 1739455"/>
                <a:gd name="connsiteY220" fmla="*/ 1141857 h 1600200"/>
                <a:gd name="connsiteX221" fmla="*/ 973169 w 1739455"/>
                <a:gd name="connsiteY221" fmla="*/ 1142905 h 1600200"/>
                <a:gd name="connsiteX222" fmla="*/ 973169 w 1739455"/>
                <a:gd name="connsiteY222" fmla="*/ 1142905 h 1600200"/>
                <a:gd name="connsiteX223" fmla="*/ 974122 w 1739455"/>
                <a:gd name="connsiteY223" fmla="*/ 1143953 h 1600200"/>
                <a:gd name="connsiteX224" fmla="*/ 974122 w 1739455"/>
                <a:gd name="connsiteY224" fmla="*/ 1143953 h 1600200"/>
                <a:gd name="connsiteX225" fmla="*/ 975074 w 1739455"/>
                <a:gd name="connsiteY225" fmla="*/ 1145000 h 1600200"/>
                <a:gd name="connsiteX226" fmla="*/ 975074 w 1739455"/>
                <a:gd name="connsiteY226" fmla="*/ 1145000 h 1600200"/>
                <a:gd name="connsiteX227" fmla="*/ 976027 w 1739455"/>
                <a:gd name="connsiteY227" fmla="*/ 1145953 h 1600200"/>
                <a:gd name="connsiteX228" fmla="*/ 976027 w 1739455"/>
                <a:gd name="connsiteY228" fmla="*/ 1145953 h 1600200"/>
                <a:gd name="connsiteX229" fmla="*/ 976979 w 1739455"/>
                <a:gd name="connsiteY229" fmla="*/ 1146905 h 1600200"/>
                <a:gd name="connsiteX230" fmla="*/ 976979 w 1739455"/>
                <a:gd name="connsiteY230" fmla="*/ 1146905 h 1600200"/>
                <a:gd name="connsiteX231" fmla="*/ 978027 w 1739455"/>
                <a:gd name="connsiteY231" fmla="*/ 1147858 h 1600200"/>
                <a:gd name="connsiteX232" fmla="*/ 978027 w 1739455"/>
                <a:gd name="connsiteY232" fmla="*/ 1147858 h 1600200"/>
                <a:gd name="connsiteX233" fmla="*/ 979075 w 1739455"/>
                <a:gd name="connsiteY233" fmla="*/ 1148810 h 1600200"/>
                <a:gd name="connsiteX234" fmla="*/ 979075 w 1739455"/>
                <a:gd name="connsiteY234" fmla="*/ 1148810 h 1600200"/>
                <a:gd name="connsiteX235" fmla="*/ 980122 w 1739455"/>
                <a:gd name="connsiteY235" fmla="*/ 1149668 h 1600200"/>
                <a:gd name="connsiteX236" fmla="*/ 980122 w 1739455"/>
                <a:gd name="connsiteY236" fmla="*/ 1149668 h 1600200"/>
                <a:gd name="connsiteX237" fmla="*/ 981170 w 1739455"/>
                <a:gd name="connsiteY237" fmla="*/ 1150525 h 1600200"/>
                <a:gd name="connsiteX238" fmla="*/ 981170 w 1739455"/>
                <a:gd name="connsiteY238" fmla="*/ 1150525 h 1600200"/>
                <a:gd name="connsiteX239" fmla="*/ 982218 w 1739455"/>
                <a:gd name="connsiteY239" fmla="*/ 1151382 h 1600200"/>
                <a:gd name="connsiteX240" fmla="*/ 982218 w 1739455"/>
                <a:gd name="connsiteY240" fmla="*/ 1151382 h 1600200"/>
                <a:gd name="connsiteX241" fmla="*/ 983361 w 1739455"/>
                <a:gd name="connsiteY241" fmla="*/ 1152239 h 1600200"/>
                <a:gd name="connsiteX242" fmla="*/ 983361 w 1739455"/>
                <a:gd name="connsiteY242" fmla="*/ 1152239 h 1600200"/>
                <a:gd name="connsiteX243" fmla="*/ 984504 w 1739455"/>
                <a:gd name="connsiteY243" fmla="*/ 1153001 h 1600200"/>
                <a:gd name="connsiteX244" fmla="*/ 984504 w 1739455"/>
                <a:gd name="connsiteY244" fmla="*/ 1153001 h 1600200"/>
                <a:gd name="connsiteX245" fmla="*/ 985647 w 1739455"/>
                <a:gd name="connsiteY245" fmla="*/ 1153763 h 1600200"/>
                <a:gd name="connsiteX246" fmla="*/ 985647 w 1739455"/>
                <a:gd name="connsiteY246" fmla="*/ 1153763 h 1600200"/>
                <a:gd name="connsiteX247" fmla="*/ 986790 w 1739455"/>
                <a:gd name="connsiteY247" fmla="*/ 1154525 h 1600200"/>
                <a:gd name="connsiteX248" fmla="*/ 986790 w 1739455"/>
                <a:gd name="connsiteY248" fmla="*/ 1154525 h 1600200"/>
                <a:gd name="connsiteX249" fmla="*/ 988028 w 1739455"/>
                <a:gd name="connsiteY249" fmla="*/ 1155192 h 1600200"/>
                <a:gd name="connsiteX250" fmla="*/ 988028 w 1739455"/>
                <a:gd name="connsiteY250" fmla="*/ 1155192 h 1600200"/>
                <a:gd name="connsiteX251" fmla="*/ 989267 w 1739455"/>
                <a:gd name="connsiteY251" fmla="*/ 1155859 h 1600200"/>
                <a:gd name="connsiteX252" fmla="*/ 989267 w 1739455"/>
                <a:gd name="connsiteY252" fmla="*/ 1155859 h 1600200"/>
                <a:gd name="connsiteX253" fmla="*/ 990505 w 1739455"/>
                <a:gd name="connsiteY253" fmla="*/ 1156526 h 1600200"/>
                <a:gd name="connsiteX254" fmla="*/ 990505 w 1739455"/>
                <a:gd name="connsiteY254" fmla="*/ 1156526 h 1600200"/>
                <a:gd name="connsiteX255" fmla="*/ 991743 w 1739455"/>
                <a:gd name="connsiteY255" fmla="*/ 1157192 h 1600200"/>
                <a:gd name="connsiteX256" fmla="*/ 991743 w 1739455"/>
                <a:gd name="connsiteY256" fmla="*/ 1157192 h 1600200"/>
                <a:gd name="connsiteX257" fmla="*/ 992981 w 1739455"/>
                <a:gd name="connsiteY257" fmla="*/ 1157764 h 1600200"/>
                <a:gd name="connsiteX258" fmla="*/ 992981 w 1739455"/>
                <a:gd name="connsiteY258" fmla="*/ 1157764 h 1600200"/>
                <a:gd name="connsiteX259" fmla="*/ 994220 w 1739455"/>
                <a:gd name="connsiteY259" fmla="*/ 1158335 h 1600200"/>
                <a:gd name="connsiteX260" fmla="*/ 994220 w 1739455"/>
                <a:gd name="connsiteY260" fmla="*/ 1158335 h 1600200"/>
                <a:gd name="connsiteX261" fmla="*/ 995553 w 1739455"/>
                <a:gd name="connsiteY261" fmla="*/ 1158907 h 1600200"/>
                <a:gd name="connsiteX262" fmla="*/ 995553 w 1739455"/>
                <a:gd name="connsiteY262" fmla="*/ 1158907 h 1600200"/>
                <a:gd name="connsiteX263" fmla="*/ 996887 w 1739455"/>
                <a:gd name="connsiteY263" fmla="*/ 1159383 h 1600200"/>
                <a:gd name="connsiteX264" fmla="*/ 996887 w 1739455"/>
                <a:gd name="connsiteY264" fmla="*/ 1159383 h 1600200"/>
                <a:gd name="connsiteX265" fmla="*/ 998220 w 1739455"/>
                <a:gd name="connsiteY265" fmla="*/ 1159859 h 1600200"/>
                <a:gd name="connsiteX266" fmla="*/ 998220 w 1739455"/>
                <a:gd name="connsiteY266" fmla="*/ 1159859 h 1600200"/>
                <a:gd name="connsiteX267" fmla="*/ 999554 w 1739455"/>
                <a:gd name="connsiteY267" fmla="*/ 1160336 h 1600200"/>
                <a:gd name="connsiteX268" fmla="*/ 999554 w 1739455"/>
                <a:gd name="connsiteY268" fmla="*/ 1160336 h 1600200"/>
                <a:gd name="connsiteX269" fmla="*/ 1000887 w 1739455"/>
                <a:gd name="connsiteY269" fmla="*/ 1160717 h 1600200"/>
                <a:gd name="connsiteX270" fmla="*/ 1000887 w 1739455"/>
                <a:gd name="connsiteY270" fmla="*/ 1160717 h 1600200"/>
                <a:gd name="connsiteX271" fmla="*/ 1002221 w 1739455"/>
                <a:gd name="connsiteY271" fmla="*/ 1161098 h 1600200"/>
                <a:gd name="connsiteX272" fmla="*/ 1002221 w 1739455"/>
                <a:gd name="connsiteY272" fmla="*/ 1161098 h 1600200"/>
                <a:gd name="connsiteX273" fmla="*/ 1003554 w 1739455"/>
                <a:gd name="connsiteY273" fmla="*/ 1161479 h 1600200"/>
                <a:gd name="connsiteX274" fmla="*/ 1003554 w 1739455"/>
                <a:gd name="connsiteY274" fmla="*/ 1161479 h 1600200"/>
                <a:gd name="connsiteX275" fmla="*/ 1004983 w 1739455"/>
                <a:gd name="connsiteY275" fmla="*/ 1161764 h 1600200"/>
                <a:gd name="connsiteX276" fmla="*/ 1004983 w 1739455"/>
                <a:gd name="connsiteY276" fmla="*/ 1161764 h 1600200"/>
                <a:gd name="connsiteX277" fmla="*/ 1006412 w 1739455"/>
                <a:gd name="connsiteY277" fmla="*/ 1162050 h 1600200"/>
                <a:gd name="connsiteX278" fmla="*/ 1006412 w 1739455"/>
                <a:gd name="connsiteY278" fmla="*/ 1162050 h 1600200"/>
                <a:gd name="connsiteX279" fmla="*/ 1007840 w 1739455"/>
                <a:gd name="connsiteY279" fmla="*/ 1162336 h 1600200"/>
                <a:gd name="connsiteX280" fmla="*/ 1007840 w 1739455"/>
                <a:gd name="connsiteY280" fmla="*/ 1162336 h 1600200"/>
                <a:gd name="connsiteX281" fmla="*/ 1009269 w 1739455"/>
                <a:gd name="connsiteY281" fmla="*/ 1162526 h 1600200"/>
                <a:gd name="connsiteX282" fmla="*/ 1009269 w 1739455"/>
                <a:gd name="connsiteY282" fmla="*/ 1162526 h 1600200"/>
                <a:gd name="connsiteX283" fmla="*/ 1010698 w 1739455"/>
                <a:gd name="connsiteY283" fmla="*/ 1162717 h 1600200"/>
                <a:gd name="connsiteX284" fmla="*/ 1010698 w 1739455"/>
                <a:gd name="connsiteY284" fmla="*/ 1162717 h 1600200"/>
                <a:gd name="connsiteX285" fmla="*/ 1012127 w 1739455"/>
                <a:gd name="connsiteY285" fmla="*/ 1162812 h 1600200"/>
                <a:gd name="connsiteX286" fmla="*/ 1012127 w 1739455"/>
                <a:gd name="connsiteY286" fmla="*/ 1162812 h 1600200"/>
                <a:gd name="connsiteX287" fmla="*/ 1013555 w 1739455"/>
                <a:gd name="connsiteY287" fmla="*/ 1162907 h 1600200"/>
                <a:gd name="connsiteX288" fmla="*/ 1013555 w 1739455"/>
                <a:gd name="connsiteY288" fmla="*/ 1162907 h 1600200"/>
                <a:gd name="connsiteX289" fmla="*/ 1014031 w 1739455"/>
                <a:gd name="connsiteY289" fmla="*/ 1162907 h 1600200"/>
                <a:gd name="connsiteX290" fmla="*/ 1017175 w 1739455"/>
                <a:gd name="connsiteY290" fmla="*/ 1163003 h 1600200"/>
                <a:gd name="connsiteX291" fmla="*/ 1047560 w 1739455"/>
                <a:gd name="connsiteY291" fmla="*/ 1163003 h 1600200"/>
                <a:gd name="connsiteX292" fmla="*/ 1199483 w 1739455"/>
                <a:gd name="connsiteY292" fmla="*/ 1163003 h 1600200"/>
                <a:gd name="connsiteX293" fmla="*/ 1280446 w 1739455"/>
                <a:gd name="connsiteY293" fmla="*/ 1243965 h 1600200"/>
                <a:gd name="connsiteX294" fmla="*/ 1280446 w 1739455"/>
                <a:gd name="connsiteY294" fmla="*/ 1375886 h 1600200"/>
                <a:gd name="connsiteX295" fmla="*/ 1280446 w 1739455"/>
                <a:gd name="connsiteY295" fmla="*/ 1539431 h 1600200"/>
                <a:gd name="connsiteX296" fmla="*/ 1280446 w 1739455"/>
                <a:gd name="connsiteY296" fmla="*/ 1542574 h 1600200"/>
                <a:gd name="connsiteX297" fmla="*/ 1338072 w 1739455"/>
                <a:gd name="connsiteY297" fmla="*/ 1600200 h 1600200"/>
                <a:gd name="connsiteX298" fmla="*/ 1358075 w 1739455"/>
                <a:gd name="connsiteY298" fmla="*/ 1600200 h 1600200"/>
                <a:gd name="connsiteX299" fmla="*/ 1415701 w 1739455"/>
                <a:gd name="connsiteY299" fmla="*/ 1542574 h 1600200"/>
                <a:gd name="connsiteX300" fmla="*/ 1415701 w 1739455"/>
                <a:gd name="connsiteY300" fmla="*/ 1534477 h 1600200"/>
                <a:gd name="connsiteX301" fmla="*/ 1496663 w 1739455"/>
                <a:gd name="connsiteY301" fmla="*/ 1453515 h 1600200"/>
                <a:gd name="connsiteX302" fmla="*/ 1527239 w 1739455"/>
                <a:gd name="connsiteY302" fmla="*/ 1453515 h 1600200"/>
                <a:gd name="connsiteX303" fmla="*/ 1584865 w 1739455"/>
                <a:gd name="connsiteY303" fmla="*/ 1395889 h 1600200"/>
                <a:gd name="connsiteX304" fmla="*/ 1584865 w 1739455"/>
                <a:gd name="connsiteY304" fmla="*/ 1375886 h 1600200"/>
                <a:gd name="connsiteX305" fmla="*/ 1546765 w 1739455"/>
                <a:gd name="connsiteY305" fmla="*/ 1321689 h 1600200"/>
                <a:gd name="connsiteX306" fmla="*/ 1477518 w 1739455"/>
                <a:gd name="connsiteY306" fmla="*/ 1318070 h 1600200"/>
                <a:gd name="connsiteX307" fmla="*/ 1429988 w 1739455"/>
                <a:gd name="connsiteY307" fmla="*/ 1231487 h 1600200"/>
                <a:gd name="connsiteX308" fmla="*/ 1498759 w 1739455"/>
                <a:gd name="connsiteY308" fmla="*/ 1164527 h 1600200"/>
                <a:gd name="connsiteX309" fmla="*/ 1681829 w 1739455"/>
                <a:gd name="connsiteY309" fmla="*/ 1164527 h 1600200"/>
                <a:gd name="connsiteX310" fmla="*/ 1739456 w 1739455"/>
                <a:gd name="connsiteY310" fmla="*/ 1106900 h 1600200"/>
                <a:gd name="connsiteX311" fmla="*/ 1739456 w 1739455"/>
                <a:gd name="connsiteY311" fmla="*/ 1086898 h 1600200"/>
                <a:gd name="connsiteX312" fmla="*/ 1681829 w 1739455"/>
                <a:gd name="connsiteY312" fmla="*/ 1029272 h 1600200"/>
                <a:gd name="connsiteX313" fmla="*/ 1498854 w 1739455"/>
                <a:gd name="connsiteY313" fmla="*/ 1029272 h 1600200"/>
                <a:gd name="connsiteX314" fmla="*/ 1417892 w 1739455"/>
                <a:gd name="connsiteY314" fmla="*/ 948309 h 1600200"/>
                <a:gd name="connsiteX315" fmla="*/ 1417892 w 1739455"/>
                <a:gd name="connsiteY315" fmla="*/ 942594 h 1600200"/>
                <a:gd name="connsiteX316" fmla="*/ 1360265 w 1739455"/>
                <a:gd name="connsiteY316" fmla="*/ 884968 h 1600200"/>
                <a:gd name="connsiteX317" fmla="*/ 1186148 w 1739455"/>
                <a:gd name="connsiteY317" fmla="*/ 884968 h 1600200"/>
                <a:gd name="connsiteX318" fmla="*/ 1105186 w 1739455"/>
                <a:gd name="connsiteY318" fmla="*/ 804005 h 1600200"/>
                <a:gd name="connsiteX319" fmla="*/ 1105186 w 1739455"/>
                <a:gd name="connsiteY319" fmla="*/ 646176 h 1600200"/>
                <a:gd name="connsiteX320" fmla="*/ 1097089 w 1739455"/>
                <a:gd name="connsiteY320" fmla="*/ 616839 h 1600200"/>
                <a:gd name="connsiteX321" fmla="*/ 1096423 w 1739455"/>
                <a:gd name="connsiteY321" fmla="*/ 615696 h 1600200"/>
                <a:gd name="connsiteX322" fmla="*/ 1046417 w 1739455"/>
                <a:gd name="connsiteY322" fmla="*/ 586550 h 1600200"/>
                <a:gd name="connsiteX323" fmla="*/ 1024128 w 1739455"/>
                <a:gd name="connsiteY323" fmla="*/ 586550 h 1600200"/>
                <a:gd name="connsiteX324" fmla="*/ 943165 w 1739455"/>
                <a:gd name="connsiteY324" fmla="*/ 505587 h 1600200"/>
                <a:gd name="connsiteX325" fmla="*/ 943165 w 1739455"/>
                <a:gd name="connsiteY325" fmla="*/ 505206 h 1600200"/>
                <a:gd name="connsiteX326" fmla="*/ 885539 w 1739455"/>
                <a:gd name="connsiteY326" fmla="*/ 446818 h 1600200"/>
                <a:gd name="connsiteX327" fmla="*/ 844772 w 1739455"/>
                <a:gd name="connsiteY327" fmla="*/ 445580 h 1600200"/>
                <a:gd name="connsiteX328" fmla="*/ 795242 w 1739455"/>
                <a:gd name="connsiteY328" fmla="*/ 388525 h 1600200"/>
                <a:gd name="connsiteX329" fmla="*/ 795242 w 1739455"/>
                <a:gd name="connsiteY329" fmla="*/ 368522 h 1600200"/>
                <a:gd name="connsiteX330" fmla="*/ 852869 w 1739455"/>
                <a:gd name="connsiteY330" fmla="*/ 310896 h 1600200"/>
                <a:gd name="connsiteX331" fmla="*/ 952119 w 1739455"/>
                <a:gd name="connsiteY331" fmla="*/ 310896 h 1600200"/>
                <a:gd name="connsiteX332" fmla="*/ 951167 w 1739455"/>
                <a:gd name="connsiteY332" fmla="*/ 57626 h 1600200"/>
                <a:gd name="connsiteX333" fmla="*/ 893540 w 1739455"/>
                <a:gd name="connsiteY333" fmla="*/ 0 h 1600200"/>
                <a:gd name="connsiteX334" fmla="*/ 214598 w 1739455"/>
                <a:gd name="connsiteY334" fmla="*/ 0 h 1600200"/>
                <a:gd name="connsiteX335" fmla="*/ 157353 w 1739455"/>
                <a:gd name="connsiteY335" fmla="*/ 51149 h 1600200"/>
                <a:gd name="connsiteX336" fmla="*/ 157353 w 1739455"/>
                <a:gd name="connsiteY336" fmla="*/ 93059 h 1600200"/>
                <a:gd name="connsiteX337" fmla="*/ 99727 w 1739455"/>
                <a:gd name="connsiteY337" fmla="*/ 150686 h 1600200"/>
                <a:gd name="connsiteX338" fmla="*/ 0 w 1739455"/>
                <a:gd name="connsiteY338" fmla="*/ 150686 h 1600200"/>
                <a:gd name="connsiteX339" fmla="*/ 476 w 1739455"/>
                <a:gd name="connsiteY339" fmla="*/ 514921 h 1600200"/>
                <a:gd name="connsiteX340" fmla="*/ 476 w 1739455"/>
                <a:gd name="connsiteY340" fmla="*/ 514921 h 1600200"/>
                <a:gd name="connsiteX341" fmla="*/ 959358 w 1739455"/>
                <a:gd name="connsiteY341" fmla="*/ 1105281 h 1600200"/>
                <a:gd name="connsiteX342" fmla="*/ 959358 w 1739455"/>
                <a:gd name="connsiteY342" fmla="*/ 1105281 h 1600200"/>
                <a:gd name="connsiteX343" fmla="*/ 959358 w 1739455"/>
                <a:gd name="connsiteY343" fmla="*/ 1105281 h 1600200"/>
                <a:gd name="connsiteX344" fmla="*/ 959358 w 1739455"/>
                <a:gd name="connsiteY344" fmla="*/ 1105281 h 1600200"/>
                <a:gd name="connsiteX345" fmla="*/ 486156 w 1739455"/>
                <a:gd name="connsiteY345" fmla="*/ 672655 h 1600200"/>
                <a:gd name="connsiteX346" fmla="*/ 486156 w 1739455"/>
                <a:gd name="connsiteY346" fmla="*/ 672655 h 1600200"/>
                <a:gd name="connsiteX347" fmla="*/ 486156 w 1739455"/>
                <a:gd name="connsiteY347" fmla="*/ 672655 h 1600200"/>
                <a:gd name="connsiteX348" fmla="*/ 486156 w 1739455"/>
                <a:gd name="connsiteY348" fmla="*/ 672655 h 1600200"/>
                <a:gd name="connsiteX349" fmla="*/ 647033 w 1739455"/>
                <a:gd name="connsiteY349" fmla="*/ 814769 h 1600200"/>
                <a:gd name="connsiteX350" fmla="*/ 647033 w 1739455"/>
                <a:gd name="connsiteY350" fmla="*/ 814769 h 1600200"/>
                <a:gd name="connsiteX351" fmla="*/ 647033 w 1739455"/>
                <a:gd name="connsiteY351" fmla="*/ 814769 h 1600200"/>
                <a:gd name="connsiteX352" fmla="*/ 647033 w 1739455"/>
                <a:gd name="connsiteY352" fmla="*/ 814769 h 1600200"/>
                <a:gd name="connsiteX353" fmla="*/ 793813 w 1739455"/>
                <a:gd name="connsiteY353" fmla="*/ 956881 h 1600200"/>
                <a:gd name="connsiteX354" fmla="*/ 793813 w 1739455"/>
                <a:gd name="connsiteY354" fmla="*/ 956881 h 1600200"/>
                <a:gd name="connsiteX355" fmla="*/ 793813 w 1739455"/>
                <a:gd name="connsiteY355" fmla="*/ 956881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Lst>
              <a:rect l="l" t="t" r="r" b="b"/>
              <a:pathLst>
                <a:path w="1739455" h="1600200">
                  <a:moveTo>
                    <a:pt x="476" y="514921"/>
                  </a:moveTo>
                  <a:cubicBezTo>
                    <a:pt x="0" y="531686"/>
                    <a:pt x="10001" y="442722"/>
                    <a:pt x="48006" y="442722"/>
                  </a:cubicBezTo>
                  <a:lnTo>
                    <a:pt x="234791" y="442722"/>
                  </a:lnTo>
                  <a:cubicBezTo>
                    <a:pt x="271939" y="443389"/>
                    <a:pt x="319373" y="430435"/>
                    <a:pt x="319373" y="508063"/>
                  </a:cubicBezTo>
                  <a:lnTo>
                    <a:pt x="319373" y="527018"/>
                  </a:lnTo>
                  <a:cubicBezTo>
                    <a:pt x="319373" y="558737"/>
                    <a:pt x="345281" y="584645"/>
                    <a:pt x="377000" y="584645"/>
                  </a:cubicBezTo>
                  <a:lnTo>
                    <a:pt x="405098" y="584645"/>
                  </a:lnTo>
                  <a:cubicBezTo>
                    <a:pt x="449675" y="584645"/>
                    <a:pt x="486061" y="621030"/>
                    <a:pt x="486061" y="665607"/>
                  </a:cubicBezTo>
                  <a:lnTo>
                    <a:pt x="486061" y="672751"/>
                  </a:lnTo>
                  <a:lnTo>
                    <a:pt x="486061" y="674275"/>
                  </a:lnTo>
                  <a:lnTo>
                    <a:pt x="486061" y="674275"/>
                  </a:lnTo>
                  <a:lnTo>
                    <a:pt x="486156" y="675704"/>
                  </a:lnTo>
                  <a:lnTo>
                    <a:pt x="486156" y="675704"/>
                  </a:lnTo>
                  <a:lnTo>
                    <a:pt x="486251" y="677132"/>
                  </a:lnTo>
                  <a:lnTo>
                    <a:pt x="486251" y="677132"/>
                  </a:lnTo>
                  <a:lnTo>
                    <a:pt x="486346" y="678561"/>
                  </a:lnTo>
                  <a:lnTo>
                    <a:pt x="486346" y="678561"/>
                  </a:lnTo>
                  <a:lnTo>
                    <a:pt x="486537" y="679990"/>
                  </a:lnTo>
                  <a:lnTo>
                    <a:pt x="486537" y="679990"/>
                  </a:lnTo>
                  <a:lnTo>
                    <a:pt x="486728" y="681419"/>
                  </a:lnTo>
                  <a:lnTo>
                    <a:pt x="486728" y="681419"/>
                  </a:lnTo>
                  <a:lnTo>
                    <a:pt x="486918" y="682847"/>
                  </a:lnTo>
                  <a:lnTo>
                    <a:pt x="486918" y="682847"/>
                  </a:lnTo>
                  <a:cubicBezTo>
                    <a:pt x="489395" y="697039"/>
                    <a:pt x="497586" y="709994"/>
                    <a:pt x="509206" y="718852"/>
                  </a:cubicBezTo>
                  <a:lnTo>
                    <a:pt x="509206" y="718852"/>
                  </a:lnTo>
                  <a:lnTo>
                    <a:pt x="510350" y="719709"/>
                  </a:lnTo>
                  <a:lnTo>
                    <a:pt x="510350" y="719709"/>
                  </a:lnTo>
                  <a:lnTo>
                    <a:pt x="511493" y="720471"/>
                  </a:lnTo>
                  <a:lnTo>
                    <a:pt x="511493" y="720471"/>
                  </a:lnTo>
                  <a:lnTo>
                    <a:pt x="512636" y="721233"/>
                  </a:lnTo>
                  <a:lnTo>
                    <a:pt x="512636" y="721233"/>
                  </a:lnTo>
                  <a:lnTo>
                    <a:pt x="513779" y="721995"/>
                  </a:lnTo>
                  <a:lnTo>
                    <a:pt x="513779" y="721995"/>
                  </a:lnTo>
                  <a:lnTo>
                    <a:pt x="514350" y="722281"/>
                  </a:lnTo>
                  <a:cubicBezTo>
                    <a:pt x="514826" y="722567"/>
                    <a:pt x="515207" y="722757"/>
                    <a:pt x="515684" y="723043"/>
                  </a:cubicBezTo>
                  <a:lnTo>
                    <a:pt x="516255" y="723329"/>
                  </a:lnTo>
                  <a:lnTo>
                    <a:pt x="516255" y="723329"/>
                  </a:lnTo>
                  <a:lnTo>
                    <a:pt x="517493" y="723995"/>
                  </a:lnTo>
                  <a:lnTo>
                    <a:pt x="517493" y="723995"/>
                  </a:lnTo>
                  <a:lnTo>
                    <a:pt x="518731" y="724662"/>
                  </a:lnTo>
                  <a:lnTo>
                    <a:pt x="518731" y="724662"/>
                  </a:lnTo>
                  <a:lnTo>
                    <a:pt x="519970" y="725234"/>
                  </a:lnTo>
                  <a:lnTo>
                    <a:pt x="519970" y="725234"/>
                  </a:lnTo>
                  <a:cubicBezTo>
                    <a:pt x="520351" y="725424"/>
                    <a:pt x="520827" y="725614"/>
                    <a:pt x="521208" y="725805"/>
                  </a:cubicBezTo>
                  <a:lnTo>
                    <a:pt x="521208" y="725805"/>
                  </a:lnTo>
                  <a:lnTo>
                    <a:pt x="522542" y="726377"/>
                  </a:lnTo>
                  <a:lnTo>
                    <a:pt x="522542" y="726377"/>
                  </a:lnTo>
                  <a:lnTo>
                    <a:pt x="523875" y="726853"/>
                  </a:lnTo>
                  <a:lnTo>
                    <a:pt x="523875" y="726853"/>
                  </a:lnTo>
                  <a:lnTo>
                    <a:pt x="525209" y="727329"/>
                  </a:lnTo>
                  <a:lnTo>
                    <a:pt x="525209" y="727329"/>
                  </a:lnTo>
                  <a:lnTo>
                    <a:pt x="525494" y="727424"/>
                  </a:lnTo>
                  <a:cubicBezTo>
                    <a:pt x="526256" y="727615"/>
                    <a:pt x="526828" y="727805"/>
                    <a:pt x="527590" y="728091"/>
                  </a:cubicBezTo>
                  <a:lnTo>
                    <a:pt x="527876" y="728186"/>
                  </a:lnTo>
                  <a:lnTo>
                    <a:pt x="527876" y="728186"/>
                  </a:lnTo>
                  <a:lnTo>
                    <a:pt x="529209" y="728567"/>
                  </a:lnTo>
                  <a:lnTo>
                    <a:pt x="529209" y="728567"/>
                  </a:lnTo>
                  <a:lnTo>
                    <a:pt x="530543" y="728948"/>
                  </a:lnTo>
                  <a:lnTo>
                    <a:pt x="530543" y="728948"/>
                  </a:lnTo>
                  <a:lnTo>
                    <a:pt x="531971" y="729234"/>
                  </a:lnTo>
                  <a:lnTo>
                    <a:pt x="531971" y="729234"/>
                  </a:lnTo>
                  <a:cubicBezTo>
                    <a:pt x="532447" y="729329"/>
                    <a:pt x="532924" y="729425"/>
                    <a:pt x="533400" y="729520"/>
                  </a:cubicBezTo>
                  <a:lnTo>
                    <a:pt x="533400" y="729520"/>
                  </a:lnTo>
                  <a:lnTo>
                    <a:pt x="533686" y="729520"/>
                  </a:lnTo>
                  <a:cubicBezTo>
                    <a:pt x="534543" y="729615"/>
                    <a:pt x="535210" y="729805"/>
                    <a:pt x="536067" y="729901"/>
                  </a:cubicBezTo>
                  <a:lnTo>
                    <a:pt x="536353" y="729901"/>
                  </a:lnTo>
                  <a:lnTo>
                    <a:pt x="536353" y="729901"/>
                  </a:lnTo>
                  <a:lnTo>
                    <a:pt x="537781" y="730091"/>
                  </a:lnTo>
                  <a:lnTo>
                    <a:pt x="537781" y="730091"/>
                  </a:lnTo>
                  <a:lnTo>
                    <a:pt x="539210" y="730187"/>
                  </a:lnTo>
                  <a:lnTo>
                    <a:pt x="539210" y="730187"/>
                  </a:lnTo>
                  <a:lnTo>
                    <a:pt x="540639" y="730282"/>
                  </a:lnTo>
                  <a:lnTo>
                    <a:pt x="540639" y="730282"/>
                  </a:lnTo>
                  <a:lnTo>
                    <a:pt x="541115" y="730282"/>
                  </a:lnTo>
                  <a:cubicBezTo>
                    <a:pt x="542258" y="730282"/>
                    <a:pt x="543115" y="730377"/>
                    <a:pt x="544259" y="730377"/>
                  </a:cubicBezTo>
                  <a:lnTo>
                    <a:pt x="563594" y="730377"/>
                  </a:lnTo>
                  <a:lnTo>
                    <a:pt x="565880" y="730377"/>
                  </a:lnTo>
                  <a:cubicBezTo>
                    <a:pt x="610457" y="730377"/>
                    <a:pt x="646843" y="766763"/>
                    <a:pt x="646843" y="811339"/>
                  </a:cubicBezTo>
                  <a:lnTo>
                    <a:pt x="646843" y="814864"/>
                  </a:lnTo>
                  <a:lnTo>
                    <a:pt x="646843" y="816388"/>
                  </a:lnTo>
                  <a:lnTo>
                    <a:pt x="646843" y="816388"/>
                  </a:lnTo>
                  <a:lnTo>
                    <a:pt x="646938" y="817817"/>
                  </a:lnTo>
                  <a:lnTo>
                    <a:pt x="646938" y="817817"/>
                  </a:lnTo>
                  <a:lnTo>
                    <a:pt x="647033" y="819245"/>
                  </a:lnTo>
                  <a:lnTo>
                    <a:pt x="647033" y="819245"/>
                  </a:lnTo>
                  <a:lnTo>
                    <a:pt x="647129" y="820674"/>
                  </a:lnTo>
                  <a:lnTo>
                    <a:pt x="647129" y="820674"/>
                  </a:lnTo>
                  <a:lnTo>
                    <a:pt x="647319" y="822103"/>
                  </a:lnTo>
                  <a:lnTo>
                    <a:pt x="647319" y="822103"/>
                  </a:lnTo>
                  <a:lnTo>
                    <a:pt x="647510" y="823531"/>
                  </a:lnTo>
                  <a:lnTo>
                    <a:pt x="647510" y="823531"/>
                  </a:lnTo>
                  <a:lnTo>
                    <a:pt x="647795" y="824960"/>
                  </a:lnTo>
                  <a:lnTo>
                    <a:pt x="647795" y="824960"/>
                  </a:lnTo>
                  <a:cubicBezTo>
                    <a:pt x="647890" y="825437"/>
                    <a:pt x="647986" y="825913"/>
                    <a:pt x="648081" y="826389"/>
                  </a:cubicBezTo>
                  <a:lnTo>
                    <a:pt x="648081" y="826389"/>
                  </a:lnTo>
                  <a:lnTo>
                    <a:pt x="648367" y="827818"/>
                  </a:lnTo>
                  <a:lnTo>
                    <a:pt x="648367" y="827818"/>
                  </a:lnTo>
                  <a:lnTo>
                    <a:pt x="648748" y="829247"/>
                  </a:lnTo>
                  <a:lnTo>
                    <a:pt x="648748" y="829247"/>
                  </a:lnTo>
                  <a:cubicBezTo>
                    <a:pt x="654939" y="852392"/>
                    <a:pt x="675227" y="870204"/>
                    <a:pt x="700088" y="872300"/>
                  </a:cubicBezTo>
                  <a:lnTo>
                    <a:pt x="700088" y="872300"/>
                  </a:lnTo>
                  <a:lnTo>
                    <a:pt x="701516" y="872395"/>
                  </a:lnTo>
                  <a:lnTo>
                    <a:pt x="701516" y="872395"/>
                  </a:lnTo>
                  <a:lnTo>
                    <a:pt x="701993" y="872395"/>
                  </a:lnTo>
                  <a:cubicBezTo>
                    <a:pt x="703136" y="872395"/>
                    <a:pt x="703993" y="872490"/>
                    <a:pt x="705136" y="872490"/>
                  </a:cubicBezTo>
                  <a:lnTo>
                    <a:pt x="712565" y="872490"/>
                  </a:lnTo>
                  <a:cubicBezTo>
                    <a:pt x="757142" y="872490"/>
                    <a:pt x="793528" y="908876"/>
                    <a:pt x="793528" y="953453"/>
                  </a:cubicBezTo>
                  <a:lnTo>
                    <a:pt x="793528" y="956977"/>
                  </a:lnTo>
                  <a:lnTo>
                    <a:pt x="793528" y="958501"/>
                  </a:lnTo>
                  <a:lnTo>
                    <a:pt x="793528" y="958501"/>
                  </a:lnTo>
                  <a:lnTo>
                    <a:pt x="793623" y="959930"/>
                  </a:lnTo>
                  <a:lnTo>
                    <a:pt x="793623" y="959930"/>
                  </a:lnTo>
                  <a:lnTo>
                    <a:pt x="793718" y="961358"/>
                  </a:lnTo>
                  <a:lnTo>
                    <a:pt x="793718" y="961358"/>
                  </a:lnTo>
                  <a:lnTo>
                    <a:pt x="793813" y="962787"/>
                  </a:lnTo>
                  <a:lnTo>
                    <a:pt x="793813" y="962787"/>
                  </a:lnTo>
                  <a:lnTo>
                    <a:pt x="794004" y="964216"/>
                  </a:lnTo>
                  <a:lnTo>
                    <a:pt x="794004" y="964216"/>
                  </a:lnTo>
                  <a:lnTo>
                    <a:pt x="794195" y="965645"/>
                  </a:lnTo>
                  <a:lnTo>
                    <a:pt x="794195" y="965645"/>
                  </a:lnTo>
                  <a:cubicBezTo>
                    <a:pt x="797147" y="983361"/>
                    <a:pt x="807530" y="998315"/>
                    <a:pt x="823151" y="1007269"/>
                  </a:cubicBezTo>
                  <a:lnTo>
                    <a:pt x="823722" y="1007555"/>
                  </a:lnTo>
                  <a:lnTo>
                    <a:pt x="823722" y="1007555"/>
                  </a:lnTo>
                  <a:lnTo>
                    <a:pt x="824960" y="1008221"/>
                  </a:lnTo>
                  <a:lnTo>
                    <a:pt x="824960" y="1008221"/>
                  </a:lnTo>
                  <a:lnTo>
                    <a:pt x="826198" y="1008888"/>
                  </a:lnTo>
                  <a:lnTo>
                    <a:pt x="826198" y="1008888"/>
                  </a:lnTo>
                  <a:lnTo>
                    <a:pt x="827437" y="1009460"/>
                  </a:lnTo>
                  <a:lnTo>
                    <a:pt x="827437" y="1009460"/>
                  </a:lnTo>
                  <a:cubicBezTo>
                    <a:pt x="827818" y="1009650"/>
                    <a:pt x="828294" y="1009841"/>
                    <a:pt x="828675" y="1010031"/>
                  </a:cubicBezTo>
                  <a:lnTo>
                    <a:pt x="828675" y="1010031"/>
                  </a:lnTo>
                  <a:lnTo>
                    <a:pt x="830009" y="1010603"/>
                  </a:lnTo>
                  <a:lnTo>
                    <a:pt x="830009" y="1010603"/>
                  </a:lnTo>
                  <a:lnTo>
                    <a:pt x="831342" y="1011079"/>
                  </a:lnTo>
                  <a:lnTo>
                    <a:pt x="831342" y="1011079"/>
                  </a:lnTo>
                  <a:lnTo>
                    <a:pt x="832676" y="1011555"/>
                  </a:lnTo>
                  <a:lnTo>
                    <a:pt x="832676" y="1011555"/>
                  </a:lnTo>
                  <a:lnTo>
                    <a:pt x="832961" y="1011650"/>
                  </a:lnTo>
                  <a:cubicBezTo>
                    <a:pt x="833723" y="1011841"/>
                    <a:pt x="834295" y="1012031"/>
                    <a:pt x="835057" y="1012317"/>
                  </a:cubicBezTo>
                  <a:lnTo>
                    <a:pt x="835343" y="1012412"/>
                  </a:lnTo>
                  <a:lnTo>
                    <a:pt x="835343" y="1012412"/>
                  </a:lnTo>
                  <a:lnTo>
                    <a:pt x="836676" y="1012793"/>
                  </a:lnTo>
                  <a:lnTo>
                    <a:pt x="836676" y="1012793"/>
                  </a:lnTo>
                  <a:lnTo>
                    <a:pt x="838010" y="1013174"/>
                  </a:lnTo>
                  <a:lnTo>
                    <a:pt x="838010" y="1013174"/>
                  </a:lnTo>
                  <a:lnTo>
                    <a:pt x="839438" y="1013460"/>
                  </a:lnTo>
                  <a:lnTo>
                    <a:pt x="839438" y="1013460"/>
                  </a:lnTo>
                  <a:cubicBezTo>
                    <a:pt x="839914" y="1013555"/>
                    <a:pt x="840391" y="1013651"/>
                    <a:pt x="840867" y="1013746"/>
                  </a:cubicBezTo>
                  <a:lnTo>
                    <a:pt x="840867" y="1013746"/>
                  </a:lnTo>
                  <a:lnTo>
                    <a:pt x="841153" y="1013746"/>
                  </a:lnTo>
                  <a:cubicBezTo>
                    <a:pt x="842010" y="1013841"/>
                    <a:pt x="842677" y="1014031"/>
                    <a:pt x="843534" y="1014127"/>
                  </a:cubicBezTo>
                  <a:lnTo>
                    <a:pt x="843820" y="1014127"/>
                  </a:lnTo>
                  <a:lnTo>
                    <a:pt x="843820" y="1014127"/>
                  </a:lnTo>
                  <a:lnTo>
                    <a:pt x="845248" y="1014317"/>
                  </a:lnTo>
                  <a:lnTo>
                    <a:pt x="845248" y="1014317"/>
                  </a:lnTo>
                  <a:lnTo>
                    <a:pt x="846677" y="1014413"/>
                  </a:lnTo>
                  <a:lnTo>
                    <a:pt x="846677" y="1014413"/>
                  </a:lnTo>
                  <a:lnTo>
                    <a:pt x="848106" y="1014508"/>
                  </a:lnTo>
                  <a:lnTo>
                    <a:pt x="848106" y="1014508"/>
                  </a:lnTo>
                  <a:lnTo>
                    <a:pt x="848582" y="1014508"/>
                  </a:lnTo>
                  <a:cubicBezTo>
                    <a:pt x="849725" y="1014508"/>
                    <a:pt x="850583" y="1014603"/>
                    <a:pt x="851726" y="1014603"/>
                  </a:cubicBezTo>
                  <a:lnTo>
                    <a:pt x="871156" y="1014603"/>
                  </a:lnTo>
                  <a:lnTo>
                    <a:pt x="878110" y="1014603"/>
                  </a:lnTo>
                  <a:cubicBezTo>
                    <a:pt x="922687" y="1014603"/>
                    <a:pt x="959072" y="1050989"/>
                    <a:pt x="959072" y="1095566"/>
                  </a:cubicBezTo>
                  <a:lnTo>
                    <a:pt x="959072" y="1105376"/>
                  </a:lnTo>
                  <a:lnTo>
                    <a:pt x="959072" y="1106805"/>
                  </a:lnTo>
                  <a:lnTo>
                    <a:pt x="959072" y="1106805"/>
                  </a:lnTo>
                  <a:lnTo>
                    <a:pt x="959168" y="1108234"/>
                  </a:lnTo>
                  <a:lnTo>
                    <a:pt x="959168" y="1108234"/>
                  </a:lnTo>
                  <a:lnTo>
                    <a:pt x="959263" y="1109663"/>
                  </a:lnTo>
                  <a:lnTo>
                    <a:pt x="959263" y="1109663"/>
                  </a:lnTo>
                  <a:lnTo>
                    <a:pt x="959358" y="1111091"/>
                  </a:lnTo>
                  <a:lnTo>
                    <a:pt x="959358" y="1111091"/>
                  </a:lnTo>
                  <a:lnTo>
                    <a:pt x="959548" y="1112520"/>
                  </a:lnTo>
                  <a:lnTo>
                    <a:pt x="959548" y="1112520"/>
                  </a:lnTo>
                  <a:lnTo>
                    <a:pt x="959739" y="1113949"/>
                  </a:lnTo>
                  <a:lnTo>
                    <a:pt x="959739" y="1113949"/>
                  </a:lnTo>
                  <a:lnTo>
                    <a:pt x="959930" y="1115378"/>
                  </a:lnTo>
                  <a:lnTo>
                    <a:pt x="959930" y="1115378"/>
                  </a:lnTo>
                  <a:cubicBezTo>
                    <a:pt x="960025" y="1115854"/>
                    <a:pt x="960120" y="1116330"/>
                    <a:pt x="960215" y="1116806"/>
                  </a:cubicBezTo>
                  <a:lnTo>
                    <a:pt x="960215" y="1116806"/>
                  </a:lnTo>
                  <a:lnTo>
                    <a:pt x="960501" y="1118235"/>
                  </a:lnTo>
                  <a:lnTo>
                    <a:pt x="960501" y="1118235"/>
                  </a:lnTo>
                  <a:lnTo>
                    <a:pt x="960882" y="1119664"/>
                  </a:lnTo>
                  <a:lnTo>
                    <a:pt x="960882" y="1119664"/>
                  </a:lnTo>
                  <a:lnTo>
                    <a:pt x="961263" y="1120997"/>
                  </a:lnTo>
                  <a:lnTo>
                    <a:pt x="961263" y="1120997"/>
                  </a:lnTo>
                  <a:lnTo>
                    <a:pt x="961644" y="1122331"/>
                  </a:lnTo>
                  <a:lnTo>
                    <a:pt x="961644" y="1122331"/>
                  </a:lnTo>
                  <a:lnTo>
                    <a:pt x="962120" y="1123664"/>
                  </a:lnTo>
                  <a:lnTo>
                    <a:pt x="962120" y="1123664"/>
                  </a:lnTo>
                  <a:lnTo>
                    <a:pt x="962597" y="1124998"/>
                  </a:lnTo>
                  <a:lnTo>
                    <a:pt x="962597" y="1124998"/>
                  </a:lnTo>
                  <a:lnTo>
                    <a:pt x="963073" y="1126331"/>
                  </a:lnTo>
                  <a:lnTo>
                    <a:pt x="963073" y="1126331"/>
                  </a:lnTo>
                  <a:lnTo>
                    <a:pt x="963644" y="1127665"/>
                  </a:lnTo>
                  <a:lnTo>
                    <a:pt x="963644" y="1127665"/>
                  </a:lnTo>
                  <a:lnTo>
                    <a:pt x="964216" y="1128903"/>
                  </a:lnTo>
                  <a:lnTo>
                    <a:pt x="964216" y="1128903"/>
                  </a:lnTo>
                  <a:lnTo>
                    <a:pt x="964787" y="1130141"/>
                  </a:lnTo>
                  <a:lnTo>
                    <a:pt x="964787" y="1130141"/>
                  </a:lnTo>
                  <a:lnTo>
                    <a:pt x="965454" y="1131380"/>
                  </a:lnTo>
                  <a:lnTo>
                    <a:pt x="965454" y="1131380"/>
                  </a:lnTo>
                  <a:cubicBezTo>
                    <a:pt x="965645" y="1131761"/>
                    <a:pt x="965835" y="1132237"/>
                    <a:pt x="966121" y="1132618"/>
                  </a:cubicBezTo>
                  <a:lnTo>
                    <a:pt x="966121" y="1132618"/>
                  </a:lnTo>
                  <a:lnTo>
                    <a:pt x="966788" y="1133856"/>
                  </a:lnTo>
                  <a:lnTo>
                    <a:pt x="966788" y="1133856"/>
                  </a:lnTo>
                  <a:cubicBezTo>
                    <a:pt x="966978" y="1134237"/>
                    <a:pt x="967264" y="1134618"/>
                    <a:pt x="967454" y="1135094"/>
                  </a:cubicBezTo>
                  <a:lnTo>
                    <a:pt x="967454" y="1135094"/>
                  </a:lnTo>
                  <a:lnTo>
                    <a:pt x="968216" y="1136237"/>
                  </a:lnTo>
                  <a:lnTo>
                    <a:pt x="968216" y="1136237"/>
                  </a:lnTo>
                  <a:lnTo>
                    <a:pt x="968978" y="1137380"/>
                  </a:lnTo>
                  <a:lnTo>
                    <a:pt x="968978" y="1137380"/>
                  </a:lnTo>
                  <a:lnTo>
                    <a:pt x="969740" y="1138523"/>
                  </a:lnTo>
                  <a:lnTo>
                    <a:pt x="969740" y="1138523"/>
                  </a:lnTo>
                  <a:lnTo>
                    <a:pt x="970597" y="1139666"/>
                  </a:lnTo>
                  <a:lnTo>
                    <a:pt x="970597" y="1139666"/>
                  </a:lnTo>
                  <a:lnTo>
                    <a:pt x="971455" y="1140809"/>
                  </a:lnTo>
                  <a:lnTo>
                    <a:pt x="971455" y="1140809"/>
                  </a:lnTo>
                  <a:cubicBezTo>
                    <a:pt x="971740" y="1141190"/>
                    <a:pt x="972026" y="1141571"/>
                    <a:pt x="972312" y="1141857"/>
                  </a:cubicBezTo>
                  <a:lnTo>
                    <a:pt x="972312" y="1141857"/>
                  </a:lnTo>
                  <a:lnTo>
                    <a:pt x="973169" y="1142905"/>
                  </a:lnTo>
                  <a:lnTo>
                    <a:pt x="973169" y="1142905"/>
                  </a:lnTo>
                  <a:lnTo>
                    <a:pt x="974122" y="1143953"/>
                  </a:lnTo>
                  <a:lnTo>
                    <a:pt x="974122" y="1143953"/>
                  </a:lnTo>
                  <a:lnTo>
                    <a:pt x="975074" y="1145000"/>
                  </a:lnTo>
                  <a:lnTo>
                    <a:pt x="975074" y="1145000"/>
                  </a:lnTo>
                  <a:lnTo>
                    <a:pt x="976027" y="1145953"/>
                  </a:lnTo>
                  <a:lnTo>
                    <a:pt x="976027" y="1145953"/>
                  </a:lnTo>
                  <a:lnTo>
                    <a:pt x="976979" y="1146905"/>
                  </a:lnTo>
                  <a:lnTo>
                    <a:pt x="976979" y="1146905"/>
                  </a:lnTo>
                  <a:lnTo>
                    <a:pt x="978027" y="1147858"/>
                  </a:lnTo>
                  <a:lnTo>
                    <a:pt x="978027" y="1147858"/>
                  </a:lnTo>
                  <a:lnTo>
                    <a:pt x="979075" y="1148810"/>
                  </a:lnTo>
                  <a:lnTo>
                    <a:pt x="979075" y="1148810"/>
                  </a:lnTo>
                  <a:lnTo>
                    <a:pt x="980122" y="1149668"/>
                  </a:lnTo>
                  <a:lnTo>
                    <a:pt x="980122" y="1149668"/>
                  </a:lnTo>
                  <a:cubicBezTo>
                    <a:pt x="980504" y="1149953"/>
                    <a:pt x="980885" y="1150239"/>
                    <a:pt x="981170" y="1150525"/>
                  </a:cubicBezTo>
                  <a:lnTo>
                    <a:pt x="981170" y="1150525"/>
                  </a:lnTo>
                  <a:cubicBezTo>
                    <a:pt x="981551" y="1150811"/>
                    <a:pt x="981932" y="1151096"/>
                    <a:pt x="982218" y="1151382"/>
                  </a:cubicBezTo>
                  <a:lnTo>
                    <a:pt x="982218" y="1151382"/>
                  </a:lnTo>
                  <a:lnTo>
                    <a:pt x="983361" y="1152239"/>
                  </a:lnTo>
                  <a:lnTo>
                    <a:pt x="983361" y="1152239"/>
                  </a:lnTo>
                  <a:lnTo>
                    <a:pt x="984504" y="1153001"/>
                  </a:lnTo>
                  <a:lnTo>
                    <a:pt x="984504" y="1153001"/>
                  </a:lnTo>
                  <a:lnTo>
                    <a:pt x="985647" y="1153763"/>
                  </a:lnTo>
                  <a:lnTo>
                    <a:pt x="985647" y="1153763"/>
                  </a:lnTo>
                  <a:lnTo>
                    <a:pt x="986790" y="1154525"/>
                  </a:lnTo>
                  <a:lnTo>
                    <a:pt x="986790" y="1154525"/>
                  </a:lnTo>
                  <a:lnTo>
                    <a:pt x="988028" y="1155192"/>
                  </a:lnTo>
                  <a:lnTo>
                    <a:pt x="988028" y="1155192"/>
                  </a:lnTo>
                  <a:lnTo>
                    <a:pt x="989267" y="1155859"/>
                  </a:lnTo>
                  <a:lnTo>
                    <a:pt x="989267" y="1155859"/>
                  </a:lnTo>
                  <a:lnTo>
                    <a:pt x="990505" y="1156526"/>
                  </a:lnTo>
                  <a:lnTo>
                    <a:pt x="990505" y="1156526"/>
                  </a:lnTo>
                  <a:lnTo>
                    <a:pt x="991743" y="1157192"/>
                  </a:lnTo>
                  <a:lnTo>
                    <a:pt x="991743" y="1157192"/>
                  </a:lnTo>
                  <a:lnTo>
                    <a:pt x="992981" y="1157764"/>
                  </a:lnTo>
                  <a:lnTo>
                    <a:pt x="992981" y="1157764"/>
                  </a:lnTo>
                  <a:cubicBezTo>
                    <a:pt x="993362" y="1157954"/>
                    <a:pt x="993838" y="1158145"/>
                    <a:pt x="994220" y="1158335"/>
                  </a:cubicBezTo>
                  <a:lnTo>
                    <a:pt x="994220" y="1158335"/>
                  </a:lnTo>
                  <a:lnTo>
                    <a:pt x="995553" y="1158907"/>
                  </a:lnTo>
                  <a:lnTo>
                    <a:pt x="995553" y="1158907"/>
                  </a:lnTo>
                  <a:lnTo>
                    <a:pt x="996887" y="1159383"/>
                  </a:lnTo>
                  <a:lnTo>
                    <a:pt x="996887" y="1159383"/>
                  </a:lnTo>
                  <a:lnTo>
                    <a:pt x="998220" y="1159859"/>
                  </a:lnTo>
                  <a:lnTo>
                    <a:pt x="998220" y="1159859"/>
                  </a:lnTo>
                  <a:lnTo>
                    <a:pt x="999554" y="1160336"/>
                  </a:lnTo>
                  <a:lnTo>
                    <a:pt x="999554" y="1160336"/>
                  </a:lnTo>
                  <a:lnTo>
                    <a:pt x="1000887" y="1160717"/>
                  </a:lnTo>
                  <a:lnTo>
                    <a:pt x="1000887" y="1160717"/>
                  </a:lnTo>
                  <a:lnTo>
                    <a:pt x="1002221" y="1161098"/>
                  </a:lnTo>
                  <a:lnTo>
                    <a:pt x="1002221" y="1161098"/>
                  </a:lnTo>
                  <a:lnTo>
                    <a:pt x="1003554" y="1161479"/>
                  </a:lnTo>
                  <a:lnTo>
                    <a:pt x="1003554" y="1161479"/>
                  </a:lnTo>
                  <a:lnTo>
                    <a:pt x="1004983" y="1161764"/>
                  </a:lnTo>
                  <a:lnTo>
                    <a:pt x="1004983" y="1161764"/>
                  </a:lnTo>
                  <a:cubicBezTo>
                    <a:pt x="1005459" y="1161860"/>
                    <a:pt x="1005935" y="1161955"/>
                    <a:pt x="1006412" y="1162050"/>
                  </a:cubicBezTo>
                  <a:lnTo>
                    <a:pt x="1006412" y="1162050"/>
                  </a:lnTo>
                  <a:lnTo>
                    <a:pt x="1007840" y="1162336"/>
                  </a:lnTo>
                  <a:lnTo>
                    <a:pt x="1007840" y="1162336"/>
                  </a:lnTo>
                  <a:lnTo>
                    <a:pt x="1009269" y="1162526"/>
                  </a:lnTo>
                  <a:lnTo>
                    <a:pt x="1009269" y="1162526"/>
                  </a:lnTo>
                  <a:lnTo>
                    <a:pt x="1010698" y="1162717"/>
                  </a:lnTo>
                  <a:lnTo>
                    <a:pt x="1010698" y="1162717"/>
                  </a:lnTo>
                  <a:lnTo>
                    <a:pt x="1012127" y="1162812"/>
                  </a:lnTo>
                  <a:lnTo>
                    <a:pt x="1012127" y="1162812"/>
                  </a:lnTo>
                  <a:lnTo>
                    <a:pt x="1013555" y="1162907"/>
                  </a:lnTo>
                  <a:lnTo>
                    <a:pt x="1013555" y="1162907"/>
                  </a:lnTo>
                  <a:lnTo>
                    <a:pt x="1014031" y="1162907"/>
                  </a:lnTo>
                  <a:cubicBezTo>
                    <a:pt x="1015079" y="1162907"/>
                    <a:pt x="1016032" y="1163003"/>
                    <a:pt x="1017175" y="1163003"/>
                  </a:cubicBezTo>
                  <a:lnTo>
                    <a:pt x="1047560" y="1163003"/>
                  </a:lnTo>
                  <a:lnTo>
                    <a:pt x="1199483" y="1163003"/>
                  </a:lnTo>
                  <a:cubicBezTo>
                    <a:pt x="1244060" y="1163003"/>
                    <a:pt x="1280446" y="1199388"/>
                    <a:pt x="1280446" y="1243965"/>
                  </a:cubicBezTo>
                  <a:lnTo>
                    <a:pt x="1280446" y="1375886"/>
                  </a:lnTo>
                  <a:lnTo>
                    <a:pt x="1280446" y="1539431"/>
                  </a:lnTo>
                  <a:lnTo>
                    <a:pt x="1280446" y="1542574"/>
                  </a:lnTo>
                  <a:cubicBezTo>
                    <a:pt x="1280446" y="1574292"/>
                    <a:pt x="1306354" y="1600200"/>
                    <a:pt x="1338072" y="1600200"/>
                  </a:cubicBezTo>
                  <a:lnTo>
                    <a:pt x="1358075" y="1600200"/>
                  </a:lnTo>
                  <a:cubicBezTo>
                    <a:pt x="1389793" y="1600200"/>
                    <a:pt x="1415701" y="1574292"/>
                    <a:pt x="1415701" y="1542574"/>
                  </a:cubicBezTo>
                  <a:lnTo>
                    <a:pt x="1415701" y="1534477"/>
                  </a:lnTo>
                  <a:cubicBezTo>
                    <a:pt x="1415701" y="1489900"/>
                    <a:pt x="1452086" y="1453515"/>
                    <a:pt x="1496663" y="1453515"/>
                  </a:cubicBezTo>
                  <a:lnTo>
                    <a:pt x="1527239" y="1453515"/>
                  </a:lnTo>
                  <a:cubicBezTo>
                    <a:pt x="1558957" y="1453515"/>
                    <a:pt x="1584865" y="1427607"/>
                    <a:pt x="1584865" y="1395889"/>
                  </a:cubicBezTo>
                  <a:lnTo>
                    <a:pt x="1584865" y="1375886"/>
                  </a:lnTo>
                  <a:cubicBezTo>
                    <a:pt x="1584865" y="1351026"/>
                    <a:pt x="1568958" y="1329690"/>
                    <a:pt x="1546765" y="1321689"/>
                  </a:cubicBezTo>
                  <a:cubicBezTo>
                    <a:pt x="1535716" y="1317689"/>
                    <a:pt x="1493520" y="1325689"/>
                    <a:pt x="1477518" y="1318070"/>
                  </a:cubicBezTo>
                  <a:cubicBezTo>
                    <a:pt x="1439609" y="1299877"/>
                    <a:pt x="1425226" y="1259014"/>
                    <a:pt x="1429988" y="1231487"/>
                  </a:cubicBezTo>
                  <a:cubicBezTo>
                    <a:pt x="1436846" y="1192435"/>
                    <a:pt x="1459039" y="1164527"/>
                    <a:pt x="1498759" y="1164527"/>
                  </a:cubicBezTo>
                  <a:lnTo>
                    <a:pt x="1681829" y="1164527"/>
                  </a:lnTo>
                  <a:cubicBezTo>
                    <a:pt x="1713548" y="1164527"/>
                    <a:pt x="1739456" y="1138619"/>
                    <a:pt x="1739456" y="1106900"/>
                  </a:cubicBezTo>
                  <a:lnTo>
                    <a:pt x="1739456" y="1086898"/>
                  </a:lnTo>
                  <a:cubicBezTo>
                    <a:pt x="1739456" y="1055180"/>
                    <a:pt x="1713548" y="1029272"/>
                    <a:pt x="1681829" y="1029272"/>
                  </a:cubicBezTo>
                  <a:lnTo>
                    <a:pt x="1498854" y="1029272"/>
                  </a:lnTo>
                  <a:cubicBezTo>
                    <a:pt x="1454277" y="1029272"/>
                    <a:pt x="1417892" y="992886"/>
                    <a:pt x="1417892" y="948309"/>
                  </a:cubicBezTo>
                  <a:lnTo>
                    <a:pt x="1417892" y="942594"/>
                  </a:lnTo>
                  <a:cubicBezTo>
                    <a:pt x="1417892" y="910876"/>
                    <a:pt x="1391984" y="884968"/>
                    <a:pt x="1360265" y="884968"/>
                  </a:cubicBezTo>
                  <a:lnTo>
                    <a:pt x="1186148" y="884968"/>
                  </a:lnTo>
                  <a:cubicBezTo>
                    <a:pt x="1141571" y="884968"/>
                    <a:pt x="1105186" y="848582"/>
                    <a:pt x="1105186" y="804005"/>
                  </a:cubicBezTo>
                  <a:lnTo>
                    <a:pt x="1105186" y="646176"/>
                  </a:lnTo>
                  <a:cubicBezTo>
                    <a:pt x="1105186" y="635508"/>
                    <a:pt x="1102233" y="625412"/>
                    <a:pt x="1097089" y="616839"/>
                  </a:cubicBezTo>
                  <a:cubicBezTo>
                    <a:pt x="1096804" y="616458"/>
                    <a:pt x="1096613" y="616077"/>
                    <a:pt x="1096423" y="615696"/>
                  </a:cubicBezTo>
                  <a:cubicBezTo>
                    <a:pt x="1086517" y="598361"/>
                    <a:pt x="1067753" y="586550"/>
                    <a:pt x="1046417" y="586550"/>
                  </a:cubicBezTo>
                  <a:lnTo>
                    <a:pt x="1024128" y="586550"/>
                  </a:lnTo>
                  <a:cubicBezTo>
                    <a:pt x="979551" y="586550"/>
                    <a:pt x="943165" y="550164"/>
                    <a:pt x="943165" y="505587"/>
                  </a:cubicBezTo>
                  <a:lnTo>
                    <a:pt x="943165" y="505206"/>
                  </a:lnTo>
                  <a:cubicBezTo>
                    <a:pt x="943165" y="473488"/>
                    <a:pt x="917162" y="447770"/>
                    <a:pt x="885539" y="446818"/>
                  </a:cubicBezTo>
                  <a:lnTo>
                    <a:pt x="844772" y="445580"/>
                  </a:lnTo>
                  <a:cubicBezTo>
                    <a:pt x="816864" y="441674"/>
                    <a:pt x="795242" y="417481"/>
                    <a:pt x="795242" y="388525"/>
                  </a:cubicBezTo>
                  <a:lnTo>
                    <a:pt x="795242" y="368522"/>
                  </a:lnTo>
                  <a:cubicBezTo>
                    <a:pt x="795242" y="336804"/>
                    <a:pt x="821150" y="310896"/>
                    <a:pt x="852869" y="310896"/>
                  </a:cubicBezTo>
                  <a:lnTo>
                    <a:pt x="952119" y="310896"/>
                  </a:lnTo>
                  <a:lnTo>
                    <a:pt x="951167" y="57626"/>
                  </a:lnTo>
                  <a:cubicBezTo>
                    <a:pt x="951071" y="26003"/>
                    <a:pt x="925259" y="0"/>
                    <a:pt x="893540" y="0"/>
                  </a:cubicBezTo>
                  <a:lnTo>
                    <a:pt x="214598" y="0"/>
                  </a:lnTo>
                  <a:cubicBezTo>
                    <a:pt x="185166" y="0"/>
                    <a:pt x="160592" y="22479"/>
                    <a:pt x="157353" y="51149"/>
                  </a:cubicBezTo>
                  <a:lnTo>
                    <a:pt x="157353" y="93059"/>
                  </a:lnTo>
                  <a:cubicBezTo>
                    <a:pt x="157353" y="124778"/>
                    <a:pt x="131445" y="150686"/>
                    <a:pt x="99727" y="150686"/>
                  </a:cubicBezTo>
                  <a:lnTo>
                    <a:pt x="0" y="150686"/>
                  </a:lnTo>
                  <a:lnTo>
                    <a:pt x="476" y="514921"/>
                  </a:lnTo>
                  <a:lnTo>
                    <a:pt x="476" y="514921"/>
                  </a:lnTo>
                  <a:close/>
                  <a:moveTo>
                    <a:pt x="959358" y="1105281"/>
                  </a:moveTo>
                  <a:lnTo>
                    <a:pt x="959358" y="1105281"/>
                  </a:lnTo>
                  <a:lnTo>
                    <a:pt x="959358" y="1105281"/>
                  </a:lnTo>
                  <a:lnTo>
                    <a:pt x="959358" y="1105281"/>
                  </a:lnTo>
                  <a:close/>
                  <a:moveTo>
                    <a:pt x="486156" y="672655"/>
                  </a:moveTo>
                  <a:lnTo>
                    <a:pt x="486156" y="672655"/>
                  </a:lnTo>
                  <a:lnTo>
                    <a:pt x="486156" y="672655"/>
                  </a:lnTo>
                  <a:lnTo>
                    <a:pt x="486156" y="672655"/>
                  </a:lnTo>
                  <a:close/>
                  <a:moveTo>
                    <a:pt x="647033" y="814769"/>
                  </a:moveTo>
                  <a:lnTo>
                    <a:pt x="647033" y="814769"/>
                  </a:lnTo>
                  <a:lnTo>
                    <a:pt x="647033" y="814769"/>
                  </a:lnTo>
                  <a:lnTo>
                    <a:pt x="647033" y="814769"/>
                  </a:lnTo>
                  <a:close/>
                  <a:moveTo>
                    <a:pt x="793813" y="956881"/>
                  </a:moveTo>
                  <a:lnTo>
                    <a:pt x="793813" y="956881"/>
                  </a:lnTo>
                  <a:lnTo>
                    <a:pt x="793813" y="956881"/>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38" name="Freeform: Shape 75">
              <a:extLst>
                <a:ext uri="{FF2B5EF4-FFF2-40B4-BE49-F238E27FC236}">
                  <a16:creationId xmlns:a16="http://schemas.microsoft.com/office/drawing/2014/main" id="{78470A00-0150-D6F4-879B-EB5285DB53F3}"/>
                </a:ext>
              </a:extLst>
            </p:cNvPr>
            <p:cNvSpPr/>
            <p:nvPr/>
          </p:nvSpPr>
          <p:spPr>
            <a:xfrm>
              <a:off x="2597578" y="3391266"/>
              <a:ext cx="633889" cy="428600"/>
            </a:xfrm>
            <a:custGeom>
              <a:avLst/>
              <a:gdLst>
                <a:gd name="connsiteX0" fmla="*/ 633889 w 633888"/>
                <a:gd name="connsiteY0" fmla="*/ 285464 h 436149"/>
                <a:gd name="connsiteX1" fmla="*/ 633889 w 633888"/>
                <a:gd name="connsiteY1" fmla="*/ 142208 h 436149"/>
                <a:gd name="connsiteX2" fmla="*/ 57626 w 633888"/>
                <a:gd name="connsiteY2" fmla="*/ 143256 h 436149"/>
                <a:gd name="connsiteX3" fmla="*/ 0 w 633888"/>
                <a:gd name="connsiteY3" fmla="*/ 200882 h 436149"/>
                <a:gd name="connsiteX4" fmla="*/ 0 w 633888"/>
                <a:gd name="connsiteY4" fmla="*/ 378523 h 436149"/>
                <a:gd name="connsiteX5" fmla="*/ 57626 w 633888"/>
                <a:gd name="connsiteY5" fmla="*/ 436150 h 436149"/>
                <a:gd name="connsiteX6" fmla="*/ 253079 w 633888"/>
                <a:gd name="connsiteY6" fmla="*/ 436150 h 436149"/>
                <a:gd name="connsiteX7" fmla="*/ 310705 w 633888"/>
                <a:gd name="connsiteY7" fmla="*/ 378523 h 436149"/>
                <a:gd name="connsiteX8" fmla="*/ 310705 w 633888"/>
                <a:gd name="connsiteY8" fmla="*/ 336613 h 436149"/>
                <a:gd name="connsiteX9" fmla="*/ 367951 w 633888"/>
                <a:gd name="connsiteY9" fmla="*/ 285464 h 436149"/>
                <a:gd name="connsiteX10" fmla="*/ 633889 w 633888"/>
                <a:gd name="connsiteY10" fmla="*/ 285464 h 436149"/>
                <a:gd name="connsiteX11" fmla="*/ 633889 w 633888"/>
                <a:gd name="connsiteY11" fmla="*/ 285464 h 436149"/>
                <a:gd name="connsiteX12" fmla="*/ 91345 w 633888"/>
                <a:gd name="connsiteY12" fmla="*/ 0 h 436149"/>
                <a:gd name="connsiteX13" fmla="*/ 91345 w 633888"/>
                <a:gd name="connsiteY13" fmla="*/ 0 h 436149"/>
                <a:gd name="connsiteX14" fmla="*/ 91345 w 633888"/>
                <a:gd name="connsiteY14" fmla="*/ 0 h 436149"/>
                <a:gd name="connsiteX15" fmla="*/ 91345 w 633888"/>
                <a:gd name="connsiteY15" fmla="*/ 0 h 436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3888" h="436149">
                  <a:moveTo>
                    <a:pt x="633889" y="285464"/>
                  </a:moveTo>
                  <a:lnTo>
                    <a:pt x="633889" y="142208"/>
                  </a:lnTo>
                  <a:cubicBezTo>
                    <a:pt x="427482" y="142208"/>
                    <a:pt x="249746" y="143256"/>
                    <a:pt x="57626" y="143256"/>
                  </a:cubicBezTo>
                  <a:cubicBezTo>
                    <a:pt x="25908" y="143256"/>
                    <a:pt x="0" y="169164"/>
                    <a:pt x="0" y="200882"/>
                  </a:cubicBezTo>
                  <a:lnTo>
                    <a:pt x="0" y="378523"/>
                  </a:lnTo>
                  <a:cubicBezTo>
                    <a:pt x="0" y="410242"/>
                    <a:pt x="25908" y="436150"/>
                    <a:pt x="57626" y="436150"/>
                  </a:cubicBezTo>
                  <a:lnTo>
                    <a:pt x="253079" y="436150"/>
                  </a:lnTo>
                  <a:cubicBezTo>
                    <a:pt x="284797" y="436150"/>
                    <a:pt x="310705" y="410242"/>
                    <a:pt x="310705" y="378523"/>
                  </a:cubicBezTo>
                  <a:lnTo>
                    <a:pt x="310705" y="336613"/>
                  </a:lnTo>
                  <a:cubicBezTo>
                    <a:pt x="313944" y="307943"/>
                    <a:pt x="338519" y="285464"/>
                    <a:pt x="367951" y="285464"/>
                  </a:cubicBezTo>
                  <a:lnTo>
                    <a:pt x="633889" y="285464"/>
                  </a:lnTo>
                  <a:lnTo>
                    <a:pt x="633889" y="285464"/>
                  </a:lnTo>
                  <a:close/>
                  <a:moveTo>
                    <a:pt x="91345" y="0"/>
                  </a:moveTo>
                  <a:lnTo>
                    <a:pt x="91345" y="0"/>
                  </a:lnTo>
                  <a:lnTo>
                    <a:pt x="91345" y="0"/>
                  </a:lnTo>
                  <a:lnTo>
                    <a:pt x="91345" y="0"/>
                  </a:lnTo>
                  <a:close/>
                </a:path>
              </a:pathLst>
            </a:custGeom>
            <a:pattFill prst="wdUpDiag">
              <a:fgClr>
                <a:srgbClr val="0C29FF"/>
              </a:fgClr>
              <a:bgClr>
                <a:schemeClr val="bg1"/>
              </a:bgClr>
            </a:patt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39" name="Freeform: Shape 76">
              <a:extLst>
                <a:ext uri="{FF2B5EF4-FFF2-40B4-BE49-F238E27FC236}">
                  <a16:creationId xmlns:a16="http://schemas.microsoft.com/office/drawing/2014/main" id="{F9E7BE16-2081-EA66-36E7-352B6284E3A6}"/>
                </a:ext>
              </a:extLst>
            </p:cNvPr>
            <p:cNvSpPr/>
            <p:nvPr/>
          </p:nvSpPr>
          <p:spPr>
            <a:xfrm>
              <a:off x="3231373" y="3411077"/>
              <a:ext cx="951737" cy="573595"/>
            </a:xfrm>
            <a:custGeom>
              <a:avLst/>
              <a:gdLst>
                <a:gd name="connsiteX0" fmla="*/ 472440 w 951737"/>
                <a:gd name="connsiteY0" fmla="*/ 0 h 573595"/>
                <a:gd name="connsiteX1" fmla="*/ 951738 w 951737"/>
                <a:gd name="connsiteY1" fmla="*/ 0 h 573595"/>
                <a:gd name="connsiteX2" fmla="*/ 951738 w 951737"/>
                <a:gd name="connsiteY2" fmla="*/ 213265 h 573595"/>
                <a:gd name="connsiteX3" fmla="*/ 894112 w 951737"/>
                <a:gd name="connsiteY3" fmla="*/ 270891 h 573595"/>
                <a:gd name="connsiteX4" fmla="*/ 859250 w 951737"/>
                <a:gd name="connsiteY4" fmla="*/ 270891 h 573595"/>
                <a:gd name="connsiteX5" fmla="*/ 786574 w 951737"/>
                <a:gd name="connsiteY5" fmla="*/ 347567 h 573595"/>
                <a:gd name="connsiteX6" fmla="*/ 786574 w 951737"/>
                <a:gd name="connsiteY6" fmla="*/ 515969 h 573595"/>
                <a:gd name="connsiteX7" fmla="*/ 728948 w 951737"/>
                <a:gd name="connsiteY7" fmla="*/ 573596 h 573595"/>
                <a:gd name="connsiteX8" fmla="*/ 472535 w 951737"/>
                <a:gd name="connsiteY8" fmla="*/ 573596 h 573595"/>
                <a:gd name="connsiteX9" fmla="*/ 475869 w 951737"/>
                <a:gd name="connsiteY9" fmla="*/ 515969 h 573595"/>
                <a:gd name="connsiteX10" fmla="*/ 475869 w 951737"/>
                <a:gd name="connsiteY10" fmla="*/ 316802 h 573595"/>
                <a:gd name="connsiteX11" fmla="*/ 418624 w 951737"/>
                <a:gd name="connsiteY11" fmla="*/ 265652 h 573595"/>
                <a:gd name="connsiteX12" fmla="*/ 0 w 951737"/>
                <a:gd name="connsiteY12" fmla="*/ 265652 h 573595"/>
                <a:gd name="connsiteX13" fmla="*/ 0 w 951737"/>
                <a:gd name="connsiteY13" fmla="*/ 122396 h 573595"/>
                <a:gd name="connsiteX14" fmla="*/ 78772 w 951737"/>
                <a:gd name="connsiteY14" fmla="*/ 122396 h 573595"/>
                <a:gd name="connsiteX15" fmla="*/ 93345 w 951737"/>
                <a:gd name="connsiteY15" fmla="*/ 121729 h 573595"/>
                <a:gd name="connsiteX16" fmla="*/ 101251 w 951737"/>
                <a:gd name="connsiteY16" fmla="*/ 121348 h 573595"/>
                <a:gd name="connsiteX17" fmla="*/ 400240 w 951737"/>
                <a:gd name="connsiteY17" fmla="*/ 121348 h 573595"/>
                <a:gd name="connsiteX18" fmla="*/ 470249 w 951737"/>
                <a:gd name="connsiteY18" fmla="*/ 51340 h 573595"/>
                <a:gd name="connsiteX19" fmla="*/ 472440 w 951737"/>
                <a:gd name="connsiteY19" fmla="*/ 0 h 5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1737" h="573595">
                  <a:moveTo>
                    <a:pt x="472440" y="0"/>
                  </a:moveTo>
                  <a:lnTo>
                    <a:pt x="951738" y="0"/>
                  </a:lnTo>
                  <a:lnTo>
                    <a:pt x="951738" y="213265"/>
                  </a:lnTo>
                  <a:cubicBezTo>
                    <a:pt x="951738" y="244983"/>
                    <a:pt x="925830" y="270891"/>
                    <a:pt x="894112" y="270891"/>
                  </a:cubicBezTo>
                  <a:lnTo>
                    <a:pt x="859250" y="270891"/>
                  </a:lnTo>
                  <a:cubicBezTo>
                    <a:pt x="802957" y="270891"/>
                    <a:pt x="784955" y="325946"/>
                    <a:pt x="786574" y="347567"/>
                  </a:cubicBezTo>
                  <a:lnTo>
                    <a:pt x="786574" y="515969"/>
                  </a:lnTo>
                  <a:cubicBezTo>
                    <a:pt x="786574" y="547688"/>
                    <a:pt x="760666" y="573596"/>
                    <a:pt x="728948" y="573596"/>
                  </a:cubicBezTo>
                  <a:lnTo>
                    <a:pt x="472535" y="573596"/>
                  </a:lnTo>
                  <a:lnTo>
                    <a:pt x="475869" y="515969"/>
                  </a:lnTo>
                  <a:lnTo>
                    <a:pt x="475869" y="316802"/>
                  </a:lnTo>
                  <a:cubicBezTo>
                    <a:pt x="472630" y="288131"/>
                    <a:pt x="448056" y="265652"/>
                    <a:pt x="418624" y="265652"/>
                  </a:cubicBezTo>
                  <a:lnTo>
                    <a:pt x="0" y="265652"/>
                  </a:lnTo>
                  <a:lnTo>
                    <a:pt x="0" y="122396"/>
                  </a:lnTo>
                  <a:lnTo>
                    <a:pt x="78772" y="122396"/>
                  </a:lnTo>
                  <a:cubicBezTo>
                    <a:pt x="83725" y="122396"/>
                    <a:pt x="88582" y="122111"/>
                    <a:pt x="93345" y="121729"/>
                  </a:cubicBezTo>
                  <a:cubicBezTo>
                    <a:pt x="96107" y="121444"/>
                    <a:pt x="98488" y="121348"/>
                    <a:pt x="101251" y="121348"/>
                  </a:cubicBezTo>
                  <a:lnTo>
                    <a:pt x="400240" y="121348"/>
                  </a:lnTo>
                  <a:cubicBezTo>
                    <a:pt x="438721" y="121348"/>
                    <a:pt x="468630" y="89821"/>
                    <a:pt x="470249" y="51340"/>
                  </a:cubicBezTo>
                  <a:lnTo>
                    <a:pt x="472440" y="0"/>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40" name="Freeform: Shape 77">
              <a:extLst>
                <a:ext uri="{FF2B5EF4-FFF2-40B4-BE49-F238E27FC236}">
                  <a16:creationId xmlns:a16="http://schemas.microsoft.com/office/drawing/2014/main" id="{82D4FCFE-F216-1B55-9314-F5FF35A8E72C}"/>
                </a:ext>
              </a:extLst>
            </p:cNvPr>
            <p:cNvSpPr/>
            <p:nvPr/>
          </p:nvSpPr>
          <p:spPr>
            <a:xfrm>
              <a:off x="3704003" y="3830177"/>
              <a:ext cx="314039" cy="154495"/>
            </a:xfrm>
            <a:custGeom>
              <a:avLst/>
              <a:gdLst>
                <a:gd name="connsiteX0" fmla="*/ 314039 w 314039"/>
                <a:gd name="connsiteY0" fmla="*/ 0 h 154495"/>
                <a:gd name="connsiteX1" fmla="*/ 314039 w 314039"/>
                <a:gd name="connsiteY1" fmla="*/ 96869 h 154495"/>
                <a:gd name="connsiteX2" fmla="*/ 256413 w 314039"/>
                <a:gd name="connsiteY2" fmla="*/ 154496 h 154495"/>
                <a:gd name="connsiteX3" fmla="*/ 0 w 314039"/>
                <a:gd name="connsiteY3" fmla="*/ 154496 h 154495"/>
                <a:gd name="connsiteX4" fmla="*/ 3334 w 314039"/>
                <a:gd name="connsiteY4" fmla="*/ 96869 h 154495"/>
                <a:gd name="connsiteX5" fmla="*/ 3334 w 314039"/>
                <a:gd name="connsiteY5" fmla="*/ 0 h 154495"/>
                <a:gd name="connsiteX6" fmla="*/ 314039 w 314039"/>
                <a:gd name="connsiteY6" fmla="*/ 0 h 15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039" h="154495">
                  <a:moveTo>
                    <a:pt x="314039" y="0"/>
                  </a:moveTo>
                  <a:lnTo>
                    <a:pt x="314039" y="96869"/>
                  </a:lnTo>
                  <a:cubicBezTo>
                    <a:pt x="314039" y="128588"/>
                    <a:pt x="288131" y="154496"/>
                    <a:pt x="256413" y="154496"/>
                  </a:cubicBezTo>
                  <a:lnTo>
                    <a:pt x="0" y="154496"/>
                  </a:lnTo>
                  <a:lnTo>
                    <a:pt x="3334" y="96869"/>
                  </a:lnTo>
                  <a:lnTo>
                    <a:pt x="3334" y="0"/>
                  </a:lnTo>
                  <a:lnTo>
                    <a:pt x="314039" y="0"/>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41" name="Freeform: Shape 80">
              <a:extLst>
                <a:ext uri="{FF2B5EF4-FFF2-40B4-BE49-F238E27FC236}">
                  <a16:creationId xmlns:a16="http://schemas.microsoft.com/office/drawing/2014/main" id="{5DEDF486-B3CD-B10C-6909-7A4CEB5721D5}"/>
                </a:ext>
              </a:extLst>
            </p:cNvPr>
            <p:cNvSpPr/>
            <p:nvPr/>
          </p:nvSpPr>
          <p:spPr>
            <a:xfrm>
              <a:off x="3828495" y="3830462"/>
              <a:ext cx="820769" cy="493014"/>
            </a:xfrm>
            <a:custGeom>
              <a:avLst/>
              <a:gdLst>
                <a:gd name="connsiteX0" fmla="*/ 0 w 820769"/>
                <a:gd name="connsiteY0" fmla="*/ 154210 h 493014"/>
                <a:gd name="connsiteX1" fmla="*/ 41053 w 820769"/>
                <a:gd name="connsiteY1" fmla="*/ 220313 h 493014"/>
                <a:gd name="connsiteX2" fmla="*/ 41053 w 820769"/>
                <a:gd name="connsiteY2" fmla="*/ 239268 h 493014"/>
                <a:gd name="connsiteX3" fmla="*/ 98679 w 820769"/>
                <a:gd name="connsiteY3" fmla="*/ 296894 h 493014"/>
                <a:gd name="connsiteX4" fmla="*/ 126778 w 820769"/>
                <a:gd name="connsiteY4" fmla="*/ 296894 h 493014"/>
                <a:gd name="connsiteX5" fmla="*/ 207740 w 820769"/>
                <a:gd name="connsiteY5" fmla="*/ 377857 h 493014"/>
                <a:gd name="connsiteX6" fmla="*/ 207740 w 820769"/>
                <a:gd name="connsiteY6" fmla="*/ 385001 h 493014"/>
                <a:gd name="connsiteX7" fmla="*/ 207740 w 820769"/>
                <a:gd name="connsiteY7" fmla="*/ 386524 h 493014"/>
                <a:gd name="connsiteX8" fmla="*/ 207740 w 820769"/>
                <a:gd name="connsiteY8" fmla="*/ 386524 h 493014"/>
                <a:gd name="connsiteX9" fmla="*/ 207835 w 820769"/>
                <a:gd name="connsiteY9" fmla="*/ 387953 h 493014"/>
                <a:gd name="connsiteX10" fmla="*/ 207835 w 820769"/>
                <a:gd name="connsiteY10" fmla="*/ 387953 h 493014"/>
                <a:gd name="connsiteX11" fmla="*/ 207931 w 820769"/>
                <a:gd name="connsiteY11" fmla="*/ 389382 h 493014"/>
                <a:gd name="connsiteX12" fmla="*/ 207931 w 820769"/>
                <a:gd name="connsiteY12" fmla="*/ 389382 h 493014"/>
                <a:gd name="connsiteX13" fmla="*/ 208026 w 820769"/>
                <a:gd name="connsiteY13" fmla="*/ 390811 h 493014"/>
                <a:gd name="connsiteX14" fmla="*/ 208026 w 820769"/>
                <a:gd name="connsiteY14" fmla="*/ 390811 h 493014"/>
                <a:gd name="connsiteX15" fmla="*/ 208216 w 820769"/>
                <a:gd name="connsiteY15" fmla="*/ 392239 h 493014"/>
                <a:gd name="connsiteX16" fmla="*/ 208216 w 820769"/>
                <a:gd name="connsiteY16" fmla="*/ 392239 h 493014"/>
                <a:gd name="connsiteX17" fmla="*/ 208407 w 820769"/>
                <a:gd name="connsiteY17" fmla="*/ 393668 h 493014"/>
                <a:gd name="connsiteX18" fmla="*/ 208407 w 820769"/>
                <a:gd name="connsiteY18" fmla="*/ 393668 h 493014"/>
                <a:gd name="connsiteX19" fmla="*/ 208597 w 820769"/>
                <a:gd name="connsiteY19" fmla="*/ 395097 h 493014"/>
                <a:gd name="connsiteX20" fmla="*/ 208597 w 820769"/>
                <a:gd name="connsiteY20" fmla="*/ 395097 h 493014"/>
                <a:gd name="connsiteX21" fmla="*/ 230886 w 820769"/>
                <a:gd name="connsiteY21" fmla="*/ 431102 h 493014"/>
                <a:gd name="connsiteX22" fmla="*/ 230886 w 820769"/>
                <a:gd name="connsiteY22" fmla="*/ 431102 h 493014"/>
                <a:gd name="connsiteX23" fmla="*/ 232029 w 820769"/>
                <a:gd name="connsiteY23" fmla="*/ 431959 h 493014"/>
                <a:gd name="connsiteX24" fmla="*/ 232029 w 820769"/>
                <a:gd name="connsiteY24" fmla="*/ 431959 h 493014"/>
                <a:gd name="connsiteX25" fmla="*/ 233172 w 820769"/>
                <a:gd name="connsiteY25" fmla="*/ 432721 h 493014"/>
                <a:gd name="connsiteX26" fmla="*/ 233172 w 820769"/>
                <a:gd name="connsiteY26" fmla="*/ 432721 h 493014"/>
                <a:gd name="connsiteX27" fmla="*/ 234315 w 820769"/>
                <a:gd name="connsiteY27" fmla="*/ 433483 h 493014"/>
                <a:gd name="connsiteX28" fmla="*/ 234315 w 820769"/>
                <a:gd name="connsiteY28" fmla="*/ 433483 h 493014"/>
                <a:gd name="connsiteX29" fmla="*/ 235458 w 820769"/>
                <a:gd name="connsiteY29" fmla="*/ 434245 h 493014"/>
                <a:gd name="connsiteX30" fmla="*/ 235458 w 820769"/>
                <a:gd name="connsiteY30" fmla="*/ 434245 h 493014"/>
                <a:gd name="connsiteX31" fmla="*/ 236029 w 820769"/>
                <a:gd name="connsiteY31" fmla="*/ 434530 h 493014"/>
                <a:gd name="connsiteX32" fmla="*/ 237363 w 820769"/>
                <a:gd name="connsiteY32" fmla="*/ 435293 h 493014"/>
                <a:gd name="connsiteX33" fmla="*/ 237934 w 820769"/>
                <a:gd name="connsiteY33" fmla="*/ 435578 h 493014"/>
                <a:gd name="connsiteX34" fmla="*/ 237934 w 820769"/>
                <a:gd name="connsiteY34" fmla="*/ 435578 h 493014"/>
                <a:gd name="connsiteX35" fmla="*/ 239173 w 820769"/>
                <a:gd name="connsiteY35" fmla="*/ 436245 h 493014"/>
                <a:gd name="connsiteX36" fmla="*/ 239173 w 820769"/>
                <a:gd name="connsiteY36" fmla="*/ 436245 h 493014"/>
                <a:gd name="connsiteX37" fmla="*/ 240411 w 820769"/>
                <a:gd name="connsiteY37" fmla="*/ 436912 h 493014"/>
                <a:gd name="connsiteX38" fmla="*/ 240411 w 820769"/>
                <a:gd name="connsiteY38" fmla="*/ 436912 h 493014"/>
                <a:gd name="connsiteX39" fmla="*/ 241649 w 820769"/>
                <a:gd name="connsiteY39" fmla="*/ 437483 h 493014"/>
                <a:gd name="connsiteX40" fmla="*/ 241649 w 820769"/>
                <a:gd name="connsiteY40" fmla="*/ 437483 h 493014"/>
                <a:gd name="connsiteX41" fmla="*/ 242888 w 820769"/>
                <a:gd name="connsiteY41" fmla="*/ 438055 h 493014"/>
                <a:gd name="connsiteX42" fmla="*/ 242888 w 820769"/>
                <a:gd name="connsiteY42" fmla="*/ 438055 h 493014"/>
                <a:gd name="connsiteX43" fmla="*/ 244221 w 820769"/>
                <a:gd name="connsiteY43" fmla="*/ 438626 h 493014"/>
                <a:gd name="connsiteX44" fmla="*/ 244221 w 820769"/>
                <a:gd name="connsiteY44" fmla="*/ 438626 h 493014"/>
                <a:gd name="connsiteX45" fmla="*/ 245554 w 820769"/>
                <a:gd name="connsiteY45" fmla="*/ 439103 h 493014"/>
                <a:gd name="connsiteX46" fmla="*/ 245554 w 820769"/>
                <a:gd name="connsiteY46" fmla="*/ 439103 h 493014"/>
                <a:gd name="connsiteX47" fmla="*/ 246888 w 820769"/>
                <a:gd name="connsiteY47" fmla="*/ 439579 h 493014"/>
                <a:gd name="connsiteX48" fmla="*/ 246888 w 820769"/>
                <a:gd name="connsiteY48" fmla="*/ 439579 h 493014"/>
                <a:gd name="connsiteX49" fmla="*/ 247174 w 820769"/>
                <a:gd name="connsiteY49" fmla="*/ 439674 h 493014"/>
                <a:gd name="connsiteX50" fmla="*/ 249269 w 820769"/>
                <a:gd name="connsiteY50" fmla="*/ 440341 h 493014"/>
                <a:gd name="connsiteX51" fmla="*/ 249555 w 820769"/>
                <a:gd name="connsiteY51" fmla="*/ 440436 h 493014"/>
                <a:gd name="connsiteX52" fmla="*/ 249555 w 820769"/>
                <a:gd name="connsiteY52" fmla="*/ 440436 h 493014"/>
                <a:gd name="connsiteX53" fmla="*/ 250888 w 820769"/>
                <a:gd name="connsiteY53" fmla="*/ 440817 h 493014"/>
                <a:gd name="connsiteX54" fmla="*/ 250888 w 820769"/>
                <a:gd name="connsiteY54" fmla="*/ 440817 h 493014"/>
                <a:gd name="connsiteX55" fmla="*/ 252222 w 820769"/>
                <a:gd name="connsiteY55" fmla="*/ 441198 h 493014"/>
                <a:gd name="connsiteX56" fmla="*/ 252222 w 820769"/>
                <a:gd name="connsiteY56" fmla="*/ 441198 h 493014"/>
                <a:gd name="connsiteX57" fmla="*/ 253651 w 820769"/>
                <a:gd name="connsiteY57" fmla="*/ 441484 h 493014"/>
                <a:gd name="connsiteX58" fmla="*/ 253651 w 820769"/>
                <a:gd name="connsiteY58" fmla="*/ 441484 h 493014"/>
                <a:gd name="connsiteX59" fmla="*/ 255079 w 820769"/>
                <a:gd name="connsiteY59" fmla="*/ 441770 h 493014"/>
                <a:gd name="connsiteX60" fmla="*/ 255079 w 820769"/>
                <a:gd name="connsiteY60" fmla="*/ 441770 h 493014"/>
                <a:gd name="connsiteX61" fmla="*/ 255365 w 820769"/>
                <a:gd name="connsiteY61" fmla="*/ 441770 h 493014"/>
                <a:gd name="connsiteX62" fmla="*/ 257746 w 820769"/>
                <a:gd name="connsiteY62" fmla="*/ 442151 h 493014"/>
                <a:gd name="connsiteX63" fmla="*/ 258032 w 820769"/>
                <a:gd name="connsiteY63" fmla="*/ 442151 h 493014"/>
                <a:gd name="connsiteX64" fmla="*/ 258032 w 820769"/>
                <a:gd name="connsiteY64" fmla="*/ 442151 h 493014"/>
                <a:gd name="connsiteX65" fmla="*/ 259461 w 820769"/>
                <a:gd name="connsiteY65" fmla="*/ 442341 h 493014"/>
                <a:gd name="connsiteX66" fmla="*/ 259461 w 820769"/>
                <a:gd name="connsiteY66" fmla="*/ 442341 h 493014"/>
                <a:gd name="connsiteX67" fmla="*/ 260890 w 820769"/>
                <a:gd name="connsiteY67" fmla="*/ 442436 h 493014"/>
                <a:gd name="connsiteX68" fmla="*/ 260890 w 820769"/>
                <a:gd name="connsiteY68" fmla="*/ 442436 h 493014"/>
                <a:gd name="connsiteX69" fmla="*/ 262318 w 820769"/>
                <a:gd name="connsiteY69" fmla="*/ 442531 h 493014"/>
                <a:gd name="connsiteX70" fmla="*/ 262318 w 820769"/>
                <a:gd name="connsiteY70" fmla="*/ 442531 h 493014"/>
                <a:gd name="connsiteX71" fmla="*/ 262795 w 820769"/>
                <a:gd name="connsiteY71" fmla="*/ 442531 h 493014"/>
                <a:gd name="connsiteX72" fmla="*/ 265938 w 820769"/>
                <a:gd name="connsiteY72" fmla="*/ 442627 h 493014"/>
                <a:gd name="connsiteX73" fmla="*/ 431768 w 820769"/>
                <a:gd name="connsiteY73" fmla="*/ 442627 h 493014"/>
                <a:gd name="connsiteX74" fmla="*/ 434054 w 820769"/>
                <a:gd name="connsiteY74" fmla="*/ 442627 h 493014"/>
                <a:gd name="connsiteX75" fmla="*/ 509016 w 820769"/>
                <a:gd name="connsiteY75" fmla="*/ 493014 h 493014"/>
                <a:gd name="connsiteX76" fmla="*/ 506349 w 820769"/>
                <a:gd name="connsiteY76" fmla="*/ 345377 h 493014"/>
                <a:gd name="connsiteX77" fmla="*/ 423767 w 820769"/>
                <a:gd name="connsiteY77" fmla="*/ 276130 h 493014"/>
                <a:gd name="connsiteX78" fmla="*/ 408622 w 820769"/>
                <a:gd name="connsiteY78" fmla="*/ 276130 h 493014"/>
                <a:gd name="connsiteX79" fmla="*/ 350996 w 820769"/>
                <a:gd name="connsiteY79" fmla="*/ 218504 h 493014"/>
                <a:gd name="connsiteX80" fmla="*/ 350996 w 820769"/>
                <a:gd name="connsiteY80" fmla="*/ 198501 h 493014"/>
                <a:gd name="connsiteX81" fmla="*/ 408622 w 820769"/>
                <a:gd name="connsiteY81" fmla="*/ 140875 h 493014"/>
                <a:gd name="connsiteX82" fmla="*/ 820769 w 820769"/>
                <a:gd name="connsiteY82" fmla="*/ 140875 h 493014"/>
                <a:gd name="connsiteX83" fmla="*/ 820769 w 820769"/>
                <a:gd name="connsiteY83" fmla="*/ 0 h 493014"/>
                <a:gd name="connsiteX84" fmla="*/ 189547 w 820769"/>
                <a:gd name="connsiteY84" fmla="*/ 0 h 493014"/>
                <a:gd name="connsiteX85" fmla="*/ 189547 w 820769"/>
                <a:gd name="connsiteY85" fmla="*/ 96869 h 493014"/>
                <a:gd name="connsiteX86" fmla="*/ 131921 w 820769"/>
                <a:gd name="connsiteY86" fmla="*/ 154496 h 493014"/>
                <a:gd name="connsiteX87" fmla="*/ 0 w 820769"/>
                <a:gd name="connsiteY87" fmla="*/ 154496 h 493014"/>
                <a:gd name="connsiteX88" fmla="*/ 0 w 820769"/>
                <a:gd name="connsiteY88" fmla="*/ 154210 h 493014"/>
                <a:gd name="connsiteX89" fmla="*/ 207740 w 820769"/>
                <a:gd name="connsiteY89" fmla="*/ 384905 h 493014"/>
                <a:gd name="connsiteX90" fmla="*/ 207740 w 820769"/>
                <a:gd name="connsiteY90" fmla="*/ 384905 h 493014"/>
                <a:gd name="connsiteX91" fmla="*/ 207740 w 820769"/>
                <a:gd name="connsiteY91" fmla="*/ 384905 h 49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820769" h="493014">
                  <a:moveTo>
                    <a:pt x="0" y="154210"/>
                  </a:moveTo>
                  <a:cubicBezTo>
                    <a:pt x="24003" y="154496"/>
                    <a:pt x="41053" y="169450"/>
                    <a:pt x="41053" y="220313"/>
                  </a:cubicBezTo>
                  <a:lnTo>
                    <a:pt x="41053" y="239268"/>
                  </a:lnTo>
                  <a:cubicBezTo>
                    <a:pt x="41053" y="270986"/>
                    <a:pt x="66961" y="296894"/>
                    <a:pt x="98679" y="296894"/>
                  </a:cubicBezTo>
                  <a:lnTo>
                    <a:pt x="126778" y="296894"/>
                  </a:lnTo>
                  <a:cubicBezTo>
                    <a:pt x="171355" y="296894"/>
                    <a:pt x="207740" y="333280"/>
                    <a:pt x="207740" y="377857"/>
                  </a:cubicBezTo>
                  <a:lnTo>
                    <a:pt x="207740" y="385001"/>
                  </a:lnTo>
                  <a:lnTo>
                    <a:pt x="207740" y="386524"/>
                  </a:lnTo>
                  <a:lnTo>
                    <a:pt x="207740" y="386524"/>
                  </a:lnTo>
                  <a:lnTo>
                    <a:pt x="207835" y="387953"/>
                  </a:lnTo>
                  <a:lnTo>
                    <a:pt x="207835" y="387953"/>
                  </a:lnTo>
                  <a:lnTo>
                    <a:pt x="207931" y="389382"/>
                  </a:lnTo>
                  <a:lnTo>
                    <a:pt x="207931" y="389382"/>
                  </a:lnTo>
                  <a:lnTo>
                    <a:pt x="208026" y="390811"/>
                  </a:lnTo>
                  <a:lnTo>
                    <a:pt x="208026" y="390811"/>
                  </a:lnTo>
                  <a:lnTo>
                    <a:pt x="208216" y="392239"/>
                  </a:lnTo>
                  <a:lnTo>
                    <a:pt x="208216" y="392239"/>
                  </a:lnTo>
                  <a:lnTo>
                    <a:pt x="208407" y="393668"/>
                  </a:lnTo>
                  <a:lnTo>
                    <a:pt x="208407" y="393668"/>
                  </a:lnTo>
                  <a:lnTo>
                    <a:pt x="208597" y="395097"/>
                  </a:lnTo>
                  <a:lnTo>
                    <a:pt x="208597" y="395097"/>
                  </a:lnTo>
                  <a:cubicBezTo>
                    <a:pt x="211074" y="409289"/>
                    <a:pt x="219265" y="422243"/>
                    <a:pt x="230886" y="431102"/>
                  </a:cubicBezTo>
                  <a:lnTo>
                    <a:pt x="230886" y="431102"/>
                  </a:lnTo>
                  <a:lnTo>
                    <a:pt x="232029" y="431959"/>
                  </a:lnTo>
                  <a:lnTo>
                    <a:pt x="232029" y="431959"/>
                  </a:lnTo>
                  <a:lnTo>
                    <a:pt x="233172" y="432721"/>
                  </a:lnTo>
                  <a:lnTo>
                    <a:pt x="233172" y="432721"/>
                  </a:lnTo>
                  <a:lnTo>
                    <a:pt x="234315" y="433483"/>
                  </a:lnTo>
                  <a:lnTo>
                    <a:pt x="234315" y="433483"/>
                  </a:lnTo>
                  <a:lnTo>
                    <a:pt x="235458" y="434245"/>
                  </a:lnTo>
                  <a:lnTo>
                    <a:pt x="235458" y="434245"/>
                  </a:lnTo>
                  <a:lnTo>
                    <a:pt x="236029" y="434530"/>
                  </a:lnTo>
                  <a:cubicBezTo>
                    <a:pt x="236506" y="434816"/>
                    <a:pt x="236887" y="435007"/>
                    <a:pt x="237363" y="435293"/>
                  </a:cubicBezTo>
                  <a:lnTo>
                    <a:pt x="237934" y="435578"/>
                  </a:lnTo>
                  <a:lnTo>
                    <a:pt x="237934" y="435578"/>
                  </a:lnTo>
                  <a:lnTo>
                    <a:pt x="239173" y="436245"/>
                  </a:lnTo>
                  <a:lnTo>
                    <a:pt x="239173" y="436245"/>
                  </a:lnTo>
                  <a:lnTo>
                    <a:pt x="240411" y="436912"/>
                  </a:lnTo>
                  <a:lnTo>
                    <a:pt x="240411" y="436912"/>
                  </a:lnTo>
                  <a:lnTo>
                    <a:pt x="241649" y="437483"/>
                  </a:lnTo>
                  <a:lnTo>
                    <a:pt x="241649" y="437483"/>
                  </a:lnTo>
                  <a:cubicBezTo>
                    <a:pt x="242030" y="437674"/>
                    <a:pt x="242506" y="437864"/>
                    <a:pt x="242888" y="438055"/>
                  </a:cubicBezTo>
                  <a:lnTo>
                    <a:pt x="242888" y="438055"/>
                  </a:lnTo>
                  <a:lnTo>
                    <a:pt x="244221" y="438626"/>
                  </a:lnTo>
                  <a:lnTo>
                    <a:pt x="244221" y="438626"/>
                  </a:lnTo>
                  <a:lnTo>
                    <a:pt x="245554" y="439103"/>
                  </a:lnTo>
                  <a:lnTo>
                    <a:pt x="245554" y="439103"/>
                  </a:lnTo>
                  <a:lnTo>
                    <a:pt x="246888" y="439579"/>
                  </a:lnTo>
                  <a:lnTo>
                    <a:pt x="246888" y="439579"/>
                  </a:lnTo>
                  <a:lnTo>
                    <a:pt x="247174" y="439674"/>
                  </a:lnTo>
                  <a:cubicBezTo>
                    <a:pt x="247936" y="439864"/>
                    <a:pt x="248507" y="440055"/>
                    <a:pt x="249269" y="440341"/>
                  </a:cubicBezTo>
                  <a:lnTo>
                    <a:pt x="249555" y="440436"/>
                  </a:lnTo>
                  <a:lnTo>
                    <a:pt x="249555" y="440436"/>
                  </a:lnTo>
                  <a:lnTo>
                    <a:pt x="250888" y="440817"/>
                  </a:lnTo>
                  <a:lnTo>
                    <a:pt x="250888" y="440817"/>
                  </a:lnTo>
                  <a:lnTo>
                    <a:pt x="252222" y="441198"/>
                  </a:lnTo>
                  <a:lnTo>
                    <a:pt x="252222" y="441198"/>
                  </a:lnTo>
                  <a:lnTo>
                    <a:pt x="253651" y="441484"/>
                  </a:lnTo>
                  <a:lnTo>
                    <a:pt x="253651" y="441484"/>
                  </a:lnTo>
                  <a:cubicBezTo>
                    <a:pt x="254127" y="441579"/>
                    <a:pt x="254603" y="441674"/>
                    <a:pt x="255079" y="441770"/>
                  </a:cubicBezTo>
                  <a:lnTo>
                    <a:pt x="255079" y="441770"/>
                  </a:lnTo>
                  <a:lnTo>
                    <a:pt x="255365" y="441770"/>
                  </a:lnTo>
                  <a:cubicBezTo>
                    <a:pt x="256222" y="441865"/>
                    <a:pt x="256889" y="442055"/>
                    <a:pt x="257746" y="442151"/>
                  </a:cubicBezTo>
                  <a:lnTo>
                    <a:pt x="258032" y="442151"/>
                  </a:lnTo>
                  <a:lnTo>
                    <a:pt x="258032" y="442151"/>
                  </a:lnTo>
                  <a:lnTo>
                    <a:pt x="259461" y="442341"/>
                  </a:lnTo>
                  <a:lnTo>
                    <a:pt x="259461" y="442341"/>
                  </a:lnTo>
                  <a:lnTo>
                    <a:pt x="260890" y="442436"/>
                  </a:lnTo>
                  <a:lnTo>
                    <a:pt x="260890" y="442436"/>
                  </a:lnTo>
                  <a:lnTo>
                    <a:pt x="262318" y="442531"/>
                  </a:lnTo>
                  <a:lnTo>
                    <a:pt x="262318" y="442531"/>
                  </a:lnTo>
                  <a:lnTo>
                    <a:pt x="262795" y="442531"/>
                  </a:lnTo>
                  <a:cubicBezTo>
                    <a:pt x="263938" y="442531"/>
                    <a:pt x="264795" y="442627"/>
                    <a:pt x="265938" y="442627"/>
                  </a:cubicBezTo>
                  <a:lnTo>
                    <a:pt x="431768" y="442627"/>
                  </a:lnTo>
                  <a:lnTo>
                    <a:pt x="434054" y="442627"/>
                  </a:lnTo>
                  <a:cubicBezTo>
                    <a:pt x="467868" y="442627"/>
                    <a:pt x="496824" y="463487"/>
                    <a:pt x="509016" y="493014"/>
                  </a:cubicBezTo>
                  <a:lnTo>
                    <a:pt x="506349" y="345377"/>
                  </a:lnTo>
                  <a:cubicBezTo>
                    <a:pt x="505015" y="273463"/>
                    <a:pt x="439007" y="276606"/>
                    <a:pt x="423767" y="276130"/>
                  </a:cubicBezTo>
                  <a:lnTo>
                    <a:pt x="408622" y="276130"/>
                  </a:lnTo>
                  <a:cubicBezTo>
                    <a:pt x="376904" y="276130"/>
                    <a:pt x="350996" y="250222"/>
                    <a:pt x="350996" y="218504"/>
                  </a:cubicBezTo>
                  <a:lnTo>
                    <a:pt x="350996" y="198501"/>
                  </a:lnTo>
                  <a:cubicBezTo>
                    <a:pt x="350996" y="166783"/>
                    <a:pt x="376904" y="140875"/>
                    <a:pt x="408622" y="140875"/>
                  </a:cubicBezTo>
                  <a:lnTo>
                    <a:pt x="820769" y="140875"/>
                  </a:lnTo>
                  <a:lnTo>
                    <a:pt x="820769" y="0"/>
                  </a:lnTo>
                  <a:lnTo>
                    <a:pt x="189547" y="0"/>
                  </a:lnTo>
                  <a:lnTo>
                    <a:pt x="189547" y="96869"/>
                  </a:lnTo>
                  <a:cubicBezTo>
                    <a:pt x="189547" y="128588"/>
                    <a:pt x="163639" y="154496"/>
                    <a:pt x="131921" y="154496"/>
                  </a:cubicBezTo>
                  <a:lnTo>
                    <a:pt x="0" y="154496"/>
                  </a:lnTo>
                  <a:lnTo>
                    <a:pt x="0" y="154210"/>
                  </a:lnTo>
                  <a:close/>
                  <a:moveTo>
                    <a:pt x="207740" y="384905"/>
                  </a:moveTo>
                  <a:lnTo>
                    <a:pt x="207740" y="384905"/>
                  </a:lnTo>
                  <a:lnTo>
                    <a:pt x="207740" y="384905"/>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42" name="Freeform: Shape 81">
              <a:extLst>
                <a:ext uri="{FF2B5EF4-FFF2-40B4-BE49-F238E27FC236}">
                  <a16:creationId xmlns:a16="http://schemas.microsoft.com/office/drawing/2014/main" id="{29197A3E-62A7-142D-B06C-AE3069484F98}"/>
                </a:ext>
              </a:extLst>
            </p:cNvPr>
            <p:cNvSpPr/>
            <p:nvPr/>
          </p:nvSpPr>
          <p:spPr>
            <a:xfrm>
              <a:off x="5452983" y="5721461"/>
              <a:ext cx="448627" cy="135254"/>
            </a:xfrm>
            <a:custGeom>
              <a:avLst/>
              <a:gdLst>
                <a:gd name="connsiteX0" fmla="*/ 0 w 448627"/>
                <a:gd name="connsiteY0" fmla="*/ 57626 h 135254"/>
                <a:gd name="connsiteX1" fmla="*/ 0 w 448627"/>
                <a:gd name="connsiteY1" fmla="*/ 77628 h 135254"/>
                <a:gd name="connsiteX2" fmla="*/ 57626 w 448627"/>
                <a:gd name="connsiteY2" fmla="*/ 135255 h 135254"/>
                <a:gd name="connsiteX3" fmla="*/ 391001 w 448627"/>
                <a:gd name="connsiteY3" fmla="*/ 135255 h 135254"/>
                <a:gd name="connsiteX4" fmla="*/ 448627 w 448627"/>
                <a:gd name="connsiteY4" fmla="*/ 77628 h 135254"/>
                <a:gd name="connsiteX5" fmla="*/ 448627 w 448627"/>
                <a:gd name="connsiteY5" fmla="*/ 57626 h 135254"/>
                <a:gd name="connsiteX6" fmla="*/ 391001 w 448627"/>
                <a:gd name="connsiteY6" fmla="*/ 0 h 135254"/>
                <a:gd name="connsiteX7" fmla="*/ 57626 w 448627"/>
                <a:gd name="connsiteY7" fmla="*/ 0 h 135254"/>
                <a:gd name="connsiteX8" fmla="*/ 0 w 448627"/>
                <a:gd name="connsiteY8" fmla="*/ 57626 h 13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627" h="135254">
                  <a:moveTo>
                    <a:pt x="0" y="57626"/>
                  </a:moveTo>
                  <a:lnTo>
                    <a:pt x="0" y="77628"/>
                  </a:lnTo>
                  <a:cubicBezTo>
                    <a:pt x="0" y="109347"/>
                    <a:pt x="25908" y="135255"/>
                    <a:pt x="57626" y="135255"/>
                  </a:cubicBezTo>
                  <a:lnTo>
                    <a:pt x="391001" y="135255"/>
                  </a:lnTo>
                  <a:cubicBezTo>
                    <a:pt x="422720" y="135255"/>
                    <a:pt x="448627" y="109347"/>
                    <a:pt x="448627" y="77628"/>
                  </a:cubicBezTo>
                  <a:lnTo>
                    <a:pt x="448627" y="57626"/>
                  </a:lnTo>
                  <a:cubicBezTo>
                    <a:pt x="448627" y="25908"/>
                    <a:pt x="422720" y="0"/>
                    <a:pt x="391001" y="0"/>
                  </a:cubicBezTo>
                  <a:lnTo>
                    <a:pt x="57626" y="0"/>
                  </a:lnTo>
                  <a:cubicBezTo>
                    <a:pt x="26003" y="0"/>
                    <a:pt x="0" y="25908"/>
                    <a:pt x="0" y="57626"/>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43" name="Freeform: Shape 82">
              <a:extLst>
                <a:ext uri="{FF2B5EF4-FFF2-40B4-BE49-F238E27FC236}">
                  <a16:creationId xmlns:a16="http://schemas.microsoft.com/office/drawing/2014/main" id="{A7527D22-D70E-4D0A-EC94-FF007B0A71C9}"/>
                </a:ext>
              </a:extLst>
            </p:cNvPr>
            <p:cNvSpPr/>
            <p:nvPr/>
          </p:nvSpPr>
          <p:spPr>
            <a:xfrm>
              <a:off x="4806046" y="4414821"/>
              <a:ext cx="945927" cy="1170241"/>
            </a:xfrm>
            <a:custGeom>
              <a:avLst/>
              <a:gdLst>
                <a:gd name="connsiteX0" fmla="*/ 168402 w 945927"/>
                <a:gd name="connsiteY0" fmla="*/ 288131 h 1170241"/>
                <a:gd name="connsiteX1" fmla="*/ 168402 w 945927"/>
                <a:gd name="connsiteY1" fmla="*/ 520827 h 1170241"/>
                <a:gd name="connsiteX2" fmla="*/ 110776 w 945927"/>
                <a:gd name="connsiteY2" fmla="*/ 578453 h 1170241"/>
                <a:gd name="connsiteX3" fmla="*/ 0 w 945927"/>
                <a:gd name="connsiteY3" fmla="*/ 578453 h 1170241"/>
                <a:gd name="connsiteX4" fmla="*/ 0 w 945927"/>
                <a:gd name="connsiteY4" fmla="*/ 664083 h 1170241"/>
                <a:gd name="connsiteX5" fmla="*/ 0 w 945927"/>
                <a:gd name="connsiteY5" fmla="*/ 665607 h 1170241"/>
                <a:gd name="connsiteX6" fmla="*/ 0 w 945927"/>
                <a:gd name="connsiteY6" fmla="*/ 665607 h 1170241"/>
                <a:gd name="connsiteX7" fmla="*/ 95 w 945927"/>
                <a:gd name="connsiteY7" fmla="*/ 667036 h 1170241"/>
                <a:gd name="connsiteX8" fmla="*/ 95 w 945927"/>
                <a:gd name="connsiteY8" fmla="*/ 667036 h 1170241"/>
                <a:gd name="connsiteX9" fmla="*/ 190 w 945927"/>
                <a:gd name="connsiteY9" fmla="*/ 668465 h 1170241"/>
                <a:gd name="connsiteX10" fmla="*/ 190 w 945927"/>
                <a:gd name="connsiteY10" fmla="*/ 668465 h 1170241"/>
                <a:gd name="connsiteX11" fmla="*/ 286 w 945927"/>
                <a:gd name="connsiteY11" fmla="*/ 669893 h 1170241"/>
                <a:gd name="connsiteX12" fmla="*/ 286 w 945927"/>
                <a:gd name="connsiteY12" fmla="*/ 669893 h 1170241"/>
                <a:gd name="connsiteX13" fmla="*/ 476 w 945927"/>
                <a:gd name="connsiteY13" fmla="*/ 671322 h 1170241"/>
                <a:gd name="connsiteX14" fmla="*/ 476 w 945927"/>
                <a:gd name="connsiteY14" fmla="*/ 671322 h 1170241"/>
                <a:gd name="connsiteX15" fmla="*/ 667 w 945927"/>
                <a:gd name="connsiteY15" fmla="*/ 672751 h 1170241"/>
                <a:gd name="connsiteX16" fmla="*/ 667 w 945927"/>
                <a:gd name="connsiteY16" fmla="*/ 672751 h 1170241"/>
                <a:gd name="connsiteX17" fmla="*/ 29623 w 945927"/>
                <a:gd name="connsiteY17" fmla="*/ 714375 h 1170241"/>
                <a:gd name="connsiteX18" fmla="*/ 30194 w 945927"/>
                <a:gd name="connsiteY18" fmla="*/ 714661 h 1170241"/>
                <a:gd name="connsiteX19" fmla="*/ 30194 w 945927"/>
                <a:gd name="connsiteY19" fmla="*/ 714661 h 1170241"/>
                <a:gd name="connsiteX20" fmla="*/ 31432 w 945927"/>
                <a:gd name="connsiteY20" fmla="*/ 715328 h 1170241"/>
                <a:gd name="connsiteX21" fmla="*/ 31432 w 945927"/>
                <a:gd name="connsiteY21" fmla="*/ 715328 h 1170241"/>
                <a:gd name="connsiteX22" fmla="*/ 32671 w 945927"/>
                <a:gd name="connsiteY22" fmla="*/ 715994 h 1170241"/>
                <a:gd name="connsiteX23" fmla="*/ 32671 w 945927"/>
                <a:gd name="connsiteY23" fmla="*/ 715994 h 1170241"/>
                <a:gd name="connsiteX24" fmla="*/ 33909 w 945927"/>
                <a:gd name="connsiteY24" fmla="*/ 716566 h 1170241"/>
                <a:gd name="connsiteX25" fmla="*/ 33909 w 945927"/>
                <a:gd name="connsiteY25" fmla="*/ 716566 h 1170241"/>
                <a:gd name="connsiteX26" fmla="*/ 35147 w 945927"/>
                <a:gd name="connsiteY26" fmla="*/ 717137 h 1170241"/>
                <a:gd name="connsiteX27" fmla="*/ 35147 w 945927"/>
                <a:gd name="connsiteY27" fmla="*/ 717137 h 1170241"/>
                <a:gd name="connsiteX28" fmla="*/ 36481 w 945927"/>
                <a:gd name="connsiteY28" fmla="*/ 717709 h 1170241"/>
                <a:gd name="connsiteX29" fmla="*/ 36481 w 945927"/>
                <a:gd name="connsiteY29" fmla="*/ 717709 h 1170241"/>
                <a:gd name="connsiteX30" fmla="*/ 37814 w 945927"/>
                <a:gd name="connsiteY30" fmla="*/ 718185 h 1170241"/>
                <a:gd name="connsiteX31" fmla="*/ 37814 w 945927"/>
                <a:gd name="connsiteY31" fmla="*/ 718185 h 1170241"/>
                <a:gd name="connsiteX32" fmla="*/ 39148 w 945927"/>
                <a:gd name="connsiteY32" fmla="*/ 718661 h 1170241"/>
                <a:gd name="connsiteX33" fmla="*/ 39148 w 945927"/>
                <a:gd name="connsiteY33" fmla="*/ 718661 h 1170241"/>
                <a:gd name="connsiteX34" fmla="*/ 39433 w 945927"/>
                <a:gd name="connsiteY34" fmla="*/ 718756 h 1170241"/>
                <a:gd name="connsiteX35" fmla="*/ 41529 w 945927"/>
                <a:gd name="connsiteY35" fmla="*/ 719423 h 1170241"/>
                <a:gd name="connsiteX36" fmla="*/ 41815 w 945927"/>
                <a:gd name="connsiteY36" fmla="*/ 719519 h 1170241"/>
                <a:gd name="connsiteX37" fmla="*/ 41815 w 945927"/>
                <a:gd name="connsiteY37" fmla="*/ 719519 h 1170241"/>
                <a:gd name="connsiteX38" fmla="*/ 43148 w 945927"/>
                <a:gd name="connsiteY38" fmla="*/ 719899 h 1170241"/>
                <a:gd name="connsiteX39" fmla="*/ 43148 w 945927"/>
                <a:gd name="connsiteY39" fmla="*/ 719899 h 1170241"/>
                <a:gd name="connsiteX40" fmla="*/ 44482 w 945927"/>
                <a:gd name="connsiteY40" fmla="*/ 720280 h 1170241"/>
                <a:gd name="connsiteX41" fmla="*/ 44482 w 945927"/>
                <a:gd name="connsiteY41" fmla="*/ 720280 h 1170241"/>
                <a:gd name="connsiteX42" fmla="*/ 45910 w 945927"/>
                <a:gd name="connsiteY42" fmla="*/ 720566 h 1170241"/>
                <a:gd name="connsiteX43" fmla="*/ 45910 w 945927"/>
                <a:gd name="connsiteY43" fmla="*/ 720566 h 1170241"/>
                <a:gd name="connsiteX44" fmla="*/ 47339 w 945927"/>
                <a:gd name="connsiteY44" fmla="*/ 720852 h 1170241"/>
                <a:gd name="connsiteX45" fmla="*/ 47339 w 945927"/>
                <a:gd name="connsiteY45" fmla="*/ 720852 h 1170241"/>
                <a:gd name="connsiteX46" fmla="*/ 47625 w 945927"/>
                <a:gd name="connsiteY46" fmla="*/ 720852 h 1170241"/>
                <a:gd name="connsiteX47" fmla="*/ 50006 w 945927"/>
                <a:gd name="connsiteY47" fmla="*/ 721233 h 1170241"/>
                <a:gd name="connsiteX48" fmla="*/ 50292 w 945927"/>
                <a:gd name="connsiteY48" fmla="*/ 721233 h 1170241"/>
                <a:gd name="connsiteX49" fmla="*/ 50292 w 945927"/>
                <a:gd name="connsiteY49" fmla="*/ 721233 h 1170241"/>
                <a:gd name="connsiteX50" fmla="*/ 51721 w 945927"/>
                <a:gd name="connsiteY50" fmla="*/ 721424 h 1170241"/>
                <a:gd name="connsiteX51" fmla="*/ 51721 w 945927"/>
                <a:gd name="connsiteY51" fmla="*/ 721424 h 1170241"/>
                <a:gd name="connsiteX52" fmla="*/ 53149 w 945927"/>
                <a:gd name="connsiteY52" fmla="*/ 721518 h 1170241"/>
                <a:gd name="connsiteX53" fmla="*/ 53149 w 945927"/>
                <a:gd name="connsiteY53" fmla="*/ 721518 h 1170241"/>
                <a:gd name="connsiteX54" fmla="*/ 54578 w 945927"/>
                <a:gd name="connsiteY54" fmla="*/ 721614 h 1170241"/>
                <a:gd name="connsiteX55" fmla="*/ 54578 w 945927"/>
                <a:gd name="connsiteY55" fmla="*/ 721614 h 1170241"/>
                <a:gd name="connsiteX56" fmla="*/ 55054 w 945927"/>
                <a:gd name="connsiteY56" fmla="*/ 721614 h 1170241"/>
                <a:gd name="connsiteX57" fmla="*/ 58198 w 945927"/>
                <a:gd name="connsiteY57" fmla="*/ 721709 h 1170241"/>
                <a:gd name="connsiteX58" fmla="*/ 77629 w 945927"/>
                <a:gd name="connsiteY58" fmla="*/ 721709 h 1170241"/>
                <a:gd name="connsiteX59" fmla="*/ 84582 w 945927"/>
                <a:gd name="connsiteY59" fmla="*/ 721709 h 1170241"/>
                <a:gd name="connsiteX60" fmla="*/ 165545 w 945927"/>
                <a:gd name="connsiteY60" fmla="*/ 802672 h 1170241"/>
                <a:gd name="connsiteX61" fmla="*/ 165545 w 945927"/>
                <a:gd name="connsiteY61" fmla="*/ 812483 h 1170241"/>
                <a:gd name="connsiteX62" fmla="*/ 165545 w 945927"/>
                <a:gd name="connsiteY62" fmla="*/ 814006 h 1170241"/>
                <a:gd name="connsiteX63" fmla="*/ 165545 w 945927"/>
                <a:gd name="connsiteY63" fmla="*/ 814006 h 1170241"/>
                <a:gd name="connsiteX64" fmla="*/ 165640 w 945927"/>
                <a:gd name="connsiteY64" fmla="*/ 815435 h 1170241"/>
                <a:gd name="connsiteX65" fmla="*/ 165640 w 945927"/>
                <a:gd name="connsiteY65" fmla="*/ 815435 h 1170241"/>
                <a:gd name="connsiteX66" fmla="*/ 165735 w 945927"/>
                <a:gd name="connsiteY66" fmla="*/ 816864 h 1170241"/>
                <a:gd name="connsiteX67" fmla="*/ 165735 w 945927"/>
                <a:gd name="connsiteY67" fmla="*/ 816864 h 1170241"/>
                <a:gd name="connsiteX68" fmla="*/ 165830 w 945927"/>
                <a:gd name="connsiteY68" fmla="*/ 818293 h 1170241"/>
                <a:gd name="connsiteX69" fmla="*/ 165830 w 945927"/>
                <a:gd name="connsiteY69" fmla="*/ 818293 h 1170241"/>
                <a:gd name="connsiteX70" fmla="*/ 166021 w 945927"/>
                <a:gd name="connsiteY70" fmla="*/ 819721 h 1170241"/>
                <a:gd name="connsiteX71" fmla="*/ 166021 w 945927"/>
                <a:gd name="connsiteY71" fmla="*/ 819721 h 1170241"/>
                <a:gd name="connsiteX72" fmla="*/ 166211 w 945927"/>
                <a:gd name="connsiteY72" fmla="*/ 821150 h 1170241"/>
                <a:gd name="connsiteX73" fmla="*/ 166211 w 945927"/>
                <a:gd name="connsiteY73" fmla="*/ 821150 h 1170241"/>
                <a:gd name="connsiteX74" fmla="*/ 166497 w 945927"/>
                <a:gd name="connsiteY74" fmla="*/ 822579 h 1170241"/>
                <a:gd name="connsiteX75" fmla="*/ 166497 w 945927"/>
                <a:gd name="connsiteY75" fmla="*/ 822579 h 1170241"/>
                <a:gd name="connsiteX76" fmla="*/ 166783 w 945927"/>
                <a:gd name="connsiteY76" fmla="*/ 824008 h 1170241"/>
                <a:gd name="connsiteX77" fmla="*/ 166783 w 945927"/>
                <a:gd name="connsiteY77" fmla="*/ 824008 h 1170241"/>
                <a:gd name="connsiteX78" fmla="*/ 167068 w 945927"/>
                <a:gd name="connsiteY78" fmla="*/ 825437 h 1170241"/>
                <a:gd name="connsiteX79" fmla="*/ 167068 w 945927"/>
                <a:gd name="connsiteY79" fmla="*/ 825437 h 1170241"/>
                <a:gd name="connsiteX80" fmla="*/ 167449 w 945927"/>
                <a:gd name="connsiteY80" fmla="*/ 826865 h 1170241"/>
                <a:gd name="connsiteX81" fmla="*/ 167449 w 945927"/>
                <a:gd name="connsiteY81" fmla="*/ 826865 h 1170241"/>
                <a:gd name="connsiteX82" fmla="*/ 167830 w 945927"/>
                <a:gd name="connsiteY82" fmla="*/ 828199 h 1170241"/>
                <a:gd name="connsiteX83" fmla="*/ 167830 w 945927"/>
                <a:gd name="connsiteY83" fmla="*/ 828199 h 1170241"/>
                <a:gd name="connsiteX84" fmla="*/ 168211 w 945927"/>
                <a:gd name="connsiteY84" fmla="*/ 829532 h 1170241"/>
                <a:gd name="connsiteX85" fmla="*/ 168211 w 945927"/>
                <a:gd name="connsiteY85" fmla="*/ 829532 h 1170241"/>
                <a:gd name="connsiteX86" fmla="*/ 168687 w 945927"/>
                <a:gd name="connsiteY86" fmla="*/ 830866 h 1170241"/>
                <a:gd name="connsiteX87" fmla="*/ 168687 w 945927"/>
                <a:gd name="connsiteY87" fmla="*/ 830866 h 1170241"/>
                <a:gd name="connsiteX88" fmla="*/ 169164 w 945927"/>
                <a:gd name="connsiteY88" fmla="*/ 832199 h 1170241"/>
                <a:gd name="connsiteX89" fmla="*/ 169164 w 945927"/>
                <a:gd name="connsiteY89" fmla="*/ 832199 h 1170241"/>
                <a:gd name="connsiteX90" fmla="*/ 169640 w 945927"/>
                <a:gd name="connsiteY90" fmla="*/ 833533 h 1170241"/>
                <a:gd name="connsiteX91" fmla="*/ 169640 w 945927"/>
                <a:gd name="connsiteY91" fmla="*/ 833533 h 1170241"/>
                <a:gd name="connsiteX92" fmla="*/ 170212 w 945927"/>
                <a:gd name="connsiteY92" fmla="*/ 834866 h 1170241"/>
                <a:gd name="connsiteX93" fmla="*/ 170212 w 945927"/>
                <a:gd name="connsiteY93" fmla="*/ 834866 h 1170241"/>
                <a:gd name="connsiteX94" fmla="*/ 170783 w 945927"/>
                <a:gd name="connsiteY94" fmla="*/ 836105 h 1170241"/>
                <a:gd name="connsiteX95" fmla="*/ 170783 w 945927"/>
                <a:gd name="connsiteY95" fmla="*/ 836105 h 1170241"/>
                <a:gd name="connsiteX96" fmla="*/ 171355 w 945927"/>
                <a:gd name="connsiteY96" fmla="*/ 837343 h 1170241"/>
                <a:gd name="connsiteX97" fmla="*/ 171355 w 945927"/>
                <a:gd name="connsiteY97" fmla="*/ 837343 h 1170241"/>
                <a:gd name="connsiteX98" fmla="*/ 172021 w 945927"/>
                <a:gd name="connsiteY98" fmla="*/ 838581 h 1170241"/>
                <a:gd name="connsiteX99" fmla="*/ 172021 w 945927"/>
                <a:gd name="connsiteY99" fmla="*/ 838581 h 1170241"/>
                <a:gd name="connsiteX100" fmla="*/ 172688 w 945927"/>
                <a:gd name="connsiteY100" fmla="*/ 839819 h 1170241"/>
                <a:gd name="connsiteX101" fmla="*/ 172688 w 945927"/>
                <a:gd name="connsiteY101" fmla="*/ 839819 h 1170241"/>
                <a:gd name="connsiteX102" fmla="*/ 173355 w 945927"/>
                <a:gd name="connsiteY102" fmla="*/ 841058 h 1170241"/>
                <a:gd name="connsiteX103" fmla="*/ 173355 w 945927"/>
                <a:gd name="connsiteY103" fmla="*/ 841058 h 1170241"/>
                <a:gd name="connsiteX104" fmla="*/ 174021 w 945927"/>
                <a:gd name="connsiteY104" fmla="*/ 842296 h 1170241"/>
                <a:gd name="connsiteX105" fmla="*/ 174021 w 945927"/>
                <a:gd name="connsiteY105" fmla="*/ 842296 h 1170241"/>
                <a:gd name="connsiteX106" fmla="*/ 174784 w 945927"/>
                <a:gd name="connsiteY106" fmla="*/ 843439 h 1170241"/>
                <a:gd name="connsiteX107" fmla="*/ 174784 w 945927"/>
                <a:gd name="connsiteY107" fmla="*/ 843439 h 1170241"/>
                <a:gd name="connsiteX108" fmla="*/ 175546 w 945927"/>
                <a:gd name="connsiteY108" fmla="*/ 844582 h 1170241"/>
                <a:gd name="connsiteX109" fmla="*/ 175546 w 945927"/>
                <a:gd name="connsiteY109" fmla="*/ 844582 h 1170241"/>
                <a:gd name="connsiteX110" fmla="*/ 176308 w 945927"/>
                <a:gd name="connsiteY110" fmla="*/ 845725 h 1170241"/>
                <a:gd name="connsiteX111" fmla="*/ 176308 w 945927"/>
                <a:gd name="connsiteY111" fmla="*/ 845725 h 1170241"/>
                <a:gd name="connsiteX112" fmla="*/ 177165 w 945927"/>
                <a:gd name="connsiteY112" fmla="*/ 846868 h 1170241"/>
                <a:gd name="connsiteX113" fmla="*/ 177165 w 945927"/>
                <a:gd name="connsiteY113" fmla="*/ 846868 h 1170241"/>
                <a:gd name="connsiteX114" fmla="*/ 178022 w 945927"/>
                <a:gd name="connsiteY114" fmla="*/ 848011 h 1170241"/>
                <a:gd name="connsiteX115" fmla="*/ 178022 w 945927"/>
                <a:gd name="connsiteY115" fmla="*/ 848011 h 1170241"/>
                <a:gd name="connsiteX116" fmla="*/ 178879 w 945927"/>
                <a:gd name="connsiteY116" fmla="*/ 849058 h 1170241"/>
                <a:gd name="connsiteX117" fmla="*/ 178879 w 945927"/>
                <a:gd name="connsiteY117" fmla="*/ 849058 h 1170241"/>
                <a:gd name="connsiteX118" fmla="*/ 179737 w 945927"/>
                <a:gd name="connsiteY118" fmla="*/ 850106 h 1170241"/>
                <a:gd name="connsiteX119" fmla="*/ 179737 w 945927"/>
                <a:gd name="connsiteY119" fmla="*/ 850106 h 1170241"/>
                <a:gd name="connsiteX120" fmla="*/ 180689 w 945927"/>
                <a:gd name="connsiteY120" fmla="*/ 851154 h 1170241"/>
                <a:gd name="connsiteX121" fmla="*/ 180689 w 945927"/>
                <a:gd name="connsiteY121" fmla="*/ 851154 h 1170241"/>
                <a:gd name="connsiteX122" fmla="*/ 181642 w 945927"/>
                <a:gd name="connsiteY122" fmla="*/ 852202 h 1170241"/>
                <a:gd name="connsiteX123" fmla="*/ 181642 w 945927"/>
                <a:gd name="connsiteY123" fmla="*/ 852202 h 1170241"/>
                <a:gd name="connsiteX124" fmla="*/ 182594 w 945927"/>
                <a:gd name="connsiteY124" fmla="*/ 853154 h 1170241"/>
                <a:gd name="connsiteX125" fmla="*/ 182594 w 945927"/>
                <a:gd name="connsiteY125" fmla="*/ 853154 h 1170241"/>
                <a:gd name="connsiteX126" fmla="*/ 183546 w 945927"/>
                <a:gd name="connsiteY126" fmla="*/ 854107 h 1170241"/>
                <a:gd name="connsiteX127" fmla="*/ 183546 w 945927"/>
                <a:gd name="connsiteY127" fmla="*/ 854107 h 1170241"/>
                <a:gd name="connsiteX128" fmla="*/ 184595 w 945927"/>
                <a:gd name="connsiteY128" fmla="*/ 855059 h 1170241"/>
                <a:gd name="connsiteX129" fmla="*/ 184595 w 945927"/>
                <a:gd name="connsiteY129" fmla="*/ 855059 h 1170241"/>
                <a:gd name="connsiteX130" fmla="*/ 185642 w 945927"/>
                <a:gd name="connsiteY130" fmla="*/ 856011 h 1170241"/>
                <a:gd name="connsiteX131" fmla="*/ 185642 w 945927"/>
                <a:gd name="connsiteY131" fmla="*/ 856011 h 1170241"/>
                <a:gd name="connsiteX132" fmla="*/ 186690 w 945927"/>
                <a:gd name="connsiteY132" fmla="*/ 856869 h 1170241"/>
                <a:gd name="connsiteX133" fmla="*/ 186690 w 945927"/>
                <a:gd name="connsiteY133" fmla="*/ 856869 h 1170241"/>
                <a:gd name="connsiteX134" fmla="*/ 187737 w 945927"/>
                <a:gd name="connsiteY134" fmla="*/ 857726 h 1170241"/>
                <a:gd name="connsiteX135" fmla="*/ 187737 w 945927"/>
                <a:gd name="connsiteY135" fmla="*/ 857726 h 1170241"/>
                <a:gd name="connsiteX136" fmla="*/ 188786 w 945927"/>
                <a:gd name="connsiteY136" fmla="*/ 858583 h 1170241"/>
                <a:gd name="connsiteX137" fmla="*/ 188786 w 945927"/>
                <a:gd name="connsiteY137" fmla="*/ 858583 h 1170241"/>
                <a:gd name="connsiteX138" fmla="*/ 189929 w 945927"/>
                <a:gd name="connsiteY138" fmla="*/ 859441 h 1170241"/>
                <a:gd name="connsiteX139" fmla="*/ 189929 w 945927"/>
                <a:gd name="connsiteY139" fmla="*/ 859441 h 1170241"/>
                <a:gd name="connsiteX140" fmla="*/ 191071 w 945927"/>
                <a:gd name="connsiteY140" fmla="*/ 860202 h 1170241"/>
                <a:gd name="connsiteX141" fmla="*/ 191071 w 945927"/>
                <a:gd name="connsiteY141" fmla="*/ 860202 h 1170241"/>
                <a:gd name="connsiteX142" fmla="*/ 192214 w 945927"/>
                <a:gd name="connsiteY142" fmla="*/ 860965 h 1170241"/>
                <a:gd name="connsiteX143" fmla="*/ 192214 w 945927"/>
                <a:gd name="connsiteY143" fmla="*/ 860965 h 1170241"/>
                <a:gd name="connsiteX144" fmla="*/ 193357 w 945927"/>
                <a:gd name="connsiteY144" fmla="*/ 861727 h 1170241"/>
                <a:gd name="connsiteX145" fmla="*/ 193357 w 945927"/>
                <a:gd name="connsiteY145" fmla="*/ 861727 h 1170241"/>
                <a:gd name="connsiteX146" fmla="*/ 194596 w 945927"/>
                <a:gd name="connsiteY146" fmla="*/ 862394 h 1170241"/>
                <a:gd name="connsiteX147" fmla="*/ 194596 w 945927"/>
                <a:gd name="connsiteY147" fmla="*/ 862394 h 1170241"/>
                <a:gd name="connsiteX148" fmla="*/ 195834 w 945927"/>
                <a:gd name="connsiteY148" fmla="*/ 863060 h 1170241"/>
                <a:gd name="connsiteX149" fmla="*/ 195834 w 945927"/>
                <a:gd name="connsiteY149" fmla="*/ 863060 h 1170241"/>
                <a:gd name="connsiteX150" fmla="*/ 197072 w 945927"/>
                <a:gd name="connsiteY150" fmla="*/ 863727 h 1170241"/>
                <a:gd name="connsiteX151" fmla="*/ 197072 w 945927"/>
                <a:gd name="connsiteY151" fmla="*/ 863727 h 1170241"/>
                <a:gd name="connsiteX152" fmla="*/ 198311 w 945927"/>
                <a:gd name="connsiteY152" fmla="*/ 864393 h 1170241"/>
                <a:gd name="connsiteX153" fmla="*/ 198311 w 945927"/>
                <a:gd name="connsiteY153" fmla="*/ 864393 h 1170241"/>
                <a:gd name="connsiteX154" fmla="*/ 199549 w 945927"/>
                <a:gd name="connsiteY154" fmla="*/ 864965 h 1170241"/>
                <a:gd name="connsiteX155" fmla="*/ 199549 w 945927"/>
                <a:gd name="connsiteY155" fmla="*/ 864965 h 1170241"/>
                <a:gd name="connsiteX156" fmla="*/ 200787 w 945927"/>
                <a:gd name="connsiteY156" fmla="*/ 865536 h 1170241"/>
                <a:gd name="connsiteX157" fmla="*/ 200787 w 945927"/>
                <a:gd name="connsiteY157" fmla="*/ 865536 h 1170241"/>
                <a:gd name="connsiteX158" fmla="*/ 202120 w 945927"/>
                <a:gd name="connsiteY158" fmla="*/ 866109 h 1170241"/>
                <a:gd name="connsiteX159" fmla="*/ 202120 w 945927"/>
                <a:gd name="connsiteY159" fmla="*/ 866109 h 1170241"/>
                <a:gd name="connsiteX160" fmla="*/ 203454 w 945927"/>
                <a:gd name="connsiteY160" fmla="*/ 866585 h 1170241"/>
                <a:gd name="connsiteX161" fmla="*/ 203454 w 945927"/>
                <a:gd name="connsiteY161" fmla="*/ 866585 h 1170241"/>
                <a:gd name="connsiteX162" fmla="*/ 204788 w 945927"/>
                <a:gd name="connsiteY162" fmla="*/ 867061 h 1170241"/>
                <a:gd name="connsiteX163" fmla="*/ 204788 w 945927"/>
                <a:gd name="connsiteY163" fmla="*/ 867061 h 1170241"/>
                <a:gd name="connsiteX164" fmla="*/ 206121 w 945927"/>
                <a:gd name="connsiteY164" fmla="*/ 867537 h 1170241"/>
                <a:gd name="connsiteX165" fmla="*/ 206121 w 945927"/>
                <a:gd name="connsiteY165" fmla="*/ 867537 h 1170241"/>
                <a:gd name="connsiteX166" fmla="*/ 207454 w 945927"/>
                <a:gd name="connsiteY166" fmla="*/ 867918 h 1170241"/>
                <a:gd name="connsiteX167" fmla="*/ 207454 w 945927"/>
                <a:gd name="connsiteY167" fmla="*/ 867918 h 1170241"/>
                <a:gd name="connsiteX168" fmla="*/ 208788 w 945927"/>
                <a:gd name="connsiteY168" fmla="*/ 868299 h 1170241"/>
                <a:gd name="connsiteX169" fmla="*/ 208788 w 945927"/>
                <a:gd name="connsiteY169" fmla="*/ 868299 h 1170241"/>
                <a:gd name="connsiteX170" fmla="*/ 210121 w 945927"/>
                <a:gd name="connsiteY170" fmla="*/ 868680 h 1170241"/>
                <a:gd name="connsiteX171" fmla="*/ 210121 w 945927"/>
                <a:gd name="connsiteY171" fmla="*/ 868680 h 1170241"/>
                <a:gd name="connsiteX172" fmla="*/ 211550 w 945927"/>
                <a:gd name="connsiteY172" fmla="*/ 868966 h 1170241"/>
                <a:gd name="connsiteX173" fmla="*/ 211550 w 945927"/>
                <a:gd name="connsiteY173" fmla="*/ 868966 h 1170241"/>
                <a:gd name="connsiteX174" fmla="*/ 212979 w 945927"/>
                <a:gd name="connsiteY174" fmla="*/ 869251 h 1170241"/>
                <a:gd name="connsiteX175" fmla="*/ 212979 w 945927"/>
                <a:gd name="connsiteY175" fmla="*/ 869251 h 1170241"/>
                <a:gd name="connsiteX176" fmla="*/ 214408 w 945927"/>
                <a:gd name="connsiteY176" fmla="*/ 869537 h 1170241"/>
                <a:gd name="connsiteX177" fmla="*/ 214408 w 945927"/>
                <a:gd name="connsiteY177" fmla="*/ 869537 h 1170241"/>
                <a:gd name="connsiteX178" fmla="*/ 215836 w 945927"/>
                <a:gd name="connsiteY178" fmla="*/ 869727 h 1170241"/>
                <a:gd name="connsiteX179" fmla="*/ 215836 w 945927"/>
                <a:gd name="connsiteY179" fmla="*/ 869727 h 1170241"/>
                <a:gd name="connsiteX180" fmla="*/ 217265 w 945927"/>
                <a:gd name="connsiteY180" fmla="*/ 869918 h 1170241"/>
                <a:gd name="connsiteX181" fmla="*/ 217265 w 945927"/>
                <a:gd name="connsiteY181" fmla="*/ 869918 h 1170241"/>
                <a:gd name="connsiteX182" fmla="*/ 218694 w 945927"/>
                <a:gd name="connsiteY182" fmla="*/ 870013 h 1170241"/>
                <a:gd name="connsiteX183" fmla="*/ 218694 w 945927"/>
                <a:gd name="connsiteY183" fmla="*/ 870013 h 1170241"/>
                <a:gd name="connsiteX184" fmla="*/ 220123 w 945927"/>
                <a:gd name="connsiteY184" fmla="*/ 870109 h 1170241"/>
                <a:gd name="connsiteX185" fmla="*/ 220123 w 945927"/>
                <a:gd name="connsiteY185" fmla="*/ 870109 h 1170241"/>
                <a:gd name="connsiteX186" fmla="*/ 220599 w 945927"/>
                <a:gd name="connsiteY186" fmla="*/ 870109 h 1170241"/>
                <a:gd name="connsiteX187" fmla="*/ 223742 w 945927"/>
                <a:gd name="connsiteY187" fmla="*/ 870204 h 1170241"/>
                <a:gd name="connsiteX188" fmla="*/ 236505 w 945927"/>
                <a:gd name="connsiteY188" fmla="*/ 870204 h 1170241"/>
                <a:gd name="connsiteX189" fmla="*/ 251270 w 945927"/>
                <a:gd name="connsiteY189" fmla="*/ 870204 h 1170241"/>
                <a:gd name="connsiteX190" fmla="*/ 332232 w 945927"/>
                <a:gd name="connsiteY190" fmla="*/ 951167 h 1170241"/>
                <a:gd name="connsiteX191" fmla="*/ 332232 w 945927"/>
                <a:gd name="connsiteY191" fmla="*/ 1014508 h 1170241"/>
                <a:gd name="connsiteX192" fmla="*/ 332232 w 945927"/>
                <a:gd name="connsiteY192" fmla="*/ 1109472 h 1170241"/>
                <a:gd name="connsiteX193" fmla="*/ 332232 w 945927"/>
                <a:gd name="connsiteY193" fmla="*/ 1112615 h 1170241"/>
                <a:gd name="connsiteX194" fmla="*/ 389858 w 945927"/>
                <a:gd name="connsiteY194" fmla="*/ 1170242 h 1170241"/>
                <a:gd name="connsiteX195" fmla="*/ 564737 w 945927"/>
                <a:gd name="connsiteY195" fmla="*/ 1170242 h 1170241"/>
                <a:gd name="connsiteX196" fmla="*/ 622363 w 945927"/>
                <a:gd name="connsiteY196" fmla="*/ 1112615 h 1170241"/>
                <a:gd name="connsiteX197" fmla="*/ 622363 w 945927"/>
                <a:gd name="connsiteY197" fmla="*/ 1104519 h 1170241"/>
                <a:gd name="connsiteX198" fmla="*/ 624364 w 945927"/>
                <a:gd name="connsiteY198" fmla="*/ 600646 h 1170241"/>
                <a:gd name="connsiteX199" fmla="*/ 572928 w 945927"/>
                <a:gd name="connsiteY199" fmla="*/ 559403 h 1170241"/>
                <a:gd name="connsiteX200" fmla="*/ 529494 w 945927"/>
                <a:gd name="connsiteY200" fmla="*/ 559403 h 1170241"/>
                <a:gd name="connsiteX201" fmla="*/ 471868 w 945927"/>
                <a:gd name="connsiteY201" fmla="*/ 501777 h 1170241"/>
                <a:gd name="connsiteX202" fmla="*/ 471868 w 945927"/>
                <a:gd name="connsiteY202" fmla="*/ 481774 h 1170241"/>
                <a:gd name="connsiteX203" fmla="*/ 529494 w 945927"/>
                <a:gd name="connsiteY203" fmla="*/ 424148 h 1170241"/>
                <a:gd name="connsiteX204" fmla="*/ 888302 w 945927"/>
                <a:gd name="connsiteY204" fmla="*/ 423100 h 1170241"/>
                <a:gd name="connsiteX205" fmla="*/ 945928 w 945927"/>
                <a:gd name="connsiteY205" fmla="*/ 365474 h 1170241"/>
                <a:gd name="connsiteX206" fmla="*/ 945928 w 945927"/>
                <a:gd name="connsiteY206" fmla="*/ 208312 h 1170241"/>
                <a:gd name="connsiteX207" fmla="*/ 945452 w 945927"/>
                <a:gd name="connsiteY207" fmla="*/ 202025 h 1170241"/>
                <a:gd name="connsiteX208" fmla="*/ 945452 w 945927"/>
                <a:gd name="connsiteY208" fmla="*/ 0 h 1170241"/>
                <a:gd name="connsiteX209" fmla="*/ 857726 w 945927"/>
                <a:gd name="connsiteY209" fmla="*/ 0 h 1170241"/>
                <a:gd name="connsiteX210" fmla="*/ 802577 w 945927"/>
                <a:gd name="connsiteY210" fmla="*/ 41053 h 1170241"/>
                <a:gd name="connsiteX211" fmla="*/ 802577 w 945927"/>
                <a:gd name="connsiteY211" fmla="*/ 83058 h 1170241"/>
                <a:gd name="connsiteX212" fmla="*/ 744950 w 945927"/>
                <a:gd name="connsiteY212" fmla="*/ 140684 h 1170241"/>
                <a:gd name="connsiteX213" fmla="*/ 635508 w 945927"/>
                <a:gd name="connsiteY213" fmla="*/ 140684 h 1170241"/>
                <a:gd name="connsiteX214" fmla="*/ 635508 w 945927"/>
                <a:gd name="connsiteY214" fmla="*/ 230505 h 1170241"/>
                <a:gd name="connsiteX215" fmla="*/ 577882 w 945927"/>
                <a:gd name="connsiteY215" fmla="*/ 288131 h 1170241"/>
                <a:gd name="connsiteX216" fmla="*/ 168402 w 945927"/>
                <a:gd name="connsiteY216" fmla="*/ 288131 h 1170241"/>
                <a:gd name="connsiteX217" fmla="*/ 165640 w 945927"/>
                <a:gd name="connsiteY217" fmla="*/ 812483 h 1170241"/>
                <a:gd name="connsiteX218" fmla="*/ 165640 w 945927"/>
                <a:gd name="connsiteY218" fmla="*/ 812483 h 1170241"/>
                <a:gd name="connsiteX219" fmla="*/ 165640 w 945927"/>
                <a:gd name="connsiteY219" fmla="*/ 812483 h 1170241"/>
                <a:gd name="connsiteX220" fmla="*/ 165640 w 945927"/>
                <a:gd name="connsiteY220" fmla="*/ 812483 h 1170241"/>
                <a:gd name="connsiteX221" fmla="*/ 0 w 945927"/>
                <a:gd name="connsiteY221" fmla="*/ 664083 h 1170241"/>
                <a:gd name="connsiteX222" fmla="*/ 0 w 945927"/>
                <a:gd name="connsiteY222" fmla="*/ 664083 h 1170241"/>
                <a:gd name="connsiteX223" fmla="*/ 0 w 945927"/>
                <a:gd name="connsiteY223" fmla="*/ 664083 h 1170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945927" h="1170241">
                  <a:moveTo>
                    <a:pt x="168402" y="288131"/>
                  </a:moveTo>
                  <a:lnTo>
                    <a:pt x="168402" y="520827"/>
                  </a:lnTo>
                  <a:cubicBezTo>
                    <a:pt x="168402" y="552450"/>
                    <a:pt x="142494" y="578453"/>
                    <a:pt x="110776" y="578453"/>
                  </a:cubicBezTo>
                  <a:lnTo>
                    <a:pt x="0" y="578453"/>
                  </a:lnTo>
                  <a:lnTo>
                    <a:pt x="0" y="664083"/>
                  </a:lnTo>
                  <a:lnTo>
                    <a:pt x="0" y="665607"/>
                  </a:lnTo>
                  <a:lnTo>
                    <a:pt x="0" y="665607"/>
                  </a:lnTo>
                  <a:lnTo>
                    <a:pt x="95" y="667036"/>
                  </a:lnTo>
                  <a:lnTo>
                    <a:pt x="95" y="667036"/>
                  </a:lnTo>
                  <a:lnTo>
                    <a:pt x="190" y="668465"/>
                  </a:lnTo>
                  <a:lnTo>
                    <a:pt x="190" y="668465"/>
                  </a:lnTo>
                  <a:lnTo>
                    <a:pt x="286" y="669893"/>
                  </a:lnTo>
                  <a:lnTo>
                    <a:pt x="286" y="669893"/>
                  </a:lnTo>
                  <a:lnTo>
                    <a:pt x="476" y="671322"/>
                  </a:lnTo>
                  <a:lnTo>
                    <a:pt x="476" y="671322"/>
                  </a:lnTo>
                  <a:lnTo>
                    <a:pt x="667" y="672751"/>
                  </a:lnTo>
                  <a:lnTo>
                    <a:pt x="667" y="672751"/>
                  </a:lnTo>
                  <a:cubicBezTo>
                    <a:pt x="3619" y="690467"/>
                    <a:pt x="14001" y="705421"/>
                    <a:pt x="29623" y="714375"/>
                  </a:cubicBezTo>
                  <a:lnTo>
                    <a:pt x="30194" y="714661"/>
                  </a:lnTo>
                  <a:lnTo>
                    <a:pt x="30194" y="714661"/>
                  </a:lnTo>
                  <a:lnTo>
                    <a:pt x="31432" y="715328"/>
                  </a:lnTo>
                  <a:lnTo>
                    <a:pt x="31432" y="715328"/>
                  </a:lnTo>
                  <a:lnTo>
                    <a:pt x="32671" y="715994"/>
                  </a:lnTo>
                  <a:lnTo>
                    <a:pt x="32671" y="715994"/>
                  </a:lnTo>
                  <a:lnTo>
                    <a:pt x="33909" y="716566"/>
                  </a:lnTo>
                  <a:lnTo>
                    <a:pt x="33909" y="716566"/>
                  </a:lnTo>
                  <a:cubicBezTo>
                    <a:pt x="34290" y="716756"/>
                    <a:pt x="34766" y="716947"/>
                    <a:pt x="35147" y="717137"/>
                  </a:cubicBezTo>
                  <a:lnTo>
                    <a:pt x="35147" y="717137"/>
                  </a:lnTo>
                  <a:lnTo>
                    <a:pt x="36481" y="717709"/>
                  </a:lnTo>
                  <a:lnTo>
                    <a:pt x="36481" y="717709"/>
                  </a:lnTo>
                  <a:lnTo>
                    <a:pt x="37814" y="718185"/>
                  </a:lnTo>
                  <a:lnTo>
                    <a:pt x="37814" y="718185"/>
                  </a:lnTo>
                  <a:lnTo>
                    <a:pt x="39148" y="718661"/>
                  </a:lnTo>
                  <a:lnTo>
                    <a:pt x="39148" y="718661"/>
                  </a:lnTo>
                  <a:lnTo>
                    <a:pt x="39433" y="718756"/>
                  </a:lnTo>
                  <a:cubicBezTo>
                    <a:pt x="40195" y="718947"/>
                    <a:pt x="40767" y="719233"/>
                    <a:pt x="41529" y="719423"/>
                  </a:cubicBezTo>
                  <a:lnTo>
                    <a:pt x="41815" y="719519"/>
                  </a:lnTo>
                  <a:lnTo>
                    <a:pt x="41815" y="719519"/>
                  </a:lnTo>
                  <a:lnTo>
                    <a:pt x="43148" y="719899"/>
                  </a:lnTo>
                  <a:lnTo>
                    <a:pt x="43148" y="719899"/>
                  </a:lnTo>
                  <a:lnTo>
                    <a:pt x="44482" y="720280"/>
                  </a:lnTo>
                  <a:lnTo>
                    <a:pt x="44482" y="720280"/>
                  </a:lnTo>
                  <a:lnTo>
                    <a:pt x="45910" y="720566"/>
                  </a:lnTo>
                  <a:lnTo>
                    <a:pt x="45910" y="720566"/>
                  </a:lnTo>
                  <a:cubicBezTo>
                    <a:pt x="46387" y="720662"/>
                    <a:pt x="46863" y="720757"/>
                    <a:pt x="47339" y="720852"/>
                  </a:cubicBezTo>
                  <a:lnTo>
                    <a:pt x="47339" y="720852"/>
                  </a:lnTo>
                  <a:lnTo>
                    <a:pt x="47625" y="720852"/>
                  </a:lnTo>
                  <a:cubicBezTo>
                    <a:pt x="48482" y="720947"/>
                    <a:pt x="49149" y="721138"/>
                    <a:pt x="50006" y="721233"/>
                  </a:cubicBezTo>
                  <a:lnTo>
                    <a:pt x="50292" y="721233"/>
                  </a:lnTo>
                  <a:lnTo>
                    <a:pt x="50292" y="721233"/>
                  </a:lnTo>
                  <a:lnTo>
                    <a:pt x="51721" y="721424"/>
                  </a:lnTo>
                  <a:lnTo>
                    <a:pt x="51721" y="721424"/>
                  </a:lnTo>
                  <a:lnTo>
                    <a:pt x="53149" y="721518"/>
                  </a:lnTo>
                  <a:lnTo>
                    <a:pt x="53149" y="721518"/>
                  </a:lnTo>
                  <a:lnTo>
                    <a:pt x="54578" y="721614"/>
                  </a:lnTo>
                  <a:lnTo>
                    <a:pt x="54578" y="721614"/>
                  </a:lnTo>
                  <a:lnTo>
                    <a:pt x="55054" y="721614"/>
                  </a:lnTo>
                  <a:cubicBezTo>
                    <a:pt x="56197" y="721614"/>
                    <a:pt x="57055" y="721709"/>
                    <a:pt x="58198" y="721709"/>
                  </a:cubicBezTo>
                  <a:lnTo>
                    <a:pt x="77629" y="721709"/>
                  </a:lnTo>
                  <a:lnTo>
                    <a:pt x="84582" y="721709"/>
                  </a:lnTo>
                  <a:cubicBezTo>
                    <a:pt x="129159" y="721709"/>
                    <a:pt x="165545" y="758095"/>
                    <a:pt x="165545" y="802672"/>
                  </a:cubicBezTo>
                  <a:lnTo>
                    <a:pt x="165545" y="812483"/>
                  </a:lnTo>
                  <a:lnTo>
                    <a:pt x="165545" y="814006"/>
                  </a:lnTo>
                  <a:lnTo>
                    <a:pt x="165545" y="814006"/>
                  </a:lnTo>
                  <a:lnTo>
                    <a:pt x="165640" y="815435"/>
                  </a:lnTo>
                  <a:lnTo>
                    <a:pt x="165640" y="815435"/>
                  </a:lnTo>
                  <a:lnTo>
                    <a:pt x="165735" y="816864"/>
                  </a:lnTo>
                  <a:lnTo>
                    <a:pt x="165735" y="816864"/>
                  </a:lnTo>
                  <a:lnTo>
                    <a:pt x="165830" y="818293"/>
                  </a:lnTo>
                  <a:lnTo>
                    <a:pt x="165830" y="818293"/>
                  </a:lnTo>
                  <a:lnTo>
                    <a:pt x="166021" y="819721"/>
                  </a:lnTo>
                  <a:lnTo>
                    <a:pt x="166021" y="819721"/>
                  </a:lnTo>
                  <a:lnTo>
                    <a:pt x="166211" y="821150"/>
                  </a:lnTo>
                  <a:lnTo>
                    <a:pt x="166211" y="821150"/>
                  </a:lnTo>
                  <a:lnTo>
                    <a:pt x="166497" y="822579"/>
                  </a:lnTo>
                  <a:lnTo>
                    <a:pt x="166497" y="822579"/>
                  </a:lnTo>
                  <a:cubicBezTo>
                    <a:pt x="166592" y="823055"/>
                    <a:pt x="166688" y="823531"/>
                    <a:pt x="166783" y="824008"/>
                  </a:cubicBezTo>
                  <a:lnTo>
                    <a:pt x="166783" y="824008"/>
                  </a:lnTo>
                  <a:lnTo>
                    <a:pt x="167068" y="825437"/>
                  </a:lnTo>
                  <a:lnTo>
                    <a:pt x="167068" y="825437"/>
                  </a:lnTo>
                  <a:lnTo>
                    <a:pt x="167449" y="826865"/>
                  </a:lnTo>
                  <a:lnTo>
                    <a:pt x="167449" y="826865"/>
                  </a:lnTo>
                  <a:lnTo>
                    <a:pt x="167830" y="828199"/>
                  </a:lnTo>
                  <a:lnTo>
                    <a:pt x="167830" y="828199"/>
                  </a:lnTo>
                  <a:lnTo>
                    <a:pt x="168211" y="829532"/>
                  </a:lnTo>
                  <a:lnTo>
                    <a:pt x="168211" y="829532"/>
                  </a:lnTo>
                  <a:lnTo>
                    <a:pt x="168687" y="830866"/>
                  </a:lnTo>
                  <a:lnTo>
                    <a:pt x="168687" y="830866"/>
                  </a:lnTo>
                  <a:lnTo>
                    <a:pt x="169164" y="832199"/>
                  </a:lnTo>
                  <a:lnTo>
                    <a:pt x="169164" y="832199"/>
                  </a:lnTo>
                  <a:lnTo>
                    <a:pt x="169640" y="833533"/>
                  </a:lnTo>
                  <a:lnTo>
                    <a:pt x="169640" y="833533"/>
                  </a:lnTo>
                  <a:lnTo>
                    <a:pt x="170212" y="834866"/>
                  </a:lnTo>
                  <a:lnTo>
                    <a:pt x="170212" y="834866"/>
                  </a:lnTo>
                  <a:lnTo>
                    <a:pt x="170783" y="836105"/>
                  </a:lnTo>
                  <a:lnTo>
                    <a:pt x="170783" y="836105"/>
                  </a:lnTo>
                  <a:lnTo>
                    <a:pt x="171355" y="837343"/>
                  </a:lnTo>
                  <a:lnTo>
                    <a:pt x="171355" y="837343"/>
                  </a:lnTo>
                  <a:lnTo>
                    <a:pt x="172021" y="838581"/>
                  </a:lnTo>
                  <a:lnTo>
                    <a:pt x="172021" y="838581"/>
                  </a:lnTo>
                  <a:cubicBezTo>
                    <a:pt x="172212" y="838962"/>
                    <a:pt x="172402" y="839438"/>
                    <a:pt x="172688" y="839819"/>
                  </a:cubicBezTo>
                  <a:lnTo>
                    <a:pt x="172688" y="839819"/>
                  </a:lnTo>
                  <a:lnTo>
                    <a:pt x="173355" y="841058"/>
                  </a:lnTo>
                  <a:lnTo>
                    <a:pt x="173355" y="841058"/>
                  </a:lnTo>
                  <a:cubicBezTo>
                    <a:pt x="173545" y="841438"/>
                    <a:pt x="173831" y="841819"/>
                    <a:pt x="174021" y="842296"/>
                  </a:cubicBezTo>
                  <a:lnTo>
                    <a:pt x="174021" y="842296"/>
                  </a:lnTo>
                  <a:lnTo>
                    <a:pt x="174784" y="843439"/>
                  </a:lnTo>
                  <a:lnTo>
                    <a:pt x="174784" y="843439"/>
                  </a:lnTo>
                  <a:lnTo>
                    <a:pt x="175546" y="844582"/>
                  </a:lnTo>
                  <a:lnTo>
                    <a:pt x="175546" y="844582"/>
                  </a:lnTo>
                  <a:lnTo>
                    <a:pt x="176308" y="845725"/>
                  </a:lnTo>
                  <a:lnTo>
                    <a:pt x="176308" y="845725"/>
                  </a:lnTo>
                  <a:lnTo>
                    <a:pt x="177165" y="846868"/>
                  </a:lnTo>
                  <a:lnTo>
                    <a:pt x="177165" y="846868"/>
                  </a:lnTo>
                  <a:lnTo>
                    <a:pt x="178022" y="848011"/>
                  </a:lnTo>
                  <a:lnTo>
                    <a:pt x="178022" y="848011"/>
                  </a:lnTo>
                  <a:cubicBezTo>
                    <a:pt x="178308" y="848392"/>
                    <a:pt x="178594" y="848773"/>
                    <a:pt x="178879" y="849058"/>
                  </a:cubicBezTo>
                  <a:lnTo>
                    <a:pt x="178879" y="849058"/>
                  </a:lnTo>
                  <a:lnTo>
                    <a:pt x="179737" y="850106"/>
                  </a:lnTo>
                  <a:lnTo>
                    <a:pt x="179737" y="850106"/>
                  </a:lnTo>
                  <a:lnTo>
                    <a:pt x="180689" y="851154"/>
                  </a:lnTo>
                  <a:lnTo>
                    <a:pt x="180689" y="851154"/>
                  </a:lnTo>
                  <a:lnTo>
                    <a:pt x="181642" y="852202"/>
                  </a:lnTo>
                  <a:lnTo>
                    <a:pt x="181642" y="852202"/>
                  </a:lnTo>
                  <a:lnTo>
                    <a:pt x="182594" y="853154"/>
                  </a:lnTo>
                  <a:lnTo>
                    <a:pt x="182594" y="853154"/>
                  </a:lnTo>
                  <a:lnTo>
                    <a:pt x="183546" y="854107"/>
                  </a:lnTo>
                  <a:lnTo>
                    <a:pt x="183546" y="854107"/>
                  </a:lnTo>
                  <a:lnTo>
                    <a:pt x="184595" y="855059"/>
                  </a:lnTo>
                  <a:lnTo>
                    <a:pt x="184595" y="855059"/>
                  </a:lnTo>
                  <a:lnTo>
                    <a:pt x="185642" y="856011"/>
                  </a:lnTo>
                  <a:lnTo>
                    <a:pt x="185642" y="856011"/>
                  </a:lnTo>
                  <a:lnTo>
                    <a:pt x="186690" y="856869"/>
                  </a:lnTo>
                  <a:lnTo>
                    <a:pt x="186690" y="856869"/>
                  </a:lnTo>
                  <a:cubicBezTo>
                    <a:pt x="187071" y="857155"/>
                    <a:pt x="187452" y="857440"/>
                    <a:pt x="187737" y="857726"/>
                  </a:cubicBezTo>
                  <a:lnTo>
                    <a:pt x="187737" y="857726"/>
                  </a:lnTo>
                  <a:cubicBezTo>
                    <a:pt x="188119" y="858012"/>
                    <a:pt x="188500" y="858298"/>
                    <a:pt x="188786" y="858583"/>
                  </a:cubicBezTo>
                  <a:lnTo>
                    <a:pt x="188786" y="858583"/>
                  </a:lnTo>
                  <a:lnTo>
                    <a:pt x="189929" y="859441"/>
                  </a:lnTo>
                  <a:lnTo>
                    <a:pt x="189929" y="859441"/>
                  </a:lnTo>
                  <a:lnTo>
                    <a:pt x="191071" y="860202"/>
                  </a:lnTo>
                  <a:lnTo>
                    <a:pt x="191071" y="860202"/>
                  </a:lnTo>
                  <a:lnTo>
                    <a:pt x="192214" y="860965"/>
                  </a:lnTo>
                  <a:lnTo>
                    <a:pt x="192214" y="860965"/>
                  </a:lnTo>
                  <a:lnTo>
                    <a:pt x="193357" y="861727"/>
                  </a:lnTo>
                  <a:lnTo>
                    <a:pt x="193357" y="861727"/>
                  </a:lnTo>
                  <a:lnTo>
                    <a:pt x="194596" y="862394"/>
                  </a:lnTo>
                  <a:lnTo>
                    <a:pt x="194596" y="862394"/>
                  </a:lnTo>
                  <a:lnTo>
                    <a:pt x="195834" y="863060"/>
                  </a:lnTo>
                  <a:lnTo>
                    <a:pt x="195834" y="863060"/>
                  </a:lnTo>
                  <a:lnTo>
                    <a:pt x="197072" y="863727"/>
                  </a:lnTo>
                  <a:lnTo>
                    <a:pt x="197072" y="863727"/>
                  </a:lnTo>
                  <a:lnTo>
                    <a:pt x="198311" y="864393"/>
                  </a:lnTo>
                  <a:lnTo>
                    <a:pt x="198311" y="864393"/>
                  </a:lnTo>
                  <a:lnTo>
                    <a:pt x="199549" y="864965"/>
                  </a:lnTo>
                  <a:lnTo>
                    <a:pt x="199549" y="864965"/>
                  </a:lnTo>
                  <a:cubicBezTo>
                    <a:pt x="199930" y="865156"/>
                    <a:pt x="200406" y="865346"/>
                    <a:pt x="200787" y="865536"/>
                  </a:cubicBezTo>
                  <a:lnTo>
                    <a:pt x="200787" y="865536"/>
                  </a:lnTo>
                  <a:lnTo>
                    <a:pt x="202120" y="866109"/>
                  </a:lnTo>
                  <a:lnTo>
                    <a:pt x="202120" y="866109"/>
                  </a:lnTo>
                  <a:lnTo>
                    <a:pt x="203454" y="866585"/>
                  </a:lnTo>
                  <a:lnTo>
                    <a:pt x="203454" y="866585"/>
                  </a:lnTo>
                  <a:lnTo>
                    <a:pt x="204788" y="867061"/>
                  </a:lnTo>
                  <a:lnTo>
                    <a:pt x="204788" y="867061"/>
                  </a:lnTo>
                  <a:lnTo>
                    <a:pt x="206121" y="867537"/>
                  </a:lnTo>
                  <a:lnTo>
                    <a:pt x="206121" y="867537"/>
                  </a:lnTo>
                  <a:lnTo>
                    <a:pt x="207454" y="867918"/>
                  </a:lnTo>
                  <a:lnTo>
                    <a:pt x="207454" y="867918"/>
                  </a:lnTo>
                  <a:lnTo>
                    <a:pt x="208788" y="868299"/>
                  </a:lnTo>
                  <a:lnTo>
                    <a:pt x="208788" y="868299"/>
                  </a:lnTo>
                  <a:lnTo>
                    <a:pt x="210121" y="868680"/>
                  </a:lnTo>
                  <a:lnTo>
                    <a:pt x="210121" y="868680"/>
                  </a:lnTo>
                  <a:lnTo>
                    <a:pt x="211550" y="868966"/>
                  </a:lnTo>
                  <a:lnTo>
                    <a:pt x="211550" y="868966"/>
                  </a:lnTo>
                  <a:cubicBezTo>
                    <a:pt x="212027" y="869061"/>
                    <a:pt x="212503" y="869156"/>
                    <a:pt x="212979" y="869251"/>
                  </a:cubicBezTo>
                  <a:lnTo>
                    <a:pt x="212979" y="869251"/>
                  </a:lnTo>
                  <a:lnTo>
                    <a:pt x="214408" y="869537"/>
                  </a:lnTo>
                  <a:lnTo>
                    <a:pt x="214408" y="869537"/>
                  </a:lnTo>
                  <a:lnTo>
                    <a:pt x="215836" y="869727"/>
                  </a:lnTo>
                  <a:lnTo>
                    <a:pt x="215836" y="869727"/>
                  </a:lnTo>
                  <a:lnTo>
                    <a:pt x="217265" y="869918"/>
                  </a:lnTo>
                  <a:lnTo>
                    <a:pt x="217265" y="869918"/>
                  </a:lnTo>
                  <a:lnTo>
                    <a:pt x="218694" y="870013"/>
                  </a:lnTo>
                  <a:lnTo>
                    <a:pt x="218694" y="870013"/>
                  </a:lnTo>
                  <a:lnTo>
                    <a:pt x="220123" y="870109"/>
                  </a:lnTo>
                  <a:lnTo>
                    <a:pt x="220123" y="870109"/>
                  </a:lnTo>
                  <a:lnTo>
                    <a:pt x="220599" y="870109"/>
                  </a:lnTo>
                  <a:cubicBezTo>
                    <a:pt x="221646" y="870109"/>
                    <a:pt x="222599" y="870204"/>
                    <a:pt x="223742" y="870204"/>
                  </a:cubicBezTo>
                  <a:lnTo>
                    <a:pt x="236505" y="870204"/>
                  </a:lnTo>
                  <a:lnTo>
                    <a:pt x="251270" y="870204"/>
                  </a:lnTo>
                  <a:cubicBezTo>
                    <a:pt x="295846" y="870204"/>
                    <a:pt x="332232" y="906590"/>
                    <a:pt x="332232" y="951167"/>
                  </a:cubicBezTo>
                  <a:lnTo>
                    <a:pt x="332232" y="1014508"/>
                  </a:lnTo>
                  <a:lnTo>
                    <a:pt x="332232" y="1109472"/>
                  </a:lnTo>
                  <a:lnTo>
                    <a:pt x="332232" y="1112615"/>
                  </a:lnTo>
                  <a:cubicBezTo>
                    <a:pt x="332232" y="1144238"/>
                    <a:pt x="358140" y="1170242"/>
                    <a:pt x="389858" y="1170242"/>
                  </a:cubicBezTo>
                  <a:lnTo>
                    <a:pt x="564737" y="1170242"/>
                  </a:lnTo>
                  <a:cubicBezTo>
                    <a:pt x="596455" y="1170242"/>
                    <a:pt x="622363" y="1144333"/>
                    <a:pt x="622363" y="1112615"/>
                  </a:cubicBezTo>
                  <a:lnTo>
                    <a:pt x="622363" y="1104519"/>
                  </a:lnTo>
                  <a:lnTo>
                    <a:pt x="624364" y="600646"/>
                  </a:lnTo>
                  <a:cubicBezTo>
                    <a:pt x="623983" y="579501"/>
                    <a:pt x="613696" y="559403"/>
                    <a:pt x="572928" y="559403"/>
                  </a:cubicBezTo>
                  <a:lnTo>
                    <a:pt x="529494" y="559403"/>
                  </a:lnTo>
                  <a:cubicBezTo>
                    <a:pt x="497777" y="559403"/>
                    <a:pt x="471868" y="533495"/>
                    <a:pt x="471868" y="501777"/>
                  </a:cubicBezTo>
                  <a:lnTo>
                    <a:pt x="471868" y="481774"/>
                  </a:lnTo>
                  <a:cubicBezTo>
                    <a:pt x="471868" y="450056"/>
                    <a:pt x="497777" y="424148"/>
                    <a:pt x="529494" y="424148"/>
                  </a:cubicBezTo>
                  <a:cubicBezTo>
                    <a:pt x="649034" y="424148"/>
                    <a:pt x="767810" y="423100"/>
                    <a:pt x="888302" y="423100"/>
                  </a:cubicBezTo>
                  <a:cubicBezTo>
                    <a:pt x="920019" y="423100"/>
                    <a:pt x="945928" y="397192"/>
                    <a:pt x="945928" y="365474"/>
                  </a:cubicBezTo>
                  <a:lnTo>
                    <a:pt x="945928" y="208312"/>
                  </a:lnTo>
                  <a:cubicBezTo>
                    <a:pt x="945928" y="205359"/>
                    <a:pt x="945928" y="202501"/>
                    <a:pt x="945452" y="202025"/>
                  </a:cubicBezTo>
                  <a:lnTo>
                    <a:pt x="945452" y="0"/>
                  </a:lnTo>
                  <a:lnTo>
                    <a:pt x="857726" y="0"/>
                  </a:lnTo>
                  <a:cubicBezTo>
                    <a:pt x="831818" y="0"/>
                    <a:pt x="809720" y="17431"/>
                    <a:pt x="802577" y="41053"/>
                  </a:cubicBezTo>
                  <a:lnTo>
                    <a:pt x="802577" y="83058"/>
                  </a:lnTo>
                  <a:cubicBezTo>
                    <a:pt x="802577" y="114681"/>
                    <a:pt x="776668" y="140684"/>
                    <a:pt x="744950" y="140684"/>
                  </a:cubicBezTo>
                  <a:lnTo>
                    <a:pt x="635508" y="140684"/>
                  </a:lnTo>
                  <a:lnTo>
                    <a:pt x="635508" y="230505"/>
                  </a:lnTo>
                  <a:cubicBezTo>
                    <a:pt x="635508" y="262128"/>
                    <a:pt x="609600" y="288131"/>
                    <a:pt x="577882" y="288131"/>
                  </a:cubicBezTo>
                  <a:lnTo>
                    <a:pt x="168402" y="288131"/>
                  </a:lnTo>
                  <a:close/>
                  <a:moveTo>
                    <a:pt x="165640" y="812483"/>
                  </a:moveTo>
                  <a:lnTo>
                    <a:pt x="165640" y="812483"/>
                  </a:lnTo>
                  <a:lnTo>
                    <a:pt x="165640" y="812483"/>
                  </a:lnTo>
                  <a:lnTo>
                    <a:pt x="165640" y="812483"/>
                  </a:lnTo>
                  <a:close/>
                  <a:moveTo>
                    <a:pt x="0" y="664083"/>
                  </a:moveTo>
                  <a:lnTo>
                    <a:pt x="0" y="664083"/>
                  </a:lnTo>
                  <a:lnTo>
                    <a:pt x="0" y="664083"/>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44" name="Freeform: Shape 119">
              <a:extLst>
                <a:ext uri="{FF2B5EF4-FFF2-40B4-BE49-F238E27FC236}">
                  <a16:creationId xmlns:a16="http://schemas.microsoft.com/office/drawing/2014/main" id="{1B3C3AAD-0A09-660D-A07E-0891EE2705A6}"/>
                </a:ext>
              </a:extLst>
            </p:cNvPr>
            <p:cNvSpPr/>
            <p:nvPr/>
          </p:nvSpPr>
          <p:spPr>
            <a:xfrm>
              <a:off x="5763689" y="4552457"/>
              <a:ext cx="678846" cy="1020508"/>
            </a:xfrm>
            <a:custGeom>
              <a:avLst/>
              <a:gdLst>
                <a:gd name="connsiteX0" fmla="*/ 374332 w 678846"/>
                <a:gd name="connsiteY0" fmla="*/ 1020509 h 1020508"/>
                <a:gd name="connsiteX1" fmla="*/ 678847 w 678846"/>
                <a:gd name="connsiteY1" fmla="*/ 1020509 h 1020508"/>
                <a:gd name="connsiteX2" fmla="*/ 678847 w 678846"/>
                <a:gd name="connsiteY2" fmla="*/ 0 h 1020508"/>
                <a:gd name="connsiteX3" fmla="*/ 544925 w 678846"/>
                <a:gd name="connsiteY3" fmla="*/ 0 h 1020508"/>
                <a:gd name="connsiteX4" fmla="*/ 474916 w 678846"/>
                <a:gd name="connsiteY4" fmla="*/ 70009 h 1020508"/>
                <a:gd name="connsiteX5" fmla="*/ 474916 w 678846"/>
                <a:gd name="connsiteY5" fmla="*/ 153258 h 1020508"/>
                <a:gd name="connsiteX6" fmla="*/ 234410 w 678846"/>
                <a:gd name="connsiteY6" fmla="*/ 153258 h 1020508"/>
                <a:gd name="connsiteX7" fmla="*/ 164402 w 678846"/>
                <a:gd name="connsiteY7" fmla="*/ 223266 h 1020508"/>
                <a:gd name="connsiteX8" fmla="*/ 164402 w 678846"/>
                <a:gd name="connsiteY8" fmla="*/ 284893 h 1020508"/>
                <a:gd name="connsiteX9" fmla="*/ 70009 w 678846"/>
                <a:gd name="connsiteY9" fmla="*/ 284893 h 1020508"/>
                <a:gd name="connsiteX10" fmla="*/ 0 w 678846"/>
                <a:gd name="connsiteY10" fmla="*/ 354902 h 1020508"/>
                <a:gd name="connsiteX11" fmla="*/ 0 w 678846"/>
                <a:gd name="connsiteY11" fmla="*/ 662845 h 1020508"/>
                <a:gd name="connsiteX12" fmla="*/ 70009 w 678846"/>
                <a:gd name="connsiteY12" fmla="*/ 732854 h 1020508"/>
                <a:gd name="connsiteX13" fmla="*/ 122682 w 678846"/>
                <a:gd name="connsiteY13" fmla="*/ 732854 h 1020508"/>
                <a:gd name="connsiteX14" fmla="*/ 164402 w 678846"/>
                <a:gd name="connsiteY14" fmla="*/ 777145 h 1020508"/>
                <a:gd name="connsiteX15" fmla="*/ 164402 w 678846"/>
                <a:gd name="connsiteY15" fmla="*/ 806292 h 1020508"/>
                <a:gd name="connsiteX16" fmla="*/ 234410 w 678846"/>
                <a:gd name="connsiteY16" fmla="*/ 876300 h 1020508"/>
                <a:gd name="connsiteX17" fmla="*/ 316706 w 678846"/>
                <a:gd name="connsiteY17" fmla="*/ 876300 h 1020508"/>
                <a:gd name="connsiteX18" fmla="*/ 316706 w 678846"/>
                <a:gd name="connsiteY18" fmla="*/ 962692 h 1020508"/>
                <a:gd name="connsiteX19" fmla="*/ 374332 w 678846"/>
                <a:gd name="connsiteY19" fmla="*/ 1020509 h 1020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8846" h="1020508">
                  <a:moveTo>
                    <a:pt x="374332" y="1020509"/>
                  </a:moveTo>
                  <a:lnTo>
                    <a:pt x="678847" y="1020509"/>
                  </a:lnTo>
                  <a:lnTo>
                    <a:pt x="678847" y="0"/>
                  </a:lnTo>
                  <a:lnTo>
                    <a:pt x="544925" y="0"/>
                  </a:lnTo>
                  <a:cubicBezTo>
                    <a:pt x="506444" y="0"/>
                    <a:pt x="474916" y="31528"/>
                    <a:pt x="474916" y="70009"/>
                  </a:cubicBezTo>
                  <a:lnTo>
                    <a:pt x="474916" y="153258"/>
                  </a:lnTo>
                  <a:lnTo>
                    <a:pt x="234410" y="153258"/>
                  </a:lnTo>
                  <a:cubicBezTo>
                    <a:pt x="195929" y="153258"/>
                    <a:pt x="164402" y="184785"/>
                    <a:pt x="164402" y="223266"/>
                  </a:cubicBezTo>
                  <a:lnTo>
                    <a:pt x="164402" y="284893"/>
                  </a:lnTo>
                  <a:lnTo>
                    <a:pt x="70009" y="284893"/>
                  </a:lnTo>
                  <a:cubicBezTo>
                    <a:pt x="31528" y="284893"/>
                    <a:pt x="0" y="316421"/>
                    <a:pt x="0" y="354902"/>
                  </a:cubicBezTo>
                  <a:lnTo>
                    <a:pt x="0" y="662845"/>
                  </a:lnTo>
                  <a:cubicBezTo>
                    <a:pt x="0" y="701326"/>
                    <a:pt x="31528" y="732854"/>
                    <a:pt x="70009" y="732854"/>
                  </a:cubicBezTo>
                  <a:lnTo>
                    <a:pt x="122682" y="732854"/>
                  </a:lnTo>
                  <a:cubicBezTo>
                    <a:pt x="149066" y="734854"/>
                    <a:pt x="165545" y="754475"/>
                    <a:pt x="164402" y="777145"/>
                  </a:cubicBezTo>
                  <a:lnTo>
                    <a:pt x="164402" y="806292"/>
                  </a:lnTo>
                  <a:cubicBezTo>
                    <a:pt x="164402" y="844772"/>
                    <a:pt x="195929" y="876300"/>
                    <a:pt x="234410" y="876300"/>
                  </a:cubicBezTo>
                  <a:lnTo>
                    <a:pt x="316706" y="876300"/>
                  </a:lnTo>
                  <a:lnTo>
                    <a:pt x="316706" y="962692"/>
                  </a:lnTo>
                  <a:cubicBezTo>
                    <a:pt x="316706" y="994600"/>
                    <a:pt x="342615" y="1020509"/>
                    <a:pt x="374332" y="102050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46" name="Freeform: Shape 120">
              <a:extLst>
                <a:ext uri="{FF2B5EF4-FFF2-40B4-BE49-F238E27FC236}">
                  <a16:creationId xmlns:a16="http://schemas.microsoft.com/office/drawing/2014/main" id="{282A4CDA-B7B7-5A7C-BC42-1055343D9BED}"/>
                </a:ext>
              </a:extLst>
            </p:cNvPr>
            <p:cNvSpPr/>
            <p:nvPr/>
          </p:nvSpPr>
          <p:spPr>
            <a:xfrm>
              <a:off x="5282867" y="4139834"/>
              <a:ext cx="864774" cy="563117"/>
            </a:xfrm>
            <a:custGeom>
              <a:avLst/>
              <a:gdLst>
                <a:gd name="connsiteX0" fmla="*/ 0 w 864774"/>
                <a:gd name="connsiteY0" fmla="*/ 208979 h 563117"/>
                <a:gd name="connsiteX1" fmla="*/ 0 w 864774"/>
                <a:gd name="connsiteY1" fmla="*/ 563118 h 563117"/>
                <a:gd name="connsiteX2" fmla="*/ 101251 w 864774"/>
                <a:gd name="connsiteY2" fmla="*/ 563118 h 563117"/>
                <a:gd name="connsiteX3" fmla="*/ 158877 w 864774"/>
                <a:gd name="connsiteY3" fmla="*/ 505492 h 563117"/>
                <a:gd name="connsiteX4" fmla="*/ 158877 w 864774"/>
                <a:gd name="connsiteY4" fmla="*/ 415671 h 563117"/>
                <a:gd name="connsiteX5" fmla="*/ 268319 w 864774"/>
                <a:gd name="connsiteY5" fmla="*/ 415671 h 563117"/>
                <a:gd name="connsiteX6" fmla="*/ 325945 w 864774"/>
                <a:gd name="connsiteY6" fmla="*/ 358045 h 563117"/>
                <a:gd name="connsiteX7" fmla="*/ 325945 w 864774"/>
                <a:gd name="connsiteY7" fmla="*/ 321564 h 563117"/>
                <a:gd name="connsiteX8" fmla="*/ 381095 w 864774"/>
                <a:gd name="connsiteY8" fmla="*/ 280511 h 563117"/>
                <a:gd name="connsiteX9" fmla="*/ 864775 w 864774"/>
                <a:gd name="connsiteY9" fmla="*/ 280416 h 563117"/>
                <a:gd name="connsiteX10" fmla="*/ 864775 w 864774"/>
                <a:gd name="connsiteY10" fmla="*/ 278416 h 563117"/>
                <a:gd name="connsiteX11" fmla="*/ 856679 w 864774"/>
                <a:gd name="connsiteY11" fmla="*/ 278416 h 563117"/>
                <a:gd name="connsiteX12" fmla="*/ 799052 w 864774"/>
                <a:gd name="connsiteY12" fmla="*/ 220789 h 563117"/>
                <a:gd name="connsiteX13" fmla="*/ 799052 w 864774"/>
                <a:gd name="connsiteY13" fmla="*/ 1143 h 563117"/>
                <a:gd name="connsiteX14" fmla="*/ 786575 w 864774"/>
                <a:gd name="connsiteY14" fmla="*/ 0 h 563117"/>
                <a:gd name="connsiteX15" fmla="*/ 453580 w 864774"/>
                <a:gd name="connsiteY15" fmla="*/ 0 h 563117"/>
                <a:gd name="connsiteX16" fmla="*/ 404050 w 864774"/>
                <a:gd name="connsiteY16" fmla="*/ 0 h 563117"/>
                <a:gd name="connsiteX17" fmla="*/ 288703 w 864774"/>
                <a:gd name="connsiteY17" fmla="*/ 0 h 563117"/>
                <a:gd name="connsiteX18" fmla="*/ 218884 w 864774"/>
                <a:gd name="connsiteY18" fmla="*/ 64389 h 563117"/>
                <a:gd name="connsiteX19" fmla="*/ 138113 w 864774"/>
                <a:gd name="connsiteY19" fmla="*/ 138874 h 563117"/>
                <a:gd name="connsiteX20" fmla="*/ 69913 w 864774"/>
                <a:gd name="connsiteY20" fmla="*/ 138874 h 563117"/>
                <a:gd name="connsiteX21" fmla="*/ 0 w 864774"/>
                <a:gd name="connsiteY21" fmla="*/ 208979 h 56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64774" h="563117">
                  <a:moveTo>
                    <a:pt x="0" y="208979"/>
                  </a:moveTo>
                  <a:lnTo>
                    <a:pt x="0" y="563118"/>
                  </a:lnTo>
                  <a:lnTo>
                    <a:pt x="101251" y="563118"/>
                  </a:lnTo>
                  <a:cubicBezTo>
                    <a:pt x="132969" y="563118"/>
                    <a:pt x="158877" y="537210"/>
                    <a:pt x="158877" y="505492"/>
                  </a:cubicBezTo>
                  <a:lnTo>
                    <a:pt x="158877" y="415671"/>
                  </a:lnTo>
                  <a:lnTo>
                    <a:pt x="268319" y="415671"/>
                  </a:lnTo>
                  <a:cubicBezTo>
                    <a:pt x="300038" y="415671"/>
                    <a:pt x="325945" y="389763"/>
                    <a:pt x="325945" y="358045"/>
                  </a:cubicBezTo>
                  <a:lnTo>
                    <a:pt x="325945" y="321564"/>
                  </a:lnTo>
                  <a:cubicBezTo>
                    <a:pt x="333089" y="297847"/>
                    <a:pt x="355187" y="280511"/>
                    <a:pt x="381095" y="280511"/>
                  </a:cubicBezTo>
                  <a:cubicBezTo>
                    <a:pt x="546449" y="280511"/>
                    <a:pt x="390430" y="280416"/>
                    <a:pt x="864775" y="280416"/>
                  </a:cubicBezTo>
                  <a:lnTo>
                    <a:pt x="864775" y="278416"/>
                  </a:lnTo>
                  <a:lnTo>
                    <a:pt x="856679" y="278416"/>
                  </a:lnTo>
                  <a:cubicBezTo>
                    <a:pt x="825055" y="278416"/>
                    <a:pt x="799052" y="252508"/>
                    <a:pt x="799052" y="220789"/>
                  </a:cubicBezTo>
                  <a:lnTo>
                    <a:pt x="799052" y="1143"/>
                  </a:lnTo>
                  <a:cubicBezTo>
                    <a:pt x="795052" y="381"/>
                    <a:pt x="790860" y="0"/>
                    <a:pt x="786575" y="0"/>
                  </a:cubicBezTo>
                  <a:lnTo>
                    <a:pt x="453580" y="0"/>
                  </a:lnTo>
                  <a:lnTo>
                    <a:pt x="404050" y="0"/>
                  </a:lnTo>
                  <a:lnTo>
                    <a:pt x="288703" y="0"/>
                  </a:lnTo>
                  <a:cubicBezTo>
                    <a:pt x="252126" y="0"/>
                    <a:pt x="221742" y="28480"/>
                    <a:pt x="218884" y="64389"/>
                  </a:cubicBezTo>
                  <a:cubicBezTo>
                    <a:pt x="215551" y="106585"/>
                    <a:pt x="180499" y="138874"/>
                    <a:pt x="138113" y="138874"/>
                  </a:cubicBezTo>
                  <a:lnTo>
                    <a:pt x="69913" y="138874"/>
                  </a:lnTo>
                  <a:cubicBezTo>
                    <a:pt x="31528" y="138970"/>
                    <a:pt x="0" y="170497"/>
                    <a:pt x="0" y="20897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79" name="Freeform: Shape 121">
              <a:extLst>
                <a:ext uri="{FF2B5EF4-FFF2-40B4-BE49-F238E27FC236}">
                  <a16:creationId xmlns:a16="http://schemas.microsoft.com/office/drawing/2014/main" id="{CACE35E0-5C3D-E62A-1C3B-205A2E96AE8F}"/>
                </a:ext>
              </a:extLst>
            </p:cNvPr>
            <p:cNvSpPr/>
            <p:nvPr/>
          </p:nvSpPr>
          <p:spPr>
            <a:xfrm>
              <a:off x="4017848" y="3391550"/>
              <a:ext cx="1149861" cy="437387"/>
            </a:xfrm>
            <a:custGeom>
              <a:avLst/>
              <a:gdLst>
                <a:gd name="connsiteX0" fmla="*/ 16292 w 1149861"/>
                <a:gd name="connsiteY0" fmla="*/ 437388 h 437387"/>
                <a:gd name="connsiteX1" fmla="*/ 927834 w 1149861"/>
                <a:gd name="connsiteY1" fmla="*/ 437388 h 437387"/>
                <a:gd name="connsiteX2" fmla="*/ 985460 w 1149861"/>
                <a:gd name="connsiteY2" fmla="*/ 379762 h 437387"/>
                <a:gd name="connsiteX3" fmla="*/ 985460 w 1149861"/>
                <a:gd name="connsiteY3" fmla="*/ 216217 h 437387"/>
                <a:gd name="connsiteX4" fmla="*/ 1066423 w 1149861"/>
                <a:gd name="connsiteY4" fmla="*/ 135255 h 437387"/>
                <a:gd name="connsiteX5" fmla="*/ 1092236 w 1149861"/>
                <a:gd name="connsiteY5" fmla="*/ 135255 h 437387"/>
                <a:gd name="connsiteX6" fmla="*/ 1149862 w 1149861"/>
                <a:gd name="connsiteY6" fmla="*/ 77629 h 437387"/>
                <a:gd name="connsiteX7" fmla="*/ 1149862 w 1149861"/>
                <a:gd name="connsiteY7" fmla="*/ 57626 h 437387"/>
                <a:gd name="connsiteX8" fmla="*/ 1092236 w 1149861"/>
                <a:gd name="connsiteY8" fmla="*/ 0 h 437387"/>
                <a:gd name="connsiteX9" fmla="*/ 927834 w 1149861"/>
                <a:gd name="connsiteY9" fmla="*/ 0 h 437387"/>
                <a:gd name="connsiteX10" fmla="*/ 698662 w 1149861"/>
                <a:gd name="connsiteY10" fmla="*/ 0 h 437387"/>
                <a:gd name="connsiteX11" fmla="*/ 641322 w 1149861"/>
                <a:gd name="connsiteY11" fmla="*/ 71056 h 437387"/>
                <a:gd name="connsiteX12" fmla="*/ 571504 w 1149861"/>
                <a:gd name="connsiteY12" fmla="*/ 135446 h 437387"/>
                <a:gd name="connsiteX13" fmla="*/ 456156 w 1149861"/>
                <a:gd name="connsiteY13" fmla="*/ 135446 h 437387"/>
                <a:gd name="connsiteX14" fmla="*/ 406626 w 1149861"/>
                <a:gd name="connsiteY14" fmla="*/ 135446 h 437387"/>
                <a:gd name="connsiteX15" fmla="*/ 165262 w 1149861"/>
                <a:gd name="connsiteY15" fmla="*/ 135446 h 437387"/>
                <a:gd name="connsiteX16" fmla="*/ 165262 w 1149861"/>
                <a:gd name="connsiteY16" fmla="*/ 232696 h 437387"/>
                <a:gd name="connsiteX17" fmla="*/ 107636 w 1149861"/>
                <a:gd name="connsiteY17" fmla="*/ 290322 h 437387"/>
                <a:gd name="connsiteX18" fmla="*/ 72775 w 1149861"/>
                <a:gd name="connsiteY18" fmla="*/ 290322 h 437387"/>
                <a:gd name="connsiteX19" fmla="*/ 99 w 1149861"/>
                <a:gd name="connsiteY19" fmla="*/ 366998 h 437387"/>
                <a:gd name="connsiteX20" fmla="*/ 99 w 1149861"/>
                <a:gd name="connsiteY20" fmla="*/ 435007 h 437387"/>
                <a:gd name="connsiteX21" fmla="*/ 16292 w 1149861"/>
                <a:gd name="connsiteY21" fmla="*/ 437388 h 4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49861" h="437387">
                  <a:moveTo>
                    <a:pt x="16292" y="437388"/>
                  </a:moveTo>
                  <a:lnTo>
                    <a:pt x="927834" y="437388"/>
                  </a:lnTo>
                  <a:cubicBezTo>
                    <a:pt x="959552" y="437388"/>
                    <a:pt x="985460" y="411480"/>
                    <a:pt x="985460" y="379762"/>
                  </a:cubicBezTo>
                  <a:lnTo>
                    <a:pt x="985460" y="216217"/>
                  </a:lnTo>
                  <a:cubicBezTo>
                    <a:pt x="985460" y="171640"/>
                    <a:pt x="1021846" y="135255"/>
                    <a:pt x="1066423" y="135255"/>
                  </a:cubicBezTo>
                  <a:lnTo>
                    <a:pt x="1092236" y="135255"/>
                  </a:lnTo>
                  <a:cubicBezTo>
                    <a:pt x="1123954" y="135255"/>
                    <a:pt x="1149862" y="109347"/>
                    <a:pt x="1149862" y="77629"/>
                  </a:cubicBezTo>
                  <a:lnTo>
                    <a:pt x="1149862" y="57626"/>
                  </a:lnTo>
                  <a:cubicBezTo>
                    <a:pt x="1149862" y="25908"/>
                    <a:pt x="1123954" y="0"/>
                    <a:pt x="1092236" y="0"/>
                  </a:cubicBezTo>
                  <a:lnTo>
                    <a:pt x="927834" y="0"/>
                  </a:lnTo>
                  <a:lnTo>
                    <a:pt x="698662" y="0"/>
                  </a:lnTo>
                  <a:cubicBezTo>
                    <a:pt x="667420" y="9334"/>
                    <a:pt x="644084" y="36957"/>
                    <a:pt x="641322" y="71056"/>
                  </a:cubicBezTo>
                  <a:cubicBezTo>
                    <a:pt x="638465" y="106966"/>
                    <a:pt x="608175" y="135446"/>
                    <a:pt x="571504" y="135446"/>
                  </a:cubicBezTo>
                  <a:lnTo>
                    <a:pt x="456156" y="135446"/>
                  </a:lnTo>
                  <a:lnTo>
                    <a:pt x="406626" y="135446"/>
                  </a:lnTo>
                  <a:lnTo>
                    <a:pt x="165262" y="135446"/>
                  </a:lnTo>
                  <a:lnTo>
                    <a:pt x="165262" y="232696"/>
                  </a:lnTo>
                  <a:cubicBezTo>
                    <a:pt x="165262" y="264414"/>
                    <a:pt x="139354" y="290322"/>
                    <a:pt x="107636" y="290322"/>
                  </a:cubicBezTo>
                  <a:lnTo>
                    <a:pt x="72775" y="290322"/>
                  </a:lnTo>
                  <a:cubicBezTo>
                    <a:pt x="16482" y="290322"/>
                    <a:pt x="-1520" y="345376"/>
                    <a:pt x="99" y="366998"/>
                  </a:cubicBezTo>
                  <a:lnTo>
                    <a:pt x="99" y="435007"/>
                  </a:lnTo>
                  <a:cubicBezTo>
                    <a:pt x="5338" y="436626"/>
                    <a:pt x="10672" y="437388"/>
                    <a:pt x="16292" y="437388"/>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80" name="Freeform: Shape 122">
              <a:extLst>
                <a:ext uri="{FF2B5EF4-FFF2-40B4-BE49-F238E27FC236}">
                  <a16:creationId xmlns:a16="http://schemas.microsoft.com/office/drawing/2014/main" id="{0D6F1F98-028A-50E9-FD4D-801F2ECC622D}"/>
                </a:ext>
              </a:extLst>
            </p:cNvPr>
            <p:cNvSpPr/>
            <p:nvPr/>
          </p:nvSpPr>
          <p:spPr>
            <a:xfrm>
              <a:off x="4975781" y="4445015"/>
              <a:ext cx="307848" cy="259556"/>
            </a:xfrm>
            <a:custGeom>
              <a:avLst/>
              <a:gdLst>
                <a:gd name="connsiteX0" fmla="*/ 115157 w 307848"/>
                <a:gd name="connsiteY0" fmla="*/ 0 h 259556"/>
                <a:gd name="connsiteX1" fmla="*/ 0 w 307848"/>
                <a:gd name="connsiteY1" fmla="*/ 114300 h 259556"/>
                <a:gd name="connsiteX2" fmla="*/ 0 w 307848"/>
                <a:gd name="connsiteY2" fmla="*/ 259556 h 259556"/>
                <a:gd name="connsiteX3" fmla="*/ 115157 w 307848"/>
                <a:gd name="connsiteY3" fmla="*/ 259556 h 259556"/>
                <a:gd name="connsiteX4" fmla="*/ 154305 w 307848"/>
                <a:gd name="connsiteY4" fmla="*/ 259556 h 259556"/>
                <a:gd name="connsiteX5" fmla="*/ 307848 w 307848"/>
                <a:gd name="connsiteY5" fmla="*/ 259556 h 259556"/>
                <a:gd name="connsiteX6" fmla="*/ 307848 w 307848"/>
                <a:gd name="connsiteY6" fmla="*/ 0 h 259556"/>
                <a:gd name="connsiteX7" fmla="*/ 115157 w 307848"/>
                <a:gd name="connsiteY7" fmla="*/ 0 h 25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7848" h="259556">
                  <a:moveTo>
                    <a:pt x="115157" y="0"/>
                  </a:moveTo>
                  <a:cubicBezTo>
                    <a:pt x="51816" y="0"/>
                    <a:pt x="0" y="51435"/>
                    <a:pt x="0" y="114300"/>
                  </a:cubicBezTo>
                  <a:lnTo>
                    <a:pt x="0" y="259556"/>
                  </a:lnTo>
                  <a:lnTo>
                    <a:pt x="115157" y="259556"/>
                  </a:lnTo>
                  <a:lnTo>
                    <a:pt x="154305" y="259556"/>
                  </a:lnTo>
                  <a:lnTo>
                    <a:pt x="307848" y="259556"/>
                  </a:lnTo>
                  <a:lnTo>
                    <a:pt x="307848" y="0"/>
                  </a:lnTo>
                  <a:lnTo>
                    <a:pt x="115157"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84" name="Freeform: Shape 123">
              <a:extLst>
                <a:ext uri="{FF2B5EF4-FFF2-40B4-BE49-F238E27FC236}">
                  <a16:creationId xmlns:a16="http://schemas.microsoft.com/office/drawing/2014/main" id="{BC89EC29-1689-DACA-612F-564183D248A0}"/>
                </a:ext>
              </a:extLst>
            </p:cNvPr>
            <p:cNvSpPr/>
            <p:nvPr/>
          </p:nvSpPr>
          <p:spPr>
            <a:xfrm>
              <a:off x="4180063" y="3970003"/>
              <a:ext cx="470820" cy="419195"/>
            </a:xfrm>
            <a:custGeom>
              <a:avLst/>
              <a:gdLst>
                <a:gd name="connsiteX0" fmla="*/ 57626 w 470820"/>
                <a:gd name="connsiteY0" fmla="*/ 571 h 419195"/>
                <a:gd name="connsiteX1" fmla="*/ 0 w 470820"/>
                <a:gd name="connsiteY1" fmla="*/ 58198 h 419195"/>
                <a:gd name="connsiteX2" fmla="*/ 0 w 470820"/>
                <a:gd name="connsiteY2" fmla="*/ 78200 h 419195"/>
                <a:gd name="connsiteX3" fmla="*/ 57626 w 470820"/>
                <a:gd name="connsiteY3" fmla="*/ 135827 h 419195"/>
                <a:gd name="connsiteX4" fmla="*/ 72771 w 470820"/>
                <a:gd name="connsiteY4" fmla="*/ 135827 h 419195"/>
                <a:gd name="connsiteX5" fmla="*/ 155353 w 470820"/>
                <a:gd name="connsiteY5" fmla="*/ 205073 h 419195"/>
                <a:gd name="connsiteX6" fmla="*/ 157448 w 470820"/>
                <a:gd name="connsiteY6" fmla="*/ 319945 h 419195"/>
                <a:gd name="connsiteX7" fmla="*/ 158877 w 470820"/>
                <a:gd name="connsiteY7" fmla="*/ 325946 h 419195"/>
                <a:gd name="connsiteX8" fmla="*/ 158877 w 470820"/>
                <a:gd name="connsiteY8" fmla="*/ 347853 h 419195"/>
                <a:gd name="connsiteX9" fmla="*/ 230219 w 470820"/>
                <a:gd name="connsiteY9" fmla="*/ 419195 h 419195"/>
                <a:gd name="connsiteX10" fmla="*/ 293275 w 470820"/>
                <a:gd name="connsiteY10" fmla="*/ 419195 h 419195"/>
                <a:gd name="connsiteX11" fmla="*/ 293275 w 470820"/>
                <a:gd name="connsiteY11" fmla="*/ 418338 h 419195"/>
                <a:gd name="connsiteX12" fmla="*/ 382714 w 470820"/>
                <a:gd name="connsiteY12" fmla="*/ 418338 h 419195"/>
                <a:gd name="connsiteX13" fmla="*/ 470821 w 470820"/>
                <a:gd name="connsiteY13" fmla="*/ 330232 h 419195"/>
                <a:gd name="connsiteX14" fmla="*/ 470821 w 470820"/>
                <a:gd name="connsiteY14" fmla="*/ 0 h 419195"/>
                <a:gd name="connsiteX15" fmla="*/ 57626 w 470820"/>
                <a:gd name="connsiteY15" fmla="*/ 571 h 419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0820" h="419195">
                  <a:moveTo>
                    <a:pt x="57626" y="571"/>
                  </a:moveTo>
                  <a:cubicBezTo>
                    <a:pt x="25908" y="571"/>
                    <a:pt x="0" y="26479"/>
                    <a:pt x="0" y="58198"/>
                  </a:cubicBezTo>
                  <a:lnTo>
                    <a:pt x="0" y="78200"/>
                  </a:lnTo>
                  <a:cubicBezTo>
                    <a:pt x="0" y="109919"/>
                    <a:pt x="25908" y="135827"/>
                    <a:pt x="57626" y="135827"/>
                  </a:cubicBezTo>
                  <a:lnTo>
                    <a:pt x="72771" y="135827"/>
                  </a:lnTo>
                  <a:cubicBezTo>
                    <a:pt x="88011" y="136303"/>
                    <a:pt x="154114" y="133160"/>
                    <a:pt x="155353" y="205073"/>
                  </a:cubicBezTo>
                  <a:lnTo>
                    <a:pt x="157448" y="319945"/>
                  </a:lnTo>
                  <a:cubicBezTo>
                    <a:pt x="158020" y="321850"/>
                    <a:pt x="158496" y="323850"/>
                    <a:pt x="158877" y="325946"/>
                  </a:cubicBezTo>
                  <a:lnTo>
                    <a:pt x="158877" y="347853"/>
                  </a:lnTo>
                  <a:cubicBezTo>
                    <a:pt x="158877" y="387096"/>
                    <a:pt x="190976" y="419195"/>
                    <a:pt x="230219" y="419195"/>
                  </a:cubicBezTo>
                  <a:lnTo>
                    <a:pt x="293275" y="419195"/>
                  </a:lnTo>
                  <a:lnTo>
                    <a:pt x="293275" y="418338"/>
                  </a:lnTo>
                  <a:lnTo>
                    <a:pt x="382714" y="418338"/>
                  </a:lnTo>
                  <a:cubicBezTo>
                    <a:pt x="431197" y="418338"/>
                    <a:pt x="470821" y="378714"/>
                    <a:pt x="470821" y="330232"/>
                  </a:cubicBezTo>
                  <a:lnTo>
                    <a:pt x="470821" y="0"/>
                  </a:lnTo>
                  <a:lnTo>
                    <a:pt x="57626" y="571"/>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85" name="Freeform: Shape 124">
              <a:extLst>
                <a:ext uri="{FF2B5EF4-FFF2-40B4-BE49-F238E27FC236}">
                  <a16:creationId xmlns:a16="http://schemas.microsoft.com/office/drawing/2014/main" id="{C9EFB34E-C3DC-0CB7-8F48-DBD50AC8E1CD}"/>
                </a:ext>
              </a:extLst>
            </p:cNvPr>
            <p:cNvSpPr/>
            <p:nvPr/>
          </p:nvSpPr>
          <p:spPr>
            <a:xfrm>
              <a:off x="5003118" y="3381263"/>
              <a:ext cx="1432559" cy="951547"/>
            </a:xfrm>
            <a:custGeom>
              <a:avLst/>
              <a:gdLst>
                <a:gd name="connsiteX0" fmla="*/ 1331309 w 1432559"/>
                <a:gd name="connsiteY0" fmla="*/ 122872 h 951547"/>
                <a:gd name="connsiteX1" fmla="*/ 1217009 w 1432559"/>
                <a:gd name="connsiteY1" fmla="*/ 8572 h 951547"/>
                <a:gd name="connsiteX2" fmla="*/ 1217009 w 1432559"/>
                <a:gd name="connsiteY2" fmla="*/ 0 h 951547"/>
                <a:gd name="connsiteX3" fmla="*/ 508921 w 1432559"/>
                <a:gd name="connsiteY3" fmla="*/ 0 h 951547"/>
                <a:gd name="connsiteX4" fmla="*/ 459391 w 1432559"/>
                <a:gd name="connsiteY4" fmla="*/ 0 h 951547"/>
                <a:gd name="connsiteX5" fmla="*/ 344043 w 1432559"/>
                <a:gd name="connsiteY5" fmla="*/ 0 h 951547"/>
                <a:gd name="connsiteX6" fmla="*/ 274225 w 1432559"/>
                <a:gd name="connsiteY6" fmla="*/ 64389 h 951547"/>
                <a:gd name="connsiteX7" fmla="*/ 193453 w 1432559"/>
                <a:gd name="connsiteY7" fmla="*/ 138875 h 951547"/>
                <a:gd name="connsiteX8" fmla="*/ 70009 w 1432559"/>
                <a:gd name="connsiteY8" fmla="*/ 138875 h 951547"/>
                <a:gd name="connsiteX9" fmla="*/ 0 w 1432559"/>
                <a:gd name="connsiteY9" fmla="*/ 208883 h 951547"/>
                <a:gd name="connsiteX10" fmla="*/ 0 w 1432559"/>
                <a:gd name="connsiteY10" fmla="*/ 447008 h 951547"/>
                <a:gd name="connsiteX11" fmla="*/ 222980 w 1432559"/>
                <a:gd name="connsiteY11" fmla="*/ 447008 h 951547"/>
                <a:gd name="connsiteX12" fmla="*/ 281749 w 1432559"/>
                <a:gd name="connsiteY12" fmla="*/ 505778 h 951547"/>
                <a:gd name="connsiteX13" fmla="*/ 281749 w 1432559"/>
                <a:gd name="connsiteY13" fmla="*/ 542258 h 951547"/>
                <a:gd name="connsiteX14" fmla="*/ 281749 w 1432559"/>
                <a:gd name="connsiteY14" fmla="*/ 951547 h 951547"/>
                <a:gd name="connsiteX15" fmla="*/ 349853 w 1432559"/>
                <a:gd name="connsiteY15" fmla="*/ 897446 h 951547"/>
                <a:gd name="connsiteX16" fmla="*/ 418052 w 1432559"/>
                <a:gd name="connsiteY16" fmla="*/ 897446 h 951547"/>
                <a:gd name="connsiteX17" fmla="*/ 498824 w 1432559"/>
                <a:gd name="connsiteY17" fmla="*/ 822960 h 951547"/>
                <a:gd name="connsiteX18" fmla="*/ 568643 w 1432559"/>
                <a:gd name="connsiteY18" fmla="*/ 758571 h 951547"/>
                <a:gd name="connsiteX19" fmla="*/ 683990 w 1432559"/>
                <a:gd name="connsiteY19" fmla="*/ 758571 h 951547"/>
                <a:gd name="connsiteX20" fmla="*/ 733520 w 1432559"/>
                <a:gd name="connsiteY20" fmla="*/ 758571 h 951547"/>
                <a:gd name="connsiteX21" fmla="*/ 1066514 w 1432559"/>
                <a:gd name="connsiteY21" fmla="*/ 758571 h 951547"/>
                <a:gd name="connsiteX22" fmla="*/ 1078992 w 1432559"/>
                <a:gd name="connsiteY22" fmla="*/ 759714 h 951547"/>
                <a:gd name="connsiteX23" fmla="*/ 1078992 w 1432559"/>
                <a:gd name="connsiteY23" fmla="*/ 617506 h 951547"/>
                <a:gd name="connsiteX24" fmla="*/ 1136618 w 1432559"/>
                <a:gd name="connsiteY24" fmla="*/ 559880 h 951547"/>
                <a:gd name="connsiteX25" fmla="*/ 1156621 w 1432559"/>
                <a:gd name="connsiteY25" fmla="*/ 559880 h 951547"/>
                <a:gd name="connsiteX26" fmla="*/ 1158335 w 1432559"/>
                <a:gd name="connsiteY26" fmla="*/ 559880 h 951547"/>
                <a:gd name="connsiteX27" fmla="*/ 1209199 w 1432559"/>
                <a:gd name="connsiteY27" fmla="*/ 559880 h 951547"/>
                <a:gd name="connsiteX28" fmla="*/ 1266825 w 1432559"/>
                <a:gd name="connsiteY28" fmla="*/ 502253 h 951547"/>
                <a:gd name="connsiteX29" fmla="*/ 1266825 w 1432559"/>
                <a:gd name="connsiteY29" fmla="*/ 425768 h 951547"/>
                <a:gd name="connsiteX30" fmla="*/ 1349121 w 1432559"/>
                <a:gd name="connsiteY30" fmla="*/ 425768 h 951547"/>
                <a:gd name="connsiteX31" fmla="*/ 1432560 w 1432559"/>
                <a:gd name="connsiteY31" fmla="*/ 342329 h 951547"/>
                <a:gd name="connsiteX32" fmla="*/ 1432560 w 1432559"/>
                <a:gd name="connsiteY32" fmla="*/ 122777 h 951547"/>
                <a:gd name="connsiteX33" fmla="*/ 1331309 w 1432559"/>
                <a:gd name="connsiteY33" fmla="*/ 122777 h 951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32559" h="951547">
                  <a:moveTo>
                    <a:pt x="1331309" y="122872"/>
                  </a:moveTo>
                  <a:cubicBezTo>
                    <a:pt x="1268444" y="122872"/>
                    <a:pt x="1217009" y="71438"/>
                    <a:pt x="1217009" y="8572"/>
                  </a:cubicBezTo>
                  <a:lnTo>
                    <a:pt x="1217009" y="0"/>
                  </a:lnTo>
                  <a:lnTo>
                    <a:pt x="508921" y="0"/>
                  </a:lnTo>
                  <a:lnTo>
                    <a:pt x="459391" y="0"/>
                  </a:lnTo>
                  <a:lnTo>
                    <a:pt x="344043" y="0"/>
                  </a:lnTo>
                  <a:cubicBezTo>
                    <a:pt x="307467" y="0"/>
                    <a:pt x="277082" y="28480"/>
                    <a:pt x="274225" y="64389"/>
                  </a:cubicBezTo>
                  <a:cubicBezTo>
                    <a:pt x="270891" y="106585"/>
                    <a:pt x="235839" y="138875"/>
                    <a:pt x="193453" y="138875"/>
                  </a:cubicBezTo>
                  <a:lnTo>
                    <a:pt x="70009" y="138875"/>
                  </a:lnTo>
                  <a:cubicBezTo>
                    <a:pt x="31528" y="138875"/>
                    <a:pt x="0" y="170497"/>
                    <a:pt x="0" y="208883"/>
                  </a:cubicBezTo>
                  <a:lnTo>
                    <a:pt x="0" y="447008"/>
                  </a:lnTo>
                  <a:lnTo>
                    <a:pt x="222980" y="447008"/>
                  </a:lnTo>
                  <a:cubicBezTo>
                    <a:pt x="255270" y="447008"/>
                    <a:pt x="281749" y="473488"/>
                    <a:pt x="281749" y="505778"/>
                  </a:cubicBezTo>
                  <a:lnTo>
                    <a:pt x="281749" y="542258"/>
                  </a:lnTo>
                  <a:lnTo>
                    <a:pt x="281749" y="951547"/>
                  </a:lnTo>
                  <a:cubicBezTo>
                    <a:pt x="288988" y="920687"/>
                    <a:pt x="316896" y="897446"/>
                    <a:pt x="349853" y="897446"/>
                  </a:cubicBezTo>
                  <a:lnTo>
                    <a:pt x="418052" y="897446"/>
                  </a:lnTo>
                  <a:cubicBezTo>
                    <a:pt x="460343" y="897446"/>
                    <a:pt x="495395" y="865156"/>
                    <a:pt x="498824" y="822960"/>
                  </a:cubicBezTo>
                  <a:cubicBezTo>
                    <a:pt x="501682" y="787051"/>
                    <a:pt x="532066" y="758571"/>
                    <a:pt x="568643" y="758571"/>
                  </a:cubicBezTo>
                  <a:lnTo>
                    <a:pt x="683990" y="758571"/>
                  </a:lnTo>
                  <a:lnTo>
                    <a:pt x="733520" y="758571"/>
                  </a:lnTo>
                  <a:lnTo>
                    <a:pt x="1066514" y="758571"/>
                  </a:lnTo>
                  <a:cubicBezTo>
                    <a:pt x="1070800" y="758571"/>
                    <a:pt x="1074896" y="758952"/>
                    <a:pt x="1078992" y="759714"/>
                  </a:cubicBezTo>
                  <a:lnTo>
                    <a:pt x="1078992" y="617506"/>
                  </a:lnTo>
                  <a:cubicBezTo>
                    <a:pt x="1078992" y="585788"/>
                    <a:pt x="1104900" y="559880"/>
                    <a:pt x="1136618" y="559880"/>
                  </a:cubicBezTo>
                  <a:lnTo>
                    <a:pt x="1156621" y="559880"/>
                  </a:lnTo>
                  <a:cubicBezTo>
                    <a:pt x="1157192" y="559880"/>
                    <a:pt x="1157764" y="559880"/>
                    <a:pt x="1158335" y="559880"/>
                  </a:cubicBezTo>
                  <a:lnTo>
                    <a:pt x="1209199" y="559880"/>
                  </a:lnTo>
                  <a:cubicBezTo>
                    <a:pt x="1240917" y="559880"/>
                    <a:pt x="1266825" y="533972"/>
                    <a:pt x="1266825" y="502253"/>
                  </a:cubicBezTo>
                  <a:lnTo>
                    <a:pt x="1266825" y="425768"/>
                  </a:lnTo>
                  <a:lnTo>
                    <a:pt x="1349121" y="425768"/>
                  </a:lnTo>
                  <a:cubicBezTo>
                    <a:pt x="1395031" y="425768"/>
                    <a:pt x="1432560" y="388239"/>
                    <a:pt x="1432560" y="342329"/>
                  </a:cubicBezTo>
                  <a:lnTo>
                    <a:pt x="1432560" y="122777"/>
                  </a:lnTo>
                  <a:lnTo>
                    <a:pt x="1331309" y="122777"/>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86" name="Freeform: Shape 125">
              <a:extLst>
                <a:ext uri="{FF2B5EF4-FFF2-40B4-BE49-F238E27FC236}">
                  <a16:creationId xmlns:a16="http://schemas.microsoft.com/office/drawing/2014/main" id="{7CBA1816-5D43-F675-4982-C2102E7014AD}"/>
                </a:ext>
              </a:extLst>
            </p:cNvPr>
            <p:cNvSpPr/>
            <p:nvPr/>
          </p:nvSpPr>
          <p:spPr>
            <a:xfrm>
              <a:off x="3245469" y="381555"/>
              <a:ext cx="1149858" cy="1834229"/>
            </a:xfrm>
            <a:custGeom>
              <a:avLst/>
              <a:gdLst>
                <a:gd name="connsiteX0" fmla="*/ 935450 w 1149858"/>
                <a:gd name="connsiteY0" fmla="*/ 0 h 1834229"/>
                <a:gd name="connsiteX1" fmla="*/ 644367 w 1149858"/>
                <a:gd name="connsiteY1" fmla="*/ 0 h 1834229"/>
                <a:gd name="connsiteX2" fmla="*/ 436912 w 1149858"/>
                <a:gd name="connsiteY2" fmla="*/ 0 h 1834229"/>
                <a:gd name="connsiteX3" fmla="*/ 340043 w 1149858"/>
                <a:gd name="connsiteY3" fmla="*/ 96869 h 1834229"/>
                <a:gd name="connsiteX4" fmla="*/ 340043 w 1149858"/>
                <a:gd name="connsiteY4" fmla="*/ 393764 h 1834229"/>
                <a:gd name="connsiteX5" fmla="*/ 98774 w 1149858"/>
                <a:gd name="connsiteY5" fmla="*/ 393764 h 1834229"/>
                <a:gd name="connsiteX6" fmla="*/ 1905 w 1149858"/>
                <a:gd name="connsiteY6" fmla="*/ 490633 h 1834229"/>
                <a:gd name="connsiteX7" fmla="*/ 1905 w 1149858"/>
                <a:gd name="connsiteY7" fmla="*/ 659606 h 1834229"/>
                <a:gd name="connsiteX8" fmla="*/ 0 w 1149858"/>
                <a:gd name="connsiteY8" fmla="*/ 659892 h 1834229"/>
                <a:gd name="connsiteX9" fmla="*/ 0 w 1149858"/>
                <a:gd name="connsiteY9" fmla="*/ 916305 h 1834229"/>
                <a:gd name="connsiteX10" fmla="*/ 0 w 1149858"/>
                <a:gd name="connsiteY10" fmla="*/ 998410 h 1834229"/>
                <a:gd name="connsiteX11" fmla="*/ 0 w 1149858"/>
                <a:gd name="connsiteY11" fmla="*/ 1315593 h 1834229"/>
                <a:gd name="connsiteX12" fmla="*/ 78486 w 1149858"/>
                <a:gd name="connsiteY12" fmla="*/ 1398842 h 1834229"/>
                <a:gd name="connsiteX13" fmla="*/ 154686 w 1149858"/>
                <a:gd name="connsiteY13" fmla="*/ 1479709 h 1834229"/>
                <a:gd name="connsiteX14" fmla="*/ 154686 w 1149858"/>
                <a:gd name="connsiteY14" fmla="*/ 1601343 h 1834229"/>
                <a:gd name="connsiteX15" fmla="*/ 234506 w 1149858"/>
                <a:gd name="connsiteY15" fmla="*/ 1684687 h 1834229"/>
                <a:gd name="connsiteX16" fmla="*/ 312039 w 1149858"/>
                <a:gd name="connsiteY16" fmla="*/ 1765649 h 1834229"/>
                <a:gd name="connsiteX17" fmla="*/ 312039 w 1149858"/>
                <a:gd name="connsiteY17" fmla="*/ 1776603 h 1834229"/>
                <a:gd name="connsiteX18" fmla="*/ 369665 w 1149858"/>
                <a:gd name="connsiteY18" fmla="*/ 1834229 h 1834229"/>
                <a:gd name="connsiteX19" fmla="*/ 389668 w 1149858"/>
                <a:gd name="connsiteY19" fmla="*/ 1834229 h 1834229"/>
                <a:gd name="connsiteX20" fmla="*/ 447294 w 1149858"/>
                <a:gd name="connsiteY20" fmla="*/ 1776603 h 1834229"/>
                <a:gd name="connsiteX21" fmla="*/ 447294 w 1149858"/>
                <a:gd name="connsiteY21" fmla="*/ 1765745 h 1834229"/>
                <a:gd name="connsiteX22" fmla="*/ 528257 w 1149858"/>
                <a:gd name="connsiteY22" fmla="*/ 1684782 h 1834229"/>
                <a:gd name="connsiteX23" fmla="*/ 681323 w 1149858"/>
                <a:gd name="connsiteY23" fmla="*/ 1684782 h 1834229"/>
                <a:gd name="connsiteX24" fmla="*/ 764762 w 1149858"/>
                <a:gd name="connsiteY24" fmla="*/ 1601343 h 1834229"/>
                <a:gd name="connsiteX25" fmla="*/ 764762 w 1149858"/>
                <a:gd name="connsiteY25" fmla="*/ 1348835 h 1834229"/>
                <a:gd name="connsiteX26" fmla="*/ 681323 w 1149858"/>
                <a:gd name="connsiteY26" fmla="*/ 1265396 h 1834229"/>
                <a:gd name="connsiteX27" fmla="*/ 602171 w 1149858"/>
                <a:gd name="connsiteY27" fmla="*/ 1186910 h 1834229"/>
                <a:gd name="connsiteX28" fmla="*/ 683133 w 1149858"/>
                <a:gd name="connsiteY28" fmla="*/ 1105948 h 1834229"/>
                <a:gd name="connsiteX29" fmla="*/ 860870 w 1149858"/>
                <a:gd name="connsiteY29" fmla="*/ 1105948 h 1834229"/>
                <a:gd name="connsiteX30" fmla="*/ 918496 w 1149858"/>
                <a:gd name="connsiteY30" fmla="*/ 1048322 h 1834229"/>
                <a:gd name="connsiteX31" fmla="*/ 918496 w 1149858"/>
                <a:gd name="connsiteY31" fmla="*/ 1028319 h 1834229"/>
                <a:gd name="connsiteX32" fmla="*/ 860870 w 1149858"/>
                <a:gd name="connsiteY32" fmla="*/ 970693 h 1834229"/>
                <a:gd name="connsiteX33" fmla="*/ 845725 w 1149858"/>
                <a:gd name="connsiteY33" fmla="*/ 970693 h 1834229"/>
                <a:gd name="connsiteX34" fmla="*/ 764762 w 1149858"/>
                <a:gd name="connsiteY34" fmla="*/ 889730 h 1834229"/>
                <a:gd name="connsiteX35" fmla="*/ 764762 w 1149858"/>
                <a:gd name="connsiteY35" fmla="*/ 759047 h 1834229"/>
                <a:gd name="connsiteX36" fmla="*/ 763905 w 1149858"/>
                <a:gd name="connsiteY36" fmla="*/ 730282 h 1834229"/>
                <a:gd name="connsiteX37" fmla="*/ 798862 w 1149858"/>
                <a:gd name="connsiteY37" fmla="*/ 730282 h 1834229"/>
                <a:gd name="connsiteX38" fmla="*/ 935355 w 1149858"/>
                <a:gd name="connsiteY38" fmla="*/ 640937 h 1834229"/>
                <a:gd name="connsiteX39" fmla="*/ 935355 w 1149858"/>
                <a:gd name="connsiteY39" fmla="*/ 636556 h 1834229"/>
                <a:gd name="connsiteX40" fmla="*/ 935355 w 1149858"/>
                <a:gd name="connsiteY40" fmla="*/ 626555 h 1834229"/>
                <a:gd name="connsiteX41" fmla="*/ 1006221 w 1149858"/>
                <a:gd name="connsiteY41" fmla="*/ 626555 h 1834229"/>
                <a:gd name="connsiteX42" fmla="*/ 1149858 w 1149858"/>
                <a:gd name="connsiteY42" fmla="*/ 490061 h 1834229"/>
                <a:gd name="connsiteX43" fmla="*/ 1149858 w 1149858"/>
                <a:gd name="connsiteY43" fmla="*/ 0 h 1834229"/>
                <a:gd name="connsiteX44" fmla="*/ 935450 w 1149858"/>
                <a:gd name="connsiteY44" fmla="*/ 0 h 183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149858" h="1834229">
                  <a:moveTo>
                    <a:pt x="935450" y="0"/>
                  </a:moveTo>
                  <a:lnTo>
                    <a:pt x="644367" y="0"/>
                  </a:lnTo>
                  <a:lnTo>
                    <a:pt x="436912" y="0"/>
                  </a:lnTo>
                  <a:cubicBezTo>
                    <a:pt x="383477" y="0"/>
                    <a:pt x="340043" y="43339"/>
                    <a:pt x="340043" y="96869"/>
                  </a:cubicBezTo>
                  <a:lnTo>
                    <a:pt x="340043" y="393764"/>
                  </a:lnTo>
                  <a:lnTo>
                    <a:pt x="98774" y="393764"/>
                  </a:lnTo>
                  <a:cubicBezTo>
                    <a:pt x="45339" y="393764"/>
                    <a:pt x="1905" y="437102"/>
                    <a:pt x="1905" y="490633"/>
                  </a:cubicBezTo>
                  <a:lnTo>
                    <a:pt x="1905" y="659606"/>
                  </a:lnTo>
                  <a:lnTo>
                    <a:pt x="0" y="659892"/>
                  </a:lnTo>
                  <a:lnTo>
                    <a:pt x="0" y="916305"/>
                  </a:lnTo>
                  <a:lnTo>
                    <a:pt x="0" y="998410"/>
                  </a:lnTo>
                  <a:lnTo>
                    <a:pt x="0" y="1315593"/>
                  </a:lnTo>
                  <a:cubicBezTo>
                    <a:pt x="0" y="1359789"/>
                    <a:pt x="34862" y="1396270"/>
                    <a:pt x="78486" y="1398842"/>
                  </a:cubicBezTo>
                  <a:cubicBezTo>
                    <a:pt x="121349" y="1401413"/>
                    <a:pt x="154686" y="1436751"/>
                    <a:pt x="154686" y="1479709"/>
                  </a:cubicBezTo>
                  <a:lnTo>
                    <a:pt x="154686" y="1601343"/>
                  </a:lnTo>
                  <a:cubicBezTo>
                    <a:pt x="154686" y="1646015"/>
                    <a:pt x="190310" y="1682782"/>
                    <a:pt x="234506" y="1684687"/>
                  </a:cubicBezTo>
                  <a:cubicBezTo>
                    <a:pt x="277844" y="1686592"/>
                    <a:pt x="312039" y="1722215"/>
                    <a:pt x="312039" y="1765649"/>
                  </a:cubicBezTo>
                  <a:lnTo>
                    <a:pt x="312039" y="1776603"/>
                  </a:lnTo>
                  <a:cubicBezTo>
                    <a:pt x="312039" y="1808321"/>
                    <a:pt x="337947" y="1834229"/>
                    <a:pt x="369665" y="1834229"/>
                  </a:cubicBezTo>
                  <a:lnTo>
                    <a:pt x="389668" y="1834229"/>
                  </a:lnTo>
                  <a:cubicBezTo>
                    <a:pt x="421386" y="1834229"/>
                    <a:pt x="447294" y="1808321"/>
                    <a:pt x="447294" y="1776603"/>
                  </a:cubicBezTo>
                  <a:lnTo>
                    <a:pt x="447294" y="1765745"/>
                  </a:lnTo>
                  <a:cubicBezTo>
                    <a:pt x="447294" y="1721168"/>
                    <a:pt x="483680" y="1684782"/>
                    <a:pt x="528257" y="1684782"/>
                  </a:cubicBezTo>
                  <a:lnTo>
                    <a:pt x="681323" y="1684782"/>
                  </a:lnTo>
                  <a:cubicBezTo>
                    <a:pt x="727234" y="1684782"/>
                    <a:pt x="764762" y="1647254"/>
                    <a:pt x="764762" y="1601343"/>
                  </a:cubicBezTo>
                  <a:lnTo>
                    <a:pt x="764762" y="1348835"/>
                  </a:lnTo>
                  <a:cubicBezTo>
                    <a:pt x="764762" y="1302925"/>
                    <a:pt x="726662" y="1258253"/>
                    <a:pt x="681323" y="1265396"/>
                  </a:cubicBezTo>
                  <a:cubicBezTo>
                    <a:pt x="633508" y="1272921"/>
                    <a:pt x="601028" y="1256348"/>
                    <a:pt x="602171" y="1186910"/>
                  </a:cubicBezTo>
                  <a:cubicBezTo>
                    <a:pt x="602933" y="1142333"/>
                    <a:pt x="638556" y="1105948"/>
                    <a:pt x="683133" y="1105948"/>
                  </a:cubicBezTo>
                  <a:lnTo>
                    <a:pt x="860870" y="1105948"/>
                  </a:lnTo>
                  <a:cubicBezTo>
                    <a:pt x="892588" y="1105948"/>
                    <a:pt x="918496" y="1080040"/>
                    <a:pt x="918496" y="1048322"/>
                  </a:cubicBezTo>
                  <a:lnTo>
                    <a:pt x="918496" y="1028319"/>
                  </a:lnTo>
                  <a:cubicBezTo>
                    <a:pt x="918496" y="996601"/>
                    <a:pt x="892588" y="970693"/>
                    <a:pt x="860870" y="970693"/>
                  </a:cubicBezTo>
                  <a:lnTo>
                    <a:pt x="845725" y="970693"/>
                  </a:lnTo>
                  <a:cubicBezTo>
                    <a:pt x="801148" y="970693"/>
                    <a:pt x="764762" y="934307"/>
                    <a:pt x="764762" y="889730"/>
                  </a:cubicBezTo>
                  <a:lnTo>
                    <a:pt x="764762" y="759047"/>
                  </a:lnTo>
                  <a:cubicBezTo>
                    <a:pt x="764762" y="748951"/>
                    <a:pt x="764381" y="740950"/>
                    <a:pt x="763905" y="730282"/>
                  </a:cubicBezTo>
                  <a:lnTo>
                    <a:pt x="798862" y="730282"/>
                  </a:lnTo>
                  <a:cubicBezTo>
                    <a:pt x="874300" y="730282"/>
                    <a:pt x="935355" y="716375"/>
                    <a:pt x="935355" y="640937"/>
                  </a:cubicBezTo>
                  <a:lnTo>
                    <a:pt x="935355" y="636556"/>
                  </a:lnTo>
                  <a:lnTo>
                    <a:pt x="935355" y="626555"/>
                  </a:lnTo>
                  <a:lnTo>
                    <a:pt x="1006221" y="626555"/>
                  </a:lnTo>
                  <a:cubicBezTo>
                    <a:pt x="1081659" y="626555"/>
                    <a:pt x="1149858" y="565404"/>
                    <a:pt x="1149858" y="490061"/>
                  </a:cubicBezTo>
                  <a:lnTo>
                    <a:pt x="1149858" y="0"/>
                  </a:lnTo>
                  <a:lnTo>
                    <a:pt x="93545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87" name="Freeform: Shape 126">
              <a:extLst>
                <a:ext uri="{FF2B5EF4-FFF2-40B4-BE49-F238E27FC236}">
                  <a16:creationId xmlns:a16="http://schemas.microsoft.com/office/drawing/2014/main" id="{4373A10D-AA6C-1E61-86D9-287E5497F2DD}"/>
                </a:ext>
              </a:extLst>
            </p:cNvPr>
            <p:cNvSpPr/>
            <p:nvPr/>
          </p:nvSpPr>
          <p:spPr>
            <a:xfrm>
              <a:off x="4395518" y="260683"/>
              <a:ext cx="1290351" cy="1074229"/>
            </a:xfrm>
            <a:custGeom>
              <a:avLst/>
              <a:gdLst>
                <a:gd name="connsiteX0" fmla="*/ 1290352 w 1290351"/>
                <a:gd name="connsiteY0" fmla="*/ 314516 h 1074229"/>
                <a:gd name="connsiteX1" fmla="*/ 626555 w 1290351"/>
                <a:gd name="connsiteY1" fmla="*/ 314516 h 1074229"/>
                <a:gd name="connsiteX2" fmla="*/ 626555 w 1290351"/>
                <a:gd name="connsiteY2" fmla="*/ 136493 h 1074229"/>
                <a:gd name="connsiteX3" fmla="*/ 490061 w 1290351"/>
                <a:gd name="connsiteY3" fmla="*/ 0 h 1074229"/>
                <a:gd name="connsiteX4" fmla="*/ 407765 w 1290351"/>
                <a:gd name="connsiteY4" fmla="*/ 0 h 1074229"/>
                <a:gd name="connsiteX5" fmla="*/ 407765 w 1290351"/>
                <a:gd name="connsiteY5" fmla="*/ 286 h 1074229"/>
                <a:gd name="connsiteX6" fmla="*/ 248983 w 1290351"/>
                <a:gd name="connsiteY6" fmla="*/ 286 h 1074229"/>
                <a:gd name="connsiteX7" fmla="*/ 248983 w 1290351"/>
                <a:gd name="connsiteY7" fmla="*/ 28861 h 1074229"/>
                <a:gd name="connsiteX8" fmla="*/ 156877 w 1290351"/>
                <a:gd name="connsiteY8" fmla="*/ 120967 h 1074229"/>
                <a:gd name="connsiteX9" fmla="*/ 0 w 1290351"/>
                <a:gd name="connsiteY9" fmla="*/ 120967 h 1074229"/>
                <a:gd name="connsiteX10" fmla="*/ 0 w 1290351"/>
                <a:gd name="connsiteY10" fmla="*/ 595408 h 1074229"/>
                <a:gd name="connsiteX11" fmla="*/ 270986 w 1290351"/>
                <a:gd name="connsiteY11" fmla="*/ 595408 h 1074229"/>
                <a:gd name="connsiteX12" fmla="*/ 270986 w 1290351"/>
                <a:gd name="connsiteY12" fmla="*/ 990791 h 1074229"/>
                <a:gd name="connsiteX13" fmla="*/ 354425 w 1290351"/>
                <a:gd name="connsiteY13" fmla="*/ 1074230 h 1074229"/>
                <a:gd name="connsiteX14" fmla="*/ 954500 w 1290351"/>
                <a:gd name="connsiteY14" fmla="*/ 1074230 h 1074229"/>
                <a:gd name="connsiteX15" fmla="*/ 1034415 w 1290351"/>
                <a:gd name="connsiteY15" fmla="*/ 1074230 h 1074229"/>
                <a:gd name="connsiteX16" fmla="*/ 1034701 w 1290351"/>
                <a:gd name="connsiteY16" fmla="*/ 1004602 h 1074229"/>
                <a:gd name="connsiteX17" fmla="*/ 1113186 w 1290351"/>
                <a:gd name="connsiteY17" fmla="*/ 932974 h 1074229"/>
                <a:gd name="connsiteX18" fmla="*/ 1189386 w 1290351"/>
                <a:gd name="connsiteY18" fmla="*/ 863251 h 1074229"/>
                <a:gd name="connsiteX19" fmla="*/ 1272064 w 1290351"/>
                <a:gd name="connsiteY19" fmla="*/ 791337 h 1074229"/>
                <a:gd name="connsiteX20" fmla="*/ 1287780 w 1290351"/>
                <a:gd name="connsiteY20" fmla="*/ 791337 h 1074229"/>
                <a:gd name="connsiteX21" fmla="*/ 1290352 w 1290351"/>
                <a:gd name="connsiteY21" fmla="*/ 314516 h 107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90351" h="1074229">
                  <a:moveTo>
                    <a:pt x="1290352" y="314516"/>
                  </a:moveTo>
                  <a:lnTo>
                    <a:pt x="626555" y="314516"/>
                  </a:lnTo>
                  <a:lnTo>
                    <a:pt x="626555" y="136493"/>
                  </a:lnTo>
                  <a:cubicBezTo>
                    <a:pt x="626555" y="61055"/>
                    <a:pt x="565404" y="0"/>
                    <a:pt x="490061" y="0"/>
                  </a:cubicBezTo>
                  <a:lnTo>
                    <a:pt x="407765" y="0"/>
                  </a:lnTo>
                  <a:lnTo>
                    <a:pt x="407765" y="286"/>
                  </a:lnTo>
                  <a:lnTo>
                    <a:pt x="248983" y="286"/>
                  </a:lnTo>
                  <a:lnTo>
                    <a:pt x="248983" y="28861"/>
                  </a:lnTo>
                  <a:cubicBezTo>
                    <a:pt x="248983" y="79724"/>
                    <a:pt x="207740" y="120967"/>
                    <a:pt x="156877" y="120967"/>
                  </a:cubicBezTo>
                  <a:lnTo>
                    <a:pt x="0" y="120967"/>
                  </a:lnTo>
                  <a:lnTo>
                    <a:pt x="0" y="595408"/>
                  </a:lnTo>
                  <a:lnTo>
                    <a:pt x="270986" y="595408"/>
                  </a:lnTo>
                  <a:lnTo>
                    <a:pt x="270986" y="990791"/>
                  </a:lnTo>
                  <a:cubicBezTo>
                    <a:pt x="270986" y="1036701"/>
                    <a:pt x="308515" y="1074230"/>
                    <a:pt x="354425" y="1074230"/>
                  </a:cubicBezTo>
                  <a:lnTo>
                    <a:pt x="954500" y="1074230"/>
                  </a:lnTo>
                  <a:lnTo>
                    <a:pt x="1034415" y="1074230"/>
                  </a:lnTo>
                  <a:lnTo>
                    <a:pt x="1034701" y="1004602"/>
                  </a:lnTo>
                  <a:cubicBezTo>
                    <a:pt x="1034891" y="965168"/>
                    <a:pt x="1073087" y="934879"/>
                    <a:pt x="1113186" y="932974"/>
                  </a:cubicBezTo>
                  <a:cubicBezTo>
                    <a:pt x="1152430" y="931069"/>
                    <a:pt x="1183958" y="902113"/>
                    <a:pt x="1189386" y="863251"/>
                  </a:cubicBezTo>
                  <a:cubicBezTo>
                    <a:pt x="1195006" y="822770"/>
                    <a:pt x="1230058" y="791337"/>
                    <a:pt x="1272064" y="791337"/>
                  </a:cubicBezTo>
                  <a:lnTo>
                    <a:pt x="1287780" y="791337"/>
                  </a:lnTo>
                  <a:cubicBezTo>
                    <a:pt x="1287208" y="673227"/>
                    <a:pt x="1290352" y="511397"/>
                    <a:pt x="1290352" y="314516"/>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88" name="Freeform: Shape 127">
              <a:extLst>
                <a:ext uri="{FF2B5EF4-FFF2-40B4-BE49-F238E27FC236}">
                  <a16:creationId xmlns:a16="http://schemas.microsoft.com/office/drawing/2014/main" id="{62721690-5635-0EFA-79B8-6A823E6D2C3F}"/>
                </a:ext>
              </a:extLst>
            </p:cNvPr>
            <p:cNvSpPr/>
            <p:nvPr/>
          </p:nvSpPr>
          <p:spPr>
            <a:xfrm>
              <a:off x="2456609" y="-24876"/>
              <a:ext cx="2346960" cy="1813083"/>
            </a:xfrm>
            <a:custGeom>
              <a:avLst/>
              <a:gdLst>
                <a:gd name="connsiteX0" fmla="*/ 862298 w 2346960"/>
                <a:gd name="connsiteY0" fmla="*/ 0 h 1813083"/>
                <a:gd name="connsiteX1" fmla="*/ 654368 w 2346960"/>
                <a:gd name="connsiteY1" fmla="*/ 207931 h 1813083"/>
                <a:gd name="connsiteX2" fmla="*/ 654368 w 2346960"/>
                <a:gd name="connsiteY2" fmla="*/ 444437 h 1813083"/>
                <a:gd name="connsiteX3" fmla="*/ 513112 w 2346960"/>
                <a:gd name="connsiteY3" fmla="*/ 444437 h 1813083"/>
                <a:gd name="connsiteX4" fmla="*/ 305181 w 2346960"/>
                <a:gd name="connsiteY4" fmla="*/ 652367 h 1813083"/>
                <a:gd name="connsiteX5" fmla="*/ 305181 w 2346960"/>
                <a:gd name="connsiteY5" fmla="*/ 1066514 h 1813083"/>
                <a:gd name="connsiteX6" fmla="*/ 268319 w 2346960"/>
                <a:gd name="connsiteY6" fmla="*/ 1078135 h 1813083"/>
                <a:gd name="connsiteX7" fmla="*/ 235458 w 2346960"/>
                <a:gd name="connsiteY7" fmla="*/ 1090327 h 1813083"/>
                <a:gd name="connsiteX8" fmla="*/ 162497 w 2346960"/>
                <a:gd name="connsiteY8" fmla="*/ 1173099 h 1813083"/>
                <a:gd name="connsiteX9" fmla="*/ 162497 w 2346960"/>
                <a:gd name="connsiteY9" fmla="*/ 1441228 h 1813083"/>
                <a:gd name="connsiteX10" fmla="*/ 81915 w 2346960"/>
                <a:gd name="connsiteY10" fmla="*/ 1522190 h 1813083"/>
                <a:gd name="connsiteX11" fmla="*/ 0 w 2346960"/>
                <a:gd name="connsiteY11" fmla="*/ 1605629 h 1813083"/>
                <a:gd name="connsiteX12" fmla="*/ 0 w 2346960"/>
                <a:gd name="connsiteY12" fmla="*/ 1729645 h 1813083"/>
                <a:gd name="connsiteX13" fmla="*/ 83439 w 2346960"/>
                <a:gd name="connsiteY13" fmla="*/ 1813084 h 1813083"/>
                <a:gd name="connsiteX14" fmla="*/ 364141 w 2346960"/>
                <a:gd name="connsiteY14" fmla="*/ 1813084 h 1813083"/>
                <a:gd name="connsiteX15" fmla="*/ 447484 w 2346960"/>
                <a:gd name="connsiteY15" fmla="*/ 1733264 h 1813083"/>
                <a:gd name="connsiteX16" fmla="*/ 527590 w 2346960"/>
                <a:gd name="connsiteY16" fmla="*/ 1655731 h 1813083"/>
                <a:gd name="connsiteX17" fmla="*/ 609600 w 2346960"/>
                <a:gd name="connsiteY17" fmla="*/ 1581817 h 1813083"/>
                <a:gd name="connsiteX18" fmla="*/ 687896 w 2346960"/>
                <a:gd name="connsiteY18" fmla="*/ 1508951 h 1813083"/>
                <a:gd name="connsiteX19" fmla="*/ 708184 w 2346960"/>
                <a:gd name="connsiteY19" fmla="*/ 1508951 h 1813083"/>
                <a:gd name="connsiteX20" fmla="*/ 789146 w 2346960"/>
                <a:gd name="connsiteY20" fmla="*/ 1589913 h 1813083"/>
                <a:gd name="connsiteX21" fmla="*/ 789146 w 2346960"/>
                <a:gd name="connsiteY21" fmla="*/ 1404557 h 1813083"/>
                <a:gd name="connsiteX22" fmla="*/ 789146 w 2346960"/>
                <a:gd name="connsiteY22" fmla="*/ 1322451 h 1813083"/>
                <a:gd name="connsiteX23" fmla="*/ 789146 w 2346960"/>
                <a:gd name="connsiteY23" fmla="*/ 1066038 h 1813083"/>
                <a:gd name="connsiteX24" fmla="*/ 787908 w 2346960"/>
                <a:gd name="connsiteY24" fmla="*/ 1066038 h 1813083"/>
                <a:gd name="connsiteX25" fmla="*/ 787908 w 2346960"/>
                <a:gd name="connsiteY25" fmla="*/ 876300 h 1813083"/>
                <a:gd name="connsiteX26" fmla="*/ 793337 w 2346960"/>
                <a:gd name="connsiteY26" fmla="*/ 876300 h 1813083"/>
                <a:gd name="connsiteX27" fmla="*/ 887921 w 2346960"/>
                <a:gd name="connsiteY27" fmla="*/ 800100 h 1813083"/>
                <a:gd name="connsiteX28" fmla="*/ 1129189 w 2346960"/>
                <a:gd name="connsiteY28" fmla="*/ 800100 h 1813083"/>
                <a:gd name="connsiteX29" fmla="*/ 1129189 w 2346960"/>
                <a:gd name="connsiteY29" fmla="*/ 503301 h 1813083"/>
                <a:gd name="connsiteX30" fmla="*/ 1226058 w 2346960"/>
                <a:gd name="connsiteY30" fmla="*/ 406432 h 1813083"/>
                <a:gd name="connsiteX31" fmla="*/ 1433513 w 2346960"/>
                <a:gd name="connsiteY31" fmla="*/ 406432 h 1813083"/>
                <a:gd name="connsiteX32" fmla="*/ 1724597 w 2346960"/>
                <a:gd name="connsiteY32" fmla="*/ 406432 h 1813083"/>
                <a:gd name="connsiteX33" fmla="*/ 2096072 w 2346960"/>
                <a:gd name="connsiteY33" fmla="*/ 406432 h 1813083"/>
                <a:gd name="connsiteX34" fmla="*/ 2188178 w 2346960"/>
                <a:gd name="connsiteY34" fmla="*/ 314325 h 1813083"/>
                <a:gd name="connsiteX35" fmla="*/ 2188178 w 2346960"/>
                <a:gd name="connsiteY35" fmla="*/ 285750 h 1813083"/>
                <a:gd name="connsiteX36" fmla="*/ 2346960 w 2346960"/>
                <a:gd name="connsiteY36" fmla="*/ 285750 h 1813083"/>
                <a:gd name="connsiteX37" fmla="*/ 2346960 w 2346960"/>
                <a:gd name="connsiteY37" fmla="*/ 0 h 1813083"/>
                <a:gd name="connsiteX38" fmla="*/ 862298 w 2346960"/>
                <a:gd name="connsiteY38" fmla="*/ 0 h 181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346960" h="1813083">
                  <a:moveTo>
                    <a:pt x="862298" y="0"/>
                  </a:moveTo>
                  <a:cubicBezTo>
                    <a:pt x="747427" y="0"/>
                    <a:pt x="654368" y="93155"/>
                    <a:pt x="654368" y="207931"/>
                  </a:cubicBezTo>
                  <a:lnTo>
                    <a:pt x="654368" y="444437"/>
                  </a:lnTo>
                  <a:lnTo>
                    <a:pt x="513112" y="444437"/>
                  </a:lnTo>
                  <a:cubicBezTo>
                    <a:pt x="398240" y="444437"/>
                    <a:pt x="305181" y="537591"/>
                    <a:pt x="305181" y="652367"/>
                  </a:cubicBezTo>
                  <a:lnTo>
                    <a:pt x="305181" y="1066514"/>
                  </a:lnTo>
                  <a:cubicBezTo>
                    <a:pt x="291846" y="1067562"/>
                    <a:pt x="279273" y="1071563"/>
                    <a:pt x="268319" y="1078135"/>
                  </a:cubicBezTo>
                  <a:cubicBezTo>
                    <a:pt x="258223" y="1084231"/>
                    <a:pt x="247174" y="1088803"/>
                    <a:pt x="235458" y="1090327"/>
                  </a:cubicBezTo>
                  <a:cubicBezTo>
                    <a:pt x="194405" y="1095470"/>
                    <a:pt x="162497" y="1130713"/>
                    <a:pt x="162497" y="1173099"/>
                  </a:cubicBezTo>
                  <a:lnTo>
                    <a:pt x="162497" y="1441228"/>
                  </a:lnTo>
                  <a:cubicBezTo>
                    <a:pt x="162497" y="1485519"/>
                    <a:pt x="126206" y="1521428"/>
                    <a:pt x="81915" y="1522190"/>
                  </a:cubicBezTo>
                  <a:cubicBezTo>
                    <a:pt x="36671" y="1522952"/>
                    <a:pt x="0" y="1560195"/>
                    <a:pt x="0" y="1605629"/>
                  </a:cubicBezTo>
                  <a:lnTo>
                    <a:pt x="0" y="1729645"/>
                  </a:lnTo>
                  <a:cubicBezTo>
                    <a:pt x="0" y="1775555"/>
                    <a:pt x="37529" y="1813084"/>
                    <a:pt x="83439" y="1813084"/>
                  </a:cubicBezTo>
                  <a:lnTo>
                    <a:pt x="364141" y="1813084"/>
                  </a:lnTo>
                  <a:cubicBezTo>
                    <a:pt x="408813" y="1813084"/>
                    <a:pt x="445580" y="1777460"/>
                    <a:pt x="447484" y="1733264"/>
                  </a:cubicBezTo>
                  <a:cubicBezTo>
                    <a:pt x="449390" y="1690211"/>
                    <a:pt x="484442" y="1656207"/>
                    <a:pt x="527590" y="1655731"/>
                  </a:cubicBezTo>
                  <a:cubicBezTo>
                    <a:pt x="569881" y="1655255"/>
                    <a:pt x="604838" y="1622965"/>
                    <a:pt x="609600" y="1581817"/>
                  </a:cubicBezTo>
                  <a:cubicBezTo>
                    <a:pt x="614267" y="1540859"/>
                    <a:pt x="646748" y="1508951"/>
                    <a:pt x="687896" y="1508951"/>
                  </a:cubicBezTo>
                  <a:lnTo>
                    <a:pt x="708184" y="1508951"/>
                  </a:lnTo>
                  <a:cubicBezTo>
                    <a:pt x="752761" y="1508951"/>
                    <a:pt x="789146" y="1545336"/>
                    <a:pt x="789146" y="1589913"/>
                  </a:cubicBezTo>
                  <a:lnTo>
                    <a:pt x="789146" y="1404557"/>
                  </a:lnTo>
                  <a:lnTo>
                    <a:pt x="789146" y="1322451"/>
                  </a:lnTo>
                  <a:lnTo>
                    <a:pt x="789146" y="1066038"/>
                  </a:lnTo>
                  <a:lnTo>
                    <a:pt x="787908" y="1066038"/>
                  </a:lnTo>
                  <a:lnTo>
                    <a:pt x="787908" y="876300"/>
                  </a:lnTo>
                  <a:lnTo>
                    <a:pt x="793337" y="876300"/>
                  </a:lnTo>
                  <a:cubicBezTo>
                    <a:pt x="802767" y="832771"/>
                    <a:pt x="841534" y="800100"/>
                    <a:pt x="887921" y="800100"/>
                  </a:cubicBezTo>
                  <a:lnTo>
                    <a:pt x="1129189" y="800100"/>
                  </a:lnTo>
                  <a:lnTo>
                    <a:pt x="1129189" y="503301"/>
                  </a:lnTo>
                  <a:cubicBezTo>
                    <a:pt x="1129189" y="449866"/>
                    <a:pt x="1172527" y="406432"/>
                    <a:pt x="1226058" y="406432"/>
                  </a:cubicBezTo>
                  <a:lnTo>
                    <a:pt x="1433513" y="406432"/>
                  </a:lnTo>
                  <a:lnTo>
                    <a:pt x="1724597" y="406432"/>
                  </a:lnTo>
                  <a:lnTo>
                    <a:pt x="2096072" y="406432"/>
                  </a:lnTo>
                  <a:cubicBezTo>
                    <a:pt x="2146935" y="406432"/>
                    <a:pt x="2188178" y="365189"/>
                    <a:pt x="2188178" y="314325"/>
                  </a:cubicBezTo>
                  <a:lnTo>
                    <a:pt x="2188178" y="285750"/>
                  </a:lnTo>
                  <a:lnTo>
                    <a:pt x="2346960" y="285750"/>
                  </a:lnTo>
                  <a:lnTo>
                    <a:pt x="2346960" y="0"/>
                  </a:lnTo>
                  <a:lnTo>
                    <a:pt x="86229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89" name="Freeform: Shape 128">
              <a:extLst>
                <a:ext uri="{FF2B5EF4-FFF2-40B4-BE49-F238E27FC236}">
                  <a16:creationId xmlns:a16="http://schemas.microsoft.com/office/drawing/2014/main" id="{55F3C6C5-C471-6B80-76B0-10210716A5BE}"/>
                </a:ext>
              </a:extLst>
            </p:cNvPr>
            <p:cNvSpPr/>
            <p:nvPr/>
          </p:nvSpPr>
          <p:spPr>
            <a:xfrm>
              <a:off x="4963684" y="2644504"/>
              <a:ext cx="1471421" cy="875728"/>
            </a:xfrm>
            <a:custGeom>
              <a:avLst/>
              <a:gdLst>
                <a:gd name="connsiteX0" fmla="*/ 157829 w 1471421"/>
                <a:gd name="connsiteY0" fmla="*/ 0 h 875728"/>
                <a:gd name="connsiteX1" fmla="*/ 157829 w 1471421"/>
                <a:gd name="connsiteY1" fmla="*/ 53245 h 875728"/>
                <a:gd name="connsiteX2" fmla="*/ 157829 w 1471421"/>
                <a:gd name="connsiteY2" fmla="*/ 105632 h 875728"/>
                <a:gd name="connsiteX3" fmla="*/ 200406 w 1471421"/>
                <a:gd name="connsiteY3" fmla="*/ 163354 h 875728"/>
                <a:gd name="connsiteX4" fmla="*/ 218313 w 1471421"/>
                <a:gd name="connsiteY4" fmla="*/ 166116 h 875728"/>
                <a:gd name="connsiteX5" fmla="*/ 312515 w 1471421"/>
                <a:gd name="connsiteY5" fmla="*/ 166116 h 875728"/>
                <a:gd name="connsiteX6" fmla="*/ 314134 w 1471421"/>
                <a:gd name="connsiteY6" fmla="*/ 166116 h 875728"/>
                <a:gd name="connsiteX7" fmla="*/ 314801 w 1471421"/>
                <a:gd name="connsiteY7" fmla="*/ 442722 h 875728"/>
                <a:gd name="connsiteX8" fmla="*/ 314801 w 1471421"/>
                <a:gd name="connsiteY8" fmla="*/ 444913 h 875728"/>
                <a:gd name="connsiteX9" fmla="*/ 314801 w 1471421"/>
                <a:gd name="connsiteY9" fmla="*/ 444913 h 875728"/>
                <a:gd name="connsiteX10" fmla="*/ 232982 w 1471421"/>
                <a:gd name="connsiteY10" fmla="*/ 444913 h 875728"/>
                <a:gd name="connsiteX11" fmla="*/ 162020 w 1471421"/>
                <a:gd name="connsiteY11" fmla="*/ 498538 h 875728"/>
                <a:gd name="connsiteX12" fmla="*/ 160401 w 1471421"/>
                <a:gd name="connsiteY12" fmla="*/ 512540 h 875728"/>
                <a:gd name="connsiteX13" fmla="*/ 160211 w 1471421"/>
                <a:gd name="connsiteY13" fmla="*/ 543497 h 875728"/>
                <a:gd name="connsiteX14" fmla="*/ 99726 w 1471421"/>
                <a:gd name="connsiteY14" fmla="*/ 603980 h 875728"/>
                <a:gd name="connsiteX15" fmla="*/ 381 w 1471421"/>
                <a:gd name="connsiteY15" fmla="*/ 603980 h 875728"/>
                <a:gd name="connsiteX16" fmla="*/ 381 w 1471421"/>
                <a:gd name="connsiteY16" fmla="*/ 743712 h 875728"/>
                <a:gd name="connsiteX17" fmla="*/ 0 w 1471421"/>
                <a:gd name="connsiteY17" fmla="*/ 743712 h 875728"/>
                <a:gd name="connsiteX18" fmla="*/ 0 w 1471421"/>
                <a:gd name="connsiteY18" fmla="*/ 747141 h 875728"/>
                <a:gd name="connsiteX19" fmla="*/ 146114 w 1471421"/>
                <a:gd name="connsiteY19" fmla="*/ 747141 h 875728"/>
                <a:gd name="connsiteX20" fmla="*/ 203740 w 1471421"/>
                <a:gd name="connsiteY20" fmla="*/ 804767 h 875728"/>
                <a:gd name="connsiteX21" fmla="*/ 203740 w 1471421"/>
                <a:gd name="connsiteY21" fmla="*/ 824770 h 875728"/>
                <a:gd name="connsiteX22" fmla="*/ 172879 w 1471421"/>
                <a:gd name="connsiteY22" fmla="*/ 875729 h 875728"/>
                <a:gd name="connsiteX23" fmla="*/ 232600 w 1471421"/>
                <a:gd name="connsiteY23" fmla="*/ 875729 h 875728"/>
                <a:gd name="connsiteX24" fmla="*/ 313373 w 1471421"/>
                <a:gd name="connsiteY24" fmla="*/ 801243 h 875728"/>
                <a:gd name="connsiteX25" fmla="*/ 383191 w 1471421"/>
                <a:gd name="connsiteY25" fmla="*/ 736854 h 875728"/>
                <a:gd name="connsiteX26" fmla="*/ 498539 w 1471421"/>
                <a:gd name="connsiteY26" fmla="*/ 736854 h 875728"/>
                <a:gd name="connsiteX27" fmla="*/ 548068 w 1471421"/>
                <a:gd name="connsiteY27" fmla="*/ 736854 h 875728"/>
                <a:gd name="connsiteX28" fmla="*/ 1256157 w 1471421"/>
                <a:gd name="connsiteY28" fmla="*/ 736854 h 875728"/>
                <a:gd name="connsiteX29" fmla="*/ 1256157 w 1471421"/>
                <a:gd name="connsiteY29" fmla="*/ 745427 h 875728"/>
                <a:gd name="connsiteX30" fmla="*/ 1370457 w 1471421"/>
                <a:gd name="connsiteY30" fmla="*/ 859727 h 875728"/>
                <a:gd name="connsiteX31" fmla="*/ 1471422 w 1471421"/>
                <a:gd name="connsiteY31" fmla="*/ 859727 h 875728"/>
                <a:gd name="connsiteX32" fmla="*/ 1471422 w 1471421"/>
                <a:gd name="connsiteY32" fmla="*/ 843439 h 875728"/>
                <a:gd name="connsiteX33" fmla="*/ 1471422 w 1471421"/>
                <a:gd name="connsiteY33" fmla="*/ 390620 h 875728"/>
                <a:gd name="connsiteX34" fmla="*/ 1471422 w 1471421"/>
                <a:gd name="connsiteY34" fmla="*/ 191 h 875728"/>
                <a:gd name="connsiteX35" fmla="*/ 157829 w 1471421"/>
                <a:gd name="connsiteY35" fmla="*/ 191 h 875728"/>
                <a:gd name="connsiteX36" fmla="*/ 1255395 w 1471421"/>
                <a:gd name="connsiteY36" fmla="*/ 736663 h 875728"/>
                <a:gd name="connsiteX37" fmla="*/ 947452 w 1471421"/>
                <a:gd name="connsiteY37" fmla="*/ 736663 h 875728"/>
                <a:gd name="connsiteX38" fmla="*/ 947452 w 1471421"/>
                <a:gd name="connsiteY38" fmla="*/ 496157 h 875728"/>
                <a:gd name="connsiteX39" fmla="*/ 1062609 w 1471421"/>
                <a:gd name="connsiteY39" fmla="*/ 381857 h 875728"/>
                <a:gd name="connsiteX40" fmla="*/ 1255395 w 1471421"/>
                <a:gd name="connsiteY40" fmla="*/ 381857 h 875728"/>
                <a:gd name="connsiteX41" fmla="*/ 1255395 w 1471421"/>
                <a:gd name="connsiteY41" fmla="*/ 736663 h 875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71421" h="875728">
                  <a:moveTo>
                    <a:pt x="157829" y="0"/>
                  </a:moveTo>
                  <a:lnTo>
                    <a:pt x="157829" y="53245"/>
                  </a:lnTo>
                  <a:lnTo>
                    <a:pt x="157829" y="105632"/>
                  </a:lnTo>
                  <a:cubicBezTo>
                    <a:pt x="157829" y="132683"/>
                    <a:pt x="175832" y="155638"/>
                    <a:pt x="200406" y="163354"/>
                  </a:cubicBezTo>
                  <a:cubicBezTo>
                    <a:pt x="206121" y="165163"/>
                    <a:pt x="212122" y="166116"/>
                    <a:pt x="218313" y="166116"/>
                  </a:cubicBezTo>
                  <a:lnTo>
                    <a:pt x="312515" y="166116"/>
                  </a:lnTo>
                  <a:lnTo>
                    <a:pt x="314134" y="166116"/>
                  </a:lnTo>
                  <a:lnTo>
                    <a:pt x="314801" y="442722"/>
                  </a:lnTo>
                  <a:lnTo>
                    <a:pt x="314801" y="444913"/>
                  </a:lnTo>
                  <a:lnTo>
                    <a:pt x="314801" y="444913"/>
                  </a:lnTo>
                  <a:lnTo>
                    <a:pt x="232982" y="444913"/>
                  </a:lnTo>
                  <a:cubicBezTo>
                    <a:pt x="199263" y="444913"/>
                    <a:pt x="169164" y="467201"/>
                    <a:pt x="162020" y="498538"/>
                  </a:cubicBezTo>
                  <a:cubicBezTo>
                    <a:pt x="160973" y="503015"/>
                    <a:pt x="160496" y="507683"/>
                    <a:pt x="160401" y="512540"/>
                  </a:cubicBezTo>
                  <a:lnTo>
                    <a:pt x="160211" y="543497"/>
                  </a:lnTo>
                  <a:cubicBezTo>
                    <a:pt x="160020" y="576739"/>
                    <a:pt x="132969" y="603980"/>
                    <a:pt x="99726" y="603980"/>
                  </a:cubicBezTo>
                  <a:lnTo>
                    <a:pt x="381" y="603980"/>
                  </a:lnTo>
                  <a:lnTo>
                    <a:pt x="381" y="743712"/>
                  </a:lnTo>
                  <a:lnTo>
                    <a:pt x="0" y="743712"/>
                  </a:lnTo>
                  <a:lnTo>
                    <a:pt x="0" y="747141"/>
                  </a:lnTo>
                  <a:lnTo>
                    <a:pt x="146114" y="747141"/>
                  </a:lnTo>
                  <a:cubicBezTo>
                    <a:pt x="177832" y="747141"/>
                    <a:pt x="203740" y="773049"/>
                    <a:pt x="203740" y="804767"/>
                  </a:cubicBezTo>
                  <a:lnTo>
                    <a:pt x="203740" y="824770"/>
                  </a:lnTo>
                  <a:cubicBezTo>
                    <a:pt x="203740" y="846773"/>
                    <a:pt x="191167" y="866013"/>
                    <a:pt x="172879" y="875729"/>
                  </a:cubicBezTo>
                  <a:lnTo>
                    <a:pt x="232600" y="875729"/>
                  </a:lnTo>
                  <a:cubicBezTo>
                    <a:pt x="274891" y="875729"/>
                    <a:pt x="309943" y="843439"/>
                    <a:pt x="313373" y="801243"/>
                  </a:cubicBezTo>
                  <a:cubicBezTo>
                    <a:pt x="316230" y="765334"/>
                    <a:pt x="346615" y="736854"/>
                    <a:pt x="383191" y="736854"/>
                  </a:cubicBezTo>
                  <a:lnTo>
                    <a:pt x="498539" y="736854"/>
                  </a:lnTo>
                  <a:lnTo>
                    <a:pt x="548068" y="736854"/>
                  </a:lnTo>
                  <a:lnTo>
                    <a:pt x="1256157" y="736854"/>
                  </a:lnTo>
                  <a:lnTo>
                    <a:pt x="1256157" y="745427"/>
                  </a:lnTo>
                  <a:cubicBezTo>
                    <a:pt x="1256157" y="808292"/>
                    <a:pt x="1307592" y="859727"/>
                    <a:pt x="1370457" y="859727"/>
                  </a:cubicBezTo>
                  <a:lnTo>
                    <a:pt x="1471422" y="859727"/>
                  </a:lnTo>
                  <a:lnTo>
                    <a:pt x="1471422" y="843439"/>
                  </a:lnTo>
                  <a:lnTo>
                    <a:pt x="1471422" y="390620"/>
                  </a:lnTo>
                  <a:lnTo>
                    <a:pt x="1471422" y="191"/>
                  </a:lnTo>
                  <a:lnTo>
                    <a:pt x="157829" y="191"/>
                  </a:lnTo>
                  <a:close/>
                  <a:moveTo>
                    <a:pt x="1255395" y="736663"/>
                  </a:moveTo>
                  <a:lnTo>
                    <a:pt x="947452" y="736663"/>
                  </a:lnTo>
                  <a:lnTo>
                    <a:pt x="947452" y="496157"/>
                  </a:lnTo>
                  <a:cubicBezTo>
                    <a:pt x="947452" y="433292"/>
                    <a:pt x="999268" y="381857"/>
                    <a:pt x="1062609" y="381857"/>
                  </a:cubicBezTo>
                  <a:lnTo>
                    <a:pt x="1255395" y="381857"/>
                  </a:lnTo>
                  <a:lnTo>
                    <a:pt x="1255395" y="736663"/>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90" name="Freeform: Shape 129">
              <a:extLst>
                <a:ext uri="{FF2B5EF4-FFF2-40B4-BE49-F238E27FC236}">
                  <a16:creationId xmlns:a16="http://schemas.microsoft.com/office/drawing/2014/main" id="{6D3E6CC3-0915-AF29-1F05-E46DB5FC9A21}"/>
                </a:ext>
              </a:extLst>
            </p:cNvPr>
            <p:cNvSpPr/>
            <p:nvPr/>
          </p:nvSpPr>
          <p:spPr>
            <a:xfrm>
              <a:off x="5911136" y="3026362"/>
              <a:ext cx="307943" cy="354806"/>
            </a:xfrm>
            <a:custGeom>
              <a:avLst/>
              <a:gdLst>
                <a:gd name="connsiteX0" fmla="*/ 115158 w 307943"/>
                <a:gd name="connsiteY0" fmla="*/ 0 h 354806"/>
                <a:gd name="connsiteX1" fmla="*/ 0 w 307943"/>
                <a:gd name="connsiteY1" fmla="*/ 114300 h 354806"/>
                <a:gd name="connsiteX2" fmla="*/ 0 w 307943"/>
                <a:gd name="connsiteY2" fmla="*/ 354806 h 354806"/>
                <a:gd name="connsiteX3" fmla="*/ 307943 w 307943"/>
                <a:gd name="connsiteY3" fmla="*/ 354806 h 354806"/>
                <a:gd name="connsiteX4" fmla="*/ 307943 w 307943"/>
                <a:gd name="connsiteY4" fmla="*/ 0 h 354806"/>
                <a:gd name="connsiteX5" fmla="*/ 115158 w 307943"/>
                <a:gd name="connsiteY5" fmla="*/ 0 h 354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943" h="354806">
                  <a:moveTo>
                    <a:pt x="115158" y="0"/>
                  </a:moveTo>
                  <a:cubicBezTo>
                    <a:pt x="51816" y="0"/>
                    <a:pt x="0" y="51435"/>
                    <a:pt x="0" y="114300"/>
                  </a:cubicBezTo>
                  <a:lnTo>
                    <a:pt x="0" y="354806"/>
                  </a:lnTo>
                  <a:lnTo>
                    <a:pt x="307943" y="354806"/>
                  </a:lnTo>
                  <a:lnTo>
                    <a:pt x="307943" y="0"/>
                  </a:lnTo>
                  <a:lnTo>
                    <a:pt x="11515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91" name="Freeform: Shape 130">
              <a:extLst>
                <a:ext uri="{FF2B5EF4-FFF2-40B4-BE49-F238E27FC236}">
                  <a16:creationId xmlns:a16="http://schemas.microsoft.com/office/drawing/2014/main" id="{EBC1E6A1-416D-98F1-F52B-6657C01B3CB4}"/>
                </a:ext>
              </a:extLst>
            </p:cNvPr>
            <p:cNvSpPr/>
            <p:nvPr/>
          </p:nvSpPr>
          <p:spPr>
            <a:xfrm>
              <a:off x="4803283" y="-24876"/>
              <a:ext cx="1632204" cy="2667095"/>
            </a:xfrm>
            <a:custGeom>
              <a:avLst/>
              <a:gdLst>
                <a:gd name="connsiteX0" fmla="*/ 1496949 w 1632204"/>
                <a:gd name="connsiteY0" fmla="*/ 1233678 h 2667095"/>
                <a:gd name="connsiteX1" fmla="*/ 1436942 w 1632204"/>
                <a:gd name="connsiteY1" fmla="*/ 1173671 h 2667095"/>
                <a:gd name="connsiteX2" fmla="*/ 1436942 w 1632204"/>
                <a:gd name="connsiteY2" fmla="*/ 1152811 h 2667095"/>
                <a:gd name="connsiteX3" fmla="*/ 1496949 w 1632204"/>
                <a:gd name="connsiteY3" fmla="*/ 1092803 h 2667095"/>
                <a:gd name="connsiteX4" fmla="*/ 1629346 w 1632204"/>
                <a:gd name="connsiteY4" fmla="*/ 1092803 h 2667095"/>
                <a:gd name="connsiteX5" fmla="*/ 1629823 w 1632204"/>
                <a:gd name="connsiteY5" fmla="*/ 596932 h 2667095"/>
                <a:gd name="connsiteX6" fmla="*/ 1264444 w 1632204"/>
                <a:gd name="connsiteY6" fmla="*/ 596932 h 2667095"/>
                <a:gd name="connsiteX7" fmla="*/ 1264444 w 1632204"/>
                <a:gd name="connsiteY7" fmla="*/ 96869 h 2667095"/>
                <a:gd name="connsiteX8" fmla="*/ 1167574 w 1632204"/>
                <a:gd name="connsiteY8" fmla="*/ 0 h 2667095"/>
                <a:gd name="connsiteX9" fmla="*/ 0 w 1632204"/>
                <a:gd name="connsiteY9" fmla="*/ 0 h 2667095"/>
                <a:gd name="connsiteX10" fmla="*/ 0 w 1632204"/>
                <a:gd name="connsiteY10" fmla="*/ 285464 h 2667095"/>
                <a:gd name="connsiteX11" fmla="*/ 82296 w 1632204"/>
                <a:gd name="connsiteY11" fmla="*/ 285464 h 2667095"/>
                <a:gd name="connsiteX12" fmla="*/ 218789 w 1632204"/>
                <a:gd name="connsiteY12" fmla="*/ 421958 h 2667095"/>
                <a:gd name="connsiteX13" fmla="*/ 218789 w 1632204"/>
                <a:gd name="connsiteY13" fmla="*/ 599980 h 2667095"/>
                <a:gd name="connsiteX14" fmla="*/ 882587 w 1632204"/>
                <a:gd name="connsiteY14" fmla="*/ 599980 h 2667095"/>
                <a:gd name="connsiteX15" fmla="*/ 879919 w 1632204"/>
                <a:gd name="connsiteY15" fmla="*/ 1064324 h 2667095"/>
                <a:gd name="connsiteX16" fmla="*/ 879919 w 1632204"/>
                <a:gd name="connsiteY16" fmla="*/ 1076516 h 2667095"/>
                <a:gd name="connsiteX17" fmla="*/ 872966 w 1632204"/>
                <a:gd name="connsiteY17" fmla="*/ 1076516 h 2667095"/>
                <a:gd name="connsiteX18" fmla="*/ 864203 w 1632204"/>
                <a:gd name="connsiteY18" fmla="*/ 1076516 h 2667095"/>
                <a:gd name="connsiteX19" fmla="*/ 856011 w 1632204"/>
                <a:gd name="connsiteY19" fmla="*/ 1076897 h 2667095"/>
                <a:gd name="connsiteX20" fmla="*/ 853440 w 1632204"/>
                <a:gd name="connsiteY20" fmla="*/ 1077278 h 2667095"/>
                <a:gd name="connsiteX21" fmla="*/ 848106 w 1632204"/>
                <a:gd name="connsiteY21" fmla="*/ 1078135 h 2667095"/>
                <a:gd name="connsiteX22" fmla="*/ 847439 w 1632204"/>
                <a:gd name="connsiteY22" fmla="*/ 1078325 h 2667095"/>
                <a:gd name="connsiteX23" fmla="*/ 845153 w 1632204"/>
                <a:gd name="connsiteY23" fmla="*/ 1078897 h 2667095"/>
                <a:gd name="connsiteX24" fmla="*/ 840486 w 1632204"/>
                <a:gd name="connsiteY24" fmla="*/ 1080135 h 2667095"/>
                <a:gd name="connsiteX25" fmla="*/ 837438 w 1632204"/>
                <a:gd name="connsiteY25" fmla="*/ 1081183 h 2667095"/>
                <a:gd name="connsiteX26" fmla="*/ 833056 w 1632204"/>
                <a:gd name="connsiteY26" fmla="*/ 1082802 h 2667095"/>
                <a:gd name="connsiteX27" fmla="*/ 830104 w 1632204"/>
                <a:gd name="connsiteY27" fmla="*/ 1084136 h 2667095"/>
                <a:gd name="connsiteX28" fmla="*/ 826008 w 1632204"/>
                <a:gd name="connsiteY28" fmla="*/ 1086136 h 2667095"/>
                <a:gd name="connsiteX29" fmla="*/ 824484 w 1632204"/>
                <a:gd name="connsiteY29" fmla="*/ 1086993 h 2667095"/>
                <a:gd name="connsiteX30" fmla="*/ 823055 w 1632204"/>
                <a:gd name="connsiteY30" fmla="*/ 1087755 h 2667095"/>
                <a:gd name="connsiteX31" fmla="*/ 819150 w 1632204"/>
                <a:gd name="connsiteY31" fmla="*/ 1090136 h 2667095"/>
                <a:gd name="connsiteX32" fmla="*/ 818674 w 1632204"/>
                <a:gd name="connsiteY32" fmla="*/ 1090422 h 2667095"/>
                <a:gd name="connsiteX33" fmla="*/ 816483 w 1632204"/>
                <a:gd name="connsiteY33" fmla="*/ 1091946 h 2667095"/>
                <a:gd name="connsiteX34" fmla="*/ 812768 w 1632204"/>
                <a:gd name="connsiteY34" fmla="*/ 1094708 h 2667095"/>
                <a:gd name="connsiteX35" fmla="*/ 810292 w 1632204"/>
                <a:gd name="connsiteY35" fmla="*/ 1096709 h 2667095"/>
                <a:gd name="connsiteX36" fmla="*/ 806767 w 1632204"/>
                <a:gd name="connsiteY36" fmla="*/ 1099852 h 2667095"/>
                <a:gd name="connsiteX37" fmla="*/ 804577 w 1632204"/>
                <a:gd name="connsiteY37" fmla="*/ 1101947 h 2667095"/>
                <a:gd name="connsiteX38" fmla="*/ 801148 w 1632204"/>
                <a:gd name="connsiteY38" fmla="*/ 1105662 h 2667095"/>
                <a:gd name="connsiteX39" fmla="*/ 799434 w 1632204"/>
                <a:gd name="connsiteY39" fmla="*/ 1107662 h 2667095"/>
                <a:gd name="connsiteX40" fmla="*/ 795909 w 1632204"/>
                <a:gd name="connsiteY40" fmla="*/ 1112330 h 2667095"/>
                <a:gd name="connsiteX41" fmla="*/ 795814 w 1632204"/>
                <a:gd name="connsiteY41" fmla="*/ 1112520 h 2667095"/>
                <a:gd name="connsiteX42" fmla="*/ 794861 w 1632204"/>
                <a:gd name="connsiteY42" fmla="*/ 1113854 h 2667095"/>
                <a:gd name="connsiteX43" fmla="*/ 790765 w 1632204"/>
                <a:gd name="connsiteY43" fmla="*/ 1120521 h 2667095"/>
                <a:gd name="connsiteX44" fmla="*/ 790480 w 1632204"/>
                <a:gd name="connsiteY44" fmla="*/ 1121093 h 2667095"/>
                <a:gd name="connsiteX45" fmla="*/ 787337 w 1632204"/>
                <a:gd name="connsiteY45" fmla="*/ 1127570 h 2667095"/>
                <a:gd name="connsiteX46" fmla="*/ 786479 w 1632204"/>
                <a:gd name="connsiteY46" fmla="*/ 1129951 h 2667095"/>
                <a:gd name="connsiteX47" fmla="*/ 784669 w 1632204"/>
                <a:gd name="connsiteY47" fmla="*/ 1134904 h 2667095"/>
                <a:gd name="connsiteX48" fmla="*/ 783908 w 1632204"/>
                <a:gd name="connsiteY48" fmla="*/ 1137666 h 2667095"/>
                <a:gd name="connsiteX49" fmla="*/ 783908 w 1632204"/>
                <a:gd name="connsiteY49" fmla="*/ 1137857 h 2667095"/>
                <a:gd name="connsiteX50" fmla="*/ 782669 w 1632204"/>
                <a:gd name="connsiteY50" fmla="*/ 1142524 h 2667095"/>
                <a:gd name="connsiteX51" fmla="*/ 782574 w 1632204"/>
                <a:gd name="connsiteY51" fmla="*/ 1143000 h 2667095"/>
                <a:gd name="connsiteX52" fmla="*/ 782098 w 1632204"/>
                <a:gd name="connsiteY52" fmla="*/ 1145762 h 2667095"/>
                <a:gd name="connsiteX53" fmla="*/ 780764 w 1632204"/>
                <a:gd name="connsiteY53" fmla="*/ 1160336 h 2667095"/>
                <a:gd name="connsiteX54" fmla="*/ 709517 w 1632204"/>
                <a:gd name="connsiteY54" fmla="*/ 1218438 h 2667095"/>
                <a:gd name="connsiteX55" fmla="*/ 702850 w 1632204"/>
                <a:gd name="connsiteY55" fmla="*/ 1218819 h 2667095"/>
                <a:gd name="connsiteX56" fmla="*/ 700754 w 1632204"/>
                <a:gd name="connsiteY56" fmla="*/ 1219010 h 2667095"/>
                <a:gd name="connsiteX57" fmla="*/ 699802 w 1632204"/>
                <a:gd name="connsiteY57" fmla="*/ 1219105 h 2667095"/>
                <a:gd name="connsiteX58" fmla="*/ 693801 w 1632204"/>
                <a:gd name="connsiteY58" fmla="*/ 1220057 h 2667095"/>
                <a:gd name="connsiteX59" fmla="*/ 692563 w 1632204"/>
                <a:gd name="connsiteY59" fmla="*/ 1220248 h 2667095"/>
                <a:gd name="connsiteX60" fmla="*/ 627031 w 1632204"/>
                <a:gd name="connsiteY60" fmla="*/ 1290923 h 2667095"/>
                <a:gd name="connsiteX61" fmla="*/ 626745 w 1632204"/>
                <a:gd name="connsiteY61" fmla="*/ 1359884 h 2667095"/>
                <a:gd name="connsiteX62" fmla="*/ 626174 w 1632204"/>
                <a:gd name="connsiteY62" fmla="*/ 1359884 h 2667095"/>
                <a:gd name="connsiteX63" fmla="*/ 626174 w 1632204"/>
                <a:gd name="connsiteY63" fmla="*/ 1359884 h 2667095"/>
                <a:gd name="connsiteX64" fmla="*/ 887349 w 1632204"/>
                <a:gd name="connsiteY64" fmla="*/ 1359884 h 2667095"/>
                <a:gd name="connsiteX65" fmla="*/ 957358 w 1632204"/>
                <a:gd name="connsiteY65" fmla="*/ 1429893 h 2667095"/>
                <a:gd name="connsiteX66" fmla="*/ 957358 w 1632204"/>
                <a:gd name="connsiteY66" fmla="*/ 1454277 h 2667095"/>
                <a:gd name="connsiteX67" fmla="*/ 887349 w 1632204"/>
                <a:gd name="connsiteY67" fmla="*/ 1524286 h 2667095"/>
                <a:gd name="connsiteX68" fmla="*/ 626174 w 1632204"/>
                <a:gd name="connsiteY68" fmla="*/ 1524286 h 2667095"/>
                <a:gd name="connsiteX69" fmla="*/ 626174 w 1632204"/>
                <a:gd name="connsiteY69" fmla="*/ 1814417 h 2667095"/>
                <a:gd name="connsiteX70" fmla="*/ 626174 w 1632204"/>
                <a:gd name="connsiteY70" fmla="*/ 1959959 h 2667095"/>
                <a:gd name="connsiteX71" fmla="*/ 1134046 w 1632204"/>
                <a:gd name="connsiteY71" fmla="*/ 1959959 h 2667095"/>
                <a:gd name="connsiteX72" fmla="*/ 1249204 w 1632204"/>
                <a:gd name="connsiteY72" fmla="*/ 2074259 h 2667095"/>
                <a:gd name="connsiteX73" fmla="*/ 1249204 w 1632204"/>
                <a:gd name="connsiteY73" fmla="*/ 2667095 h 2667095"/>
                <a:gd name="connsiteX74" fmla="*/ 1632204 w 1632204"/>
                <a:gd name="connsiteY74" fmla="*/ 2667095 h 2667095"/>
                <a:gd name="connsiteX75" fmla="*/ 1632204 w 1632204"/>
                <a:gd name="connsiteY75" fmla="*/ 1233678 h 2667095"/>
                <a:gd name="connsiteX76" fmla="*/ 1496949 w 1632204"/>
                <a:gd name="connsiteY76" fmla="*/ 1233678 h 2667095"/>
                <a:gd name="connsiteX77" fmla="*/ 1277398 w 1632204"/>
                <a:gd name="connsiteY77" fmla="*/ 1311974 h 2667095"/>
                <a:gd name="connsiteX78" fmla="*/ 1217390 w 1632204"/>
                <a:gd name="connsiteY78" fmla="*/ 1371981 h 2667095"/>
                <a:gd name="connsiteX79" fmla="*/ 1196530 w 1632204"/>
                <a:gd name="connsiteY79" fmla="*/ 1371981 h 2667095"/>
                <a:gd name="connsiteX80" fmla="*/ 1136523 w 1632204"/>
                <a:gd name="connsiteY80" fmla="*/ 1313117 h 2667095"/>
                <a:gd name="connsiteX81" fmla="*/ 1055560 w 1632204"/>
                <a:gd name="connsiteY81" fmla="*/ 1233583 h 2667095"/>
                <a:gd name="connsiteX82" fmla="*/ 1016222 w 1632204"/>
                <a:gd name="connsiteY82" fmla="*/ 1233583 h 2667095"/>
                <a:gd name="connsiteX83" fmla="*/ 956215 w 1632204"/>
                <a:gd name="connsiteY83" fmla="*/ 1173575 h 2667095"/>
                <a:gd name="connsiteX84" fmla="*/ 956215 w 1632204"/>
                <a:gd name="connsiteY84" fmla="*/ 1152716 h 2667095"/>
                <a:gd name="connsiteX85" fmla="*/ 1016222 w 1632204"/>
                <a:gd name="connsiteY85" fmla="*/ 1092708 h 2667095"/>
                <a:gd name="connsiteX86" fmla="*/ 1181005 w 1632204"/>
                <a:gd name="connsiteY86" fmla="*/ 1092708 h 2667095"/>
                <a:gd name="connsiteX87" fmla="*/ 1189959 w 1632204"/>
                <a:gd name="connsiteY87" fmla="*/ 1092232 h 2667095"/>
                <a:gd name="connsiteX88" fmla="*/ 1196530 w 1632204"/>
                <a:gd name="connsiteY88" fmla="*/ 1091851 h 2667095"/>
                <a:gd name="connsiteX89" fmla="*/ 1217390 w 1632204"/>
                <a:gd name="connsiteY89" fmla="*/ 1091851 h 2667095"/>
                <a:gd name="connsiteX90" fmla="*/ 1277398 w 1632204"/>
                <a:gd name="connsiteY90" fmla="*/ 1151858 h 2667095"/>
                <a:gd name="connsiteX91" fmla="*/ 1277398 w 1632204"/>
                <a:gd name="connsiteY91" fmla="*/ 1311974 h 266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632204" h="2667095">
                  <a:moveTo>
                    <a:pt x="1496949" y="1233678"/>
                  </a:moveTo>
                  <a:cubicBezTo>
                    <a:pt x="1463992" y="1233678"/>
                    <a:pt x="1436942" y="1206627"/>
                    <a:pt x="1436942" y="1173671"/>
                  </a:cubicBezTo>
                  <a:lnTo>
                    <a:pt x="1436942" y="1152811"/>
                  </a:lnTo>
                  <a:cubicBezTo>
                    <a:pt x="1436942" y="1119854"/>
                    <a:pt x="1463897" y="1092803"/>
                    <a:pt x="1496949" y="1092803"/>
                  </a:cubicBezTo>
                  <a:lnTo>
                    <a:pt x="1629346" y="1092803"/>
                  </a:lnTo>
                  <a:lnTo>
                    <a:pt x="1629823" y="596932"/>
                  </a:lnTo>
                  <a:lnTo>
                    <a:pt x="1264444" y="596932"/>
                  </a:lnTo>
                  <a:lnTo>
                    <a:pt x="1264444" y="96869"/>
                  </a:lnTo>
                  <a:cubicBezTo>
                    <a:pt x="1264444" y="43434"/>
                    <a:pt x="1221105" y="0"/>
                    <a:pt x="1167574" y="0"/>
                  </a:cubicBezTo>
                  <a:lnTo>
                    <a:pt x="0" y="0"/>
                  </a:lnTo>
                  <a:lnTo>
                    <a:pt x="0" y="285464"/>
                  </a:lnTo>
                  <a:lnTo>
                    <a:pt x="82296" y="285464"/>
                  </a:lnTo>
                  <a:cubicBezTo>
                    <a:pt x="157734" y="285464"/>
                    <a:pt x="218789" y="346615"/>
                    <a:pt x="218789" y="421958"/>
                  </a:cubicBezTo>
                  <a:lnTo>
                    <a:pt x="218789" y="599980"/>
                  </a:lnTo>
                  <a:lnTo>
                    <a:pt x="882587" y="599980"/>
                  </a:lnTo>
                  <a:cubicBezTo>
                    <a:pt x="882587" y="790861"/>
                    <a:pt x="879634" y="920306"/>
                    <a:pt x="879919" y="1064324"/>
                  </a:cubicBezTo>
                  <a:cubicBezTo>
                    <a:pt x="880967" y="1072229"/>
                    <a:pt x="881062" y="1076516"/>
                    <a:pt x="879919" y="1076516"/>
                  </a:cubicBezTo>
                  <a:lnTo>
                    <a:pt x="872966" y="1076516"/>
                  </a:lnTo>
                  <a:cubicBezTo>
                    <a:pt x="869537" y="1076611"/>
                    <a:pt x="866489" y="1076516"/>
                    <a:pt x="864203" y="1076516"/>
                  </a:cubicBezTo>
                  <a:cubicBezTo>
                    <a:pt x="861441" y="1076516"/>
                    <a:pt x="858679" y="1076706"/>
                    <a:pt x="856011" y="1076897"/>
                  </a:cubicBezTo>
                  <a:cubicBezTo>
                    <a:pt x="855155" y="1076992"/>
                    <a:pt x="854297" y="1077182"/>
                    <a:pt x="853440" y="1077278"/>
                  </a:cubicBezTo>
                  <a:cubicBezTo>
                    <a:pt x="851630" y="1077468"/>
                    <a:pt x="849821" y="1077754"/>
                    <a:pt x="848106" y="1078135"/>
                  </a:cubicBezTo>
                  <a:cubicBezTo>
                    <a:pt x="847915" y="1078135"/>
                    <a:pt x="847630" y="1078230"/>
                    <a:pt x="847439" y="1078325"/>
                  </a:cubicBezTo>
                  <a:cubicBezTo>
                    <a:pt x="846677" y="1078516"/>
                    <a:pt x="845915" y="1078706"/>
                    <a:pt x="845153" y="1078897"/>
                  </a:cubicBezTo>
                  <a:cubicBezTo>
                    <a:pt x="843534" y="1079278"/>
                    <a:pt x="842010" y="1079659"/>
                    <a:pt x="840486" y="1080135"/>
                  </a:cubicBezTo>
                  <a:cubicBezTo>
                    <a:pt x="839438" y="1080421"/>
                    <a:pt x="838486" y="1080802"/>
                    <a:pt x="837438" y="1081183"/>
                  </a:cubicBezTo>
                  <a:cubicBezTo>
                    <a:pt x="836009" y="1081659"/>
                    <a:pt x="834485" y="1082231"/>
                    <a:pt x="833056" y="1082802"/>
                  </a:cubicBezTo>
                  <a:cubicBezTo>
                    <a:pt x="832009" y="1083183"/>
                    <a:pt x="831056" y="1083659"/>
                    <a:pt x="830104" y="1084136"/>
                  </a:cubicBezTo>
                  <a:cubicBezTo>
                    <a:pt x="828675" y="1084802"/>
                    <a:pt x="827342" y="1085374"/>
                    <a:pt x="826008" y="1086136"/>
                  </a:cubicBezTo>
                  <a:cubicBezTo>
                    <a:pt x="825532" y="1086422"/>
                    <a:pt x="825055" y="1086707"/>
                    <a:pt x="824484" y="1086993"/>
                  </a:cubicBezTo>
                  <a:cubicBezTo>
                    <a:pt x="824008" y="1087279"/>
                    <a:pt x="823531" y="1087469"/>
                    <a:pt x="823055" y="1087755"/>
                  </a:cubicBezTo>
                  <a:cubicBezTo>
                    <a:pt x="821722" y="1088517"/>
                    <a:pt x="820483" y="1089279"/>
                    <a:pt x="819150" y="1090136"/>
                  </a:cubicBezTo>
                  <a:cubicBezTo>
                    <a:pt x="818960" y="1090232"/>
                    <a:pt x="818864" y="1090327"/>
                    <a:pt x="818674" y="1090422"/>
                  </a:cubicBezTo>
                  <a:cubicBezTo>
                    <a:pt x="817911" y="1090898"/>
                    <a:pt x="817150" y="1091375"/>
                    <a:pt x="816483" y="1091946"/>
                  </a:cubicBezTo>
                  <a:cubicBezTo>
                    <a:pt x="815245" y="1092803"/>
                    <a:pt x="814006" y="1093756"/>
                    <a:pt x="812768" y="1094708"/>
                  </a:cubicBezTo>
                  <a:cubicBezTo>
                    <a:pt x="811911" y="1095375"/>
                    <a:pt x="811149" y="1095947"/>
                    <a:pt x="810292" y="1096709"/>
                  </a:cubicBezTo>
                  <a:cubicBezTo>
                    <a:pt x="809053" y="1097756"/>
                    <a:pt x="807910" y="1098804"/>
                    <a:pt x="806767" y="1099852"/>
                  </a:cubicBezTo>
                  <a:cubicBezTo>
                    <a:pt x="806005" y="1100519"/>
                    <a:pt x="805339" y="1101185"/>
                    <a:pt x="804577" y="1101947"/>
                  </a:cubicBezTo>
                  <a:cubicBezTo>
                    <a:pt x="803434" y="1103186"/>
                    <a:pt x="802291" y="1104424"/>
                    <a:pt x="801148" y="1105662"/>
                  </a:cubicBezTo>
                  <a:cubicBezTo>
                    <a:pt x="800576" y="1106329"/>
                    <a:pt x="799910" y="1106996"/>
                    <a:pt x="799434" y="1107662"/>
                  </a:cubicBezTo>
                  <a:cubicBezTo>
                    <a:pt x="798195" y="1109186"/>
                    <a:pt x="797052" y="1110710"/>
                    <a:pt x="795909" y="1112330"/>
                  </a:cubicBezTo>
                  <a:cubicBezTo>
                    <a:pt x="795909" y="1112425"/>
                    <a:pt x="795814" y="1112425"/>
                    <a:pt x="795814" y="1112520"/>
                  </a:cubicBezTo>
                  <a:cubicBezTo>
                    <a:pt x="795528" y="1112996"/>
                    <a:pt x="795147" y="1113377"/>
                    <a:pt x="794861" y="1113854"/>
                  </a:cubicBezTo>
                  <a:cubicBezTo>
                    <a:pt x="793433" y="1116044"/>
                    <a:pt x="792004" y="1118235"/>
                    <a:pt x="790765" y="1120521"/>
                  </a:cubicBezTo>
                  <a:cubicBezTo>
                    <a:pt x="790670" y="1120712"/>
                    <a:pt x="790575" y="1120902"/>
                    <a:pt x="790480" y="1121093"/>
                  </a:cubicBezTo>
                  <a:cubicBezTo>
                    <a:pt x="789336" y="1123188"/>
                    <a:pt x="788289" y="1125379"/>
                    <a:pt x="787337" y="1127570"/>
                  </a:cubicBezTo>
                  <a:cubicBezTo>
                    <a:pt x="787051" y="1128332"/>
                    <a:pt x="786765" y="1129094"/>
                    <a:pt x="786479" y="1129951"/>
                  </a:cubicBezTo>
                  <a:cubicBezTo>
                    <a:pt x="785812" y="1131570"/>
                    <a:pt x="785146" y="1133285"/>
                    <a:pt x="784669" y="1134904"/>
                  </a:cubicBezTo>
                  <a:cubicBezTo>
                    <a:pt x="784384" y="1135856"/>
                    <a:pt x="784098" y="1136714"/>
                    <a:pt x="783908" y="1137666"/>
                  </a:cubicBezTo>
                  <a:cubicBezTo>
                    <a:pt x="783908" y="1137761"/>
                    <a:pt x="783908" y="1137761"/>
                    <a:pt x="783908" y="1137857"/>
                  </a:cubicBezTo>
                  <a:cubicBezTo>
                    <a:pt x="783431" y="1139381"/>
                    <a:pt x="783050" y="1141000"/>
                    <a:pt x="782669" y="1142524"/>
                  </a:cubicBezTo>
                  <a:cubicBezTo>
                    <a:pt x="782669" y="1142714"/>
                    <a:pt x="782574" y="1142905"/>
                    <a:pt x="782574" y="1143000"/>
                  </a:cubicBezTo>
                  <a:cubicBezTo>
                    <a:pt x="782383" y="1143953"/>
                    <a:pt x="782193" y="1144810"/>
                    <a:pt x="782098" y="1145762"/>
                  </a:cubicBezTo>
                  <a:cubicBezTo>
                    <a:pt x="781240" y="1150525"/>
                    <a:pt x="780764" y="1155287"/>
                    <a:pt x="780764" y="1160336"/>
                  </a:cubicBezTo>
                  <a:cubicBezTo>
                    <a:pt x="780288" y="1185863"/>
                    <a:pt x="744760" y="1217771"/>
                    <a:pt x="709517" y="1218438"/>
                  </a:cubicBezTo>
                  <a:cubicBezTo>
                    <a:pt x="707231" y="1218438"/>
                    <a:pt x="705040" y="1218628"/>
                    <a:pt x="702850" y="1218819"/>
                  </a:cubicBezTo>
                  <a:cubicBezTo>
                    <a:pt x="702183" y="1218914"/>
                    <a:pt x="701421" y="1218914"/>
                    <a:pt x="700754" y="1219010"/>
                  </a:cubicBezTo>
                  <a:cubicBezTo>
                    <a:pt x="700469" y="1219010"/>
                    <a:pt x="700087" y="1219105"/>
                    <a:pt x="699802" y="1219105"/>
                  </a:cubicBezTo>
                  <a:cubicBezTo>
                    <a:pt x="697801" y="1219391"/>
                    <a:pt x="695801" y="1219676"/>
                    <a:pt x="693801" y="1220057"/>
                  </a:cubicBezTo>
                  <a:cubicBezTo>
                    <a:pt x="693420" y="1220153"/>
                    <a:pt x="692943" y="1220248"/>
                    <a:pt x="692563" y="1220248"/>
                  </a:cubicBezTo>
                  <a:cubicBezTo>
                    <a:pt x="658273" y="1227487"/>
                    <a:pt x="631698" y="1255871"/>
                    <a:pt x="627031" y="1290923"/>
                  </a:cubicBezTo>
                  <a:lnTo>
                    <a:pt x="626745" y="1359884"/>
                  </a:lnTo>
                  <a:lnTo>
                    <a:pt x="626174" y="1359884"/>
                  </a:lnTo>
                  <a:lnTo>
                    <a:pt x="626174" y="1359884"/>
                  </a:lnTo>
                  <a:lnTo>
                    <a:pt x="887349" y="1359884"/>
                  </a:lnTo>
                  <a:cubicBezTo>
                    <a:pt x="925830" y="1359884"/>
                    <a:pt x="957358" y="1391412"/>
                    <a:pt x="957358" y="1429893"/>
                  </a:cubicBezTo>
                  <a:lnTo>
                    <a:pt x="957358" y="1454277"/>
                  </a:lnTo>
                  <a:cubicBezTo>
                    <a:pt x="957358" y="1492758"/>
                    <a:pt x="925830" y="1524286"/>
                    <a:pt x="887349" y="1524286"/>
                  </a:cubicBezTo>
                  <a:lnTo>
                    <a:pt x="626174" y="1524286"/>
                  </a:lnTo>
                  <a:lnTo>
                    <a:pt x="626174" y="1814417"/>
                  </a:lnTo>
                  <a:lnTo>
                    <a:pt x="626174" y="1959959"/>
                  </a:lnTo>
                  <a:lnTo>
                    <a:pt x="1134046" y="1959959"/>
                  </a:lnTo>
                  <a:cubicBezTo>
                    <a:pt x="1197388" y="1959959"/>
                    <a:pt x="1249204" y="2011394"/>
                    <a:pt x="1249204" y="2074259"/>
                  </a:cubicBezTo>
                  <a:lnTo>
                    <a:pt x="1249204" y="2667095"/>
                  </a:lnTo>
                  <a:lnTo>
                    <a:pt x="1632204" y="2667095"/>
                  </a:lnTo>
                  <a:lnTo>
                    <a:pt x="1632204" y="1233678"/>
                  </a:lnTo>
                  <a:lnTo>
                    <a:pt x="1496949" y="1233678"/>
                  </a:lnTo>
                  <a:close/>
                  <a:moveTo>
                    <a:pt x="1277398" y="1311974"/>
                  </a:moveTo>
                  <a:cubicBezTo>
                    <a:pt x="1277398" y="1344930"/>
                    <a:pt x="1250442" y="1371981"/>
                    <a:pt x="1217390" y="1371981"/>
                  </a:cubicBezTo>
                  <a:lnTo>
                    <a:pt x="1196530" y="1371981"/>
                  </a:lnTo>
                  <a:cubicBezTo>
                    <a:pt x="1163955" y="1371981"/>
                    <a:pt x="1137190" y="1345597"/>
                    <a:pt x="1136523" y="1313117"/>
                  </a:cubicBezTo>
                  <a:cubicBezTo>
                    <a:pt x="1135666" y="1269016"/>
                    <a:pt x="1099661" y="1233583"/>
                    <a:pt x="1055560" y="1233583"/>
                  </a:cubicBezTo>
                  <a:lnTo>
                    <a:pt x="1016222" y="1233583"/>
                  </a:lnTo>
                  <a:cubicBezTo>
                    <a:pt x="983266" y="1233583"/>
                    <a:pt x="956215" y="1206627"/>
                    <a:pt x="956215" y="1173575"/>
                  </a:cubicBezTo>
                  <a:lnTo>
                    <a:pt x="956215" y="1152716"/>
                  </a:lnTo>
                  <a:cubicBezTo>
                    <a:pt x="956215" y="1119759"/>
                    <a:pt x="983171" y="1092708"/>
                    <a:pt x="1016222" y="1092708"/>
                  </a:cubicBezTo>
                  <a:lnTo>
                    <a:pt x="1181005" y="1092708"/>
                  </a:lnTo>
                  <a:cubicBezTo>
                    <a:pt x="1184148" y="1092708"/>
                    <a:pt x="1186815" y="1092518"/>
                    <a:pt x="1189959" y="1092232"/>
                  </a:cubicBezTo>
                  <a:cubicBezTo>
                    <a:pt x="1192149" y="1091946"/>
                    <a:pt x="1194340" y="1091851"/>
                    <a:pt x="1196530" y="1091851"/>
                  </a:cubicBezTo>
                  <a:lnTo>
                    <a:pt x="1217390" y="1091851"/>
                  </a:lnTo>
                  <a:cubicBezTo>
                    <a:pt x="1250347" y="1091851"/>
                    <a:pt x="1277398" y="1118807"/>
                    <a:pt x="1277398" y="1151858"/>
                  </a:cubicBezTo>
                  <a:lnTo>
                    <a:pt x="1277398" y="1311974"/>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92" name="Freeform: Shape 131">
              <a:extLst>
                <a:ext uri="{FF2B5EF4-FFF2-40B4-BE49-F238E27FC236}">
                  <a16:creationId xmlns:a16="http://schemas.microsoft.com/office/drawing/2014/main" id="{6D55D8BD-8A68-B90A-6C2E-E758B3E4E2EF}"/>
                </a:ext>
              </a:extLst>
            </p:cNvPr>
            <p:cNvSpPr/>
            <p:nvPr/>
          </p:nvSpPr>
          <p:spPr>
            <a:xfrm>
              <a:off x="5121228" y="1934892"/>
              <a:ext cx="931164" cy="707326"/>
            </a:xfrm>
            <a:custGeom>
              <a:avLst/>
              <a:gdLst>
                <a:gd name="connsiteX0" fmla="*/ 931164 w 931164"/>
                <a:gd name="connsiteY0" fmla="*/ 114300 h 707326"/>
                <a:gd name="connsiteX1" fmla="*/ 816007 w 931164"/>
                <a:gd name="connsiteY1" fmla="*/ 0 h 707326"/>
                <a:gd name="connsiteX2" fmla="*/ 308134 w 931164"/>
                <a:gd name="connsiteY2" fmla="*/ 0 h 707326"/>
                <a:gd name="connsiteX3" fmla="*/ 308134 w 931164"/>
                <a:gd name="connsiteY3" fmla="*/ 143827 h 707326"/>
                <a:gd name="connsiteX4" fmla="*/ 308229 w 931164"/>
                <a:gd name="connsiteY4" fmla="*/ 143827 h 707326"/>
                <a:gd name="connsiteX5" fmla="*/ 308229 w 931164"/>
                <a:gd name="connsiteY5" fmla="*/ 206883 h 707326"/>
                <a:gd name="connsiteX6" fmla="*/ 308229 w 931164"/>
                <a:gd name="connsiteY6" fmla="*/ 219742 h 707326"/>
                <a:gd name="connsiteX7" fmla="*/ 308229 w 931164"/>
                <a:gd name="connsiteY7" fmla="*/ 227933 h 707326"/>
                <a:gd name="connsiteX8" fmla="*/ 308134 w 931164"/>
                <a:gd name="connsiteY8" fmla="*/ 229171 h 707326"/>
                <a:gd name="connsiteX9" fmla="*/ 308134 w 931164"/>
                <a:gd name="connsiteY9" fmla="*/ 230696 h 707326"/>
                <a:gd name="connsiteX10" fmla="*/ 307943 w 931164"/>
                <a:gd name="connsiteY10" fmla="*/ 232410 h 707326"/>
                <a:gd name="connsiteX11" fmla="*/ 307658 w 931164"/>
                <a:gd name="connsiteY11" fmla="*/ 235363 h 707326"/>
                <a:gd name="connsiteX12" fmla="*/ 307181 w 931164"/>
                <a:gd name="connsiteY12" fmla="*/ 238411 h 707326"/>
                <a:gd name="connsiteX13" fmla="*/ 306610 w 931164"/>
                <a:gd name="connsiteY13" fmla="*/ 241268 h 707326"/>
                <a:gd name="connsiteX14" fmla="*/ 305848 w 931164"/>
                <a:gd name="connsiteY14" fmla="*/ 244221 h 707326"/>
                <a:gd name="connsiteX15" fmla="*/ 304991 w 931164"/>
                <a:gd name="connsiteY15" fmla="*/ 246983 h 707326"/>
                <a:gd name="connsiteX16" fmla="*/ 303943 w 931164"/>
                <a:gd name="connsiteY16" fmla="*/ 249746 h 707326"/>
                <a:gd name="connsiteX17" fmla="*/ 302895 w 931164"/>
                <a:gd name="connsiteY17" fmla="*/ 252413 h 707326"/>
                <a:gd name="connsiteX18" fmla="*/ 301657 w 931164"/>
                <a:gd name="connsiteY18" fmla="*/ 254984 h 707326"/>
                <a:gd name="connsiteX19" fmla="*/ 300324 w 931164"/>
                <a:gd name="connsiteY19" fmla="*/ 257556 h 707326"/>
                <a:gd name="connsiteX20" fmla="*/ 298799 w 931164"/>
                <a:gd name="connsiteY20" fmla="*/ 260032 h 707326"/>
                <a:gd name="connsiteX21" fmla="*/ 297275 w 931164"/>
                <a:gd name="connsiteY21" fmla="*/ 262414 h 707326"/>
                <a:gd name="connsiteX22" fmla="*/ 295561 w 931164"/>
                <a:gd name="connsiteY22" fmla="*/ 264700 h 707326"/>
                <a:gd name="connsiteX23" fmla="*/ 293751 w 931164"/>
                <a:gd name="connsiteY23" fmla="*/ 266986 h 707326"/>
                <a:gd name="connsiteX24" fmla="*/ 291846 w 931164"/>
                <a:gd name="connsiteY24" fmla="*/ 269081 h 707326"/>
                <a:gd name="connsiteX25" fmla="*/ 289846 w 931164"/>
                <a:gd name="connsiteY25" fmla="*/ 271177 h 707326"/>
                <a:gd name="connsiteX26" fmla="*/ 287655 w 931164"/>
                <a:gd name="connsiteY26" fmla="*/ 273082 h 707326"/>
                <a:gd name="connsiteX27" fmla="*/ 285560 w 931164"/>
                <a:gd name="connsiteY27" fmla="*/ 274892 h 707326"/>
                <a:gd name="connsiteX28" fmla="*/ 283179 w 931164"/>
                <a:gd name="connsiteY28" fmla="*/ 276606 h 707326"/>
                <a:gd name="connsiteX29" fmla="*/ 280892 w 931164"/>
                <a:gd name="connsiteY29" fmla="*/ 278225 h 707326"/>
                <a:gd name="connsiteX30" fmla="*/ 278321 w 931164"/>
                <a:gd name="connsiteY30" fmla="*/ 279749 h 707326"/>
                <a:gd name="connsiteX31" fmla="*/ 275940 w 931164"/>
                <a:gd name="connsiteY31" fmla="*/ 281178 h 707326"/>
                <a:gd name="connsiteX32" fmla="*/ 273177 w 931164"/>
                <a:gd name="connsiteY32" fmla="*/ 282511 h 707326"/>
                <a:gd name="connsiteX33" fmla="*/ 270701 w 931164"/>
                <a:gd name="connsiteY33" fmla="*/ 283655 h 707326"/>
                <a:gd name="connsiteX34" fmla="*/ 267653 w 931164"/>
                <a:gd name="connsiteY34" fmla="*/ 284797 h 707326"/>
                <a:gd name="connsiteX35" fmla="*/ 265272 w 931164"/>
                <a:gd name="connsiteY35" fmla="*/ 285655 h 707326"/>
                <a:gd name="connsiteX36" fmla="*/ 261938 w 931164"/>
                <a:gd name="connsiteY36" fmla="*/ 286512 h 707326"/>
                <a:gd name="connsiteX37" fmla="*/ 259556 w 931164"/>
                <a:gd name="connsiteY37" fmla="*/ 287084 h 707326"/>
                <a:gd name="connsiteX38" fmla="*/ 255651 w 931164"/>
                <a:gd name="connsiteY38" fmla="*/ 287655 h 707326"/>
                <a:gd name="connsiteX39" fmla="*/ 253651 w 931164"/>
                <a:gd name="connsiteY39" fmla="*/ 287941 h 707326"/>
                <a:gd name="connsiteX40" fmla="*/ 247555 w 931164"/>
                <a:gd name="connsiteY40" fmla="*/ 288226 h 707326"/>
                <a:gd name="connsiteX41" fmla="*/ 157449 w 931164"/>
                <a:gd name="connsiteY41" fmla="*/ 288226 h 707326"/>
                <a:gd name="connsiteX42" fmla="*/ 157449 w 931164"/>
                <a:gd name="connsiteY42" fmla="*/ 363950 h 707326"/>
                <a:gd name="connsiteX43" fmla="*/ 96964 w 931164"/>
                <a:gd name="connsiteY43" fmla="*/ 424434 h 707326"/>
                <a:gd name="connsiteX44" fmla="*/ 0 w 931164"/>
                <a:gd name="connsiteY44" fmla="*/ 424434 h 707326"/>
                <a:gd name="connsiteX45" fmla="*/ 0 w 931164"/>
                <a:gd name="connsiteY45" fmla="*/ 707326 h 707326"/>
                <a:gd name="connsiteX46" fmla="*/ 930879 w 931164"/>
                <a:gd name="connsiteY46" fmla="*/ 707326 h 707326"/>
                <a:gd name="connsiteX47" fmla="*/ 930879 w 931164"/>
                <a:gd name="connsiteY47" fmla="*/ 114300 h 70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31164" h="707326">
                  <a:moveTo>
                    <a:pt x="931164" y="114300"/>
                  </a:moveTo>
                  <a:cubicBezTo>
                    <a:pt x="931164" y="51435"/>
                    <a:pt x="879348" y="0"/>
                    <a:pt x="816007" y="0"/>
                  </a:cubicBezTo>
                  <a:lnTo>
                    <a:pt x="308134" y="0"/>
                  </a:lnTo>
                  <a:lnTo>
                    <a:pt x="308134" y="143827"/>
                  </a:lnTo>
                  <a:lnTo>
                    <a:pt x="308229" y="143827"/>
                  </a:lnTo>
                  <a:lnTo>
                    <a:pt x="308229" y="206883"/>
                  </a:lnTo>
                  <a:lnTo>
                    <a:pt x="308229" y="219742"/>
                  </a:lnTo>
                  <a:lnTo>
                    <a:pt x="308229" y="227933"/>
                  </a:lnTo>
                  <a:cubicBezTo>
                    <a:pt x="308229" y="228314"/>
                    <a:pt x="308134" y="228790"/>
                    <a:pt x="308134" y="229171"/>
                  </a:cubicBezTo>
                  <a:lnTo>
                    <a:pt x="308134" y="230696"/>
                  </a:lnTo>
                  <a:cubicBezTo>
                    <a:pt x="308134" y="231267"/>
                    <a:pt x="308039" y="231838"/>
                    <a:pt x="307943" y="232410"/>
                  </a:cubicBezTo>
                  <a:cubicBezTo>
                    <a:pt x="307848" y="233363"/>
                    <a:pt x="307753" y="234315"/>
                    <a:pt x="307658" y="235363"/>
                  </a:cubicBezTo>
                  <a:cubicBezTo>
                    <a:pt x="307563" y="236410"/>
                    <a:pt x="307372" y="237363"/>
                    <a:pt x="307181" y="238411"/>
                  </a:cubicBezTo>
                  <a:cubicBezTo>
                    <a:pt x="306991" y="239363"/>
                    <a:pt x="306800" y="240316"/>
                    <a:pt x="306610" y="241268"/>
                  </a:cubicBezTo>
                  <a:cubicBezTo>
                    <a:pt x="306420" y="242221"/>
                    <a:pt x="306134" y="243173"/>
                    <a:pt x="305848" y="244221"/>
                  </a:cubicBezTo>
                  <a:cubicBezTo>
                    <a:pt x="305562" y="245173"/>
                    <a:pt x="305371" y="246031"/>
                    <a:pt x="304991" y="246983"/>
                  </a:cubicBezTo>
                  <a:cubicBezTo>
                    <a:pt x="304705" y="247936"/>
                    <a:pt x="304324" y="248793"/>
                    <a:pt x="303943" y="249746"/>
                  </a:cubicBezTo>
                  <a:cubicBezTo>
                    <a:pt x="303562" y="250603"/>
                    <a:pt x="303276" y="251555"/>
                    <a:pt x="302895" y="252413"/>
                  </a:cubicBezTo>
                  <a:cubicBezTo>
                    <a:pt x="302514" y="253270"/>
                    <a:pt x="302038" y="254127"/>
                    <a:pt x="301657" y="254984"/>
                  </a:cubicBezTo>
                  <a:cubicBezTo>
                    <a:pt x="301180" y="255842"/>
                    <a:pt x="300800" y="256699"/>
                    <a:pt x="300324" y="257556"/>
                  </a:cubicBezTo>
                  <a:cubicBezTo>
                    <a:pt x="299847" y="258413"/>
                    <a:pt x="299371" y="259175"/>
                    <a:pt x="298799" y="260032"/>
                  </a:cubicBezTo>
                  <a:cubicBezTo>
                    <a:pt x="298323" y="260794"/>
                    <a:pt x="297752" y="261652"/>
                    <a:pt x="297275" y="262414"/>
                  </a:cubicBezTo>
                  <a:cubicBezTo>
                    <a:pt x="296704" y="263176"/>
                    <a:pt x="296133" y="263938"/>
                    <a:pt x="295561" y="264700"/>
                  </a:cubicBezTo>
                  <a:cubicBezTo>
                    <a:pt x="294990" y="265462"/>
                    <a:pt x="294418" y="266224"/>
                    <a:pt x="293751" y="266986"/>
                  </a:cubicBezTo>
                  <a:cubicBezTo>
                    <a:pt x="293180" y="267748"/>
                    <a:pt x="292513" y="268414"/>
                    <a:pt x="291846" y="269081"/>
                  </a:cubicBezTo>
                  <a:cubicBezTo>
                    <a:pt x="291179" y="269748"/>
                    <a:pt x="290513" y="270510"/>
                    <a:pt x="289846" y="271177"/>
                  </a:cubicBezTo>
                  <a:cubicBezTo>
                    <a:pt x="289179" y="271843"/>
                    <a:pt x="288417" y="272510"/>
                    <a:pt x="287655" y="273082"/>
                  </a:cubicBezTo>
                  <a:cubicBezTo>
                    <a:pt x="286988" y="273748"/>
                    <a:pt x="286227" y="274320"/>
                    <a:pt x="285560" y="274892"/>
                  </a:cubicBezTo>
                  <a:cubicBezTo>
                    <a:pt x="284798" y="275463"/>
                    <a:pt x="284036" y="276034"/>
                    <a:pt x="283179" y="276606"/>
                  </a:cubicBezTo>
                  <a:cubicBezTo>
                    <a:pt x="282416" y="277177"/>
                    <a:pt x="281654" y="277749"/>
                    <a:pt x="280892" y="278225"/>
                  </a:cubicBezTo>
                  <a:cubicBezTo>
                    <a:pt x="280035" y="278797"/>
                    <a:pt x="279178" y="279273"/>
                    <a:pt x="278321" y="279749"/>
                  </a:cubicBezTo>
                  <a:cubicBezTo>
                    <a:pt x="277559" y="280225"/>
                    <a:pt x="276796" y="280702"/>
                    <a:pt x="275940" y="281178"/>
                  </a:cubicBezTo>
                  <a:cubicBezTo>
                    <a:pt x="274987" y="281654"/>
                    <a:pt x="274130" y="282130"/>
                    <a:pt x="273177" y="282511"/>
                  </a:cubicBezTo>
                  <a:cubicBezTo>
                    <a:pt x="272320" y="282892"/>
                    <a:pt x="271558" y="283273"/>
                    <a:pt x="270701" y="283655"/>
                  </a:cubicBezTo>
                  <a:cubicBezTo>
                    <a:pt x="269748" y="284035"/>
                    <a:pt x="268700" y="284417"/>
                    <a:pt x="267653" y="284797"/>
                  </a:cubicBezTo>
                  <a:cubicBezTo>
                    <a:pt x="266891" y="285083"/>
                    <a:pt x="266033" y="285369"/>
                    <a:pt x="265272" y="285655"/>
                  </a:cubicBezTo>
                  <a:cubicBezTo>
                    <a:pt x="264129" y="286036"/>
                    <a:pt x="263080" y="286226"/>
                    <a:pt x="261938" y="286512"/>
                  </a:cubicBezTo>
                  <a:cubicBezTo>
                    <a:pt x="261176" y="286702"/>
                    <a:pt x="260414" y="286988"/>
                    <a:pt x="259556" y="287084"/>
                  </a:cubicBezTo>
                  <a:cubicBezTo>
                    <a:pt x="258223" y="287369"/>
                    <a:pt x="256890" y="287464"/>
                    <a:pt x="255651" y="287655"/>
                  </a:cubicBezTo>
                  <a:cubicBezTo>
                    <a:pt x="254984" y="287750"/>
                    <a:pt x="254318" y="287846"/>
                    <a:pt x="253651" y="287941"/>
                  </a:cubicBezTo>
                  <a:cubicBezTo>
                    <a:pt x="251651" y="288131"/>
                    <a:pt x="249650" y="288226"/>
                    <a:pt x="247555" y="288226"/>
                  </a:cubicBezTo>
                  <a:lnTo>
                    <a:pt x="157449" y="288226"/>
                  </a:lnTo>
                  <a:lnTo>
                    <a:pt x="157449" y="363950"/>
                  </a:lnTo>
                  <a:cubicBezTo>
                    <a:pt x="157449" y="397192"/>
                    <a:pt x="130207" y="424434"/>
                    <a:pt x="96964" y="424434"/>
                  </a:cubicBezTo>
                  <a:lnTo>
                    <a:pt x="0" y="424434"/>
                  </a:lnTo>
                  <a:lnTo>
                    <a:pt x="0" y="707326"/>
                  </a:lnTo>
                  <a:lnTo>
                    <a:pt x="930879" y="707326"/>
                  </a:lnTo>
                  <a:lnTo>
                    <a:pt x="930879" y="11430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93" name="Freeform: Shape 132">
              <a:extLst>
                <a:ext uri="{FF2B5EF4-FFF2-40B4-BE49-F238E27FC236}">
                  <a16:creationId xmlns:a16="http://schemas.microsoft.com/office/drawing/2014/main" id="{55CDD6EE-1E72-C46A-AA2D-ACBC9B6C9EE3}"/>
                </a:ext>
              </a:extLst>
            </p:cNvPr>
            <p:cNvSpPr/>
            <p:nvPr/>
          </p:nvSpPr>
          <p:spPr>
            <a:xfrm>
              <a:off x="4648978" y="4562649"/>
              <a:ext cx="325278" cy="429958"/>
            </a:xfrm>
            <a:custGeom>
              <a:avLst/>
              <a:gdLst>
                <a:gd name="connsiteX0" fmla="*/ 211741 w 325278"/>
                <a:gd name="connsiteY0" fmla="*/ 95 h 429958"/>
                <a:gd name="connsiteX1" fmla="*/ 172593 w 325278"/>
                <a:gd name="connsiteY1" fmla="*/ 95 h 429958"/>
                <a:gd name="connsiteX2" fmla="*/ 107252 w 325278"/>
                <a:gd name="connsiteY2" fmla="*/ 95 h 429958"/>
                <a:gd name="connsiteX3" fmla="*/ 95155 w 325278"/>
                <a:gd name="connsiteY3" fmla="*/ 95 h 429958"/>
                <a:gd name="connsiteX4" fmla="*/ 0 w 325278"/>
                <a:gd name="connsiteY4" fmla="*/ 95 h 429958"/>
                <a:gd name="connsiteX5" fmla="*/ 11621 w 325278"/>
                <a:gd name="connsiteY5" fmla="*/ 34004 h 429958"/>
                <a:gd name="connsiteX6" fmla="*/ 11049 w 325278"/>
                <a:gd name="connsiteY6" fmla="*/ 232791 h 429958"/>
                <a:gd name="connsiteX7" fmla="*/ 11049 w 325278"/>
                <a:gd name="connsiteY7" fmla="*/ 236315 h 429958"/>
                <a:gd name="connsiteX8" fmla="*/ 11049 w 325278"/>
                <a:gd name="connsiteY8" fmla="*/ 237839 h 429958"/>
                <a:gd name="connsiteX9" fmla="*/ 11049 w 325278"/>
                <a:gd name="connsiteY9" fmla="*/ 237839 h 429958"/>
                <a:gd name="connsiteX10" fmla="*/ 11144 w 325278"/>
                <a:gd name="connsiteY10" fmla="*/ 239268 h 429958"/>
                <a:gd name="connsiteX11" fmla="*/ 11144 w 325278"/>
                <a:gd name="connsiteY11" fmla="*/ 239268 h 429958"/>
                <a:gd name="connsiteX12" fmla="*/ 11239 w 325278"/>
                <a:gd name="connsiteY12" fmla="*/ 240697 h 429958"/>
                <a:gd name="connsiteX13" fmla="*/ 11239 w 325278"/>
                <a:gd name="connsiteY13" fmla="*/ 240697 h 429958"/>
                <a:gd name="connsiteX14" fmla="*/ 11335 w 325278"/>
                <a:gd name="connsiteY14" fmla="*/ 242126 h 429958"/>
                <a:gd name="connsiteX15" fmla="*/ 11335 w 325278"/>
                <a:gd name="connsiteY15" fmla="*/ 242126 h 429958"/>
                <a:gd name="connsiteX16" fmla="*/ 11525 w 325278"/>
                <a:gd name="connsiteY16" fmla="*/ 243554 h 429958"/>
                <a:gd name="connsiteX17" fmla="*/ 11525 w 325278"/>
                <a:gd name="connsiteY17" fmla="*/ 243554 h 429958"/>
                <a:gd name="connsiteX18" fmla="*/ 11716 w 325278"/>
                <a:gd name="connsiteY18" fmla="*/ 244983 h 429958"/>
                <a:gd name="connsiteX19" fmla="*/ 11716 w 325278"/>
                <a:gd name="connsiteY19" fmla="*/ 244983 h 429958"/>
                <a:gd name="connsiteX20" fmla="*/ 12002 w 325278"/>
                <a:gd name="connsiteY20" fmla="*/ 246412 h 429958"/>
                <a:gd name="connsiteX21" fmla="*/ 12002 w 325278"/>
                <a:gd name="connsiteY21" fmla="*/ 246412 h 429958"/>
                <a:gd name="connsiteX22" fmla="*/ 12287 w 325278"/>
                <a:gd name="connsiteY22" fmla="*/ 247841 h 429958"/>
                <a:gd name="connsiteX23" fmla="*/ 12287 w 325278"/>
                <a:gd name="connsiteY23" fmla="*/ 247841 h 429958"/>
                <a:gd name="connsiteX24" fmla="*/ 12573 w 325278"/>
                <a:gd name="connsiteY24" fmla="*/ 249269 h 429958"/>
                <a:gd name="connsiteX25" fmla="*/ 12573 w 325278"/>
                <a:gd name="connsiteY25" fmla="*/ 249269 h 429958"/>
                <a:gd name="connsiteX26" fmla="*/ 12954 w 325278"/>
                <a:gd name="connsiteY26" fmla="*/ 250698 h 429958"/>
                <a:gd name="connsiteX27" fmla="*/ 12954 w 325278"/>
                <a:gd name="connsiteY27" fmla="*/ 250698 h 429958"/>
                <a:gd name="connsiteX28" fmla="*/ 64294 w 325278"/>
                <a:gd name="connsiteY28" fmla="*/ 293751 h 429958"/>
                <a:gd name="connsiteX29" fmla="*/ 64294 w 325278"/>
                <a:gd name="connsiteY29" fmla="*/ 293751 h 429958"/>
                <a:gd name="connsiteX30" fmla="*/ 65722 w 325278"/>
                <a:gd name="connsiteY30" fmla="*/ 293846 h 429958"/>
                <a:gd name="connsiteX31" fmla="*/ 65722 w 325278"/>
                <a:gd name="connsiteY31" fmla="*/ 293846 h 429958"/>
                <a:gd name="connsiteX32" fmla="*/ 66199 w 325278"/>
                <a:gd name="connsiteY32" fmla="*/ 293846 h 429958"/>
                <a:gd name="connsiteX33" fmla="*/ 69342 w 325278"/>
                <a:gd name="connsiteY33" fmla="*/ 293941 h 429958"/>
                <a:gd name="connsiteX34" fmla="*/ 76771 w 325278"/>
                <a:gd name="connsiteY34" fmla="*/ 293941 h 429958"/>
                <a:gd name="connsiteX35" fmla="*/ 157734 w 325278"/>
                <a:gd name="connsiteY35" fmla="*/ 374904 h 429958"/>
                <a:gd name="connsiteX36" fmla="*/ 157734 w 325278"/>
                <a:gd name="connsiteY36" fmla="*/ 429959 h 429958"/>
                <a:gd name="connsiteX37" fmla="*/ 268510 w 325278"/>
                <a:gd name="connsiteY37" fmla="*/ 429959 h 429958"/>
                <a:gd name="connsiteX38" fmla="*/ 325279 w 325278"/>
                <a:gd name="connsiteY38" fmla="*/ 381476 h 429958"/>
                <a:gd name="connsiteX39" fmla="*/ 325279 w 325278"/>
                <a:gd name="connsiteY39" fmla="*/ 0 h 429958"/>
                <a:gd name="connsiteX40" fmla="*/ 211741 w 325278"/>
                <a:gd name="connsiteY40" fmla="*/ 0 h 42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5278" h="429958">
                  <a:moveTo>
                    <a:pt x="211741" y="95"/>
                  </a:moveTo>
                  <a:lnTo>
                    <a:pt x="172593" y="95"/>
                  </a:lnTo>
                  <a:lnTo>
                    <a:pt x="107252" y="95"/>
                  </a:lnTo>
                  <a:lnTo>
                    <a:pt x="95155" y="95"/>
                  </a:lnTo>
                  <a:lnTo>
                    <a:pt x="0" y="95"/>
                  </a:lnTo>
                  <a:cubicBezTo>
                    <a:pt x="7239" y="7906"/>
                    <a:pt x="11716" y="18764"/>
                    <a:pt x="11621" y="34004"/>
                  </a:cubicBezTo>
                  <a:lnTo>
                    <a:pt x="11049" y="232791"/>
                  </a:lnTo>
                  <a:lnTo>
                    <a:pt x="11049" y="236315"/>
                  </a:lnTo>
                  <a:lnTo>
                    <a:pt x="11049" y="237839"/>
                  </a:lnTo>
                  <a:lnTo>
                    <a:pt x="11049" y="237839"/>
                  </a:lnTo>
                  <a:lnTo>
                    <a:pt x="11144" y="239268"/>
                  </a:lnTo>
                  <a:lnTo>
                    <a:pt x="11144" y="239268"/>
                  </a:lnTo>
                  <a:lnTo>
                    <a:pt x="11239" y="240697"/>
                  </a:lnTo>
                  <a:lnTo>
                    <a:pt x="11239" y="240697"/>
                  </a:lnTo>
                  <a:lnTo>
                    <a:pt x="11335" y="242126"/>
                  </a:lnTo>
                  <a:lnTo>
                    <a:pt x="11335" y="242126"/>
                  </a:lnTo>
                  <a:lnTo>
                    <a:pt x="11525" y="243554"/>
                  </a:lnTo>
                  <a:lnTo>
                    <a:pt x="11525" y="243554"/>
                  </a:lnTo>
                  <a:lnTo>
                    <a:pt x="11716" y="244983"/>
                  </a:lnTo>
                  <a:lnTo>
                    <a:pt x="11716" y="244983"/>
                  </a:lnTo>
                  <a:lnTo>
                    <a:pt x="12002" y="246412"/>
                  </a:lnTo>
                  <a:lnTo>
                    <a:pt x="12002" y="246412"/>
                  </a:lnTo>
                  <a:cubicBezTo>
                    <a:pt x="12097" y="246888"/>
                    <a:pt x="12192" y="247364"/>
                    <a:pt x="12287" y="247841"/>
                  </a:cubicBezTo>
                  <a:lnTo>
                    <a:pt x="12287" y="247841"/>
                  </a:lnTo>
                  <a:lnTo>
                    <a:pt x="12573" y="249269"/>
                  </a:lnTo>
                  <a:lnTo>
                    <a:pt x="12573" y="249269"/>
                  </a:lnTo>
                  <a:lnTo>
                    <a:pt x="12954" y="250698"/>
                  </a:lnTo>
                  <a:lnTo>
                    <a:pt x="12954" y="250698"/>
                  </a:lnTo>
                  <a:cubicBezTo>
                    <a:pt x="19145" y="273844"/>
                    <a:pt x="39434" y="291655"/>
                    <a:pt x="64294" y="293751"/>
                  </a:cubicBezTo>
                  <a:lnTo>
                    <a:pt x="64294" y="293751"/>
                  </a:lnTo>
                  <a:lnTo>
                    <a:pt x="65722" y="293846"/>
                  </a:lnTo>
                  <a:lnTo>
                    <a:pt x="65722" y="293846"/>
                  </a:lnTo>
                  <a:lnTo>
                    <a:pt x="66199" y="293846"/>
                  </a:lnTo>
                  <a:cubicBezTo>
                    <a:pt x="67342" y="293846"/>
                    <a:pt x="68199" y="293941"/>
                    <a:pt x="69342" y="293941"/>
                  </a:cubicBezTo>
                  <a:lnTo>
                    <a:pt x="76771" y="293941"/>
                  </a:lnTo>
                  <a:cubicBezTo>
                    <a:pt x="121349" y="293941"/>
                    <a:pt x="157734" y="330327"/>
                    <a:pt x="157734" y="374904"/>
                  </a:cubicBezTo>
                  <a:lnTo>
                    <a:pt x="157734" y="429959"/>
                  </a:lnTo>
                  <a:lnTo>
                    <a:pt x="268510" y="429959"/>
                  </a:lnTo>
                  <a:cubicBezTo>
                    <a:pt x="297085" y="429959"/>
                    <a:pt x="320898" y="408813"/>
                    <a:pt x="325279" y="381476"/>
                  </a:cubicBezTo>
                  <a:cubicBezTo>
                    <a:pt x="325279" y="381476"/>
                    <a:pt x="325279" y="80201"/>
                    <a:pt x="325279" y="0"/>
                  </a:cubicBezTo>
                  <a:lnTo>
                    <a:pt x="211741"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94" name="Freeform: Shape 133">
              <a:extLst>
                <a:ext uri="{FF2B5EF4-FFF2-40B4-BE49-F238E27FC236}">
                  <a16:creationId xmlns:a16="http://schemas.microsoft.com/office/drawing/2014/main" id="{4BD6AC8E-7D24-5705-3287-754DD5356A7C}"/>
                </a:ext>
              </a:extLst>
            </p:cNvPr>
            <p:cNvSpPr/>
            <p:nvPr/>
          </p:nvSpPr>
          <p:spPr>
            <a:xfrm>
              <a:off x="4486386" y="4284043"/>
              <a:ext cx="276796" cy="278606"/>
            </a:xfrm>
            <a:custGeom>
              <a:avLst/>
              <a:gdLst>
                <a:gd name="connsiteX0" fmla="*/ 115158 w 276796"/>
                <a:gd name="connsiteY0" fmla="*/ 95 h 278606"/>
                <a:gd name="connsiteX1" fmla="*/ 0 w 276796"/>
                <a:gd name="connsiteY1" fmla="*/ 114395 h 278606"/>
                <a:gd name="connsiteX2" fmla="*/ 0 w 276796"/>
                <a:gd name="connsiteY2" fmla="*/ 164402 h 278606"/>
                <a:gd name="connsiteX3" fmla="*/ 191 w 276796"/>
                <a:gd name="connsiteY3" fmla="*/ 167545 h 278606"/>
                <a:gd name="connsiteX4" fmla="*/ 0 w 276796"/>
                <a:gd name="connsiteY4" fmla="*/ 170688 h 278606"/>
                <a:gd name="connsiteX5" fmla="*/ 0 w 276796"/>
                <a:gd name="connsiteY5" fmla="*/ 278606 h 278606"/>
                <a:gd name="connsiteX6" fmla="*/ 115158 w 276796"/>
                <a:gd name="connsiteY6" fmla="*/ 278606 h 278606"/>
                <a:gd name="connsiteX7" fmla="*/ 154305 w 276796"/>
                <a:gd name="connsiteY7" fmla="*/ 278606 h 278606"/>
                <a:gd name="connsiteX8" fmla="*/ 276797 w 276796"/>
                <a:gd name="connsiteY8" fmla="*/ 278606 h 278606"/>
                <a:gd name="connsiteX9" fmla="*/ 276797 w 276796"/>
                <a:gd name="connsiteY9" fmla="*/ 0 h 278606"/>
                <a:gd name="connsiteX10" fmla="*/ 115158 w 276796"/>
                <a:gd name="connsiteY10" fmla="*/ 0 h 2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6796" h="278606">
                  <a:moveTo>
                    <a:pt x="115158" y="95"/>
                  </a:moveTo>
                  <a:cubicBezTo>
                    <a:pt x="51816" y="95"/>
                    <a:pt x="0" y="51530"/>
                    <a:pt x="0" y="114395"/>
                  </a:cubicBezTo>
                  <a:lnTo>
                    <a:pt x="0" y="164402"/>
                  </a:lnTo>
                  <a:cubicBezTo>
                    <a:pt x="0" y="165449"/>
                    <a:pt x="95" y="166497"/>
                    <a:pt x="191" y="167545"/>
                  </a:cubicBezTo>
                  <a:cubicBezTo>
                    <a:pt x="95" y="168593"/>
                    <a:pt x="0" y="169640"/>
                    <a:pt x="0" y="170688"/>
                  </a:cubicBezTo>
                  <a:lnTo>
                    <a:pt x="0" y="278606"/>
                  </a:lnTo>
                  <a:lnTo>
                    <a:pt x="115158" y="278606"/>
                  </a:lnTo>
                  <a:lnTo>
                    <a:pt x="154305" y="278606"/>
                  </a:lnTo>
                  <a:lnTo>
                    <a:pt x="276797" y="278606"/>
                  </a:lnTo>
                  <a:lnTo>
                    <a:pt x="276797" y="0"/>
                  </a:lnTo>
                  <a:lnTo>
                    <a:pt x="11515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95" name="Freeform: Shape 134">
              <a:extLst>
                <a:ext uri="{FF2B5EF4-FFF2-40B4-BE49-F238E27FC236}">
                  <a16:creationId xmlns:a16="http://schemas.microsoft.com/office/drawing/2014/main" id="{5F46FA57-410E-FE53-D26B-817FDA4C25A9}"/>
                </a:ext>
              </a:extLst>
            </p:cNvPr>
            <p:cNvSpPr/>
            <p:nvPr/>
          </p:nvSpPr>
          <p:spPr>
            <a:xfrm>
              <a:off x="4651074" y="3828367"/>
              <a:ext cx="633888" cy="734377"/>
            </a:xfrm>
            <a:custGeom>
              <a:avLst/>
              <a:gdLst>
                <a:gd name="connsiteX0" fmla="*/ 575024 w 633888"/>
                <a:gd name="connsiteY0" fmla="*/ 0 h 734377"/>
                <a:gd name="connsiteX1" fmla="*/ 472916 w 633888"/>
                <a:gd name="connsiteY1" fmla="*/ 0 h 734377"/>
                <a:gd name="connsiteX2" fmla="*/ 273463 w 633888"/>
                <a:gd name="connsiteY2" fmla="*/ 0 h 734377"/>
                <a:gd name="connsiteX3" fmla="*/ 247079 w 633888"/>
                <a:gd name="connsiteY3" fmla="*/ 0 h 734377"/>
                <a:gd name="connsiteX4" fmla="*/ 233648 w 633888"/>
                <a:gd name="connsiteY4" fmla="*/ 857 h 734377"/>
                <a:gd name="connsiteX5" fmla="*/ 82487 w 633888"/>
                <a:gd name="connsiteY5" fmla="*/ 1238 h 734377"/>
                <a:gd name="connsiteX6" fmla="*/ 762 w 633888"/>
                <a:gd name="connsiteY6" fmla="*/ 762 h 734377"/>
                <a:gd name="connsiteX7" fmla="*/ 762 w 633888"/>
                <a:gd name="connsiteY7" fmla="*/ 141637 h 734377"/>
                <a:gd name="connsiteX8" fmla="*/ 0 w 633888"/>
                <a:gd name="connsiteY8" fmla="*/ 141637 h 734377"/>
                <a:gd name="connsiteX9" fmla="*/ 0 w 633888"/>
                <a:gd name="connsiteY9" fmla="*/ 455771 h 734377"/>
                <a:gd name="connsiteX10" fmla="*/ 93250 w 633888"/>
                <a:gd name="connsiteY10" fmla="*/ 455771 h 734377"/>
                <a:gd name="connsiteX11" fmla="*/ 105346 w 633888"/>
                <a:gd name="connsiteY11" fmla="*/ 455771 h 734377"/>
                <a:gd name="connsiteX12" fmla="*/ 110776 w 633888"/>
                <a:gd name="connsiteY12" fmla="*/ 455771 h 734377"/>
                <a:gd name="connsiteX13" fmla="*/ 110776 w 633888"/>
                <a:gd name="connsiteY13" fmla="*/ 734378 h 734377"/>
                <a:gd name="connsiteX14" fmla="*/ 182309 w 633888"/>
                <a:gd name="connsiteY14" fmla="*/ 734378 h 734377"/>
                <a:gd name="connsiteX15" fmla="*/ 218504 w 633888"/>
                <a:gd name="connsiteY15" fmla="*/ 734378 h 734377"/>
                <a:gd name="connsiteX16" fmla="*/ 324993 w 633888"/>
                <a:gd name="connsiteY16" fmla="*/ 734378 h 734377"/>
                <a:gd name="connsiteX17" fmla="*/ 324993 w 633888"/>
                <a:gd name="connsiteY17" fmla="*/ 711232 h 734377"/>
                <a:gd name="connsiteX18" fmla="*/ 437674 w 633888"/>
                <a:gd name="connsiteY18" fmla="*/ 615029 h 734377"/>
                <a:gd name="connsiteX19" fmla="*/ 633889 w 633888"/>
                <a:gd name="connsiteY19" fmla="*/ 615029 h 734377"/>
                <a:gd name="connsiteX20" fmla="*/ 633889 w 633888"/>
                <a:gd name="connsiteY20" fmla="*/ 512731 h 734377"/>
                <a:gd name="connsiteX21" fmla="*/ 633889 w 633888"/>
                <a:gd name="connsiteY21" fmla="*/ 232886 h 734377"/>
                <a:gd name="connsiteX22" fmla="*/ 633889 w 633888"/>
                <a:gd name="connsiteY22" fmla="*/ 58769 h 734377"/>
                <a:gd name="connsiteX23" fmla="*/ 575024 w 633888"/>
                <a:gd name="connsiteY23" fmla="*/ 0 h 734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3888" h="734377">
                  <a:moveTo>
                    <a:pt x="575024" y="0"/>
                  </a:moveTo>
                  <a:lnTo>
                    <a:pt x="472916" y="0"/>
                  </a:lnTo>
                  <a:lnTo>
                    <a:pt x="273463" y="0"/>
                  </a:lnTo>
                  <a:lnTo>
                    <a:pt x="247079" y="0"/>
                  </a:lnTo>
                  <a:cubicBezTo>
                    <a:pt x="242506" y="0"/>
                    <a:pt x="238030" y="381"/>
                    <a:pt x="233648" y="857"/>
                  </a:cubicBezTo>
                  <a:lnTo>
                    <a:pt x="82487" y="1238"/>
                  </a:lnTo>
                  <a:lnTo>
                    <a:pt x="762" y="762"/>
                  </a:lnTo>
                  <a:lnTo>
                    <a:pt x="762" y="141637"/>
                  </a:lnTo>
                  <a:lnTo>
                    <a:pt x="0" y="141637"/>
                  </a:lnTo>
                  <a:lnTo>
                    <a:pt x="0" y="455771"/>
                  </a:lnTo>
                  <a:lnTo>
                    <a:pt x="93250" y="455771"/>
                  </a:lnTo>
                  <a:lnTo>
                    <a:pt x="105346" y="455771"/>
                  </a:lnTo>
                  <a:lnTo>
                    <a:pt x="110776" y="455771"/>
                  </a:lnTo>
                  <a:lnTo>
                    <a:pt x="110776" y="734378"/>
                  </a:lnTo>
                  <a:lnTo>
                    <a:pt x="182309" y="734378"/>
                  </a:lnTo>
                  <a:lnTo>
                    <a:pt x="218504" y="734378"/>
                  </a:lnTo>
                  <a:lnTo>
                    <a:pt x="324993" y="734378"/>
                  </a:lnTo>
                  <a:lnTo>
                    <a:pt x="324993" y="711232"/>
                  </a:lnTo>
                  <a:cubicBezTo>
                    <a:pt x="333756" y="656939"/>
                    <a:pt x="381000" y="615029"/>
                    <a:pt x="437674" y="615029"/>
                  </a:cubicBezTo>
                  <a:lnTo>
                    <a:pt x="633889" y="615029"/>
                  </a:lnTo>
                  <a:lnTo>
                    <a:pt x="633889" y="512731"/>
                  </a:lnTo>
                  <a:lnTo>
                    <a:pt x="633889" y="232886"/>
                  </a:lnTo>
                  <a:lnTo>
                    <a:pt x="633889" y="58769"/>
                  </a:lnTo>
                  <a:cubicBezTo>
                    <a:pt x="633699" y="26384"/>
                    <a:pt x="607314" y="0"/>
                    <a:pt x="575024" y="0"/>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913469742"/>
      </p:ext>
    </p:extLst>
  </p:cSld>
  <p:clrMap bg1="lt1" tx1="dk1" bg2="lt2" tx2="dk2" accent1="accent1" accent2="accent2" accent3="accent3" accent4="accent4" accent5="accent5" accent6="accent6" hlink="hlink" folHlink="folHlink"/>
  <p:sldLayoutIdLst>
    <p:sldLayoutId id="2147487761" r:id="rId1"/>
    <p:sldLayoutId id="2147487762" r:id="rId2"/>
    <p:sldLayoutId id="2147487763" r:id="rId3"/>
    <p:sldLayoutId id="2147487764" r:id="rId4"/>
  </p:sldLayoutIdLst>
  <p:hf hdr="0" dt="0"/>
  <p:txStyles>
    <p:titleStyle>
      <a:lvl1pPr marL="0" indent="0" algn="l" rtl="0" eaLnBrk="1" fontAlgn="base" hangingPunct="1">
        <a:spcBef>
          <a:spcPct val="0"/>
        </a:spcBef>
        <a:spcAft>
          <a:spcPct val="0"/>
        </a:spcAft>
        <a:defRPr sz="1600" b="1" i="0">
          <a:solidFill>
            <a:srgbClr val="3366FF"/>
          </a:solidFill>
          <a:latin typeface="+mj-lt"/>
          <a:ea typeface="Arial Unicode MS" panose="020B0604020202020204" pitchFamily="34" charset="-128"/>
          <a:cs typeface="Arial" panose="020B0604020202020204" pitchFamily="34" charset="0"/>
        </a:defRPr>
      </a:lvl1pPr>
      <a:lvl2pPr algn="l" rtl="0" eaLnBrk="1" fontAlgn="base" hangingPunct="1">
        <a:spcBef>
          <a:spcPct val="0"/>
        </a:spcBef>
        <a:spcAft>
          <a:spcPct val="0"/>
        </a:spcAft>
        <a:defRPr sz="1600">
          <a:solidFill>
            <a:schemeClr val="bg2"/>
          </a:solidFill>
          <a:latin typeface="+mj-lt"/>
          <a:ea typeface="Arial" panose="020B0604020202020204" pitchFamily="34" charset="0"/>
          <a:cs typeface="Arial" pitchFamily="34" charset="0"/>
        </a:defRPr>
      </a:lvl2pPr>
      <a:lvl3pPr algn="l" rtl="0" eaLnBrk="1" fontAlgn="base" hangingPunct="1">
        <a:spcBef>
          <a:spcPct val="0"/>
        </a:spcBef>
        <a:spcAft>
          <a:spcPct val="0"/>
        </a:spcAft>
        <a:defRPr sz="1600" b="1">
          <a:solidFill>
            <a:srgbClr val="3366FF"/>
          </a:solidFill>
          <a:latin typeface="Arial" panose="020B0604020202020204" pitchFamily="34" charset="0"/>
          <a:ea typeface="Arial" panose="020B0604020202020204" pitchFamily="34" charset="0"/>
          <a:cs typeface="Arial" pitchFamily="34" charset="0"/>
        </a:defRPr>
      </a:lvl3pPr>
      <a:lvl4pPr algn="l" rtl="0" eaLnBrk="1" fontAlgn="base" hangingPunct="1">
        <a:spcBef>
          <a:spcPct val="0"/>
        </a:spcBef>
        <a:spcAft>
          <a:spcPct val="0"/>
        </a:spcAft>
        <a:defRPr sz="1600">
          <a:solidFill>
            <a:schemeClr val="bg2"/>
          </a:solidFill>
          <a:latin typeface="+mj-lt"/>
          <a:ea typeface="MS PGothic"/>
          <a:cs typeface="Arial" pitchFamily="34" charset="0"/>
        </a:defRPr>
      </a:lvl4pPr>
      <a:lvl5pPr algn="l" rtl="0" eaLnBrk="1" fontAlgn="base" hangingPunct="1">
        <a:spcBef>
          <a:spcPct val="0"/>
        </a:spcBef>
        <a:spcAft>
          <a:spcPct val="0"/>
        </a:spcAft>
        <a:defRPr sz="1600">
          <a:solidFill>
            <a:schemeClr val="bg2"/>
          </a:solidFill>
          <a:latin typeface="+mj-lt"/>
          <a:ea typeface="MS PGothic"/>
          <a:cs typeface="Arial" pitchFamily="34" charset="0"/>
        </a:defRPr>
      </a:lvl5pPr>
      <a:lvl6pPr marL="440284" algn="l" rtl="0" eaLnBrk="1" fontAlgn="base" hangingPunct="1">
        <a:spcBef>
          <a:spcPct val="0"/>
        </a:spcBef>
        <a:spcAft>
          <a:spcPct val="0"/>
        </a:spcAft>
        <a:defRPr sz="1600">
          <a:solidFill>
            <a:schemeClr val="bg2"/>
          </a:solidFill>
          <a:latin typeface="+mj-lt"/>
        </a:defRPr>
      </a:lvl6pPr>
      <a:lvl7pPr marL="880567" algn="ctr" rtl="0" eaLnBrk="1" fontAlgn="base" hangingPunct="1">
        <a:spcBef>
          <a:spcPct val="0"/>
        </a:spcBef>
        <a:spcAft>
          <a:spcPct val="0"/>
        </a:spcAft>
        <a:defRPr sz="1600">
          <a:solidFill>
            <a:schemeClr val="bg2"/>
          </a:solidFill>
          <a:latin typeface="+mj-lt"/>
        </a:defRPr>
      </a:lvl7pPr>
      <a:lvl8pPr marL="1320851" algn="ctr" rtl="0" eaLnBrk="1" fontAlgn="base" hangingPunct="1">
        <a:spcBef>
          <a:spcPct val="0"/>
        </a:spcBef>
        <a:spcAft>
          <a:spcPct val="0"/>
        </a:spcAft>
        <a:defRPr sz="1600">
          <a:solidFill>
            <a:schemeClr val="bg2"/>
          </a:solidFill>
          <a:latin typeface="+mj-lt"/>
        </a:defRPr>
      </a:lvl8pPr>
      <a:lvl9pPr marL="1761134" algn="l" rtl="0" eaLnBrk="1" fontAlgn="base" hangingPunct="1">
        <a:spcBef>
          <a:spcPct val="0"/>
        </a:spcBef>
        <a:spcAft>
          <a:spcPct val="0"/>
        </a:spcAft>
        <a:defRPr sz="1000">
          <a:solidFill>
            <a:schemeClr val="bg2"/>
          </a:solidFill>
          <a:latin typeface="+mj-lt"/>
        </a:defRPr>
      </a:lvl9pPr>
    </p:titleStyle>
    <p:body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p:bodyStyle>
    <p:otherStyle>
      <a:defPPr>
        <a:defRPr lang="fr-FR"/>
      </a:defPPr>
      <a:lvl1pPr marL="0" algn="l" defTabSz="440284" rtl="0" eaLnBrk="1" latinLnBrk="0" hangingPunct="1">
        <a:defRPr sz="1733" kern="1200">
          <a:solidFill>
            <a:schemeClr val="tx1"/>
          </a:solidFill>
          <a:latin typeface="+mn-lt"/>
          <a:ea typeface="+mn-ea"/>
          <a:cs typeface="+mn-cs"/>
        </a:defRPr>
      </a:lvl1pPr>
      <a:lvl2pPr marL="440284" algn="l" defTabSz="440284" rtl="0" eaLnBrk="1" latinLnBrk="0" hangingPunct="1">
        <a:defRPr sz="1733" kern="1200">
          <a:solidFill>
            <a:schemeClr val="tx1"/>
          </a:solidFill>
          <a:latin typeface="+mn-lt"/>
          <a:ea typeface="+mn-ea"/>
          <a:cs typeface="+mn-cs"/>
        </a:defRPr>
      </a:lvl2pPr>
      <a:lvl3pPr marL="880567" algn="l" defTabSz="440284" rtl="0" eaLnBrk="1" latinLnBrk="0" hangingPunct="1">
        <a:defRPr sz="1733" kern="1200">
          <a:solidFill>
            <a:schemeClr val="tx1"/>
          </a:solidFill>
          <a:latin typeface="+mn-lt"/>
          <a:ea typeface="+mn-ea"/>
          <a:cs typeface="+mn-cs"/>
        </a:defRPr>
      </a:lvl3pPr>
      <a:lvl4pPr marL="1320851" algn="l" defTabSz="440284" rtl="0" eaLnBrk="1" latinLnBrk="0" hangingPunct="1">
        <a:defRPr sz="1733" kern="1200">
          <a:solidFill>
            <a:schemeClr val="tx1"/>
          </a:solidFill>
          <a:latin typeface="+mn-lt"/>
          <a:ea typeface="+mn-ea"/>
          <a:cs typeface="+mn-cs"/>
        </a:defRPr>
      </a:lvl4pPr>
      <a:lvl5pPr marL="1761134" algn="l" defTabSz="440284" rtl="0" eaLnBrk="1" latinLnBrk="0" hangingPunct="1">
        <a:defRPr sz="1733" kern="1200">
          <a:solidFill>
            <a:schemeClr val="tx1"/>
          </a:solidFill>
          <a:latin typeface="+mn-lt"/>
          <a:ea typeface="+mn-ea"/>
          <a:cs typeface="+mn-cs"/>
        </a:defRPr>
      </a:lvl5pPr>
      <a:lvl6pPr marL="2201418" algn="l" defTabSz="440284" rtl="0" eaLnBrk="1" latinLnBrk="0" hangingPunct="1">
        <a:defRPr sz="1733" kern="1200">
          <a:solidFill>
            <a:schemeClr val="tx1"/>
          </a:solidFill>
          <a:latin typeface="+mn-lt"/>
          <a:ea typeface="+mn-ea"/>
          <a:cs typeface="+mn-cs"/>
        </a:defRPr>
      </a:lvl6pPr>
      <a:lvl7pPr marL="2641702" algn="l" defTabSz="440284" rtl="0" eaLnBrk="1" latinLnBrk="0" hangingPunct="1">
        <a:defRPr sz="1733" kern="1200">
          <a:solidFill>
            <a:schemeClr val="tx1"/>
          </a:solidFill>
          <a:latin typeface="+mn-lt"/>
          <a:ea typeface="+mn-ea"/>
          <a:cs typeface="+mn-cs"/>
        </a:defRPr>
      </a:lvl7pPr>
      <a:lvl8pPr marL="3081985" algn="l" defTabSz="440284" rtl="0" eaLnBrk="1" latinLnBrk="0" hangingPunct="1">
        <a:defRPr sz="1733" kern="1200">
          <a:solidFill>
            <a:schemeClr val="tx1"/>
          </a:solidFill>
          <a:latin typeface="+mn-lt"/>
          <a:ea typeface="+mn-ea"/>
          <a:cs typeface="+mn-cs"/>
        </a:defRPr>
      </a:lvl8pPr>
      <a:lvl9pPr marL="3522269" algn="l" defTabSz="440284" rtl="0" eaLnBrk="1" latinLnBrk="0" hangingPunct="1">
        <a:defRPr sz="1733" kern="1200">
          <a:solidFill>
            <a:schemeClr val="tx1"/>
          </a:solidFill>
          <a:latin typeface="+mn-lt"/>
          <a:ea typeface="+mn-ea"/>
          <a:cs typeface="+mn-cs"/>
        </a:defRPr>
      </a:lvl9pPr>
    </p:otherStyle>
  </p:txStyles>
  <p:extLst>
    <p:ext uri="{27BBF7A9-308A-43DC-89C8-2F10F3537804}">
      <p15:sldGuideLst xmlns:p15="http://schemas.microsoft.com/office/powerpoint/2012/main">
        <p15:guide id="2" pos="6000">
          <p15:clr>
            <a:srgbClr val="F26B43"/>
          </p15:clr>
        </p15:guide>
        <p15:guide id="3" orient="horz" pos="663">
          <p15:clr>
            <a:srgbClr val="F26B43"/>
          </p15:clr>
        </p15:guide>
        <p15:guide id="4" pos="149">
          <p15:clr>
            <a:srgbClr val="F26B43"/>
          </p15:clr>
        </p15:guide>
        <p15:guide id="5" orient="horz" pos="4110">
          <p15:clr>
            <a:srgbClr val="F26B43"/>
          </p15:clr>
        </p15:guide>
        <p15:guide id="6" pos="33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jdelijke aanduiding voor titel 1"/>
          <p:cNvSpPr>
            <a:spLocks noGrp="1"/>
          </p:cNvSpPr>
          <p:nvPr>
            <p:ph type="title"/>
          </p:nvPr>
        </p:nvSpPr>
        <p:spPr bwMode="auto">
          <a:xfrm>
            <a:off x="431800" y="2516718"/>
            <a:ext cx="7969251" cy="1824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nl-NL" altLang="nl-NL" dirty="0"/>
              <a:t>Plaats hier de titel van je presentatie</a:t>
            </a:r>
          </a:p>
        </p:txBody>
      </p:sp>
      <p:sp>
        <p:nvSpPr>
          <p:cNvPr id="1027" name="Tijdelijke aanduiding voor tekst 2"/>
          <p:cNvSpPr>
            <a:spLocks noGrp="1"/>
          </p:cNvSpPr>
          <p:nvPr>
            <p:ph type="body" idx="1"/>
          </p:nvPr>
        </p:nvSpPr>
        <p:spPr bwMode="auto">
          <a:xfrm>
            <a:off x="431800" y="4389967"/>
            <a:ext cx="796925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p>
            <a:pPr lvl="0"/>
            <a:r>
              <a:rPr lang="nl-NL" altLang="nl-NL" dirty="0"/>
              <a:t>Plaats hier bijvoorbeeld je voor- en achternaam</a:t>
            </a:r>
          </a:p>
        </p:txBody>
      </p:sp>
      <p:sp>
        <p:nvSpPr>
          <p:cNvPr id="7" name="Tijdelijke aanduiding voor datum 6"/>
          <p:cNvSpPr>
            <a:spLocks noGrp="1"/>
          </p:cNvSpPr>
          <p:nvPr>
            <p:ph type="dt" sz="half" idx="2"/>
          </p:nvPr>
        </p:nvSpPr>
        <p:spPr>
          <a:xfrm>
            <a:off x="8434918" y="6400800"/>
            <a:ext cx="2942167" cy="457200"/>
          </a:xfrm>
          <a:prstGeom prst="rect">
            <a:avLst/>
          </a:prstGeom>
        </p:spPr>
        <p:txBody>
          <a:bodyPr vert="horz" lIns="91440" tIns="45720" rIns="91440" bIns="45720" rtlCol="0" anchor="ctr"/>
          <a:lstStyle>
            <a:lvl1pPr algn="r" fontAlgn="auto">
              <a:spcBef>
                <a:spcPts val="0"/>
              </a:spcBef>
              <a:spcAft>
                <a:spcPts val="0"/>
              </a:spcAft>
              <a:defRPr sz="1333" dirty="0">
                <a:solidFill>
                  <a:schemeClr val="accent4"/>
                </a:solidFill>
                <a:latin typeface="Arial" panose="020B0604020202020204" pitchFamily="34" charset="0"/>
                <a:cs typeface="Arial" panose="020B0604020202020204" pitchFamily="34" charset="0"/>
              </a:defRPr>
            </a:lvl1pPr>
          </a:lstStyle>
          <a:p>
            <a:pPr>
              <a:defRPr/>
            </a:pPr>
            <a:endParaRPr lang="nl-NL"/>
          </a:p>
        </p:txBody>
      </p:sp>
      <p:sp>
        <p:nvSpPr>
          <p:cNvPr id="9" name="Tijdelijke aanduiding voor voettekst 8"/>
          <p:cNvSpPr>
            <a:spLocks noGrp="1"/>
          </p:cNvSpPr>
          <p:nvPr>
            <p:ph type="ftr" sz="quarter" idx="3"/>
          </p:nvPr>
        </p:nvSpPr>
        <p:spPr>
          <a:xfrm>
            <a:off x="431800" y="6405034"/>
            <a:ext cx="7969251" cy="452967"/>
          </a:xfrm>
          <a:prstGeom prst="rect">
            <a:avLst/>
          </a:prstGeom>
        </p:spPr>
        <p:txBody>
          <a:bodyPr vert="horz" lIns="91440" tIns="45720" rIns="91440" bIns="45720" rtlCol="0" anchor="ctr"/>
          <a:lstStyle>
            <a:lvl1pPr algn="l" fontAlgn="auto">
              <a:spcBef>
                <a:spcPts val="0"/>
              </a:spcBef>
              <a:spcAft>
                <a:spcPts val="0"/>
              </a:spcAft>
              <a:defRPr sz="1333" b="1" dirty="0">
                <a:solidFill>
                  <a:schemeClr val="accent4"/>
                </a:solidFill>
                <a:latin typeface="Arial" panose="020B0604020202020204" pitchFamily="34" charset="0"/>
                <a:cs typeface="Arial" panose="020B0604020202020204" pitchFamily="34" charset="0"/>
              </a:defRPr>
            </a:lvl1pPr>
          </a:lstStyle>
          <a:p>
            <a:pPr>
              <a:defRPr/>
            </a:pPr>
            <a:endParaRPr lang="nl-NL"/>
          </a:p>
        </p:txBody>
      </p:sp>
      <p:sp>
        <p:nvSpPr>
          <p:cNvPr id="10" name="Tijdelijke aanduiding voor dianummer 9"/>
          <p:cNvSpPr>
            <a:spLocks noGrp="1"/>
          </p:cNvSpPr>
          <p:nvPr>
            <p:ph type="sldNum" sz="quarter" idx="4"/>
          </p:nvPr>
        </p:nvSpPr>
        <p:spPr>
          <a:xfrm>
            <a:off x="11377084" y="6405034"/>
            <a:ext cx="575733" cy="452967"/>
          </a:xfrm>
          <a:prstGeom prst="rect">
            <a:avLst/>
          </a:prstGeom>
        </p:spPr>
        <p:txBody>
          <a:bodyPr vert="horz" lIns="91440" tIns="45720" rIns="91440" bIns="45720" rtlCol="0" anchor="ctr"/>
          <a:lstStyle>
            <a:lvl1pPr algn="r" fontAlgn="auto">
              <a:spcBef>
                <a:spcPts val="0"/>
              </a:spcBef>
              <a:spcAft>
                <a:spcPts val="0"/>
              </a:spcAft>
              <a:defRPr sz="1333" b="1" smtClean="0">
                <a:solidFill>
                  <a:schemeClr val="accent4"/>
                </a:solidFill>
                <a:latin typeface="Arial" panose="020B0604020202020204" pitchFamily="34" charset="0"/>
                <a:cs typeface="Arial" panose="020B0604020202020204" pitchFamily="34" charset="0"/>
              </a:defRPr>
            </a:lvl1pPr>
          </a:lstStyle>
          <a:p>
            <a:pPr>
              <a:defRPr/>
            </a:pPr>
            <a:fld id="{E4FE4913-CEF8-42FF-9410-AA119309595F}" type="slidenum">
              <a:rPr lang="nl-NL"/>
              <a:pPr>
                <a:defRPr/>
              </a:pPr>
              <a:t>‹#›</a:t>
            </a:fld>
            <a:endParaRPr lang="nl-NL" dirty="0"/>
          </a:p>
        </p:txBody>
      </p:sp>
    </p:spTree>
    <p:extLst>
      <p:ext uri="{BB962C8B-B14F-4D97-AF65-F5344CB8AC3E}">
        <p14:creationId xmlns:p14="http://schemas.microsoft.com/office/powerpoint/2010/main" val="160947691"/>
      </p:ext>
    </p:extLst>
  </p:cSld>
  <p:clrMap bg1="lt1" tx1="dk1" bg2="lt2" tx2="dk2" accent1="accent1" accent2="accent2" accent3="accent3" accent4="accent4" accent5="accent5" accent6="accent6" hlink="hlink" folHlink="folHlink"/>
  <p:sldLayoutIdLst>
    <p:sldLayoutId id="2147487342" r:id="rId1"/>
    <p:sldLayoutId id="2147487343" r:id="rId2"/>
  </p:sldLayoutIdLst>
  <p:hf hdr="0"/>
  <p:txStyles>
    <p:titleStyle>
      <a:lvl1pPr algn="l" rtl="0" eaLnBrk="1" fontAlgn="base" hangingPunct="1">
        <a:spcBef>
          <a:spcPct val="0"/>
        </a:spcBef>
        <a:spcAft>
          <a:spcPct val="0"/>
        </a:spcAft>
        <a:defRPr sz="5333" b="1" kern="1200">
          <a:solidFill>
            <a:schemeClr val="accent1"/>
          </a:solidFill>
          <a:latin typeface="Arial" panose="020B0604020202020204" pitchFamily="34" charset="0"/>
          <a:ea typeface="+mj-ea"/>
          <a:cs typeface="Arial" panose="020B0604020202020204" pitchFamily="34" charset="0"/>
        </a:defRPr>
      </a:lvl1pPr>
      <a:lvl2pPr algn="l" rtl="0" eaLnBrk="1" fontAlgn="base" hangingPunct="1">
        <a:spcBef>
          <a:spcPct val="0"/>
        </a:spcBef>
        <a:spcAft>
          <a:spcPct val="0"/>
        </a:spcAft>
        <a:defRPr sz="5333" b="1">
          <a:solidFill>
            <a:schemeClr val="accent1"/>
          </a:solidFill>
          <a:latin typeface="Arial" charset="0"/>
          <a:cs typeface="Arial" charset="0"/>
        </a:defRPr>
      </a:lvl2pPr>
      <a:lvl3pPr algn="l" rtl="0" eaLnBrk="1" fontAlgn="base" hangingPunct="1">
        <a:spcBef>
          <a:spcPct val="0"/>
        </a:spcBef>
        <a:spcAft>
          <a:spcPct val="0"/>
        </a:spcAft>
        <a:defRPr sz="5333" b="1">
          <a:solidFill>
            <a:schemeClr val="accent1"/>
          </a:solidFill>
          <a:latin typeface="Arial" charset="0"/>
          <a:cs typeface="Arial" charset="0"/>
        </a:defRPr>
      </a:lvl3pPr>
      <a:lvl4pPr algn="l" rtl="0" eaLnBrk="1" fontAlgn="base" hangingPunct="1">
        <a:spcBef>
          <a:spcPct val="0"/>
        </a:spcBef>
        <a:spcAft>
          <a:spcPct val="0"/>
        </a:spcAft>
        <a:defRPr sz="5333" b="1">
          <a:solidFill>
            <a:schemeClr val="accent1"/>
          </a:solidFill>
          <a:latin typeface="Arial" charset="0"/>
          <a:cs typeface="Arial" charset="0"/>
        </a:defRPr>
      </a:lvl4pPr>
      <a:lvl5pPr algn="l" rtl="0" eaLnBrk="1" fontAlgn="base" hangingPunct="1">
        <a:spcBef>
          <a:spcPct val="0"/>
        </a:spcBef>
        <a:spcAft>
          <a:spcPct val="0"/>
        </a:spcAft>
        <a:defRPr sz="5333" b="1">
          <a:solidFill>
            <a:schemeClr val="accent1"/>
          </a:solidFill>
          <a:latin typeface="Arial" charset="0"/>
          <a:cs typeface="Arial" charset="0"/>
        </a:defRPr>
      </a:lvl5pPr>
      <a:lvl6pPr marL="609585" algn="l" rtl="0" eaLnBrk="1" fontAlgn="base" hangingPunct="1">
        <a:spcBef>
          <a:spcPct val="0"/>
        </a:spcBef>
        <a:spcAft>
          <a:spcPct val="0"/>
        </a:spcAft>
        <a:defRPr sz="5333" b="1">
          <a:solidFill>
            <a:schemeClr val="accent1"/>
          </a:solidFill>
          <a:latin typeface="Arial" charset="0"/>
          <a:cs typeface="Arial" charset="0"/>
        </a:defRPr>
      </a:lvl6pPr>
      <a:lvl7pPr marL="1219170" algn="l" rtl="0" eaLnBrk="1" fontAlgn="base" hangingPunct="1">
        <a:spcBef>
          <a:spcPct val="0"/>
        </a:spcBef>
        <a:spcAft>
          <a:spcPct val="0"/>
        </a:spcAft>
        <a:defRPr sz="5333" b="1">
          <a:solidFill>
            <a:schemeClr val="accent1"/>
          </a:solidFill>
          <a:latin typeface="Arial" charset="0"/>
          <a:cs typeface="Arial" charset="0"/>
        </a:defRPr>
      </a:lvl7pPr>
      <a:lvl8pPr marL="1828754" algn="l" rtl="0" eaLnBrk="1" fontAlgn="base" hangingPunct="1">
        <a:spcBef>
          <a:spcPct val="0"/>
        </a:spcBef>
        <a:spcAft>
          <a:spcPct val="0"/>
        </a:spcAft>
        <a:defRPr sz="5333" b="1">
          <a:solidFill>
            <a:schemeClr val="accent1"/>
          </a:solidFill>
          <a:latin typeface="Arial" charset="0"/>
          <a:cs typeface="Arial" charset="0"/>
        </a:defRPr>
      </a:lvl8pPr>
      <a:lvl9pPr marL="2438339" algn="l" rtl="0" eaLnBrk="1" fontAlgn="base" hangingPunct="1">
        <a:spcBef>
          <a:spcPct val="0"/>
        </a:spcBef>
        <a:spcAft>
          <a:spcPct val="0"/>
        </a:spcAft>
        <a:defRPr sz="5333" b="1">
          <a:solidFill>
            <a:schemeClr val="accent1"/>
          </a:solidFill>
          <a:latin typeface="Arial" charset="0"/>
          <a:cs typeface="Arial" charset="0"/>
        </a:defRPr>
      </a:lvl9pPr>
    </p:titleStyle>
    <p:bodyStyle>
      <a:lvl1pPr algn="l" rtl="0" eaLnBrk="1" fontAlgn="base" hangingPunct="1">
        <a:spcBef>
          <a:spcPct val="20000"/>
        </a:spcBef>
        <a:spcAft>
          <a:spcPct val="0"/>
        </a:spcAft>
        <a:buFont typeface="Arial" charset="0"/>
        <a:defRPr kern="1200">
          <a:solidFill>
            <a:schemeClr val="tx2"/>
          </a:solidFill>
          <a:latin typeface="Arial" panose="020B0604020202020204" pitchFamily="34" charset="0"/>
          <a:ea typeface="+mn-ea"/>
          <a:cs typeface="Arial" panose="020B0604020202020204" pitchFamily="34" charset="0"/>
        </a:defRPr>
      </a:lvl1pPr>
      <a:lvl2pPr marL="990575" indent="-380990" algn="l" rtl="0" eaLnBrk="1" fontAlgn="base" hangingPunct="1">
        <a:spcBef>
          <a:spcPct val="20000"/>
        </a:spcBef>
        <a:spcAft>
          <a:spcPct val="0"/>
        </a:spcAft>
        <a:buFont typeface="Arial" charset="0"/>
        <a:buChar char="–"/>
        <a:defRPr sz="3733" kern="1200">
          <a:solidFill>
            <a:schemeClr val="tx1"/>
          </a:solidFill>
          <a:latin typeface="+mn-lt"/>
          <a:ea typeface="+mn-ea"/>
          <a:cs typeface="Arial" charset="0"/>
        </a:defRPr>
      </a:lvl2pPr>
      <a:lvl3pPr marL="1523962" indent="-304792" algn="l" rtl="0" eaLnBrk="1" fontAlgn="base" hangingPunct="1">
        <a:spcBef>
          <a:spcPct val="20000"/>
        </a:spcBef>
        <a:spcAft>
          <a:spcPct val="0"/>
        </a:spcAft>
        <a:buFont typeface="Arial" charset="0"/>
        <a:buChar char="•"/>
        <a:defRPr sz="3200" kern="1200">
          <a:solidFill>
            <a:schemeClr val="tx1"/>
          </a:solidFill>
          <a:latin typeface="+mn-lt"/>
          <a:ea typeface="+mn-ea"/>
          <a:cs typeface="Arial" charset="0"/>
        </a:defRPr>
      </a:lvl3pPr>
      <a:lvl4pPr marL="2133547" indent="-304792" algn="l" rtl="0" eaLnBrk="1" fontAlgn="base" hangingPunct="1">
        <a:spcBef>
          <a:spcPct val="20000"/>
        </a:spcBef>
        <a:spcAft>
          <a:spcPct val="0"/>
        </a:spcAft>
        <a:buFont typeface="Arial" charset="0"/>
        <a:buChar char="–"/>
        <a:defRPr sz="2667" kern="1200">
          <a:solidFill>
            <a:schemeClr val="tx1"/>
          </a:solidFill>
          <a:latin typeface="+mn-lt"/>
          <a:ea typeface="+mn-ea"/>
          <a:cs typeface="Arial" charset="0"/>
        </a:defRPr>
      </a:lvl4pPr>
      <a:lvl5pPr marL="2743131" indent="-304792" algn="l" rtl="0" eaLnBrk="1" fontAlgn="base" hangingPunct="1">
        <a:spcBef>
          <a:spcPct val="20000"/>
        </a:spcBef>
        <a:spcAft>
          <a:spcPct val="0"/>
        </a:spcAft>
        <a:buFont typeface="Arial" charset="0"/>
        <a:buChar char="»"/>
        <a:defRPr sz="2667" kern="1200">
          <a:solidFill>
            <a:schemeClr val="tx1"/>
          </a:solidFill>
          <a:latin typeface="+mn-lt"/>
          <a:ea typeface="+mn-ea"/>
          <a:cs typeface="Arial" charset="0"/>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nl-NL"/>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431800" y="357718"/>
            <a:ext cx="11226800"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nl-NL" altLang="nl-NL" dirty="0"/>
              <a:t>Plaats hier de titel van je dia</a:t>
            </a:r>
            <a:endParaRPr lang="en-GB" altLang="nl-NL" dirty="0"/>
          </a:p>
        </p:txBody>
      </p:sp>
      <p:sp>
        <p:nvSpPr>
          <p:cNvPr id="2051" name="Tijdelijke aanduiding voor tekst 15"/>
          <p:cNvSpPr>
            <a:spLocks noGrp="1"/>
          </p:cNvSpPr>
          <p:nvPr>
            <p:ph type="body" idx="1"/>
          </p:nvPr>
        </p:nvSpPr>
        <p:spPr bwMode="auto">
          <a:xfrm>
            <a:off x="431801" y="1411818"/>
            <a:ext cx="11233151" cy="4988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nl-NL" altLang="nl-NL" dirty="0" err="1"/>
              <a:t>Bullet</a:t>
            </a:r>
            <a:r>
              <a:rPr lang="nl-NL" altLang="nl-NL" dirty="0"/>
              <a:t> niveau 1</a:t>
            </a:r>
          </a:p>
          <a:p>
            <a:pPr lvl="1"/>
            <a:r>
              <a:rPr lang="nl-NL" altLang="nl-NL" dirty="0" err="1"/>
              <a:t>Bullet</a:t>
            </a:r>
            <a:r>
              <a:rPr lang="nl-NL" altLang="nl-NL" dirty="0"/>
              <a:t> niveau 2 </a:t>
            </a:r>
          </a:p>
          <a:p>
            <a:pPr lvl="2"/>
            <a:r>
              <a:rPr lang="nl-NL" altLang="nl-NL" dirty="0" err="1"/>
              <a:t>Bullet</a:t>
            </a:r>
            <a:r>
              <a:rPr lang="nl-NL" altLang="nl-NL" dirty="0"/>
              <a:t> niveau 3</a:t>
            </a:r>
          </a:p>
          <a:p>
            <a:pPr lvl="3"/>
            <a:r>
              <a:rPr lang="nl-NL" altLang="nl-NL" dirty="0" err="1"/>
              <a:t>Bullet</a:t>
            </a:r>
            <a:r>
              <a:rPr lang="nl-NL" altLang="nl-NL" dirty="0"/>
              <a:t> niveau 4</a:t>
            </a:r>
          </a:p>
          <a:p>
            <a:pPr lvl="4"/>
            <a:r>
              <a:rPr lang="nl-NL" altLang="nl-NL" dirty="0" err="1"/>
              <a:t>Bullet</a:t>
            </a:r>
            <a:r>
              <a:rPr lang="nl-NL" altLang="nl-NL" dirty="0"/>
              <a:t> niveau 5</a:t>
            </a:r>
          </a:p>
        </p:txBody>
      </p:sp>
      <p:sp>
        <p:nvSpPr>
          <p:cNvPr id="7" name="Tijdelijke aanduiding voor datum 6"/>
          <p:cNvSpPr>
            <a:spLocks noGrp="1"/>
          </p:cNvSpPr>
          <p:nvPr>
            <p:ph type="dt" sz="half" idx="2"/>
          </p:nvPr>
        </p:nvSpPr>
        <p:spPr>
          <a:xfrm>
            <a:off x="8434918" y="6400800"/>
            <a:ext cx="2942167" cy="457200"/>
          </a:xfrm>
          <a:prstGeom prst="rect">
            <a:avLst/>
          </a:prstGeom>
        </p:spPr>
        <p:txBody>
          <a:bodyPr vert="horz" lIns="91440" tIns="45720" rIns="91440" bIns="45720" rtlCol="0" anchor="ctr"/>
          <a:lstStyle>
            <a:lvl1pPr algn="r" fontAlgn="auto">
              <a:spcBef>
                <a:spcPts val="0"/>
              </a:spcBef>
              <a:spcAft>
                <a:spcPts val="0"/>
              </a:spcAft>
              <a:defRPr sz="1333" dirty="0">
                <a:solidFill>
                  <a:schemeClr val="accent4"/>
                </a:solidFill>
                <a:latin typeface="Arial" panose="020B0604020202020204" pitchFamily="34" charset="0"/>
                <a:cs typeface="Arial" panose="020B0604020202020204" pitchFamily="34" charset="0"/>
              </a:defRPr>
            </a:lvl1pPr>
          </a:lstStyle>
          <a:p>
            <a:pPr>
              <a:defRPr/>
            </a:pPr>
            <a:endParaRPr lang="nl-NL"/>
          </a:p>
        </p:txBody>
      </p:sp>
      <p:sp>
        <p:nvSpPr>
          <p:cNvPr id="8" name="Tijdelijke aanduiding voor voettekst 8"/>
          <p:cNvSpPr>
            <a:spLocks noGrp="1"/>
          </p:cNvSpPr>
          <p:nvPr>
            <p:ph type="ftr" sz="quarter" idx="3"/>
          </p:nvPr>
        </p:nvSpPr>
        <p:spPr>
          <a:xfrm>
            <a:off x="431800" y="6405034"/>
            <a:ext cx="7969251" cy="452967"/>
          </a:xfrm>
          <a:prstGeom prst="rect">
            <a:avLst/>
          </a:prstGeom>
        </p:spPr>
        <p:txBody>
          <a:bodyPr vert="horz" lIns="91440" tIns="45720" rIns="91440" bIns="45720" rtlCol="0" anchor="ctr"/>
          <a:lstStyle>
            <a:lvl1pPr algn="l" fontAlgn="auto">
              <a:spcBef>
                <a:spcPts val="0"/>
              </a:spcBef>
              <a:spcAft>
                <a:spcPts val="0"/>
              </a:spcAft>
              <a:defRPr sz="1333" b="1" dirty="0">
                <a:solidFill>
                  <a:schemeClr val="accent4"/>
                </a:solidFill>
                <a:latin typeface="Arial" panose="020B0604020202020204" pitchFamily="34" charset="0"/>
                <a:cs typeface="Arial" panose="020B0604020202020204" pitchFamily="34" charset="0"/>
              </a:defRPr>
            </a:lvl1pPr>
          </a:lstStyle>
          <a:p>
            <a:pPr>
              <a:defRPr/>
            </a:pPr>
            <a:endParaRPr lang="nl-NL"/>
          </a:p>
        </p:txBody>
      </p:sp>
      <p:sp>
        <p:nvSpPr>
          <p:cNvPr id="9" name="Tijdelijke aanduiding voor dianummer 9"/>
          <p:cNvSpPr>
            <a:spLocks noGrp="1"/>
          </p:cNvSpPr>
          <p:nvPr>
            <p:ph type="sldNum" sz="quarter" idx="4"/>
          </p:nvPr>
        </p:nvSpPr>
        <p:spPr>
          <a:xfrm>
            <a:off x="11377084" y="6405034"/>
            <a:ext cx="575733" cy="452967"/>
          </a:xfrm>
          <a:prstGeom prst="rect">
            <a:avLst/>
          </a:prstGeom>
        </p:spPr>
        <p:txBody>
          <a:bodyPr vert="horz" lIns="91440" tIns="45720" rIns="91440" bIns="45720" rtlCol="0" anchor="ctr"/>
          <a:lstStyle>
            <a:lvl1pPr algn="r" fontAlgn="auto">
              <a:spcBef>
                <a:spcPts val="0"/>
              </a:spcBef>
              <a:spcAft>
                <a:spcPts val="0"/>
              </a:spcAft>
              <a:defRPr sz="1333" b="1" smtClean="0">
                <a:solidFill>
                  <a:schemeClr val="accent4"/>
                </a:solidFill>
                <a:latin typeface="Arial" panose="020B0604020202020204" pitchFamily="34" charset="0"/>
                <a:cs typeface="Arial" panose="020B0604020202020204" pitchFamily="34" charset="0"/>
              </a:defRPr>
            </a:lvl1pPr>
          </a:lstStyle>
          <a:p>
            <a:pPr>
              <a:defRPr/>
            </a:pPr>
            <a:fld id="{BF49A0E2-C662-4495-80C1-48B5666DFC48}" type="slidenum">
              <a:rPr lang="nl-NL"/>
              <a:pPr>
                <a:defRPr/>
              </a:pPr>
              <a:t>‹#›</a:t>
            </a:fld>
            <a:endParaRPr lang="nl-NL" dirty="0"/>
          </a:p>
        </p:txBody>
      </p:sp>
    </p:spTree>
    <p:extLst>
      <p:ext uri="{BB962C8B-B14F-4D97-AF65-F5344CB8AC3E}">
        <p14:creationId xmlns:p14="http://schemas.microsoft.com/office/powerpoint/2010/main" val="3717732869"/>
      </p:ext>
    </p:extLst>
  </p:cSld>
  <p:clrMap bg1="lt1" tx1="dk1" bg2="lt2" tx2="dk2" accent1="accent1" accent2="accent2" accent3="accent3" accent4="accent4" accent5="accent5" accent6="accent6" hlink="hlink" folHlink="folHlink"/>
  <p:sldLayoutIdLst>
    <p:sldLayoutId id="2147487345" r:id="rId1"/>
    <p:sldLayoutId id="2147487346" r:id="rId2"/>
    <p:sldLayoutId id="2147487347" r:id="rId3"/>
    <p:sldLayoutId id="2147487348" r:id="rId4"/>
    <p:sldLayoutId id="2147487349" r:id="rId5"/>
    <p:sldLayoutId id="2147487350" r:id="rId6"/>
    <p:sldLayoutId id="2147487351" r:id="rId7"/>
  </p:sldLayoutIdLst>
  <p:hf hdr="0"/>
  <p:txStyles>
    <p:titleStyle>
      <a:lvl1pPr algn="l" rtl="0" fontAlgn="base">
        <a:spcBef>
          <a:spcPct val="0"/>
        </a:spcBef>
        <a:spcAft>
          <a:spcPct val="0"/>
        </a:spcAft>
        <a:defRPr sz="3733" b="1" kern="1200">
          <a:solidFill>
            <a:schemeClr val="accent1"/>
          </a:solidFill>
          <a:latin typeface="Arial" panose="020B0604020202020204" pitchFamily="34" charset="0"/>
          <a:ea typeface="+mj-ea"/>
          <a:cs typeface="Arial" panose="020B0604020202020204" pitchFamily="34" charset="0"/>
        </a:defRPr>
      </a:lvl1pPr>
      <a:lvl2pPr algn="l" rtl="0" fontAlgn="base">
        <a:spcBef>
          <a:spcPct val="0"/>
        </a:spcBef>
        <a:spcAft>
          <a:spcPct val="0"/>
        </a:spcAft>
        <a:defRPr sz="3733" b="1">
          <a:solidFill>
            <a:schemeClr val="accent1"/>
          </a:solidFill>
          <a:latin typeface="Arial" charset="0"/>
          <a:cs typeface="Arial" charset="0"/>
        </a:defRPr>
      </a:lvl2pPr>
      <a:lvl3pPr algn="l" rtl="0" fontAlgn="base">
        <a:spcBef>
          <a:spcPct val="0"/>
        </a:spcBef>
        <a:spcAft>
          <a:spcPct val="0"/>
        </a:spcAft>
        <a:defRPr sz="3733" b="1">
          <a:solidFill>
            <a:schemeClr val="accent1"/>
          </a:solidFill>
          <a:latin typeface="Arial" charset="0"/>
          <a:cs typeface="Arial" charset="0"/>
        </a:defRPr>
      </a:lvl3pPr>
      <a:lvl4pPr algn="l" rtl="0" fontAlgn="base">
        <a:spcBef>
          <a:spcPct val="0"/>
        </a:spcBef>
        <a:spcAft>
          <a:spcPct val="0"/>
        </a:spcAft>
        <a:defRPr sz="3733" b="1">
          <a:solidFill>
            <a:schemeClr val="accent1"/>
          </a:solidFill>
          <a:latin typeface="Arial" charset="0"/>
          <a:cs typeface="Arial" charset="0"/>
        </a:defRPr>
      </a:lvl4pPr>
      <a:lvl5pPr algn="l" rtl="0" fontAlgn="base">
        <a:spcBef>
          <a:spcPct val="0"/>
        </a:spcBef>
        <a:spcAft>
          <a:spcPct val="0"/>
        </a:spcAft>
        <a:defRPr sz="3733" b="1">
          <a:solidFill>
            <a:schemeClr val="accent1"/>
          </a:solidFill>
          <a:latin typeface="Arial" charset="0"/>
          <a:cs typeface="Arial" charset="0"/>
        </a:defRPr>
      </a:lvl5pPr>
      <a:lvl6pPr marL="609585" algn="l" rtl="0" fontAlgn="base">
        <a:spcBef>
          <a:spcPct val="0"/>
        </a:spcBef>
        <a:spcAft>
          <a:spcPct val="0"/>
        </a:spcAft>
        <a:defRPr sz="3733" b="1">
          <a:solidFill>
            <a:schemeClr val="accent1"/>
          </a:solidFill>
          <a:latin typeface="Arial" charset="0"/>
          <a:cs typeface="Arial" charset="0"/>
        </a:defRPr>
      </a:lvl6pPr>
      <a:lvl7pPr marL="1219170" algn="l" rtl="0" fontAlgn="base">
        <a:spcBef>
          <a:spcPct val="0"/>
        </a:spcBef>
        <a:spcAft>
          <a:spcPct val="0"/>
        </a:spcAft>
        <a:defRPr sz="3733" b="1">
          <a:solidFill>
            <a:schemeClr val="accent1"/>
          </a:solidFill>
          <a:latin typeface="Arial" charset="0"/>
          <a:cs typeface="Arial" charset="0"/>
        </a:defRPr>
      </a:lvl7pPr>
      <a:lvl8pPr marL="1828754" algn="l" rtl="0" fontAlgn="base">
        <a:spcBef>
          <a:spcPct val="0"/>
        </a:spcBef>
        <a:spcAft>
          <a:spcPct val="0"/>
        </a:spcAft>
        <a:defRPr sz="3733" b="1">
          <a:solidFill>
            <a:schemeClr val="accent1"/>
          </a:solidFill>
          <a:latin typeface="Arial" charset="0"/>
          <a:cs typeface="Arial" charset="0"/>
        </a:defRPr>
      </a:lvl8pPr>
      <a:lvl9pPr marL="2438339" algn="l" rtl="0" fontAlgn="base">
        <a:spcBef>
          <a:spcPct val="0"/>
        </a:spcBef>
        <a:spcAft>
          <a:spcPct val="0"/>
        </a:spcAft>
        <a:defRPr sz="3733" b="1">
          <a:solidFill>
            <a:schemeClr val="accent1"/>
          </a:solidFill>
          <a:latin typeface="Arial" charset="0"/>
          <a:cs typeface="Arial" charset="0"/>
        </a:defRPr>
      </a:lvl9pPr>
    </p:titleStyle>
    <p:bodyStyle>
      <a:lvl1pPr marL="457189" indent="-457189" algn="l" rtl="0" fontAlgn="base">
        <a:spcBef>
          <a:spcPct val="20000"/>
        </a:spcBef>
        <a:spcAft>
          <a:spcPct val="0"/>
        </a:spcAft>
        <a:buClr>
          <a:srgbClr val="E5007D"/>
        </a:buClr>
        <a:buFont typeface="Arial" charset="0"/>
        <a:buChar char="•"/>
        <a:defRPr sz="2933" kern="1200">
          <a:solidFill>
            <a:srgbClr val="181818"/>
          </a:solidFill>
          <a:latin typeface="Arial" panose="020B0604020202020204" pitchFamily="34" charset="0"/>
          <a:ea typeface="+mn-ea"/>
          <a:cs typeface="Arial" panose="020B0604020202020204" pitchFamily="34" charset="0"/>
        </a:defRPr>
      </a:lvl1pPr>
      <a:lvl2pPr marL="990575" indent="-380990" algn="l" rtl="0" fontAlgn="base">
        <a:spcBef>
          <a:spcPct val="20000"/>
        </a:spcBef>
        <a:spcAft>
          <a:spcPct val="0"/>
        </a:spcAft>
        <a:buClr>
          <a:srgbClr val="E5007D"/>
        </a:buClr>
        <a:buFont typeface="Arial" charset="0"/>
        <a:buChar char="•"/>
        <a:defRPr sz="2667" kern="1200">
          <a:solidFill>
            <a:srgbClr val="181818"/>
          </a:solidFill>
          <a:latin typeface="Arial" panose="020B0604020202020204" pitchFamily="34" charset="0"/>
          <a:ea typeface="+mn-ea"/>
          <a:cs typeface="Arial" panose="020B0604020202020204" pitchFamily="34" charset="0"/>
        </a:defRPr>
      </a:lvl2pPr>
      <a:lvl3pPr marL="1523962" indent="-304792" algn="l" rtl="0" fontAlgn="base">
        <a:spcBef>
          <a:spcPct val="20000"/>
        </a:spcBef>
        <a:spcAft>
          <a:spcPct val="0"/>
        </a:spcAft>
        <a:buClr>
          <a:srgbClr val="E5007D"/>
        </a:buClr>
        <a:buFont typeface="Arial" charset="0"/>
        <a:buChar char="•"/>
        <a:defRPr kern="1200">
          <a:solidFill>
            <a:srgbClr val="181818"/>
          </a:solidFill>
          <a:latin typeface="Arial" panose="020B0604020202020204" pitchFamily="34" charset="0"/>
          <a:ea typeface="+mn-ea"/>
          <a:cs typeface="Arial" panose="020B0604020202020204" pitchFamily="34" charset="0"/>
        </a:defRPr>
      </a:lvl3pPr>
      <a:lvl4pPr marL="2133547" indent="-304792" algn="l" rtl="0" fontAlgn="base">
        <a:spcBef>
          <a:spcPct val="20000"/>
        </a:spcBef>
        <a:spcAft>
          <a:spcPct val="0"/>
        </a:spcAft>
        <a:buClr>
          <a:srgbClr val="E5007D"/>
        </a:buClr>
        <a:buFont typeface="Arial" charset="0"/>
        <a:buChar char="•"/>
        <a:defRPr sz="2133" kern="1200">
          <a:solidFill>
            <a:srgbClr val="181818"/>
          </a:solidFill>
          <a:latin typeface="Arial" panose="020B0604020202020204" pitchFamily="34" charset="0"/>
          <a:ea typeface="+mn-ea"/>
          <a:cs typeface="Arial" panose="020B0604020202020204" pitchFamily="34" charset="0"/>
        </a:defRPr>
      </a:lvl4pPr>
      <a:lvl5pPr marL="2743131" indent="-304792" algn="l" rtl="0" fontAlgn="base">
        <a:spcBef>
          <a:spcPct val="20000"/>
        </a:spcBef>
        <a:spcAft>
          <a:spcPct val="0"/>
        </a:spcAft>
        <a:buClr>
          <a:srgbClr val="E5007D"/>
        </a:buClr>
        <a:buFont typeface="Arial" charset="0"/>
        <a:buChar char="•"/>
        <a:defRPr sz="1867" kern="1200">
          <a:solidFill>
            <a:srgbClr val="181818"/>
          </a:solidFill>
          <a:latin typeface="Arial" panose="020B0604020202020204" pitchFamily="34" charset="0"/>
          <a:ea typeface="+mn-ea"/>
          <a:cs typeface="Arial" panose="020B0604020202020204" pitchFamily="34" charset="0"/>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nl-NL"/>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platzhalter 2"/>
          <p:cNvSpPr>
            <a:spLocks noGrp="1"/>
          </p:cNvSpPr>
          <p:nvPr>
            <p:ph type="body" idx="1"/>
          </p:nvPr>
        </p:nvSpPr>
        <p:spPr>
          <a:xfrm>
            <a:off x="480000" y="970654"/>
            <a:ext cx="10154344" cy="586139"/>
          </a:xfrm>
          <a:prstGeom prst="rect">
            <a:avLst/>
          </a:prstGeom>
        </p:spPr>
        <p:txBody>
          <a:bodyPr vert="horz" lIns="91440" tIns="45720" rIns="91440" bIns="45720" rtlCol="0">
            <a:normAutofit/>
          </a:bodyPr>
          <a:lstStyle/>
          <a:p>
            <a:pPr lvl="0"/>
            <a:r>
              <a:rPr lang="de-DE"/>
              <a:t>Change </a:t>
            </a:r>
            <a:r>
              <a:rPr lang="de-DE" err="1"/>
              <a:t>cover</a:t>
            </a:r>
            <a:r>
              <a:rPr lang="de-DE"/>
              <a:t> </a:t>
            </a:r>
            <a:r>
              <a:rPr lang="de-DE" err="1"/>
              <a:t>picture</a:t>
            </a:r>
            <a:r>
              <a:rPr lang="de-DE"/>
              <a:t> </a:t>
            </a:r>
            <a:r>
              <a:rPr lang="de-DE" err="1"/>
              <a:t>here</a:t>
            </a:r>
            <a:endParaRPr lang="de-DE"/>
          </a:p>
        </p:txBody>
      </p:sp>
      <p:pic>
        <p:nvPicPr>
          <p:cNvPr id="5" name="Grafik 4">
            <a:extLst>
              <a:ext uri="{FF2B5EF4-FFF2-40B4-BE49-F238E27FC236}">
                <a16:creationId xmlns:a16="http://schemas.microsoft.com/office/drawing/2014/main" id="{E26410D8-4A3A-45E2-81A1-C9D4C6C6621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9516380" y="5805264"/>
            <a:ext cx="2408534" cy="910095"/>
          </a:xfrm>
          <a:prstGeom prst="rect">
            <a:avLst/>
          </a:prstGeom>
        </p:spPr>
      </p:pic>
      <p:sp>
        <p:nvSpPr>
          <p:cNvPr id="7" name="Rechteck 6">
            <a:extLst>
              <a:ext uri="{FF2B5EF4-FFF2-40B4-BE49-F238E27FC236}">
                <a16:creationId xmlns:a16="http://schemas.microsoft.com/office/drawing/2014/main" id="{1CFF8BA4-9DA2-4974-94C2-B3C3C21E4193}"/>
              </a:ext>
            </a:extLst>
          </p:cNvPr>
          <p:cNvSpPr/>
          <p:nvPr userDrawn="1"/>
        </p:nvSpPr>
        <p:spPr>
          <a:xfrm flipH="1">
            <a:off x="-1" y="1944000"/>
            <a:ext cx="480000" cy="3600000"/>
          </a:xfrm>
          <a:prstGeom prst="rect">
            <a:avLst/>
          </a:prstGeom>
          <a:gradFill>
            <a:gsLst>
              <a:gs pos="0">
                <a:schemeClr val="tx1">
                  <a:lumMod val="10000"/>
                  <a:lumOff val="90000"/>
                </a:schemeClr>
              </a:gs>
              <a:gs pos="100000">
                <a:schemeClr val="bg2">
                  <a:lumMod val="95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8" name="Grafik 2">
            <a:extLst>
              <a:ext uri="{FF2B5EF4-FFF2-40B4-BE49-F238E27FC236}">
                <a16:creationId xmlns:a16="http://schemas.microsoft.com/office/drawing/2014/main" id="{2B3803D2-BD86-4ABB-8BDF-1BC5164EA28B}"/>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16807" b="28549"/>
          <a:stretch/>
        </p:blipFill>
        <p:spPr>
          <a:xfrm>
            <a:off x="479998" y="1944000"/>
            <a:ext cx="11712001" cy="3600000"/>
          </a:xfrm>
          <a:prstGeom prst="rect">
            <a:avLst/>
          </a:prstGeom>
        </p:spPr>
      </p:pic>
    </p:spTree>
    <p:extLst>
      <p:ext uri="{BB962C8B-B14F-4D97-AF65-F5344CB8AC3E}">
        <p14:creationId xmlns:p14="http://schemas.microsoft.com/office/powerpoint/2010/main" val="4107947227"/>
      </p:ext>
    </p:extLst>
  </p:cSld>
  <p:clrMap bg1="lt1" tx1="dk1" bg2="lt2" tx2="dk2" accent1="accent1" accent2="accent2" accent3="accent3" accent4="accent4" accent5="accent5" accent6="accent6" hlink="hlink" folHlink="folHlink"/>
  <p:sldLayoutIdLst>
    <p:sldLayoutId id="214748743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ts val="2600"/>
        </a:lnSpc>
        <a:spcBef>
          <a:spcPts val="1000"/>
        </a:spcBef>
        <a:buFont typeface="Arial" panose="020B0604020202020204" pitchFamily="34" charset="0"/>
        <a:buNone/>
        <a:defRPr sz="2400" kern="1200">
          <a:solidFill>
            <a:srgbClr val="0F218B"/>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3pPr>
      <a:lvl4pPr marL="16002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63">
          <p15:clr>
            <a:srgbClr val="F26B43"/>
          </p15:clr>
        </p15:guide>
        <p15:guide id="2" pos="241">
          <p15:clr>
            <a:srgbClr val="F26B43"/>
          </p15:clr>
        </p15:guide>
        <p15:guide id="3" orient="horz" pos="2999">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4" name="Textplatzhalter 2"/>
          <p:cNvSpPr>
            <a:spLocks noGrp="1"/>
          </p:cNvSpPr>
          <p:nvPr>
            <p:ph type="body" idx="1"/>
          </p:nvPr>
        </p:nvSpPr>
        <p:spPr>
          <a:xfrm>
            <a:off x="263352" y="1206960"/>
            <a:ext cx="11616780" cy="3311326"/>
          </a:xfrm>
          <a:prstGeom prst="rect">
            <a:avLst/>
          </a:prstGeom>
          <a:ln>
            <a:noFill/>
          </a:ln>
        </p:spPr>
        <p:txBody>
          <a:bodyPr vert="horz" lIns="91440" tIns="45720" rIns="91440" bIns="45720" rtlCol="0">
            <a:normAutofit/>
          </a:bodyPr>
          <a:lstStyle/>
          <a:p>
            <a:pPr lvl="0"/>
            <a:r>
              <a:rPr lang="de-DE"/>
              <a:t>Edit </a:t>
            </a:r>
            <a:r>
              <a:rPr lang="de-DE" err="1"/>
              <a:t>the</a:t>
            </a:r>
            <a:r>
              <a:rPr lang="de-DE"/>
              <a:t> </a:t>
            </a:r>
            <a:r>
              <a:rPr lang="de-DE" err="1"/>
              <a:t>text</a:t>
            </a:r>
            <a:r>
              <a:rPr lang="de-DE"/>
              <a:t> </a:t>
            </a:r>
            <a:r>
              <a:rPr lang="de-DE" err="1"/>
              <a:t>here</a:t>
            </a:r>
            <a:r>
              <a:rPr lang="de-DE"/>
              <a:t>; Firs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8" name="Datumsplatzhalter 4"/>
          <p:cNvSpPr txBox="1">
            <a:spLocks/>
          </p:cNvSpPr>
          <p:nvPr userDrawn="1"/>
        </p:nvSpPr>
        <p:spPr>
          <a:xfrm>
            <a:off x="6168008" y="6237313"/>
            <a:ext cx="5832649" cy="365125"/>
          </a:xfrm>
          <a:prstGeom prst="rect">
            <a:avLst/>
          </a:prstGeom>
        </p:spPr>
        <p:txBody>
          <a:bodyPr vert="horz" lIns="91440" tIns="45720" rIns="91440" bIns="45720" rtlCol="0" anchor="ctr"/>
          <a:lstStyle>
            <a:defPPr>
              <a:defRPr lang="en-US"/>
            </a:defPPr>
            <a:lvl1pPr marL="0" indent="0" algn="l" defTabSz="685783" rtl="0" eaLnBrk="1" latinLnBrk="0" hangingPunct="1">
              <a:lnSpc>
                <a:spcPts val="900"/>
              </a:lnSpc>
              <a:spcBef>
                <a:spcPts val="0"/>
              </a:spcBef>
              <a:buFont typeface="Arial"/>
              <a:buNone/>
              <a:defRPr lang="pt-BR" sz="900" b="0" i="0" kern="1200" smtClean="0">
                <a:solidFill>
                  <a:srgbClr val="005B9C"/>
                </a:solidFill>
                <a:effectLst/>
                <a:latin typeface="+mn-lt"/>
                <a:ea typeface="Microsoft YaHei" pitchFamily="34" charset="-122"/>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de-DE" sz="900">
                <a:solidFill>
                  <a:schemeClr val="accent1"/>
                </a:solidFill>
              </a:rPr>
              <a:t> </a:t>
            </a:r>
            <a:fld id="{9D8EEF28-5ABD-4429-9AD9-DE956F602A14}" type="slidenum">
              <a:rPr lang="de-DE" sz="900" smtClean="0">
                <a:solidFill>
                  <a:schemeClr val="tx1">
                    <a:lumMod val="50000"/>
                  </a:schemeClr>
                </a:solidFill>
              </a:rPr>
              <a:pPr algn="r"/>
              <a:t>‹#›</a:t>
            </a:fld>
            <a:endParaRPr lang="de-DE" sz="900">
              <a:solidFill>
                <a:schemeClr val="tx1">
                  <a:lumMod val="50000"/>
                </a:schemeClr>
              </a:solidFill>
            </a:endParaRPr>
          </a:p>
        </p:txBody>
      </p:sp>
      <p:pic>
        <p:nvPicPr>
          <p:cNvPr id="5" name="Picture 4">
            <a:extLst>
              <a:ext uri="{FF2B5EF4-FFF2-40B4-BE49-F238E27FC236}">
                <a16:creationId xmlns:a16="http://schemas.microsoft.com/office/drawing/2014/main" id="{38D89FAA-E980-408C-B430-CBF368494B7B}"/>
              </a:ext>
            </a:extLst>
          </p:cNvPr>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a:off x="10776520" y="6314495"/>
            <a:ext cx="778960" cy="210759"/>
          </a:xfrm>
          <a:prstGeom prst="rect">
            <a:avLst/>
          </a:prstGeom>
        </p:spPr>
      </p:pic>
    </p:spTree>
    <p:extLst>
      <p:ext uri="{BB962C8B-B14F-4D97-AF65-F5344CB8AC3E}">
        <p14:creationId xmlns:p14="http://schemas.microsoft.com/office/powerpoint/2010/main" val="3217650101"/>
      </p:ext>
    </p:extLst>
  </p:cSld>
  <p:clrMap bg1="lt1" tx1="dk1" bg2="lt2" tx2="dk2" accent1="accent1" accent2="accent2" accent3="accent3" accent4="accent4" accent5="accent5" accent6="accent6" hlink="hlink" folHlink="folHlink"/>
  <p:sldLayoutIdLst>
    <p:sldLayoutId id="2147487441" r:id="rId1"/>
    <p:sldLayoutId id="2147487442" r:id="rId2"/>
    <p:sldLayoutId id="2147487443" r:id="rId3"/>
    <p:sldLayoutId id="2147487444" r:id="rId4"/>
    <p:sldLayoutId id="2147487445" r:id="rId5"/>
    <p:sldLayoutId id="2147487446" r:id="rId6"/>
    <p:sldLayoutId id="2147487447" r:id="rId7"/>
    <p:sldLayoutId id="2147487448" r:id="rId8"/>
    <p:sldLayoutId id="2147487449" r:id="rId9"/>
    <p:sldLayoutId id="2147487450" r:id="rId10"/>
    <p:sldLayoutId id="2147487451" r:id="rId11"/>
    <p:sldLayoutId id="2147487452" r:id="rId12"/>
    <p:sldLayoutId id="2147487453" r:id="rId13"/>
    <p:sldLayoutId id="2147487454" r:id="rId14"/>
    <p:sldLayoutId id="2147487455" r:id="rId15"/>
    <p:sldLayoutId id="2147487456" r:id="rId16"/>
    <p:sldLayoutId id="2147487457" r:id="rId17"/>
    <p:sldLayoutId id="2147487458" r:id="rId18"/>
  </p:sldLayoutIdLst>
  <p:txStyles>
    <p:titleStyle>
      <a:lvl1pPr algn="l" defTabSz="914400" rtl="0" eaLnBrk="1" latinLnBrk="0" hangingPunct="1">
        <a:lnSpc>
          <a:spcPct val="90000"/>
        </a:lnSpc>
        <a:spcBef>
          <a:spcPct val="0"/>
        </a:spcBef>
        <a:buNone/>
        <a:defRPr lang="de-DE" sz="3000" kern="1200" dirty="0">
          <a:solidFill>
            <a:srgbClr val="005CA9"/>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1">
          <p15:clr>
            <a:srgbClr val="F26B43"/>
          </p15:clr>
        </p15:guide>
        <p15:guide id="2" pos="7439">
          <p15:clr>
            <a:srgbClr val="F26B43"/>
          </p15:clr>
        </p15:guide>
        <p15:guide id="6" orient="horz" pos="4133">
          <p15:clr>
            <a:srgbClr val="F26B43"/>
          </p15:clr>
        </p15:guide>
        <p15:guide id="7" orient="horz" pos="187">
          <p15:clr>
            <a:srgbClr val="F26B43"/>
          </p15:clr>
        </p15:guide>
        <p15:guide id="8" orient="horz" pos="2160">
          <p15:clr>
            <a:srgbClr val="F26B43"/>
          </p15:clr>
        </p15:guide>
        <p15:guide id="13" pos="38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7333C59-845A-93C7-CD3C-2DDFA85EC14E}"/>
              </a:ext>
            </a:extLst>
          </p:cNvPr>
          <p:cNvGraphicFramePr>
            <a:graphicFrameLocks noChangeAspect="1"/>
          </p:cNvGraphicFramePr>
          <p:nvPr userDrawn="1">
            <p:custDataLst>
              <p:tags r:id="rId20"/>
            </p:custDataLst>
            <p:extLst>
              <p:ext uri="{D42A27DB-BD31-4B8C-83A1-F6EECF244321}">
                <p14:modId xmlns:p14="http://schemas.microsoft.com/office/powerpoint/2010/main" val="1340052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73" imgH="476" progId="TCLayout.ActiveDocument.1">
                  <p:embed/>
                </p:oleObj>
              </mc:Choice>
              <mc:Fallback>
                <p:oleObj name="think-cell Slide" r:id="rId21" imgW="473" imgH="476" progId="TCLayout.ActiveDocument.1">
                  <p:embed/>
                  <p:pic>
                    <p:nvPicPr>
                      <p:cNvPr id="2" name="Object 1" hidden="1">
                        <a:extLst>
                          <a:ext uri="{FF2B5EF4-FFF2-40B4-BE49-F238E27FC236}">
                            <a16:creationId xmlns:a16="http://schemas.microsoft.com/office/drawing/2014/main" id="{87333C59-845A-93C7-CD3C-2DDFA85EC14E}"/>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4" name="Textplatzhalter 2"/>
          <p:cNvSpPr>
            <a:spLocks noGrp="1"/>
          </p:cNvSpPr>
          <p:nvPr>
            <p:ph type="body" idx="1"/>
          </p:nvPr>
        </p:nvSpPr>
        <p:spPr>
          <a:xfrm>
            <a:off x="263352" y="1206960"/>
            <a:ext cx="11616780" cy="3311326"/>
          </a:xfrm>
          <a:prstGeom prst="rect">
            <a:avLst/>
          </a:prstGeom>
          <a:ln>
            <a:noFill/>
          </a:ln>
        </p:spPr>
        <p:txBody>
          <a:bodyPr vert="horz" lIns="91440" tIns="45720" rIns="91440" bIns="45720" rtlCol="0">
            <a:normAutofit/>
          </a:bodyPr>
          <a:lstStyle/>
          <a:p>
            <a:pPr lvl="0"/>
            <a:r>
              <a:rPr lang="en-IE"/>
              <a:t>Edit the text here; First level</a:t>
            </a:r>
          </a:p>
          <a:p>
            <a:pPr lvl="1"/>
            <a:r>
              <a:rPr lang="en-IE"/>
              <a:t>Second level</a:t>
            </a:r>
          </a:p>
          <a:p>
            <a:pPr lvl="2"/>
            <a:r>
              <a:rPr lang="en-IE"/>
              <a:t>Third level</a:t>
            </a:r>
          </a:p>
          <a:p>
            <a:pPr lvl="3"/>
            <a:r>
              <a:rPr lang="en-IE"/>
              <a:t>Fourth level</a:t>
            </a:r>
          </a:p>
          <a:p>
            <a:pPr lvl="4"/>
            <a:r>
              <a:rPr lang="en-IE"/>
              <a:t>Fifth level</a:t>
            </a:r>
          </a:p>
        </p:txBody>
      </p:sp>
      <p:sp>
        <p:nvSpPr>
          <p:cNvPr id="8" name="Datumsplatzhalter 4"/>
          <p:cNvSpPr txBox="1">
            <a:spLocks/>
          </p:cNvSpPr>
          <p:nvPr userDrawn="1"/>
        </p:nvSpPr>
        <p:spPr>
          <a:xfrm>
            <a:off x="6168008" y="6237313"/>
            <a:ext cx="5832649" cy="365125"/>
          </a:xfrm>
          <a:prstGeom prst="rect">
            <a:avLst/>
          </a:prstGeom>
        </p:spPr>
        <p:txBody>
          <a:bodyPr vert="horz" lIns="91440" tIns="45720" rIns="91440" bIns="45720" rtlCol="0" anchor="ctr"/>
          <a:lstStyle>
            <a:defPPr>
              <a:defRPr lang="en-US"/>
            </a:defPPr>
            <a:lvl1pPr marL="0" indent="0" algn="l" defTabSz="685783" rtl="0" eaLnBrk="1" latinLnBrk="0" hangingPunct="1">
              <a:lnSpc>
                <a:spcPts val="900"/>
              </a:lnSpc>
              <a:spcBef>
                <a:spcPts val="0"/>
              </a:spcBef>
              <a:buFont typeface="Arial"/>
              <a:buNone/>
              <a:defRPr lang="pt-BR" sz="900" b="0" i="0" kern="1200" smtClean="0">
                <a:solidFill>
                  <a:srgbClr val="005B9C"/>
                </a:solidFill>
                <a:effectLst/>
                <a:latin typeface="+mn-lt"/>
                <a:ea typeface="Microsoft YaHei" pitchFamily="34" charset="-122"/>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rtl="0"/>
            <a:r>
              <a:rPr lang="en-IE" sz="900">
                <a:solidFill>
                  <a:schemeClr val="accent1"/>
                </a:solidFill>
              </a:rPr>
              <a:t> </a:t>
            </a:r>
            <a:fld id="{9D8EEF28-5ABD-4429-9AD9-DE956F602A14}" type="slidenum">
              <a:rPr lang="en-IE" sz="900" smtClean="0">
                <a:solidFill>
                  <a:schemeClr val="tx1">
                    <a:lumMod val="50000"/>
                  </a:schemeClr>
                </a:solidFill>
              </a:rPr>
              <a:pPr algn="r" rtl="0"/>
              <a:t>‹#›</a:t>
            </a:fld>
            <a:endParaRPr lang="en-IE" sz="900">
              <a:solidFill>
                <a:schemeClr val="tx1">
                  <a:lumMod val="50000"/>
                </a:schemeClr>
              </a:solidFill>
            </a:endParaRPr>
          </a:p>
        </p:txBody>
      </p:sp>
      <p:pic>
        <p:nvPicPr>
          <p:cNvPr id="5" name="Picture 4">
            <a:extLst>
              <a:ext uri="{FF2B5EF4-FFF2-40B4-BE49-F238E27FC236}">
                <a16:creationId xmlns:a16="http://schemas.microsoft.com/office/drawing/2014/main" id="{38D89FAA-E980-408C-B430-CBF368494B7B}"/>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a:off x="10776520" y="6314495"/>
            <a:ext cx="778960" cy="210759"/>
          </a:xfrm>
          <a:prstGeom prst="rect">
            <a:avLst/>
          </a:prstGeom>
        </p:spPr>
      </p:pic>
    </p:spTree>
    <p:extLst>
      <p:ext uri="{BB962C8B-B14F-4D97-AF65-F5344CB8AC3E}">
        <p14:creationId xmlns:p14="http://schemas.microsoft.com/office/powerpoint/2010/main" val="1015340420"/>
      </p:ext>
    </p:extLst>
  </p:cSld>
  <p:clrMap bg1="lt1" tx1="dk1" bg2="lt2" tx2="dk2" accent1="accent1" accent2="accent2" accent3="accent3" accent4="accent4" accent5="accent5" accent6="accent6" hlink="hlink" folHlink="folHlink"/>
  <p:sldLayoutIdLst>
    <p:sldLayoutId id="2147487487" r:id="rId1"/>
    <p:sldLayoutId id="2147487488" r:id="rId2"/>
    <p:sldLayoutId id="2147487489" r:id="rId3"/>
    <p:sldLayoutId id="2147487490" r:id="rId4"/>
    <p:sldLayoutId id="2147487491" r:id="rId5"/>
    <p:sldLayoutId id="2147487492" r:id="rId6"/>
    <p:sldLayoutId id="2147487493" r:id="rId7"/>
    <p:sldLayoutId id="2147487494" r:id="rId8"/>
    <p:sldLayoutId id="2147487495" r:id="rId9"/>
    <p:sldLayoutId id="2147487496" r:id="rId10"/>
    <p:sldLayoutId id="2147487497" r:id="rId11"/>
    <p:sldLayoutId id="2147487498" r:id="rId12"/>
    <p:sldLayoutId id="2147487499" r:id="rId13"/>
    <p:sldLayoutId id="2147487500" r:id="rId14"/>
    <p:sldLayoutId id="2147487501" r:id="rId15"/>
    <p:sldLayoutId id="2147487502" r:id="rId16"/>
    <p:sldLayoutId id="2147487503" r:id="rId17"/>
    <p:sldLayoutId id="2147487504" r:id="rId18"/>
  </p:sldLayoutIdLst>
  <p:txStyles>
    <p:titleStyle>
      <a:lvl1pPr algn="l" defTabSz="914400" rtl="0" eaLnBrk="1" latinLnBrk="0" hangingPunct="1">
        <a:lnSpc>
          <a:spcPct val="90000"/>
        </a:lnSpc>
        <a:spcBef>
          <a:spcPct val="0"/>
        </a:spcBef>
        <a:buNone/>
        <a:defRPr lang="de-DE" sz="3000" kern="1200" dirty="0">
          <a:solidFill>
            <a:srgbClr val="005CA9"/>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1">
          <p15:clr>
            <a:srgbClr val="F26B43"/>
          </p15:clr>
        </p15:guide>
        <p15:guide id="2" pos="7439">
          <p15:clr>
            <a:srgbClr val="F26B43"/>
          </p15:clr>
        </p15:guide>
        <p15:guide id="6" orient="horz" pos="4133">
          <p15:clr>
            <a:srgbClr val="F26B43"/>
          </p15:clr>
        </p15:guide>
        <p15:guide id="7" orient="horz" pos="187">
          <p15:clr>
            <a:srgbClr val="F26B43"/>
          </p15:clr>
        </p15:guide>
        <p15:guide id="8" orient="horz" pos="2160">
          <p15:clr>
            <a:srgbClr val="F26B43"/>
          </p15:clr>
        </p15:guide>
        <p15:guide id="13" pos="384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F0FE374-A678-A684-FA4B-26330CF65FB3}"/>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2" name="Title Placeholder 1">
            <a:extLst>
              <a:ext uri="{FF2B5EF4-FFF2-40B4-BE49-F238E27FC236}">
                <a16:creationId xmlns:a16="http://schemas.microsoft.com/office/drawing/2014/main" id="{2D4A1E0C-386D-FF7A-6872-1942CD433577}"/>
              </a:ext>
            </a:extLst>
          </p:cNvPr>
          <p:cNvSpPr>
            <a:spLocks noGrp="1" noRot="1" noMove="1" noResize="1" noEditPoints="1" noAdjustHandles="1" noChangeArrowheads="1" noChangeShapeType="1"/>
          </p:cNvSpPr>
          <p:nvPr>
            <p:ph type="title"/>
          </p:nvPr>
        </p:nvSpPr>
        <p:spPr>
          <a:xfrm>
            <a:off x="838200" y="365126"/>
            <a:ext cx="10515600" cy="816904"/>
          </a:xfrm>
          <a:prstGeom prst="rect">
            <a:avLst/>
          </a:prstGeom>
        </p:spPr>
        <p:txBody>
          <a:bodyPr vert="horz" lIns="91440" tIns="45720" rIns="91440" bIns="45720" rtlCol="0" anchor="ctr">
            <a:noAutofit/>
          </a:bodyPr>
          <a:lstStyle/>
          <a:p>
            <a:r>
              <a:rPr lang="en-US"/>
              <a:t>Click to edit Master title style</a:t>
            </a:r>
            <a:endParaRPr lang="en-IE"/>
          </a:p>
        </p:txBody>
      </p:sp>
      <p:sp>
        <p:nvSpPr>
          <p:cNvPr id="3" name="Text Placeholder 2">
            <a:extLst>
              <a:ext uri="{FF2B5EF4-FFF2-40B4-BE49-F238E27FC236}">
                <a16:creationId xmlns:a16="http://schemas.microsoft.com/office/drawing/2014/main" id="{30EE66B9-5E84-94E6-4EDD-A9E25FB078A4}"/>
              </a:ext>
            </a:extLst>
          </p:cNvPr>
          <p:cNvSpPr>
            <a:spLocks noGrp="1"/>
          </p:cNvSpPr>
          <p:nvPr>
            <p:ph type="body" idx="1"/>
          </p:nvPr>
        </p:nvSpPr>
        <p:spPr>
          <a:xfrm>
            <a:off x="838200" y="1825625"/>
            <a:ext cx="10515600" cy="3942619"/>
          </a:xfrm>
          <a:prstGeom prst="rect">
            <a:avLst/>
          </a:prstGeom>
        </p:spPr>
        <p:txBody>
          <a:bodyPr vert="horz" lIns="144000" tIns="144000" rIns="144000" bIns="144000" rtlCol="0">
            <a:noAutofit/>
          </a:bodyPr>
          <a:lstStyle/>
          <a:p>
            <a:pPr lvl="0"/>
            <a:r>
              <a:rPr lang="en-US"/>
              <a:t>Click to edit Master text styles</a:t>
            </a:r>
          </a:p>
          <a:p>
            <a:pPr lvl="1"/>
            <a:endParaRPr lang="en-US"/>
          </a:p>
          <a:p>
            <a:pPr lvl="1"/>
            <a:endParaRPr lang="en-US"/>
          </a:p>
          <a:p>
            <a:pPr lvl="1"/>
            <a:endParaRPr lang="en-US"/>
          </a:p>
          <a:p>
            <a:pPr lvl="0"/>
            <a:endParaRPr lang="en-US"/>
          </a:p>
          <a:p>
            <a:pPr lvl="1"/>
            <a:endParaRPr lang="en-US"/>
          </a:p>
        </p:txBody>
      </p:sp>
      <p:pic>
        <p:nvPicPr>
          <p:cNvPr id="7" name="Picture 6">
            <a:extLst>
              <a:ext uri="{FF2B5EF4-FFF2-40B4-BE49-F238E27FC236}">
                <a16:creationId xmlns:a16="http://schemas.microsoft.com/office/drawing/2014/main" id="{9F653097-A9FD-84E7-4EFA-47C8DA485037}"/>
              </a:ext>
              <a:ext uri="{C183D7F6-B498-43B3-948B-1728B52AA6E4}">
                <adec:decorative xmlns:adec="http://schemas.microsoft.com/office/drawing/2017/decorative" val="1"/>
              </a:ext>
            </a:extLst>
          </p:cNvPr>
          <p:cNvPicPr>
            <a:picLocks noChangeAspect="1"/>
          </p:cNvPicPr>
          <p:nvPr/>
        </p:nvPicPr>
        <p:blipFill>
          <a:blip r:embed="rId40"/>
          <a:stretch>
            <a:fillRect/>
          </a:stretch>
        </p:blipFill>
        <p:spPr>
          <a:xfrm>
            <a:off x="10725768" y="5901016"/>
            <a:ext cx="1256063" cy="762106"/>
          </a:xfrm>
          <a:prstGeom prst="rect">
            <a:avLst/>
          </a:prstGeom>
        </p:spPr>
      </p:pic>
      <p:pic>
        <p:nvPicPr>
          <p:cNvPr id="5" name="Picture 4" descr="A close-up of a line&#10;&#10;Description automatically generated" hidden="1">
            <a:extLst>
              <a:ext uri="{FF2B5EF4-FFF2-40B4-BE49-F238E27FC236}">
                <a16:creationId xmlns:a16="http://schemas.microsoft.com/office/drawing/2014/main" id="{CE57FDCE-6642-0FA5-3739-FA81457769C2}"/>
              </a:ext>
            </a:extLst>
          </p:cNvPr>
          <p:cNvPicPr>
            <a:picLocks noGrp="1" noRot="1" noChangeAspect="1" noMove="1" noResize="1" noEditPoints="1" noAdjustHandles="1" noChangeArrowheads="1" noChangeShapeType="1" noCrop="1"/>
          </p:cNvPicPr>
          <p:nvPr/>
        </p:nvPicPr>
        <p:blipFill>
          <a:blip r:embed="rId41">
            <a:alphaModFix amt="20000"/>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7D640C55-B1A0-5DE0-B0E4-F05DE5506E17}"/>
              </a:ext>
              <a:ext uri="{C183D7F6-B498-43B3-948B-1728B52AA6E4}">
                <adec:decorative xmlns:adec="http://schemas.microsoft.com/office/drawing/2017/decorative" val="1"/>
              </a:ext>
            </a:extLst>
          </p:cNvPr>
          <p:cNvPicPr>
            <a:picLocks noChangeAspect="1"/>
          </p:cNvPicPr>
          <p:nvPr userDrawn="1"/>
        </p:nvPicPr>
        <p:blipFill>
          <a:blip r:embed="rId40"/>
          <a:stretch>
            <a:fillRect/>
          </a:stretch>
        </p:blipFill>
        <p:spPr>
          <a:xfrm>
            <a:off x="10725768" y="5901016"/>
            <a:ext cx="1256063" cy="762106"/>
          </a:xfrm>
          <a:prstGeom prst="rect">
            <a:avLst/>
          </a:prstGeom>
        </p:spPr>
      </p:pic>
      <p:pic>
        <p:nvPicPr>
          <p:cNvPr id="8" name="Picture 7" descr="A close-up of a line&#10;&#10;Description automatically generated" hidden="1">
            <a:extLst>
              <a:ext uri="{FF2B5EF4-FFF2-40B4-BE49-F238E27FC236}">
                <a16:creationId xmlns:a16="http://schemas.microsoft.com/office/drawing/2014/main" id="{A12B438D-C839-BF7B-253A-401802D9F2AC}"/>
              </a:ext>
            </a:extLst>
          </p:cNvPr>
          <p:cNvPicPr/>
          <p:nvPr userDrawn="1"/>
        </p:nvPicPr>
        <p:blipFill>
          <a:blip r:embed="rId41">
            <a:alphaModFix amt="20000"/>
          </a:blip>
          <a:stretch>
            <a:fillRect/>
          </a:stretch>
        </p:blipFill>
        <p:spPr>
          <a:xfrm>
            <a:off x="0" y="0"/>
            <a:ext cx="12192000" cy="6858000"/>
          </a:xfrm>
          <a:prstGeom prst="rect">
            <a:avLst/>
          </a:prstGeom>
        </p:spPr>
      </p:pic>
    </p:spTree>
    <p:extLst>
      <p:ext uri="{BB962C8B-B14F-4D97-AF65-F5344CB8AC3E}">
        <p14:creationId xmlns:p14="http://schemas.microsoft.com/office/powerpoint/2010/main" val="2747263436"/>
      </p:ext>
    </p:extLst>
  </p:cSld>
  <p:clrMap bg1="lt1" tx1="dk1" bg2="lt2" tx2="dk2" accent1="accent1" accent2="accent2" accent3="accent3" accent4="accent4" accent5="accent5" accent6="accent6" hlink="hlink" folHlink="folHlink"/>
  <p:sldLayoutIdLst>
    <p:sldLayoutId id="2147487540" r:id="rId1"/>
    <p:sldLayoutId id="2147487541" r:id="rId2"/>
    <p:sldLayoutId id="2147487542" r:id="rId3"/>
    <p:sldLayoutId id="2147487543" r:id="rId4"/>
    <p:sldLayoutId id="2147487544" r:id="rId5"/>
    <p:sldLayoutId id="2147487545" r:id="rId6"/>
    <p:sldLayoutId id="2147487546" r:id="rId7"/>
    <p:sldLayoutId id="2147487547" r:id="rId8"/>
    <p:sldLayoutId id="2147487548" r:id="rId9"/>
    <p:sldLayoutId id="2147487549" r:id="rId10"/>
    <p:sldLayoutId id="2147487550" r:id="rId11"/>
    <p:sldLayoutId id="2147487551" r:id="rId12"/>
    <p:sldLayoutId id="2147487552" r:id="rId13"/>
    <p:sldLayoutId id="2147487553" r:id="rId14"/>
    <p:sldLayoutId id="2147487554" r:id="rId15"/>
    <p:sldLayoutId id="2147487555" r:id="rId16"/>
    <p:sldLayoutId id="2147487556" r:id="rId17"/>
    <p:sldLayoutId id="2147487557" r:id="rId18"/>
    <p:sldLayoutId id="2147487558" r:id="rId19"/>
    <p:sldLayoutId id="2147487559" r:id="rId20"/>
    <p:sldLayoutId id="2147487560" r:id="rId21"/>
    <p:sldLayoutId id="2147487561" r:id="rId22"/>
    <p:sldLayoutId id="2147487562" r:id="rId23"/>
    <p:sldLayoutId id="2147487563" r:id="rId24"/>
    <p:sldLayoutId id="2147487564" r:id="rId25"/>
    <p:sldLayoutId id="2147487565" r:id="rId26"/>
    <p:sldLayoutId id="2147487566" r:id="rId27"/>
    <p:sldLayoutId id="2147487567" r:id="rId28"/>
    <p:sldLayoutId id="2147487568" r:id="rId29"/>
    <p:sldLayoutId id="2147487569" r:id="rId30"/>
    <p:sldLayoutId id="2147487570" r:id="rId31"/>
    <p:sldLayoutId id="2147487571" r:id="rId32"/>
    <p:sldLayoutId id="2147487572" r:id="rId33"/>
    <p:sldLayoutId id="2147487573" r:id="rId34"/>
    <p:sldLayoutId id="2147487574" r:id="rId35"/>
    <p:sldLayoutId id="2147487575" r:id="rId36"/>
    <p:sldLayoutId id="2147487576" r:id="rId37"/>
    <p:sldLayoutId id="2147487577" r:id="rId38"/>
  </p:sldLayoutIdLst>
  <p:txStyles>
    <p:titleStyle>
      <a:lvl1pPr algn="l" defTabSz="914400" rtl="0" eaLnBrk="1" latinLnBrk="0" hangingPunct="1">
        <a:lnSpc>
          <a:spcPct val="90000"/>
        </a:lnSpc>
        <a:spcBef>
          <a:spcPct val="0"/>
        </a:spcBef>
        <a:buNone/>
        <a:defRPr sz="4400" kern="1200">
          <a:solidFill>
            <a:schemeClr val="tx2"/>
          </a:solidFill>
          <a:latin typeface="+mj-lt"/>
          <a:ea typeface="+mj-ea"/>
          <a:cs typeface="+mj-cs"/>
        </a:defRPr>
      </a:lvl1pPr>
    </p:titleStyle>
    <p:bodyStyle>
      <a:lvl1pPr marL="342900" indent="-342900" algn="l" defTabSz="914400" rtl="0" eaLnBrk="1" latinLnBrk="0" hangingPunct="1">
        <a:lnSpc>
          <a:spcPct val="90000"/>
        </a:lnSpc>
        <a:spcBef>
          <a:spcPts val="1000"/>
        </a:spcBef>
        <a:buClr>
          <a:schemeClr val="tx2"/>
        </a:buClr>
        <a:buFont typeface="Arial" panose="020B0604020202020204" pitchFamily="34" charset="0"/>
        <a:buChar char="•"/>
        <a:defRPr sz="2000" kern="1200">
          <a:solidFill>
            <a:schemeClr val="tx1">
              <a:lumMod val="95000"/>
              <a:lumOff val="5000"/>
            </a:schemeClr>
          </a:solidFill>
          <a:latin typeface="+mn-lt"/>
          <a:ea typeface="+mn-ea"/>
          <a:cs typeface="+mn-cs"/>
        </a:defRPr>
      </a:lvl1pPr>
      <a:lvl2pPr marL="742950" indent="-285750" algn="l" defTabSz="914400" rtl="0" eaLnBrk="1" latinLnBrk="0" hangingPunct="1">
        <a:lnSpc>
          <a:spcPct val="90000"/>
        </a:lnSpc>
        <a:spcBef>
          <a:spcPts val="500"/>
        </a:spcBef>
        <a:buClr>
          <a:schemeClr val="tx2"/>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160">
          <p15:clr>
            <a:srgbClr val="F26B43"/>
          </p15:clr>
        </p15:guide>
        <p15:guide id="4" pos="38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D6D3FCD-E14A-9352-1866-A4679F02BFF4}"/>
              </a:ext>
            </a:extLst>
          </p:cNvPr>
          <p:cNvGraphicFramePr>
            <a:graphicFrameLocks noChangeAspect="1"/>
          </p:cNvGraphicFramePr>
          <p:nvPr userDrawn="1">
            <p:custDataLst>
              <p:tags r:id="rId8"/>
            </p:custDataLst>
            <p:extLst>
              <p:ext uri="{D42A27DB-BD31-4B8C-83A1-F6EECF244321}">
                <p14:modId xmlns:p14="http://schemas.microsoft.com/office/powerpoint/2010/main" val="40730501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9" imgW="7772400" imgH="10058400" progId="TCLayout.ActiveDocument.1">
                  <p:embed/>
                </p:oleObj>
              </mc:Choice>
              <mc:Fallback>
                <p:oleObj name="think-cell Slide" r:id="rId9" imgW="7772400" imgH="10058400" progId="TCLayout.ActiveDocument.1">
                  <p:embed/>
                  <p:pic>
                    <p:nvPicPr>
                      <p:cNvPr id="4" name="think-cell data - do not delete" hidden="1">
                        <a:extLst>
                          <a:ext uri="{FF2B5EF4-FFF2-40B4-BE49-F238E27FC236}">
                            <a16:creationId xmlns:a16="http://schemas.microsoft.com/office/drawing/2014/main" id="{4D6D3FCD-E14A-9352-1866-A4679F02BFF4}"/>
                          </a:ext>
                        </a:extLst>
                      </p:cNvPr>
                      <p:cNvPicPr/>
                      <p:nvPr/>
                    </p:nvPicPr>
                    <p:blipFill>
                      <a:blip r:embed="rId10"/>
                      <a:stretch>
                        <a:fillRect/>
                      </a:stretch>
                    </p:blipFill>
                    <p:spPr>
                      <a:xfrm>
                        <a:off x="1588" y="1588"/>
                        <a:ext cx="1227" cy="1588"/>
                      </a:xfrm>
                      <a:prstGeom prst="rect">
                        <a:avLst/>
                      </a:prstGeom>
                    </p:spPr>
                  </p:pic>
                </p:oleObj>
              </mc:Fallback>
            </mc:AlternateContent>
          </a:graphicData>
        </a:graphic>
      </p:graphicFrame>
      <p:sp>
        <p:nvSpPr>
          <p:cNvPr id="8" name="Titelplatzhalter 1">
            <a:extLst>
              <a:ext uri="{FF2B5EF4-FFF2-40B4-BE49-F238E27FC236}">
                <a16:creationId xmlns:a16="http://schemas.microsoft.com/office/drawing/2014/main" id="{0E281AE7-0A7B-DDFB-7C2A-605D8511AD71}"/>
              </a:ext>
            </a:extLst>
          </p:cNvPr>
          <p:cNvSpPr>
            <a:spLocks noGrp="1"/>
          </p:cNvSpPr>
          <p:nvPr>
            <p:ph type="title"/>
          </p:nvPr>
        </p:nvSpPr>
        <p:spPr>
          <a:xfrm>
            <a:off x="515938" y="448248"/>
            <a:ext cx="11160125" cy="523302"/>
          </a:xfrm>
          <a:prstGeom prst="rect">
            <a:avLst/>
          </a:prstGeom>
        </p:spPr>
        <p:txBody>
          <a:bodyPr vert="horz" lIns="0" tIns="0" rIns="0" bIns="0" rtlCol="0" anchor="t" anchorCtr="0">
            <a:noAutofit/>
          </a:bodyPr>
          <a:lstStyle/>
          <a:p>
            <a:r>
              <a:rPr lang="en-US" dirty="0"/>
              <a:t>Click to edit primary Headline</a:t>
            </a:r>
            <a:endParaRPr lang="en-US" noProof="0" dirty="0"/>
          </a:p>
        </p:txBody>
      </p:sp>
      <p:sp>
        <p:nvSpPr>
          <p:cNvPr id="13" name="Textplatzhalter 2">
            <a:extLst>
              <a:ext uri="{FF2B5EF4-FFF2-40B4-BE49-F238E27FC236}">
                <a16:creationId xmlns:a16="http://schemas.microsoft.com/office/drawing/2014/main" id="{5C38BD9C-C63C-1A0B-81C5-D2F64FC3F254}"/>
              </a:ext>
            </a:extLst>
          </p:cNvPr>
          <p:cNvSpPr>
            <a:spLocks noGrp="1"/>
          </p:cNvSpPr>
          <p:nvPr>
            <p:ph type="body" idx="1"/>
          </p:nvPr>
        </p:nvSpPr>
        <p:spPr>
          <a:xfrm>
            <a:off x="515938" y="1375576"/>
            <a:ext cx="11160125" cy="4850553"/>
          </a:xfrm>
          <a:prstGeom prst="rect">
            <a:avLst/>
          </a:prstGeom>
        </p:spPr>
        <p:txBody>
          <a:bodyPr vert="horz" lIns="0" tIns="0" rIns="0" bIns="0" rtlCol="0" anchor="t" anchorCtr="0">
            <a:noAutofit/>
          </a:bodyPr>
          <a:lstStyle/>
          <a:p>
            <a:pPr lvl="0"/>
            <a:r>
              <a:rPr lang="de-DE" dirty="0"/>
              <a:t>Edit </a:t>
            </a:r>
            <a:r>
              <a:rPr lang="de-DE" dirty="0" err="1"/>
              <a:t>mas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noProof="0" dirty="0"/>
          </a:p>
          <a:p>
            <a:pPr lvl="5"/>
            <a:r>
              <a:rPr lang="en-US" noProof="0" dirty="0"/>
              <a:t>Sixth level</a:t>
            </a:r>
            <a:endParaRPr lang="de-DE" dirty="0"/>
          </a:p>
          <a:p>
            <a:pPr lvl="5"/>
            <a:endParaRPr lang="en-US" noProof="0" dirty="0"/>
          </a:p>
        </p:txBody>
      </p:sp>
      <p:pic>
        <p:nvPicPr>
          <p:cNvPr id="15" name="Grafik 14">
            <a:extLst>
              <a:ext uri="{FF2B5EF4-FFF2-40B4-BE49-F238E27FC236}">
                <a16:creationId xmlns:a16="http://schemas.microsoft.com/office/drawing/2014/main" id="{A120C827-AE3F-752D-63BE-3CA45201ACE3}"/>
              </a:ext>
            </a:extLst>
          </p:cNvPr>
          <p:cNvPicPr>
            <a:picLocks noChangeAspect="1"/>
          </p:cNvPicPr>
          <p:nvPr userDrawn="1"/>
        </p:nvPicPr>
        <p:blipFill>
          <a:blip r:embed="rId11">
            <a:extLst>
              <a:ext uri="{96DAC541-7B7A-43D3-8B79-37D633B846F1}">
                <asvg:svgBlip xmlns:asvg="http://schemas.microsoft.com/office/drawing/2016/SVG/main" r:embed="rId12"/>
              </a:ext>
            </a:extLst>
          </a:blip>
          <a:srcRect/>
          <a:stretch/>
        </p:blipFill>
        <p:spPr>
          <a:xfrm>
            <a:off x="6136" y="6308725"/>
            <a:ext cx="12193200" cy="38103"/>
          </a:xfrm>
          <a:prstGeom prst="rect">
            <a:avLst/>
          </a:prstGeom>
        </p:spPr>
      </p:pic>
      <p:pic>
        <p:nvPicPr>
          <p:cNvPr id="3" name="Grafik 2">
            <a:extLst>
              <a:ext uri="{FF2B5EF4-FFF2-40B4-BE49-F238E27FC236}">
                <a16:creationId xmlns:a16="http://schemas.microsoft.com/office/drawing/2014/main" id="{C20F45F9-4298-D235-4671-665951B36D1F}"/>
              </a:ext>
            </a:extLst>
          </p:cNvPr>
          <p:cNvPicPr>
            <a:picLocks noChangeAspect="1"/>
          </p:cNvPicPr>
          <p:nvPr userDrawn="1"/>
        </p:nvPicPr>
        <p:blipFill>
          <a:blip r:embed="rId13">
            <a:extLst>
              <a:ext uri="{96DAC541-7B7A-43D3-8B79-37D633B846F1}">
                <asvg:svgBlip xmlns:asvg="http://schemas.microsoft.com/office/drawing/2016/SVG/main" r:embed="rId14"/>
              </a:ext>
            </a:extLst>
          </a:blip>
          <a:srcRect/>
          <a:stretch/>
        </p:blipFill>
        <p:spPr>
          <a:xfrm>
            <a:off x="10964433" y="6391320"/>
            <a:ext cx="800118" cy="377834"/>
          </a:xfrm>
          <a:prstGeom prst="rect">
            <a:avLst/>
          </a:prstGeom>
        </p:spPr>
      </p:pic>
    </p:spTree>
    <p:extLst>
      <p:ext uri="{BB962C8B-B14F-4D97-AF65-F5344CB8AC3E}">
        <p14:creationId xmlns:p14="http://schemas.microsoft.com/office/powerpoint/2010/main" val="2133241353"/>
      </p:ext>
    </p:extLst>
  </p:cSld>
  <p:clrMap bg1="lt1" tx1="dk1" bg2="lt2" tx2="dk2" accent1="accent1" accent2="accent2" accent3="accent3" accent4="accent4" accent5="accent5" accent6="accent6" hlink="hlink" folHlink="folHlink"/>
  <p:sldLayoutIdLst>
    <p:sldLayoutId id="2147487579" r:id="rId1"/>
    <p:sldLayoutId id="2147487580" r:id="rId2"/>
    <p:sldLayoutId id="2147487581" r:id="rId3"/>
    <p:sldLayoutId id="2147487582" r:id="rId4"/>
    <p:sldLayoutId id="2147487583" r:id="rId5"/>
    <p:sldLayoutId id="2147487584" r:id="rId6"/>
  </p:sldLayoutIdLst>
  <p:hf hdr="0"/>
  <p:txStyles>
    <p:titleStyle>
      <a:lvl1pPr algn="l" defTabSz="914400" rtl="0" eaLnBrk="1" latinLnBrk="0" hangingPunct="1">
        <a:lnSpc>
          <a:spcPct val="90000"/>
        </a:lnSpc>
        <a:spcBef>
          <a:spcPct val="0"/>
        </a:spcBef>
        <a:buNone/>
        <a:defRPr sz="1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accent4"/>
          </a:solidFill>
          <a:latin typeface="+mn-lt"/>
          <a:ea typeface="+mn-ea"/>
          <a:cs typeface="+mn-cs"/>
        </a:defRPr>
      </a:lvl1pPr>
      <a:lvl2pPr marL="179388" indent="-179388" algn="l" defTabSz="914400" rtl="0" eaLnBrk="1" latinLnBrk="0" hangingPunct="1">
        <a:lnSpc>
          <a:spcPct val="100000"/>
        </a:lnSpc>
        <a:spcBef>
          <a:spcPts val="0"/>
        </a:spcBef>
        <a:spcAft>
          <a:spcPts val="600"/>
        </a:spcAft>
        <a:buFont typeface="Wingdings 3" panose="05040102010807070707" pitchFamily="18" charset="2"/>
        <a:buChar char="}"/>
        <a:tabLst/>
        <a:defRPr sz="1400" kern="1200">
          <a:solidFill>
            <a:schemeClr val="tx1"/>
          </a:solidFill>
          <a:latin typeface="+mn-lt"/>
          <a:ea typeface="+mn-ea"/>
          <a:cs typeface="+mn-cs"/>
        </a:defRPr>
      </a:lvl2pPr>
      <a:lvl3pPr marL="355600" indent="-173038"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tabLst/>
        <a:defRPr sz="1400" kern="1200">
          <a:solidFill>
            <a:schemeClr val="tx1"/>
          </a:solidFill>
          <a:latin typeface="+mn-lt"/>
          <a:ea typeface="+mn-ea"/>
          <a:cs typeface="+mn-cs"/>
        </a:defRPr>
      </a:lvl3pPr>
      <a:lvl4pPr marL="533400" indent="-171450" algn="l" defTabSz="914400" rtl="0" eaLnBrk="1" latinLnBrk="0" hangingPunct="1">
        <a:lnSpc>
          <a:spcPct val="100000"/>
        </a:lnSpc>
        <a:spcBef>
          <a:spcPts val="0"/>
        </a:spcBef>
        <a:spcAft>
          <a:spcPts val="600"/>
        </a:spcAft>
        <a:buClr>
          <a:schemeClr val="accent2"/>
        </a:buClr>
        <a:buFont typeface="Wingdings 3" panose="05040102010807070707" pitchFamily="18" charset="2"/>
        <a:buChar char="}"/>
        <a:tabLst/>
        <a:defRPr sz="1400" kern="1200">
          <a:solidFill>
            <a:schemeClr val="tx1"/>
          </a:solidFill>
          <a:latin typeface="+mn-lt"/>
          <a:ea typeface="+mn-ea"/>
          <a:cs typeface="+mn-cs"/>
        </a:defRPr>
      </a:lvl4pPr>
      <a:lvl5pPr marL="711200" indent="-171450" algn="l" defTabSz="914400" rtl="0" eaLnBrk="1" latinLnBrk="0" hangingPunct="1">
        <a:lnSpc>
          <a:spcPct val="100000"/>
        </a:lnSpc>
        <a:spcBef>
          <a:spcPts val="0"/>
        </a:spcBef>
        <a:spcAft>
          <a:spcPts val="600"/>
        </a:spcAft>
        <a:buClr>
          <a:schemeClr val="accent3"/>
        </a:buClr>
        <a:buFont typeface="Wingdings 3" panose="05040102010807070707" pitchFamily="18" charset="2"/>
        <a:buChar char="}"/>
        <a:tabLst/>
        <a:defRPr sz="1400" kern="1200">
          <a:solidFill>
            <a:schemeClr val="tx1"/>
          </a:solidFill>
          <a:latin typeface="+mn-lt"/>
          <a:ea typeface="+mn-ea"/>
          <a:cs typeface="+mn-cs"/>
        </a:defRPr>
      </a:lvl5pPr>
      <a:lvl6pPr marL="889000" indent="-171450" algn="l" defTabSz="914400" rtl="0" eaLnBrk="1" latinLnBrk="0" hangingPunct="1">
        <a:lnSpc>
          <a:spcPct val="100000"/>
        </a:lnSpc>
        <a:spcBef>
          <a:spcPts val="0"/>
        </a:spcBef>
        <a:spcAft>
          <a:spcPts val="600"/>
        </a:spcAft>
        <a:buClr>
          <a:schemeClr val="accent4"/>
        </a:buClr>
        <a:buFont typeface="Wingdings 3" panose="05040102010807070707" pitchFamily="18" charset="2"/>
        <a:buChar char="}"/>
        <a:tabLst/>
        <a:defRPr sz="14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None/>
        <a:defRPr sz="3200" kern="120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None/>
        <a:defRPr sz="4400" kern="1200">
          <a:solidFill>
            <a:schemeClr val="tx1"/>
          </a:solidFill>
          <a:latin typeface="+mn-lt"/>
          <a:ea typeface="+mn-ea"/>
          <a:cs typeface="+mn-cs"/>
        </a:defRPr>
      </a:lvl8pPr>
      <a:lvl9pPr marL="0" indent="0" algn="l" defTabSz="914400" rtl="0" eaLnBrk="1" latinLnBrk="0" hangingPunct="1">
        <a:lnSpc>
          <a:spcPct val="100000"/>
        </a:lnSpc>
        <a:spcBef>
          <a:spcPts val="0"/>
        </a:spcBef>
        <a:spcAft>
          <a:spcPts val="600"/>
        </a:spcAft>
        <a:buFont typeface="Arial" panose="020B0604020202020204" pitchFamily="34" charset="0"/>
        <a:buNone/>
        <a:defRPr sz="6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7355">
          <p15:clr>
            <a:srgbClr val="F26B43"/>
          </p15:clr>
        </p15:guide>
        <p15:guide id="5" pos="325">
          <p15:clr>
            <a:srgbClr val="F26B43"/>
          </p15:clr>
        </p15:guide>
        <p15:guide id="7" orient="horz" pos="3974">
          <p15:clr>
            <a:srgbClr val="F26B43"/>
          </p15:clr>
        </p15:guide>
        <p15:guide id="8" orient="horz" pos="612">
          <p15:clr>
            <a:srgbClr val="F26B43"/>
          </p15:clr>
        </p15:guide>
        <p15:guide id="10" orient="horz" pos="867">
          <p15:clr>
            <a:srgbClr val="F26B43"/>
          </p15:clr>
        </p15:guide>
        <p15:guide id="11" orient="horz" pos="1835">
          <p15:clr>
            <a:srgbClr val="F26B43"/>
          </p15:clr>
        </p15:guide>
        <p15:guide id="12" orient="horz" pos="2447">
          <p15:clr>
            <a:srgbClr val="F26B43"/>
          </p15:clr>
        </p15:guide>
        <p15:guide id="13" orient="horz" pos="3059">
          <p15:clr>
            <a:srgbClr val="F26B43"/>
          </p15:clr>
        </p15:guide>
        <p15:guide id="14" orient="horz" pos="3657">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D6D3FCD-E14A-9352-1866-A4679F02BFF4}"/>
              </a:ext>
            </a:extLst>
          </p:cNvPr>
          <p:cNvGraphicFramePr>
            <a:graphicFrameLocks noChangeAspect="1"/>
          </p:cNvGraphicFramePr>
          <p:nvPr userDrawn="1">
            <p:custDataLst>
              <p:tags r:id="rId8"/>
            </p:custDataLst>
            <p:extLst>
              <p:ext uri="{D42A27DB-BD31-4B8C-83A1-F6EECF244321}">
                <p14:modId xmlns:p14="http://schemas.microsoft.com/office/powerpoint/2010/main" val="40730501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9" imgW="7772400" imgH="10058400" progId="TCLayout.ActiveDocument.1">
                  <p:embed/>
                </p:oleObj>
              </mc:Choice>
              <mc:Fallback>
                <p:oleObj name="think-cell Slide" r:id="rId9" imgW="7772400" imgH="10058400" progId="TCLayout.ActiveDocument.1">
                  <p:embed/>
                  <p:pic>
                    <p:nvPicPr>
                      <p:cNvPr id="4" name="think-cell data - do not delete" hidden="1">
                        <a:extLst>
                          <a:ext uri="{FF2B5EF4-FFF2-40B4-BE49-F238E27FC236}">
                            <a16:creationId xmlns:a16="http://schemas.microsoft.com/office/drawing/2014/main" id="{4D6D3FCD-E14A-9352-1866-A4679F02BFF4}"/>
                          </a:ext>
                        </a:extLst>
                      </p:cNvPr>
                      <p:cNvPicPr/>
                      <p:nvPr/>
                    </p:nvPicPr>
                    <p:blipFill>
                      <a:blip r:embed="rId10"/>
                      <a:stretch>
                        <a:fillRect/>
                      </a:stretch>
                    </p:blipFill>
                    <p:spPr>
                      <a:xfrm>
                        <a:off x="1588" y="1588"/>
                        <a:ext cx="1227" cy="1588"/>
                      </a:xfrm>
                      <a:prstGeom prst="rect">
                        <a:avLst/>
                      </a:prstGeom>
                    </p:spPr>
                  </p:pic>
                </p:oleObj>
              </mc:Fallback>
            </mc:AlternateContent>
          </a:graphicData>
        </a:graphic>
      </p:graphicFrame>
      <p:sp>
        <p:nvSpPr>
          <p:cNvPr id="8" name="Titelplatzhalter 1">
            <a:extLst>
              <a:ext uri="{FF2B5EF4-FFF2-40B4-BE49-F238E27FC236}">
                <a16:creationId xmlns:a16="http://schemas.microsoft.com/office/drawing/2014/main" id="{0E281AE7-0A7B-DDFB-7C2A-605D8511AD71}"/>
              </a:ext>
            </a:extLst>
          </p:cNvPr>
          <p:cNvSpPr>
            <a:spLocks noGrp="1"/>
          </p:cNvSpPr>
          <p:nvPr>
            <p:ph type="title"/>
          </p:nvPr>
        </p:nvSpPr>
        <p:spPr>
          <a:xfrm>
            <a:off x="515938" y="448248"/>
            <a:ext cx="11160125" cy="523302"/>
          </a:xfrm>
          <a:prstGeom prst="rect">
            <a:avLst/>
          </a:prstGeom>
        </p:spPr>
        <p:txBody>
          <a:bodyPr vert="horz" lIns="0" tIns="0" rIns="0" bIns="0" rtlCol="0" anchor="t" anchorCtr="0">
            <a:noAutofit/>
          </a:bodyPr>
          <a:lstStyle/>
          <a:p>
            <a:r>
              <a:rPr lang="en-US" dirty="0"/>
              <a:t>Click to edit primary Headline</a:t>
            </a:r>
            <a:endParaRPr lang="en-US" noProof="0" dirty="0"/>
          </a:p>
        </p:txBody>
      </p:sp>
      <p:sp>
        <p:nvSpPr>
          <p:cNvPr id="13" name="Textplatzhalter 2">
            <a:extLst>
              <a:ext uri="{FF2B5EF4-FFF2-40B4-BE49-F238E27FC236}">
                <a16:creationId xmlns:a16="http://schemas.microsoft.com/office/drawing/2014/main" id="{5C38BD9C-C63C-1A0B-81C5-D2F64FC3F254}"/>
              </a:ext>
            </a:extLst>
          </p:cNvPr>
          <p:cNvSpPr>
            <a:spLocks noGrp="1"/>
          </p:cNvSpPr>
          <p:nvPr>
            <p:ph type="body" idx="1"/>
          </p:nvPr>
        </p:nvSpPr>
        <p:spPr>
          <a:xfrm>
            <a:off x="515938" y="1375576"/>
            <a:ext cx="11160125" cy="4850553"/>
          </a:xfrm>
          <a:prstGeom prst="rect">
            <a:avLst/>
          </a:prstGeom>
        </p:spPr>
        <p:txBody>
          <a:bodyPr vert="horz" lIns="0" tIns="0" rIns="0" bIns="0" rtlCol="0" anchor="t" anchorCtr="0">
            <a:noAutofit/>
          </a:bodyPr>
          <a:lstStyle/>
          <a:p>
            <a:pPr lvl="0"/>
            <a:r>
              <a:rPr lang="de-DE" dirty="0"/>
              <a:t>Edit </a:t>
            </a:r>
            <a:r>
              <a:rPr lang="de-DE" dirty="0" err="1"/>
              <a:t>mas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noProof="0" dirty="0"/>
          </a:p>
          <a:p>
            <a:pPr lvl="5"/>
            <a:r>
              <a:rPr lang="en-US" noProof="0" dirty="0"/>
              <a:t>Sixth level</a:t>
            </a:r>
            <a:endParaRPr lang="de-DE" dirty="0"/>
          </a:p>
          <a:p>
            <a:pPr lvl="5"/>
            <a:endParaRPr lang="en-US" noProof="0" dirty="0"/>
          </a:p>
        </p:txBody>
      </p:sp>
      <p:pic>
        <p:nvPicPr>
          <p:cNvPr id="15" name="Grafik 14">
            <a:extLst>
              <a:ext uri="{FF2B5EF4-FFF2-40B4-BE49-F238E27FC236}">
                <a16:creationId xmlns:a16="http://schemas.microsoft.com/office/drawing/2014/main" id="{A120C827-AE3F-752D-63BE-3CA45201ACE3}"/>
              </a:ext>
            </a:extLst>
          </p:cNvPr>
          <p:cNvPicPr>
            <a:picLocks noChangeAspect="1"/>
          </p:cNvPicPr>
          <p:nvPr userDrawn="1"/>
        </p:nvPicPr>
        <p:blipFill>
          <a:blip r:embed="rId11">
            <a:extLst>
              <a:ext uri="{96DAC541-7B7A-43D3-8B79-37D633B846F1}">
                <asvg:svgBlip xmlns:asvg="http://schemas.microsoft.com/office/drawing/2016/SVG/main" r:embed="rId12"/>
              </a:ext>
            </a:extLst>
          </a:blip>
          <a:srcRect/>
          <a:stretch/>
        </p:blipFill>
        <p:spPr>
          <a:xfrm>
            <a:off x="6136" y="6308725"/>
            <a:ext cx="12193200" cy="38103"/>
          </a:xfrm>
          <a:prstGeom prst="rect">
            <a:avLst/>
          </a:prstGeom>
        </p:spPr>
      </p:pic>
      <p:pic>
        <p:nvPicPr>
          <p:cNvPr id="3" name="Grafik 2">
            <a:extLst>
              <a:ext uri="{FF2B5EF4-FFF2-40B4-BE49-F238E27FC236}">
                <a16:creationId xmlns:a16="http://schemas.microsoft.com/office/drawing/2014/main" id="{C20F45F9-4298-D235-4671-665951B36D1F}"/>
              </a:ext>
            </a:extLst>
          </p:cNvPr>
          <p:cNvPicPr>
            <a:picLocks noChangeAspect="1"/>
          </p:cNvPicPr>
          <p:nvPr userDrawn="1"/>
        </p:nvPicPr>
        <p:blipFill>
          <a:blip r:embed="rId13">
            <a:extLst>
              <a:ext uri="{96DAC541-7B7A-43D3-8B79-37D633B846F1}">
                <asvg:svgBlip xmlns:asvg="http://schemas.microsoft.com/office/drawing/2016/SVG/main" r:embed="rId14"/>
              </a:ext>
            </a:extLst>
          </a:blip>
          <a:srcRect/>
          <a:stretch/>
        </p:blipFill>
        <p:spPr>
          <a:xfrm>
            <a:off x="10964433" y="6391320"/>
            <a:ext cx="800118" cy="377834"/>
          </a:xfrm>
          <a:prstGeom prst="rect">
            <a:avLst/>
          </a:prstGeom>
        </p:spPr>
      </p:pic>
    </p:spTree>
    <p:extLst>
      <p:ext uri="{BB962C8B-B14F-4D97-AF65-F5344CB8AC3E}">
        <p14:creationId xmlns:p14="http://schemas.microsoft.com/office/powerpoint/2010/main" val="2234575581"/>
      </p:ext>
    </p:extLst>
  </p:cSld>
  <p:clrMap bg1="lt1" tx1="dk1" bg2="lt2" tx2="dk2" accent1="accent1" accent2="accent2" accent3="accent3" accent4="accent4" accent5="accent5" accent6="accent6" hlink="hlink" folHlink="folHlink"/>
  <p:sldLayoutIdLst>
    <p:sldLayoutId id="2147487586" r:id="rId1"/>
    <p:sldLayoutId id="2147487587" r:id="rId2"/>
    <p:sldLayoutId id="2147487588" r:id="rId3"/>
    <p:sldLayoutId id="2147487589" r:id="rId4"/>
    <p:sldLayoutId id="2147487590" r:id="rId5"/>
    <p:sldLayoutId id="2147487591" r:id="rId6"/>
  </p:sldLayoutIdLst>
  <p:hf hdr="0"/>
  <p:txStyles>
    <p:titleStyle>
      <a:lvl1pPr algn="l" defTabSz="914400" rtl="0" eaLnBrk="1" latinLnBrk="0" hangingPunct="1">
        <a:lnSpc>
          <a:spcPct val="90000"/>
        </a:lnSpc>
        <a:spcBef>
          <a:spcPct val="0"/>
        </a:spcBef>
        <a:buNone/>
        <a:defRPr sz="1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accent4"/>
          </a:solidFill>
          <a:latin typeface="+mn-lt"/>
          <a:ea typeface="+mn-ea"/>
          <a:cs typeface="+mn-cs"/>
        </a:defRPr>
      </a:lvl1pPr>
      <a:lvl2pPr marL="179388" indent="-179388" algn="l" defTabSz="914400" rtl="0" eaLnBrk="1" latinLnBrk="0" hangingPunct="1">
        <a:lnSpc>
          <a:spcPct val="100000"/>
        </a:lnSpc>
        <a:spcBef>
          <a:spcPts val="0"/>
        </a:spcBef>
        <a:spcAft>
          <a:spcPts val="600"/>
        </a:spcAft>
        <a:buFont typeface="Wingdings 3" panose="05040102010807070707" pitchFamily="18" charset="2"/>
        <a:buChar char="}"/>
        <a:tabLst/>
        <a:defRPr sz="1400" kern="1200">
          <a:solidFill>
            <a:schemeClr val="tx1"/>
          </a:solidFill>
          <a:latin typeface="+mn-lt"/>
          <a:ea typeface="+mn-ea"/>
          <a:cs typeface="+mn-cs"/>
        </a:defRPr>
      </a:lvl2pPr>
      <a:lvl3pPr marL="355600" indent="-173038"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tabLst/>
        <a:defRPr sz="1400" kern="1200">
          <a:solidFill>
            <a:schemeClr val="tx1"/>
          </a:solidFill>
          <a:latin typeface="+mn-lt"/>
          <a:ea typeface="+mn-ea"/>
          <a:cs typeface="+mn-cs"/>
        </a:defRPr>
      </a:lvl3pPr>
      <a:lvl4pPr marL="533400" indent="-171450" algn="l" defTabSz="914400" rtl="0" eaLnBrk="1" latinLnBrk="0" hangingPunct="1">
        <a:lnSpc>
          <a:spcPct val="100000"/>
        </a:lnSpc>
        <a:spcBef>
          <a:spcPts val="0"/>
        </a:spcBef>
        <a:spcAft>
          <a:spcPts val="600"/>
        </a:spcAft>
        <a:buClr>
          <a:schemeClr val="accent2"/>
        </a:buClr>
        <a:buFont typeface="Wingdings 3" panose="05040102010807070707" pitchFamily="18" charset="2"/>
        <a:buChar char="}"/>
        <a:tabLst/>
        <a:defRPr sz="1400" kern="1200">
          <a:solidFill>
            <a:schemeClr val="tx1"/>
          </a:solidFill>
          <a:latin typeface="+mn-lt"/>
          <a:ea typeface="+mn-ea"/>
          <a:cs typeface="+mn-cs"/>
        </a:defRPr>
      </a:lvl4pPr>
      <a:lvl5pPr marL="711200" indent="-171450" algn="l" defTabSz="914400" rtl="0" eaLnBrk="1" latinLnBrk="0" hangingPunct="1">
        <a:lnSpc>
          <a:spcPct val="100000"/>
        </a:lnSpc>
        <a:spcBef>
          <a:spcPts val="0"/>
        </a:spcBef>
        <a:spcAft>
          <a:spcPts val="600"/>
        </a:spcAft>
        <a:buClr>
          <a:schemeClr val="accent3"/>
        </a:buClr>
        <a:buFont typeface="Wingdings 3" panose="05040102010807070707" pitchFamily="18" charset="2"/>
        <a:buChar char="}"/>
        <a:tabLst/>
        <a:defRPr sz="1400" kern="1200">
          <a:solidFill>
            <a:schemeClr val="tx1"/>
          </a:solidFill>
          <a:latin typeface="+mn-lt"/>
          <a:ea typeface="+mn-ea"/>
          <a:cs typeface="+mn-cs"/>
        </a:defRPr>
      </a:lvl5pPr>
      <a:lvl6pPr marL="889000" indent="-171450" algn="l" defTabSz="914400" rtl="0" eaLnBrk="1" latinLnBrk="0" hangingPunct="1">
        <a:lnSpc>
          <a:spcPct val="100000"/>
        </a:lnSpc>
        <a:spcBef>
          <a:spcPts val="0"/>
        </a:spcBef>
        <a:spcAft>
          <a:spcPts val="600"/>
        </a:spcAft>
        <a:buClr>
          <a:schemeClr val="accent4"/>
        </a:buClr>
        <a:buFont typeface="Wingdings 3" panose="05040102010807070707" pitchFamily="18" charset="2"/>
        <a:buChar char="}"/>
        <a:tabLst/>
        <a:defRPr sz="14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None/>
        <a:defRPr sz="3200" kern="120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None/>
        <a:defRPr sz="4400" kern="1200">
          <a:solidFill>
            <a:schemeClr val="tx1"/>
          </a:solidFill>
          <a:latin typeface="+mn-lt"/>
          <a:ea typeface="+mn-ea"/>
          <a:cs typeface="+mn-cs"/>
        </a:defRPr>
      </a:lvl8pPr>
      <a:lvl9pPr marL="0" indent="0" algn="l" defTabSz="914400" rtl="0" eaLnBrk="1" latinLnBrk="0" hangingPunct="1">
        <a:lnSpc>
          <a:spcPct val="100000"/>
        </a:lnSpc>
        <a:spcBef>
          <a:spcPts val="0"/>
        </a:spcBef>
        <a:spcAft>
          <a:spcPts val="600"/>
        </a:spcAft>
        <a:buFont typeface="Arial" panose="020B0604020202020204" pitchFamily="34" charset="0"/>
        <a:buNone/>
        <a:defRPr sz="6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7355">
          <p15:clr>
            <a:srgbClr val="F26B43"/>
          </p15:clr>
        </p15:guide>
        <p15:guide id="5" pos="325">
          <p15:clr>
            <a:srgbClr val="F26B43"/>
          </p15:clr>
        </p15:guide>
        <p15:guide id="7" orient="horz" pos="3974">
          <p15:clr>
            <a:srgbClr val="F26B43"/>
          </p15:clr>
        </p15:guide>
        <p15:guide id="8" orient="horz" pos="612">
          <p15:clr>
            <a:srgbClr val="F26B43"/>
          </p15:clr>
        </p15:guide>
        <p15:guide id="10" orient="horz" pos="867">
          <p15:clr>
            <a:srgbClr val="F26B43"/>
          </p15:clr>
        </p15:guide>
        <p15:guide id="11" orient="horz" pos="1835">
          <p15:clr>
            <a:srgbClr val="F26B43"/>
          </p15:clr>
        </p15:guide>
        <p15:guide id="12" orient="horz" pos="2447">
          <p15:clr>
            <a:srgbClr val="F26B43"/>
          </p15:clr>
        </p15:guide>
        <p15:guide id="13" orient="horz" pos="3059">
          <p15:clr>
            <a:srgbClr val="F26B43"/>
          </p15:clr>
        </p15:guide>
        <p15:guide id="14" orient="horz" pos="365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1.xml"/></Relationships>
</file>

<file path=ppt/slides/_rels/slide2.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7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8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8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8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8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1.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81.xml"/><Relationship Id="rId1" Type="http://schemas.openxmlformats.org/officeDocument/2006/relationships/tags" Target="../tags/tag50.xml"/><Relationship Id="rId4" Type="http://schemas.openxmlformats.org/officeDocument/2006/relationships/image" Target="../media/image106.w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A107D70-9816-2D4B-8551-36AD55B23ABB}"/>
              </a:ext>
            </a:extLst>
          </p:cNvPr>
          <p:cNvSpPr>
            <a:spLocks noGrp="1"/>
          </p:cNvSpPr>
          <p:nvPr>
            <p:ph type="ctrTitle"/>
          </p:nvPr>
        </p:nvSpPr>
        <p:spPr/>
        <p:txBody>
          <a:bodyPr/>
          <a:lstStyle/>
          <a:p>
            <a:r>
              <a:rPr lang="en-GB" dirty="0"/>
              <a:t>3.</a:t>
            </a:r>
            <a:r>
              <a:rPr lang="sl-SI" dirty="0"/>
              <a:t>3</a:t>
            </a:r>
            <a:r>
              <a:rPr lang="en-GB" dirty="0"/>
              <a:t> Improving decoupling processes status</a:t>
            </a:r>
            <a:br>
              <a:rPr lang="en-GB" dirty="0"/>
            </a:br>
            <a:endParaRPr lang="en-GB" dirty="0"/>
          </a:p>
        </p:txBody>
      </p:sp>
      <p:sp>
        <p:nvSpPr>
          <p:cNvPr id="5" name="Subtitle 4">
            <a:extLst>
              <a:ext uri="{FF2B5EF4-FFF2-40B4-BE49-F238E27FC236}">
                <a16:creationId xmlns:a16="http://schemas.microsoft.com/office/drawing/2014/main" id="{AE9054AC-5583-3849-A0B3-867DB1335964}"/>
              </a:ext>
            </a:extLst>
          </p:cNvPr>
          <p:cNvSpPr>
            <a:spLocks noGrp="1"/>
          </p:cNvSpPr>
          <p:nvPr>
            <p:ph type="subTitle" idx="1"/>
          </p:nvPr>
        </p:nvSpPr>
        <p:spPr/>
        <p:txBody>
          <a:bodyPr>
            <a:normAutofit/>
          </a:bodyPr>
          <a:lstStyle/>
          <a:p>
            <a:pPr marL="0" indent="0">
              <a:buNone/>
            </a:pPr>
            <a:r>
              <a:rPr lang="en-GB" dirty="0"/>
              <a:t>1</a:t>
            </a:r>
            <a:r>
              <a:rPr lang="sl-SI" dirty="0"/>
              <a:t>0</a:t>
            </a:r>
            <a:r>
              <a:rPr lang="en-GB"/>
              <a:t> </a:t>
            </a:r>
            <a:r>
              <a:rPr lang="en-GB" dirty="0"/>
              <a:t>February 2026</a:t>
            </a:r>
          </a:p>
          <a:p>
            <a:pPr marL="0" indent="0">
              <a:buNone/>
            </a:pPr>
            <a:r>
              <a:rPr lang="en-GB" dirty="0"/>
              <a:t>MESC</a:t>
            </a:r>
          </a:p>
        </p:txBody>
      </p:sp>
      <p:sp>
        <p:nvSpPr>
          <p:cNvPr id="2" name="TextBox 1">
            <a:extLst>
              <a:ext uri="{FF2B5EF4-FFF2-40B4-BE49-F238E27FC236}">
                <a16:creationId xmlns:a16="http://schemas.microsoft.com/office/drawing/2014/main" id="{2DE3BE41-F7EC-9145-952A-44E351F504A9}"/>
              </a:ext>
            </a:extLst>
          </p:cNvPr>
          <p:cNvSpPr txBox="1"/>
          <p:nvPr/>
        </p:nvSpPr>
        <p:spPr>
          <a:xfrm>
            <a:off x="6400800" y="5949538"/>
            <a:ext cx="0" cy="0"/>
          </a:xfrm>
          <a:prstGeom prst="rect">
            <a:avLst/>
          </a:prstGeom>
        </p:spPr>
        <p:txBody>
          <a:bodyPr vert="horz" wrap="none" lIns="91440" tIns="45720" rIns="91440" bIns="45720" rtlCol="0" anchor="t">
            <a:normAutofit fontScale="25000" lnSpcReduction="20000"/>
          </a:bodyPr>
          <a:lstStyle/>
          <a:p>
            <a:pPr algn="l"/>
            <a:endParaRPr lang="en-GB" b="1" dirty="0">
              <a:solidFill>
                <a:schemeClr val="accent1"/>
              </a:solidFill>
            </a:endParaRPr>
          </a:p>
        </p:txBody>
      </p:sp>
      <p:sp>
        <p:nvSpPr>
          <p:cNvPr id="6" name="Subtitle 2">
            <a:extLst>
              <a:ext uri="{FF2B5EF4-FFF2-40B4-BE49-F238E27FC236}">
                <a16:creationId xmlns:a16="http://schemas.microsoft.com/office/drawing/2014/main" id="{2237D659-6571-BD49-88B9-1244CB858646}"/>
              </a:ext>
            </a:extLst>
          </p:cNvPr>
          <p:cNvSpPr txBox="1">
            <a:spLocks/>
          </p:cNvSpPr>
          <p:nvPr/>
        </p:nvSpPr>
        <p:spPr>
          <a:xfrm>
            <a:off x="5114930" y="5738707"/>
            <a:ext cx="6449470" cy="390293"/>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Clr>
                <a:schemeClr val="tx2"/>
              </a:buClr>
              <a:buFont typeface="Wingdings" pitchFamily="2" charset="2"/>
              <a:buNone/>
              <a:defRPr sz="2000" kern="1200">
                <a:solidFill>
                  <a:schemeClr val="bg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Clr>
                <a:schemeClr val="tx2"/>
              </a:buClr>
              <a:buFont typeface="Wingdings" pitchFamily="2" charset="2"/>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Clr>
                <a:schemeClr val="tx2"/>
              </a:buClr>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Clr>
                <a:schemeClr val="tx2"/>
              </a:buClr>
              <a:buFont typeface="System Font Regular"/>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Clr>
                <a:schemeClr val="tx1"/>
              </a:buClr>
              <a:buFont typeface="System Font Regular"/>
              <a:buNone/>
              <a:defRPr sz="16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GB" b="1" dirty="0">
              <a:solidFill>
                <a:schemeClr val="accent1"/>
              </a:solidFill>
            </a:endParaRPr>
          </a:p>
        </p:txBody>
      </p:sp>
    </p:spTree>
    <p:extLst>
      <p:ext uri="{BB962C8B-B14F-4D97-AF65-F5344CB8AC3E}">
        <p14:creationId xmlns:p14="http://schemas.microsoft.com/office/powerpoint/2010/main" val="31929542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43054B-C9B5-6C49-66DF-6A673ECDF1B9}"/>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4C31F908-A8EE-D182-CEAC-7C86BFD96EC0}"/>
              </a:ext>
            </a:extLst>
          </p:cNvPr>
          <p:cNvSpPr>
            <a:spLocks noGrp="1"/>
          </p:cNvSpPr>
          <p:nvPr>
            <p:ph type="title"/>
          </p:nvPr>
        </p:nvSpPr>
        <p:spPr>
          <a:xfrm>
            <a:off x="1975556" y="0"/>
            <a:ext cx="9520444" cy="1080000"/>
          </a:xfrm>
        </p:spPr>
        <p:txBody>
          <a:bodyPr/>
          <a:lstStyle/>
          <a:p>
            <a:r>
              <a:rPr lang="en-GB" sz="2800" dirty="0"/>
              <a:t>WS 5 - Preventing multiple SDAC prices in a bidding zone </a:t>
            </a:r>
          </a:p>
        </p:txBody>
      </p:sp>
      <p:sp>
        <p:nvSpPr>
          <p:cNvPr id="3" name="Slide Number Placeholder 2">
            <a:extLst>
              <a:ext uri="{FF2B5EF4-FFF2-40B4-BE49-F238E27FC236}">
                <a16:creationId xmlns:a16="http://schemas.microsoft.com/office/drawing/2014/main" id="{7F43E67A-6164-6403-E302-89C5D6AD9214}"/>
              </a:ext>
            </a:extLst>
          </p:cNvPr>
          <p:cNvSpPr>
            <a:spLocks noGrp="1"/>
          </p:cNvSpPr>
          <p:nvPr>
            <p:ph type="sldNum" sz="quarter" idx="12"/>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68E16D21-2873-7F4D-BC1C-4DCC7B7156B8}" type="slidenum">
              <a:rPr kumimoji="0" lang="en-GB" sz="1500" b="1"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ctr" defTabSz="457200" rtl="0" eaLnBrk="1" fontAlgn="auto" latinLnBrk="0" hangingPunct="1">
                <a:lnSpc>
                  <a:spcPct val="100000"/>
                </a:lnSpc>
                <a:spcBef>
                  <a:spcPts val="0"/>
                </a:spcBef>
                <a:spcAft>
                  <a:spcPts val="0"/>
                </a:spcAft>
                <a:buClrTx/>
                <a:buSzTx/>
                <a:buFontTx/>
                <a:buNone/>
                <a:tabLst/>
                <a:defRPr/>
              </a:pPr>
              <a:t>10</a:t>
            </a:fld>
            <a:endParaRPr kumimoji="0" lang="en-GB" sz="15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 name="Text Placeholder 8">
            <a:extLst>
              <a:ext uri="{FF2B5EF4-FFF2-40B4-BE49-F238E27FC236}">
                <a16:creationId xmlns:a16="http://schemas.microsoft.com/office/drawing/2014/main" id="{E4658CB1-8972-4493-4003-C0E226116C05}"/>
              </a:ext>
            </a:extLst>
          </p:cNvPr>
          <p:cNvSpPr>
            <a:spLocks noGrp="1"/>
          </p:cNvSpPr>
          <p:nvPr>
            <p:ph type="body" sz="quarter" idx="13"/>
          </p:nvPr>
        </p:nvSpPr>
        <p:spPr/>
        <p:txBody>
          <a:bodyPr/>
          <a:lstStyle/>
          <a:p>
            <a:r>
              <a:rPr lang="en-GB" noProof="0" dirty="0"/>
              <a:t>Core NEMOs and TSOs are implementing Volume Allocation as an alternative for Local Auctions when partial decoupling happen</a:t>
            </a:r>
          </a:p>
          <a:p>
            <a:r>
              <a:rPr lang="en-GB" noProof="0" dirty="0"/>
              <a:t>With Volume Allocation, the SDAC price for a NEMO that is partially decoupled in a bidding zone is the same as the SDAC price for the NEMO that has remained coupled in that bidding zone.</a:t>
            </a:r>
          </a:p>
          <a:p>
            <a:r>
              <a:rPr lang="en-GB" noProof="0" dirty="0"/>
              <a:t>ACER was informed that Nord Pool will implement Volume Allocation as fallback mechanism for the Core Bidding Areas in January.</a:t>
            </a:r>
          </a:p>
          <a:p>
            <a:r>
              <a:rPr lang="en-GB" noProof="0" dirty="0"/>
              <a:t>Other Core MNA NEMOs will implement Volume Allocation in production shortly after the relevant MNA are approved.</a:t>
            </a:r>
          </a:p>
          <a:p>
            <a:pPr marL="0" indent="0">
              <a:buNone/>
            </a:pPr>
            <a:r>
              <a:rPr lang="en-GB" b="1" cap="small" noProof="0" dirty="0">
                <a:solidFill>
                  <a:schemeClr val="accent1"/>
                </a:solidFill>
              </a:rPr>
              <a:t>RISK – in case of partial decoupling today, there will be two SDAC prices for the MNA bidding zone with one nemo decoupled (except Nord Pool)</a:t>
            </a:r>
          </a:p>
        </p:txBody>
      </p:sp>
      <p:sp>
        <p:nvSpPr>
          <p:cNvPr id="10" name="Text Placeholder 9">
            <a:extLst>
              <a:ext uri="{FF2B5EF4-FFF2-40B4-BE49-F238E27FC236}">
                <a16:creationId xmlns:a16="http://schemas.microsoft.com/office/drawing/2014/main" id="{9859B4F4-763C-9587-DA75-00EB1B82BFFB}"/>
              </a:ext>
            </a:extLst>
          </p:cNvPr>
          <p:cNvSpPr>
            <a:spLocks noGrp="1"/>
          </p:cNvSpPr>
          <p:nvPr>
            <p:ph type="body" sz="quarter" idx="14"/>
          </p:nvPr>
        </p:nvSpPr>
        <p:spPr/>
        <p:txBody>
          <a:bodyPr/>
          <a:lstStyle/>
          <a:p>
            <a:endParaRPr lang="en-GB" dirty="0"/>
          </a:p>
        </p:txBody>
      </p:sp>
      <p:sp>
        <p:nvSpPr>
          <p:cNvPr id="6" name="TextBox 5">
            <a:extLst>
              <a:ext uri="{FF2B5EF4-FFF2-40B4-BE49-F238E27FC236}">
                <a16:creationId xmlns:a16="http://schemas.microsoft.com/office/drawing/2014/main" id="{A8DF6F9D-E3A7-59E8-4CC4-68C2A4FE917C}"/>
              </a:ext>
            </a:extLst>
          </p:cNvPr>
          <p:cNvSpPr txBox="1"/>
          <p:nvPr/>
        </p:nvSpPr>
        <p:spPr>
          <a:xfrm>
            <a:off x="11709779" y="3234519"/>
            <a:ext cx="914400" cy="914400"/>
          </a:xfrm>
          <a:prstGeom prst="rect">
            <a:avLst/>
          </a:prstGeom>
        </p:spPr>
        <p:txBody>
          <a:bodyPr vert="horz" wrap="none" lIns="91440" tIns="45720" rIns="91440" bIns="45720" rtlCol="0" anchor="t">
            <a:norm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004FE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0003326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B620E1-0182-49E1-0FD3-7784A7E6E345}"/>
              </a:ext>
            </a:extLst>
          </p:cNvPr>
          <p:cNvSpPr>
            <a:spLocks noGrp="1"/>
          </p:cNvSpPr>
          <p:nvPr>
            <p:ph type="title"/>
          </p:nvPr>
        </p:nvSpPr>
        <p:spPr/>
        <p:txBody>
          <a:bodyPr/>
          <a:lstStyle/>
          <a:p>
            <a:r>
              <a:rPr lang="en-GB" dirty="0"/>
              <a:t>Discussed topics</a:t>
            </a:r>
          </a:p>
        </p:txBody>
      </p:sp>
      <p:sp>
        <p:nvSpPr>
          <p:cNvPr id="3" name="Slide Number Placeholder 2">
            <a:extLst>
              <a:ext uri="{FF2B5EF4-FFF2-40B4-BE49-F238E27FC236}">
                <a16:creationId xmlns:a16="http://schemas.microsoft.com/office/drawing/2014/main" id="{B206BD38-6F17-29CC-C2E6-ED6B3D864E22}"/>
              </a:ext>
            </a:extLst>
          </p:cNvPr>
          <p:cNvSpPr>
            <a:spLocks noGrp="1"/>
          </p:cNvSpPr>
          <p:nvPr>
            <p:ph type="sldNum" sz="quarter" idx="12"/>
          </p:nvPr>
        </p:nvSpPr>
        <p:spPr/>
        <p:txBody>
          <a:bodyPr/>
          <a:lstStyle/>
          <a:p>
            <a:fld id="{68E16D21-2873-7F4D-BC1C-4DCC7B7156B8}" type="slidenum">
              <a:rPr lang="en-GB" smtClean="0"/>
              <a:t>2</a:t>
            </a:fld>
            <a:endParaRPr lang="en-GB" dirty="0"/>
          </a:p>
        </p:txBody>
      </p:sp>
      <p:sp>
        <p:nvSpPr>
          <p:cNvPr id="5" name="Text Placeholder 4">
            <a:extLst>
              <a:ext uri="{FF2B5EF4-FFF2-40B4-BE49-F238E27FC236}">
                <a16:creationId xmlns:a16="http://schemas.microsoft.com/office/drawing/2014/main" id="{8F3327F9-DB5C-7FA6-601F-00612E1FD840}"/>
              </a:ext>
            </a:extLst>
          </p:cNvPr>
          <p:cNvSpPr>
            <a:spLocks noGrp="1"/>
          </p:cNvSpPr>
          <p:nvPr>
            <p:ph type="body" sz="quarter" idx="14"/>
          </p:nvPr>
        </p:nvSpPr>
        <p:spPr/>
        <p:txBody>
          <a:bodyPr/>
          <a:lstStyle/>
          <a:p>
            <a:endParaRPr lang="en-GB" dirty="0"/>
          </a:p>
        </p:txBody>
      </p:sp>
      <p:pic>
        <p:nvPicPr>
          <p:cNvPr id="6" name="Picture 5" descr="A diagram of a process&#10;&#10;AI-generated content may be incorrect.">
            <a:extLst>
              <a:ext uri="{FF2B5EF4-FFF2-40B4-BE49-F238E27FC236}">
                <a16:creationId xmlns:a16="http://schemas.microsoft.com/office/drawing/2014/main" id="{89B7F7EB-BCF7-271F-1DE1-DF900A5E19DB}"/>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593751" y="1231507"/>
            <a:ext cx="6468026" cy="4595552"/>
          </a:xfrm>
          <a:prstGeom prst="rect">
            <a:avLst/>
          </a:prstGeom>
          <a:noFill/>
          <a:ln>
            <a:noFill/>
          </a:ln>
        </p:spPr>
      </p:pic>
    </p:spTree>
    <p:extLst>
      <p:ext uri="{BB962C8B-B14F-4D97-AF65-F5344CB8AC3E}">
        <p14:creationId xmlns:p14="http://schemas.microsoft.com/office/powerpoint/2010/main" val="11380104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66755D-F9DC-5544-B2F3-A4B6B0B84F90}"/>
              </a:ext>
            </a:extLst>
          </p:cNvPr>
          <p:cNvSpPr>
            <a:spLocks noGrp="1"/>
          </p:cNvSpPr>
          <p:nvPr>
            <p:ph type="title"/>
          </p:nvPr>
        </p:nvSpPr>
        <p:spPr/>
        <p:txBody>
          <a:bodyPr/>
          <a:lstStyle/>
          <a:p>
            <a:r>
              <a:rPr lang="en-GB" noProof="0" dirty="0"/>
              <a:t>Topics</a:t>
            </a:r>
            <a:endParaRPr lang="en-GB" dirty="0"/>
          </a:p>
        </p:txBody>
      </p:sp>
      <p:sp>
        <p:nvSpPr>
          <p:cNvPr id="3" name="Slide Number Placeholder 2">
            <a:extLst>
              <a:ext uri="{FF2B5EF4-FFF2-40B4-BE49-F238E27FC236}">
                <a16:creationId xmlns:a16="http://schemas.microsoft.com/office/drawing/2014/main" id="{9D5E76D8-5BBE-4F4B-8F01-F3B2663004F4}"/>
              </a:ext>
            </a:extLst>
          </p:cNvPr>
          <p:cNvSpPr>
            <a:spLocks noGrp="1"/>
          </p:cNvSpPr>
          <p:nvPr>
            <p:ph type="sldNum" sz="quarter" idx="12"/>
          </p:nvPr>
        </p:nvSpPr>
        <p:spPr/>
        <p:txBody>
          <a:bodyPr/>
          <a:lstStyle/>
          <a:p>
            <a:fld id="{68E16D21-2873-7F4D-BC1C-4DCC7B7156B8}" type="slidenum">
              <a:rPr lang="en-GB" smtClean="0"/>
              <a:pPr/>
              <a:t>3</a:t>
            </a:fld>
            <a:endParaRPr lang="en-GB" dirty="0"/>
          </a:p>
        </p:txBody>
      </p:sp>
      <p:graphicFrame>
        <p:nvGraphicFramePr>
          <p:cNvPr id="5" name="Table 5">
            <a:extLst>
              <a:ext uri="{FF2B5EF4-FFF2-40B4-BE49-F238E27FC236}">
                <a16:creationId xmlns:a16="http://schemas.microsoft.com/office/drawing/2014/main" id="{4F7B9D92-DFCB-D442-A361-317B54A968FA}"/>
              </a:ext>
            </a:extLst>
          </p:cNvPr>
          <p:cNvGraphicFramePr>
            <a:graphicFrameLocks noGrp="1"/>
          </p:cNvGraphicFramePr>
          <p:nvPr>
            <p:ph idx="1"/>
            <p:extLst>
              <p:ext uri="{D42A27DB-BD31-4B8C-83A1-F6EECF244321}">
                <p14:modId xmlns:p14="http://schemas.microsoft.com/office/powerpoint/2010/main" val="4206754634"/>
              </p:ext>
            </p:extLst>
          </p:nvPr>
        </p:nvGraphicFramePr>
        <p:xfrm>
          <a:off x="1907812" y="1394610"/>
          <a:ext cx="8376376" cy="4068780"/>
        </p:xfrm>
        <a:graphic>
          <a:graphicData uri="http://schemas.openxmlformats.org/drawingml/2006/table">
            <a:tbl>
              <a:tblPr firstRow="1" bandRow="1">
                <a:tableStyleId>{5C22544A-7EE6-4342-B048-85BDC9FD1C3A}</a:tableStyleId>
              </a:tblPr>
              <a:tblGrid>
                <a:gridCol w="8376376">
                  <a:extLst>
                    <a:ext uri="{9D8B030D-6E8A-4147-A177-3AD203B41FA5}">
                      <a16:colId xmlns:a16="http://schemas.microsoft.com/office/drawing/2014/main" val="3082834863"/>
                    </a:ext>
                  </a:extLst>
                </a:gridCol>
              </a:tblGrid>
              <a:tr h="383048">
                <a:tc>
                  <a:txBody>
                    <a:bodyPr/>
                    <a:lstStyle/>
                    <a:p>
                      <a:r>
                        <a:rPr lang="en-GB" sz="1400" dirty="0"/>
                        <a:t>Topic</a:t>
                      </a:r>
                    </a:p>
                  </a:txBody>
                  <a:tcPr marL="180000" marR="180000" marT="90000" marB="90000" anchor="ctr"/>
                </a:tc>
                <a:extLst>
                  <a:ext uri="{0D108BD9-81ED-4DB2-BD59-A6C34878D82A}">
                    <a16:rowId xmlns:a16="http://schemas.microsoft.com/office/drawing/2014/main" val="3482040380"/>
                  </a:ext>
                </a:extLst>
              </a:tr>
              <a:tr h="669420">
                <a:tc>
                  <a:txBody>
                    <a:bodyPr/>
                    <a:lstStyle/>
                    <a:p>
                      <a:pPr marL="0" indent="0" algn="l" defTabSz="914400" rtl="0" eaLnBrk="1" latinLnBrk="0" hangingPunct="1">
                        <a:spcBef>
                          <a:spcPts val="300"/>
                        </a:spcBef>
                        <a:spcAft>
                          <a:spcPts val="300"/>
                        </a:spcAft>
                        <a:buNone/>
                      </a:pPr>
                      <a:r>
                        <a:rPr lang="en-GB" sz="1200" b="1" kern="1200" dirty="0">
                          <a:solidFill>
                            <a:schemeClr val="tx1"/>
                          </a:solidFill>
                        </a:rPr>
                        <a:t>WS 3: </a:t>
                      </a:r>
                      <a:r>
                        <a:rPr lang="en-GB" sz="1200" b="0" kern="1200" dirty="0">
                          <a:solidFill>
                            <a:schemeClr val="tx1"/>
                          </a:solidFill>
                        </a:rPr>
                        <a:t>Optimise existing SDAC and SIDC timings and procedures</a:t>
                      </a:r>
                    </a:p>
                    <a:p>
                      <a:pPr marL="171450" indent="-171450" algn="l" defTabSz="914400" rtl="0" eaLnBrk="1" latinLnBrk="0" hangingPunct="1">
                        <a:spcBef>
                          <a:spcPts val="300"/>
                        </a:spcBef>
                        <a:spcAft>
                          <a:spcPts val="300"/>
                        </a:spcAft>
                        <a:buFontTx/>
                        <a:buChar char="-"/>
                      </a:pPr>
                      <a:r>
                        <a:rPr lang="en-GB" sz="1200" b="0" kern="1200" dirty="0">
                          <a:solidFill>
                            <a:schemeClr val="tx1"/>
                          </a:solidFill>
                        </a:rPr>
                        <a:t>Optimise existing timings</a:t>
                      </a:r>
                    </a:p>
                  </a:txBody>
                  <a:tcPr marL="180000" marR="180000" marT="90000" marB="90000" anchor="ctr"/>
                </a:tc>
                <a:extLst>
                  <a:ext uri="{0D108BD9-81ED-4DB2-BD59-A6C34878D82A}">
                    <a16:rowId xmlns:a16="http://schemas.microsoft.com/office/drawing/2014/main" val="852139353"/>
                  </a:ext>
                </a:extLst>
              </a:tr>
              <a:tr h="625616">
                <a:tc>
                  <a:txBody>
                    <a:bodyPr/>
                    <a:lstStyle/>
                    <a:p>
                      <a:pPr marL="0" indent="0" algn="l" defTabSz="914400" rtl="0" eaLnBrk="1" latinLnBrk="0" hangingPunct="1">
                        <a:spcBef>
                          <a:spcPts val="300"/>
                        </a:spcBef>
                        <a:spcAft>
                          <a:spcPts val="300"/>
                        </a:spcAft>
                        <a:buNone/>
                      </a:pPr>
                      <a:r>
                        <a:rPr lang="en-GB" sz="1200" b="1" kern="1200" dirty="0">
                          <a:solidFill>
                            <a:schemeClr val="dk1"/>
                          </a:solidFill>
                        </a:rPr>
                        <a:t>WS 1:</a:t>
                      </a:r>
                      <a:r>
                        <a:rPr lang="en-GB" sz="1200" b="0" kern="1200" dirty="0">
                          <a:solidFill>
                            <a:schemeClr val="dk1"/>
                          </a:solidFill>
                        </a:rPr>
                        <a:t> Minimise the likelihood of partial decoupling due to failed submission of order books in time</a:t>
                      </a:r>
                    </a:p>
                    <a:p>
                      <a:pPr marL="171450" indent="-171450" algn="l" defTabSz="914400" rtl="0" eaLnBrk="1" latinLnBrk="0" hangingPunct="1">
                        <a:spcBef>
                          <a:spcPts val="300"/>
                        </a:spcBef>
                        <a:spcAft>
                          <a:spcPts val="300"/>
                        </a:spcAft>
                        <a:buFontTx/>
                        <a:buChar char="-"/>
                      </a:pPr>
                      <a:r>
                        <a:rPr lang="en-GB" sz="1200" b="0" kern="1200" dirty="0">
                          <a:solidFill>
                            <a:schemeClr val="dk1"/>
                          </a:solidFill>
                        </a:rPr>
                        <a:t>Daily pre-order book submission test</a:t>
                      </a:r>
                    </a:p>
                    <a:p>
                      <a:pPr marL="171450" indent="-171450" algn="l" defTabSz="914400" rtl="0" eaLnBrk="1" latinLnBrk="0" hangingPunct="1">
                        <a:spcBef>
                          <a:spcPts val="300"/>
                        </a:spcBef>
                        <a:spcAft>
                          <a:spcPts val="300"/>
                        </a:spcAft>
                        <a:buFontTx/>
                        <a:buChar char="-"/>
                      </a:pPr>
                      <a:r>
                        <a:rPr lang="en-GB" sz="1200" b="0" kern="1200" dirty="0">
                          <a:solidFill>
                            <a:schemeClr val="dk1"/>
                          </a:solidFill>
                        </a:rPr>
                        <a:t>More robust local trading system (LTS)</a:t>
                      </a:r>
                    </a:p>
                  </a:txBody>
                  <a:tcPr marL="180000" marR="180000" marT="90000" marB="90000" anchor="ctr"/>
                </a:tc>
                <a:extLst>
                  <a:ext uri="{0D108BD9-81ED-4DB2-BD59-A6C34878D82A}">
                    <a16:rowId xmlns:a16="http://schemas.microsoft.com/office/drawing/2014/main" val="617342404"/>
                  </a:ext>
                </a:extLst>
              </a:tr>
              <a:tr h="501224">
                <a:tc>
                  <a:txBody>
                    <a:bodyPr/>
                    <a:lstStyle/>
                    <a:p>
                      <a:pPr marL="0" indent="0" algn="l" defTabSz="914400" rtl="0" eaLnBrk="1" latinLnBrk="0" hangingPunct="1">
                        <a:spcBef>
                          <a:spcPts val="300"/>
                        </a:spcBef>
                        <a:spcAft>
                          <a:spcPts val="300"/>
                        </a:spcAft>
                        <a:buNone/>
                      </a:pPr>
                      <a:r>
                        <a:rPr lang="en-GB" sz="1200" b="1" kern="1200" dirty="0">
                          <a:solidFill>
                            <a:schemeClr val="dk1"/>
                          </a:solidFill>
                        </a:rPr>
                        <a:t>WS 2: </a:t>
                      </a:r>
                      <a:r>
                        <a:rPr lang="en-GB" sz="1200" b="0" kern="1200" dirty="0">
                          <a:solidFill>
                            <a:schemeClr val="dk1"/>
                          </a:solidFill>
                        </a:rPr>
                        <a:t>Relax existing deadlines</a:t>
                      </a:r>
                    </a:p>
                    <a:p>
                      <a:pPr marL="171450" indent="-171450" algn="l" defTabSz="914400" rtl="0" eaLnBrk="1" latinLnBrk="0" hangingPunct="1">
                        <a:spcBef>
                          <a:spcPts val="300"/>
                        </a:spcBef>
                        <a:spcAft>
                          <a:spcPts val="300"/>
                        </a:spcAft>
                        <a:buFontTx/>
                        <a:buChar char="-"/>
                      </a:pPr>
                      <a:r>
                        <a:rPr lang="en-GB" sz="1200" b="0" kern="1200" dirty="0">
                          <a:solidFill>
                            <a:schemeClr val="dk1"/>
                          </a:solidFill>
                        </a:rPr>
                        <a:t>Relaxing the 15:30 deadline</a:t>
                      </a:r>
                    </a:p>
                  </a:txBody>
                  <a:tcPr marL="180000" marR="180000" marT="90000" marB="90000" anchor="ctr"/>
                </a:tc>
                <a:extLst>
                  <a:ext uri="{0D108BD9-81ED-4DB2-BD59-A6C34878D82A}">
                    <a16:rowId xmlns:a16="http://schemas.microsoft.com/office/drawing/2014/main" val="3898740927"/>
                  </a:ext>
                </a:extLst>
              </a:tr>
              <a:tr h="349246">
                <a:tc>
                  <a:txBody>
                    <a:bodyPr/>
                    <a:lstStyle/>
                    <a:p>
                      <a:pPr marL="0" indent="0" algn="l" defTabSz="914400" rtl="0" eaLnBrk="1" latinLnBrk="0" hangingPunct="1">
                        <a:spcBef>
                          <a:spcPts val="300"/>
                        </a:spcBef>
                        <a:spcAft>
                          <a:spcPts val="300"/>
                        </a:spcAft>
                        <a:buNone/>
                      </a:pPr>
                      <a:r>
                        <a:rPr lang="en-GB" sz="1200" b="1" kern="1200" dirty="0">
                          <a:solidFill>
                            <a:schemeClr val="dk1"/>
                          </a:solidFill>
                          <a:latin typeface="+mn-lt"/>
                          <a:ea typeface="+mn-ea"/>
                          <a:cs typeface="+mn-cs"/>
                        </a:rPr>
                        <a:t>WS 4: </a:t>
                      </a:r>
                      <a:r>
                        <a:rPr lang="en-GB" sz="1200" b="0" kern="1200" dirty="0">
                          <a:solidFill>
                            <a:schemeClr val="dk1"/>
                          </a:solidFill>
                          <a:latin typeface="+mn-lt"/>
                          <a:ea typeface="+mn-ea"/>
                          <a:cs typeface="+mn-cs"/>
                        </a:rPr>
                        <a:t>Fallback capacity allocation</a:t>
                      </a:r>
                    </a:p>
                    <a:p>
                      <a:pPr marL="171450" marR="0" lvl="0" indent="-171450" algn="l" defTabSz="914400" rtl="0" eaLnBrk="1" fontAlgn="auto" latinLnBrk="0" hangingPunct="1">
                        <a:lnSpc>
                          <a:spcPct val="100000"/>
                        </a:lnSpc>
                        <a:spcBef>
                          <a:spcPts val="300"/>
                        </a:spcBef>
                        <a:spcAft>
                          <a:spcPts val="300"/>
                        </a:spcAft>
                        <a:buClrTx/>
                        <a:buSzTx/>
                        <a:buFontTx/>
                        <a:buChar char="-"/>
                        <a:tabLst/>
                        <a:defRPr/>
                      </a:pPr>
                      <a:r>
                        <a:rPr lang="en-GB" sz="1200" b="0" kern="1200" dirty="0">
                          <a:solidFill>
                            <a:schemeClr val="dk1"/>
                          </a:solidFill>
                          <a:latin typeface="+mn-lt"/>
                          <a:ea typeface="+mn-ea"/>
                          <a:cs typeface="+mn-cs"/>
                        </a:rPr>
                        <a:t>Continuous SIDC as the fallback solution for DA capacity allocation</a:t>
                      </a:r>
                      <a:endParaRPr lang="en-GB" sz="1200" b="0" kern="1200" dirty="0">
                        <a:solidFill>
                          <a:srgbClr val="FF0000"/>
                        </a:solidFill>
                        <a:latin typeface="+mn-lt"/>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lang="en-GB" sz="1200" b="1" kern="1200" dirty="0">
                          <a:solidFill>
                            <a:schemeClr val="tx1"/>
                          </a:solidFill>
                          <a:latin typeface="+mn-lt"/>
                          <a:ea typeface="+mn-ea"/>
                          <a:cs typeface="+mn-cs"/>
                        </a:rPr>
                        <a:t>WS 6: </a:t>
                      </a:r>
                      <a:r>
                        <a:rPr lang="en-GB" sz="1200" b="0" kern="1200" dirty="0">
                          <a:solidFill>
                            <a:schemeClr val="tx1"/>
                          </a:solidFill>
                          <a:latin typeface="+mn-lt"/>
                          <a:ea typeface="+mn-ea"/>
                          <a:cs typeface="+mn-cs"/>
                        </a:rPr>
                        <a:t>Ensuring a single SDAC reference price in every bidding zone in all situations</a:t>
                      </a:r>
                      <a:endParaRPr lang="en-GB" sz="1200" b="1"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lang="en-GB" sz="1200" b="0" kern="1200" dirty="0">
                          <a:solidFill>
                            <a:schemeClr val="tx1"/>
                          </a:solidFill>
                          <a:latin typeface="+mn-lt"/>
                          <a:ea typeface="+mn-ea"/>
                          <a:cs typeface="+mn-cs"/>
                        </a:rPr>
                        <a:t>- Develop a single SDAC price solution for the case of full decoupling</a:t>
                      </a:r>
                    </a:p>
                  </a:txBody>
                  <a:tcPr marL="180000" marR="180000" marT="90000" marB="90000" anchor="ctr"/>
                </a:tc>
                <a:extLst>
                  <a:ext uri="{0D108BD9-81ED-4DB2-BD59-A6C34878D82A}">
                    <a16:rowId xmlns:a16="http://schemas.microsoft.com/office/drawing/2014/main" val="2816448283"/>
                  </a:ext>
                </a:extLst>
              </a:tr>
              <a:tr h="275306">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GB" sz="1200" b="1" kern="1200" dirty="0">
                          <a:solidFill>
                            <a:schemeClr val="dk1"/>
                          </a:solidFill>
                        </a:rPr>
                        <a:t>WS 5: </a:t>
                      </a:r>
                      <a:r>
                        <a:rPr lang="en-GB" sz="1200" b="0" kern="1200" dirty="0">
                          <a:solidFill>
                            <a:schemeClr val="tx1"/>
                          </a:solidFill>
                        </a:rPr>
                        <a:t>Preventing multiple SDAC prices in a bidding zone </a:t>
                      </a:r>
                      <a:endParaRPr lang="en-GB" sz="1200" b="0" kern="1200" dirty="0">
                        <a:solidFill>
                          <a:schemeClr val="tx1"/>
                        </a:solidFill>
                        <a:latin typeface="+mn-lt"/>
                        <a:ea typeface="+mn-ea"/>
                        <a:cs typeface="+mn-cs"/>
                      </a:endParaRPr>
                    </a:p>
                  </a:txBody>
                  <a:tcPr marL="180000" marR="180000" marT="90000" marB="90000" anchor="ctr"/>
                </a:tc>
                <a:extLst>
                  <a:ext uri="{0D108BD9-81ED-4DB2-BD59-A6C34878D82A}">
                    <a16:rowId xmlns:a16="http://schemas.microsoft.com/office/drawing/2014/main" val="2146556674"/>
                  </a:ext>
                </a:extLst>
              </a:tr>
            </a:tbl>
          </a:graphicData>
        </a:graphic>
      </p:graphicFrame>
    </p:spTree>
    <p:extLst>
      <p:ext uri="{BB962C8B-B14F-4D97-AF65-F5344CB8AC3E}">
        <p14:creationId xmlns:p14="http://schemas.microsoft.com/office/powerpoint/2010/main" val="21821497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E8A863-DE77-7ED6-971F-037AAE07459A}"/>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350DBF55-B095-65C8-13F6-D24C1D2D6116}"/>
              </a:ext>
            </a:extLst>
          </p:cNvPr>
          <p:cNvSpPr>
            <a:spLocks noGrp="1"/>
          </p:cNvSpPr>
          <p:nvPr>
            <p:ph type="title"/>
          </p:nvPr>
        </p:nvSpPr>
        <p:spPr>
          <a:xfrm>
            <a:off x="1975556" y="0"/>
            <a:ext cx="9520444" cy="1080000"/>
          </a:xfrm>
        </p:spPr>
        <p:txBody>
          <a:bodyPr/>
          <a:lstStyle/>
          <a:p>
            <a:r>
              <a:rPr lang="en-GB" sz="2500" dirty="0"/>
              <a:t>WS 3 - </a:t>
            </a:r>
            <a:r>
              <a:rPr lang="en-GB" sz="2500" dirty="0">
                <a:solidFill>
                  <a:schemeClr val="dk1"/>
                </a:solidFill>
              </a:rPr>
              <a:t>Optimise existing SDAC and SIDC timings and procedures</a:t>
            </a:r>
            <a:endParaRPr lang="en-GB" sz="2500" dirty="0"/>
          </a:p>
        </p:txBody>
      </p:sp>
      <p:sp>
        <p:nvSpPr>
          <p:cNvPr id="3" name="Slide Number Placeholder 2">
            <a:extLst>
              <a:ext uri="{FF2B5EF4-FFF2-40B4-BE49-F238E27FC236}">
                <a16:creationId xmlns:a16="http://schemas.microsoft.com/office/drawing/2014/main" id="{FB994471-2C86-D625-4EB7-15A886EE3C36}"/>
              </a:ext>
            </a:extLst>
          </p:cNvPr>
          <p:cNvSpPr>
            <a:spLocks noGrp="1"/>
          </p:cNvSpPr>
          <p:nvPr>
            <p:ph type="sldNum" sz="quarter" idx="12"/>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68E16D21-2873-7F4D-BC1C-4DCC7B7156B8}" type="slidenum">
              <a:rPr kumimoji="0" lang="en-GB" sz="1500" b="1"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ctr" defTabSz="457200" rtl="0" eaLnBrk="1" fontAlgn="auto" latinLnBrk="0" hangingPunct="1">
                <a:lnSpc>
                  <a:spcPct val="100000"/>
                </a:lnSpc>
                <a:spcBef>
                  <a:spcPts val="0"/>
                </a:spcBef>
                <a:spcAft>
                  <a:spcPts val="0"/>
                </a:spcAft>
                <a:buClrTx/>
                <a:buSzTx/>
                <a:buFontTx/>
                <a:buNone/>
                <a:tabLst/>
                <a:defRPr/>
              </a:pPr>
              <a:t>4</a:t>
            </a:fld>
            <a:endParaRPr kumimoji="0" lang="en-GB" sz="15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 name="Text Placeholder 8">
            <a:extLst>
              <a:ext uri="{FF2B5EF4-FFF2-40B4-BE49-F238E27FC236}">
                <a16:creationId xmlns:a16="http://schemas.microsoft.com/office/drawing/2014/main" id="{FA63ABD8-8F58-C63B-E2AA-7F62B521045F}"/>
              </a:ext>
            </a:extLst>
          </p:cNvPr>
          <p:cNvSpPr>
            <a:spLocks noGrp="1"/>
          </p:cNvSpPr>
          <p:nvPr>
            <p:ph type="body" sz="quarter" idx="13"/>
          </p:nvPr>
        </p:nvSpPr>
        <p:spPr/>
        <p:txBody>
          <a:bodyPr/>
          <a:lstStyle/>
          <a:p>
            <a:r>
              <a:rPr lang="en-GB" dirty="0"/>
              <a:t>Objective: optimise the existing SDAC and SIDC procedures</a:t>
            </a:r>
          </a:p>
          <a:p>
            <a:pPr lvl="1"/>
            <a:r>
              <a:rPr lang="en-GB" noProof="0" dirty="0"/>
              <a:t>Decreasing the likelihood of decoupling to happen</a:t>
            </a:r>
          </a:p>
          <a:p>
            <a:pPr lvl="1"/>
            <a:r>
              <a:rPr lang="en-GB" dirty="0"/>
              <a:t>Removing obsolete and/or unnecessary steps</a:t>
            </a:r>
          </a:p>
          <a:p>
            <a:pPr lvl="1"/>
            <a:r>
              <a:rPr lang="en-GB" noProof="0" dirty="0"/>
              <a:t>Gain additional time for resolving the issue before partial/full decoupling</a:t>
            </a:r>
            <a:endParaRPr lang="en-GB" dirty="0"/>
          </a:p>
          <a:p>
            <a:r>
              <a:rPr lang="en-GB" noProof="0" dirty="0"/>
              <a:t>Continuous exercise by MCSC</a:t>
            </a:r>
          </a:p>
          <a:p>
            <a:pPr lvl="1"/>
            <a:r>
              <a:rPr lang="en-GB" dirty="0"/>
              <a:t>MCSC will report on improvements every 6 months</a:t>
            </a:r>
          </a:p>
          <a:p>
            <a:r>
              <a:rPr lang="en-GB" dirty="0"/>
              <a:t>SDAC status</a:t>
            </a:r>
          </a:p>
          <a:p>
            <a:pPr lvl="1"/>
            <a:r>
              <a:rPr lang="en-GB" dirty="0"/>
              <a:t>Procedure steps and timings optimised for the 15‘MTU go-live</a:t>
            </a:r>
          </a:p>
          <a:p>
            <a:pPr lvl="1"/>
            <a:r>
              <a:rPr lang="en-GB" dirty="0"/>
              <a:t>Next report in June</a:t>
            </a:r>
          </a:p>
          <a:p>
            <a:r>
              <a:rPr lang="en-GB" dirty="0"/>
              <a:t>SIDC</a:t>
            </a:r>
          </a:p>
          <a:p>
            <a:pPr lvl="1"/>
            <a:r>
              <a:rPr lang="en-GB" dirty="0"/>
              <a:t>Impact of partial decoupling deadlines on IDA cancellation</a:t>
            </a:r>
          </a:p>
        </p:txBody>
      </p:sp>
      <p:sp>
        <p:nvSpPr>
          <p:cNvPr id="10" name="Text Placeholder 9">
            <a:extLst>
              <a:ext uri="{FF2B5EF4-FFF2-40B4-BE49-F238E27FC236}">
                <a16:creationId xmlns:a16="http://schemas.microsoft.com/office/drawing/2014/main" id="{1F7D15E1-5DA7-CA97-32B9-08FBDA5474E2}"/>
              </a:ext>
            </a:extLst>
          </p:cNvPr>
          <p:cNvSpPr>
            <a:spLocks noGrp="1"/>
          </p:cNvSpPr>
          <p:nvPr>
            <p:ph type="body" sz="quarter" idx="14"/>
          </p:nvPr>
        </p:nvSpPr>
        <p:spPr/>
        <p:txBody>
          <a:bodyPr/>
          <a:lstStyle/>
          <a:p>
            <a:endParaRPr lang="en-GB" dirty="0"/>
          </a:p>
        </p:txBody>
      </p:sp>
      <p:sp>
        <p:nvSpPr>
          <p:cNvPr id="6" name="TextBox 5">
            <a:extLst>
              <a:ext uri="{FF2B5EF4-FFF2-40B4-BE49-F238E27FC236}">
                <a16:creationId xmlns:a16="http://schemas.microsoft.com/office/drawing/2014/main" id="{71D93807-4757-15C6-FA88-816F53E31747}"/>
              </a:ext>
            </a:extLst>
          </p:cNvPr>
          <p:cNvSpPr txBox="1"/>
          <p:nvPr/>
        </p:nvSpPr>
        <p:spPr>
          <a:xfrm>
            <a:off x="11709779" y="3234519"/>
            <a:ext cx="914400" cy="914400"/>
          </a:xfrm>
          <a:prstGeom prst="rect">
            <a:avLst/>
          </a:prstGeom>
        </p:spPr>
        <p:txBody>
          <a:bodyPr vert="horz" wrap="none" lIns="91440" tIns="45720" rIns="91440" bIns="45720" rtlCol="0" anchor="t">
            <a:norm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004FEE"/>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894279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E2BD-5167-EB87-D8DA-879D799266B4}"/>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6ABDF641-5DFE-696F-89B5-6275247F1100}"/>
              </a:ext>
            </a:extLst>
          </p:cNvPr>
          <p:cNvSpPr>
            <a:spLocks noGrp="1"/>
          </p:cNvSpPr>
          <p:nvPr>
            <p:ph type="title"/>
          </p:nvPr>
        </p:nvSpPr>
        <p:spPr>
          <a:xfrm>
            <a:off x="1975556" y="0"/>
            <a:ext cx="9520444" cy="1080000"/>
          </a:xfrm>
        </p:spPr>
        <p:txBody>
          <a:bodyPr/>
          <a:lstStyle/>
          <a:p>
            <a:r>
              <a:rPr lang="en-GB" sz="2800" dirty="0"/>
              <a:t>WS 1 - </a:t>
            </a:r>
            <a:r>
              <a:rPr lang="en-GB" sz="2800" dirty="0">
                <a:solidFill>
                  <a:schemeClr val="dk1"/>
                </a:solidFill>
              </a:rPr>
              <a:t>Minimise the likelihood of partial decoupling</a:t>
            </a:r>
            <a:endParaRPr lang="en-GB" sz="2800" dirty="0"/>
          </a:p>
        </p:txBody>
      </p:sp>
      <p:sp>
        <p:nvSpPr>
          <p:cNvPr id="3" name="Slide Number Placeholder 2">
            <a:extLst>
              <a:ext uri="{FF2B5EF4-FFF2-40B4-BE49-F238E27FC236}">
                <a16:creationId xmlns:a16="http://schemas.microsoft.com/office/drawing/2014/main" id="{EEB41556-98BA-5B22-4057-5231ADE4CF0C}"/>
              </a:ext>
            </a:extLst>
          </p:cNvPr>
          <p:cNvSpPr>
            <a:spLocks noGrp="1"/>
          </p:cNvSpPr>
          <p:nvPr>
            <p:ph type="sldNum" sz="quarter" idx="12"/>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68E16D21-2873-7F4D-BC1C-4DCC7B7156B8}" type="slidenum">
              <a:rPr kumimoji="0" lang="en-GB" sz="1500" b="1"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ctr" defTabSz="457200" rtl="0" eaLnBrk="1" fontAlgn="auto" latinLnBrk="0" hangingPunct="1">
                <a:lnSpc>
                  <a:spcPct val="100000"/>
                </a:lnSpc>
                <a:spcBef>
                  <a:spcPts val="0"/>
                </a:spcBef>
                <a:spcAft>
                  <a:spcPts val="0"/>
                </a:spcAft>
                <a:buClrTx/>
                <a:buSzTx/>
                <a:buFontTx/>
                <a:buNone/>
                <a:tabLst/>
                <a:defRPr/>
              </a:pPr>
              <a:t>5</a:t>
            </a:fld>
            <a:endParaRPr kumimoji="0" lang="en-GB" sz="15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 name="Text Placeholder 8">
            <a:extLst>
              <a:ext uri="{FF2B5EF4-FFF2-40B4-BE49-F238E27FC236}">
                <a16:creationId xmlns:a16="http://schemas.microsoft.com/office/drawing/2014/main" id="{0D8F53C5-77EB-693D-6D2D-B907F30D2950}"/>
              </a:ext>
            </a:extLst>
          </p:cNvPr>
          <p:cNvSpPr>
            <a:spLocks noGrp="1"/>
          </p:cNvSpPr>
          <p:nvPr>
            <p:ph type="body" sz="quarter" idx="13"/>
          </p:nvPr>
        </p:nvSpPr>
        <p:spPr/>
        <p:txBody>
          <a:bodyPr/>
          <a:lstStyle/>
          <a:p>
            <a:r>
              <a:rPr lang="en-GB" noProof="0" dirty="0"/>
              <a:t>NEMOs support ACER‘s proposal to implement daily orderbook pre</a:t>
            </a:r>
            <a:r>
              <a:rPr lang="en-GB" dirty="0"/>
              <a:t>-check</a:t>
            </a:r>
          </a:p>
          <a:p>
            <a:pPr marL="501750" lvl="1" indent="-285750" algn="just" fontAlgn="t"/>
            <a:r>
              <a:rPr lang="en-GB" dirty="0"/>
              <a:t>Objective: early detection of local NEMO(s) issues and allocating additional time for resolution </a:t>
            </a:r>
          </a:p>
          <a:p>
            <a:pPr marL="501750" lvl="1" indent="-285750" algn="just" fontAlgn="t"/>
            <a:r>
              <a:rPr lang="en-GB" dirty="0"/>
              <a:t>Each NEMO generates a “test” order book, validating LTS and OBK functionality</a:t>
            </a:r>
          </a:p>
          <a:p>
            <a:pPr marL="501750" lvl="1" indent="-285750" algn="just" fontAlgn="t"/>
            <a:r>
              <a:rPr lang="en-GB" dirty="0"/>
              <a:t>Daily process in production to create a test OBK before 11:00 CET (under discussion), allowing early detection and fixes</a:t>
            </a:r>
          </a:p>
          <a:p>
            <a:pPr marL="501750" lvl="1" indent="-285750" algn="just" fontAlgn="t"/>
            <a:r>
              <a:rPr lang="en-GB" dirty="0"/>
              <a:t>No change for market participants activities before GCT</a:t>
            </a:r>
          </a:p>
          <a:p>
            <a:r>
              <a:rPr lang="en-GB" noProof="0" dirty="0"/>
              <a:t>NEMOs additionally work on h</a:t>
            </a:r>
            <a:r>
              <a:rPr lang="en-GB" dirty="0" err="1"/>
              <a:t>armoni</a:t>
            </a:r>
            <a:r>
              <a:rPr lang="sl-SI" dirty="0"/>
              <a:t>s</a:t>
            </a:r>
            <a:r>
              <a:rPr lang="en-GB" dirty="0" err="1"/>
              <a:t>ation</a:t>
            </a:r>
            <a:r>
              <a:rPr lang="en-GB" dirty="0"/>
              <a:t> of the LTS site architecture setup</a:t>
            </a:r>
          </a:p>
          <a:p>
            <a:pPr lvl="1"/>
            <a:r>
              <a:rPr lang="en-GB" dirty="0"/>
              <a:t>Objective: increase the robustness of local NEMOs‘ LTS and IT environments</a:t>
            </a:r>
          </a:p>
          <a:p>
            <a:pPr lvl="1"/>
            <a:r>
              <a:rPr lang="en-GB" dirty="0"/>
              <a:t>Main site setup: primary and secondary sites with quick failover</a:t>
            </a:r>
          </a:p>
          <a:p>
            <a:pPr lvl="1"/>
            <a:r>
              <a:rPr lang="en-GB" dirty="0"/>
              <a:t>Disaster recovery site in a different location</a:t>
            </a:r>
          </a:p>
          <a:p>
            <a:endParaRPr lang="en-GB" noProof="0" dirty="0"/>
          </a:p>
        </p:txBody>
      </p:sp>
      <p:sp>
        <p:nvSpPr>
          <p:cNvPr id="10" name="Text Placeholder 9">
            <a:extLst>
              <a:ext uri="{FF2B5EF4-FFF2-40B4-BE49-F238E27FC236}">
                <a16:creationId xmlns:a16="http://schemas.microsoft.com/office/drawing/2014/main" id="{3790839A-CFF7-BE33-26F1-6A5DCC4ED889}"/>
              </a:ext>
            </a:extLst>
          </p:cNvPr>
          <p:cNvSpPr>
            <a:spLocks noGrp="1"/>
          </p:cNvSpPr>
          <p:nvPr>
            <p:ph type="body" sz="quarter" idx="14"/>
          </p:nvPr>
        </p:nvSpPr>
        <p:spPr/>
        <p:txBody>
          <a:bodyPr/>
          <a:lstStyle/>
          <a:p>
            <a:endParaRPr lang="en-GB" dirty="0"/>
          </a:p>
        </p:txBody>
      </p:sp>
      <p:sp>
        <p:nvSpPr>
          <p:cNvPr id="6" name="TextBox 5">
            <a:extLst>
              <a:ext uri="{FF2B5EF4-FFF2-40B4-BE49-F238E27FC236}">
                <a16:creationId xmlns:a16="http://schemas.microsoft.com/office/drawing/2014/main" id="{CF979560-476B-5FF2-7961-8510069E18DD}"/>
              </a:ext>
            </a:extLst>
          </p:cNvPr>
          <p:cNvSpPr txBox="1"/>
          <p:nvPr/>
        </p:nvSpPr>
        <p:spPr>
          <a:xfrm>
            <a:off x="11709779" y="3234519"/>
            <a:ext cx="914400" cy="914400"/>
          </a:xfrm>
          <a:prstGeom prst="rect">
            <a:avLst/>
          </a:prstGeom>
        </p:spPr>
        <p:txBody>
          <a:bodyPr vert="horz" wrap="none" lIns="91440" tIns="45720" rIns="91440" bIns="45720" rtlCol="0" anchor="t">
            <a:norm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004FE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2760587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DE23A9-6C67-5980-D188-C9070B3C3500}"/>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DE866B9A-030E-5714-8E75-6AFFB68579B6}"/>
              </a:ext>
            </a:extLst>
          </p:cNvPr>
          <p:cNvSpPr>
            <a:spLocks noGrp="1"/>
          </p:cNvSpPr>
          <p:nvPr>
            <p:ph type="title"/>
          </p:nvPr>
        </p:nvSpPr>
        <p:spPr>
          <a:xfrm>
            <a:off x="1975556" y="0"/>
            <a:ext cx="9520444" cy="1080000"/>
          </a:xfrm>
        </p:spPr>
        <p:txBody>
          <a:bodyPr/>
          <a:lstStyle/>
          <a:p>
            <a:r>
              <a:rPr lang="en-GB" sz="2800" dirty="0"/>
              <a:t>WS 1 - </a:t>
            </a:r>
            <a:r>
              <a:rPr lang="en-GB" sz="2800" dirty="0">
                <a:solidFill>
                  <a:schemeClr val="dk1"/>
                </a:solidFill>
              </a:rPr>
              <a:t>Minimise the likelihood of partial decoupling</a:t>
            </a:r>
            <a:endParaRPr lang="en-GB" sz="2800" dirty="0"/>
          </a:p>
        </p:txBody>
      </p:sp>
      <p:sp>
        <p:nvSpPr>
          <p:cNvPr id="3" name="Slide Number Placeholder 2">
            <a:extLst>
              <a:ext uri="{FF2B5EF4-FFF2-40B4-BE49-F238E27FC236}">
                <a16:creationId xmlns:a16="http://schemas.microsoft.com/office/drawing/2014/main" id="{508D803A-CBCA-A9FE-72CD-835D216043D9}"/>
              </a:ext>
            </a:extLst>
          </p:cNvPr>
          <p:cNvSpPr>
            <a:spLocks noGrp="1"/>
          </p:cNvSpPr>
          <p:nvPr>
            <p:ph type="sldNum" sz="quarter" idx="12"/>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68E16D21-2873-7F4D-BC1C-4DCC7B7156B8}" type="slidenum">
              <a:rPr kumimoji="0" lang="en-GB" sz="1500" b="1"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ctr" defTabSz="457200" rtl="0" eaLnBrk="1" fontAlgn="auto" latinLnBrk="0" hangingPunct="1">
                <a:lnSpc>
                  <a:spcPct val="100000"/>
                </a:lnSpc>
                <a:spcBef>
                  <a:spcPts val="0"/>
                </a:spcBef>
                <a:spcAft>
                  <a:spcPts val="0"/>
                </a:spcAft>
                <a:buClrTx/>
                <a:buSzTx/>
                <a:buFontTx/>
                <a:buNone/>
                <a:tabLst/>
                <a:defRPr/>
              </a:pPr>
              <a:t>6</a:t>
            </a:fld>
            <a:endParaRPr kumimoji="0" lang="en-GB" sz="15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 name="Text Placeholder 8">
            <a:extLst>
              <a:ext uri="{FF2B5EF4-FFF2-40B4-BE49-F238E27FC236}">
                <a16:creationId xmlns:a16="http://schemas.microsoft.com/office/drawing/2014/main" id="{B38D91A3-30C7-D402-EADE-26F01B7A141D}"/>
              </a:ext>
            </a:extLst>
          </p:cNvPr>
          <p:cNvSpPr>
            <a:spLocks noGrp="1"/>
          </p:cNvSpPr>
          <p:nvPr>
            <p:ph type="body" sz="quarter" idx="13"/>
          </p:nvPr>
        </p:nvSpPr>
        <p:spPr/>
        <p:txBody>
          <a:bodyPr/>
          <a:lstStyle/>
          <a:p>
            <a:r>
              <a:rPr lang="en-GB" noProof="0" dirty="0"/>
              <a:t>ACER proposes additional measure to prevent decoupling to happen</a:t>
            </a:r>
            <a:endParaRPr lang="en-GB" sz="1600" kern="100" noProof="0" dirty="0">
              <a:ea typeface="Calibri" panose="020F0502020204030204" pitchFamily="34" charset="0"/>
              <a:cs typeface="Times New Roman" panose="02020603050405020304" pitchFamily="18" charset="0"/>
            </a:endParaRPr>
          </a:p>
          <a:p>
            <a:pPr>
              <a:lnSpc>
                <a:spcPct val="107000"/>
              </a:lnSpc>
            </a:pPr>
            <a:r>
              <a:rPr lang="en-GB" sz="1800" kern="100" noProof="0" dirty="0">
                <a:ea typeface="Calibri" panose="020F0502020204030204" pitchFamily="34" charset="0"/>
                <a:cs typeface="Times New Roman" panose="02020603050405020304" pitchFamily="18" charset="0"/>
              </a:rPr>
              <a:t>Central Backup Trading System (CBTS) used by NEMOs in case of local issues</a:t>
            </a:r>
          </a:p>
          <a:p>
            <a:pPr marL="0" indent="0">
              <a:buNone/>
            </a:pPr>
            <a:r>
              <a:rPr lang="en-GB" u="sng" noProof="0" dirty="0"/>
              <a:t>Backup order submission in case of local NEMO‘s issues cannot be resolved</a:t>
            </a:r>
          </a:p>
          <a:p>
            <a:r>
              <a:rPr lang="en-GB" noProof="0" dirty="0"/>
              <a:t>Independent system, isolated from NEMO’s local development, implementation, testing and deployment processes (provided by SMCO)</a:t>
            </a:r>
          </a:p>
          <a:p>
            <a:r>
              <a:rPr lang="en-GB" noProof="0" dirty="0"/>
              <a:t>Orders will be submitted to CBTS only when NEMO local LTS is not available (not a daily process)</a:t>
            </a:r>
          </a:p>
          <a:p>
            <a:r>
              <a:rPr lang="en-GB" noProof="0" dirty="0"/>
              <a:t>CBTS is operated by NEMOs operators, in case NEMO uses it for the backup process.</a:t>
            </a:r>
          </a:p>
          <a:p>
            <a:r>
              <a:rPr lang="en-GB" noProof="0" dirty="0"/>
              <a:t>CBTS is </a:t>
            </a:r>
            <a:r>
              <a:rPr lang="en-GB" b="1" u="sng" noProof="0" dirty="0"/>
              <a:t>not</a:t>
            </a:r>
            <a:r>
              <a:rPr lang="en-GB" noProof="0" dirty="0"/>
              <a:t> replacement for NEMOs’ local backup systems – additional backup</a:t>
            </a:r>
          </a:p>
          <a:p>
            <a:r>
              <a:rPr lang="en-GB" u="sng" noProof="0" dirty="0"/>
              <a:t>Further work to advance the design and implementation of this solution during next workshop</a:t>
            </a:r>
            <a:endParaRPr lang="en-GB" noProof="0" dirty="0"/>
          </a:p>
        </p:txBody>
      </p:sp>
      <p:sp>
        <p:nvSpPr>
          <p:cNvPr id="10" name="Text Placeholder 9">
            <a:extLst>
              <a:ext uri="{FF2B5EF4-FFF2-40B4-BE49-F238E27FC236}">
                <a16:creationId xmlns:a16="http://schemas.microsoft.com/office/drawing/2014/main" id="{9F316331-2EC7-57B7-7A1F-4635E8DF8D68}"/>
              </a:ext>
            </a:extLst>
          </p:cNvPr>
          <p:cNvSpPr>
            <a:spLocks noGrp="1"/>
          </p:cNvSpPr>
          <p:nvPr>
            <p:ph type="body" sz="quarter" idx="14"/>
          </p:nvPr>
        </p:nvSpPr>
        <p:spPr/>
        <p:txBody>
          <a:bodyPr/>
          <a:lstStyle/>
          <a:p>
            <a:endParaRPr lang="en-GB" dirty="0"/>
          </a:p>
        </p:txBody>
      </p:sp>
      <p:sp>
        <p:nvSpPr>
          <p:cNvPr id="6" name="TextBox 5">
            <a:extLst>
              <a:ext uri="{FF2B5EF4-FFF2-40B4-BE49-F238E27FC236}">
                <a16:creationId xmlns:a16="http://schemas.microsoft.com/office/drawing/2014/main" id="{8E0F971B-F9CC-ADD9-2D99-7069B0F768F5}"/>
              </a:ext>
            </a:extLst>
          </p:cNvPr>
          <p:cNvSpPr txBox="1"/>
          <p:nvPr/>
        </p:nvSpPr>
        <p:spPr>
          <a:xfrm>
            <a:off x="11709779" y="3234519"/>
            <a:ext cx="914400" cy="914400"/>
          </a:xfrm>
          <a:prstGeom prst="rect">
            <a:avLst/>
          </a:prstGeom>
        </p:spPr>
        <p:txBody>
          <a:bodyPr vert="horz" wrap="none" lIns="91440" tIns="45720" rIns="91440" bIns="45720" rtlCol="0" anchor="t">
            <a:norm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004FE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5515138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CD114C-E393-6F56-9649-48047A9B200B}"/>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E6C98295-7AF7-C053-4ABA-B4DCE2A4FF2B}"/>
              </a:ext>
            </a:extLst>
          </p:cNvPr>
          <p:cNvSpPr>
            <a:spLocks noGrp="1"/>
          </p:cNvSpPr>
          <p:nvPr>
            <p:ph type="title"/>
          </p:nvPr>
        </p:nvSpPr>
        <p:spPr>
          <a:xfrm>
            <a:off x="1975556" y="0"/>
            <a:ext cx="9520444" cy="1080000"/>
          </a:xfrm>
        </p:spPr>
        <p:txBody>
          <a:bodyPr/>
          <a:lstStyle/>
          <a:p>
            <a:r>
              <a:rPr lang="en-GB" sz="2800" dirty="0"/>
              <a:t>WS 2 - Relax existing deadlines</a:t>
            </a:r>
          </a:p>
        </p:txBody>
      </p:sp>
      <p:sp>
        <p:nvSpPr>
          <p:cNvPr id="3" name="Slide Number Placeholder 2">
            <a:extLst>
              <a:ext uri="{FF2B5EF4-FFF2-40B4-BE49-F238E27FC236}">
                <a16:creationId xmlns:a16="http://schemas.microsoft.com/office/drawing/2014/main" id="{2617D617-C653-5306-9BE8-A89AD0EAD15D}"/>
              </a:ext>
            </a:extLst>
          </p:cNvPr>
          <p:cNvSpPr>
            <a:spLocks noGrp="1"/>
          </p:cNvSpPr>
          <p:nvPr>
            <p:ph type="sldNum" sz="quarter" idx="12"/>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68E16D21-2873-7F4D-BC1C-4DCC7B7156B8}" type="slidenum">
              <a:rPr kumimoji="0" lang="en-GB" sz="1500" b="1"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ctr" defTabSz="457200" rtl="0" eaLnBrk="1" fontAlgn="auto" latinLnBrk="0" hangingPunct="1">
                <a:lnSpc>
                  <a:spcPct val="100000"/>
                </a:lnSpc>
                <a:spcBef>
                  <a:spcPts val="0"/>
                </a:spcBef>
                <a:spcAft>
                  <a:spcPts val="0"/>
                </a:spcAft>
                <a:buClrTx/>
                <a:buSzTx/>
                <a:buFontTx/>
                <a:buNone/>
                <a:tabLst/>
                <a:defRPr/>
              </a:pPr>
              <a:t>7</a:t>
            </a:fld>
            <a:endParaRPr kumimoji="0" lang="en-GB" sz="15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 name="Text Placeholder 8">
            <a:extLst>
              <a:ext uri="{FF2B5EF4-FFF2-40B4-BE49-F238E27FC236}">
                <a16:creationId xmlns:a16="http://schemas.microsoft.com/office/drawing/2014/main" id="{CBD29854-DED1-004D-AC27-28A2B9B778E7}"/>
              </a:ext>
            </a:extLst>
          </p:cNvPr>
          <p:cNvSpPr>
            <a:spLocks noGrp="1"/>
          </p:cNvSpPr>
          <p:nvPr>
            <p:ph type="body" sz="quarter" idx="13"/>
          </p:nvPr>
        </p:nvSpPr>
        <p:spPr/>
        <p:txBody>
          <a:bodyPr/>
          <a:lstStyle/>
          <a:p>
            <a:r>
              <a:rPr lang="en-GB" dirty="0">
                <a:latin typeface="+mj-lt"/>
              </a:rPr>
              <a:t>TSOs are assessing the feasibility of revising the nomination deadlines to maximum 16:00 in case of risk of decoupling</a:t>
            </a:r>
          </a:p>
          <a:p>
            <a:pPr lvl="1"/>
            <a:r>
              <a:rPr lang="en-GB" noProof="0" dirty="0">
                <a:latin typeface="+mj-lt"/>
              </a:rPr>
              <a:t>Normal day scenario remain</a:t>
            </a:r>
            <a:r>
              <a:rPr lang="en-GB" dirty="0">
                <a:latin typeface="+mj-lt"/>
              </a:rPr>
              <a:t>s the same, the change is only applicable for „problematic“ day</a:t>
            </a:r>
            <a:endParaRPr lang="en-GB" noProof="0" dirty="0">
              <a:latin typeface="+mj-lt"/>
            </a:endParaRPr>
          </a:p>
          <a:p>
            <a:r>
              <a:rPr lang="en-GB" noProof="0" dirty="0">
                <a:latin typeface="+mj-lt"/>
              </a:rPr>
              <a:t>TSO prerequisite for the change</a:t>
            </a:r>
          </a:p>
          <a:p>
            <a:pPr lvl="1"/>
            <a:r>
              <a:rPr lang="en-GB" dirty="0">
                <a:latin typeface="+mj-lt"/>
              </a:rPr>
              <a:t>Implementation of Intraday continuous market as fallback for the failed SDAC processes</a:t>
            </a:r>
          </a:p>
          <a:p>
            <a:r>
              <a:rPr lang="en-GB" noProof="0" dirty="0">
                <a:latin typeface="+mj-lt"/>
              </a:rPr>
              <a:t>NEMOs and TSOs are still to determine how to use additional 30 minutes</a:t>
            </a:r>
          </a:p>
          <a:p>
            <a:r>
              <a:rPr lang="en-GB" dirty="0">
                <a:latin typeface="+mj-lt"/>
              </a:rPr>
              <a:t>TSOs are investigating the impact on:</a:t>
            </a:r>
          </a:p>
          <a:p>
            <a:pPr lvl="1"/>
            <a:r>
              <a:rPr lang="en-GB" dirty="0">
                <a:latin typeface="+mj-lt"/>
                <a:ea typeface="Calibri"/>
                <a:cs typeface="Calibri"/>
              </a:rPr>
              <a:t>Cross-zonal scheduling processes</a:t>
            </a:r>
          </a:p>
          <a:p>
            <a:pPr lvl="1"/>
            <a:r>
              <a:rPr lang="en-GB" dirty="0">
                <a:latin typeface="+mj-lt"/>
                <a:ea typeface="Calibri"/>
                <a:cs typeface="Calibri"/>
              </a:rPr>
              <a:t>Generation and consumption schedules</a:t>
            </a:r>
          </a:p>
          <a:p>
            <a:pPr lvl="1"/>
            <a:r>
              <a:rPr lang="en-GB" dirty="0">
                <a:latin typeface="+mj-lt"/>
                <a:ea typeface="Calibri"/>
                <a:cs typeface="Calibri"/>
              </a:rPr>
              <a:t>Other national processes (IGM building, national scheduling etc.)</a:t>
            </a:r>
          </a:p>
          <a:p>
            <a:r>
              <a:rPr lang="en-GB" noProof="0" dirty="0">
                <a:latin typeface="+mj-lt"/>
                <a:ea typeface="Calibri"/>
                <a:cs typeface="Calibri"/>
              </a:rPr>
              <a:t>When final design is available, TSOs will organise </a:t>
            </a:r>
            <a:r>
              <a:rPr lang="en-GB" dirty="0">
                <a:latin typeface="+mj-lt"/>
                <a:ea typeface="Calibri"/>
                <a:cs typeface="Calibri"/>
              </a:rPr>
              <a:t>consultation with market participants</a:t>
            </a:r>
            <a:endParaRPr lang="en-GB" noProof="0" dirty="0">
              <a:latin typeface="+mj-lt"/>
            </a:endParaRPr>
          </a:p>
        </p:txBody>
      </p:sp>
      <p:sp>
        <p:nvSpPr>
          <p:cNvPr id="10" name="Text Placeholder 9">
            <a:extLst>
              <a:ext uri="{FF2B5EF4-FFF2-40B4-BE49-F238E27FC236}">
                <a16:creationId xmlns:a16="http://schemas.microsoft.com/office/drawing/2014/main" id="{959B11A3-205F-FE51-7A91-57C042762879}"/>
              </a:ext>
            </a:extLst>
          </p:cNvPr>
          <p:cNvSpPr>
            <a:spLocks noGrp="1"/>
          </p:cNvSpPr>
          <p:nvPr>
            <p:ph type="body" sz="quarter" idx="14"/>
          </p:nvPr>
        </p:nvSpPr>
        <p:spPr/>
        <p:txBody>
          <a:bodyPr/>
          <a:lstStyle/>
          <a:p>
            <a:endParaRPr lang="en-GB" dirty="0"/>
          </a:p>
        </p:txBody>
      </p:sp>
      <p:sp>
        <p:nvSpPr>
          <p:cNvPr id="6" name="TextBox 5">
            <a:extLst>
              <a:ext uri="{FF2B5EF4-FFF2-40B4-BE49-F238E27FC236}">
                <a16:creationId xmlns:a16="http://schemas.microsoft.com/office/drawing/2014/main" id="{5160A0C3-029A-6C9E-E8B7-BB27294671CD}"/>
              </a:ext>
            </a:extLst>
          </p:cNvPr>
          <p:cNvSpPr txBox="1"/>
          <p:nvPr/>
        </p:nvSpPr>
        <p:spPr>
          <a:xfrm>
            <a:off x="11709779" y="3234519"/>
            <a:ext cx="914400" cy="914400"/>
          </a:xfrm>
          <a:prstGeom prst="rect">
            <a:avLst/>
          </a:prstGeom>
        </p:spPr>
        <p:txBody>
          <a:bodyPr vert="horz" wrap="none" lIns="91440" tIns="45720" rIns="91440" bIns="45720" rtlCol="0" anchor="t">
            <a:norm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004FE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427745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DF0FC1-DA9C-709F-1B14-D7360FBA013B}"/>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01778780-7CF0-F60E-4AFD-C9AF3CA32F9A}"/>
              </a:ext>
            </a:extLst>
          </p:cNvPr>
          <p:cNvSpPr>
            <a:spLocks noGrp="1"/>
          </p:cNvSpPr>
          <p:nvPr>
            <p:ph type="title"/>
          </p:nvPr>
        </p:nvSpPr>
        <p:spPr>
          <a:xfrm>
            <a:off x="1975556" y="0"/>
            <a:ext cx="9520444" cy="1080000"/>
          </a:xfrm>
        </p:spPr>
        <p:txBody>
          <a:bodyPr/>
          <a:lstStyle/>
          <a:p>
            <a:r>
              <a:rPr lang="en-GB" sz="2800" dirty="0"/>
              <a:t>WS 4 and 6 - Fallback capacity allocation with single price per bidding zone </a:t>
            </a:r>
          </a:p>
        </p:txBody>
      </p:sp>
      <p:sp>
        <p:nvSpPr>
          <p:cNvPr id="3" name="Slide Number Placeholder 2">
            <a:extLst>
              <a:ext uri="{FF2B5EF4-FFF2-40B4-BE49-F238E27FC236}">
                <a16:creationId xmlns:a16="http://schemas.microsoft.com/office/drawing/2014/main" id="{A60F6EB3-B335-D378-98C6-6CFEC84FA3BD}"/>
              </a:ext>
            </a:extLst>
          </p:cNvPr>
          <p:cNvSpPr>
            <a:spLocks noGrp="1"/>
          </p:cNvSpPr>
          <p:nvPr>
            <p:ph type="sldNum" sz="quarter" idx="12"/>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68E16D21-2873-7F4D-BC1C-4DCC7B7156B8}" type="slidenum">
              <a:rPr kumimoji="0" lang="en-GB" sz="1500" b="1"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ctr" defTabSz="457200" rtl="0" eaLnBrk="1" fontAlgn="auto" latinLnBrk="0" hangingPunct="1">
                <a:lnSpc>
                  <a:spcPct val="100000"/>
                </a:lnSpc>
                <a:spcBef>
                  <a:spcPts val="0"/>
                </a:spcBef>
                <a:spcAft>
                  <a:spcPts val="0"/>
                </a:spcAft>
                <a:buClrTx/>
                <a:buSzTx/>
                <a:buFontTx/>
                <a:buNone/>
                <a:tabLst/>
                <a:defRPr/>
              </a:pPr>
              <a:t>8</a:t>
            </a:fld>
            <a:endParaRPr kumimoji="0" lang="en-GB" sz="15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 name="Text Placeholder 8">
            <a:extLst>
              <a:ext uri="{FF2B5EF4-FFF2-40B4-BE49-F238E27FC236}">
                <a16:creationId xmlns:a16="http://schemas.microsoft.com/office/drawing/2014/main" id="{2EEC4491-3725-BCA2-103A-89C27A058373}"/>
              </a:ext>
            </a:extLst>
          </p:cNvPr>
          <p:cNvSpPr>
            <a:spLocks noGrp="1"/>
          </p:cNvSpPr>
          <p:nvPr>
            <p:ph type="body" sz="quarter" idx="13"/>
          </p:nvPr>
        </p:nvSpPr>
        <p:spPr/>
        <p:txBody>
          <a:bodyPr/>
          <a:lstStyle/>
          <a:p>
            <a:r>
              <a:rPr lang="en-GB" noProof="0" dirty="0"/>
              <a:t>Continuous SIDC as the fallback solution for DA capacity allocation</a:t>
            </a:r>
          </a:p>
          <a:p>
            <a:r>
              <a:rPr lang="en-GB" noProof="0" dirty="0">
                <a:ea typeface="Verdana"/>
              </a:rPr>
              <a:t>Dedicated tests to provide assurance on XBID ability to manage load as fallback system will be available in next 6 months </a:t>
            </a:r>
            <a:endParaRPr lang="sl-SI" noProof="0" dirty="0">
              <a:ea typeface="Verdana"/>
            </a:endParaRPr>
          </a:p>
          <a:p>
            <a:r>
              <a:rPr lang="en-GB" noProof="0" dirty="0"/>
              <a:t>NEMOs and TSOs are further discussing how to allocate additional 30 minutes due to a shift of nomination deadline shift to 16:00 (see previous WS 2)</a:t>
            </a:r>
          </a:p>
          <a:p>
            <a:r>
              <a:rPr lang="en-GB" noProof="0" dirty="0"/>
              <a:t>NEMOs and TSOs designed the procedural timing overview for the new process</a:t>
            </a:r>
          </a:p>
          <a:p>
            <a:r>
              <a:rPr lang="en-GB" noProof="0" dirty="0"/>
              <a:t>MCSC is further discussing the possibility to harmonise and implement the continuous intraday market as fallback mechanism for SDAC decoupling (see next slide)</a:t>
            </a:r>
          </a:p>
          <a:p>
            <a:r>
              <a:rPr lang="en-GB" noProof="0" dirty="0"/>
              <a:t>MCSC designed a DA reference price mechanism, based on the continuous trade</a:t>
            </a:r>
            <a:r>
              <a:rPr lang="en-GB" dirty="0"/>
              <a:t>s executed in case of decoupling</a:t>
            </a:r>
            <a:endParaRPr lang="en-GB" noProof="0" dirty="0"/>
          </a:p>
        </p:txBody>
      </p:sp>
      <p:sp>
        <p:nvSpPr>
          <p:cNvPr id="10" name="Text Placeholder 9">
            <a:extLst>
              <a:ext uri="{FF2B5EF4-FFF2-40B4-BE49-F238E27FC236}">
                <a16:creationId xmlns:a16="http://schemas.microsoft.com/office/drawing/2014/main" id="{2AE5B2E2-800B-FFC9-4AB0-14ED6DED3361}"/>
              </a:ext>
            </a:extLst>
          </p:cNvPr>
          <p:cNvSpPr>
            <a:spLocks noGrp="1"/>
          </p:cNvSpPr>
          <p:nvPr>
            <p:ph type="body" sz="quarter" idx="14"/>
          </p:nvPr>
        </p:nvSpPr>
        <p:spPr/>
        <p:txBody>
          <a:bodyPr/>
          <a:lstStyle/>
          <a:p>
            <a:endParaRPr lang="en-GB" dirty="0"/>
          </a:p>
        </p:txBody>
      </p:sp>
      <p:sp>
        <p:nvSpPr>
          <p:cNvPr id="6" name="TextBox 5">
            <a:extLst>
              <a:ext uri="{FF2B5EF4-FFF2-40B4-BE49-F238E27FC236}">
                <a16:creationId xmlns:a16="http://schemas.microsoft.com/office/drawing/2014/main" id="{1BBED7FB-DC05-5C9F-CF1A-A1B2F06C5469}"/>
              </a:ext>
            </a:extLst>
          </p:cNvPr>
          <p:cNvSpPr txBox="1"/>
          <p:nvPr/>
        </p:nvSpPr>
        <p:spPr>
          <a:xfrm>
            <a:off x="11709779" y="3234519"/>
            <a:ext cx="914400" cy="914400"/>
          </a:xfrm>
          <a:prstGeom prst="rect">
            <a:avLst/>
          </a:prstGeom>
        </p:spPr>
        <p:txBody>
          <a:bodyPr vert="horz" wrap="none" lIns="91440" tIns="45720" rIns="91440" bIns="45720" rtlCol="0" anchor="t">
            <a:norm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004FE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6014701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D25823-4D94-D712-CBA9-9E1DB20A2FC1}"/>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61A1C953-D192-8245-BEFF-7495019694A8}"/>
              </a:ext>
            </a:extLst>
          </p:cNvPr>
          <p:cNvSpPr>
            <a:spLocks noGrp="1"/>
          </p:cNvSpPr>
          <p:nvPr>
            <p:ph type="title"/>
          </p:nvPr>
        </p:nvSpPr>
        <p:spPr>
          <a:xfrm>
            <a:off x="1975556" y="0"/>
            <a:ext cx="9520444" cy="1080000"/>
          </a:xfrm>
        </p:spPr>
        <p:txBody>
          <a:bodyPr/>
          <a:lstStyle/>
          <a:p>
            <a:r>
              <a:rPr lang="en-GB" sz="2800" dirty="0"/>
              <a:t>WS 4 and 6 - Fallback capacity allocation with single price per bidding zone </a:t>
            </a:r>
          </a:p>
        </p:txBody>
      </p:sp>
      <p:sp>
        <p:nvSpPr>
          <p:cNvPr id="3" name="Slide Number Placeholder 2">
            <a:extLst>
              <a:ext uri="{FF2B5EF4-FFF2-40B4-BE49-F238E27FC236}">
                <a16:creationId xmlns:a16="http://schemas.microsoft.com/office/drawing/2014/main" id="{47295769-7645-260F-32DD-46B4CD433804}"/>
              </a:ext>
            </a:extLst>
          </p:cNvPr>
          <p:cNvSpPr>
            <a:spLocks noGrp="1"/>
          </p:cNvSpPr>
          <p:nvPr>
            <p:ph type="sldNum" sz="quarter" idx="12"/>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68E16D21-2873-7F4D-BC1C-4DCC7B7156B8}" type="slidenum">
              <a:rPr kumimoji="0" lang="en-GB" sz="1500" b="1"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ctr" defTabSz="457200" rtl="0" eaLnBrk="1" fontAlgn="auto" latinLnBrk="0" hangingPunct="1">
                <a:lnSpc>
                  <a:spcPct val="100000"/>
                </a:lnSpc>
                <a:spcBef>
                  <a:spcPts val="0"/>
                </a:spcBef>
                <a:spcAft>
                  <a:spcPts val="0"/>
                </a:spcAft>
                <a:buClrTx/>
                <a:buSzTx/>
                <a:buFontTx/>
                <a:buNone/>
                <a:tabLst/>
                <a:defRPr/>
              </a:pPr>
              <a:t>9</a:t>
            </a:fld>
            <a:endParaRPr kumimoji="0" lang="en-GB" sz="15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 name="Text Placeholder 9">
            <a:extLst>
              <a:ext uri="{FF2B5EF4-FFF2-40B4-BE49-F238E27FC236}">
                <a16:creationId xmlns:a16="http://schemas.microsoft.com/office/drawing/2014/main" id="{002DE6B2-8B2E-7864-8C45-A8B0A23F47DB}"/>
              </a:ext>
            </a:extLst>
          </p:cNvPr>
          <p:cNvSpPr>
            <a:spLocks noGrp="1"/>
          </p:cNvSpPr>
          <p:nvPr>
            <p:ph type="body" sz="quarter" idx="14"/>
          </p:nvPr>
        </p:nvSpPr>
        <p:spPr/>
        <p:txBody>
          <a:bodyPr/>
          <a:lstStyle/>
          <a:p>
            <a:endParaRPr lang="en-GB" dirty="0"/>
          </a:p>
        </p:txBody>
      </p:sp>
      <p:sp>
        <p:nvSpPr>
          <p:cNvPr id="6" name="TextBox 5">
            <a:extLst>
              <a:ext uri="{FF2B5EF4-FFF2-40B4-BE49-F238E27FC236}">
                <a16:creationId xmlns:a16="http://schemas.microsoft.com/office/drawing/2014/main" id="{2CB554BF-F49F-9771-E7A7-49DFE3C04D16}"/>
              </a:ext>
            </a:extLst>
          </p:cNvPr>
          <p:cNvSpPr txBox="1"/>
          <p:nvPr/>
        </p:nvSpPr>
        <p:spPr>
          <a:xfrm>
            <a:off x="11709779" y="3234519"/>
            <a:ext cx="914400" cy="914400"/>
          </a:xfrm>
          <a:prstGeom prst="rect">
            <a:avLst/>
          </a:prstGeom>
        </p:spPr>
        <p:txBody>
          <a:bodyPr vert="horz" wrap="none" lIns="91440" tIns="45720" rIns="91440" bIns="45720" rtlCol="0" anchor="t">
            <a:norm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004FEE"/>
              </a:solidFill>
              <a:effectLst/>
              <a:uLnTx/>
              <a:uFillTx/>
              <a:latin typeface="Arial" panose="020B0604020202020204"/>
              <a:ea typeface="+mn-ea"/>
              <a:cs typeface="+mn-cs"/>
            </a:endParaRPr>
          </a:p>
        </p:txBody>
      </p:sp>
      <p:graphicFrame>
        <p:nvGraphicFramePr>
          <p:cNvPr id="314" name="Table 313">
            <a:extLst>
              <a:ext uri="{FF2B5EF4-FFF2-40B4-BE49-F238E27FC236}">
                <a16:creationId xmlns:a16="http://schemas.microsoft.com/office/drawing/2014/main" id="{6A6F4C79-B8AF-6A56-82CF-010478A4523A}"/>
              </a:ext>
            </a:extLst>
          </p:cNvPr>
          <p:cNvGraphicFramePr>
            <a:graphicFrameLocks noGrp="1"/>
          </p:cNvGraphicFramePr>
          <p:nvPr>
            <p:extLst>
              <p:ext uri="{D42A27DB-BD31-4B8C-83A1-F6EECF244321}">
                <p14:modId xmlns:p14="http://schemas.microsoft.com/office/powerpoint/2010/main" val="1190539295"/>
              </p:ext>
            </p:extLst>
          </p:nvPr>
        </p:nvGraphicFramePr>
        <p:xfrm>
          <a:off x="701675" y="1826525"/>
          <a:ext cx="4969232" cy="1630680"/>
        </p:xfrm>
        <a:graphic>
          <a:graphicData uri="http://schemas.openxmlformats.org/drawingml/2006/table">
            <a:tbl>
              <a:tblPr firstRow="1" bandRow="1">
                <a:tableStyleId>{2D5ABB26-0587-4C30-8999-92F81FD0307C}</a:tableStyleId>
              </a:tblPr>
              <a:tblGrid>
                <a:gridCol w="556929">
                  <a:extLst>
                    <a:ext uri="{9D8B030D-6E8A-4147-A177-3AD203B41FA5}">
                      <a16:colId xmlns:a16="http://schemas.microsoft.com/office/drawing/2014/main" val="3287543765"/>
                    </a:ext>
                  </a:extLst>
                </a:gridCol>
                <a:gridCol w="4412303">
                  <a:extLst>
                    <a:ext uri="{9D8B030D-6E8A-4147-A177-3AD203B41FA5}">
                      <a16:colId xmlns:a16="http://schemas.microsoft.com/office/drawing/2014/main" val="4227233554"/>
                    </a:ext>
                  </a:extLst>
                </a:gridCol>
              </a:tblGrid>
              <a:tr h="0">
                <a:tc>
                  <a:txBody>
                    <a:bodyPr/>
                    <a:lstStyle/>
                    <a:p>
                      <a:endParaRPr lang="en-GB" sz="1100" dirty="0">
                        <a:latin typeface="+mj-lt"/>
                      </a:endParaRPr>
                    </a:p>
                  </a:txBody>
                  <a:tcPr>
                    <a:solidFill>
                      <a:srgbClr val="A2C613"/>
                    </a:solidFill>
                  </a:tcPr>
                </a:tc>
                <a:tc>
                  <a:txBody>
                    <a:bodyPr/>
                    <a:lstStyle/>
                    <a:p>
                      <a:r>
                        <a:rPr lang="en-GB" sz="1100" dirty="0">
                          <a:latin typeface="+mj-lt"/>
                        </a:rPr>
                        <a:t>Shadow Auctions via JAO</a:t>
                      </a:r>
                    </a:p>
                  </a:txBody>
                  <a:tcPr anchor="ctr"/>
                </a:tc>
                <a:extLst>
                  <a:ext uri="{0D108BD9-81ED-4DB2-BD59-A6C34878D82A}">
                    <a16:rowId xmlns:a16="http://schemas.microsoft.com/office/drawing/2014/main" val="1143977865"/>
                  </a:ext>
                </a:extLst>
              </a:tr>
              <a:tr h="0">
                <a:tc>
                  <a:txBody>
                    <a:bodyPr/>
                    <a:lstStyle/>
                    <a:p>
                      <a:endParaRPr lang="en-GB" sz="1100" dirty="0">
                        <a:latin typeface="+mj-lt"/>
                      </a:endParaRPr>
                    </a:p>
                  </a:txBody>
                  <a:tcPr>
                    <a:solidFill>
                      <a:srgbClr val="00A194"/>
                    </a:solidFill>
                  </a:tcPr>
                </a:tc>
                <a:tc>
                  <a:txBody>
                    <a:bodyPr/>
                    <a:lstStyle/>
                    <a:p>
                      <a:r>
                        <a:rPr lang="en-GB" sz="1100" dirty="0">
                          <a:latin typeface="+mj-lt"/>
                        </a:rPr>
                        <a:t>Capacity goes to Intraday market*</a:t>
                      </a:r>
                    </a:p>
                  </a:txBody>
                  <a:tcPr anchor="ctr"/>
                </a:tc>
                <a:extLst>
                  <a:ext uri="{0D108BD9-81ED-4DB2-BD59-A6C34878D82A}">
                    <a16:rowId xmlns:a16="http://schemas.microsoft.com/office/drawing/2014/main" val="2586930606"/>
                  </a:ext>
                </a:extLst>
              </a:tr>
              <a:tr h="0">
                <a:tc>
                  <a:txBody>
                    <a:bodyPr/>
                    <a:lstStyle/>
                    <a:p>
                      <a:endParaRPr lang="en-GB" sz="1100" dirty="0">
                        <a:latin typeface="+mj-lt"/>
                      </a:endParaRPr>
                    </a:p>
                  </a:txBody>
                  <a:tcPr>
                    <a:solidFill>
                      <a:srgbClr val="7359A0"/>
                    </a:solidFill>
                  </a:tcPr>
                </a:tc>
                <a:tc>
                  <a:txBody>
                    <a:bodyPr/>
                    <a:lstStyle/>
                    <a:p>
                      <a:r>
                        <a:rPr lang="en-GB" sz="1100" dirty="0"/>
                        <a:t>Always remains coupled through regional DA coupling**</a:t>
                      </a:r>
                      <a:endParaRPr lang="en-GB" sz="1100" dirty="0">
                        <a:latin typeface="+mj-lt"/>
                      </a:endParaRPr>
                    </a:p>
                  </a:txBody>
                  <a:tcPr anchor="ctr"/>
                </a:tc>
                <a:extLst>
                  <a:ext uri="{0D108BD9-81ED-4DB2-BD59-A6C34878D82A}">
                    <a16:rowId xmlns:a16="http://schemas.microsoft.com/office/drawing/2014/main" val="1679546247"/>
                  </a:ext>
                </a:extLst>
              </a:tr>
              <a:tr h="0">
                <a:tc>
                  <a:txBody>
                    <a:bodyPr/>
                    <a:lstStyle/>
                    <a:p>
                      <a:endParaRPr lang="en-GB" sz="1100" dirty="0">
                        <a:latin typeface="+mj-lt"/>
                      </a:endParaRPr>
                    </a:p>
                  </a:txBody>
                  <a:tcPr>
                    <a:solidFill>
                      <a:srgbClr val="E7E6E6"/>
                    </a:solidFill>
                  </a:tcPr>
                </a:tc>
                <a:tc>
                  <a:txBody>
                    <a:bodyPr/>
                    <a:lstStyle/>
                    <a:p>
                      <a:r>
                        <a:rPr lang="en-GB" sz="1100" dirty="0">
                          <a:latin typeface="+mj-lt"/>
                        </a:rPr>
                        <a:t>None</a:t>
                      </a:r>
                    </a:p>
                  </a:txBody>
                  <a:tcPr anchor="ctr"/>
                </a:tc>
                <a:extLst>
                  <a:ext uri="{0D108BD9-81ED-4DB2-BD59-A6C34878D82A}">
                    <a16:rowId xmlns:a16="http://schemas.microsoft.com/office/drawing/2014/main" val="3889120170"/>
                  </a:ext>
                </a:extLst>
              </a:tr>
              <a:tr h="0">
                <a:tc>
                  <a:txBody>
                    <a:bodyPr/>
                    <a:lstStyle/>
                    <a:p>
                      <a:pPr algn="r"/>
                      <a:r>
                        <a:rPr lang="en-GB" sz="1100" dirty="0">
                          <a:latin typeface="+mj-lt"/>
                        </a:rPr>
                        <a:t>*</a:t>
                      </a:r>
                    </a:p>
                  </a:txBody>
                  <a:tcPr>
                    <a:noFill/>
                  </a:tcPr>
                </a:tc>
                <a:tc>
                  <a:txBody>
                    <a:bodyPr/>
                    <a:lstStyle/>
                    <a:p>
                      <a:r>
                        <a:rPr lang="en-GB" sz="800" dirty="0">
                          <a:latin typeface="+mj-lt"/>
                        </a:rPr>
                        <a:t>PL-LT (</a:t>
                      </a:r>
                      <a:r>
                        <a:rPr lang="en-GB" sz="800" dirty="0" err="1">
                          <a:latin typeface="+mj-lt"/>
                        </a:rPr>
                        <a:t>LitPol</a:t>
                      </a:r>
                      <a:r>
                        <a:rPr lang="en-GB" sz="800" dirty="0">
                          <a:latin typeface="+mj-lt"/>
                        </a:rPr>
                        <a:t> Link) capacity goes back to interconnector owner</a:t>
                      </a:r>
                    </a:p>
                  </a:txBody>
                  <a:tcPr/>
                </a:tc>
                <a:extLst>
                  <a:ext uri="{0D108BD9-81ED-4DB2-BD59-A6C34878D82A}">
                    <a16:rowId xmlns:a16="http://schemas.microsoft.com/office/drawing/2014/main" val="104721910"/>
                  </a:ext>
                </a:extLst>
              </a:tr>
              <a:tr h="0">
                <a:tc>
                  <a:txBody>
                    <a:bodyPr/>
                    <a:lstStyle/>
                    <a:p>
                      <a:pPr algn="r"/>
                      <a:r>
                        <a:rPr lang="en-GB" sz="1100" dirty="0">
                          <a:latin typeface="+mj-lt"/>
                        </a:rPr>
                        <a:t>**</a:t>
                      </a:r>
                    </a:p>
                  </a:txBody>
                  <a:tcPr>
                    <a:noFill/>
                  </a:tcPr>
                </a:tc>
                <a:tc>
                  <a:txBody>
                    <a:bodyPr/>
                    <a:lstStyle/>
                    <a:p>
                      <a:r>
                        <a:rPr lang="en-GB" sz="800" dirty="0">
                          <a:latin typeface="+mj-lt"/>
                        </a:rPr>
                        <a:t>Nordic-Baltic borders (</a:t>
                      </a:r>
                      <a:r>
                        <a:rPr lang="en-GB" sz="800" dirty="0" err="1">
                          <a:latin typeface="+mj-lt"/>
                        </a:rPr>
                        <a:t>NordBalt</a:t>
                      </a:r>
                      <a:r>
                        <a:rPr lang="en-GB" sz="800" dirty="0">
                          <a:latin typeface="+mj-lt"/>
                        </a:rPr>
                        <a:t> &amp; EstLink) always remain coupled through Nordic-Baltic regional DA coupling</a:t>
                      </a:r>
                    </a:p>
                  </a:txBody>
                  <a:tcPr/>
                </a:tc>
                <a:extLst>
                  <a:ext uri="{0D108BD9-81ED-4DB2-BD59-A6C34878D82A}">
                    <a16:rowId xmlns:a16="http://schemas.microsoft.com/office/drawing/2014/main" val="3624998682"/>
                  </a:ext>
                </a:extLst>
              </a:tr>
            </a:tbl>
          </a:graphicData>
        </a:graphic>
      </p:graphicFrame>
      <p:grpSp>
        <p:nvGrpSpPr>
          <p:cNvPr id="2" name="Group 1">
            <a:extLst>
              <a:ext uri="{FF2B5EF4-FFF2-40B4-BE49-F238E27FC236}">
                <a16:creationId xmlns:a16="http://schemas.microsoft.com/office/drawing/2014/main" id="{B582F49E-154D-783D-5275-FBA167835265}"/>
              </a:ext>
            </a:extLst>
          </p:cNvPr>
          <p:cNvGrpSpPr/>
          <p:nvPr/>
        </p:nvGrpSpPr>
        <p:grpSpPr>
          <a:xfrm>
            <a:off x="6128270" y="973929"/>
            <a:ext cx="5041475" cy="5867338"/>
            <a:chOff x="5702921" y="388638"/>
            <a:chExt cx="5041475" cy="5867338"/>
          </a:xfrm>
        </p:grpSpPr>
        <p:sp>
          <p:nvSpPr>
            <p:cNvPr id="479" name="Freihandform: Form 2">
              <a:extLst>
                <a:ext uri="{FF2B5EF4-FFF2-40B4-BE49-F238E27FC236}">
                  <a16:creationId xmlns:a16="http://schemas.microsoft.com/office/drawing/2014/main" id="{AD4E0A83-6FC3-64CF-78AD-3788B4DB6676}"/>
                </a:ext>
              </a:extLst>
            </p:cNvPr>
            <p:cNvSpPr/>
            <p:nvPr/>
          </p:nvSpPr>
          <p:spPr>
            <a:xfrm>
              <a:off x="8875400" y="714325"/>
              <a:ext cx="616930" cy="744822"/>
            </a:xfrm>
            <a:custGeom>
              <a:avLst/>
              <a:gdLst>
                <a:gd name="connsiteX0" fmla="*/ 322564 w 616930"/>
                <a:gd name="connsiteY0" fmla="*/ 4327 h 744822"/>
                <a:gd name="connsiteX1" fmla="*/ 345003 w 616930"/>
                <a:gd name="connsiteY1" fmla="*/ 15546 h 744822"/>
                <a:gd name="connsiteX2" fmla="*/ 361833 w 616930"/>
                <a:gd name="connsiteY2" fmla="*/ 35181 h 744822"/>
                <a:gd name="connsiteX3" fmla="*/ 373052 w 616930"/>
                <a:gd name="connsiteY3" fmla="*/ 40791 h 744822"/>
                <a:gd name="connsiteX4" fmla="*/ 387077 w 616930"/>
                <a:gd name="connsiteY4" fmla="*/ 52010 h 744822"/>
                <a:gd name="connsiteX5" fmla="*/ 395492 w 616930"/>
                <a:gd name="connsiteY5" fmla="*/ 57620 h 744822"/>
                <a:gd name="connsiteX6" fmla="*/ 403906 w 616930"/>
                <a:gd name="connsiteY6" fmla="*/ 66035 h 744822"/>
                <a:gd name="connsiteX7" fmla="*/ 426346 w 616930"/>
                <a:gd name="connsiteY7" fmla="*/ 80059 h 744822"/>
                <a:gd name="connsiteX8" fmla="*/ 434760 w 616930"/>
                <a:gd name="connsiteY8" fmla="*/ 82864 h 744822"/>
                <a:gd name="connsiteX9" fmla="*/ 462809 w 616930"/>
                <a:gd name="connsiteY9" fmla="*/ 88474 h 744822"/>
                <a:gd name="connsiteX10" fmla="*/ 468419 w 616930"/>
                <a:gd name="connsiteY10" fmla="*/ 96889 h 744822"/>
                <a:gd name="connsiteX11" fmla="*/ 476834 w 616930"/>
                <a:gd name="connsiteY11" fmla="*/ 99694 h 744822"/>
                <a:gd name="connsiteX12" fmla="*/ 485249 w 616930"/>
                <a:gd name="connsiteY12" fmla="*/ 105303 h 744822"/>
                <a:gd name="connsiteX13" fmla="*/ 499273 w 616930"/>
                <a:gd name="connsiteY13" fmla="*/ 122133 h 744822"/>
                <a:gd name="connsiteX14" fmla="*/ 504883 w 616930"/>
                <a:gd name="connsiteY14" fmla="*/ 130548 h 744822"/>
                <a:gd name="connsiteX15" fmla="*/ 521712 w 616930"/>
                <a:gd name="connsiteY15" fmla="*/ 152987 h 744822"/>
                <a:gd name="connsiteX16" fmla="*/ 530127 w 616930"/>
                <a:gd name="connsiteY16" fmla="*/ 164207 h 744822"/>
                <a:gd name="connsiteX17" fmla="*/ 532932 w 616930"/>
                <a:gd name="connsiteY17" fmla="*/ 178231 h 744822"/>
                <a:gd name="connsiteX18" fmla="*/ 535737 w 616930"/>
                <a:gd name="connsiteY18" fmla="*/ 186646 h 744822"/>
                <a:gd name="connsiteX19" fmla="*/ 544152 w 616930"/>
                <a:gd name="connsiteY19" fmla="*/ 223110 h 744822"/>
                <a:gd name="connsiteX20" fmla="*/ 546957 w 616930"/>
                <a:gd name="connsiteY20" fmla="*/ 237134 h 744822"/>
                <a:gd name="connsiteX21" fmla="*/ 558176 w 616930"/>
                <a:gd name="connsiteY21" fmla="*/ 304452 h 744822"/>
                <a:gd name="connsiteX22" fmla="*/ 560981 w 616930"/>
                <a:gd name="connsiteY22" fmla="*/ 315672 h 744822"/>
                <a:gd name="connsiteX23" fmla="*/ 563786 w 616930"/>
                <a:gd name="connsiteY23" fmla="*/ 329696 h 744822"/>
                <a:gd name="connsiteX24" fmla="*/ 569396 w 616930"/>
                <a:gd name="connsiteY24" fmla="*/ 343721 h 744822"/>
                <a:gd name="connsiteX25" fmla="*/ 572201 w 616930"/>
                <a:gd name="connsiteY25" fmla="*/ 352135 h 744822"/>
                <a:gd name="connsiteX26" fmla="*/ 586225 w 616930"/>
                <a:gd name="connsiteY26" fmla="*/ 380184 h 744822"/>
                <a:gd name="connsiteX27" fmla="*/ 591835 w 616930"/>
                <a:gd name="connsiteY27" fmla="*/ 425063 h 744822"/>
                <a:gd name="connsiteX28" fmla="*/ 594640 w 616930"/>
                <a:gd name="connsiteY28" fmla="*/ 439088 h 744822"/>
                <a:gd name="connsiteX29" fmla="*/ 600250 w 616930"/>
                <a:gd name="connsiteY29" fmla="*/ 447502 h 744822"/>
                <a:gd name="connsiteX30" fmla="*/ 603055 w 616930"/>
                <a:gd name="connsiteY30" fmla="*/ 455917 h 744822"/>
                <a:gd name="connsiteX31" fmla="*/ 608665 w 616930"/>
                <a:gd name="connsiteY31" fmla="*/ 467137 h 744822"/>
                <a:gd name="connsiteX32" fmla="*/ 614274 w 616930"/>
                <a:gd name="connsiteY32" fmla="*/ 489576 h 744822"/>
                <a:gd name="connsiteX33" fmla="*/ 600250 w 616930"/>
                <a:gd name="connsiteY33" fmla="*/ 486771 h 744822"/>
                <a:gd name="connsiteX34" fmla="*/ 563786 w 616930"/>
                <a:gd name="connsiteY34" fmla="*/ 497991 h 744822"/>
                <a:gd name="connsiteX35" fmla="*/ 546957 w 616930"/>
                <a:gd name="connsiteY35" fmla="*/ 503600 h 744822"/>
                <a:gd name="connsiteX36" fmla="*/ 507688 w 616930"/>
                <a:gd name="connsiteY36" fmla="*/ 506405 h 744822"/>
                <a:gd name="connsiteX37" fmla="*/ 462809 w 616930"/>
                <a:gd name="connsiteY37" fmla="*/ 537259 h 744822"/>
                <a:gd name="connsiteX38" fmla="*/ 471224 w 616930"/>
                <a:gd name="connsiteY38" fmla="*/ 540064 h 744822"/>
                <a:gd name="connsiteX39" fmla="*/ 474029 w 616930"/>
                <a:gd name="connsiteY39" fmla="*/ 548479 h 744822"/>
                <a:gd name="connsiteX40" fmla="*/ 448785 w 616930"/>
                <a:gd name="connsiteY40" fmla="*/ 582138 h 744822"/>
                <a:gd name="connsiteX41" fmla="*/ 443175 w 616930"/>
                <a:gd name="connsiteY41" fmla="*/ 666285 h 744822"/>
                <a:gd name="connsiteX42" fmla="*/ 437565 w 616930"/>
                <a:gd name="connsiteY42" fmla="*/ 677505 h 744822"/>
                <a:gd name="connsiteX43" fmla="*/ 440370 w 616930"/>
                <a:gd name="connsiteY43" fmla="*/ 711164 h 744822"/>
                <a:gd name="connsiteX44" fmla="*/ 445980 w 616930"/>
                <a:gd name="connsiteY44" fmla="*/ 719578 h 744822"/>
                <a:gd name="connsiteX45" fmla="*/ 457200 w 616930"/>
                <a:gd name="connsiteY45" fmla="*/ 739213 h 744822"/>
                <a:gd name="connsiteX46" fmla="*/ 440370 w 616930"/>
                <a:gd name="connsiteY46" fmla="*/ 739213 h 744822"/>
                <a:gd name="connsiteX47" fmla="*/ 401101 w 616930"/>
                <a:gd name="connsiteY47" fmla="*/ 744822 h 744822"/>
                <a:gd name="connsiteX48" fmla="*/ 367442 w 616930"/>
                <a:gd name="connsiteY48" fmla="*/ 742018 h 744822"/>
                <a:gd name="connsiteX49" fmla="*/ 364638 w 616930"/>
                <a:gd name="connsiteY49" fmla="*/ 730798 h 744822"/>
                <a:gd name="connsiteX50" fmla="*/ 347808 w 616930"/>
                <a:gd name="connsiteY50" fmla="*/ 702749 h 744822"/>
                <a:gd name="connsiteX51" fmla="*/ 342198 w 616930"/>
                <a:gd name="connsiteY51" fmla="*/ 691529 h 744822"/>
                <a:gd name="connsiteX52" fmla="*/ 325369 w 616930"/>
                <a:gd name="connsiteY52" fmla="*/ 677505 h 744822"/>
                <a:gd name="connsiteX53" fmla="*/ 319759 w 616930"/>
                <a:gd name="connsiteY53" fmla="*/ 666285 h 744822"/>
                <a:gd name="connsiteX54" fmla="*/ 311344 w 616930"/>
                <a:gd name="connsiteY54" fmla="*/ 660675 h 744822"/>
                <a:gd name="connsiteX55" fmla="*/ 274881 w 616930"/>
                <a:gd name="connsiteY55" fmla="*/ 641041 h 744822"/>
                <a:gd name="connsiteX56" fmla="*/ 252441 w 616930"/>
                <a:gd name="connsiteY56" fmla="*/ 627016 h 744822"/>
                <a:gd name="connsiteX57" fmla="*/ 235612 w 616930"/>
                <a:gd name="connsiteY57" fmla="*/ 618602 h 744822"/>
                <a:gd name="connsiteX58" fmla="*/ 232807 w 616930"/>
                <a:gd name="connsiteY58" fmla="*/ 610187 h 744822"/>
                <a:gd name="connsiteX59" fmla="*/ 221587 w 616930"/>
                <a:gd name="connsiteY59" fmla="*/ 593357 h 744822"/>
                <a:gd name="connsiteX60" fmla="*/ 204758 w 616930"/>
                <a:gd name="connsiteY60" fmla="*/ 568113 h 744822"/>
                <a:gd name="connsiteX61" fmla="*/ 176709 w 616930"/>
                <a:gd name="connsiteY61" fmla="*/ 554089 h 744822"/>
                <a:gd name="connsiteX62" fmla="*/ 157074 w 616930"/>
                <a:gd name="connsiteY62" fmla="*/ 551284 h 744822"/>
                <a:gd name="connsiteX63" fmla="*/ 148660 w 616930"/>
                <a:gd name="connsiteY63" fmla="*/ 548479 h 744822"/>
                <a:gd name="connsiteX64" fmla="*/ 115001 w 616930"/>
                <a:gd name="connsiteY64" fmla="*/ 531649 h 744822"/>
                <a:gd name="connsiteX65" fmla="*/ 106586 w 616930"/>
                <a:gd name="connsiteY65" fmla="*/ 528845 h 744822"/>
                <a:gd name="connsiteX66" fmla="*/ 70122 w 616930"/>
                <a:gd name="connsiteY66" fmla="*/ 506405 h 744822"/>
                <a:gd name="connsiteX67" fmla="*/ 33658 w 616930"/>
                <a:gd name="connsiteY67" fmla="*/ 486771 h 744822"/>
                <a:gd name="connsiteX68" fmla="*/ 0 w 616930"/>
                <a:gd name="connsiteY68" fmla="*/ 478356 h 744822"/>
                <a:gd name="connsiteX69" fmla="*/ 2804 w 616930"/>
                <a:gd name="connsiteY69" fmla="*/ 447502 h 744822"/>
                <a:gd name="connsiteX70" fmla="*/ 14024 w 616930"/>
                <a:gd name="connsiteY70" fmla="*/ 430673 h 744822"/>
                <a:gd name="connsiteX71" fmla="*/ 33658 w 616930"/>
                <a:gd name="connsiteY71" fmla="*/ 405429 h 744822"/>
                <a:gd name="connsiteX72" fmla="*/ 42073 w 616930"/>
                <a:gd name="connsiteY72" fmla="*/ 394209 h 744822"/>
                <a:gd name="connsiteX73" fmla="*/ 64512 w 616930"/>
                <a:gd name="connsiteY73" fmla="*/ 371770 h 744822"/>
                <a:gd name="connsiteX74" fmla="*/ 78537 w 616930"/>
                <a:gd name="connsiteY74" fmla="*/ 343721 h 744822"/>
                <a:gd name="connsiteX75" fmla="*/ 75732 w 616930"/>
                <a:gd name="connsiteY75" fmla="*/ 329696 h 744822"/>
                <a:gd name="connsiteX76" fmla="*/ 70122 w 616930"/>
                <a:gd name="connsiteY76" fmla="*/ 321281 h 744822"/>
                <a:gd name="connsiteX77" fmla="*/ 61708 w 616930"/>
                <a:gd name="connsiteY77" fmla="*/ 298842 h 744822"/>
                <a:gd name="connsiteX78" fmla="*/ 64512 w 616930"/>
                <a:gd name="connsiteY78" fmla="*/ 267988 h 744822"/>
                <a:gd name="connsiteX79" fmla="*/ 72927 w 616930"/>
                <a:gd name="connsiteY79" fmla="*/ 256769 h 744822"/>
                <a:gd name="connsiteX80" fmla="*/ 78537 w 616930"/>
                <a:gd name="connsiteY80" fmla="*/ 248354 h 744822"/>
                <a:gd name="connsiteX81" fmla="*/ 106586 w 616930"/>
                <a:gd name="connsiteY81" fmla="*/ 209085 h 744822"/>
                <a:gd name="connsiteX82" fmla="*/ 134635 w 616930"/>
                <a:gd name="connsiteY82" fmla="*/ 186646 h 744822"/>
                <a:gd name="connsiteX83" fmla="*/ 143050 w 616930"/>
                <a:gd name="connsiteY83" fmla="*/ 192256 h 744822"/>
                <a:gd name="connsiteX84" fmla="*/ 171099 w 616930"/>
                <a:gd name="connsiteY84" fmla="*/ 197865 h 744822"/>
                <a:gd name="connsiteX85" fmla="*/ 179514 w 616930"/>
                <a:gd name="connsiteY85" fmla="*/ 195061 h 744822"/>
                <a:gd name="connsiteX86" fmla="*/ 193538 w 616930"/>
                <a:gd name="connsiteY86" fmla="*/ 105303 h 744822"/>
                <a:gd name="connsiteX87" fmla="*/ 210368 w 616930"/>
                <a:gd name="connsiteY87" fmla="*/ 99694 h 744822"/>
                <a:gd name="connsiteX88" fmla="*/ 241222 w 616930"/>
                <a:gd name="connsiteY88" fmla="*/ 102499 h 744822"/>
                <a:gd name="connsiteX89" fmla="*/ 280490 w 616930"/>
                <a:gd name="connsiteY89" fmla="*/ 113718 h 744822"/>
                <a:gd name="connsiteX90" fmla="*/ 291710 w 616930"/>
                <a:gd name="connsiteY90" fmla="*/ 116523 h 744822"/>
                <a:gd name="connsiteX91" fmla="*/ 300125 w 616930"/>
                <a:gd name="connsiteY91" fmla="*/ 77254 h 744822"/>
                <a:gd name="connsiteX92" fmla="*/ 305734 w 616930"/>
                <a:gd name="connsiteY92" fmla="*/ 52010 h 744822"/>
                <a:gd name="connsiteX93" fmla="*/ 302930 w 616930"/>
                <a:gd name="connsiteY93" fmla="*/ 7132 h 744822"/>
                <a:gd name="connsiteX94" fmla="*/ 322564 w 616930"/>
                <a:gd name="connsiteY94" fmla="*/ 4327 h 744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616930" h="744822">
                  <a:moveTo>
                    <a:pt x="322564" y="4327"/>
                  </a:moveTo>
                  <a:cubicBezTo>
                    <a:pt x="329576" y="5729"/>
                    <a:pt x="339403" y="9947"/>
                    <a:pt x="345003" y="15546"/>
                  </a:cubicBezTo>
                  <a:cubicBezTo>
                    <a:pt x="354583" y="25125"/>
                    <a:pt x="351143" y="27545"/>
                    <a:pt x="361833" y="35181"/>
                  </a:cubicBezTo>
                  <a:cubicBezTo>
                    <a:pt x="365235" y="37611"/>
                    <a:pt x="369573" y="38472"/>
                    <a:pt x="373052" y="40791"/>
                  </a:cubicBezTo>
                  <a:cubicBezTo>
                    <a:pt x="378033" y="44112"/>
                    <a:pt x="382288" y="48418"/>
                    <a:pt x="387077" y="52010"/>
                  </a:cubicBezTo>
                  <a:cubicBezTo>
                    <a:pt x="389774" y="54033"/>
                    <a:pt x="392902" y="55462"/>
                    <a:pt x="395492" y="57620"/>
                  </a:cubicBezTo>
                  <a:cubicBezTo>
                    <a:pt x="398539" y="60159"/>
                    <a:pt x="400894" y="63454"/>
                    <a:pt x="403906" y="66035"/>
                  </a:cubicBezTo>
                  <a:cubicBezTo>
                    <a:pt x="411958" y="72937"/>
                    <a:pt x="416771" y="75955"/>
                    <a:pt x="426346" y="80059"/>
                  </a:cubicBezTo>
                  <a:cubicBezTo>
                    <a:pt x="429063" y="81224"/>
                    <a:pt x="431917" y="82052"/>
                    <a:pt x="434760" y="82864"/>
                  </a:cubicBezTo>
                  <a:cubicBezTo>
                    <a:pt x="446474" y="86211"/>
                    <a:pt x="449587" y="86270"/>
                    <a:pt x="462809" y="88474"/>
                  </a:cubicBezTo>
                  <a:cubicBezTo>
                    <a:pt x="464679" y="91279"/>
                    <a:pt x="465787" y="94783"/>
                    <a:pt x="468419" y="96889"/>
                  </a:cubicBezTo>
                  <a:cubicBezTo>
                    <a:pt x="470728" y="98736"/>
                    <a:pt x="474189" y="98372"/>
                    <a:pt x="476834" y="99694"/>
                  </a:cubicBezTo>
                  <a:cubicBezTo>
                    <a:pt x="479849" y="101201"/>
                    <a:pt x="482444" y="103433"/>
                    <a:pt x="485249" y="105303"/>
                  </a:cubicBezTo>
                  <a:cubicBezTo>
                    <a:pt x="499170" y="126189"/>
                    <a:pt x="481282" y="100543"/>
                    <a:pt x="499273" y="122133"/>
                  </a:cubicBezTo>
                  <a:cubicBezTo>
                    <a:pt x="501431" y="124723"/>
                    <a:pt x="502900" y="127822"/>
                    <a:pt x="504883" y="130548"/>
                  </a:cubicBezTo>
                  <a:cubicBezTo>
                    <a:pt x="510382" y="138109"/>
                    <a:pt x="516102" y="145507"/>
                    <a:pt x="521712" y="152987"/>
                  </a:cubicBezTo>
                  <a:lnTo>
                    <a:pt x="530127" y="164207"/>
                  </a:lnTo>
                  <a:cubicBezTo>
                    <a:pt x="531062" y="168882"/>
                    <a:pt x="531776" y="173606"/>
                    <a:pt x="532932" y="178231"/>
                  </a:cubicBezTo>
                  <a:cubicBezTo>
                    <a:pt x="533649" y="181099"/>
                    <a:pt x="535251" y="183730"/>
                    <a:pt x="535737" y="186646"/>
                  </a:cubicBezTo>
                  <a:cubicBezTo>
                    <a:pt x="541454" y="220946"/>
                    <a:pt x="533546" y="201897"/>
                    <a:pt x="544152" y="223110"/>
                  </a:cubicBezTo>
                  <a:cubicBezTo>
                    <a:pt x="545087" y="227785"/>
                    <a:pt x="546411" y="232398"/>
                    <a:pt x="546957" y="237134"/>
                  </a:cubicBezTo>
                  <a:cubicBezTo>
                    <a:pt x="554403" y="301669"/>
                    <a:pt x="541366" y="279237"/>
                    <a:pt x="558176" y="304452"/>
                  </a:cubicBezTo>
                  <a:cubicBezTo>
                    <a:pt x="559111" y="308192"/>
                    <a:pt x="560145" y="311909"/>
                    <a:pt x="560981" y="315672"/>
                  </a:cubicBezTo>
                  <a:cubicBezTo>
                    <a:pt x="562015" y="320326"/>
                    <a:pt x="562416" y="325130"/>
                    <a:pt x="563786" y="329696"/>
                  </a:cubicBezTo>
                  <a:cubicBezTo>
                    <a:pt x="565233" y="334519"/>
                    <a:pt x="567628" y="339006"/>
                    <a:pt x="569396" y="343721"/>
                  </a:cubicBezTo>
                  <a:cubicBezTo>
                    <a:pt x="570434" y="346489"/>
                    <a:pt x="570879" y="349491"/>
                    <a:pt x="572201" y="352135"/>
                  </a:cubicBezTo>
                  <a:cubicBezTo>
                    <a:pt x="590543" y="388820"/>
                    <a:pt x="571814" y="344158"/>
                    <a:pt x="586225" y="380184"/>
                  </a:cubicBezTo>
                  <a:cubicBezTo>
                    <a:pt x="590428" y="430618"/>
                    <a:pt x="585930" y="398492"/>
                    <a:pt x="591835" y="425063"/>
                  </a:cubicBezTo>
                  <a:cubicBezTo>
                    <a:pt x="592869" y="429717"/>
                    <a:pt x="592966" y="434624"/>
                    <a:pt x="594640" y="439088"/>
                  </a:cubicBezTo>
                  <a:cubicBezTo>
                    <a:pt x="595824" y="442244"/>
                    <a:pt x="598380" y="444697"/>
                    <a:pt x="600250" y="447502"/>
                  </a:cubicBezTo>
                  <a:cubicBezTo>
                    <a:pt x="601185" y="450307"/>
                    <a:pt x="601890" y="453199"/>
                    <a:pt x="603055" y="455917"/>
                  </a:cubicBezTo>
                  <a:cubicBezTo>
                    <a:pt x="604702" y="459760"/>
                    <a:pt x="607343" y="463170"/>
                    <a:pt x="608665" y="467137"/>
                  </a:cubicBezTo>
                  <a:cubicBezTo>
                    <a:pt x="611103" y="474451"/>
                    <a:pt x="621834" y="491088"/>
                    <a:pt x="614274" y="489576"/>
                  </a:cubicBezTo>
                  <a:lnTo>
                    <a:pt x="600250" y="486771"/>
                  </a:lnTo>
                  <a:cubicBezTo>
                    <a:pt x="573494" y="497473"/>
                    <a:pt x="599642" y="487747"/>
                    <a:pt x="563786" y="497991"/>
                  </a:cubicBezTo>
                  <a:cubicBezTo>
                    <a:pt x="558100" y="499615"/>
                    <a:pt x="552805" y="502723"/>
                    <a:pt x="546957" y="503600"/>
                  </a:cubicBezTo>
                  <a:cubicBezTo>
                    <a:pt x="533979" y="505547"/>
                    <a:pt x="520778" y="505470"/>
                    <a:pt x="507688" y="506405"/>
                  </a:cubicBezTo>
                  <a:cubicBezTo>
                    <a:pt x="455025" y="566595"/>
                    <a:pt x="521747" y="497970"/>
                    <a:pt x="462809" y="537259"/>
                  </a:cubicBezTo>
                  <a:cubicBezTo>
                    <a:pt x="460349" y="538899"/>
                    <a:pt x="468419" y="539129"/>
                    <a:pt x="471224" y="540064"/>
                  </a:cubicBezTo>
                  <a:cubicBezTo>
                    <a:pt x="472159" y="542869"/>
                    <a:pt x="474029" y="545522"/>
                    <a:pt x="474029" y="548479"/>
                  </a:cubicBezTo>
                  <a:cubicBezTo>
                    <a:pt x="474029" y="574312"/>
                    <a:pt x="471423" y="567988"/>
                    <a:pt x="448785" y="582138"/>
                  </a:cubicBezTo>
                  <a:cubicBezTo>
                    <a:pt x="437216" y="616844"/>
                    <a:pt x="452713" y="567727"/>
                    <a:pt x="443175" y="666285"/>
                  </a:cubicBezTo>
                  <a:cubicBezTo>
                    <a:pt x="442772" y="670447"/>
                    <a:pt x="439435" y="673765"/>
                    <a:pt x="437565" y="677505"/>
                  </a:cubicBezTo>
                  <a:cubicBezTo>
                    <a:pt x="438500" y="688725"/>
                    <a:pt x="438162" y="700124"/>
                    <a:pt x="440370" y="711164"/>
                  </a:cubicBezTo>
                  <a:cubicBezTo>
                    <a:pt x="441031" y="714469"/>
                    <a:pt x="444307" y="716651"/>
                    <a:pt x="445980" y="719578"/>
                  </a:cubicBezTo>
                  <a:cubicBezTo>
                    <a:pt x="460220" y="744497"/>
                    <a:pt x="443528" y="718705"/>
                    <a:pt x="457200" y="739213"/>
                  </a:cubicBezTo>
                  <a:cubicBezTo>
                    <a:pt x="429953" y="748295"/>
                    <a:pt x="467617" y="737611"/>
                    <a:pt x="440370" y="739213"/>
                  </a:cubicBezTo>
                  <a:cubicBezTo>
                    <a:pt x="427170" y="739989"/>
                    <a:pt x="414191" y="742952"/>
                    <a:pt x="401101" y="744822"/>
                  </a:cubicBezTo>
                  <a:cubicBezTo>
                    <a:pt x="389881" y="743887"/>
                    <a:pt x="377950" y="746060"/>
                    <a:pt x="367442" y="742018"/>
                  </a:cubicBezTo>
                  <a:cubicBezTo>
                    <a:pt x="363844" y="740634"/>
                    <a:pt x="366233" y="734308"/>
                    <a:pt x="364638" y="730798"/>
                  </a:cubicBezTo>
                  <a:cubicBezTo>
                    <a:pt x="352480" y="704049"/>
                    <a:pt x="357271" y="719309"/>
                    <a:pt x="347808" y="702749"/>
                  </a:cubicBezTo>
                  <a:cubicBezTo>
                    <a:pt x="345733" y="699118"/>
                    <a:pt x="344976" y="694654"/>
                    <a:pt x="342198" y="691529"/>
                  </a:cubicBezTo>
                  <a:cubicBezTo>
                    <a:pt x="337347" y="686071"/>
                    <a:pt x="330979" y="682180"/>
                    <a:pt x="325369" y="677505"/>
                  </a:cubicBezTo>
                  <a:cubicBezTo>
                    <a:pt x="323499" y="673765"/>
                    <a:pt x="322436" y="669497"/>
                    <a:pt x="319759" y="666285"/>
                  </a:cubicBezTo>
                  <a:cubicBezTo>
                    <a:pt x="317601" y="663695"/>
                    <a:pt x="314087" y="662634"/>
                    <a:pt x="311344" y="660675"/>
                  </a:cubicBezTo>
                  <a:cubicBezTo>
                    <a:pt x="282281" y="639916"/>
                    <a:pt x="325035" y="667594"/>
                    <a:pt x="274881" y="641041"/>
                  </a:cubicBezTo>
                  <a:cubicBezTo>
                    <a:pt x="267085" y="636914"/>
                    <a:pt x="260100" y="631392"/>
                    <a:pt x="252441" y="627016"/>
                  </a:cubicBezTo>
                  <a:cubicBezTo>
                    <a:pt x="246996" y="623904"/>
                    <a:pt x="241222" y="621407"/>
                    <a:pt x="235612" y="618602"/>
                  </a:cubicBezTo>
                  <a:cubicBezTo>
                    <a:pt x="234677" y="615797"/>
                    <a:pt x="234243" y="612772"/>
                    <a:pt x="232807" y="610187"/>
                  </a:cubicBezTo>
                  <a:cubicBezTo>
                    <a:pt x="229533" y="604293"/>
                    <a:pt x="223719" y="599753"/>
                    <a:pt x="221587" y="593357"/>
                  </a:cubicBezTo>
                  <a:cubicBezTo>
                    <a:pt x="217394" y="580778"/>
                    <a:pt x="218400" y="580390"/>
                    <a:pt x="204758" y="568113"/>
                  </a:cubicBezTo>
                  <a:cubicBezTo>
                    <a:pt x="199653" y="563519"/>
                    <a:pt x="183569" y="555804"/>
                    <a:pt x="176709" y="554089"/>
                  </a:cubicBezTo>
                  <a:cubicBezTo>
                    <a:pt x="170295" y="552485"/>
                    <a:pt x="163619" y="552219"/>
                    <a:pt x="157074" y="551284"/>
                  </a:cubicBezTo>
                  <a:cubicBezTo>
                    <a:pt x="154269" y="550349"/>
                    <a:pt x="151339" y="549729"/>
                    <a:pt x="148660" y="548479"/>
                  </a:cubicBezTo>
                  <a:cubicBezTo>
                    <a:pt x="137293" y="543174"/>
                    <a:pt x="126902" y="535615"/>
                    <a:pt x="115001" y="531649"/>
                  </a:cubicBezTo>
                  <a:lnTo>
                    <a:pt x="106586" y="528845"/>
                  </a:lnTo>
                  <a:cubicBezTo>
                    <a:pt x="70652" y="498043"/>
                    <a:pt x="103232" y="521686"/>
                    <a:pt x="70122" y="506405"/>
                  </a:cubicBezTo>
                  <a:cubicBezTo>
                    <a:pt x="51707" y="497906"/>
                    <a:pt x="51684" y="493704"/>
                    <a:pt x="33658" y="486771"/>
                  </a:cubicBezTo>
                  <a:cubicBezTo>
                    <a:pt x="22414" y="482446"/>
                    <a:pt x="11612" y="480679"/>
                    <a:pt x="0" y="478356"/>
                  </a:cubicBezTo>
                  <a:cubicBezTo>
                    <a:pt x="935" y="468071"/>
                    <a:pt x="-110" y="457409"/>
                    <a:pt x="2804" y="447502"/>
                  </a:cubicBezTo>
                  <a:cubicBezTo>
                    <a:pt x="4706" y="441034"/>
                    <a:pt x="9885" y="435995"/>
                    <a:pt x="14024" y="430673"/>
                  </a:cubicBezTo>
                  <a:lnTo>
                    <a:pt x="33658" y="405429"/>
                  </a:lnTo>
                  <a:cubicBezTo>
                    <a:pt x="36508" y="401723"/>
                    <a:pt x="38767" y="397515"/>
                    <a:pt x="42073" y="394209"/>
                  </a:cubicBezTo>
                  <a:cubicBezTo>
                    <a:pt x="49553" y="386729"/>
                    <a:pt x="57679" y="379845"/>
                    <a:pt x="64512" y="371770"/>
                  </a:cubicBezTo>
                  <a:cubicBezTo>
                    <a:pt x="71469" y="363548"/>
                    <a:pt x="74641" y="353461"/>
                    <a:pt x="78537" y="343721"/>
                  </a:cubicBezTo>
                  <a:cubicBezTo>
                    <a:pt x="77602" y="339046"/>
                    <a:pt x="77406" y="334160"/>
                    <a:pt x="75732" y="329696"/>
                  </a:cubicBezTo>
                  <a:cubicBezTo>
                    <a:pt x="74548" y="326539"/>
                    <a:pt x="71306" y="324438"/>
                    <a:pt x="70122" y="321281"/>
                  </a:cubicBezTo>
                  <a:cubicBezTo>
                    <a:pt x="59722" y="293549"/>
                    <a:pt x="74864" y="318580"/>
                    <a:pt x="61708" y="298842"/>
                  </a:cubicBezTo>
                  <a:cubicBezTo>
                    <a:pt x="62643" y="288557"/>
                    <a:pt x="61851" y="277966"/>
                    <a:pt x="64512" y="267988"/>
                  </a:cubicBezTo>
                  <a:cubicBezTo>
                    <a:pt x="65716" y="263471"/>
                    <a:pt x="70210" y="260573"/>
                    <a:pt x="72927" y="256769"/>
                  </a:cubicBezTo>
                  <a:cubicBezTo>
                    <a:pt x="74887" y="254026"/>
                    <a:pt x="76750" y="251213"/>
                    <a:pt x="78537" y="248354"/>
                  </a:cubicBezTo>
                  <a:cubicBezTo>
                    <a:pt x="88384" y="232599"/>
                    <a:pt x="91529" y="224142"/>
                    <a:pt x="106586" y="209085"/>
                  </a:cubicBezTo>
                  <a:cubicBezTo>
                    <a:pt x="128311" y="187360"/>
                    <a:pt x="117439" y="192378"/>
                    <a:pt x="134635" y="186646"/>
                  </a:cubicBezTo>
                  <a:cubicBezTo>
                    <a:pt x="137440" y="188516"/>
                    <a:pt x="139951" y="190928"/>
                    <a:pt x="143050" y="192256"/>
                  </a:cubicBezTo>
                  <a:cubicBezTo>
                    <a:pt x="148379" y="194540"/>
                    <a:pt x="167297" y="197232"/>
                    <a:pt x="171099" y="197865"/>
                  </a:cubicBezTo>
                  <a:cubicBezTo>
                    <a:pt x="173904" y="196930"/>
                    <a:pt x="177423" y="197152"/>
                    <a:pt x="179514" y="195061"/>
                  </a:cubicBezTo>
                  <a:cubicBezTo>
                    <a:pt x="206334" y="168241"/>
                    <a:pt x="182869" y="147977"/>
                    <a:pt x="193538" y="105303"/>
                  </a:cubicBezTo>
                  <a:cubicBezTo>
                    <a:pt x="194972" y="99566"/>
                    <a:pt x="204758" y="101564"/>
                    <a:pt x="210368" y="99694"/>
                  </a:cubicBezTo>
                  <a:cubicBezTo>
                    <a:pt x="220653" y="100629"/>
                    <a:pt x="231095" y="100474"/>
                    <a:pt x="241222" y="102499"/>
                  </a:cubicBezTo>
                  <a:cubicBezTo>
                    <a:pt x="254571" y="105169"/>
                    <a:pt x="267374" y="110075"/>
                    <a:pt x="280490" y="113718"/>
                  </a:cubicBezTo>
                  <a:cubicBezTo>
                    <a:pt x="284204" y="114750"/>
                    <a:pt x="287970" y="115588"/>
                    <a:pt x="291710" y="116523"/>
                  </a:cubicBezTo>
                  <a:cubicBezTo>
                    <a:pt x="303900" y="98238"/>
                    <a:pt x="294407" y="115377"/>
                    <a:pt x="300125" y="77254"/>
                  </a:cubicBezTo>
                  <a:cubicBezTo>
                    <a:pt x="301404" y="68729"/>
                    <a:pt x="303864" y="60425"/>
                    <a:pt x="305734" y="52010"/>
                  </a:cubicBezTo>
                  <a:cubicBezTo>
                    <a:pt x="304799" y="37051"/>
                    <a:pt x="300325" y="21892"/>
                    <a:pt x="302930" y="7132"/>
                  </a:cubicBezTo>
                  <a:cubicBezTo>
                    <a:pt x="305274" y="-6151"/>
                    <a:pt x="315552" y="2925"/>
                    <a:pt x="322564" y="4327"/>
                  </a:cubicBezTo>
                  <a:close/>
                </a:path>
              </a:pathLst>
            </a:custGeom>
            <a:solidFill>
              <a:srgbClr val="7359A0"/>
            </a:solidFill>
            <a:ln w="12700">
              <a:solidFill>
                <a:sysClr val="window" lastClr="FFFFFF"/>
              </a:solidFill>
              <a:round/>
              <a:headEnd/>
              <a:tailEnd/>
            </a:ln>
            <a:effectLst/>
          </p:spPr>
          <p:txBody>
            <a:bodyPr wrap="squar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1" u="none" strike="noStrike" kern="0" cap="none" spc="0" normalizeH="0" baseline="0" noProof="0" dirty="0">
                <a:ln>
                  <a:noFill/>
                </a:ln>
                <a:solidFill>
                  <a:prstClr val="black"/>
                </a:solidFill>
                <a:effectLst/>
                <a:uLnTx/>
                <a:uFillTx/>
                <a:latin typeface="Arial" panose="020B0604020202020204"/>
              </a:endParaRPr>
            </a:p>
          </p:txBody>
        </p:sp>
        <p:sp>
          <p:nvSpPr>
            <p:cNvPr id="480" name="Sweden 2">
              <a:extLst>
                <a:ext uri="{FF2B5EF4-FFF2-40B4-BE49-F238E27FC236}">
                  <a16:creationId xmlns:a16="http://schemas.microsoft.com/office/drawing/2014/main" id="{58FA814E-2EE0-610B-9747-39EE20DC7FC6}"/>
                </a:ext>
              </a:extLst>
            </p:cNvPr>
            <p:cNvSpPr>
              <a:spLocks/>
            </p:cNvSpPr>
            <p:nvPr/>
          </p:nvSpPr>
          <p:spPr bwMode="auto">
            <a:xfrm rot="21249101">
              <a:off x="8498316" y="1192989"/>
              <a:ext cx="906194" cy="1770012"/>
            </a:xfrm>
            <a:custGeom>
              <a:avLst/>
              <a:gdLst>
                <a:gd name="T0" fmla="*/ 2147483647 w 2296"/>
                <a:gd name="T1" fmla="*/ 2147483647 h 4909"/>
                <a:gd name="T2" fmla="*/ 2147483647 w 2296"/>
                <a:gd name="T3" fmla="*/ 2147483647 h 4909"/>
                <a:gd name="T4" fmla="*/ 2147483647 w 2296"/>
                <a:gd name="T5" fmla="*/ 2147483647 h 4909"/>
                <a:gd name="T6" fmla="*/ 2147483647 w 2296"/>
                <a:gd name="T7" fmla="*/ 2147483647 h 4909"/>
                <a:gd name="T8" fmla="*/ 2147483647 w 2296"/>
                <a:gd name="T9" fmla="*/ 2147483647 h 4909"/>
                <a:gd name="T10" fmla="*/ 2147483647 w 2296"/>
                <a:gd name="T11" fmla="*/ 2147483647 h 4909"/>
                <a:gd name="T12" fmla="*/ 2147483647 w 2296"/>
                <a:gd name="T13" fmla="*/ 2147483647 h 4909"/>
                <a:gd name="T14" fmla="*/ 2147483647 w 2296"/>
                <a:gd name="T15" fmla="*/ 2147483647 h 4909"/>
                <a:gd name="T16" fmla="*/ 2147483647 w 2296"/>
                <a:gd name="T17" fmla="*/ 2147483647 h 4909"/>
                <a:gd name="T18" fmla="*/ 2147483647 w 2296"/>
                <a:gd name="T19" fmla="*/ 2147483647 h 4909"/>
                <a:gd name="T20" fmla="*/ 2147483647 w 2296"/>
                <a:gd name="T21" fmla="*/ 2147483647 h 4909"/>
                <a:gd name="T22" fmla="*/ 2147483647 w 2296"/>
                <a:gd name="T23" fmla="*/ 2147483647 h 4909"/>
                <a:gd name="T24" fmla="*/ 2147483647 w 2296"/>
                <a:gd name="T25" fmla="*/ 2147483647 h 4909"/>
                <a:gd name="T26" fmla="*/ 2147483647 w 2296"/>
                <a:gd name="T27" fmla="*/ 2147483647 h 4909"/>
                <a:gd name="T28" fmla="*/ 2147483647 w 2296"/>
                <a:gd name="T29" fmla="*/ 2147483647 h 4909"/>
                <a:gd name="T30" fmla="*/ 2147483647 w 2296"/>
                <a:gd name="T31" fmla="*/ 2147483647 h 4909"/>
                <a:gd name="T32" fmla="*/ 2147483647 w 2296"/>
                <a:gd name="T33" fmla="*/ 2147483647 h 4909"/>
                <a:gd name="T34" fmla="*/ 2147483647 w 2296"/>
                <a:gd name="T35" fmla="*/ 2147483647 h 4909"/>
                <a:gd name="T36" fmla="*/ 2147483647 w 2296"/>
                <a:gd name="T37" fmla="*/ 2147483647 h 4909"/>
                <a:gd name="T38" fmla="*/ 2147483647 w 2296"/>
                <a:gd name="T39" fmla="*/ 2147483647 h 4909"/>
                <a:gd name="T40" fmla="*/ 2147483647 w 2296"/>
                <a:gd name="T41" fmla="*/ 2147483647 h 4909"/>
                <a:gd name="T42" fmla="*/ 2147483647 w 2296"/>
                <a:gd name="T43" fmla="*/ 2147483647 h 4909"/>
                <a:gd name="T44" fmla="*/ 2147483647 w 2296"/>
                <a:gd name="T45" fmla="*/ 2147483647 h 4909"/>
                <a:gd name="T46" fmla="*/ 2147483647 w 2296"/>
                <a:gd name="T47" fmla="*/ 2147483647 h 4909"/>
                <a:gd name="T48" fmla="*/ 2147483647 w 2296"/>
                <a:gd name="T49" fmla="*/ 2147483647 h 4909"/>
                <a:gd name="T50" fmla="*/ 2147483647 w 2296"/>
                <a:gd name="T51" fmla="*/ 2147483647 h 4909"/>
                <a:gd name="T52" fmla="*/ 2147483647 w 2296"/>
                <a:gd name="T53" fmla="*/ 2147483647 h 4909"/>
                <a:gd name="T54" fmla="*/ 2147483647 w 2296"/>
                <a:gd name="T55" fmla="*/ 2147483647 h 4909"/>
                <a:gd name="T56" fmla="*/ 2147483647 w 2296"/>
                <a:gd name="T57" fmla="*/ 2147483647 h 4909"/>
                <a:gd name="T58" fmla="*/ 2147483647 w 2296"/>
                <a:gd name="T59" fmla="*/ 2147483647 h 4909"/>
                <a:gd name="T60" fmla="*/ 2147483647 w 2296"/>
                <a:gd name="T61" fmla="*/ 2147483647 h 4909"/>
                <a:gd name="T62" fmla="*/ 2147483647 w 2296"/>
                <a:gd name="T63" fmla="*/ 2147483647 h 4909"/>
                <a:gd name="T64" fmla="*/ 2147483647 w 2296"/>
                <a:gd name="T65" fmla="*/ 2147483647 h 4909"/>
                <a:gd name="T66" fmla="*/ 2147483647 w 2296"/>
                <a:gd name="T67" fmla="*/ 2147483647 h 4909"/>
                <a:gd name="T68" fmla="*/ 2147483647 w 2296"/>
                <a:gd name="T69" fmla="*/ 2147483647 h 4909"/>
                <a:gd name="T70" fmla="*/ 2147483647 w 2296"/>
                <a:gd name="T71" fmla="*/ 2147483647 h 4909"/>
                <a:gd name="T72" fmla="*/ 2147483647 w 2296"/>
                <a:gd name="T73" fmla="*/ 2147483647 h 4909"/>
                <a:gd name="T74" fmla="*/ 2147483647 w 2296"/>
                <a:gd name="T75" fmla="*/ 2147483647 h 4909"/>
                <a:gd name="T76" fmla="*/ 2147483647 w 2296"/>
                <a:gd name="T77" fmla="*/ 2147483647 h 4909"/>
                <a:gd name="T78" fmla="*/ 2147483647 w 2296"/>
                <a:gd name="T79" fmla="*/ 2147483647 h 4909"/>
                <a:gd name="T80" fmla="*/ 2147483647 w 2296"/>
                <a:gd name="T81" fmla="*/ 2147483647 h 4909"/>
                <a:gd name="T82" fmla="*/ 2147483647 w 2296"/>
                <a:gd name="T83" fmla="*/ 2147483647 h 4909"/>
                <a:gd name="T84" fmla="*/ 2147483647 w 2296"/>
                <a:gd name="T85" fmla="*/ 2147483647 h 4909"/>
                <a:gd name="T86" fmla="*/ 2147483647 w 2296"/>
                <a:gd name="T87" fmla="*/ 2147483647 h 4909"/>
                <a:gd name="T88" fmla="*/ 2147483647 w 2296"/>
                <a:gd name="T89" fmla="*/ 2147483647 h 4909"/>
                <a:gd name="T90" fmla="*/ 2147483647 w 2296"/>
                <a:gd name="T91" fmla="*/ 2147483647 h 4909"/>
                <a:gd name="T92" fmla="*/ 2147483647 w 2296"/>
                <a:gd name="T93" fmla="*/ 2147483647 h 4909"/>
                <a:gd name="T94" fmla="*/ 2147483647 w 2296"/>
                <a:gd name="T95" fmla="*/ 2147483647 h 4909"/>
                <a:gd name="T96" fmla="*/ 2147483647 w 2296"/>
                <a:gd name="T97" fmla="*/ 2147483647 h 4909"/>
                <a:gd name="T98" fmla="*/ 2147483647 w 2296"/>
                <a:gd name="T99" fmla="*/ 2147483647 h 4909"/>
                <a:gd name="T100" fmla="*/ 2147483647 w 2296"/>
                <a:gd name="T101" fmla="*/ 2147483647 h 4909"/>
                <a:gd name="T102" fmla="*/ 2147483647 w 2296"/>
                <a:gd name="T103" fmla="*/ 2147483647 h 4909"/>
                <a:gd name="T104" fmla="*/ 2147483647 w 2296"/>
                <a:gd name="T105" fmla="*/ 2147483647 h 4909"/>
                <a:gd name="T106" fmla="*/ 2147483647 w 2296"/>
                <a:gd name="T107" fmla="*/ 2147483647 h 4909"/>
                <a:gd name="T108" fmla="*/ 2147483647 w 2296"/>
                <a:gd name="T109" fmla="*/ 2147483647 h 4909"/>
                <a:gd name="T110" fmla="*/ 2147483647 w 2296"/>
                <a:gd name="T111" fmla="*/ 2147483647 h 4909"/>
                <a:gd name="T112" fmla="*/ 2147483647 w 2296"/>
                <a:gd name="T113" fmla="*/ 2147483647 h 4909"/>
                <a:gd name="T114" fmla="*/ 2147483647 w 2296"/>
                <a:gd name="T115" fmla="*/ 2147483647 h 490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296"/>
                <a:gd name="T175" fmla="*/ 0 h 4909"/>
                <a:gd name="T176" fmla="*/ 2296 w 2296"/>
                <a:gd name="T177" fmla="*/ 4909 h 4909"/>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75 w 10000"/>
                <a:gd name="connsiteY206" fmla="*/ 3430 h 10000"/>
                <a:gd name="connsiteX207" fmla="*/ 8293 w 10000"/>
                <a:gd name="connsiteY207" fmla="*/ 3463 h 10000"/>
                <a:gd name="connsiteX208" fmla="*/ 8280 w 10000"/>
                <a:gd name="connsiteY208" fmla="*/ 3522 h 10000"/>
                <a:gd name="connsiteX209" fmla="*/ 8410 w 10000"/>
                <a:gd name="connsiteY209" fmla="*/ 3416 h 10000"/>
                <a:gd name="connsiteX210" fmla="*/ 8332 w 10000"/>
                <a:gd name="connsiteY210" fmla="*/ 3353 h 10000"/>
                <a:gd name="connsiteX211" fmla="*/ 8145 w 10000"/>
                <a:gd name="connsiteY211" fmla="*/ 3267 h 10000"/>
                <a:gd name="connsiteX212" fmla="*/ 8123 w 10000"/>
                <a:gd name="connsiteY212" fmla="*/ 3229 h 10000"/>
                <a:gd name="connsiteX213" fmla="*/ 8153 w 10000"/>
                <a:gd name="connsiteY213" fmla="*/ 3219 h 10000"/>
                <a:gd name="connsiteX214" fmla="*/ 8136 w 10000"/>
                <a:gd name="connsiteY214" fmla="*/ 3180 h 10000"/>
                <a:gd name="connsiteX215" fmla="*/ 8075 w 10000"/>
                <a:gd name="connsiteY215" fmla="*/ 3147 h 10000"/>
                <a:gd name="connsiteX216" fmla="*/ 8079 w 10000"/>
                <a:gd name="connsiteY216" fmla="*/ 3127 h 10000"/>
                <a:gd name="connsiteX217" fmla="*/ 8132 w 10000"/>
                <a:gd name="connsiteY217" fmla="*/ 3100 h 10000"/>
                <a:gd name="connsiteX218" fmla="*/ 8145 w 10000"/>
                <a:gd name="connsiteY218" fmla="*/ 3064 h 10000"/>
                <a:gd name="connsiteX219" fmla="*/ 8258 w 10000"/>
                <a:gd name="connsiteY219" fmla="*/ 3037 h 10000"/>
                <a:gd name="connsiteX220" fmla="*/ 8380 w 10000"/>
                <a:gd name="connsiteY220" fmla="*/ 2860 h 10000"/>
                <a:gd name="connsiteX221" fmla="*/ 8253 w 10000"/>
                <a:gd name="connsiteY221" fmla="*/ 2762 h 10000"/>
                <a:gd name="connsiteX222" fmla="*/ 8267 w 10000"/>
                <a:gd name="connsiteY222" fmla="*/ 2748 h 10000"/>
                <a:gd name="connsiteX223" fmla="*/ 8397 w 10000"/>
                <a:gd name="connsiteY223" fmla="*/ 2705 h 10000"/>
                <a:gd name="connsiteX224" fmla="*/ 8402 w 10000"/>
                <a:gd name="connsiteY224" fmla="*/ 2662 h 10000"/>
                <a:gd name="connsiteX225" fmla="*/ 8449 w 10000"/>
                <a:gd name="connsiteY225" fmla="*/ 2656 h 10000"/>
                <a:gd name="connsiteX226" fmla="*/ 8558 w 10000"/>
                <a:gd name="connsiteY226" fmla="*/ 2677 h 10000"/>
                <a:gd name="connsiteX227" fmla="*/ 8593 w 10000"/>
                <a:gd name="connsiteY227" fmla="*/ 2669 h 10000"/>
                <a:gd name="connsiteX228" fmla="*/ 8606 w 10000"/>
                <a:gd name="connsiteY228" fmla="*/ 2630 h 10000"/>
                <a:gd name="connsiteX229" fmla="*/ 8567 w 10000"/>
                <a:gd name="connsiteY229" fmla="*/ 2605 h 10000"/>
                <a:gd name="connsiteX230" fmla="*/ 8685 w 10000"/>
                <a:gd name="connsiteY230" fmla="*/ 2597 h 10000"/>
                <a:gd name="connsiteX231" fmla="*/ 8698 w 10000"/>
                <a:gd name="connsiteY231" fmla="*/ 2565 h 10000"/>
                <a:gd name="connsiteX232" fmla="*/ 8558 w 10000"/>
                <a:gd name="connsiteY232" fmla="*/ 2481 h 10000"/>
                <a:gd name="connsiteX233" fmla="*/ 8558 w 10000"/>
                <a:gd name="connsiteY233" fmla="*/ 2459 h 10000"/>
                <a:gd name="connsiteX234" fmla="*/ 8698 w 10000"/>
                <a:gd name="connsiteY234" fmla="*/ 2504 h 10000"/>
                <a:gd name="connsiteX235" fmla="*/ 8763 w 10000"/>
                <a:gd name="connsiteY235" fmla="*/ 2548 h 10000"/>
                <a:gd name="connsiteX236" fmla="*/ 8815 w 10000"/>
                <a:gd name="connsiteY236" fmla="*/ 2548 h 10000"/>
                <a:gd name="connsiteX237" fmla="*/ 8789 w 10000"/>
                <a:gd name="connsiteY237" fmla="*/ 2457 h 10000"/>
                <a:gd name="connsiteX238" fmla="*/ 8798 w 10000"/>
                <a:gd name="connsiteY238" fmla="*/ 2467 h 10000"/>
                <a:gd name="connsiteX239" fmla="*/ 8841 w 10000"/>
                <a:gd name="connsiteY239" fmla="*/ 2457 h 10000"/>
                <a:gd name="connsiteX240" fmla="*/ 8855 w 10000"/>
                <a:gd name="connsiteY240" fmla="*/ 2341 h 10000"/>
                <a:gd name="connsiteX241" fmla="*/ 8898 w 10000"/>
                <a:gd name="connsiteY241" fmla="*/ 2332 h 10000"/>
                <a:gd name="connsiteX242" fmla="*/ 8946 w 10000"/>
                <a:gd name="connsiteY242" fmla="*/ 2330 h 10000"/>
                <a:gd name="connsiteX243" fmla="*/ 8946 w 10000"/>
                <a:gd name="connsiteY243" fmla="*/ 2361 h 10000"/>
                <a:gd name="connsiteX244" fmla="*/ 8994 w 10000"/>
                <a:gd name="connsiteY244" fmla="*/ 2389 h 10000"/>
                <a:gd name="connsiteX245" fmla="*/ 9051 w 10000"/>
                <a:gd name="connsiteY245" fmla="*/ 2400 h 10000"/>
                <a:gd name="connsiteX246" fmla="*/ 9094 w 10000"/>
                <a:gd name="connsiteY246" fmla="*/ 2324 h 10000"/>
                <a:gd name="connsiteX247" fmla="*/ 9164 w 10000"/>
                <a:gd name="connsiteY247" fmla="*/ 2347 h 10000"/>
                <a:gd name="connsiteX248" fmla="*/ 9247 w 10000"/>
                <a:gd name="connsiteY248" fmla="*/ 2402 h 10000"/>
                <a:gd name="connsiteX249" fmla="*/ 9286 w 10000"/>
                <a:gd name="connsiteY249" fmla="*/ 2400 h 10000"/>
                <a:gd name="connsiteX250" fmla="*/ 9355 w 10000"/>
                <a:gd name="connsiteY250" fmla="*/ 2428 h 10000"/>
                <a:gd name="connsiteX251" fmla="*/ 9408 w 10000"/>
                <a:gd name="connsiteY251" fmla="*/ 2359 h 10000"/>
                <a:gd name="connsiteX252" fmla="*/ 9717 w 10000"/>
                <a:gd name="connsiteY252" fmla="*/ 2343 h 10000"/>
                <a:gd name="connsiteX253" fmla="*/ 9830 w 10000"/>
                <a:gd name="connsiteY253" fmla="*/ 2369 h 10000"/>
                <a:gd name="connsiteX254" fmla="*/ 9909 w 10000"/>
                <a:gd name="connsiteY254" fmla="*/ 2410 h 10000"/>
                <a:gd name="connsiteX255" fmla="*/ 9948 w 10000"/>
                <a:gd name="connsiteY255" fmla="*/ 2365 h 10000"/>
                <a:gd name="connsiteX256" fmla="*/ 10000 w 10000"/>
                <a:gd name="connsiteY256" fmla="*/ 2349 h 10000"/>
                <a:gd name="connsiteX257" fmla="*/ 9704 w 10000"/>
                <a:gd name="connsiteY257" fmla="*/ 1992 h 10000"/>
                <a:gd name="connsiteX258" fmla="*/ 9743 w 10000"/>
                <a:gd name="connsiteY258" fmla="*/ 1897 h 10000"/>
                <a:gd name="connsiteX259" fmla="*/ 9830 w 10000"/>
                <a:gd name="connsiteY259" fmla="*/ 1819 h 10000"/>
                <a:gd name="connsiteX260" fmla="*/ 9830 w 10000"/>
                <a:gd name="connsiteY260" fmla="*/ 1699 h 10000"/>
                <a:gd name="connsiteX261" fmla="*/ 9556 w 10000"/>
                <a:gd name="connsiteY261" fmla="*/ 1465 h 10000"/>
                <a:gd name="connsiteX262" fmla="*/ 9512 w 10000"/>
                <a:gd name="connsiteY262" fmla="*/ 1379 h 10000"/>
                <a:gd name="connsiteX263" fmla="*/ 9573 w 10000"/>
                <a:gd name="connsiteY263" fmla="*/ 1271 h 10000"/>
                <a:gd name="connsiteX264" fmla="*/ 9543 w 10000"/>
                <a:gd name="connsiteY264" fmla="*/ 1194 h 10000"/>
                <a:gd name="connsiteX265" fmla="*/ 9486 w 10000"/>
                <a:gd name="connsiteY265" fmla="*/ 1159 h 10000"/>
                <a:gd name="connsiteX266" fmla="*/ 9438 w 10000"/>
                <a:gd name="connsiteY266" fmla="*/ 978 h 10000"/>
                <a:gd name="connsiteX267" fmla="*/ 9495 w 10000"/>
                <a:gd name="connsiteY267" fmla="*/ 831 h 10000"/>
                <a:gd name="connsiteX268" fmla="*/ 9077 w 10000"/>
                <a:gd name="connsiteY268" fmla="*/ 517 h 10000"/>
                <a:gd name="connsiteX269" fmla="*/ 8872 w 10000"/>
                <a:gd name="connsiteY269" fmla="*/ 440 h 10000"/>
                <a:gd name="connsiteX270" fmla="*/ 8493 w 10000"/>
                <a:gd name="connsiteY270" fmla="*/ 389 h 10000"/>
                <a:gd name="connsiteX271" fmla="*/ 7709 w 10000"/>
                <a:gd name="connsiteY271" fmla="*/ 26 h 10000"/>
                <a:gd name="connsiteX272" fmla="*/ 7683 w 10000"/>
                <a:gd name="connsiteY272" fmla="*/ 2 h 10000"/>
                <a:gd name="connsiteX273" fmla="*/ 7417 w 10000"/>
                <a:gd name="connsiteY273" fmla="*/ 0 h 10000"/>
                <a:gd name="connsiteX274" fmla="*/ 7356 w 10000"/>
                <a:gd name="connsiteY274" fmla="*/ 14 h 10000"/>
                <a:gd name="connsiteX275" fmla="*/ 7369 w 10000"/>
                <a:gd name="connsiteY275" fmla="*/ 61 h 10000"/>
                <a:gd name="connsiteX276" fmla="*/ 7422 w 10000"/>
                <a:gd name="connsiteY276" fmla="*/ 86 h 10000"/>
                <a:gd name="connsiteX277" fmla="*/ 7435 w 10000"/>
                <a:gd name="connsiteY277" fmla="*/ 139 h 10000"/>
                <a:gd name="connsiteX278" fmla="*/ 7417 w 10000"/>
                <a:gd name="connsiteY278" fmla="*/ 181 h 10000"/>
                <a:gd name="connsiteX279" fmla="*/ 7369 w 10000"/>
                <a:gd name="connsiteY279" fmla="*/ 208 h 10000"/>
                <a:gd name="connsiteX280" fmla="*/ 7334 w 10000"/>
                <a:gd name="connsiteY280" fmla="*/ 283 h 10000"/>
                <a:gd name="connsiteX281" fmla="*/ 7269 w 10000"/>
                <a:gd name="connsiteY281" fmla="*/ 336 h 10000"/>
                <a:gd name="connsiteX282" fmla="*/ 7282 w 10000"/>
                <a:gd name="connsiteY282" fmla="*/ 387 h 10000"/>
                <a:gd name="connsiteX283" fmla="*/ 7382 w 10000"/>
                <a:gd name="connsiteY283" fmla="*/ 434 h 10000"/>
                <a:gd name="connsiteX284" fmla="*/ 7317 w 10000"/>
                <a:gd name="connsiteY284" fmla="*/ 475 h 10000"/>
                <a:gd name="connsiteX285" fmla="*/ 7221 w 10000"/>
                <a:gd name="connsiteY285" fmla="*/ 485 h 10000"/>
                <a:gd name="connsiteX286" fmla="*/ 6420 w 10000"/>
                <a:gd name="connsiteY286" fmla="*/ 387 h 10000"/>
                <a:gd name="connsiteX287" fmla="*/ 6324 w 10000"/>
                <a:gd name="connsiteY287" fmla="*/ 395 h 10000"/>
                <a:gd name="connsiteX288" fmla="*/ 6267 w 10000"/>
                <a:gd name="connsiteY288" fmla="*/ 414 h 10000"/>
                <a:gd name="connsiteX289" fmla="*/ 6211 w 10000"/>
                <a:gd name="connsiteY289" fmla="*/ 462 h 10000"/>
                <a:gd name="connsiteX290" fmla="*/ 6220 w 10000"/>
                <a:gd name="connsiteY290" fmla="*/ 581 h 10000"/>
                <a:gd name="connsiteX291" fmla="*/ 6132 w 10000"/>
                <a:gd name="connsiteY291" fmla="*/ 735 h 10000"/>
                <a:gd name="connsiteX292" fmla="*/ 6024 w 10000"/>
                <a:gd name="connsiteY292" fmla="*/ 815 h 10000"/>
                <a:gd name="connsiteX293" fmla="*/ 5980 w 10000"/>
                <a:gd name="connsiteY293" fmla="*/ 805 h 10000"/>
                <a:gd name="connsiteX294" fmla="*/ 5880 w 10000"/>
                <a:gd name="connsiteY294" fmla="*/ 739 h 10000"/>
                <a:gd name="connsiteX295" fmla="*/ 5753 w 10000"/>
                <a:gd name="connsiteY295" fmla="*/ 705 h 10000"/>
                <a:gd name="connsiteX296" fmla="*/ 5618 w 10000"/>
                <a:gd name="connsiteY296" fmla="*/ 715 h 10000"/>
                <a:gd name="connsiteX297" fmla="*/ 5301 w 10000"/>
                <a:gd name="connsiteY297" fmla="*/ 866 h 10000"/>
                <a:gd name="connsiteX298" fmla="*/ 5218 w 10000"/>
                <a:gd name="connsiteY298" fmla="*/ 1017 h 10000"/>
                <a:gd name="connsiteX299" fmla="*/ 4978 w 10000"/>
                <a:gd name="connsiteY299" fmla="*/ 1153 h 10000"/>
                <a:gd name="connsiteX300" fmla="*/ 4935 w 10000"/>
                <a:gd name="connsiteY300" fmla="*/ 1222 h 10000"/>
                <a:gd name="connsiteX301" fmla="*/ 5061 w 10000"/>
                <a:gd name="connsiteY301" fmla="*/ 1344 h 10000"/>
                <a:gd name="connsiteX302" fmla="*/ 5074 w 10000"/>
                <a:gd name="connsiteY302" fmla="*/ 1412 h 10000"/>
                <a:gd name="connsiteX303" fmla="*/ 4421 w 10000"/>
                <a:gd name="connsiteY303" fmla="*/ 1813 h 10000"/>
                <a:gd name="connsiteX304" fmla="*/ 4220 w 10000"/>
                <a:gd name="connsiteY304" fmla="*/ 2070 h 10000"/>
                <a:gd name="connsiteX305" fmla="*/ 4003 w 10000"/>
                <a:gd name="connsiteY305" fmla="*/ 2135 h 10000"/>
                <a:gd name="connsiteX306" fmla="*/ 3868 w 10000"/>
                <a:gd name="connsiteY306" fmla="*/ 2131 h 10000"/>
                <a:gd name="connsiteX307" fmla="*/ 3785 w 10000"/>
                <a:gd name="connsiteY307" fmla="*/ 2153 h 10000"/>
                <a:gd name="connsiteX308" fmla="*/ 3558 w 10000"/>
                <a:gd name="connsiteY308" fmla="*/ 2793 h 10000"/>
                <a:gd name="connsiteX309" fmla="*/ 3036 w 10000"/>
                <a:gd name="connsiteY309" fmla="*/ 3166 h 10000"/>
                <a:gd name="connsiteX310" fmla="*/ 3040 w 10000"/>
                <a:gd name="connsiteY310" fmla="*/ 3225 h 10000"/>
                <a:gd name="connsiteX311" fmla="*/ 3271 w 10000"/>
                <a:gd name="connsiteY311" fmla="*/ 3392 h 10000"/>
                <a:gd name="connsiteX312" fmla="*/ 3197 w 10000"/>
                <a:gd name="connsiteY312" fmla="*/ 3573 h 10000"/>
                <a:gd name="connsiteX313" fmla="*/ 3062 w 10000"/>
                <a:gd name="connsiteY313" fmla="*/ 3640 h 10000"/>
                <a:gd name="connsiteX314" fmla="*/ 2657 w 10000"/>
                <a:gd name="connsiteY314" fmla="*/ 3595 h 10000"/>
                <a:gd name="connsiteX315" fmla="*/ 2378 w 10000"/>
                <a:gd name="connsiteY315" fmla="*/ 3620 h 10000"/>
                <a:gd name="connsiteX316" fmla="*/ 2152 w 10000"/>
                <a:gd name="connsiteY316" fmla="*/ 3673 h 10000"/>
                <a:gd name="connsiteX317" fmla="*/ 1790 w 10000"/>
                <a:gd name="connsiteY317" fmla="*/ 3840 h 10000"/>
                <a:gd name="connsiteX318" fmla="*/ 1598 w 10000"/>
                <a:gd name="connsiteY318" fmla="*/ 4042 h 10000"/>
                <a:gd name="connsiteX319" fmla="*/ 1616 w 10000"/>
                <a:gd name="connsiteY319" fmla="*/ 4154 h 10000"/>
                <a:gd name="connsiteX320" fmla="*/ 1681 w 10000"/>
                <a:gd name="connsiteY320" fmla="*/ 4241 h 10000"/>
                <a:gd name="connsiteX321" fmla="*/ 1733 w 10000"/>
                <a:gd name="connsiteY321" fmla="*/ 4276 h 10000"/>
                <a:gd name="connsiteX322" fmla="*/ 1638 w 10000"/>
                <a:gd name="connsiteY322" fmla="*/ 4331 h 10000"/>
                <a:gd name="connsiteX323" fmla="*/ 1433 w 10000"/>
                <a:gd name="connsiteY323" fmla="*/ 4710 h 10000"/>
                <a:gd name="connsiteX324" fmla="*/ 1472 w 10000"/>
                <a:gd name="connsiteY324" fmla="*/ 4732 h 10000"/>
                <a:gd name="connsiteX325" fmla="*/ 1503 w 10000"/>
                <a:gd name="connsiteY325" fmla="*/ 4828 h 10000"/>
                <a:gd name="connsiteX326" fmla="*/ 1407 w 10000"/>
                <a:gd name="connsiteY326" fmla="*/ 5227 h 10000"/>
                <a:gd name="connsiteX327" fmla="*/ 1503 w 10000"/>
                <a:gd name="connsiteY327" fmla="*/ 5329 h 10000"/>
                <a:gd name="connsiteX328" fmla="*/ 1764 w 10000"/>
                <a:gd name="connsiteY328" fmla="*/ 5441 h 10000"/>
                <a:gd name="connsiteX329" fmla="*/ 1777 w 10000"/>
                <a:gd name="connsiteY329" fmla="*/ 5578 h 10000"/>
                <a:gd name="connsiteX330" fmla="*/ 1664 w 10000"/>
                <a:gd name="connsiteY330" fmla="*/ 5690 h 10000"/>
                <a:gd name="connsiteX331" fmla="*/ 1503 w 10000"/>
                <a:gd name="connsiteY331" fmla="*/ 5759 h 10000"/>
                <a:gd name="connsiteX332" fmla="*/ 1289 w 10000"/>
                <a:gd name="connsiteY332" fmla="*/ 5787 h 10000"/>
                <a:gd name="connsiteX333" fmla="*/ 1233 w 10000"/>
                <a:gd name="connsiteY333" fmla="*/ 5826 h 10000"/>
                <a:gd name="connsiteX334" fmla="*/ 1359 w 10000"/>
                <a:gd name="connsiteY334" fmla="*/ 5920 h 10000"/>
                <a:gd name="connsiteX335" fmla="*/ 1429 w 10000"/>
                <a:gd name="connsiteY335" fmla="*/ 6142 h 10000"/>
                <a:gd name="connsiteX336" fmla="*/ 1267 w 10000"/>
                <a:gd name="connsiteY336" fmla="*/ 6333 h 10000"/>
                <a:gd name="connsiteX337" fmla="*/ 1324 w 10000"/>
                <a:gd name="connsiteY337" fmla="*/ 6392 h 10000"/>
                <a:gd name="connsiteX338" fmla="*/ 1272 w 10000"/>
                <a:gd name="connsiteY338" fmla="*/ 6492 h 10000"/>
                <a:gd name="connsiteX339" fmla="*/ 1167 w 10000"/>
                <a:gd name="connsiteY339" fmla="*/ 6561 h 10000"/>
                <a:gd name="connsiteX340" fmla="*/ 758 w 10000"/>
                <a:gd name="connsiteY340" fmla="*/ 6614 h 10000"/>
                <a:gd name="connsiteX341" fmla="*/ 732 w 10000"/>
                <a:gd name="connsiteY341" fmla="*/ 6706 h 10000"/>
                <a:gd name="connsiteX342" fmla="*/ 510 w 10000"/>
                <a:gd name="connsiteY342" fmla="*/ 6843 h 10000"/>
                <a:gd name="connsiteX343" fmla="*/ 540 w 10000"/>
                <a:gd name="connsiteY343" fmla="*/ 7040 h 10000"/>
                <a:gd name="connsiteX344" fmla="*/ 353 w 10000"/>
                <a:gd name="connsiteY344" fmla="*/ 7293 h 10000"/>
                <a:gd name="connsiteX345" fmla="*/ 226 w 10000"/>
                <a:gd name="connsiteY345" fmla="*/ 7323 h 10000"/>
                <a:gd name="connsiteX346" fmla="*/ 174 w 10000"/>
                <a:gd name="connsiteY346" fmla="*/ 7262 h 10000"/>
                <a:gd name="connsiteX347" fmla="*/ 109 w 10000"/>
                <a:gd name="connsiteY347" fmla="*/ 7354 h 10000"/>
                <a:gd name="connsiteX348" fmla="*/ 152 w 10000"/>
                <a:gd name="connsiteY348" fmla="*/ 7197 h 10000"/>
                <a:gd name="connsiteX349" fmla="*/ 126 w 10000"/>
                <a:gd name="connsiteY349"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75 w 10000"/>
                <a:gd name="connsiteY206" fmla="*/ 3430 h 10000"/>
                <a:gd name="connsiteX207" fmla="*/ 8293 w 10000"/>
                <a:gd name="connsiteY207" fmla="*/ 3463 h 10000"/>
                <a:gd name="connsiteX208" fmla="*/ 8280 w 10000"/>
                <a:gd name="connsiteY208" fmla="*/ 3522 h 10000"/>
                <a:gd name="connsiteX209" fmla="*/ 8410 w 10000"/>
                <a:gd name="connsiteY209" fmla="*/ 3416 h 10000"/>
                <a:gd name="connsiteX210" fmla="*/ 8145 w 10000"/>
                <a:gd name="connsiteY210" fmla="*/ 3267 h 10000"/>
                <a:gd name="connsiteX211" fmla="*/ 8123 w 10000"/>
                <a:gd name="connsiteY211" fmla="*/ 3229 h 10000"/>
                <a:gd name="connsiteX212" fmla="*/ 8153 w 10000"/>
                <a:gd name="connsiteY212" fmla="*/ 3219 h 10000"/>
                <a:gd name="connsiteX213" fmla="*/ 8136 w 10000"/>
                <a:gd name="connsiteY213" fmla="*/ 3180 h 10000"/>
                <a:gd name="connsiteX214" fmla="*/ 8075 w 10000"/>
                <a:gd name="connsiteY214" fmla="*/ 3147 h 10000"/>
                <a:gd name="connsiteX215" fmla="*/ 8079 w 10000"/>
                <a:gd name="connsiteY215" fmla="*/ 3127 h 10000"/>
                <a:gd name="connsiteX216" fmla="*/ 8132 w 10000"/>
                <a:gd name="connsiteY216" fmla="*/ 3100 h 10000"/>
                <a:gd name="connsiteX217" fmla="*/ 8145 w 10000"/>
                <a:gd name="connsiteY217" fmla="*/ 3064 h 10000"/>
                <a:gd name="connsiteX218" fmla="*/ 8258 w 10000"/>
                <a:gd name="connsiteY218" fmla="*/ 3037 h 10000"/>
                <a:gd name="connsiteX219" fmla="*/ 8380 w 10000"/>
                <a:gd name="connsiteY219" fmla="*/ 2860 h 10000"/>
                <a:gd name="connsiteX220" fmla="*/ 8253 w 10000"/>
                <a:gd name="connsiteY220" fmla="*/ 2762 h 10000"/>
                <a:gd name="connsiteX221" fmla="*/ 8267 w 10000"/>
                <a:gd name="connsiteY221" fmla="*/ 2748 h 10000"/>
                <a:gd name="connsiteX222" fmla="*/ 8397 w 10000"/>
                <a:gd name="connsiteY222" fmla="*/ 2705 h 10000"/>
                <a:gd name="connsiteX223" fmla="*/ 8402 w 10000"/>
                <a:gd name="connsiteY223" fmla="*/ 2662 h 10000"/>
                <a:gd name="connsiteX224" fmla="*/ 8449 w 10000"/>
                <a:gd name="connsiteY224" fmla="*/ 2656 h 10000"/>
                <a:gd name="connsiteX225" fmla="*/ 8558 w 10000"/>
                <a:gd name="connsiteY225" fmla="*/ 2677 h 10000"/>
                <a:gd name="connsiteX226" fmla="*/ 8593 w 10000"/>
                <a:gd name="connsiteY226" fmla="*/ 2669 h 10000"/>
                <a:gd name="connsiteX227" fmla="*/ 8606 w 10000"/>
                <a:gd name="connsiteY227" fmla="*/ 2630 h 10000"/>
                <a:gd name="connsiteX228" fmla="*/ 8567 w 10000"/>
                <a:gd name="connsiteY228" fmla="*/ 2605 h 10000"/>
                <a:gd name="connsiteX229" fmla="*/ 8685 w 10000"/>
                <a:gd name="connsiteY229" fmla="*/ 2597 h 10000"/>
                <a:gd name="connsiteX230" fmla="*/ 8698 w 10000"/>
                <a:gd name="connsiteY230" fmla="*/ 2565 h 10000"/>
                <a:gd name="connsiteX231" fmla="*/ 8558 w 10000"/>
                <a:gd name="connsiteY231" fmla="*/ 2481 h 10000"/>
                <a:gd name="connsiteX232" fmla="*/ 8558 w 10000"/>
                <a:gd name="connsiteY232" fmla="*/ 2459 h 10000"/>
                <a:gd name="connsiteX233" fmla="*/ 8698 w 10000"/>
                <a:gd name="connsiteY233" fmla="*/ 2504 h 10000"/>
                <a:gd name="connsiteX234" fmla="*/ 8763 w 10000"/>
                <a:gd name="connsiteY234" fmla="*/ 2548 h 10000"/>
                <a:gd name="connsiteX235" fmla="*/ 8815 w 10000"/>
                <a:gd name="connsiteY235" fmla="*/ 2548 h 10000"/>
                <a:gd name="connsiteX236" fmla="*/ 8789 w 10000"/>
                <a:gd name="connsiteY236" fmla="*/ 2457 h 10000"/>
                <a:gd name="connsiteX237" fmla="*/ 8798 w 10000"/>
                <a:gd name="connsiteY237" fmla="*/ 2467 h 10000"/>
                <a:gd name="connsiteX238" fmla="*/ 8841 w 10000"/>
                <a:gd name="connsiteY238" fmla="*/ 2457 h 10000"/>
                <a:gd name="connsiteX239" fmla="*/ 8855 w 10000"/>
                <a:gd name="connsiteY239" fmla="*/ 2341 h 10000"/>
                <a:gd name="connsiteX240" fmla="*/ 8898 w 10000"/>
                <a:gd name="connsiteY240" fmla="*/ 2332 h 10000"/>
                <a:gd name="connsiteX241" fmla="*/ 8946 w 10000"/>
                <a:gd name="connsiteY241" fmla="*/ 2330 h 10000"/>
                <a:gd name="connsiteX242" fmla="*/ 8946 w 10000"/>
                <a:gd name="connsiteY242" fmla="*/ 2361 h 10000"/>
                <a:gd name="connsiteX243" fmla="*/ 8994 w 10000"/>
                <a:gd name="connsiteY243" fmla="*/ 2389 h 10000"/>
                <a:gd name="connsiteX244" fmla="*/ 9051 w 10000"/>
                <a:gd name="connsiteY244" fmla="*/ 2400 h 10000"/>
                <a:gd name="connsiteX245" fmla="*/ 9094 w 10000"/>
                <a:gd name="connsiteY245" fmla="*/ 2324 h 10000"/>
                <a:gd name="connsiteX246" fmla="*/ 9164 w 10000"/>
                <a:gd name="connsiteY246" fmla="*/ 2347 h 10000"/>
                <a:gd name="connsiteX247" fmla="*/ 9247 w 10000"/>
                <a:gd name="connsiteY247" fmla="*/ 2402 h 10000"/>
                <a:gd name="connsiteX248" fmla="*/ 9286 w 10000"/>
                <a:gd name="connsiteY248" fmla="*/ 2400 h 10000"/>
                <a:gd name="connsiteX249" fmla="*/ 9355 w 10000"/>
                <a:gd name="connsiteY249" fmla="*/ 2428 h 10000"/>
                <a:gd name="connsiteX250" fmla="*/ 9408 w 10000"/>
                <a:gd name="connsiteY250" fmla="*/ 2359 h 10000"/>
                <a:gd name="connsiteX251" fmla="*/ 9717 w 10000"/>
                <a:gd name="connsiteY251" fmla="*/ 2343 h 10000"/>
                <a:gd name="connsiteX252" fmla="*/ 9830 w 10000"/>
                <a:gd name="connsiteY252" fmla="*/ 2369 h 10000"/>
                <a:gd name="connsiteX253" fmla="*/ 9909 w 10000"/>
                <a:gd name="connsiteY253" fmla="*/ 2410 h 10000"/>
                <a:gd name="connsiteX254" fmla="*/ 9948 w 10000"/>
                <a:gd name="connsiteY254" fmla="*/ 2365 h 10000"/>
                <a:gd name="connsiteX255" fmla="*/ 10000 w 10000"/>
                <a:gd name="connsiteY255" fmla="*/ 2349 h 10000"/>
                <a:gd name="connsiteX256" fmla="*/ 9704 w 10000"/>
                <a:gd name="connsiteY256" fmla="*/ 1992 h 10000"/>
                <a:gd name="connsiteX257" fmla="*/ 9743 w 10000"/>
                <a:gd name="connsiteY257" fmla="*/ 1897 h 10000"/>
                <a:gd name="connsiteX258" fmla="*/ 9830 w 10000"/>
                <a:gd name="connsiteY258" fmla="*/ 1819 h 10000"/>
                <a:gd name="connsiteX259" fmla="*/ 9830 w 10000"/>
                <a:gd name="connsiteY259" fmla="*/ 1699 h 10000"/>
                <a:gd name="connsiteX260" fmla="*/ 9556 w 10000"/>
                <a:gd name="connsiteY260" fmla="*/ 1465 h 10000"/>
                <a:gd name="connsiteX261" fmla="*/ 9512 w 10000"/>
                <a:gd name="connsiteY261" fmla="*/ 1379 h 10000"/>
                <a:gd name="connsiteX262" fmla="*/ 9573 w 10000"/>
                <a:gd name="connsiteY262" fmla="*/ 1271 h 10000"/>
                <a:gd name="connsiteX263" fmla="*/ 9543 w 10000"/>
                <a:gd name="connsiteY263" fmla="*/ 1194 h 10000"/>
                <a:gd name="connsiteX264" fmla="*/ 9486 w 10000"/>
                <a:gd name="connsiteY264" fmla="*/ 1159 h 10000"/>
                <a:gd name="connsiteX265" fmla="*/ 9438 w 10000"/>
                <a:gd name="connsiteY265" fmla="*/ 978 h 10000"/>
                <a:gd name="connsiteX266" fmla="*/ 9495 w 10000"/>
                <a:gd name="connsiteY266" fmla="*/ 831 h 10000"/>
                <a:gd name="connsiteX267" fmla="*/ 9077 w 10000"/>
                <a:gd name="connsiteY267" fmla="*/ 517 h 10000"/>
                <a:gd name="connsiteX268" fmla="*/ 8872 w 10000"/>
                <a:gd name="connsiteY268" fmla="*/ 440 h 10000"/>
                <a:gd name="connsiteX269" fmla="*/ 8493 w 10000"/>
                <a:gd name="connsiteY269" fmla="*/ 389 h 10000"/>
                <a:gd name="connsiteX270" fmla="*/ 7709 w 10000"/>
                <a:gd name="connsiteY270" fmla="*/ 26 h 10000"/>
                <a:gd name="connsiteX271" fmla="*/ 7683 w 10000"/>
                <a:gd name="connsiteY271" fmla="*/ 2 h 10000"/>
                <a:gd name="connsiteX272" fmla="*/ 7417 w 10000"/>
                <a:gd name="connsiteY272" fmla="*/ 0 h 10000"/>
                <a:gd name="connsiteX273" fmla="*/ 7356 w 10000"/>
                <a:gd name="connsiteY273" fmla="*/ 14 h 10000"/>
                <a:gd name="connsiteX274" fmla="*/ 7369 w 10000"/>
                <a:gd name="connsiteY274" fmla="*/ 61 h 10000"/>
                <a:gd name="connsiteX275" fmla="*/ 7422 w 10000"/>
                <a:gd name="connsiteY275" fmla="*/ 86 h 10000"/>
                <a:gd name="connsiteX276" fmla="*/ 7435 w 10000"/>
                <a:gd name="connsiteY276" fmla="*/ 139 h 10000"/>
                <a:gd name="connsiteX277" fmla="*/ 7417 w 10000"/>
                <a:gd name="connsiteY277" fmla="*/ 181 h 10000"/>
                <a:gd name="connsiteX278" fmla="*/ 7369 w 10000"/>
                <a:gd name="connsiteY278" fmla="*/ 208 h 10000"/>
                <a:gd name="connsiteX279" fmla="*/ 7334 w 10000"/>
                <a:gd name="connsiteY279" fmla="*/ 283 h 10000"/>
                <a:gd name="connsiteX280" fmla="*/ 7269 w 10000"/>
                <a:gd name="connsiteY280" fmla="*/ 336 h 10000"/>
                <a:gd name="connsiteX281" fmla="*/ 7282 w 10000"/>
                <a:gd name="connsiteY281" fmla="*/ 387 h 10000"/>
                <a:gd name="connsiteX282" fmla="*/ 7382 w 10000"/>
                <a:gd name="connsiteY282" fmla="*/ 434 h 10000"/>
                <a:gd name="connsiteX283" fmla="*/ 7317 w 10000"/>
                <a:gd name="connsiteY283" fmla="*/ 475 h 10000"/>
                <a:gd name="connsiteX284" fmla="*/ 7221 w 10000"/>
                <a:gd name="connsiteY284" fmla="*/ 485 h 10000"/>
                <a:gd name="connsiteX285" fmla="*/ 6420 w 10000"/>
                <a:gd name="connsiteY285" fmla="*/ 387 h 10000"/>
                <a:gd name="connsiteX286" fmla="*/ 6324 w 10000"/>
                <a:gd name="connsiteY286" fmla="*/ 395 h 10000"/>
                <a:gd name="connsiteX287" fmla="*/ 6267 w 10000"/>
                <a:gd name="connsiteY287" fmla="*/ 414 h 10000"/>
                <a:gd name="connsiteX288" fmla="*/ 6211 w 10000"/>
                <a:gd name="connsiteY288" fmla="*/ 462 h 10000"/>
                <a:gd name="connsiteX289" fmla="*/ 6220 w 10000"/>
                <a:gd name="connsiteY289" fmla="*/ 581 h 10000"/>
                <a:gd name="connsiteX290" fmla="*/ 6132 w 10000"/>
                <a:gd name="connsiteY290" fmla="*/ 735 h 10000"/>
                <a:gd name="connsiteX291" fmla="*/ 6024 w 10000"/>
                <a:gd name="connsiteY291" fmla="*/ 815 h 10000"/>
                <a:gd name="connsiteX292" fmla="*/ 5980 w 10000"/>
                <a:gd name="connsiteY292" fmla="*/ 805 h 10000"/>
                <a:gd name="connsiteX293" fmla="*/ 5880 w 10000"/>
                <a:gd name="connsiteY293" fmla="*/ 739 h 10000"/>
                <a:gd name="connsiteX294" fmla="*/ 5753 w 10000"/>
                <a:gd name="connsiteY294" fmla="*/ 705 h 10000"/>
                <a:gd name="connsiteX295" fmla="*/ 5618 w 10000"/>
                <a:gd name="connsiteY295" fmla="*/ 715 h 10000"/>
                <a:gd name="connsiteX296" fmla="*/ 5301 w 10000"/>
                <a:gd name="connsiteY296" fmla="*/ 866 h 10000"/>
                <a:gd name="connsiteX297" fmla="*/ 5218 w 10000"/>
                <a:gd name="connsiteY297" fmla="*/ 1017 h 10000"/>
                <a:gd name="connsiteX298" fmla="*/ 4978 w 10000"/>
                <a:gd name="connsiteY298" fmla="*/ 1153 h 10000"/>
                <a:gd name="connsiteX299" fmla="*/ 4935 w 10000"/>
                <a:gd name="connsiteY299" fmla="*/ 1222 h 10000"/>
                <a:gd name="connsiteX300" fmla="*/ 5061 w 10000"/>
                <a:gd name="connsiteY300" fmla="*/ 1344 h 10000"/>
                <a:gd name="connsiteX301" fmla="*/ 5074 w 10000"/>
                <a:gd name="connsiteY301" fmla="*/ 1412 h 10000"/>
                <a:gd name="connsiteX302" fmla="*/ 4421 w 10000"/>
                <a:gd name="connsiteY302" fmla="*/ 1813 h 10000"/>
                <a:gd name="connsiteX303" fmla="*/ 4220 w 10000"/>
                <a:gd name="connsiteY303" fmla="*/ 2070 h 10000"/>
                <a:gd name="connsiteX304" fmla="*/ 4003 w 10000"/>
                <a:gd name="connsiteY304" fmla="*/ 2135 h 10000"/>
                <a:gd name="connsiteX305" fmla="*/ 3868 w 10000"/>
                <a:gd name="connsiteY305" fmla="*/ 2131 h 10000"/>
                <a:gd name="connsiteX306" fmla="*/ 3785 w 10000"/>
                <a:gd name="connsiteY306" fmla="*/ 2153 h 10000"/>
                <a:gd name="connsiteX307" fmla="*/ 3558 w 10000"/>
                <a:gd name="connsiteY307" fmla="*/ 2793 h 10000"/>
                <a:gd name="connsiteX308" fmla="*/ 3036 w 10000"/>
                <a:gd name="connsiteY308" fmla="*/ 3166 h 10000"/>
                <a:gd name="connsiteX309" fmla="*/ 3040 w 10000"/>
                <a:gd name="connsiteY309" fmla="*/ 3225 h 10000"/>
                <a:gd name="connsiteX310" fmla="*/ 3271 w 10000"/>
                <a:gd name="connsiteY310" fmla="*/ 3392 h 10000"/>
                <a:gd name="connsiteX311" fmla="*/ 3197 w 10000"/>
                <a:gd name="connsiteY311" fmla="*/ 3573 h 10000"/>
                <a:gd name="connsiteX312" fmla="*/ 3062 w 10000"/>
                <a:gd name="connsiteY312" fmla="*/ 3640 h 10000"/>
                <a:gd name="connsiteX313" fmla="*/ 2657 w 10000"/>
                <a:gd name="connsiteY313" fmla="*/ 3595 h 10000"/>
                <a:gd name="connsiteX314" fmla="*/ 2378 w 10000"/>
                <a:gd name="connsiteY314" fmla="*/ 3620 h 10000"/>
                <a:gd name="connsiteX315" fmla="*/ 2152 w 10000"/>
                <a:gd name="connsiteY315" fmla="*/ 3673 h 10000"/>
                <a:gd name="connsiteX316" fmla="*/ 1790 w 10000"/>
                <a:gd name="connsiteY316" fmla="*/ 3840 h 10000"/>
                <a:gd name="connsiteX317" fmla="*/ 1598 w 10000"/>
                <a:gd name="connsiteY317" fmla="*/ 4042 h 10000"/>
                <a:gd name="connsiteX318" fmla="*/ 1616 w 10000"/>
                <a:gd name="connsiteY318" fmla="*/ 4154 h 10000"/>
                <a:gd name="connsiteX319" fmla="*/ 1681 w 10000"/>
                <a:gd name="connsiteY319" fmla="*/ 4241 h 10000"/>
                <a:gd name="connsiteX320" fmla="*/ 1733 w 10000"/>
                <a:gd name="connsiteY320" fmla="*/ 4276 h 10000"/>
                <a:gd name="connsiteX321" fmla="*/ 1638 w 10000"/>
                <a:gd name="connsiteY321" fmla="*/ 4331 h 10000"/>
                <a:gd name="connsiteX322" fmla="*/ 1433 w 10000"/>
                <a:gd name="connsiteY322" fmla="*/ 4710 h 10000"/>
                <a:gd name="connsiteX323" fmla="*/ 1472 w 10000"/>
                <a:gd name="connsiteY323" fmla="*/ 4732 h 10000"/>
                <a:gd name="connsiteX324" fmla="*/ 1503 w 10000"/>
                <a:gd name="connsiteY324" fmla="*/ 4828 h 10000"/>
                <a:gd name="connsiteX325" fmla="*/ 1407 w 10000"/>
                <a:gd name="connsiteY325" fmla="*/ 5227 h 10000"/>
                <a:gd name="connsiteX326" fmla="*/ 1503 w 10000"/>
                <a:gd name="connsiteY326" fmla="*/ 5329 h 10000"/>
                <a:gd name="connsiteX327" fmla="*/ 1764 w 10000"/>
                <a:gd name="connsiteY327" fmla="*/ 5441 h 10000"/>
                <a:gd name="connsiteX328" fmla="*/ 1777 w 10000"/>
                <a:gd name="connsiteY328" fmla="*/ 5578 h 10000"/>
                <a:gd name="connsiteX329" fmla="*/ 1664 w 10000"/>
                <a:gd name="connsiteY329" fmla="*/ 5690 h 10000"/>
                <a:gd name="connsiteX330" fmla="*/ 1503 w 10000"/>
                <a:gd name="connsiteY330" fmla="*/ 5759 h 10000"/>
                <a:gd name="connsiteX331" fmla="*/ 1289 w 10000"/>
                <a:gd name="connsiteY331" fmla="*/ 5787 h 10000"/>
                <a:gd name="connsiteX332" fmla="*/ 1233 w 10000"/>
                <a:gd name="connsiteY332" fmla="*/ 5826 h 10000"/>
                <a:gd name="connsiteX333" fmla="*/ 1359 w 10000"/>
                <a:gd name="connsiteY333" fmla="*/ 5920 h 10000"/>
                <a:gd name="connsiteX334" fmla="*/ 1429 w 10000"/>
                <a:gd name="connsiteY334" fmla="*/ 6142 h 10000"/>
                <a:gd name="connsiteX335" fmla="*/ 1267 w 10000"/>
                <a:gd name="connsiteY335" fmla="*/ 6333 h 10000"/>
                <a:gd name="connsiteX336" fmla="*/ 1324 w 10000"/>
                <a:gd name="connsiteY336" fmla="*/ 6392 h 10000"/>
                <a:gd name="connsiteX337" fmla="*/ 1272 w 10000"/>
                <a:gd name="connsiteY337" fmla="*/ 6492 h 10000"/>
                <a:gd name="connsiteX338" fmla="*/ 1167 w 10000"/>
                <a:gd name="connsiteY338" fmla="*/ 6561 h 10000"/>
                <a:gd name="connsiteX339" fmla="*/ 758 w 10000"/>
                <a:gd name="connsiteY339" fmla="*/ 6614 h 10000"/>
                <a:gd name="connsiteX340" fmla="*/ 732 w 10000"/>
                <a:gd name="connsiteY340" fmla="*/ 6706 h 10000"/>
                <a:gd name="connsiteX341" fmla="*/ 510 w 10000"/>
                <a:gd name="connsiteY341" fmla="*/ 6843 h 10000"/>
                <a:gd name="connsiteX342" fmla="*/ 540 w 10000"/>
                <a:gd name="connsiteY342" fmla="*/ 7040 h 10000"/>
                <a:gd name="connsiteX343" fmla="*/ 353 w 10000"/>
                <a:gd name="connsiteY343" fmla="*/ 7293 h 10000"/>
                <a:gd name="connsiteX344" fmla="*/ 226 w 10000"/>
                <a:gd name="connsiteY344" fmla="*/ 7323 h 10000"/>
                <a:gd name="connsiteX345" fmla="*/ 174 w 10000"/>
                <a:gd name="connsiteY345" fmla="*/ 7262 h 10000"/>
                <a:gd name="connsiteX346" fmla="*/ 109 w 10000"/>
                <a:gd name="connsiteY346" fmla="*/ 7354 h 10000"/>
                <a:gd name="connsiteX347" fmla="*/ 152 w 10000"/>
                <a:gd name="connsiteY347" fmla="*/ 7197 h 10000"/>
                <a:gd name="connsiteX348" fmla="*/ 126 w 10000"/>
                <a:gd name="connsiteY348"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75 w 10000"/>
                <a:gd name="connsiteY206" fmla="*/ 3430 h 10000"/>
                <a:gd name="connsiteX207" fmla="*/ 8293 w 10000"/>
                <a:gd name="connsiteY207" fmla="*/ 3463 h 10000"/>
                <a:gd name="connsiteX208" fmla="*/ 8280 w 10000"/>
                <a:gd name="connsiteY208" fmla="*/ 3522 h 10000"/>
                <a:gd name="connsiteX209" fmla="*/ 8410 w 10000"/>
                <a:gd name="connsiteY209" fmla="*/ 3416 h 10000"/>
                <a:gd name="connsiteX210" fmla="*/ 8145 w 10000"/>
                <a:gd name="connsiteY210" fmla="*/ 3267 h 10000"/>
                <a:gd name="connsiteX211" fmla="*/ 8123 w 10000"/>
                <a:gd name="connsiteY211" fmla="*/ 3229 h 10000"/>
                <a:gd name="connsiteX212" fmla="*/ 8153 w 10000"/>
                <a:gd name="connsiteY212" fmla="*/ 3219 h 10000"/>
                <a:gd name="connsiteX213" fmla="*/ 8075 w 10000"/>
                <a:gd name="connsiteY213" fmla="*/ 3147 h 10000"/>
                <a:gd name="connsiteX214" fmla="*/ 8079 w 10000"/>
                <a:gd name="connsiteY214" fmla="*/ 3127 h 10000"/>
                <a:gd name="connsiteX215" fmla="*/ 8132 w 10000"/>
                <a:gd name="connsiteY215" fmla="*/ 3100 h 10000"/>
                <a:gd name="connsiteX216" fmla="*/ 8145 w 10000"/>
                <a:gd name="connsiteY216" fmla="*/ 3064 h 10000"/>
                <a:gd name="connsiteX217" fmla="*/ 8258 w 10000"/>
                <a:gd name="connsiteY217" fmla="*/ 3037 h 10000"/>
                <a:gd name="connsiteX218" fmla="*/ 8380 w 10000"/>
                <a:gd name="connsiteY218" fmla="*/ 2860 h 10000"/>
                <a:gd name="connsiteX219" fmla="*/ 8253 w 10000"/>
                <a:gd name="connsiteY219" fmla="*/ 2762 h 10000"/>
                <a:gd name="connsiteX220" fmla="*/ 8267 w 10000"/>
                <a:gd name="connsiteY220" fmla="*/ 2748 h 10000"/>
                <a:gd name="connsiteX221" fmla="*/ 8397 w 10000"/>
                <a:gd name="connsiteY221" fmla="*/ 2705 h 10000"/>
                <a:gd name="connsiteX222" fmla="*/ 8402 w 10000"/>
                <a:gd name="connsiteY222" fmla="*/ 2662 h 10000"/>
                <a:gd name="connsiteX223" fmla="*/ 8449 w 10000"/>
                <a:gd name="connsiteY223" fmla="*/ 2656 h 10000"/>
                <a:gd name="connsiteX224" fmla="*/ 8558 w 10000"/>
                <a:gd name="connsiteY224" fmla="*/ 2677 h 10000"/>
                <a:gd name="connsiteX225" fmla="*/ 8593 w 10000"/>
                <a:gd name="connsiteY225" fmla="*/ 2669 h 10000"/>
                <a:gd name="connsiteX226" fmla="*/ 8606 w 10000"/>
                <a:gd name="connsiteY226" fmla="*/ 2630 h 10000"/>
                <a:gd name="connsiteX227" fmla="*/ 8567 w 10000"/>
                <a:gd name="connsiteY227" fmla="*/ 2605 h 10000"/>
                <a:gd name="connsiteX228" fmla="*/ 8685 w 10000"/>
                <a:gd name="connsiteY228" fmla="*/ 2597 h 10000"/>
                <a:gd name="connsiteX229" fmla="*/ 8698 w 10000"/>
                <a:gd name="connsiteY229" fmla="*/ 2565 h 10000"/>
                <a:gd name="connsiteX230" fmla="*/ 8558 w 10000"/>
                <a:gd name="connsiteY230" fmla="*/ 2481 h 10000"/>
                <a:gd name="connsiteX231" fmla="*/ 8558 w 10000"/>
                <a:gd name="connsiteY231" fmla="*/ 2459 h 10000"/>
                <a:gd name="connsiteX232" fmla="*/ 8698 w 10000"/>
                <a:gd name="connsiteY232" fmla="*/ 2504 h 10000"/>
                <a:gd name="connsiteX233" fmla="*/ 8763 w 10000"/>
                <a:gd name="connsiteY233" fmla="*/ 2548 h 10000"/>
                <a:gd name="connsiteX234" fmla="*/ 8815 w 10000"/>
                <a:gd name="connsiteY234" fmla="*/ 2548 h 10000"/>
                <a:gd name="connsiteX235" fmla="*/ 8789 w 10000"/>
                <a:gd name="connsiteY235" fmla="*/ 2457 h 10000"/>
                <a:gd name="connsiteX236" fmla="*/ 8798 w 10000"/>
                <a:gd name="connsiteY236" fmla="*/ 2467 h 10000"/>
                <a:gd name="connsiteX237" fmla="*/ 8841 w 10000"/>
                <a:gd name="connsiteY237" fmla="*/ 2457 h 10000"/>
                <a:gd name="connsiteX238" fmla="*/ 8855 w 10000"/>
                <a:gd name="connsiteY238" fmla="*/ 2341 h 10000"/>
                <a:gd name="connsiteX239" fmla="*/ 8898 w 10000"/>
                <a:gd name="connsiteY239" fmla="*/ 2332 h 10000"/>
                <a:gd name="connsiteX240" fmla="*/ 8946 w 10000"/>
                <a:gd name="connsiteY240" fmla="*/ 2330 h 10000"/>
                <a:gd name="connsiteX241" fmla="*/ 8946 w 10000"/>
                <a:gd name="connsiteY241" fmla="*/ 2361 h 10000"/>
                <a:gd name="connsiteX242" fmla="*/ 8994 w 10000"/>
                <a:gd name="connsiteY242" fmla="*/ 2389 h 10000"/>
                <a:gd name="connsiteX243" fmla="*/ 9051 w 10000"/>
                <a:gd name="connsiteY243" fmla="*/ 2400 h 10000"/>
                <a:gd name="connsiteX244" fmla="*/ 9094 w 10000"/>
                <a:gd name="connsiteY244" fmla="*/ 2324 h 10000"/>
                <a:gd name="connsiteX245" fmla="*/ 9164 w 10000"/>
                <a:gd name="connsiteY245" fmla="*/ 2347 h 10000"/>
                <a:gd name="connsiteX246" fmla="*/ 9247 w 10000"/>
                <a:gd name="connsiteY246" fmla="*/ 2402 h 10000"/>
                <a:gd name="connsiteX247" fmla="*/ 9286 w 10000"/>
                <a:gd name="connsiteY247" fmla="*/ 2400 h 10000"/>
                <a:gd name="connsiteX248" fmla="*/ 9355 w 10000"/>
                <a:gd name="connsiteY248" fmla="*/ 2428 h 10000"/>
                <a:gd name="connsiteX249" fmla="*/ 9408 w 10000"/>
                <a:gd name="connsiteY249" fmla="*/ 2359 h 10000"/>
                <a:gd name="connsiteX250" fmla="*/ 9717 w 10000"/>
                <a:gd name="connsiteY250" fmla="*/ 2343 h 10000"/>
                <a:gd name="connsiteX251" fmla="*/ 9830 w 10000"/>
                <a:gd name="connsiteY251" fmla="*/ 2369 h 10000"/>
                <a:gd name="connsiteX252" fmla="*/ 9909 w 10000"/>
                <a:gd name="connsiteY252" fmla="*/ 2410 h 10000"/>
                <a:gd name="connsiteX253" fmla="*/ 9948 w 10000"/>
                <a:gd name="connsiteY253" fmla="*/ 2365 h 10000"/>
                <a:gd name="connsiteX254" fmla="*/ 10000 w 10000"/>
                <a:gd name="connsiteY254" fmla="*/ 2349 h 10000"/>
                <a:gd name="connsiteX255" fmla="*/ 9704 w 10000"/>
                <a:gd name="connsiteY255" fmla="*/ 1992 h 10000"/>
                <a:gd name="connsiteX256" fmla="*/ 9743 w 10000"/>
                <a:gd name="connsiteY256" fmla="*/ 1897 h 10000"/>
                <a:gd name="connsiteX257" fmla="*/ 9830 w 10000"/>
                <a:gd name="connsiteY257" fmla="*/ 1819 h 10000"/>
                <a:gd name="connsiteX258" fmla="*/ 9830 w 10000"/>
                <a:gd name="connsiteY258" fmla="*/ 1699 h 10000"/>
                <a:gd name="connsiteX259" fmla="*/ 9556 w 10000"/>
                <a:gd name="connsiteY259" fmla="*/ 1465 h 10000"/>
                <a:gd name="connsiteX260" fmla="*/ 9512 w 10000"/>
                <a:gd name="connsiteY260" fmla="*/ 1379 h 10000"/>
                <a:gd name="connsiteX261" fmla="*/ 9573 w 10000"/>
                <a:gd name="connsiteY261" fmla="*/ 1271 h 10000"/>
                <a:gd name="connsiteX262" fmla="*/ 9543 w 10000"/>
                <a:gd name="connsiteY262" fmla="*/ 1194 h 10000"/>
                <a:gd name="connsiteX263" fmla="*/ 9486 w 10000"/>
                <a:gd name="connsiteY263" fmla="*/ 1159 h 10000"/>
                <a:gd name="connsiteX264" fmla="*/ 9438 w 10000"/>
                <a:gd name="connsiteY264" fmla="*/ 978 h 10000"/>
                <a:gd name="connsiteX265" fmla="*/ 9495 w 10000"/>
                <a:gd name="connsiteY265" fmla="*/ 831 h 10000"/>
                <a:gd name="connsiteX266" fmla="*/ 9077 w 10000"/>
                <a:gd name="connsiteY266" fmla="*/ 517 h 10000"/>
                <a:gd name="connsiteX267" fmla="*/ 8872 w 10000"/>
                <a:gd name="connsiteY267" fmla="*/ 440 h 10000"/>
                <a:gd name="connsiteX268" fmla="*/ 8493 w 10000"/>
                <a:gd name="connsiteY268" fmla="*/ 389 h 10000"/>
                <a:gd name="connsiteX269" fmla="*/ 7709 w 10000"/>
                <a:gd name="connsiteY269" fmla="*/ 26 h 10000"/>
                <a:gd name="connsiteX270" fmla="*/ 7683 w 10000"/>
                <a:gd name="connsiteY270" fmla="*/ 2 h 10000"/>
                <a:gd name="connsiteX271" fmla="*/ 7417 w 10000"/>
                <a:gd name="connsiteY271" fmla="*/ 0 h 10000"/>
                <a:gd name="connsiteX272" fmla="*/ 7356 w 10000"/>
                <a:gd name="connsiteY272" fmla="*/ 14 h 10000"/>
                <a:gd name="connsiteX273" fmla="*/ 7369 w 10000"/>
                <a:gd name="connsiteY273" fmla="*/ 61 h 10000"/>
                <a:gd name="connsiteX274" fmla="*/ 7422 w 10000"/>
                <a:gd name="connsiteY274" fmla="*/ 86 h 10000"/>
                <a:gd name="connsiteX275" fmla="*/ 7435 w 10000"/>
                <a:gd name="connsiteY275" fmla="*/ 139 h 10000"/>
                <a:gd name="connsiteX276" fmla="*/ 7417 w 10000"/>
                <a:gd name="connsiteY276" fmla="*/ 181 h 10000"/>
                <a:gd name="connsiteX277" fmla="*/ 7369 w 10000"/>
                <a:gd name="connsiteY277" fmla="*/ 208 h 10000"/>
                <a:gd name="connsiteX278" fmla="*/ 7334 w 10000"/>
                <a:gd name="connsiteY278" fmla="*/ 283 h 10000"/>
                <a:gd name="connsiteX279" fmla="*/ 7269 w 10000"/>
                <a:gd name="connsiteY279" fmla="*/ 336 h 10000"/>
                <a:gd name="connsiteX280" fmla="*/ 7282 w 10000"/>
                <a:gd name="connsiteY280" fmla="*/ 387 h 10000"/>
                <a:gd name="connsiteX281" fmla="*/ 7382 w 10000"/>
                <a:gd name="connsiteY281" fmla="*/ 434 h 10000"/>
                <a:gd name="connsiteX282" fmla="*/ 7317 w 10000"/>
                <a:gd name="connsiteY282" fmla="*/ 475 h 10000"/>
                <a:gd name="connsiteX283" fmla="*/ 7221 w 10000"/>
                <a:gd name="connsiteY283" fmla="*/ 485 h 10000"/>
                <a:gd name="connsiteX284" fmla="*/ 6420 w 10000"/>
                <a:gd name="connsiteY284" fmla="*/ 387 h 10000"/>
                <a:gd name="connsiteX285" fmla="*/ 6324 w 10000"/>
                <a:gd name="connsiteY285" fmla="*/ 395 h 10000"/>
                <a:gd name="connsiteX286" fmla="*/ 6267 w 10000"/>
                <a:gd name="connsiteY286" fmla="*/ 414 h 10000"/>
                <a:gd name="connsiteX287" fmla="*/ 6211 w 10000"/>
                <a:gd name="connsiteY287" fmla="*/ 462 h 10000"/>
                <a:gd name="connsiteX288" fmla="*/ 6220 w 10000"/>
                <a:gd name="connsiteY288" fmla="*/ 581 h 10000"/>
                <a:gd name="connsiteX289" fmla="*/ 6132 w 10000"/>
                <a:gd name="connsiteY289" fmla="*/ 735 h 10000"/>
                <a:gd name="connsiteX290" fmla="*/ 6024 w 10000"/>
                <a:gd name="connsiteY290" fmla="*/ 815 h 10000"/>
                <a:gd name="connsiteX291" fmla="*/ 5980 w 10000"/>
                <a:gd name="connsiteY291" fmla="*/ 805 h 10000"/>
                <a:gd name="connsiteX292" fmla="*/ 5880 w 10000"/>
                <a:gd name="connsiteY292" fmla="*/ 739 h 10000"/>
                <a:gd name="connsiteX293" fmla="*/ 5753 w 10000"/>
                <a:gd name="connsiteY293" fmla="*/ 705 h 10000"/>
                <a:gd name="connsiteX294" fmla="*/ 5618 w 10000"/>
                <a:gd name="connsiteY294" fmla="*/ 715 h 10000"/>
                <a:gd name="connsiteX295" fmla="*/ 5301 w 10000"/>
                <a:gd name="connsiteY295" fmla="*/ 866 h 10000"/>
                <a:gd name="connsiteX296" fmla="*/ 5218 w 10000"/>
                <a:gd name="connsiteY296" fmla="*/ 1017 h 10000"/>
                <a:gd name="connsiteX297" fmla="*/ 4978 w 10000"/>
                <a:gd name="connsiteY297" fmla="*/ 1153 h 10000"/>
                <a:gd name="connsiteX298" fmla="*/ 4935 w 10000"/>
                <a:gd name="connsiteY298" fmla="*/ 1222 h 10000"/>
                <a:gd name="connsiteX299" fmla="*/ 5061 w 10000"/>
                <a:gd name="connsiteY299" fmla="*/ 1344 h 10000"/>
                <a:gd name="connsiteX300" fmla="*/ 5074 w 10000"/>
                <a:gd name="connsiteY300" fmla="*/ 1412 h 10000"/>
                <a:gd name="connsiteX301" fmla="*/ 4421 w 10000"/>
                <a:gd name="connsiteY301" fmla="*/ 1813 h 10000"/>
                <a:gd name="connsiteX302" fmla="*/ 4220 w 10000"/>
                <a:gd name="connsiteY302" fmla="*/ 2070 h 10000"/>
                <a:gd name="connsiteX303" fmla="*/ 4003 w 10000"/>
                <a:gd name="connsiteY303" fmla="*/ 2135 h 10000"/>
                <a:gd name="connsiteX304" fmla="*/ 3868 w 10000"/>
                <a:gd name="connsiteY304" fmla="*/ 2131 h 10000"/>
                <a:gd name="connsiteX305" fmla="*/ 3785 w 10000"/>
                <a:gd name="connsiteY305" fmla="*/ 2153 h 10000"/>
                <a:gd name="connsiteX306" fmla="*/ 3558 w 10000"/>
                <a:gd name="connsiteY306" fmla="*/ 2793 h 10000"/>
                <a:gd name="connsiteX307" fmla="*/ 3036 w 10000"/>
                <a:gd name="connsiteY307" fmla="*/ 3166 h 10000"/>
                <a:gd name="connsiteX308" fmla="*/ 3040 w 10000"/>
                <a:gd name="connsiteY308" fmla="*/ 3225 h 10000"/>
                <a:gd name="connsiteX309" fmla="*/ 3271 w 10000"/>
                <a:gd name="connsiteY309" fmla="*/ 3392 h 10000"/>
                <a:gd name="connsiteX310" fmla="*/ 3197 w 10000"/>
                <a:gd name="connsiteY310" fmla="*/ 3573 h 10000"/>
                <a:gd name="connsiteX311" fmla="*/ 3062 w 10000"/>
                <a:gd name="connsiteY311" fmla="*/ 3640 h 10000"/>
                <a:gd name="connsiteX312" fmla="*/ 2657 w 10000"/>
                <a:gd name="connsiteY312" fmla="*/ 3595 h 10000"/>
                <a:gd name="connsiteX313" fmla="*/ 2378 w 10000"/>
                <a:gd name="connsiteY313" fmla="*/ 3620 h 10000"/>
                <a:gd name="connsiteX314" fmla="*/ 2152 w 10000"/>
                <a:gd name="connsiteY314" fmla="*/ 3673 h 10000"/>
                <a:gd name="connsiteX315" fmla="*/ 1790 w 10000"/>
                <a:gd name="connsiteY315" fmla="*/ 3840 h 10000"/>
                <a:gd name="connsiteX316" fmla="*/ 1598 w 10000"/>
                <a:gd name="connsiteY316" fmla="*/ 4042 h 10000"/>
                <a:gd name="connsiteX317" fmla="*/ 1616 w 10000"/>
                <a:gd name="connsiteY317" fmla="*/ 4154 h 10000"/>
                <a:gd name="connsiteX318" fmla="*/ 1681 w 10000"/>
                <a:gd name="connsiteY318" fmla="*/ 4241 h 10000"/>
                <a:gd name="connsiteX319" fmla="*/ 1733 w 10000"/>
                <a:gd name="connsiteY319" fmla="*/ 4276 h 10000"/>
                <a:gd name="connsiteX320" fmla="*/ 1638 w 10000"/>
                <a:gd name="connsiteY320" fmla="*/ 4331 h 10000"/>
                <a:gd name="connsiteX321" fmla="*/ 1433 w 10000"/>
                <a:gd name="connsiteY321" fmla="*/ 4710 h 10000"/>
                <a:gd name="connsiteX322" fmla="*/ 1472 w 10000"/>
                <a:gd name="connsiteY322" fmla="*/ 4732 h 10000"/>
                <a:gd name="connsiteX323" fmla="*/ 1503 w 10000"/>
                <a:gd name="connsiteY323" fmla="*/ 4828 h 10000"/>
                <a:gd name="connsiteX324" fmla="*/ 1407 w 10000"/>
                <a:gd name="connsiteY324" fmla="*/ 5227 h 10000"/>
                <a:gd name="connsiteX325" fmla="*/ 1503 w 10000"/>
                <a:gd name="connsiteY325" fmla="*/ 5329 h 10000"/>
                <a:gd name="connsiteX326" fmla="*/ 1764 w 10000"/>
                <a:gd name="connsiteY326" fmla="*/ 5441 h 10000"/>
                <a:gd name="connsiteX327" fmla="*/ 1777 w 10000"/>
                <a:gd name="connsiteY327" fmla="*/ 5578 h 10000"/>
                <a:gd name="connsiteX328" fmla="*/ 1664 w 10000"/>
                <a:gd name="connsiteY328" fmla="*/ 5690 h 10000"/>
                <a:gd name="connsiteX329" fmla="*/ 1503 w 10000"/>
                <a:gd name="connsiteY329" fmla="*/ 5759 h 10000"/>
                <a:gd name="connsiteX330" fmla="*/ 1289 w 10000"/>
                <a:gd name="connsiteY330" fmla="*/ 5787 h 10000"/>
                <a:gd name="connsiteX331" fmla="*/ 1233 w 10000"/>
                <a:gd name="connsiteY331" fmla="*/ 5826 h 10000"/>
                <a:gd name="connsiteX332" fmla="*/ 1359 w 10000"/>
                <a:gd name="connsiteY332" fmla="*/ 5920 h 10000"/>
                <a:gd name="connsiteX333" fmla="*/ 1429 w 10000"/>
                <a:gd name="connsiteY333" fmla="*/ 6142 h 10000"/>
                <a:gd name="connsiteX334" fmla="*/ 1267 w 10000"/>
                <a:gd name="connsiteY334" fmla="*/ 6333 h 10000"/>
                <a:gd name="connsiteX335" fmla="*/ 1324 w 10000"/>
                <a:gd name="connsiteY335" fmla="*/ 6392 h 10000"/>
                <a:gd name="connsiteX336" fmla="*/ 1272 w 10000"/>
                <a:gd name="connsiteY336" fmla="*/ 6492 h 10000"/>
                <a:gd name="connsiteX337" fmla="*/ 1167 w 10000"/>
                <a:gd name="connsiteY337" fmla="*/ 6561 h 10000"/>
                <a:gd name="connsiteX338" fmla="*/ 758 w 10000"/>
                <a:gd name="connsiteY338" fmla="*/ 6614 h 10000"/>
                <a:gd name="connsiteX339" fmla="*/ 732 w 10000"/>
                <a:gd name="connsiteY339" fmla="*/ 6706 h 10000"/>
                <a:gd name="connsiteX340" fmla="*/ 510 w 10000"/>
                <a:gd name="connsiteY340" fmla="*/ 6843 h 10000"/>
                <a:gd name="connsiteX341" fmla="*/ 540 w 10000"/>
                <a:gd name="connsiteY341" fmla="*/ 7040 h 10000"/>
                <a:gd name="connsiteX342" fmla="*/ 353 w 10000"/>
                <a:gd name="connsiteY342" fmla="*/ 7293 h 10000"/>
                <a:gd name="connsiteX343" fmla="*/ 226 w 10000"/>
                <a:gd name="connsiteY343" fmla="*/ 7323 h 10000"/>
                <a:gd name="connsiteX344" fmla="*/ 174 w 10000"/>
                <a:gd name="connsiteY344" fmla="*/ 7262 h 10000"/>
                <a:gd name="connsiteX345" fmla="*/ 109 w 10000"/>
                <a:gd name="connsiteY345" fmla="*/ 7354 h 10000"/>
                <a:gd name="connsiteX346" fmla="*/ 152 w 10000"/>
                <a:gd name="connsiteY346" fmla="*/ 7197 h 10000"/>
                <a:gd name="connsiteX347" fmla="*/ 126 w 10000"/>
                <a:gd name="connsiteY347"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75 w 10000"/>
                <a:gd name="connsiteY206" fmla="*/ 3430 h 10000"/>
                <a:gd name="connsiteX207" fmla="*/ 8293 w 10000"/>
                <a:gd name="connsiteY207" fmla="*/ 3463 h 10000"/>
                <a:gd name="connsiteX208" fmla="*/ 8280 w 10000"/>
                <a:gd name="connsiteY208" fmla="*/ 3522 h 10000"/>
                <a:gd name="connsiteX209" fmla="*/ 8145 w 10000"/>
                <a:gd name="connsiteY209" fmla="*/ 3267 h 10000"/>
                <a:gd name="connsiteX210" fmla="*/ 8123 w 10000"/>
                <a:gd name="connsiteY210" fmla="*/ 3229 h 10000"/>
                <a:gd name="connsiteX211" fmla="*/ 8153 w 10000"/>
                <a:gd name="connsiteY211" fmla="*/ 3219 h 10000"/>
                <a:gd name="connsiteX212" fmla="*/ 8075 w 10000"/>
                <a:gd name="connsiteY212" fmla="*/ 3147 h 10000"/>
                <a:gd name="connsiteX213" fmla="*/ 8079 w 10000"/>
                <a:gd name="connsiteY213" fmla="*/ 3127 h 10000"/>
                <a:gd name="connsiteX214" fmla="*/ 8132 w 10000"/>
                <a:gd name="connsiteY214" fmla="*/ 3100 h 10000"/>
                <a:gd name="connsiteX215" fmla="*/ 8145 w 10000"/>
                <a:gd name="connsiteY215" fmla="*/ 3064 h 10000"/>
                <a:gd name="connsiteX216" fmla="*/ 8258 w 10000"/>
                <a:gd name="connsiteY216" fmla="*/ 3037 h 10000"/>
                <a:gd name="connsiteX217" fmla="*/ 8380 w 10000"/>
                <a:gd name="connsiteY217" fmla="*/ 2860 h 10000"/>
                <a:gd name="connsiteX218" fmla="*/ 8253 w 10000"/>
                <a:gd name="connsiteY218" fmla="*/ 2762 h 10000"/>
                <a:gd name="connsiteX219" fmla="*/ 8267 w 10000"/>
                <a:gd name="connsiteY219" fmla="*/ 2748 h 10000"/>
                <a:gd name="connsiteX220" fmla="*/ 8397 w 10000"/>
                <a:gd name="connsiteY220" fmla="*/ 2705 h 10000"/>
                <a:gd name="connsiteX221" fmla="*/ 8402 w 10000"/>
                <a:gd name="connsiteY221" fmla="*/ 2662 h 10000"/>
                <a:gd name="connsiteX222" fmla="*/ 8449 w 10000"/>
                <a:gd name="connsiteY222" fmla="*/ 2656 h 10000"/>
                <a:gd name="connsiteX223" fmla="*/ 8558 w 10000"/>
                <a:gd name="connsiteY223" fmla="*/ 2677 h 10000"/>
                <a:gd name="connsiteX224" fmla="*/ 8593 w 10000"/>
                <a:gd name="connsiteY224" fmla="*/ 2669 h 10000"/>
                <a:gd name="connsiteX225" fmla="*/ 8606 w 10000"/>
                <a:gd name="connsiteY225" fmla="*/ 2630 h 10000"/>
                <a:gd name="connsiteX226" fmla="*/ 8567 w 10000"/>
                <a:gd name="connsiteY226" fmla="*/ 2605 h 10000"/>
                <a:gd name="connsiteX227" fmla="*/ 8685 w 10000"/>
                <a:gd name="connsiteY227" fmla="*/ 2597 h 10000"/>
                <a:gd name="connsiteX228" fmla="*/ 8698 w 10000"/>
                <a:gd name="connsiteY228" fmla="*/ 2565 h 10000"/>
                <a:gd name="connsiteX229" fmla="*/ 8558 w 10000"/>
                <a:gd name="connsiteY229" fmla="*/ 2481 h 10000"/>
                <a:gd name="connsiteX230" fmla="*/ 8558 w 10000"/>
                <a:gd name="connsiteY230" fmla="*/ 2459 h 10000"/>
                <a:gd name="connsiteX231" fmla="*/ 8698 w 10000"/>
                <a:gd name="connsiteY231" fmla="*/ 2504 h 10000"/>
                <a:gd name="connsiteX232" fmla="*/ 8763 w 10000"/>
                <a:gd name="connsiteY232" fmla="*/ 2548 h 10000"/>
                <a:gd name="connsiteX233" fmla="*/ 8815 w 10000"/>
                <a:gd name="connsiteY233" fmla="*/ 2548 h 10000"/>
                <a:gd name="connsiteX234" fmla="*/ 8789 w 10000"/>
                <a:gd name="connsiteY234" fmla="*/ 2457 h 10000"/>
                <a:gd name="connsiteX235" fmla="*/ 8798 w 10000"/>
                <a:gd name="connsiteY235" fmla="*/ 2467 h 10000"/>
                <a:gd name="connsiteX236" fmla="*/ 8841 w 10000"/>
                <a:gd name="connsiteY236" fmla="*/ 2457 h 10000"/>
                <a:gd name="connsiteX237" fmla="*/ 8855 w 10000"/>
                <a:gd name="connsiteY237" fmla="*/ 2341 h 10000"/>
                <a:gd name="connsiteX238" fmla="*/ 8898 w 10000"/>
                <a:gd name="connsiteY238" fmla="*/ 2332 h 10000"/>
                <a:gd name="connsiteX239" fmla="*/ 8946 w 10000"/>
                <a:gd name="connsiteY239" fmla="*/ 2330 h 10000"/>
                <a:gd name="connsiteX240" fmla="*/ 8946 w 10000"/>
                <a:gd name="connsiteY240" fmla="*/ 2361 h 10000"/>
                <a:gd name="connsiteX241" fmla="*/ 8994 w 10000"/>
                <a:gd name="connsiteY241" fmla="*/ 2389 h 10000"/>
                <a:gd name="connsiteX242" fmla="*/ 9051 w 10000"/>
                <a:gd name="connsiteY242" fmla="*/ 2400 h 10000"/>
                <a:gd name="connsiteX243" fmla="*/ 9094 w 10000"/>
                <a:gd name="connsiteY243" fmla="*/ 2324 h 10000"/>
                <a:gd name="connsiteX244" fmla="*/ 9164 w 10000"/>
                <a:gd name="connsiteY244" fmla="*/ 2347 h 10000"/>
                <a:gd name="connsiteX245" fmla="*/ 9247 w 10000"/>
                <a:gd name="connsiteY245" fmla="*/ 2402 h 10000"/>
                <a:gd name="connsiteX246" fmla="*/ 9286 w 10000"/>
                <a:gd name="connsiteY246" fmla="*/ 2400 h 10000"/>
                <a:gd name="connsiteX247" fmla="*/ 9355 w 10000"/>
                <a:gd name="connsiteY247" fmla="*/ 2428 h 10000"/>
                <a:gd name="connsiteX248" fmla="*/ 9408 w 10000"/>
                <a:gd name="connsiteY248" fmla="*/ 2359 h 10000"/>
                <a:gd name="connsiteX249" fmla="*/ 9717 w 10000"/>
                <a:gd name="connsiteY249" fmla="*/ 2343 h 10000"/>
                <a:gd name="connsiteX250" fmla="*/ 9830 w 10000"/>
                <a:gd name="connsiteY250" fmla="*/ 2369 h 10000"/>
                <a:gd name="connsiteX251" fmla="*/ 9909 w 10000"/>
                <a:gd name="connsiteY251" fmla="*/ 2410 h 10000"/>
                <a:gd name="connsiteX252" fmla="*/ 9948 w 10000"/>
                <a:gd name="connsiteY252" fmla="*/ 2365 h 10000"/>
                <a:gd name="connsiteX253" fmla="*/ 10000 w 10000"/>
                <a:gd name="connsiteY253" fmla="*/ 2349 h 10000"/>
                <a:gd name="connsiteX254" fmla="*/ 9704 w 10000"/>
                <a:gd name="connsiteY254" fmla="*/ 1992 h 10000"/>
                <a:gd name="connsiteX255" fmla="*/ 9743 w 10000"/>
                <a:gd name="connsiteY255" fmla="*/ 1897 h 10000"/>
                <a:gd name="connsiteX256" fmla="*/ 9830 w 10000"/>
                <a:gd name="connsiteY256" fmla="*/ 1819 h 10000"/>
                <a:gd name="connsiteX257" fmla="*/ 9830 w 10000"/>
                <a:gd name="connsiteY257" fmla="*/ 1699 h 10000"/>
                <a:gd name="connsiteX258" fmla="*/ 9556 w 10000"/>
                <a:gd name="connsiteY258" fmla="*/ 1465 h 10000"/>
                <a:gd name="connsiteX259" fmla="*/ 9512 w 10000"/>
                <a:gd name="connsiteY259" fmla="*/ 1379 h 10000"/>
                <a:gd name="connsiteX260" fmla="*/ 9573 w 10000"/>
                <a:gd name="connsiteY260" fmla="*/ 1271 h 10000"/>
                <a:gd name="connsiteX261" fmla="*/ 9543 w 10000"/>
                <a:gd name="connsiteY261" fmla="*/ 1194 h 10000"/>
                <a:gd name="connsiteX262" fmla="*/ 9486 w 10000"/>
                <a:gd name="connsiteY262" fmla="*/ 1159 h 10000"/>
                <a:gd name="connsiteX263" fmla="*/ 9438 w 10000"/>
                <a:gd name="connsiteY263" fmla="*/ 978 h 10000"/>
                <a:gd name="connsiteX264" fmla="*/ 9495 w 10000"/>
                <a:gd name="connsiteY264" fmla="*/ 831 h 10000"/>
                <a:gd name="connsiteX265" fmla="*/ 9077 w 10000"/>
                <a:gd name="connsiteY265" fmla="*/ 517 h 10000"/>
                <a:gd name="connsiteX266" fmla="*/ 8872 w 10000"/>
                <a:gd name="connsiteY266" fmla="*/ 440 h 10000"/>
                <a:gd name="connsiteX267" fmla="*/ 8493 w 10000"/>
                <a:gd name="connsiteY267" fmla="*/ 389 h 10000"/>
                <a:gd name="connsiteX268" fmla="*/ 7709 w 10000"/>
                <a:gd name="connsiteY268" fmla="*/ 26 h 10000"/>
                <a:gd name="connsiteX269" fmla="*/ 7683 w 10000"/>
                <a:gd name="connsiteY269" fmla="*/ 2 h 10000"/>
                <a:gd name="connsiteX270" fmla="*/ 7417 w 10000"/>
                <a:gd name="connsiteY270" fmla="*/ 0 h 10000"/>
                <a:gd name="connsiteX271" fmla="*/ 7356 w 10000"/>
                <a:gd name="connsiteY271" fmla="*/ 14 h 10000"/>
                <a:gd name="connsiteX272" fmla="*/ 7369 w 10000"/>
                <a:gd name="connsiteY272" fmla="*/ 61 h 10000"/>
                <a:gd name="connsiteX273" fmla="*/ 7422 w 10000"/>
                <a:gd name="connsiteY273" fmla="*/ 86 h 10000"/>
                <a:gd name="connsiteX274" fmla="*/ 7435 w 10000"/>
                <a:gd name="connsiteY274" fmla="*/ 139 h 10000"/>
                <a:gd name="connsiteX275" fmla="*/ 7417 w 10000"/>
                <a:gd name="connsiteY275" fmla="*/ 181 h 10000"/>
                <a:gd name="connsiteX276" fmla="*/ 7369 w 10000"/>
                <a:gd name="connsiteY276" fmla="*/ 208 h 10000"/>
                <a:gd name="connsiteX277" fmla="*/ 7334 w 10000"/>
                <a:gd name="connsiteY277" fmla="*/ 283 h 10000"/>
                <a:gd name="connsiteX278" fmla="*/ 7269 w 10000"/>
                <a:gd name="connsiteY278" fmla="*/ 336 h 10000"/>
                <a:gd name="connsiteX279" fmla="*/ 7282 w 10000"/>
                <a:gd name="connsiteY279" fmla="*/ 387 h 10000"/>
                <a:gd name="connsiteX280" fmla="*/ 7382 w 10000"/>
                <a:gd name="connsiteY280" fmla="*/ 434 h 10000"/>
                <a:gd name="connsiteX281" fmla="*/ 7317 w 10000"/>
                <a:gd name="connsiteY281" fmla="*/ 475 h 10000"/>
                <a:gd name="connsiteX282" fmla="*/ 7221 w 10000"/>
                <a:gd name="connsiteY282" fmla="*/ 485 h 10000"/>
                <a:gd name="connsiteX283" fmla="*/ 6420 w 10000"/>
                <a:gd name="connsiteY283" fmla="*/ 387 h 10000"/>
                <a:gd name="connsiteX284" fmla="*/ 6324 w 10000"/>
                <a:gd name="connsiteY284" fmla="*/ 395 h 10000"/>
                <a:gd name="connsiteX285" fmla="*/ 6267 w 10000"/>
                <a:gd name="connsiteY285" fmla="*/ 414 h 10000"/>
                <a:gd name="connsiteX286" fmla="*/ 6211 w 10000"/>
                <a:gd name="connsiteY286" fmla="*/ 462 h 10000"/>
                <a:gd name="connsiteX287" fmla="*/ 6220 w 10000"/>
                <a:gd name="connsiteY287" fmla="*/ 581 h 10000"/>
                <a:gd name="connsiteX288" fmla="*/ 6132 w 10000"/>
                <a:gd name="connsiteY288" fmla="*/ 735 h 10000"/>
                <a:gd name="connsiteX289" fmla="*/ 6024 w 10000"/>
                <a:gd name="connsiteY289" fmla="*/ 815 h 10000"/>
                <a:gd name="connsiteX290" fmla="*/ 5980 w 10000"/>
                <a:gd name="connsiteY290" fmla="*/ 805 h 10000"/>
                <a:gd name="connsiteX291" fmla="*/ 5880 w 10000"/>
                <a:gd name="connsiteY291" fmla="*/ 739 h 10000"/>
                <a:gd name="connsiteX292" fmla="*/ 5753 w 10000"/>
                <a:gd name="connsiteY292" fmla="*/ 705 h 10000"/>
                <a:gd name="connsiteX293" fmla="*/ 5618 w 10000"/>
                <a:gd name="connsiteY293" fmla="*/ 715 h 10000"/>
                <a:gd name="connsiteX294" fmla="*/ 5301 w 10000"/>
                <a:gd name="connsiteY294" fmla="*/ 866 h 10000"/>
                <a:gd name="connsiteX295" fmla="*/ 5218 w 10000"/>
                <a:gd name="connsiteY295" fmla="*/ 1017 h 10000"/>
                <a:gd name="connsiteX296" fmla="*/ 4978 w 10000"/>
                <a:gd name="connsiteY296" fmla="*/ 1153 h 10000"/>
                <a:gd name="connsiteX297" fmla="*/ 4935 w 10000"/>
                <a:gd name="connsiteY297" fmla="*/ 1222 h 10000"/>
                <a:gd name="connsiteX298" fmla="*/ 5061 w 10000"/>
                <a:gd name="connsiteY298" fmla="*/ 1344 h 10000"/>
                <a:gd name="connsiteX299" fmla="*/ 5074 w 10000"/>
                <a:gd name="connsiteY299" fmla="*/ 1412 h 10000"/>
                <a:gd name="connsiteX300" fmla="*/ 4421 w 10000"/>
                <a:gd name="connsiteY300" fmla="*/ 1813 h 10000"/>
                <a:gd name="connsiteX301" fmla="*/ 4220 w 10000"/>
                <a:gd name="connsiteY301" fmla="*/ 2070 h 10000"/>
                <a:gd name="connsiteX302" fmla="*/ 4003 w 10000"/>
                <a:gd name="connsiteY302" fmla="*/ 2135 h 10000"/>
                <a:gd name="connsiteX303" fmla="*/ 3868 w 10000"/>
                <a:gd name="connsiteY303" fmla="*/ 2131 h 10000"/>
                <a:gd name="connsiteX304" fmla="*/ 3785 w 10000"/>
                <a:gd name="connsiteY304" fmla="*/ 2153 h 10000"/>
                <a:gd name="connsiteX305" fmla="*/ 3558 w 10000"/>
                <a:gd name="connsiteY305" fmla="*/ 2793 h 10000"/>
                <a:gd name="connsiteX306" fmla="*/ 3036 w 10000"/>
                <a:gd name="connsiteY306" fmla="*/ 3166 h 10000"/>
                <a:gd name="connsiteX307" fmla="*/ 3040 w 10000"/>
                <a:gd name="connsiteY307" fmla="*/ 3225 h 10000"/>
                <a:gd name="connsiteX308" fmla="*/ 3271 w 10000"/>
                <a:gd name="connsiteY308" fmla="*/ 3392 h 10000"/>
                <a:gd name="connsiteX309" fmla="*/ 3197 w 10000"/>
                <a:gd name="connsiteY309" fmla="*/ 3573 h 10000"/>
                <a:gd name="connsiteX310" fmla="*/ 3062 w 10000"/>
                <a:gd name="connsiteY310" fmla="*/ 3640 h 10000"/>
                <a:gd name="connsiteX311" fmla="*/ 2657 w 10000"/>
                <a:gd name="connsiteY311" fmla="*/ 3595 h 10000"/>
                <a:gd name="connsiteX312" fmla="*/ 2378 w 10000"/>
                <a:gd name="connsiteY312" fmla="*/ 3620 h 10000"/>
                <a:gd name="connsiteX313" fmla="*/ 2152 w 10000"/>
                <a:gd name="connsiteY313" fmla="*/ 3673 h 10000"/>
                <a:gd name="connsiteX314" fmla="*/ 1790 w 10000"/>
                <a:gd name="connsiteY314" fmla="*/ 3840 h 10000"/>
                <a:gd name="connsiteX315" fmla="*/ 1598 w 10000"/>
                <a:gd name="connsiteY315" fmla="*/ 4042 h 10000"/>
                <a:gd name="connsiteX316" fmla="*/ 1616 w 10000"/>
                <a:gd name="connsiteY316" fmla="*/ 4154 h 10000"/>
                <a:gd name="connsiteX317" fmla="*/ 1681 w 10000"/>
                <a:gd name="connsiteY317" fmla="*/ 4241 h 10000"/>
                <a:gd name="connsiteX318" fmla="*/ 1733 w 10000"/>
                <a:gd name="connsiteY318" fmla="*/ 4276 h 10000"/>
                <a:gd name="connsiteX319" fmla="*/ 1638 w 10000"/>
                <a:gd name="connsiteY319" fmla="*/ 4331 h 10000"/>
                <a:gd name="connsiteX320" fmla="*/ 1433 w 10000"/>
                <a:gd name="connsiteY320" fmla="*/ 4710 h 10000"/>
                <a:gd name="connsiteX321" fmla="*/ 1472 w 10000"/>
                <a:gd name="connsiteY321" fmla="*/ 4732 h 10000"/>
                <a:gd name="connsiteX322" fmla="*/ 1503 w 10000"/>
                <a:gd name="connsiteY322" fmla="*/ 4828 h 10000"/>
                <a:gd name="connsiteX323" fmla="*/ 1407 w 10000"/>
                <a:gd name="connsiteY323" fmla="*/ 5227 h 10000"/>
                <a:gd name="connsiteX324" fmla="*/ 1503 w 10000"/>
                <a:gd name="connsiteY324" fmla="*/ 5329 h 10000"/>
                <a:gd name="connsiteX325" fmla="*/ 1764 w 10000"/>
                <a:gd name="connsiteY325" fmla="*/ 5441 h 10000"/>
                <a:gd name="connsiteX326" fmla="*/ 1777 w 10000"/>
                <a:gd name="connsiteY326" fmla="*/ 5578 h 10000"/>
                <a:gd name="connsiteX327" fmla="*/ 1664 w 10000"/>
                <a:gd name="connsiteY327" fmla="*/ 5690 h 10000"/>
                <a:gd name="connsiteX328" fmla="*/ 1503 w 10000"/>
                <a:gd name="connsiteY328" fmla="*/ 5759 h 10000"/>
                <a:gd name="connsiteX329" fmla="*/ 1289 w 10000"/>
                <a:gd name="connsiteY329" fmla="*/ 5787 h 10000"/>
                <a:gd name="connsiteX330" fmla="*/ 1233 w 10000"/>
                <a:gd name="connsiteY330" fmla="*/ 5826 h 10000"/>
                <a:gd name="connsiteX331" fmla="*/ 1359 w 10000"/>
                <a:gd name="connsiteY331" fmla="*/ 5920 h 10000"/>
                <a:gd name="connsiteX332" fmla="*/ 1429 w 10000"/>
                <a:gd name="connsiteY332" fmla="*/ 6142 h 10000"/>
                <a:gd name="connsiteX333" fmla="*/ 1267 w 10000"/>
                <a:gd name="connsiteY333" fmla="*/ 6333 h 10000"/>
                <a:gd name="connsiteX334" fmla="*/ 1324 w 10000"/>
                <a:gd name="connsiteY334" fmla="*/ 6392 h 10000"/>
                <a:gd name="connsiteX335" fmla="*/ 1272 w 10000"/>
                <a:gd name="connsiteY335" fmla="*/ 6492 h 10000"/>
                <a:gd name="connsiteX336" fmla="*/ 1167 w 10000"/>
                <a:gd name="connsiteY336" fmla="*/ 6561 h 10000"/>
                <a:gd name="connsiteX337" fmla="*/ 758 w 10000"/>
                <a:gd name="connsiteY337" fmla="*/ 6614 h 10000"/>
                <a:gd name="connsiteX338" fmla="*/ 732 w 10000"/>
                <a:gd name="connsiteY338" fmla="*/ 6706 h 10000"/>
                <a:gd name="connsiteX339" fmla="*/ 510 w 10000"/>
                <a:gd name="connsiteY339" fmla="*/ 6843 h 10000"/>
                <a:gd name="connsiteX340" fmla="*/ 540 w 10000"/>
                <a:gd name="connsiteY340" fmla="*/ 7040 h 10000"/>
                <a:gd name="connsiteX341" fmla="*/ 353 w 10000"/>
                <a:gd name="connsiteY341" fmla="*/ 7293 h 10000"/>
                <a:gd name="connsiteX342" fmla="*/ 226 w 10000"/>
                <a:gd name="connsiteY342" fmla="*/ 7323 h 10000"/>
                <a:gd name="connsiteX343" fmla="*/ 174 w 10000"/>
                <a:gd name="connsiteY343" fmla="*/ 7262 h 10000"/>
                <a:gd name="connsiteX344" fmla="*/ 109 w 10000"/>
                <a:gd name="connsiteY344" fmla="*/ 7354 h 10000"/>
                <a:gd name="connsiteX345" fmla="*/ 152 w 10000"/>
                <a:gd name="connsiteY345" fmla="*/ 7197 h 10000"/>
                <a:gd name="connsiteX346" fmla="*/ 126 w 10000"/>
                <a:gd name="connsiteY346"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75 w 10000"/>
                <a:gd name="connsiteY206" fmla="*/ 3430 h 10000"/>
                <a:gd name="connsiteX207" fmla="*/ 8280 w 10000"/>
                <a:gd name="connsiteY207" fmla="*/ 3522 h 10000"/>
                <a:gd name="connsiteX208" fmla="*/ 8145 w 10000"/>
                <a:gd name="connsiteY208" fmla="*/ 3267 h 10000"/>
                <a:gd name="connsiteX209" fmla="*/ 8123 w 10000"/>
                <a:gd name="connsiteY209" fmla="*/ 3229 h 10000"/>
                <a:gd name="connsiteX210" fmla="*/ 8153 w 10000"/>
                <a:gd name="connsiteY210" fmla="*/ 3219 h 10000"/>
                <a:gd name="connsiteX211" fmla="*/ 8075 w 10000"/>
                <a:gd name="connsiteY211" fmla="*/ 3147 h 10000"/>
                <a:gd name="connsiteX212" fmla="*/ 8079 w 10000"/>
                <a:gd name="connsiteY212" fmla="*/ 3127 h 10000"/>
                <a:gd name="connsiteX213" fmla="*/ 8132 w 10000"/>
                <a:gd name="connsiteY213" fmla="*/ 3100 h 10000"/>
                <a:gd name="connsiteX214" fmla="*/ 8145 w 10000"/>
                <a:gd name="connsiteY214" fmla="*/ 3064 h 10000"/>
                <a:gd name="connsiteX215" fmla="*/ 8258 w 10000"/>
                <a:gd name="connsiteY215" fmla="*/ 3037 h 10000"/>
                <a:gd name="connsiteX216" fmla="*/ 8380 w 10000"/>
                <a:gd name="connsiteY216" fmla="*/ 2860 h 10000"/>
                <a:gd name="connsiteX217" fmla="*/ 8253 w 10000"/>
                <a:gd name="connsiteY217" fmla="*/ 2762 h 10000"/>
                <a:gd name="connsiteX218" fmla="*/ 8267 w 10000"/>
                <a:gd name="connsiteY218" fmla="*/ 2748 h 10000"/>
                <a:gd name="connsiteX219" fmla="*/ 8397 w 10000"/>
                <a:gd name="connsiteY219" fmla="*/ 2705 h 10000"/>
                <a:gd name="connsiteX220" fmla="*/ 8402 w 10000"/>
                <a:gd name="connsiteY220" fmla="*/ 2662 h 10000"/>
                <a:gd name="connsiteX221" fmla="*/ 8449 w 10000"/>
                <a:gd name="connsiteY221" fmla="*/ 2656 h 10000"/>
                <a:gd name="connsiteX222" fmla="*/ 8558 w 10000"/>
                <a:gd name="connsiteY222" fmla="*/ 2677 h 10000"/>
                <a:gd name="connsiteX223" fmla="*/ 8593 w 10000"/>
                <a:gd name="connsiteY223" fmla="*/ 2669 h 10000"/>
                <a:gd name="connsiteX224" fmla="*/ 8606 w 10000"/>
                <a:gd name="connsiteY224" fmla="*/ 2630 h 10000"/>
                <a:gd name="connsiteX225" fmla="*/ 8567 w 10000"/>
                <a:gd name="connsiteY225" fmla="*/ 2605 h 10000"/>
                <a:gd name="connsiteX226" fmla="*/ 8685 w 10000"/>
                <a:gd name="connsiteY226" fmla="*/ 2597 h 10000"/>
                <a:gd name="connsiteX227" fmla="*/ 8698 w 10000"/>
                <a:gd name="connsiteY227" fmla="*/ 2565 h 10000"/>
                <a:gd name="connsiteX228" fmla="*/ 8558 w 10000"/>
                <a:gd name="connsiteY228" fmla="*/ 2481 h 10000"/>
                <a:gd name="connsiteX229" fmla="*/ 8558 w 10000"/>
                <a:gd name="connsiteY229" fmla="*/ 2459 h 10000"/>
                <a:gd name="connsiteX230" fmla="*/ 8698 w 10000"/>
                <a:gd name="connsiteY230" fmla="*/ 2504 h 10000"/>
                <a:gd name="connsiteX231" fmla="*/ 8763 w 10000"/>
                <a:gd name="connsiteY231" fmla="*/ 2548 h 10000"/>
                <a:gd name="connsiteX232" fmla="*/ 8815 w 10000"/>
                <a:gd name="connsiteY232" fmla="*/ 2548 h 10000"/>
                <a:gd name="connsiteX233" fmla="*/ 8789 w 10000"/>
                <a:gd name="connsiteY233" fmla="*/ 2457 h 10000"/>
                <a:gd name="connsiteX234" fmla="*/ 8798 w 10000"/>
                <a:gd name="connsiteY234" fmla="*/ 2467 h 10000"/>
                <a:gd name="connsiteX235" fmla="*/ 8841 w 10000"/>
                <a:gd name="connsiteY235" fmla="*/ 2457 h 10000"/>
                <a:gd name="connsiteX236" fmla="*/ 8855 w 10000"/>
                <a:gd name="connsiteY236" fmla="*/ 2341 h 10000"/>
                <a:gd name="connsiteX237" fmla="*/ 8898 w 10000"/>
                <a:gd name="connsiteY237" fmla="*/ 2332 h 10000"/>
                <a:gd name="connsiteX238" fmla="*/ 8946 w 10000"/>
                <a:gd name="connsiteY238" fmla="*/ 2330 h 10000"/>
                <a:gd name="connsiteX239" fmla="*/ 8946 w 10000"/>
                <a:gd name="connsiteY239" fmla="*/ 2361 h 10000"/>
                <a:gd name="connsiteX240" fmla="*/ 8994 w 10000"/>
                <a:gd name="connsiteY240" fmla="*/ 2389 h 10000"/>
                <a:gd name="connsiteX241" fmla="*/ 9051 w 10000"/>
                <a:gd name="connsiteY241" fmla="*/ 2400 h 10000"/>
                <a:gd name="connsiteX242" fmla="*/ 9094 w 10000"/>
                <a:gd name="connsiteY242" fmla="*/ 2324 h 10000"/>
                <a:gd name="connsiteX243" fmla="*/ 9164 w 10000"/>
                <a:gd name="connsiteY243" fmla="*/ 2347 h 10000"/>
                <a:gd name="connsiteX244" fmla="*/ 9247 w 10000"/>
                <a:gd name="connsiteY244" fmla="*/ 2402 h 10000"/>
                <a:gd name="connsiteX245" fmla="*/ 9286 w 10000"/>
                <a:gd name="connsiteY245" fmla="*/ 2400 h 10000"/>
                <a:gd name="connsiteX246" fmla="*/ 9355 w 10000"/>
                <a:gd name="connsiteY246" fmla="*/ 2428 h 10000"/>
                <a:gd name="connsiteX247" fmla="*/ 9408 w 10000"/>
                <a:gd name="connsiteY247" fmla="*/ 2359 h 10000"/>
                <a:gd name="connsiteX248" fmla="*/ 9717 w 10000"/>
                <a:gd name="connsiteY248" fmla="*/ 2343 h 10000"/>
                <a:gd name="connsiteX249" fmla="*/ 9830 w 10000"/>
                <a:gd name="connsiteY249" fmla="*/ 2369 h 10000"/>
                <a:gd name="connsiteX250" fmla="*/ 9909 w 10000"/>
                <a:gd name="connsiteY250" fmla="*/ 2410 h 10000"/>
                <a:gd name="connsiteX251" fmla="*/ 9948 w 10000"/>
                <a:gd name="connsiteY251" fmla="*/ 2365 h 10000"/>
                <a:gd name="connsiteX252" fmla="*/ 10000 w 10000"/>
                <a:gd name="connsiteY252" fmla="*/ 2349 h 10000"/>
                <a:gd name="connsiteX253" fmla="*/ 9704 w 10000"/>
                <a:gd name="connsiteY253" fmla="*/ 1992 h 10000"/>
                <a:gd name="connsiteX254" fmla="*/ 9743 w 10000"/>
                <a:gd name="connsiteY254" fmla="*/ 1897 h 10000"/>
                <a:gd name="connsiteX255" fmla="*/ 9830 w 10000"/>
                <a:gd name="connsiteY255" fmla="*/ 1819 h 10000"/>
                <a:gd name="connsiteX256" fmla="*/ 9830 w 10000"/>
                <a:gd name="connsiteY256" fmla="*/ 1699 h 10000"/>
                <a:gd name="connsiteX257" fmla="*/ 9556 w 10000"/>
                <a:gd name="connsiteY257" fmla="*/ 1465 h 10000"/>
                <a:gd name="connsiteX258" fmla="*/ 9512 w 10000"/>
                <a:gd name="connsiteY258" fmla="*/ 1379 h 10000"/>
                <a:gd name="connsiteX259" fmla="*/ 9573 w 10000"/>
                <a:gd name="connsiteY259" fmla="*/ 1271 h 10000"/>
                <a:gd name="connsiteX260" fmla="*/ 9543 w 10000"/>
                <a:gd name="connsiteY260" fmla="*/ 1194 h 10000"/>
                <a:gd name="connsiteX261" fmla="*/ 9486 w 10000"/>
                <a:gd name="connsiteY261" fmla="*/ 1159 h 10000"/>
                <a:gd name="connsiteX262" fmla="*/ 9438 w 10000"/>
                <a:gd name="connsiteY262" fmla="*/ 978 h 10000"/>
                <a:gd name="connsiteX263" fmla="*/ 9495 w 10000"/>
                <a:gd name="connsiteY263" fmla="*/ 831 h 10000"/>
                <a:gd name="connsiteX264" fmla="*/ 9077 w 10000"/>
                <a:gd name="connsiteY264" fmla="*/ 517 h 10000"/>
                <a:gd name="connsiteX265" fmla="*/ 8872 w 10000"/>
                <a:gd name="connsiteY265" fmla="*/ 440 h 10000"/>
                <a:gd name="connsiteX266" fmla="*/ 8493 w 10000"/>
                <a:gd name="connsiteY266" fmla="*/ 389 h 10000"/>
                <a:gd name="connsiteX267" fmla="*/ 7709 w 10000"/>
                <a:gd name="connsiteY267" fmla="*/ 26 h 10000"/>
                <a:gd name="connsiteX268" fmla="*/ 7683 w 10000"/>
                <a:gd name="connsiteY268" fmla="*/ 2 h 10000"/>
                <a:gd name="connsiteX269" fmla="*/ 7417 w 10000"/>
                <a:gd name="connsiteY269" fmla="*/ 0 h 10000"/>
                <a:gd name="connsiteX270" fmla="*/ 7356 w 10000"/>
                <a:gd name="connsiteY270" fmla="*/ 14 h 10000"/>
                <a:gd name="connsiteX271" fmla="*/ 7369 w 10000"/>
                <a:gd name="connsiteY271" fmla="*/ 61 h 10000"/>
                <a:gd name="connsiteX272" fmla="*/ 7422 w 10000"/>
                <a:gd name="connsiteY272" fmla="*/ 86 h 10000"/>
                <a:gd name="connsiteX273" fmla="*/ 7435 w 10000"/>
                <a:gd name="connsiteY273" fmla="*/ 139 h 10000"/>
                <a:gd name="connsiteX274" fmla="*/ 7417 w 10000"/>
                <a:gd name="connsiteY274" fmla="*/ 181 h 10000"/>
                <a:gd name="connsiteX275" fmla="*/ 7369 w 10000"/>
                <a:gd name="connsiteY275" fmla="*/ 208 h 10000"/>
                <a:gd name="connsiteX276" fmla="*/ 7334 w 10000"/>
                <a:gd name="connsiteY276" fmla="*/ 283 h 10000"/>
                <a:gd name="connsiteX277" fmla="*/ 7269 w 10000"/>
                <a:gd name="connsiteY277" fmla="*/ 336 h 10000"/>
                <a:gd name="connsiteX278" fmla="*/ 7282 w 10000"/>
                <a:gd name="connsiteY278" fmla="*/ 387 h 10000"/>
                <a:gd name="connsiteX279" fmla="*/ 7382 w 10000"/>
                <a:gd name="connsiteY279" fmla="*/ 434 h 10000"/>
                <a:gd name="connsiteX280" fmla="*/ 7317 w 10000"/>
                <a:gd name="connsiteY280" fmla="*/ 475 h 10000"/>
                <a:gd name="connsiteX281" fmla="*/ 7221 w 10000"/>
                <a:gd name="connsiteY281" fmla="*/ 485 h 10000"/>
                <a:gd name="connsiteX282" fmla="*/ 6420 w 10000"/>
                <a:gd name="connsiteY282" fmla="*/ 387 h 10000"/>
                <a:gd name="connsiteX283" fmla="*/ 6324 w 10000"/>
                <a:gd name="connsiteY283" fmla="*/ 395 h 10000"/>
                <a:gd name="connsiteX284" fmla="*/ 6267 w 10000"/>
                <a:gd name="connsiteY284" fmla="*/ 414 h 10000"/>
                <a:gd name="connsiteX285" fmla="*/ 6211 w 10000"/>
                <a:gd name="connsiteY285" fmla="*/ 462 h 10000"/>
                <a:gd name="connsiteX286" fmla="*/ 6220 w 10000"/>
                <a:gd name="connsiteY286" fmla="*/ 581 h 10000"/>
                <a:gd name="connsiteX287" fmla="*/ 6132 w 10000"/>
                <a:gd name="connsiteY287" fmla="*/ 735 h 10000"/>
                <a:gd name="connsiteX288" fmla="*/ 6024 w 10000"/>
                <a:gd name="connsiteY288" fmla="*/ 815 h 10000"/>
                <a:gd name="connsiteX289" fmla="*/ 5980 w 10000"/>
                <a:gd name="connsiteY289" fmla="*/ 805 h 10000"/>
                <a:gd name="connsiteX290" fmla="*/ 5880 w 10000"/>
                <a:gd name="connsiteY290" fmla="*/ 739 h 10000"/>
                <a:gd name="connsiteX291" fmla="*/ 5753 w 10000"/>
                <a:gd name="connsiteY291" fmla="*/ 705 h 10000"/>
                <a:gd name="connsiteX292" fmla="*/ 5618 w 10000"/>
                <a:gd name="connsiteY292" fmla="*/ 715 h 10000"/>
                <a:gd name="connsiteX293" fmla="*/ 5301 w 10000"/>
                <a:gd name="connsiteY293" fmla="*/ 866 h 10000"/>
                <a:gd name="connsiteX294" fmla="*/ 5218 w 10000"/>
                <a:gd name="connsiteY294" fmla="*/ 1017 h 10000"/>
                <a:gd name="connsiteX295" fmla="*/ 4978 w 10000"/>
                <a:gd name="connsiteY295" fmla="*/ 1153 h 10000"/>
                <a:gd name="connsiteX296" fmla="*/ 4935 w 10000"/>
                <a:gd name="connsiteY296" fmla="*/ 1222 h 10000"/>
                <a:gd name="connsiteX297" fmla="*/ 5061 w 10000"/>
                <a:gd name="connsiteY297" fmla="*/ 1344 h 10000"/>
                <a:gd name="connsiteX298" fmla="*/ 5074 w 10000"/>
                <a:gd name="connsiteY298" fmla="*/ 1412 h 10000"/>
                <a:gd name="connsiteX299" fmla="*/ 4421 w 10000"/>
                <a:gd name="connsiteY299" fmla="*/ 1813 h 10000"/>
                <a:gd name="connsiteX300" fmla="*/ 4220 w 10000"/>
                <a:gd name="connsiteY300" fmla="*/ 2070 h 10000"/>
                <a:gd name="connsiteX301" fmla="*/ 4003 w 10000"/>
                <a:gd name="connsiteY301" fmla="*/ 2135 h 10000"/>
                <a:gd name="connsiteX302" fmla="*/ 3868 w 10000"/>
                <a:gd name="connsiteY302" fmla="*/ 2131 h 10000"/>
                <a:gd name="connsiteX303" fmla="*/ 3785 w 10000"/>
                <a:gd name="connsiteY303" fmla="*/ 2153 h 10000"/>
                <a:gd name="connsiteX304" fmla="*/ 3558 w 10000"/>
                <a:gd name="connsiteY304" fmla="*/ 2793 h 10000"/>
                <a:gd name="connsiteX305" fmla="*/ 3036 w 10000"/>
                <a:gd name="connsiteY305" fmla="*/ 3166 h 10000"/>
                <a:gd name="connsiteX306" fmla="*/ 3040 w 10000"/>
                <a:gd name="connsiteY306" fmla="*/ 3225 h 10000"/>
                <a:gd name="connsiteX307" fmla="*/ 3271 w 10000"/>
                <a:gd name="connsiteY307" fmla="*/ 3392 h 10000"/>
                <a:gd name="connsiteX308" fmla="*/ 3197 w 10000"/>
                <a:gd name="connsiteY308" fmla="*/ 3573 h 10000"/>
                <a:gd name="connsiteX309" fmla="*/ 3062 w 10000"/>
                <a:gd name="connsiteY309" fmla="*/ 3640 h 10000"/>
                <a:gd name="connsiteX310" fmla="*/ 2657 w 10000"/>
                <a:gd name="connsiteY310" fmla="*/ 3595 h 10000"/>
                <a:gd name="connsiteX311" fmla="*/ 2378 w 10000"/>
                <a:gd name="connsiteY311" fmla="*/ 3620 h 10000"/>
                <a:gd name="connsiteX312" fmla="*/ 2152 w 10000"/>
                <a:gd name="connsiteY312" fmla="*/ 3673 h 10000"/>
                <a:gd name="connsiteX313" fmla="*/ 1790 w 10000"/>
                <a:gd name="connsiteY313" fmla="*/ 3840 h 10000"/>
                <a:gd name="connsiteX314" fmla="*/ 1598 w 10000"/>
                <a:gd name="connsiteY314" fmla="*/ 4042 h 10000"/>
                <a:gd name="connsiteX315" fmla="*/ 1616 w 10000"/>
                <a:gd name="connsiteY315" fmla="*/ 4154 h 10000"/>
                <a:gd name="connsiteX316" fmla="*/ 1681 w 10000"/>
                <a:gd name="connsiteY316" fmla="*/ 4241 h 10000"/>
                <a:gd name="connsiteX317" fmla="*/ 1733 w 10000"/>
                <a:gd name="connsiteY317" fmla="*/ 4276 h 10000"/>
                <a:gd name="connsiteX318" fmla="*/ 1638 w 10000"/>
                <a:gd name="connsiteY318" fmla="*/ 4331 h 10000"/>
                <a:gd name="connsiteX319" fmla="*/ 1433 w 10000"/>
                <a:gd name="connsiteY319" fmla="*/ 4710 h 10000"/>
                <a:gd name="connsiteX320" fmla="*/ 1472 w 10000"/>
                <a:gd name="connsiteY320" fmla="*/ 4732 h 10000"/>
                <a:gd name="connsiteX321" fmla="*/ 1503 w 10000"/>
                <a:gd name="connsiteY321" fmla="*/ 4828 h 10000"/>
                <a:gd name="connsiteX322" fmla="*/ 1407 w 10000"/>
                <a:gd name="connsiteY322" fmla="*/ 5227 h 10000"/>
                <a:gd name="connsiteX323" fmla="*/ 1503 w 10000"/>
                <a:gd name="connsiteY323" fmla="*/ 5329 h 10000"/>
                <a:gd name="connsiteX324" fmla="*/ 1764 w 10000"/>
                <a:gd name="connsiteY324" fmla="*/ 5441 h 10000"/>
                <a:gd name="connsiteX325" fmla="*/ 1777 w 10000"/>
                <a:gd name="connsiteY325" fmla="*/ 5578 h 10000"/>
                <a:gd name="connsiteX326" fmla="*/ 1664 w 10000"/>
                <a:gd name="connsiteY326" fmla="*/ 5690 h 10000"/>
                <a:gd name="connsiteX327" fmla="*/ 1503 w 10000"/>
                <a:gd name="connsiteY327" fmla="*/ 5759 h 10000"/>
                <a:gd name="connsiteX328" fmla="*/ 1289 w 10000"/>
                <a:gd name="connsiteY328" fmla="*/ 5787 h 10000"/>
                <a:gd name="connsiteX329" fmla="*/ 1233 w 10000"/>
                <a:gd name="connsiteY329" fmla="*/ 5826 h 10000"/>
                <a:gd name="connsiteX330" fmla="*/ 1359 w 10000"/>
                <a:gd name="connsiteY330" fmla="*/ 5920 h 10000"/>
                <a:gd name="connsiteX331" fmla="*/ 1429 w 10000"/>
                <a:gd name="connsiteY331" fmla="*/ 6142 h 10000"/>
                <a:gd name="connsiteX332" fmla="*/ 1267 w 10000"/>
                <a:gd name="connsiteY332" fmla="*/ 6333 h 10000"/>
                <a:gd name="connsiteX333" fmla="*/ 1324 w 10000"/>
                <a:gd name="connsiteY333" fmla="*/ 6392 h 10000"/>
                <a:gd name="connsiteX334" fmla="*/ 1272 w 10000"/>
                <a:gd name="connsiteY334" fmla="*/ 6492 h 10000"/>
                <a:gd name="connsiteX335" fmla="*/ 1167 w 10000"/>
                <a:gd name="connsiteY335" fmla="*/ 6561 h 10000"/>
                <a:gd name="connsiteX336" fmla="*/ 758 w 10000"/>
                <a:gd name="connsiteY336" fmla="*/ 6614 h 10000"/>
                <a:gd name="connsiteX337" fmla="*/ 732 w 10000"/>
                <a:gd name="connsiteY337" fmla="*/ 6706 h 10000"/>
                <a:gd name="connsiteX338" fmla="*/ 510 w 10000"/>
                <a:gd name="connsiteY338" fmla="*/ 6843 h 10000"/>
                <a:gd name="connsiteX339" fmla="*/ 540 w 10000"/>
                <a:gd name="connsiteY339" fmla="*/ 7040 h 10000"/>
                <a:gd name="connsiteX340" fmla="*/ 353 w 10000"/>
                <a:gd name="connsiteY340" fmla="*/ 7293 h 10000"/>
                <a:gd name="connsiteX341" fmla="*/ 226 w 10000"/>
                <a:gd name="connsiteY341" fmla="*/ 7323 h 10000"/>
                <a:gd name="connsiteX342" fmla="*/ 174 w 10000"/>
                <a:gd name="connsiteY342" fmla="*/ 7262 h 10000"/>
                <a:gd name="connsiteX343" fmla="*/ 109 w 10000"/>
                <a:gd name="connsiteY343" fmla="*/ 7354 h 10000"/>
                <a:gd name="connsiteX344" fmla="*/ 152 w 10000"/>
                <a:gd name="connsiteY344" fmla="*/ 7197 h 10000"/>
                <a:gd name="connsiteX345" fmla="*/ 126 w 10000"/>
                <a:gd name="connsiteY345"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145 w 10000"/>
                <a:gd name="connsiteY207" fmla="*/ 3267 h 10000"/>
                <a:gd name="connsiteX208" fmla="*/ 8123 w 10000"/>
                <a:gd name="connsiteY208" fmla="*/ 3229 h 10000"/>
                <a:gd name="connsiteX209" fmla="*/ 8153 w 10000"/>
                <a:gd name="connsiteY209" fmla="*/ 3219 h 10000"/>
                <a:gd name="connsiteX210" fmla="*/ 8075 w 10000"/>
                <a:gd name="connsiteY210" fmla="*/ 3147 h 10000"/>
                <a:gd name="connsiteX211" fmla="*/ 8079 w 10000"/>
                <a:gd name="connsiteY211" fmla="*/ 3127 h 10000"/>
                <a:gd name="connsiteX212" fmla="*/ 8132 w 10000"/>
                <a:gd name="connsiteY212" fmla="*/ 3100 h 10000"/>
                <a:gd name="connsiteX213" fmla="*/ 8145 w 10000"/>
                <a:gd name="connsiteY213" fmla="*/ 3064 h 10000"/>
                <a:gd name="connsiteX214" fmla="*/ 8258 w 10000"/>
                <a:gd name="connsiteY214" fmla="*/ 3037 h 10000"/>
                <a:gd name="connsiteX215" fmla="*/ 8380 w 10000"/>
                <a:gd name="connsiteY215" fmla="*/ 2860 h 10000"/>
                <a:gd name="connsiteX216" fmla="*/ 8253 w 10000"/>
                <a:gd name="connsiteY216" fmla="*/ 2762 h 10000"/>
                <a:gd name="connsiteX217" fmla="*/ 8267 w 10000"/>
                <a:gd name="connsiteY217" fmla="*/ 2748 h 10000"/>
                <a:gd name="connsiteX218" fmla="*/ 8397 w 10000"/>
                <a:gd name="connsiteY218" fmla="*/ 2705 h 10000"/>
                <a:gd name="connsiteX219" fmla="*/ 8402 w 10000"/>
                <a:gd name="connsiteY219" fmla="*/ 2662 h 10000"/>
                <a:gd name="connsiteX220" fmla="*/ 8449 w 10000"/>
                <a:gd name="connsiteY220" fmla="*/ 2656 h 10000"/>
                <a:gd name="connsiteX221" fmla="*/ 8558 w 10000"/>
                <a:gd name="connsiteY221" fmla="*/ 2677 h 10000"/>
                <a:gd name="connsiteX222" fmla="*/ 8593 w 10000"/>
                <a:gd name="connsiteY222" fmla="*/ 2669 h 10000"/>
                <a:gd name="connsiteX223" fmla="*/ 8606 w 10000"/>
                <a:gd name="connsiteY223" fmla="*/ 2630 h 10000"/>
                <a:gd name="connsiteX224" fmla="*/ 8567 w 10000"/>
                <a:gd name="connsiteY224" fmla="*/ 2605 h 10000"/>
                <a:gd name="connsiteX225" fmla="*/ 8685 w 10000"/>
                <a:gd name="connsiteY225" fmla="*/ 2597 h 10000"/>
                <a:gd name="connsiteX226" fmla="*/ 8698 w 10000"/>
                <a:gd name="connsiteY226" fmla="*/ 2565 h 10000"/>
                <a:gd name="connsiteX227" fmla="*/ 8558 w 10000"/>
                <a:gd name="connsiteY227" fmla="*/ 2481 h 10000"/>
                <a:gd name="connsiteX228" fmla="*/ 8558 w 10000"/>
                <a:gd name="connsiteY228" fmla="*/ 2459 h 10000"/>
                <a:gd name="connsiteX229" fmla="*/ 8698 w 10000"/>
                <a:gd name="connsiteY229" fmla="*/ 2504 h 10000"/>
                <a:gd name="connsiteX230" fmla="*/ 8763 w 10000"/>
                <a:gd name="connsiteY230" fmla="*/ 2548 h 10000"/>
                <a:gd name="connsiteX231" fmla="*/ 8815 w 10000"/>
                <a:gd name="connsiteY231" fmla="*/ 2548 h 10000"/>
                <a:gd name="connsiteX232" fmla="*/ 8789 w 10000"/>
                <a:gd name="connsiteY232" fmla="*/ 2457 h 10000"/>
                <a:gd name="connsiteX233" fmla="*/ 8798 w 10000"/>
                <a:gd name="connsiteY233" fmla="*/ 2467 h 10000"/>
                <a:gd name="connsiteX234" fmla="*/ 8841 w 10000"/>
                <a:gd name="connsiteY234" fmla="*/ 2457 h 10000"/>
                <a:gd name="connsiteX235" fmla="*/ 8855 w 10000"/>
                <a:gd name="connsiteY235" fmla="*/ 2341 h 10000"/>
                <a:gd name="connsiteX236" fmla="*/ 8898 w 10000"/>
                <a:gd name="connsiteY236" fmla="*/ 2332 h 10000"/>
                <a:gd name="connsiteX237" fmla="*/ 8946 w 10000"/>
                <a:gd name="connsiteY237" fmla="*/ 2330 h 10000"/>
                <a:gd name="connsiteX238" fmla="*/ 8946 w 10000"/>
                <a:gd name="connsiteY238" fmla="*/ 2361 h 10000"/>
                <a:gd name="connsiteX239" fmla="*/ 8994 w 10000"/>
                <a:gd name="connsiteY239" fmla="*/ 2389 h 10000"/>
                <a:gd name="connsiteX240" fmla="*/ 9051 w 10000"/>
                <a:gd name="connsiteY240" fmla="*/ 2400 h 10000"/>
                <a:gd name="connsiteX241" fmla="*/ 9094 w 10000"/>
                <a:gd name="connsiteY241" fmla="*/ 2324 h 10000"/>
                <a:gd name="connsiteX242" fmla="*/ 9164 w 10000"/>
                <a:gd name="connsiteY242" fmla="*/ 2347 h 10000"/>
                <a:gd name="connsiteX243" fmla="*/ 9247 w 10000"/>
                <a:gd name="connsiteY243" fmla="*/ 2402 h 10000"/>
                <a:gd name="connsiteX244" fmla="*/ 9286 w 10000"/>
                <a:gd name="connsiteY244" fmla="*/ 2400 h 10000"/>
                <a:gd name="connsiteX245" fmla="*/ 9355 w 10000"/>
                <a:gd name="connsiteY245" fmla="*/ 2428 h 10000"/>
                <a:gd name="connsiteX246" fmla="*/ 9408 w 10000"/>
                <a:gd name="connsiteY246" fmla="*/ 2359 h 10000"/>
                <a:gd name="connsiteX247" fmla="*/ 9717 w 10000"/>
                <a:gd name="connsiteY247" fmla="*/ 2343 h 10000"/>
                <a:gd name="connsiteX248" fmla="*/ 9830 w 10000"/>
                <a:gd name="connsiteY248" fmla="*/ 2369 h 10000"/>
                <a:gd name="connsiteX249" fmla="*/ 9909 w 10000"/>
                <a:gd name="connsiteY249" fmla="*/ 2410 h 10000"/>
                <a:gd name="connsiteX250" fmla="*/ 9948 w 10000"/>
                <a:gd name="connsiteY250" fmla="*/ 2365 h 10000"/>
                <a:gd name="connsiteX251" fmla="*/ 10000 w 10000"/>
                <a:gd name="connsiteY251" fmla="*/ 2349 h 10000"/>
                <a:gd name="connsiteX252" fmla="*/ 9704 w 10000"/>
                <a:gd name="connsiteY252" fmla="*/ 1992 h 10000"/>
                <a:gd name="connsiteX253" fmla="*/ 9743 w 10000"/>
                <a:gd name="connsiteY253" fmla="*/ 1897 h 10000"/>
                <a:gd name="connsiteX254" fmla="*/ 9830 w 10000"/>
                <a:gd name="connsiteY254" fmla="*/ 1819 h 10000"/>
                <a:gd name="connsiteX255" fmla="*/ 9830 w 10000"/>
                <a:gd name="connsiteY255" fmla="*/ 1699 h 10000"/>
                <a:gd name="connsiteX256" fmla="*/ 9556 w 10000"/>
                <a:gd name="connsiteY256" fmla="*/ 1465 h 10000"/>
                <a:gd name="connsiteX257" fmla="*/ 9512 w 10000"/>
                <a:gd name="connsiteY257" fmla="*/ 1379 h 10000"/>
                <a:gd name="connsiteX258" fmla="*/ 9573 w 10000"/>
                <a:gd name="connsiteY258" fmla="*/ 1271 h 10000"/>
                <a:gd name="connsiteX259" fmla="*/ 9543 w 10000"/>
                <a:gd name="connsiteY259" fmla="*/ 1194 h 10000"/>
                <a:gd name="connsiteX260" fmla="*/ 9486 w 10000"/>
                <a:gd name="connsiteY260" fmla="*/ 1159 h 10000"/>
                <a:gd name="connsiteX261" fmla="*/ 9438 w 10000"/>
                <a:gd name="connsiteY261" fmla="*/ 978 h 10000"/>
                <a:gd name="connsiteX262" fmla="*/ 9495 w 10000"/>
                <a:gd name="connsiteY262" fmla="*/ 831 h 10000"/>
                <a:gd name="connsiteX263" fmla="*/ 9077 w 10000"/>
                <a:gd name="connsiteY263" fmla="*/ 517 h 10000"/>
                <a:gd name="connsiteX264" fmla="*/ 8872 w 10000"/>
                <a:gd name="connsiteY264" fmla="*/ 440 h 10000"/>
                <a:gd name="connsiteX265" fmla="*/ 8493 w 10000"/>
                <a:gd name="connsiteY265" fmla="*/ 389 h 10000"/>
                <a:gd name="connsiteX266" fmla="*/ 7709 w 10000"/>
                <a:gd name="connsiteY266" fmla="*/ 26 h 10000"/>
                <a:gd name="connsiteX267" fmla="*/ 7683 w 10000"/>
                <a:gd name="connsiteY267" fmla="*/ 2 h 10000"/>
                <a:gd name="connsiteX268" fmla="*/ 7417 w 10000"/>
                <a:gd name="connsiteY268" fmla="*/ 0 h 10000"/>
                <a:gd name="connsiteX269" fmla="*/ 7356 w 10000"/>
                <a:gd name="connsiteY269" fmla="*/ 14 h 10000"/>
                <a:gd name="connsiteX270" fmla="*/ 7369 w 10000"/>
                <a:gd name="connsiteY270" fmla="*/ 61 h 10000"/>
                <a:gd name="connsiteX271" fmla="*/ 7422 w 10000"/>
                <a:gd name="connsiteY271" fmla="*/ 86 h 10000"/>
                <a:gd name="connsiteX272" fmla="*/ 7435 w 10000"/>
                <a:gd name="connsiteY272" fmla="*/ 139 h 10000"/>
                <a:gd name="connsiteX273" fmla="*/ 7417 w 10000"/>
                <a:gd name="connsiteY273" fmla="*/ 181 h 10000"/>
                <a:gd name="connsiteX274" fmla="*/ 7369 w 10000"/>
                <a:gd name="connsiteY274" fmla="*/ 208 h 10000"/>
                <a:gd name="connsiteX275" fmla="*/ 7334 w 10000"/>
                <a:gd name="connsiteY275" fmla="*/ 283 h 10000"/>
                <a:gd name="connsiteX276" fmla="*/ 7269 w 10000"/>
                <a:gd name="connsiteY276" fmla="*/ 336 h 10000"/>
                <a:gd name="connsiteX277" fmla="*/ 7282 w 10000"/>
                <a:gd name="connsiteY277" fmla="*/ 387 h 10000"/>
                <a:gd name="connsiteX278" fmla="*/ 7382 w 10000"/>
                <a:gd name="connsiteY278" fmla="*/ 434 h 10000"/>
                <a:gd name="connsiteX279" fmla="*/ 7317 w 10000"/>
                <a:gd name="connsiteY279" fmla="*/ 475 h 10000"/>
                <a:gd name="connsiteX280" fmla="*/ 7221 w 10000"/>
                <a:gd name="connsiteY280" fmla="*/ 485 h 10000"/>
                <a:gd name="connsiteX281" fmla="*/ 6420 w 10000"/>
                <a:gd name="connsiteY281" fmla="*/ 387 h 10000"/>
                <a:gd name="connsiteX282" fmla="*/ 6324 w 10000"/>
                <a:gd name="connsiteY282" fmla="*/ 395 h 10000"/>
                <a:gd name="connsiteX283" fmla="*/ 6267 w 10000"/>
                <a:gd name="connsiteY283" fmla="*/ 414 h 10000"/>
                <a:gd name="connsiteX284" fmla="*/ 6211 w 10000"/>
                <a:gd name="connsiteY284" fmla="*/ 462 h 10000"/>
                <a:gd name="connsiteX285" fmla="*/ 6220 w 10000"/>
                <a:gd name="connsiteY285" fmla="*/ 581 h 10000"/>
                <a:gd name="connsiteX286" fmla="*/ 6132 w 10000"/>
                <a:gd name="connsiteY286" fmla="*/ 735 h 10000"/>
                <a:gd name="connsiteX287" fmla="*/ 6024 w 10000"/>
                <a:gd name="connsiteY287" fmla="*/ 815 h 10000"/>
                <a:gd name="connsiteX288" fmla="*/ 5980 w 10000"/>
                <a:gd name="connsiteY288" fmla="*/ 805 h 10000"/>
                <a:gd name="connsiteX289" fmla="*/ 5880 w 10000"/>
                <a:gd name="connsiteY289" fmla="*/ 739 h 10000"/>
                <a:gd name="connsiteX290" fmla="*/ 5753 w 10000"/>
                <a:gd name="connsiteY290" fmla="*/ 705 h 10000"/>
                <a:gd name="connsiteX291" fmla="*/ 5618 w 10000"/>
                <a:gd name="connsiteY291" fmla="*/ 715 h 10000"/>
                <a:gd name="connsiteX292" fmla="*/ 5301 w 10000"/>
                <a:gd name="connsiteY292" fmla="*/ 866 h 10000"/>
                <a:gd name="connsiteX293" fmla="*/ 5218 w 10000"/>
                <a:gd name="connsiteY293" fmla="*/ 1017 h 10000"/>
                <a:gd name="connsiteX294" fmla="*/ 4978 w 10000"/>
                <a:gd name="connsiteY294" fmla="*/ 1153 h 10000"/>
                <a:gd name="connsiteX295" fmla="*/ 4935 w 10000"/>
                <a:gd name="connsiteY295" fmla="*/ 1222 h 10000"/>
                <a:gd name="connsiteX296" fmla="*/ 5061 w 10000"/>
                <a:gd name="connsiteY296" fmla="*/ 1344 h 10000"/>
                <a:gd name="connsiteX297" fmla="*/ 5074 w 10000"/>
                <a:gd name="connsiteY297" fmla="*/ 1412 h 10000"/>
                <a:gd name="connsiteX298" fmla="*/ 4421 w 10000"/>
                <a:gd name="connsiteY298" fmla="*/ 1813 h 10000"/>
                <a:gd name="connsiteX299" fmla="*/ 4220 w 10000"/>
                <a:gd name="connsiteY299" fmla="*/ 2070 h 10000"/>
                <a:gd name="connsiteX300" fmla="*/ 4003 w 10000"/>
                <a:gd name="connsiteY300" fmla="*/ 2135 h 10000"/>
                <a:gd name="connsiteX301" fmla="*/ 3868 w 10000"/>
                <a:gd name="connsiteY301" fmla="*/ 2131 h 10000"/>
                <a:gd name="connsiteX302" fmla="*/ 3785 w 10000"/>
                <a:gd name="connsiteY302" fmla="*/ 2153 h 10000"/>
                <a:gd name="connsiteX303" fmla="*/ 3558 w 10000"/>
                <a:gd name="connsiteY303" fmla="*/ 2793 h 10000"/>
                <a:gd name="connsiteX304" fmla="*/ 3036 w 10000"/>
                <a:gd name="connsiteY304" fmla="*/ 3166 h 10000"/>
                <a:gd name="connsiteX305" fmla="*/ 3040 w 10000"/>
                <a:gd name="connsiteY305" fmla="*/ 3225 h 10000"/>
                <a:gd name="connsiteX306" fmla="*/ 3271 w 10000"/>
                <a:gd name="connsiteY306" fmla="*/ 3392 h 10000"/>
                <a:gd name="connsiteX307" fmla="*/ 3197 w 10000"/>
                <a:gd name="connsiteY307" fmla="*/ 3573 h 10000"/>
                <a:gd name="connsiteX308" fmla="*/ 3062 w 10000"/>
                <a:gd name="connsiteY308" fmla="*/ 3640 h 10000"/>
                <a:gd name="connsiteX309" fmla="*/ 2657 w 10000"/>
                <a:gd name="connsiteY309" fmla="*/ 3595 h 10000"/>
                <a:gd name="connsiteX310" fmla="*/ 2378 w 10000"/>
                <a:gd name="connsiteY310" fmla="*/ 3620 h 10000"/>
                <a:gd name="connsiteX311" fmla="*/ 2152 w 10000"/>
                <a:gd name="connsiteY311" fmla="*/ 3673 h 10000"/>
                <a:gd name="connsiteX312" fmla="*/ 1790 w 10000"/>
                <a:gd name="connsiteY312" fmla="*/ 3840 h 10000"/>
                <a:gd name="connsiteX313" fmla="*/ 1598 w 10000"/>
                <a:gd name="connsiteY313" fmla="*/ 4042 h 10000"/>
                <a:gd name="connsiteX314" fmla="*/ 1616 w 10000"/>
                <a:gd name="connsiteY314" fmla="*/ 4154 h 10000"/>
                <a:gd name="connsiteX315" fmla="*/ 1681 w 10000"/>
                <a:gd name="connsiteY315" fmla="*/ 4241 h 10000"/>
                <a:gd name="connsiteX316" fmla="*/ 1733 w 10000"/>
                <a:gd name="connsiteY316" fmla="*/ 4276 h 10000"/>
                <a:gd name="connsiteX317" fmla="*/ 1638 w 10000"/>
                <a:gd name="connsiteY317" fmla="*/ 4331 h 10000"/>
                <a:gd name="connsiteX318" fmla="*/ 1433 w 10000"/>
                <a:gd name="connsiteY318" fmla="*/ 4710 h 10000"/>
                <a:gd name="connsiteX319" fmla="*/ 1472 w 10000"/>
                <a:gd name="connsiteY319" fmla="*/ 4732 h 10000"/>
                <a:gd name="connsiteX320" fmla="*/ 1503 w 10000"/>
                <a:gd name="connsiteY320" fmla="*/ 4828 h 10000"/>
                <a:gd name="connsiteX321" fmla="*/ 1407 w 10000"/>
                <a:gd name="connsiteY321" fmla="*/ 5227 h 10000"/>
                <a:gd name="connsiteX322" fmla="*/ 1503 w 10000"/>
                <a:gd name="connsiteY322" fmla="*/ 5329 h 10000"/>
                <a:gd name="connsiteX323" fmla="*/ 1764 w 10000"/>
                <a:gd name="connsiteY323" fmla="*/ 5441 h 10000"/>
                <a:gd name="connsiteX324" fmla="*/ 1777 w 10000"/>
                <a:gd name="connsiteY324" fmla="*/ 5578 h 10000"/>
                <a:gd name="connsiteX325" fmla="*/ 1664 w 10000"/>
                <a:gd name="connsiteY325" fmla="*/ 5690 h 10000"/>
                <a:gd name="connsiteX326" fmla="*/ 1503 w 10000"/>
                <a:gd name="connsiteY326" fmla="*/ 5759 h 10000"/>
                <a:gd name="connsiteX327" fmla="*/ 1289 w 10000"/>
                <a:gd name="connsiteY327" fmla="*/ 5787 h 10000"/>
                <a:gd name="connsiteX328" fmla="*/ 1233 w 10000"/>
                <a:gd name="connsiteY328" fmla="*/ 5826 h 10000"/>
                <a:gd name="connsiteX329" fmla="*/ 1359 w 10000"/>
                <a:gd name="connsiteY329" fmla="*/ 5920 h 10000"/>
                <a:gd name="connsiteX330" fmla="*/ 1429 w 10000"/>
                <a:gd name="connsiteY330" fmla="*/ 6142 h 10000"/>
                <a:gd name="connsiteX331" fmla="*/ 1267 w 10000"/>
                <a:gd name="connsiteY331" fmla="*/ 6333 h 10000"/>
                <a:gd name="connsiteX332" fmla="*/ 1324 w 10000"/>
                <a:gd name="connsiteY332" fmla="*/ 6392 h 10000"/>
                <a:gd name="connsiteX333" fmla="*/ 1272 w 10000"/>
                <a:gd name="connsiteY333" fmla="*/ 6492 h 10000"/>
                <a:gd name="connsiteX334" fmla="*/ 1167 w 10000"/>
                <a:gd name="connsiteY334" fmla="*/ 6561 h 10000"/>
                <a:gd name="connsiteX335" fmla="*/ 758 w 10000"/>
                <a:gd name="connsiteY335" fmla="*/ 6614 h 10000"/>
                <a:gd name="connsiteX336" fmla="*/ 732 w 10000"/>
                <a:gd name="connsiteY336" fmla="*/ 6706 h 10000"/>
                <a:gd name="connsiteX337" fmla="*/ 510 w 10000"/>
                <a:gd name="connsiteY337" fmla="*/ 6843 h 10000"/>
                <a:gd name="connsiteX338" fmla="*/ 540 w 10000"/>
                <a:gd name="connsiteY338" fmla="*/ 7040 h 10000"/>
                <a:gd name="connsiteX339" fmla="*/ 353 w 10000"/>
                <a:gd name="connsiteY339" fmla="*/ 7293 h 10000"/>
                <a:gd name="connsiteX340" fmla="*/ 226 w 10000"/>
                <a:gd name="connsiteY340" fmla="*/ 7323 h 10000"/>
                <a:gd name="connsiteX341" fmla="*/ 174 w 10000"/>
                <a:gd name="connsiteY341" fmla="*/ 7262 h 10000"/>
                <a:gd name="connsiteX342" fmla="*/ 109 w 10000"/>
                <a:gd name="connsiteY342" fmla="*/ 7354 h 10000"/>
                <a:gd name="connsiteX343" fmla="*/ 152 w 10000"/>
                <a:gd name="connsiteY343" fmla="*/ 7197 h 10000"/>
                <a:gd name="connsiteX344" fmla="*/ 126 w 10000"/>
                <a:gd name="connsiteY344"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145 w 10000"/>
                <a:gd name="connsiteY207" fmla="*/ 3267 h 10000"/>
                <a:gd name="connsiteX208" fmla="*/ 8123 w 10000"/>
                <a:gd name="connsiteY208" fmla="*/ 3229 h 10000"/>
                <a:gd name="connsiteX209" fmla="*/ 8075 w 10000"/>
                <a:gd name="connsiteY209" fmla="*/ 3147 h 10000"/>
                <a:gd name="connsiteX210" fmla="*/ 8079 w 10000"/>
                <a:gd name="connsiteY210" fmla="*/ 3127 h 10000"/>
                <a:gd name="connsiteX211" fmla="*/ 8132 w 10000"/>
                <a:gd name="connsiteY211" fmla="*/ 3100 h 10000"/>
                <a:gd name="connsiteX212" fmla="*/ 8145 w 10000"/>
                <a:gd name="connsiteY212" fmla="*/ 3064 h 10000"/>
                <a:gd name="connsiteX213" fmla="*/ 8258 w 10000"/>
                <a:gd name="connsiteY213" fmla="*/ 3037 h 10000"/>
                <a:gd name="connsiteX214" fmla="*/ 8380 w 10000"/>
                <a:gd name="connsiteY214" fmla="*/ 2860 h 10000"/>
                <a:gd name="connsiteX215" fmla="*/ 8253 w 10000"/>
                <a:gd name="connsiteY215" fmla="*/ 2762 h 10000"/>
                <a:gd name="connsiteX216" fmla="*/ 8267 w 10000"/>
                <a:gd name="connsiteY216" fmla="*/ 2748 h 10000"/>
                <a:gd name="connsiteX217" fmla="*/ 8397 w 10000"/>
                <a:gd name="connsiteY217" fmla="*/ 2705 h 10000"/>
                <a:gd name="connsiteX218" fmla="*/ 8402 w 10000"/>
                <a:gd name="connsiteY218" fmla="*/ 2662 h 10000"/>
                <a:gd name="connsiteX219" fmla="*/ 8449 w 10000"/>
                <a:gd name="connsiteY219" fmla="*/ 2656 h 10000"/>
                <a:gd name="connsiteX220" fmla="*/ 8558 w 10000"/>
                <a:gd name="connsiteY220" fmla="*/ 2677 h 10000"/>
                <a:gd name="connsiteX221" fmla="*/ 8593 w 10000"/>
                <a:gd name="connsiteY221" fmla="*/ 2669 h 10000"/>
                <a:gd name="connsiteX222" fmla="*/ 8606 w 10000"/>
                <a:gd name="connsiteY222" fmla="*/ 2630 h 10000"/>
                <a:gd name="connsiteX223" fmla="*/ 8567 w 10000"/>
                <a:gd name="connsiteY223" fmla="*/ 2605 h 10000"/>
                <a:gd name="connsiteX224" fmla="*/ 8685 w 10000"/>
                <a:gd name="connsiteY224" fmla="*/ 2597 h 10000"/>
                <a:gd name="connsiteX225" fmla="*/ 8698 w 10000"/>
                <a:gd name="connsiteY225" fmla="*/ 2565 h 10000"/>
                <a:gd name="connsiteX226" fmla="*/ 8558 w 10000"/>
                <a:gd name="connsiteY226" fmla="*/ 2481 h 10000"/>
                <a:gd name="connsiteX227" fmla="*/ 8558 w 10000"/>
                <a:gd name="connsiteY227" fmla="*/ 2459 h 10000"/>
                <a:gd name="connsiteX228" fmla="*/ 8698 w 10000"/>
                <a:gd name="connsiteY228" fmla="*/ 2504 h 10000"/>
                <a:gd name="connsiteX229" fmla="*/ 8763 w 10000"/>
                <a:gd name="connsiteY229" fmla="*/ 2548 h 10000"/>
                <a:gd name="connsiteX230" fmla="*/ 8815 w 10000"/>
                <a:gd name="connsiteY230" fmla="*/ 2548 h 10000"/>
                <a:gd name="connsiteX231" fmla="*/ 8789 w 10000"/>
                <a:gd name="connsiteY231" fmla="*/ 2457 h 10000"/>
                <a:gd name="connsiteX232" fmla="*/ 8798 w 10000"/>
                <a:gd name="connsiteY232" fmla="*/ 2467 h 10000"/>
                <a:gd name="connsiteX233" fmla="*/ 8841 w 10000"/>
                <a:gd name="connsiteY233" fmla="*/ 2457 h 10000"/>
                <a:gd name="connsiteX234" fmla="*/ 8855 w 10000"/>
                <a:gd name="connsiteY234" fmla="*/ 2341 h 10000"/>
                <a:gd name="connsiteX235" fmla="*/ 8898 w 10000"/>
                <a:gd name="connsiteY235" fmla="*/ 2332 h 10000"/>
                <a:gd name="connsiteX236" fmla="*/ 8946 w 10000"/>
                <a:gd name="connsiteY236" fmla="*/ 2330 h 10000"/>
                <a:gd name="connsiteX237" fmla="*/ 8946 w 10000"/>
                <a:gd name="connsiteY237" fmla="*/ 2361 h 10000"/>
                <a:gd name="connsiteX238" fmla="*/ 8994 w 10000"/>
                <a:gd name="connsiteY238" fmla="*/ 2389 h 10000"/>
                <a:gd name="connsiteX239" fmla="*/ 9051 w 10000"/>
                <a:gd name="connsiteY239" fmla="*/ 2400 h 10000"/>
                <a:gd name="connsiteX240" fmla="*/ 9094 w 10000"/>
                <a:gd name="connsiteY240" fmla="*/ 2324 h 10000"/>
                <a:gd name="connsiteX241" fmla="*/ 9164 w 10000"/>
                <a:gd name="connsiteY241" fmla="*/ 2347 h 10000"/>
                <a:gd name="connsiteX242" fmla="*/ 9247 w 10000"/>
                <a:gd name="connsiteY242" fmla="*/ 2402 h 10000"/>
                <a:gd name="connsiteX243" fmla="*/ 9286 w 10000"/>
                <a:gd name="connsiteY243" fmla="*/ 2400 h 10000"/>
                <a:gd name="connsiteX244" fmla="*/ 9355 w 10000"/>
                <a:gd name="connsiteY244" fmla="*/ 2428 h 10000"/>
                <a:gd name="connsiteX245" fmla="*/ 9408 w 10000"/>
                <a:gd name="connsiteY245" fmla="*/ 2359 h 10000"/>
                <a:gd name="connsiteX246" fmla="*/ 9717 w 10000"/>
                <a:gd name="connsiteY246" fmla="*/ 2343 h 10000"/>
                <a:gd name="connsiteX247" fmla="*/ 9830 w 10000"/>
                <a:gd name="connsiteY247" fmla="*/ 2369 h 10000"/>
                <a:gd name="connsiteX248" fmla="*/ 9909 w 10000"/>
                <a:gd name="connsiteY248" fmla="*/ 2410 h 10000"/>
                <a:gd name="connsiteX249" fmla="*/ 9948 w 10000"/>
                <a:gd name="connsiteY249" fmla="*/ 2365 h 10000"/>
                <a:gd name="connsiteX250" fmla="*/ 10000 w 10000"/>
                <a:gd name="connsiteY250" fmla="*/ 2349 h 10000"/>
                <a:gd name="connsiteX251" fmla="*/ 9704 w 10000"/>
                <a:gd name="connsiteY251" fmla="*/ 1992 h 10000"/>
                <a:gd name="connsiteX252" fmla="*/ 9743 w 10000"/>
                <a:gd name="connsiteY252" fmla="*/ 1897 h 10000"/>
                <a:gd name="connsiteX253" fmla="*/ 9830 w 10000"/>
                <a:gd name="connsiteY253" fmla="*/ 1819 h 10000"/>
                <a:gd name="connsiteX254" fmla="*/ 9830 w 10000"/>
                <a:gd name="connsiteY254" fmla="*/ 1699 h 10000"/>
                <a:gd name="connsiteX255" fmla="*/ 9556 w 10000"/>
                <a:gd name="connsiteY255" fmla="*/ 1465 h 10000"/>
                <a:gd name="connsiteX256" fmla="*/ 9512 w 10000"/>
                <a:gd name="connsiteY256" fmla="*/ 1379 h 10000"/>
                <a:gd name="connsiteX257" fmla="*/ 9573 w 10000"/>
                <a:gd name="connsiteY257" fmla="*/ 1271 h 10000"/>
                <a:gd name="connsiteX258" fmla="*/ 9543 w 10000"/>
                <a:gd name="connsiteY258" fmla="*/ 1194 h 10000"/>
                <a:gd name="connsiteX259" fmla="*/ 9486 w 10000"/>
                <a:gd name="connsiteY259" fmla="*/ 1159 h 10000"/>
                <a:gd name="connsiteX260" fmla="*/ 9438 w 10000"/>
                <a:gd name="connsiteY260" fmla="*/ 978 h 10000"/>
                <a:gd name="connsiteX261" fmla="*/ 9495 w 10000"/>
                <a:gd name="connsiteY261" fmla="*/ 831 h 10000"/>
                <a:gd name="connsiteX262" fmla="*/ 9077 w 10000"/>
                <a:gd name="connsiteY262" fmla="*/ 517 h 10000"/>
                <a:gd name="connsiteX263" fmla="*/ 8872 w 10000"/>
                <a:gd name="connsiteY263" fmla="*/ 440 h 10000"/>
                <a:gd name="connsiteX264" fmla="*/ 8493 w 10000"/>
                <a:gd name="connsiteY264" fmla="*/ 389 h 10000"/>
                <a:gd name="connsiteX265" fmla="*/ 7709 w 10000"/>
                <a:gd name="connsiteY265" fmla="*/ 26 h 10000"/>
                <a:gd name="connsiteX266" fmla="*/ 7683 w 10000"/>
                <a:gd name="connsiteY266" fmla="*/ 2 h 10000"/>
                <a:gd name="connsiteX267" fmla="*/ 7417 w 10000"/>
                <a:gd name="connsiteY267" fmla="*/ 0 h 10000"/>
                <a:gd name="connsiteX268" fmla="*/ 7356 w 10000"/>
                <a:gd name="connsiteY268" fmla="*/ 14 h 10000"/>
                <a:gd name="connsiteX269" fmla="*/ 7369 w 10000"/>
                <a:gd name="connsiteY269" fmla="*/ 61 h 10000"/>
                <a:gd name="connsiteX270" fmla="*/ 7422 w 10000"/>
                <a:gd name="connsiteY270" fmla="*/ 86 h 10000"/>
                <a:gd name="connsiteX271" fmla="*/ 7435 w 10000"/>
                <a:gd name="connsiteY271" fmla="*/ 139 h 10000"/>
                <a:gd name="connsiteX272" fmla="*/ 7417 w 10000"/>
                <a:gd name="connsiteY272" fmla="*/ 181 h 10000"/>
                <a:gd name="connsiteX273" fmla="*/ 7369 w 10000"/>
                <a:gd name="connsiteY273" fmla="*/ 208 h 10000"/>
                <a:gd name="connsiteX274" fmla="*/ 7334 w 10000"/>
                <a:gd name="connsiteY274" fmla="*/ 283 h 10000"/>
                <a:gd name="connsiteX275" fmla="*/ 7269 w 10000"/>
                <a:gd name="connsiteY275" fmla="*/ 336 h 10000"/>
                <a:gd name="connsiteX276" fmla="*/ 7282 w 10000"/>
                <a:gd name="connsiteY276" fmla="*/ 387 h 10000"/>
                <a:gd name="connsiteX277" fmla="*/ 7382 w 10000"/>
                <a:gd name="connsiteY277" fmla="*/ 434 h 10000"/>
                <a:gd name="connsiteX278" fmla="*/ 7317 w 10000"/>
                <a:gd name="connsiteY278" fmla="*/ 475 h 10000"/>
                <a:gd name="connsiteX279" fmla="*/ 7221 w 10000"/>
                <a:gd name="connsiteY279" fmla="*/ 485 h 10000"/>
                <a:gd name="connsiteX280" fmla="*/ 6420 w 10000"/>
                <a:gd name="connsiteY280" fmla="*/ 387 h 10000"/>
                <a:gd name="connsiteX281" fmla="*/ 6324 w 10000"/>
                <a:gd name="connsiteY281" fmla="*/ 395 h 10000"/>
                <a:gd name="connsiteX282" fmla="*/ 6267 w 10000"/>
                <a:gd name="connsiteY282" fmla="*/ 414 h 10000"/>
                <a:gd name="connsiteX283" fmla="*/ 6211 w 10000"/>
                <a:gd name="connsiteY283" fmla="*/ 462 h 10000"/>
                <a:gd name="connsiteX284" fmla="*/ 6220 w 10000"/>
                <a:gd name="connsiteY284" fmla="*/ 581 h 10000"/>
                <a:gd name="connsiteX285" fmla="*/ 6132 w 10000"/>
                <a:gd name="connsiteY285" fmla="*/ 735 h 10000"/>
                <a:gd name="connsiteX286" fmla="*/ 6024 w 10000"/>
                <a:gd name="connsiteY286" fmla="*/ 815 h 10000"/>
                <a:gd name="connsiteX287" fmla="*/ 5980 w 10000"/>
                <a:gd name="connsiteY287" fmla="*/ 805 h 10000"/>
                <a:gd name="connsiteX288" fmla="*/ 5880 w 10000"/>
                <a:gd name="connsiteY288" fmla="*/ 739 h 10000"/>
                <a:gd name="connsiteX289" fmla="*/ 5753 w 10000"/>
                <a:gd name="connsiteY289" fmla="*/ 705 h 10000"/>
                <a:gd name="connsiteX290" fmla="*/ 5618 w 10000"/>
                <a:gd name="connsiteY290" fmla="*/ 715 h 10000"/>
                <a:gd name="connsiteX291" fmla="*/ 5301 w 10000"/>
                <a:gd name="connsiteY291" fmla="*/ 866 h 10000"/>
                <a:gd name="connsiteX292" fmla="*/ 5218 w 10000"/>
                <a:gd name="connsiteY292" fmla="*/ 1017 h 10000"/>
                <a:gd name="connsiteX293" fmla="*/ 4978 w 10000"/>
                <a:gd name="connsiteY293" fmla="*/ 1153 h 10000"/>
                <a:gd name="connsiteX294" fmla="*/ 4935 w 10000"/>
                <a:gd name="connsiteY294" fmla="*/ 1222 h 10000"/>
                <a:gd name="connsiteX295" fmla="*/ 5061 w 10000"/>
                <a:gd name="connsiteY295" fmla="*/ 1344 h 10000"/>
                <a:gd name="connsiteX296" fmla="*/ 5074 w 10000"/>
                <a:gd name="connsiteY296" fmla="*/ 1412 h 10000"/>
                <a:gd name="connsiteX297" fmla="*/ 4421 w 10000"/>
                <a:gd name="connsiteY297" fmla="*/ 1813 h 10000"/>
                <a:gd name="connsiteX298" fmla="*/ 4220 w 10000"/>
                <a:gd name="connsiteY298" fmla="*/ 2070 h 10000"/>
                <a:gd name="connsiteX299" fmla="*/ 4003 w 10000"/>
                <a:gd name="connsiteY299" fmla="*/ 2135 h 10000"/>
                <a:gd name="connsiteX300" fmla="*/ 3868 w 10000"/>
                <a:gd name="connsiteY300" fmla="*/ 2131 h 10000"/>
                <a:gd name="connsiteX301" fmla="*/ 3785 w 10000"/>
                <a:gd name="connsiteY301" fmla="*/ 2153 h 10000"/>
                <a:gd name="connsiteX302" fmla="*/ 3558 w 10000"/>
                <a:gd name="connsiteY302" fmla="*/ 2793 h 10000"/>
                <a:gd name="connsiteX303" fmla="*/ 3036 w 10000"/>
                <a:gd name="connsiteY303" fmla="*/ 3166 h 10000"/>
                <a:gd name="connsiteX304" fmla="*/ 3040 w 10000"/>
                <a:gd name="connsiteY304" fmla="*/ 3225 h 10000"/>
                <a:gd name="connsiteX305" fmla="*/ 3271 w 10000"/>
                <a:gd name="connsiteY305" fmla="*/ 3392 h 10000"/>
                <a:gd name="connsiteX306" fmla="*/ 3197 w 10000"/>
                <a:gd name="connsiteY306" fmla="*/ 3573 h 10000"/>
                <a:gd name="connsiteX307" fmla="*/ 3062 w 10000"/>
                <a:gd name="connsiteY307" fmla="*/ 3640 h 10000"/>
                <a:gd name="connsiteX308" fmla="*/ 2657 w 10000"/>
                <a:gd name="connsiteY308" fmla="*/ 3595 h 10000"/>
                <a:gd name="connsiteX309" fmla="*/ 2378 w 10000"/>
                <a:gd name="connsiteY309" fmla="*/ 3620 h 10000"/>
                <a:gd name="connsiteX310" fmla="*/ 2152 w 10000"/>
                <a:gd name="connsiteY310" fmla="*/ 3673 h 10000"/>
                <a:gd name="connsiteX311" fmla="*/ 1790 w 10000"/>
                <a:gd name="connsiteY311" fmla="*/ 3840 h 10000"/>
                <a:gd name="connsiteX312" fmla="*/ 1598 w 10000"/>
                <a:gd name="connsiteY312" fmla="*/ 4042 h 10000"/>
                <a:gd name="connsiteX313" fmla="*/ 1616 w 10000"/>
                <a:gd name="connsiteY313" fmla="*/ 4154 h 10000"/>
                <a:gd name="connsiteX314" fmla="*/ 1681 w 10000"/>
                <a:gd name="connsiteY314" fmla="*/ 4241 h 10000"/>
                <a:gd name="connsiteX315" fmla="*/ 1733 w 10000"/>
                <a:gd name="connsiteY315" fmla="*/ 4276 h 10000"/>
                <a:gd name="connsiteX316" fmla="*/ 1638 w 10000"/>
                <a:gd name="connsiteY316" fmla="*/ 4331 h 10000"/>
                <a:gd name="connsiteX317" fmla="*/ 1433 w 10000"/>
                <a:gd name="connsiteY317" fmla="*/ 4710 h 10000"/>
                <a:gd name="connsiteX318" fmla="*/ 1472 w 10000"/>
                <a:gd name="connsiteY318" fmla="*/ 4732 h 10000"/>
                <a:gd name="connsiteX319" fmla="*/ 1503 w 10000"/>
                <a:gd name="connsiteY319" fmla="*/ 4828 h 10000"/>
                <a:gd name="connsiteX320" fmla="*/ 1407 w 10000"/>
                <a:gd name="connsiteY320" fmla="*/ 5227 h 10000"/>
                <a:gd name="connsiteX321" fmla="*/ 1503 w 10000"/>
                <a:gd name="connsiteY321" fmla="*/ 5329 h 10000"/>
                <a:gd name="connsiteX322" fmla="*/ 1764 w 10000"/>
                <a:gd name="connsiteY322" fmla="*/ 5441 h 10000"/>
                <a:gd name="connsiteX323" fmla="*/ 1777 w 10000"/>
                <a:gd name="connsiteY323" fmla="*/ 5578 h 10000"/>
                <a:gd name="connsiteX324" fmla="*/ 1664 w 10000"/>
                <a:gd name="connsiteY324" fmla="*/ 5690 h 10000"/>
                <a:gd name="connsiteX325" fmla="*/ 1503 w 10000"/>
                <a:gd name="connsiteY325" fmla="*/ 5759 h 10000"/>
                <a:gd name="connsiteX326" fmla="*/ 1289 w 10000"/>
                <a:gd name="connsiteY326" fmla="*/ 5787 h 10000"/>
                <a:gd name="connsiteX327" fmla="*/ 1233 w 10000"/>
                <a:gd name="connsiteY327" fmla="*/ 5826 h 10000"/>
                <a:gd name="connsiteX328" fmla="*/ 1359 w 10000"/>
                <a:gd name="connsiteY328" fmla="*/ 5920 h 10000"/>
                <a:gd name="connsiteX329" fmla="*/ 1429 w 10000"/>
                <a:gd name="connsiteY329" fmla="*/ 6142 h 10000"/>
                <a:gd name="connsiteX330" fmla="*/ 1267 w 10000"/>
                <a:gd name="connsiteY330" fmla="*/ 6333 h 10000"/>
                <a:gd name="connsiteX331" fmla="*/ 1324 w 10000"/>
                <a:gd name="connsiteY331" fmla="*/ 6392 h 10000"/>
                <a:gd name="connsiteX332" fmla="*/ 1272 w 10000"/>
                <a:gd name="connsiteY332" fmla="*/ 6492 h 10000"/>
                <a:gd name="connsiteX333" fmla="*/ 1167 w 10000"/>
                <a:gd name="connsiteY333" fmla="*/ 6561 h 10000"/>
                <a:gd name="connsiteX334" fmla="*/ 758 w 10000"/>
                <a:gd name="connsiteY334" fmla="*/ 6614 h 10000"/>
                <a:gd name="connsiteX335" fmla="*/ 732 w 10000"/>
                <a:gd name="connsiteY335" fmla="*/ 6706 h 10000"/>
                <a:gd name="connsiteX336" fmla="*/ 510 w 10000"/>
                <a:gd name="connsiteY336" fmla="*/ 6843 h 10000"/>
                <a:gd name="connsiteX337" fmla="*/ 540 w 10000"/>
                <a:gd name="connsiteY337" fmla="*/ 7040 h 10000"/>
                <a:gd name="connsiteX338" fmla="*/ 353 w 10000"/>
                <a:gd name="connsiteY338" fmla="*/ 7293 h 10000"/>
                <a:gd name="connsiteX339" fmla="*/ 226 w 10000"/>
                <a:gd name="connsiteY339" fmla="*/ 7323 h 10000"/>
                <a:gd name="connsiteX340" fmla="*/ 174 w 10000"/>
                <a:gd name="connsiteY340" fmla="*/ 7262 h 10000"/>
                <a:gd name="connsiteX341" fmla="*/ 109 w 10000"/>
                <a:gd name="connsiteY341" fmla="*/ 7354 h 10000"/>
                <a:gd name="connsiteX342" fmla="*/ 152 w 10000"/>
                <a:gd name="connsiteY342" fmla="*/ 7197 h 10000"/>
                <a:gd name="connsiteX343" fmla="*/ 126 w 10000"/>
                <a:gd name="connsiteY343"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145 w 10000"/>
                <a:gd name="connsiteY207" fmla="*/ 3267 h 10000"/>
                <a:gd name="connsiteX208" fmla="*/ 8075 w 10000"/>
                <a:gd name="connsiteY208" fmla="*/ 3147 h 10000"/>
                <a:gd name="connsiteX209" fmla="*/ 8079 w 10000"/>
                <a:gd name="connsiteY209" fmla="*/ 3127 h 10000"/>
                <a:gd name="connsiteX210" fmla="*/ 8132 w 10000"/>
                <a:gd name="connsiteY210" fmla="*/ 3100 h 10000"/>
                <a:gd name="connsiteX211" fmla="*/ 8145 w 10000"/>
                <a:gd name="connsiteY211" fmla="*/ 3064 h 10000"/>
                <a:gd name="connsiteX212" fmla="*/ 8258 w 10000"/>
                <a:gd name="connsiteY212" fmla="*/ 3037 h 10000"/>
                <a:gd name="connsiteX213" fmla="*/ 8380 w 10000"/>
                <a:gd name="connsiteY213" fmla="*/ 2860 h 10000"/>
                <a:gd name="connsiteX214" fmla="*/ 8253 w 10000"/>
                <a:gd name="connsiteY214" fmla="*/ 2762 h 10000"/>
                <a:gd name="connsiteX215" fmla="*/ 8267 w 10000"/>
                <a:gd name="connsiteY215" fmla="*/ 2748 h 10000"/>
                <a:gd name="connsiteX216" fmla="*/ 8397 w 10000"/>
                <a:gd name="connsiteY216" fmla="*/ 2705 h 10000"/>
                <a:gd name="connsiteX217" fmla="*/ 8402 w 10000"/>
                <a:gd name="connsiteY217" fmla="*/ 2662 h 10000"/>
                <a:gd name="connsiteX218" fmla="*/ 8449 w 10000"/>
                <a:gd name="connsiteY218" fmla="*/ 2656 h 10000"/>
                <a:gd name="connsiteX219" fmla="*/ 8558 w 10000"/>
                <a:gd name="connsiteY219" fmla="*/ 2677 h 10000"/>
                <a:gd name="connsiteX220" fmla="*/ 8593 w 10000"/>
                <a:gd name="connsiteY220" fmla="*/ 2669 h 10000"/>
                <a:gd name="connsiteX221" fmla="*/ 8606 w 10000"/>
                <a:gd name="connsiteY221" fmla="*/ 2630 h 10000"/>
                <a:gd name="connsiteX222" fmla="*/ 8567 w 10000"/>
                <a:gd name="connsiteY222" fmla="*/ 2605 h 10000"/>
                <a:gd name="connsiteX223" fmla="*/ 8685 w 10000"/>
                <a:gd name="connsiteY223" fmla="*/ 2597 h 10000"/>
                <a:gd name="connsiteX224" fmla="*/ 8698 w 10000"/>
                <a:gd name="connsiteY224" fmla="*/ 2565 h 10000"/>
                <a:gd name="connsiteX225" fmla="*/ 8558 w 10000"/>
                <a:gd name="connsiteY225" fmla="*/ 2481 h 10000"/>
                <a:gd name="connsiteX226" fmla="*/ 8558 w 10000"/>
                <a:gd name="connsiteY226" fmla="*/ 2459 h 10000"/>
                <a:gd name="connsiteX227" fmla="*/ 8698 w 10000"/>
                <a:gd name="connsiteY227" fmla="*/ 2504 h 10000"/>
                <a:gd name="connsiteX228" fmla="*/ 8763 w 10000"/>
                <a:gd name="connsiteY228" fmla="*/ 2548 h 10000"/>
                <a:gd name="connsiteX229" fmla="*/ 8815 w 10000"/>
                <a:gd name="connsiteY229" fmla="*/ 2548 h 10000"/>
                <a:gd name="connsiteX230" fmla="*/ 8789 w 10000"/>
                <a:gd name="connsiteY230" fmla="*/ 2457 h 10000"/>
                <a:gd name="connsiteX231" fmla="*/ 8798 w 10000"/>
                <a:gd name="connsiteY231" fmla="*/ 2467 h 10000"/>
                <a:gd name="connsiteX232" fmla="*/ 8841 w 10000"/>
                <a:gd name="connsiteY232" fmla="*/ 2457 h 10000"/>
                <a:gd name="connsiteX233" fmla="*/ 8855 w 10000"/>
                <a:gd name="connsiteY233" fmla="*/ 2341 h 10000"/>
                <a:gd name="connsiteX234" fmla="*/ 8898 w 10000"/>
                <a:gd name="connsiteY234" fmla="*/ 2332 h 10000"/>
                <a:gd name="connsiteX235" fmla="*/ 8946 w 10000"/>
                <a:gd name="connsiteY235" fmla="*/ 2330 h 10000"/>
                <a:gd name="connsiteX236" fmla="*/ 8946 w 10000"/>
                <a:gd name="connsiteY236" fmla="*/ 2361 h 10000"/>
                <a:gd name="connsiteX237" fmla="*/ 8994 w 10000"/>
                <a:gd name="connsiteY237" fmla="*/ 2389 h 10000"/>
                <a:gd name="connsiteX238" fmla="*/ 9051 w 10000"/>
                <a:gd name="connsiteY238" fmla="*/ 2400 h 10000"/>
                <a:gd name="connsiteX239" fmla="*/ 9094 w 10000"/>
                <a:gd name="connsiteY239" fmla="*/ 2324 h 10000"/>
                <a:gd name="connsiteX240" fmla="*/ 9164 w 10000"/>
                <a:gd name="connsiteY240" fmla="*/ 2347 h 10000"/>
                <a:gd name="connsiteX241" fmla="*/ 9247 w 10000"/>
                <a:gd name="connsiteY241" fmla="*/ 2402 h 10000"/>
                <a:gd name="connsiteX242" fmla="*/ 9286 w 10000"/>
                <a:gd name="connsiteY242" fmla="*/ 2400 h 10000"/>
                <a:gd name="connsiteX243" fmla="*/ 9355 w 10000"/>
                <a:gd name="connsiteY243" fmla="*/ 2428 h 10000"/>
                <a:gd name="connsiteX244" fmla="*/ 9408 w 10000"/>
                <a:gd name="connsiteY244" fmla="*/ 2359 h 10000"/>
                <a:gd name="connsiteX245" fmla="*/ 9717 w 10000"/>
                <a:gd name="connsiteY245" fmla="*/ 2343 h 10000"/>
                <a:gd name="connsiteX246" fmla="*/ 9830 w 10000"/>
                <a:gd name="connsiteY246" fmla="*/ 2369 h 10000"/>
                <a:gd name="connsiteX247" fmla="*/ 9909 w 10000"/>
                <a:gd name="connsiteY247" fmla="*/ 2410 h 10000"/>
                <a:gd name="connsiteX248" fmla="*/ 9948 w 10000"/>
                <a:gd name="connsiteY248" fmla="*/ 2365 h 10000"/>
                <a:gd name="connsiteX249" fmla="*/ 10000 w 10000"/>
                <a:gd name="connsiteY249" fmla="*/ 2349 h 10000"/>
                <a:gd name="connsiteX250" fmla="*/ 9704 w 10000"/>
                <a:gd name="connsiteY250" fmla="*/ 1992 h 10000"/>
                <a:gd name="connsiteX251" fmla="*/ 9743 w 10000"/>
                <a:gd name="connsiteY251" fmla="*/ 1897 h 10000"/>
                <a:gd name="connsiteX252" fmla="*/ 9830 w 10000"/>
                <a:gd name="connsiteY252" fmla="*/ 1819 h 10000"/>
                <a:gd name="connsiteX253" fmla="*/ 9830 w 10000"/>
                <a:gd name="connsiteY253" fmla="*/ 1699 h 10000"/>
                <a:gd name="connsiteX254" fmla="*/ 9556 w 10000"/>
                <a:gd name="connsiteY254" fmla="*/ 1465 h 10000"/>
                <a:gd name="connsiteX255" fmla="*/ 9512 w 10000"/>
                <a:gd name="connsiteY255" fmla="*/ 1379 h 10000"/>
                <a:gd name="connsiteX256" fmla="*/ 9573 w 10000"/>
                <a:gd name="connsiteY256" fmla="*/ 1271 h 10000"/>
                <a:gd name="connsiteX257" fmla="*/ 9543 w 10000"/>
                <a:gd name="connsiteY257" fmla="*/ 1194 h 10000"/>
                <a:gd name="connsiteX258" fmla="*/ 9486 w 10000"/>
                <a:gd name="connsiteY258" fmla="*/ 1159 h 10000"/>
                <a:gd name="connsiteX259" fmla="*/ 9438 w 10000"/>
                <a:gd name="connsiteY259" fmla="*/ 978 h 10000"/>
                <a:gd name="connsiteX260" fmla="*/ 9495 w 10000"/>
                <a:gd name="connsiteY260" fmla="*/ 831 h 10000"/>
                <a:gd name="connsiteX261" fmla="*/ 9077 w 10000"/>
                <a:gd name="connsiteY261" fmla="*/ 517 h 10000"/>
                <a:gd name="connsiteX262" fmla="*/ 8872 w 10000"/>
                <a:gd name="connsiteY262" fmla="*/ 440 h 10000"/>
                <a:gd name="connsiteX263" fmla="*/ 8493 w 10000"/>
                <a:gd name="connsiteY263" fmla="*/ 389 h 10000"/>
                <a:gd name="connsiteX264" fmla="*/ 7709 w 10000"/>
                <a:gd name="connsiteY264" fmla="*/ 26 h 10000"/>
                <a:gd name="connsiteX265" fmla="*/ 7683 w 10000"/>
                <a:gd name="connsiteY265" fmla="*/ 2 h 10000"/>
                <a:gd name="connsiteX266" fmla="*/ 7417 w 10000"/>
                <a:gd name="connsiteY266" fmla="*/ 0 h 10000"/>
                <a:gd name="connsiteX267" fmla="*/ 7356 w 10000"/>
                <a:gd name="connsiteY267" fmla="*/ 14 h 10000"/>
                <a:gd name="connsiteX268" fmla="*/ 7369 w 10000"/>
                <a:gd name="connsiteY268" fmla="*/ 61 h 10000"/>
                <a:gd name="connsiteX269" fmla="*/ 7422 w 10000"/>
                <a:gd name="connsiteY269" fmla="*/ 86 h 10000"/>
                <a:gd name="connsiteX270" fmla="*/ 7435 w 10000"/>
                <a:gd name="connsiteY270" fmla="*/ 139 h 10000"/>
                <a:gd name="connsiteX271" fmla="*/ 7417 w 10000"/>
                <a:gd name="connsiteY271" fmla="*/ 181 h 10000"/>
                <a:gd name="connsiteX272" fmla="*/ 7369 w 10000"/>
                <a:gd name="connsiteY272" fmla="*/ 208 h 10000"/>
                <a:gd name="connsiteX273" fmla="*/ 7334 w 10000"/>
                <a:gd name="connsiteY273" fmla="*/ 283 h 10000"/>
                <a:gd name="connsiteX274" fmla="*/ 7269 w 10000"/>
                <a:gd name="connsiteY274" fmla="*/ 336 h 10000"/>
                <a:gd name="connsiteX275" fmla="*/ 7282 w 10000"/>
                <a:gd name="connsiteY275" fmla="*/ 387 h 10000"/>
                <a:gd name="connsiteX276" fmla="*/ 7382 w 10000"/>
                <a:gd name="connsiteY276" fmla="*/ 434 h 10000"/>
                <a:gd name="connsiteX277" fmla="*/ 7317 w 10000"/>
                <a:gd name="connsiteY277" fmla="*/ 475 h 10000"/>
                <a:gd name="connsiteX278" fmla="*/ 7221 w 10000"/>
                <a:gd name="connsiteY278" fmla="*/ 485 h 10000"/>
                <a:gd name="connsiteX279" fmla="*/ 6420 w 10000"/>
                <a:gd name="connsiteY279" fmla="*/ 387 h 10000"/>
                <a:gd name="connsiteX280" fmla="*/ 6324 w 10000"/>
                <a:gd name="connsiteY280" fmla="*/ 395 h 10000"/>
                <a:gd name="connsiteX281" fmla="*/ 6267 w 10000"/>
                <a:gd name="connsiteY281" fmla="*/ 414 h 10000"/>
                <a:gd name="connsiteX282" fmla="*/ 6211 w 10000"/>
                <a:gd name="connsiteY282" fmla="*/ 462 h 10000"/>
                <a:gd name="connsiteX283" fmla="*/ 6220 w 10000"/>
                <a:gd name="connsiteY283" fmla="*/ 581 h 10000"/>
                <a:gd name="connsiteX284" fmla="*/ 6132 w 10000"/>
                <a:gd name="connsiteY284" fmla="*/ 735 h 10000"/>
                <a:gd name="connsiteX285" fmla="*/ 6024 w 10000"/>
                <a:gd name="connsiteY285" fmla="*/ 815 h 10000"/>
                <a:gd name="connsiteX286" fmla="*/ 5980 w 10000"/>
                <a:gd name="connsiteY286" fmla="*/ 805 h 10000"/>
                <a:gd name="connsiteX287" fmla="*/ 5880 w 10000"/>
                <a:gd name="connsiteY287" fmla="*/ 739 h 10000"/>
                <a:gd name="connsiteX288" fmla="*/ 5753 w 10000"/>
                <a:gd name="connsiteY288" fmla="*/ 705 h 10000"/>
                <a:gd name="connsiteX289" fmla="*/ 5618 w 10000"/>
                <a:gd name="connsiteY289" fmla="*/ 715 h 10000"/>
                <a:gd name="connsiteX290" fmla="*/ 5301 w 10000"/>
                <a:gd name="connsiteY290" fmla="*/ 866 h 10000"/>
                <a:gd name="connsiteX291" fmla="*/ 5218 w 10000"/>
                <a:gd name="connsiteY291" fmla="*/ 1017 h 10000"/>
                <a:gd name="connsiteX292" fmla="*/ 4978 w 10000"/>
                <a:gd name="connsiteY292" fmla="*/ 1153 h 10000"/>
                <a:gd name="connsiteX293" fmla="*/ 4935 w 10000"/>
                <a:gd name="connsiteY293" fmla="*/ 1222 h 10000"/>
                <a:gd name="connsiteX294" fmla="*/ 5061 w 10000"/>
                <a:gd name="connsiteY294" fmla="*/ 1344 h 10000"/>
                <a:gd name="connsiteX295" fmla="*/ 5074 w 10000"/>
                <a:gd name="connsiteY295" fmla="*/ 1412 h 10000"/>
                <a:gd name="connsiteX296" fmla="*/ 4421 w 10000"/>
                <a:gd name="connsiteY296" fmla="*/ 1813 h 10000"/>
                <a:gd name="connsiteX297" fmla="*/ 4220 w 10000"/>
                <a:gd name="connsiteY297" fmla="*/ 2070 h 10000"/>
                <a:gd name="connsiteX298" fmla="*/ 4003 w 10000"/>
                <a:gd name="connsiteY298" fmla="*/ 2135 h 10000"/>
                <a:gd name="connsiteX299" fmla="*/ 3868 w 10000"/>
                <a:gd name="connsiteY299" fmla="*/ 2131 h 10000"/>
                <a:gd name="connsiteX300" fmla="*/ 3785 w 10000"/>
                <a:gd name="connsiteY300" fmla="*/ 2153 h 10000"/>
                <a:gd name="connsiteX301" fmla="*/ 3558 w 10000"/>
                <a:gd name="connsiteY301" fmla="*/ 2793 h 10000"/>
                <a:gd name="connsiteX302" fmla="*/ 3036 w 10000"/>
                <a:gd name="connsiteY302" fmla="*/ 3166 h 10000"/>
                <a:gd name="connsiteX303" fmla="*/ 3040 w 10000"/>
                <a:gd name="connsiteY303" fmla="*/ 3225 h 10000"/>
                <a:gd name="connsiteX304" fmla="*/ 3271 w 10000"/>
                <a:gd name="connsiteY304" fmla="*/ 3392 h 10000"/>
                <a:gd name="connsiteX305" fmla="*/ 3197 w 10000"/>
                <a:gd name="connsiteY305" fmla="*/ 3573 h 10000"/>
                <a:gd name="connsiteX306" fmla="*/ 3062 w 10000"/>
                <a:gd name="connsiteY306" fmla="*/ 3640 h 10000"/>
                <a:gd name="connsiteX307" fmla="*/ 2657 w 10000"/>
                <a:gd name="connsiteY307" fmla="*/ 3595 h 10000"/>
                <a:gd name="connsiteX308" fmla="*/ 2378 w 10000"/>
                <a:gd name="connsiteY308" fmla="*/ 3620 h 10000"/>
                <a:gd name="connsiteX309" fmla="*/ 2152 w 10000"/>
                <a:gd name="connsiteY309" fmla="*/ 3673 h 10000"/>
                <a:gd name="connsiteX310" fmla="*/ 1790 w 10000"/>
                <a:gd name="connsiteY310" fmla="*/ 3840 h 10000"/>
                <a:gd name="connsiteX311" fmla="*/ 1598 w 10000"/>
                <a:gd name="connsiteY311" fmla="*/ 4042 h 10000"/>
                <a:gd name="connsiteX312" fmla="*/ 1616 w 10000"/>
                <a:gd name="connsiteY312" fmla="*/ 4154 h 10000"/>
                <a:gd name="connsiteX313" fmla="*/ 1681 w 10000"/>
                <a:gd name="connsiteY313" fmla="*/ 4241 h 10000"/>
                <a:gd name="connsiteX314" fmla="*/ 1733 w 10000"/>
                <a:gd name="connsiteY314" fmla="*/ 4276 h 10000"/>
                <a:gd name="connsiteX315" fmla="*/ 1638 w 10000"/>
                <a:gd name="connsiteY315" fmla="*/ 4331 h 10000"/>
                <a:gd name="connsiteX316" fmla="*/ 1433 w 10000"/>
                <a:gd name="connsiteY316" fmla="*/ 4710 h 10000"/>
                <a:gd name="connsiteX317" fmla="*/ 1472 w 10000"/>
                <a:gd name="connsiteY317" fmla="*/ 4732 h 10000"/>
                <a:gd name="connsiteX318" fmla="*/ 1503 w 10000"/>
                <a:gd name="connsiteY318" fmla="*/ 4828 h 10000"/>
                <a:gd name="connsiteX319" fmla="*/ 1407 w 10000"/>
                <a:gd name="connsiteY319" fmla="*/ 5227 h 10000"/>
                <a:gd name="connsiteX320" fmla="*/ 1503 w 10000"/>
                <a:gd name="connsiteY320" fmla="*/ 5329 h 10000"/>
                <a:gd name="connsiteX321" fmla="*/ 1764 w 10000"/>
                <a:gd name="connsiteY321" fmla="*/ 5441 h 10000"/>
                <a:gd name="connsiteX322" fmla="*/ 1777 w 10000"/>
                <a:gd name="connsiteY322" fmla="*/ 5578 h 10000"/>
                <a:gd name="connsiteX323" fmla="*/ 1664 w 10000"/>
                <a:gd name="connsiteY323" fmla="*/ 5690 h 10000"/>
                <a:gd name="connsiteX324" fmla="*/ 1503 w 10000"/>
                <a:gd name="connsiteY324" fmla="*/ 5759 h 10000"/>
                <a:gd name="connsiteX325" fmla="*/ 1289 w 10000"/>
                <a:gd name="connsiteY325" fmla="*/ 5787 h 10000"/>
                <a:gd name="connsiteX326" fmla="*/ 1233 w 10000"/>
                <a:gd name="connsiteY326" fmla="*/ 5826 h 10000"/>
                <a:gd name="connsiteX327" fmla="*/ 1359 w 10000"/>
                <a:gd name="connsiteY327" fmla="*/ 5920 h 10000"/>
                <a:gd name="connsiteX328" fmla="*/ 1429 w 10000"/>
                <a:gd name="connsiteY328" fmla="*/ 6142 h 10000"/>
                <a:gd name="connsiteX329" fmla="*/ 1267 w 10000"/>
                <a:gd name="connsiteY329" fmla="*/ 6333 h 10000"/>
                <a:gd name="connsiteX330" fmla="*/ 1324 w 10000"/>
                <a:gd name="connsiteY330" fmla="*/ 6392 h 10000"/>
                <a:gd name="connsiteX331" fmla="*/ 1272 w 10000"/>
                <a:gd name="connsiteY331" fmla="*/ 6492 h 10000"/>
                <a:gd name="connsiteX332" fmla="*/ 1167 w 10000"/>
                <a:gd name="connsiteY332" fmla="*/ 6561 h 10000"/>
                <a:gd name="connsiteX333" fmla="*/ 758 w 10000"/>
                <a:gd name="connsiteY333" fmla="*/ 6614 h 10000"/>
                <a:gd name="connsiteX334" fmla="*/ 732 w 10000"/>
                <a:gd name="connsiteY334" fmla="*/ 6706 h 10000"/>
                <a:gd name="connsiteX335" fmla="*/ 510 w 10000"/>
                <a:gd name="connsiteY335" fmla="*/ 6843 h 10000"/>
                <a:gd name="connsiteX336" fmla="*/ 540 w 10000"/>
                <a:gd name="connsiteY336" fmla="*/ 7040 h 10000"/>
                <a:gd name="connsiteX337" fmla="*/ 353 w 10000"/>
                <a:gd name="connsiteY337" fmla="*/ 7293 h 10000"/>
                <a:gd name="connsiteX338" fmla="*/ 226 w 10000"/>
                <a:gd name="connsiteY338" fmla="*/ 7323 h 10000"/>
                <a:gd name="connsiteX339" fmla="*/ 174 w 10000"/>
                <a:gd name="connsiteY339" fmla="*/ 7262 h 10000"/>
                <a:gd name="connsiteX340" fmla="*/ 109 w 10000"/>
                <a:gd name="connsiteY340" fmla="*/ 7354 h 10000"/>
                <a:gd name="connsiteX341" fmla="*/ 152 w 10000"/>
                <a:gd name="connsiteY341" fmla="*/ 7197 h 10000"/>
                <a:gd name="connsiteX342" fmla="*/ 126 w 10000"/>
                <a:gd name="connsiteY342"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145 w 10000"/>
                <a:gd name="connsiteY207" fmla="*/ 3267 h 10000"/>
                <a:gd name="connsiteX208" fmla="*/ 8075 w 10000"/>
                <a:gd name="connsiteY208" fmla="*/ 3147 h 10000"/>
                <a:gd name="connsiteX209" fmla="*/ 8079 w 10000"/>
                <a:gd name="connsiteY209" fmla="*/ 3127 h 10000"/>
                <a:gd name="connsiteX210" fmla="*/ 8145 w 10000"/>
                <a:gd name="connsiteY210" fmla="*/ 3064 h 10000"/>
                <a:gd name="connsiteX211" fmla="*/ 8258 w 10000"/>
                <a:gd name="connsiteY211" fmla="*/ 3037 h 10000"/>
                <a:gd name="connsiteX212" fmla="*/ 8380 w 10000"/>
                <a:gd name="connsiteY212" fmla="*/ 2860 h 10000"/>
                <a:gd name="connsiteX213" fmla="*/ 8253 w 10000"/>
                <a:gd name="connsiteY213" fmla="*/ 2762 h 10000"/>
                <a:gd name="connsiteX214" fmla="*/ 8267 w 10000"/>
                <a:gd name="connsiteY214" fmla="*/ 2748 h 10000"/>
                <a:gd name="connsiteX215" fmla="*/ 8397 w 10000"/>
                <a:gd name="connsiteY215" fmla="*/ 2705 h 10000"/>
                <a:gd name="connsiteX216" fmla="*/ 8402 w 10000"/>
                <a:gd name="connsiteY216" fmla="*/ 2662 h 10000"/>
                <a:gd name="connsiteX217" fmla="*/ 8449 w 10000"/>
                <a:gd name="connsiteY217" fmla="*/ 2656 h 10000"/>
                <a:gd name="connsiteX218" fmla="*/ 8558 w 10000"/>
                <a:gd name="connsiteY218" fmla="*/ 2677 h 10000"/>
                <a:gd name="connsiteX219" fmla="*/ 8593 w 10000"/>
                <a:gd name="connsiteY219" fmla="*/ 2669 h 10000"/>
                <a:gd name="connsiteX220" fmla="*/ 8606 w 10000"/>
                <a:gd name="connsiteY220" fmla="*/ 2630 h 10000"/>
                <a:gd name="connsiteX221" fmla="*/ 8567 w 10000"/>
                <a:gd name="connsiteY221" fmla="*/ 2605 h 10000"/>
                <a:gd name="connsiteX222" fmla="*/ 8685 w 10000"/>
                <a:gd name="connsiteY222" fmla="*/ 2597 h 10000"/>
                <a:gd name="connsiteX223" fmla="*/ 8698 w 10000"/>
                <a:gd name="connsiteY223" fmla="*/ 2565 h 10000"/>
                <a:gd name="connsiteX224" fmla="*/ 8558 w 10000"/>
                <a:gd name="connsiteY224" fmla="*/ 2481 h 10000"/>
                <a:gd name="connsiteX225" fmla="*/ 8558 w 10000"/>
                <a:gd name="connsiteY225" fmla="*/ 2459 h 10000"/>
                <a:gd name="connsiteX226" fmla="*/ 8698 w 10000"/>
                <a:gd name="connsiteY226" fmla="*/ 2504 h 10000"/>
                <a:gd name="connsiteX227" fmla="*/ 8763 w 10000"/>
                <a:gd name="connsiteY227" fmla="*/ 2548 h 10000"/>
                <a:gd name="connsiteX228" fmla="*/ 8815 w 10000"/>
                <a:gd name="connsiteY228" fmla="*/ 2548 h 10000"/>
                <a:gd name="connsiteX229" fmla="*/ 8789 w 10000"/>
                <a:gd name="connsiteY229" fmla="*/ 2457 h 10000"/>
                <a:gd name="connsiteX230" fmla="*/ 8798 w 10000"/>
                <a:gd name="connsiteY230" fmla="*/ 2467 h 10000"/>
                <a:gd name="connsiteX231" fmla="*/ 8841 w 10000"/>
                <a:gd name="connsiteY231" fmla="*/ 2457 h 10000"/>
                <a:gd name="connsiteX232" fmla="*/ 8855 w 10000"/>
                <a:gd name="connsiteY232" fmla="*/ 2341 h 10000"/>
                <a:gd name="connsiteX233" fmla="*/ 8898 w 10000"/>
                <a:gd name="connsiteY233" fmla="*/ 2332 h 10000"/>
                <a:gd name="connsiteX234" fmla="*/ 8946 w 10000"/>
                <a:gd name="connsiteY234" fmla="*/ 2330 h 10000"/>
                <a:gd name="connsiteX235" fmla="*/ 8946 w 10000"/>
                <a:gd name="connsiteY235" fmla="*/ 2361 h 10000"/>
                <a:gd name="connsiteX236" fmla="*/ 8994 w 10000"/>
                <a:gd name="connsiteY236" fmla="*/ 2389 h 10000"/>
                <a:gd name="connsiteX237" fmla="*/ 9051 w 10000"/>
                <a:gd name="connsiteY237" fmla="*/ 2400 h 10000"/>
                <a:gd name="connsiteX238" fmla="*/ 9094 w 10000"/>
                <a:gd name="connsiteY238" fmla="*/ 2324 h 10000"/>
                <a:gd name="connsiteX239" fmla="*/ 9164 w 10000"/>
                <a:gd name="connsiteY239" fmla="*/ 2347 h 10000"/>
                <a:gd name="connsiteX240" fmla="*/ 9247 w 10000"/>
                <a:gd name="connsiteY240" fmla="*/ 2402 h 10000"/>
                <a:gd name="connsiteX241" fmla="*/ 9286 w 10000"/>
                <a:gd name="connsiteY241" fmla="*/ 2400 h 10000"/>
                <a:gd name="connsiteX242" fmla="*/ 9355 w 10000"/>
                <a:gd name="connsiteY242" fmla="*/ 2428 h 10000"/>
                <a:gd name="connsiteX243" fmla="*/ 9408 w 10000"/>
                <a:gd name="connsiteY243" fmla="*/ 2359 h 10000"/>
                <a:gd name="connsiteX244" fmla="*/ 9717 w 10000"/>
                <a:gd name="connsiteY244" fmla="*/ 2343 h 10000"/>
                <a:gd name="connsiteX245" fmla="*/ 9830 w 10000"/>
                <a:gd name="connsiteY245" fmla="*/ 2369 h 10000"/>
                <a:gd name="connsiteX246" fmla="*/ 9909 w 10000"/>
                <a:gd name="connsiteY246" fmla="*/ 2410 h 10000"/>
                <a:gd name="connsiteX247" fmla="*/ 9948 w 10000"/>
                <a:gd name="connsiteY247" fmla="*/ 2365 h 10000"/>
                <a:gd name="connsiteX248" fmla="*/ 10000 w 10000"/>
                <a:gd name="connsiteY248" fmla="*/ 2349 h 10000"/>
                <a:gd name="connsiteX249" fmla="*/ 9704 w 10000"/>
                <a:gd name="connsiteY249" fmla="*/ 1992 h 10000"/>
                <a:gd name="connsiteX250" fmla="*/ 9743 w 10000"/>
                <a:gd name="connsiteY250" fmla="*/ 1897 h 10000"/>
                <a:gd name="connsiteX251" fmla="*/ 9830 w 10000"/>
                <a:gd name="connsiteY251" fmla="*/ 1819 h 10000"/>
                <a:gd name="connsiteX252" fmla="*/ 9830 w 10000"/>
                <a:gd name="connsiteY252" fmla="*/ 1699 h 10000"/>
                <a:gd name="connsiteX253" fmla="*/ 9556 w 10000"/>
                <a:gd name="connsiteY253" fmla="*/ 1465 h 10000"/>
                <a:gd name="connsiteX254" fmla="*/ 9512 w 10000"/>
                <a:gd name="connsiteY254" fmla="*/ 1379 h 10000"/>
                <a:gd name="connsiteX255" fmla="*/ 9573 w 10000"/>
                <a:gd name="connsiteY255" fmla="*/ 1271 h 10000"/>
                <a:gd name="connsiteX256" fmla="*/ 9543 w 10000"/>
                <a:gd name="connsiteY256" fmla="*/ 1194 h 10000"/>
                <a:gd name="connsiteX257" fmla="*/ 9486 w 10000"/>
                <a:gd name="connsiteY257" fmla="*/ 1159 h 10000"/>
                <a:gd name="connsiteX258" fmla="*/ 9438 w 10000"/>
                <a:gd name="connsiteY258" fmla="*/ 978 h 10000"/>
                <a:gd name="connsiteX259" fmla="*/ 9495 w 10000"/>
                <a:gd name="connsiteY259" fmla="*/ 831 h 10000"/>
                <a:gd name="connsiteX260" fmla="*/ 9077 w 10000"/>
                <a:gd name="connsiteY260" fmla="*/ 517 h 10000"/>
                <a:gd name="connsiteX261" fmla="*/ 8872 w 10000"/>
                <a:gd name="connsiteY261" fmla="*/ 440 h 10000"/>
                <a:gd name="connsiteX262" fmla="*/ 8493 w 10000"/>
                <a:gd name="connsiteY262" fmla="*/ 389 h 10000"/>
                <a:gd name="connsiteX263" fmla="*/ 7709 w 10000"/>
                <a:gd name="connsiteY263" fmla="*/ 26 h 10000"/>
                <a:gd name="connsiteX264" fmla="*/ 7683 w 10000"/>
                <a:gd name="connsiteY264" fmla="*/ 2 h 10000"/>
                <a:gd name="connsiteX265" fmla="*/ 7417 w 10000"/>
                <a:gd name="connsiteY265" fmla="*/ 0 h 10000"/>
                <a:gd name="connsiteX266" fmla="*/ 7356 w 10000"/>
                <a:gd name="connsiteY266" fmla="*/ 14 h 10000"/>
                <a:gd name="connsiteX267" fmla="*/ 7369 w 10000"/>
                <a:gd name="connsiteY267" fmla="*/ 61 h 10000"/>
                <a:gd name="connsiteX268" fmla="*/ 7422 w 10000"/>
                <a:gd name="connsiteY268" fmla="*/ 86 h 10000"/>
                <a:gd name="connsiteX269" fmla="*/ 7435 w 10000"/>
                <a:gd name="connsiteY269" fmla="*/ 139 h 10000"/>
                <a:gd name="connsiteX270" fmla="*/ 7417 w 10000"/>
                <a:gd name="connsiteY270" fmla="*/ 181 h 10000"/>
                <a:gd name="connsiteX271" fmla="*/ 7369 w 10000"/>
                <a:gd name="connsiteY271" fmla="*/ 208 h 10000"/>
                <a:gd name="connsiteX272" fmla="*/ 7334 w 10000"/>
                <a:gd name="connsiteY272" fmla="*/ 283 h 10000"/>
                <a:gd name="connsiteX273" fmla="*/ 7269 w 10000"/>
                <a:gd name="connsiteY273" fmla="*/ 336 h 10000"/>
                <a:gd name="connsiteX274" fmla="*/ 7282 w 10000"/>
                <a:gd name="connsiteY274" fmla="*/ 387 h 10000"/>
                <a:gd name="connsiteX275" fmla="*/ 7382 w 10000"/>
                <a:gd name="connsiteY275" fmla="*/ 434 h 10000"/>
                <a:gd name="connsiteX276" fmla="*/ 7317 w 10000"/>
                <a:gd name="connsiteY276" fmla="*/ 475 h 10000"/>
                <a:gd name="connsiteX277" fmla="*/ 7221 w 10000"/>
                <a:gd name="connsiteY277" fmla="*/ 485 h 10000"/>
                <a:gd name="connsiteX278" fmla="*/ 6420 w 10000"/>
                <a:gd name="connsiteY278" fmla="*/ 387 h 10000"/>
                <a:gd name="connsiteX279" fmla="*/ 6324 w 10000"/>
                <a:gd name="connsiteY279" fmla="*/ 395 h 10000"/>
                <a:gd name="connsiteX280" fmla="*/ 6267 w 10000"/>
                <a:gd name="connsiteY280" fmla="*/ 414 h 10000"/>
                <a:gd name="connsiteX281" fmla="*/ 6211 w 10000"/>
                <a:gd name="connsiteY281" fmla="*/ 462 h 10000"/>
                <a:gd name="connsiteX282" fmla="*/ 6220 w 10000"/>
                <a:gd name="connsiteY282" fmla="*/ 581 h 10000"/>
                <a:gd name="connsiteX283" fmla="*/ 6132 w 10000"/>
                <a:gd name="connsiteY283" fmla="*/ 735 h 10000"/>
                <a:gd name="connsiteX284" fmla="*/ 6024 w 10000"/>
                <a:gd name="connsiteY284" fmla="*/ 815 h 10000"/>
                <a:gd name="connsiteX285" fmla="*/ 5980 w 10000"/>
                <a:gd name="connsiteY285" fmla="*/ 805 h 10000"/>
                <a:gd name="connsiteX286" fmla="*/ 5880 w 10000"/>
                <a:gd name="connsiteY286" fmla="*/ 739 h 10000"/>
                <a:gd name="connsiteX287" fmla="*/ 5753 w 10000"/>
                <a:gd name="connsiteY287" fmla="*/ 705 h 10000"/>
                <a:gd name="connsiteX288" fmla="*/ 5618 w 10000"/>
                <a:gd name="connsiteY288" fmla="*/ 715 h 10000"/>
                <a:gd name="connsiteX289" fmla="*/ 5301 w 10000"/>
                <a:gd name="connsiteY289" fmla="*/ 866 h 10000"/>
                <a:gd name="connsiteX290" fmla="*/ 5218 w 10000"/>
                <a:gd name="connsiteY290" fmla="*/ 1017 h 10000"/>
                <a:gd name="connsiteX291" fmla="*/ 4978 w 10000"/>
                <a:gd name="connsiteY291" fmla="*/ 1153 h 10000"/>
                <a:gd name="connsiteX292" fmla="*/ 4935 w 10000"/>
                <a:gd name="connsiteY292" fmla="*/ 1222 h 10000"/>
                <a:gd name="connsiteX293" fmla="*/ 5061 w 10000"/>
                <a:gd name="connsiteY293" fmla="*/ 1344 h 10000"/>
                <a:gd name="connsiteX294" fmla="*/ 5074 w 10000"/>
                <a:gd name="connsiteY294" fmla="*/ 1412 h 10000"/>
                <a:gd name="connsiteX295" fmla="*/ 4421 w 10000"/>
                <a:gd name="connsiteY295" fmla="*/ 1813 h 10000"/>
                <a:gd name="connsiteX296" fmla="*/ 4220 w 10000"/>
                <a:gd name="connsiteY296" fmla="*/ 2070 h 10000"/>
                <a:gd name="connsiteX297" fmla="*/ 4003 w 10000"/>
                <a:gd name="connsiteY297" fmla="*/ 2135 h 10000"/>
                <a:gd name="connsiteX298" fmla="*/ 3868 w 10000"/>
                <a:gd name="connsiteY298" fmla="*/ 2131 h 10000"/>
                <a:gd name="connsiteX299" fmla="*/ 3785 w 10000"/>
                <a:gd name="connsiteY299" fmla="*/ 2153 h 10000"/>
                <a:gd name="connsiteX300" fmla="*/ 3558 w 10000"/>
                <a:gd name="connsiteY300" fmla="*/ 2793 h 10000"/>
                <a:gd name="connsiteX301" fmla="*/ 3036 w 10000"/>
                <a:gd name="connsiteY301" fmla="*/ 3166 h 10000"/>
                <a:gd name="connsiteX302" fmla="*/ 3040 w 10000"/>
                <a:gd name="connsiteY302" fmla="*/ 3225 h 10000"/>
                <a:gd name="connsiteX303" fmla="*/ 3271 w 10000"/>
                <a:gd name="connsiteY303" fmla="*/ 3392 h 10000"/>
                <a:gd name="connsiteX304" fmla="*/ 3197 w 10000"/>
                <a:gd name="connsiteY304" fmla="*/ 3573 h 10000"/>
                <a:gd name="connsiteX305" fmla="*/ 3062 w 10000"/>
                <a:gd name="connsiteY305" fmla="*/ 3640 h 10000"/>
                <a:gd name="connsiteX306" fmla="*/ 2657 w 10000"/>
                <a:gd name="connsiteY306" fmla="*/ 3595 h 10000"/>
                <a:gd name="connsiteX307" fmla="*/ 2378 w 10000"/>
                <a:gd name="connsiteY307" fmla="*/ 3620 h 10000"/>
                <a:gd name="connsiteX308" fmla="*/ 2152 w 10000"/>
                <a:gd name="connsiteY308" fmla="*/ 3673 h 10000"/>
                <a:gd name="connsiteX309" fmla="*/ 1790 w 10000"/>
                <a:gd name="connsiteY309" fmla="*/ 3840 h 10000"/>
                <a:gd name="connsiteX310" fmla="*/ 1598 w 10000"/>
                <a:gd name="connsiteY310" fmla="*/ 4042 h 10000"/>
                <a:gd name="connsiteX311" fmla="*/ 1616 w 10000"/>
                <a:gd name="connsiteY311" fmla="*/ 4154 h 10000"/>
                <a:gd name="connsiteX312" fmla="*/ 1681 w 10000"/>
                <a:gd name="connsiteY312" fmla="*/ 4241 h 10000"/>
                <a:gd name="connsiteX313" fmla="*/ 1733 w 10000"/>
                <a:gd name="connsiteY313" fmla="*/ 4276 h 10000"/>
                <a:gd name="connsiteX314" fmla="*/ 1638 w 10000"/>
                <a:gd name="connsiteY314" fmla="*/ 4331 h 10000"/>
                <a:gd name="connsiteX315" fmla="*/ 1433 w 10000"/>
                <a:gd name="connsiteY315" fmla="*/ 4710 h 10000"/>
                <a:gd name="connsiteX316" fmla="*/ 1472 w 10000"/>
                <a:gd name="connsiteY316" fmla="*/ 4732 h 10000"/>
                <a:gd name="connsiteX317" fmla="*/ 1503 w 10000"/>
                <a:gd name="connsiteY317" fmla="*/ 4828 h 10000"/>
                <a:gd name="connsiteX318" fmla="*/ 1407 w 10000"/>
                <a:gd name="connsiteY318" fmla="*/ 5227 h 10000"/>
                <a:gd name="connsiteX319" fmla="*/ 1503 w 10000"/>
                <a:gd name="connsiteY319" fmla="*/ 5329 h 10000"/>
                <a:gd name="connsiteX320" fmla="*/ 1764 w 10000"/>
                <a:gd name="connsiteY320" fmla="*/ 5441 h 10000"/>
                <a:gd name="connsiteX321" fmla="*/ 1777 w 10000"/>
                <a:gd name="connsiteY321" fmla="*/ 5578 h 10000"/>
                <a:gd name="connsiteX322" fmla="*/ 1664 w 10000"/>
                <a:gd name="connsiteY322" fmla="*/ 5690 h 10000"/>
                <a:gd name="connsiteX323" fmla="*/ 1503 w 10000"/>
                <a:gd name="connsiteY323" fmla="*/ 5759 h 10000"/>
                <a:gd name="connsiteX324" fmla="*/ 1289 w 10000"/>
                <a:gd name="connsiteY324" fmla="*/ 5787 h 10000"/>
                <a:gd name="connsiteX325" fmla="*/ 1233 w 10000"/>
                <a:gd name="connsiteY325" fmla="*/ 5826 h 10000"/>
                <a:gd name="connsiteX326" fmla="*/ 1359 w 10000"/>
                <a:gd name="connsiteY326" fmla="*/ 5920 h 10000"/>
                <a:gd name="connsiteX327" fmla="*/ 1429 w 10000"/>
                <a:gd name="connsiteY327" fmla="*/ 6142 h 10000"/>
                <a:gd name="connsiteX328" fmla="*/ 1267 w 10000"/>
                <a:gd name="connsiteY328" fmla="*/ 6333 h 10000"/>
                <a:gd name="connsiteX329" fmla="*/ 1324 w 10000"/>
                <a:gd name="connsiteY329" fmla="*/ 6392 h 10000"/>
                <a:gd name="connsiteX330" fmla="*/ 1272 w 10000"/>
                <a:gd name="connsiteY330" fmla="*/ 6492 h 10000"/>
                <a:gd name="connsiteX331" fmla="*/ 1167 w 10000"/>
                <a:gd name="connsiteY331" fmla="*/ 6561 h 10000"/>
                <a:gd name="connsiteX332" fmla="*/ 758 w 10000"/>
                <a:gd name="connsiteY332" fmla="*/ 6614 h 10000"/>
                <a:gd name="connsiteX333" fmla="*/ 732 w 10000"/>
                <a:gd name="connsiteY333" fmla="*/ 6706 h 10000"/>
                <a:gd name="connsiteX334" fmla="*/ 510 w 10000"/>
                <a:gd name="connsiteY334" fmla="*/ 6843 h 10000"/>
                <a:gd name="connsiteX335" fmla="*/ 540 w 10000"/>
                <a:gd name="connsiteY335" fmla="*/ 7040 h 10000"/>
                <a:gd name="connsiteX336" fmla="*/ 353 w 10000"/>
                <a:gd name="connsiteY336" fmla="*/ 7293 h 10000"/>
                <a:gd name="connsiteX337" fmla="*/ 226 w 10000"/>
                <a:gd name="connsiteY337" fmla="*/ 7323 h 10000"/>
                <a:gd name="connsiteX338" fmla="*/ 174 w 10000"/>
                <a:gd name="connsiteY338" fmla="*/ 7262 h 10000"/>
                <a:gd name="connsiteX339" fmla="*/ 109 w 10000"/>
                <a:gd name="connsiteY339" fmla="*/ 7354 h 10000"/>
                <a:gd name="connsiteX340" fmla="*/ 152 w 10000"/>
                <a:gd name="connsiteY340" fmla="*/ 7197 h 10000"/>
                <a:gd name="connsiteX341" fmla="*/ 126 w 10000"/>
                <a:gd name="connsiteY341"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145 w 10000"/>
                <a:gd name="connsiteY207" fmla="*/ 3267 h 10000"/>
                <a:gd name="connsiteX208" fmla="*/ 8075 w 10000"/>
                <a:gd name="connsiteY208" fmla="*/ 3147 h 10000"/>
                <a:gd name="connsiteX209" fmla="*/ 8079 w 10000"/>
                <a:gd name="connsiteY209" fmla="*/ 3127 h 10000"/>
                <a:gd name="connsiteX210" fmla="*/ 8145 w 10000"/>
                <a:gd name="connsiteY210" fmla="*/ 3064 h 10000"/>
                <a:gd name="connsiteX211" fmla="*/ 8380 w 10000"/>
                <a:gd name="connsiteY211" fmla="*/ 2860 h 10000"/>
                <a:gd name="connsiteX212" fmla="*/ 8253 w 10000"/>
                <a:gd name="connsiteY212" fmla="*/ 2762 h 10000"/>
                <a:gd name="connsiteX213" fmla="*/ 8267 w 10000"/>
                <a:gd name="connsiteY213" fmla="*/ 2748 h 10000"/>
                <a:gd name="connsiteX214" fmla="*/ 8397 w 10000"/>
                <a:gd name="connsiteY214" fmla="*/ 2705 h 10000"/>
                <a:gd name="connsiteX215" fmla="*/ 8402 w 10000"/>
                <a:gd name="connsiteY215" fmla="*/ 2662 h 10000"/>
                <a:gd name="connsiteX216" fmla="*/ 8449 w 10000"/>
                <a:gd name="connsiteY216" fmla="*/ 2656 h 10000"/>
                <a:gd name="connsiteX217" fmla="*/ 8558 w 10000"/>
                <a:gd name="connsiteY217" fmla="*/ 2677 h 10000"/>
                <a:gd name="connsiteX218" fmla="*/ 8593 w 10000"/>
                <a:gd name="connsiteY218" fmla="*/ 2669 h 10000"/>
                <a:gd name="connsiteX219" fmla="*/ 8606 w 10000"/>
                <a:gd name="connsiteY219" fmla="*/ 2630 h 10000"/>
                <a:gd name="connsiteX220" fmla="*/ 8567 w 10000"/>
                <a:gd name="connsiteY220" fmla="*/ 2605 h 10000"/>
                <a:gd name="connsiteX221" fmla="*/ 8685 w 10000"/>
                <a:gd name="connsiteY221" fmla="*/ 2597 h 10000"/>
                <a:gd name="connsiteX222" fmla="*/ 8698 w 10000"/>
                <a:gd name="connsiteY222" fmla="*/ 2565 h 10000"/>
                <a:gd name="connsiteX223" fmla="*/ 8558 w 10000"/>
                <a:gd name="connsiteY223" fmla="*/ 2481 h 10000"/>
                <a:gd name="connsiteX224" fmla="*/ 8558 w 10000"/>
                <a:gd name="connsiteY224" fmla="*/ 2459 h 10000"/>
                <a:gd name="connsiteX225" fmla="*/ 8698 w 10000"/>
                <a:gd name="connsiteY225" fmla="*/ 2504 h 10000"/>
                <a:gd name="connsiteX226" fmla="*/ 8763 w 10000"/>
                <a:gd name="connsiteY226" fmla="*/ 2548 h 10000"/>
                <a:gd name="connsiteX227" fmla="*/ 8815 w 10000"/>
                <a:gd name="connsiteY227" fmla="*/ 2548 h 10000"/>
                <a:gd name="connsiteX228" fmla="*/ 8789 w 10000"/>
                <a:gd name="connsiteY228" fmla="*/ 2457 h 10000"/>
                <a:gd name="connsiteX229" fmla="*/ 8798 w 10000"/>
                <a:gd name="connsiteY229" fmla="*/ 2467 h 10000"/>
                <a:gd name="connsiteX230" fmla="*/ 8841 w 10000"/>
                <a:gd name="connsiteY230" fmla="*/ 2457 h 10000"/>
                <a:gd name="connsiteX231" fmla="*/ 8855 w 10000"/>
                <a:gd name="connsiteY231" fmla="*/ 2341 h 10000"/>
                <a:gd name="connsiteX232" fmla="*/ 8898 w 10000"/>
                <a:gd name="connsiteY232" fmla="*/ 2332 h 10000"/>
                <a:gd name="connsiteX233" fmla="*/ 8946 w 10000"/>
                <a:gd name="connsiteY233" fmla="*/ 2330 h 10000"/>
                <a:gd name="connsiteX234" fmla="*/ 8946 w 10000"/>
                <a:gd name="connsiteY234" fmla="*/ 2361 h 10000"/>
                <a:gd name="connsiteX235" fmla="*/ 8994 w 10000"/>
                <a:gd name="connsiteY235" fmla="*/ 2389 h 10000"/>
                <a:gd name="connsiteX236" fmla="*/ 9051 w 10000"/>
                <a:gd name="connsiteY236" fmla="*/ 2400 h 10000"/>
                <a:gd name="connsiteX237" fmla="*/ 9094 w 10000"/>
                <a:gd name="connsiteY237" fmla="*/ 2324 h 10000"/>
                <a:gd name="connsiteX238" fmla="*/ 9164 w 10000"/>
                <a:gd name="connsiteY238" fmla="*/ 2347 h 10000"/>
                <a:gd name="connsiteX239" fmla="*/ 9247 w 10000"/>
                <a:gd name="connsiteY239" fmla="*/ 2402 h 10000"/>
                <a:gd name="connsiteX240" fmla="*/ 9286 w 10000"/>
                <a:gd name="connsiteY240" fmla="*/ 2400 h 10000"/>
                <a:gd name="connsiteX241" fmla="*/ 9355 w 10000"/>
                <a:gd name="connsiteY241" fmla="*/ 2428 h 10000"/>
                <a:gd name="connsiteX242" fmla="*/ 9408 w 10000"/>
                <a:gd name="connsiteY242" fmla="*/ 2359 h 10000"/>
                <a:gd name="connsiteX243" fmla="*/ 9717 w 10000"/>
                <a:gd name="connsiteY243" fmla="*/ 2343 h 10000"/>
                <a:gd name="connsiteX244" fmla="*/ 9830 w 10000"/>
                <a:gd name="connsiteY244" fmla="*/ 2369 h 10000"/>
                <a:gd name="connsiteX245" fmla="*/ 9909 w 10000"/>
                <a:gd name="connsiteY245" fmla="*/ 2410 h 10000"/>
                <a:gd name="connsiteX246" fmla="*/ 9948 w 10000"/>
                <a:gd name="connsiteY246" fmla="*/ 2365 h 10000"/>
                <a:gd name="connsiteX247" fmla="*/ 10000 w 10000"/>
                <a:gd name="connsiteY247" fmla="*/ 2349 h 10000"/>
                <a:gd name="connsiteX248" fmla="*/ 9704 w 10000"/>
                <a:gd name="connsiteY248" fmla="*/ 1992 h 10000"/>
                <a:gd name="connsiteX249" fmla="*/ 9743 w 10000"/>
                <a:gd name="connsiteY249" fmla="*/ 1897 h 10000"/>
                <a:gd name="connsiteX250" fmla="*/ 9830 w 10000"/>
                <a:gd name="connsiteY250" fmla="*/ 1819 h 10000"/>
                <a:gd name="connsiteX251" fmla="*/ 9830 w 10000"/>
                <a:gd name="connsiteY251" fmla="*/ 1699 h 10000"/>
                <a:gd name="connsiteX252" fmla="*/ 9556 w 10000"/>
                <a:gd name="connsiteY252" fmla="*/ 1465 h 10000"/>
                <a:gd name="connsiteX253" fmla="*/ 9512 w 10000"/>
                <a:gd name="connsiteY253" fmla="*/ 1379 h 10000"/>
                <a:gd name="connsiteX254" fmla="*/ 9573 w 10000"/>
                <a:gd name="connsiteY254" fmla="*/ 1271 h 10000"/>
                <a:gd name="connsiteX255" fmla="*/ 9543 w 10000"/>
                <a:gd name="connsiteY255" fmla="*/ 1194 h 10000"/>
                <a:gd name="connsiteX256" fmla="*/ 9486 w 10000"/>
                <a:gd name="connsiteY256" fmla="*/ 1159 h 10000"/>
                <a:gd name="connsiteX257" fmla="*/ 9438 w 10000"/>
                <a:gd name="connsiteY257" fmla="*/ 978 h 10000"/>
                <a:gd name="connsiteX258" fmla="*/ 9495 w 10000"/>
                <a:gd name="connsiteY258" fmla="*/ 831 h 10000"/>
                <a:gd name="connsiteX259" fmla="*/ 9077 w 10000"/>
                <a:gd name="connsiteY259" fmla="*/ 517 h 10000"/>
                <a:gd name="connsiteX260" fmla="*/ 8872 w 10000"/>
                <a:gd name="connsiteY260" fmla="*/ 440 h 10000"/>
                <a:gd name="connsiteX261" fmla="*/ 8493 w 10000"/>
                <a:gd name="connsiteY261" fmla="*/ 389 h 10000"/>
                <a:gd name="connsiteX262" fmla="*/ 7709 w 10000"/>
                <a:gd name="connsiteY262" fmla="*/ 26 h 10000"/>
                <a:gd name="connsiteX263" fmla="*/ 7683 w 10000"/>
                <a:gd name="connsiteY263" fmla="*/ 2 h 10000"/>
                <a:gd name="connsiteX264" fmla="*/ 7417 w 10000"/>
                <a:gd name="connsiteY264" fmla="*/ 0 h 10000"/>
                <a:gd name="connsiteX265" fmla="*/ 7356 w 10000"/>
                <a:gd name="connsiteY265" fmla="*/ 14 h 10000"/>
                <a:gd name="connsiteX266" fmla="*/ 7369 w 10000"/>
                <a:gd name="connsiteY266" fmla="*/ 61 h 10000"/>
                <a:gd name="connsiteX267" fmla="*/ 7422 w 10000"/>
                <a:gd name="connsiteY267" fmla="*/ 86 h 10000"/>
                <a:gd name="connsiteX268" fmla="*/ 7435 w 10000"/>
                <a:gd name="connsiteY268" fmla="*/ 139 h 10000"/>
                <a:gd name="connsiteX269" fmla="*/ 7417 w 10000"/>
                <a:gd name="connsiteY269" fmla="*/ 181 h 10000"/>
                <a:gd name="connsiteX270" fmla="*/ 7369 w 10000"/>
                <a:gd name="connsiteY270" fmla="*/ 208 h 10000"/>
                <a:gd name="connsiteX271" fmla="*/ 7334 w 10000"/>
                <a:gd name="connsiteY271" fmla="*/ 283 h 10000"/>
                <a:gd name="connsiteX272" fmla="*/ 7269 w 10000"/>
                <a:gd name="connsiteY272" fmla="*/ 336 h 10000"/>
                <a:gd name="connsiteX273" fmla="*/ 7282 w 10000"/>
                <a:gd name="connsiteY273" fmla="*/ 387 h 10000"/>
                <a:gd name="connsiteX274" fmla="*/ 7382 w 10000"/>
                <a:gd name="connsiteY274" fmla="*/ 434 h 10000"/>
                <a:gd name="connsiteX275" fmla="*/ 7317 w 10000"/>
                <a:gd name="connsiteY275" fmla="*/ 475 h 10000"/>
                <a:gd name="connsiteX276" fmla="*/ 7221 w 10000"/>
                <a:gd name="connsiteY276" fmla="*/ 485 h 10000"/>
                <a:gd name="connsiteX277" fmla="*/ 6420 w 10000"/>
                <a:gd name="connsiteY277" fmla="*/ 387 h 10000"/>
                <a:gd name="connsiteX278" fmla="*/ 6324 w 10000"/>
                <a:gd name="connsiteY278" fmla="*/ 395 h 10000"/>
                <a:gd name="connsiteX279" fmla="*/ 6267 w 10000"/>
                <a:gd name="connsiteY279" fmla="*/ 414 h 10000"/>
                <a:gd name="connsiteX280" fmla="*/ 6211 w 10000"/>
                <a:gd name="connsiteY280" fmla="*/ 462 h 10000"/>
                <a:gd name="connsiteX281" fmla="*/ 6220 w 10000"/>
                <a:gd name="connsiteY281" fmla="*/ 581 h 10000"/>
                <a:gd name="connsiteX282" fmla="*/ 6132 w 10000"/>
                <a:gd name="connsiteY282" fmla="*/ 735 h 10000"/>
                <a:gd name="connsiteX283" fmla="*/ 6024 w 10000"/>
                <a:gd name="connsiteY283" fmla="*/ 815 h 10000"/>
                <a:gd name="connsiteX284" fmla="*/ 5980 w 10000"/>
                <a:gd name="connsiteY284" fmla="*/ 805 h 10000"/>
                <a:gd name="connsiteX285" fmla="*/ 5880 w 10000"/>
                <a:gd name="connsiteY285" fmla="*/ 739 h 10000"/>
                <a:gd name="connsiteX286" fmla="*/ 5753 w 10000"/>
                <a:gd name="connsiteY286" fmla="*/ 705 h 10000"/>
                <a:gd name="connsiteX287" fmla="*/ 5618 w 10000"/>
                <a:gd name="connsiteY287" fmla="*/ 715 h 10000"/>
                <a:gd name="connsiteX288" fmla="*/ 5301 w 10000"/>
                <a:gd name="connsiteY288" fmla="*/ 866 h 10000"/>
                <a:gd name="connsiteX289" fmla="*/ 5218 w 10000"/>
                <a:gd name="connsiteY289" fmla="*/ 1017 h 10000"/>
                <a:gd name="connsiteX290" fmla="*/ 4978 w 10000"/>
                <a:gd name="connsiteY290" fmla="*/ 1153 h 10000"/>
                <a:gd name="connsiteX291" fmla="*/ 4935 w 10000"/>
                <a:gd name="connsiteY291" fmla="*/ 1222 h 10000"/>
                <a:gd name="connsiteX292" fmla="*/ 5061 w 10000"/>
                <a:gd name="connsiteY292" fmla="*/ 1344 h 10000"/>
                <a:gd name="connsiteX293" fmla="*/ 5074 w 10000"/>
                <a:gd name="connsiteY293" fmla="*/ 1412 h 10000"/>
                <a:gd name="connsiteX294" fmla="*/ 4421 w 10000"/>
                <a:gd name="connsiteY294" fmla="*/ 1813 h 10000"/>
                <a:gd name="connsiteX295" fmla="*/ 4220 w 10000"/>
                <a:gd name="connsiteY295" fmla="*/ 2070 h 10000"/>
                <a:gd name="connsiteX296" fmla="*/ 4003 w 10000"/>
                <a:gd name="connsiteY296" fmla="*/ 2135 h 10000"/>
                <a:gd name="connsiteX297" fmla="*/ 3868 w 10000"/>
                <a:gd name="connsiteY297" fmla="*/ 2131 h 10000"/>
                <a:gd name="connsiteX298" fmla="*/ 3785 w 10000"/>
                <a:gd name="connsiteY298" fmla="*/ 2153 h 10000"/>
                <a:gd name="connsiteX299" fmla="*/ 3558 w 10000"/>
                <a:gd name="connsiteY299" fmla="*/ 2793 h 10000"/>
                <a:gd name="connsiteX300" fmla="*/ 3036 w 10000"/>
                <a:gd name="connsiteY300" fmla="*/ 3166 h 10000"/>
                <a:gd name="connsiteX301" fmla="*/ 3040 w 10000"/>
                <a:gd name="connsiteY301" fmla="*/ 3225 h 10000"/>
                <a:gd name="connsiteX302" fmla="*/ 3271 w 10000"/>
                <a:gd name="connsiteY302" fmla="*/ 3392 h 10000"/>
                <a:gd name="connsiteX303" fmla="*/ 3197 w 10000"/>
                <a:gd name="connsiteY303" fmla="*/ 3573 h 10000"/>
                <a:gd name="connsiteX304" fmla="*/ 3062 w 10000"/>
                <a:gd name="connsiteY304" fmla="*/ 3640 h 10000"/>
                <a:gd name="connsiteX305" fmla="*/ 2657 w 10000"/>
                <a:gd name="connsiteY305" fmla="*/ 3595 h 10000"/>
                <a:gd name="connsiteX306" fmla="*/ 2378 w 10000"/>
                <a:gd name="connsiteY306" fmla="*/ 3620 h 10000"/>
                <a:gd name="connsiteX307" fmla="*/ 2152 w 10000"/>
                <a:gd name="connsiteY307" fmla="*/ 3673 h 10000"/>
                <a:gd name="connsiteX308" fmla="*/ 1790 w 10000"/>
                <a:gd name="connsiteY308" fmla="*/ 3840 h 10000"/>
                <a:gd name="connsiteX309" fmla="*/ 1598 w 10000"/>
                <a:gd name="connsiteY309" fmla="*/ 4042 h 10000"/>
                <a:gd name="connsiteX310" fmla="*/ 1616 w 10000"/>
                <a:gd name="connsiteY310" fmla="*/ 4154 h 10000"/>
                <a:gd name="connsiteX311" fmla="*/ 1681 w 10000"/>
                <a:gd name="connsiteY311" fmla="*/ 4241 h 10000"/>
                <a:gd name="connsiteX312" fmla="*/ 1733 w 10000"/>
                <a:gd name="connsiteY312" fmla="*/ 4276 h 10000"/>
                <a:gd name="connsiteX313" fmla="*/ 1638 w 10000"/>
                <a:gd name="connsiteY313" fmla="*/ 4331 h 10000"/>
                <a:gd name="connsiteX314" fmla="*/ 1433 w 10000"/>
                <a:gd name="connsiteY314" fmla="*/ 4710 h 10000"/>
                <a:gd name="connsiteX315" fmla="*/ 1472 w 10000"/>
                <a:gd name="connsiteY315" fmla="*/ 4732 h 10000"/>
                <a:gd name="connsiteX316" fmla="*/ 1503 w 10000"/>
                <a:gd name="connsiteY316" fmla="*/ 4828 h 10000"/>
                <a:gd name="connsiteX317" fmla="*/ 1407 w 10000"/>
                <a:gd name="connsiteY317" fmla="*/ 5227 h 10000"/>
                <a:gd name="connsiteX318" fmla="*/ 1503 w 10000"/>
                <a:gd name="connsiteY318" fmla="*/ 5329 h 10000"/>
                <a:gd name="connsiteX319" fmla="*/ 1764 w 10000"/>
                <a:gd name="connsiteY319" fmla="*/ 5441 h 10000"/>
                <a:gd name="connsiteX320" fmla="*/ 1777 w 10000"/>
                <a:gd name="connsiteY320" fmla="*/ 5578 h 10000"/>
                <a:gd name="connsiteX321" fmla="*/ 1664 w 10000"/>
                <a:gd name="connsiteY321" fmla="*/ 5690 h 10000"/>
                <a:gd name="connsiteX322" fmla="*/ 1503 w 10000"/>
                <a:gd name="connsiteY322" fmla="*/ 5759 h 10000"/>
                <a:gd name="connsiteX323" fmla="*/ 1289 w 10000"/>
                <a:gd name="connsiteY323" fmla="*/ 5787 h 10000"/>
                <a:gd name="connsiteX324" fmla="*/ 1233 w 10000"/>
                <a:gd name="connsiteY324" fmla="*/ 5826 h 10000"/>
                <a:gd name="connsiteX325" fmla="*/ 1359 w 10000"/>
                <a:gd name="connsiteY325" fmla="*/ 5920 h 10000"/>
                <a:gd name="connsiteX326" fmla="*/ 1429 w 10000"/>
                <a:gd name="connsiteY326" fmla="*/ 6142 h 10000"/>
                <a:gd name="connsiteX327" fmla="*/ 1267 w 10000"/>
                <a:gd name="connsiteY327" fmla="*/ 6333 h 10000"/>
                <a:gd name="connsiteX328" fmla="*/ 1324 w 10000"/>
                <a:gd name="connsiteY328" fmla="*/ 6392 h 10000"/>
                <a:gd name="connsiteX329" fmla="*/ 1272 w 10000"/>
                <a:gd name="connsiteY329" fmla="*/ 6492 h 10000"/>
                <a:gd name="connsiteX330" fmla="*/ 1167 w 10000"/>
                <a:gd name="connsiteY330" fmla="*/ 6561 h 10000"/>
                <a:gd name="connsiteX331" fmla="*/ 758 w 10000"/>
                <a:gd name="connsiteY331" fmla="*/ 6614 h 10000"/>
                <a:gd name="connsiteX332" fmla="*/ 732 w 10000"/>
                <a:gd name="connsiteY332" fmla="*/ 6706 h 10000"/>
                <a:gd name="connsiteX333" fmla="*/ 510 w 10000"/>
                <a:gd name="connsiteY333" fmla="*/ 6843 h 10000"/>
                <a:gd name="connsiteX334" fmla="*/ 540 w 10000"/>
                <a:gd name="connsiteY334" fmla="*/ 7040 h 10000"/>
                <a:gd name="connsiteX335" fmla="*/ 353 w 10000"/>
                <a:gd name="connsiteY335" fmla="*/ 7293 h 10000"/>
                <a:gd name="connsiteX336" fmla="*/ 226 w 10000"/>
                <a:gd name="connsiteY336" fmla="*/ 7323 h 10000"/>
                <a:gd name="connsiteX337" fmla="*/ 174 w 10000"/>
                <a:gd name="connsiteY337" fmla="*/ 7262 h 10000"/>
                <a:gd name="connsiteX338" fmla="*/ 109 w 10000"/>
                <a:gd name="connsiteY338" fmla="*/ 7354 h 10000"/>
                <a:gd name="connsiteX339" fmla="*/ 152 w 10000"/>
                <a:gd name="connsiteY339" fmla="*/ 7197 h 10000"/>
                <a:gd name="connsiteX340" fmla="*/ 126 w 10000"/>
                <a:gd name="connsiteY340"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145 w 10000"/>
                <a:gd name="connsiteY207" fmla="*/ 3267 h 10000"/>
                <a:gd name="connsiteX208" fmla="*/ 8075 w 10000"/>
                <a:gd name="connsiteY208" fmla="*/ 3147 h 10000"/>
                <a:gd name="connsiteX209" fmla="*/ 8079 w 10000"/>
                <a:gd name="connsiteY209" fmla="*/ 3127 h 10000"/>
                <a:gd name="connsiteX210" fmla="*/ 8380 w 10000"/>
                <a:gd name="connsiteY210" fmla="*/ 2860 h 10000"/>
                <a:gd name="connsiteX211" fmla="*/ 8253 w 10000"/>
                <a:gd name="connsiteY211" fmla="*/ 2762 h 10000"/>
                <a:gd name="connsiteX212" fmla="*/ 8267 w 10000"/>
                <a:gd name="connsiteY212" fmla="*/ 2748 h 10000"/>
                <a:gd name="connsiteX213" fmla="*/ 8397 w 10000"/>
                <a:gd name="connsiteY213" fmla="*/ 2705 h 10000"/>
                <a:gd name="connsiteX214" fmla="*/ 8402 w 10000"/>
                <a:gd name="connsiteY214" fmla="*/ 2662 h 10000"/>
                <a:gd name="connsiteX215" fmla="*/ 8449 w 10000"/>
                <a:gd name="connsiteY215" fmla="*/ 2656 h 10000"/>
                <a:gd name="connsiteX216" fmla="*/ 8558 w 10000"/>
                <a:gd name="connsiteY216" fmla="*/ 2677 h 10000"/>
                <a:gd name="connsiteX217" fmla="*/ 8593 w 10000"/>
                <a:gd name="connsiteY217" fmla="*/ 2669 h 10000"/>
                <a:gd name="connsiteX218" fmla="*/ 8606 w 10000"/>
                <a:gd name="connsiteY218" fmla="*/ 2630 h 10000"/>
                <a:gd name="connsiteX219" fmla="*/ 8567 w 10000"/>
                <a:gd name="connsiteY219" fmla="*/ 2605 h 10000"/>
                <a:gd name="connsiteX220" fmla="*/ 8685 w 10000"/>
                <a:gd name="connsiteY220" fmla="*/ 2597 h 10000"/>
                <a:gd name="connsiteX221" fmla="*/ 8698 w 10000"/>
                <a:gd name="connsiteY221" fmla="*/ 2565 h 10000"/>
                <a:gd name="connsiteX222" fmla="*/ 8558 w 10000"/>
                <a:gd name="connsiteY222" fmla="*/ 2481 h 10000"/>
                <a:gd name="connsiteX223" fmla="*/ 8558 w 10000"/>
                <a:gd name="connsiteY223" fmla="*/ 2459 h 10000"/>
                <a:gd name="connsiteX224" fmla="*/ 8698 w 10000"/>
                <a:gd name="connsiteY224" fmla="*/ 2504 h 10000"/>
                <a:gd name="connsiteX225" fmla="*/ 8763 w 10000"/>
                <a:gd name="connsiteY225" fmla="*/ 2548 h 10000"/>
                <a:gd name="connsiteX226" fmla="*/ 8815 w 10000"/>
                <a:gd name="connsiteY226" fmla="*/ 2548 h 10000"/>
                <a:gd name="connsiteX227" fmla="*/ 8789 w 10000"/>
                <a:gd name="connsiteY227" fmla="*/ 2457 h 10000"/>
                <a:gd name="connsiteX228" fmla="*/ 8798 w 10000"/>
                <a:gd name="connsiteY228" fmla="*/ 2467 h 10000"/>
                <a:gd name="connsiteX229" fmla="*/ 8841 w 10000"/>
                <a:gd name="connsiteY229" fmla="*/ 2457 h 10000"/>
                <a:gd name="connsiteX230" fmla="*/ 8855 w 10000"/>
                <a:gd name="connsiteY230" fmla="*/ 2341 h 10000"/>
                <a:gd name="connsiteX231" fmla="*/ 8898 w 10000"/>
                <a:gd name="connsiteY231" fmla="*/ 2332 h 10000"/>
                <a:gd name="connsiteX232" fmla="*/ 8946 w 10000"/>
                <a:gd name="connsiteY232" fmla="*/ 2330 h 10000"/>
                <a:gd name="connsiteX233" fmla="*/ 8946 w 10000"/>
                <a:gd name="connsiteY233" fmla="*/ 2361 h 10000"/>
                <a:gd name="connsiteX234" fmla="*/ 8994 w 10000"/>
                <a:gd name="connsiteY234" fmla="*/ 2389 h 10000"/>
                <a:gd name="connsiteX235" fmla="*/ 9051 w 10000"/>
                <a:gd name="connsiteY235" fmla="*/ 2400 h 10000"/>
                <a:gd name="connsiteX236" fmla="*/ 9094 w 10000"/>
                <a:gd name="connsiteY236" fmla="*/ 2324 h 10000"/>
                <a:gd name="connsiteX237" fmla="*/ 9164 w 10000"/>
                <a:gd name="connsiteY237" fmla="*/ 2347 h 10000"/>
                <a:gd name="connsiteX238" fmla="*/ 9247 w 10000"/>
                <a:gd name="connsiteY238" fmla="*/ 2402 h 10000"/>
                <a:gd name="connsiteX239" fmla="*/ 9286 w 10000"/>
                <a:gd name="connsiteY239" fmla="*/ 2400 h 10000"/>
                <a:gd name="connsiteX240" fmla="*/ 9355 w 10000"/>
                <a:gd name="connsiteY240" fmla="*/ 2428 h 10000"/>
                <a:gd name="connsiteX241" fmla="*/ 9408 w 10000"/>
                <a:gd name="connsiteY241" fmla="*/ 2359 h 10000"/>
                <a:gd name="connsiteX242" fmla="*/ 9717 w 10000"/>
                <a:gd name="connsiteY242" fmla="*/ 2343 h 10000"/>
                <a:gd name="connsiteX243" fmla="*/ 9830 w 10000"/>
                <a:gd name="connsiteY243" fmla="*/ 2369 h 10000"/>
                <a:gd name="connsiteX244" fmla="*/ 9909 w 10000"/>
                <a:gd name="connsiteY244" fmla="*/ 2410 h 10000"/>
                <a:gd name="connsiteX245" fmla="*/ 9948 w 10000"/>
                <a:gd name="connsiteY245" fmla="*/ 2365 h 10000"/>
                <a:gd name="connsiteX246" fmla="*/ 10000 w 10000"/>
                <a:gd name="connsiteY246" fmla="*/ 2349 h 10000"/>
                <a:gd name="connsiteX247" fmla="*/ 9704 w 10000"/>
                <a:gd name="connsiteY247" fmla="*/ 1992 h 10000"/>
                <a:gd name="connsiteX248" fmla="*/ 9743 w 10000"/>
                <a:gd name="connsiteY248" fmla="*/ 1897 h 10000"/>
                <a:gd name="connsiteX249" fmla="*/ 9830 w 10000"/>
                <a:gd name="connsiteY249" fmla="*/ 1819 h 10000"/>
                <a:gd name="connsiteX250" fmla="*/ 9830 w 10000"/>
                <a:gd name="connsiteY250" fmla="*/ 1699 h 10000"/>
                <a:gd name="connsiteX251" fmla="*/ 9556 w 10000"/>
                <a:gd name="connsiteY251" fmla="*/ 1465 h 10000"/>
                <a:gd name="connsiteX252" fmla="*/ 9512 w 10000"/>
                <a:gd name="connsiteY252" fmla="*/ 1379 h 10000"/>
                <a:gd name="connsiteX253" fmla="*/ 9573 w 10000"/>
                <a:gd name="connsiteY253" fmla="*/ 1271 h 10000"/>
                <a:gd name="connsiteX254" fmla="*/ 9543 w 10000"/>
                <a:gd name="connsiteY254" fmla="*/ 1194 h 10000"/>
                <a:gd name="connsiteX255" fmla="*/ 9486 w 10000"/>
                <a:gd name="connsiteY255" fmla="*/ 1159 h 10000"/>
                <a:gd name="connsiteX256" fmla="*/ 9438 w 10000"/>
                <a:gd name="connsiteY256" fmla="*/ 978 h 10000"/>
                <a:gd name="connsiteX257" fmla="*/ 9495 w 10000"/>
                <a:gd name="connsiteY257" fmla="*/ 831 h 10000"/>
                <a:gd name="connsiteX258" fmla="*/ 9077 w 10000"/>
                <a:gd name="connsiteY258" fmla="*/ 517 h 10000"/>
                <a:gd name="connsiteX259" fmla="*/ 8872 w 10000"/>
                <a:gd name="connsiteY259" fmla="*/ 440 h 10000"/>
                <a:gd name="connsiteX260" fmla="*/ 8493 w 10000"/>
                <a:gd name="connsiteY260" fmla="*/ 389 h 10000"/>
                <a:gd name="connsiteX261" fmla="*/ 7709 w 10000"/>
                <a:gd name="connsiteY261" fmla="*/ 26 h 10000"/>
                <a:gd name="connsiteX262" fmla="*/ 7683 w 10000"/>
                <a:gd name="connsiteY262" fmla="*/ 2 h 10000"/>
                <a:gd name="connsiteX263" fmla="*/ 7417 w 10000"/>
                <a:gd name="connsiteY263" fmla="*/ 0 h 10000"/>
                <a:gd name="connsiteX264" fmla="*/ 7356 w 10000"/>
                <a:gd name="connsiteY264" fmla="*/ 14 h 10000"/>
                <a:gd name="connsiteX265" fmla="*/ 7369 w 10000"/>
                <a:gd name="connsiteY265" fmla="*/ 61 h 10000"/>
                <a:gd name="connsiteX266" fmla="*/ 7422 w 10000"/>
                <a:gd name="connsiteY266" fmla="*/ 86 h 10000"/>
                <a:gd name="connsiteX267" fmla="*/ 7435 w 10000"/>
                <a:gd name="connsiteY267" fmla="*/ 139 h 10000"/>
                <a:gd name="connsiteX268" fmla="*/ 7417 w 10000"/>
                <a:gd name="connsiteY268" fmla="*/ 181 h 10000"/>
                <a:gd name="connsiteX269" fmla="*/ 7369 w 10000"/>
                <a:gd name="connsiteY269" fmla="*/ 208 h 10000"/>
                <a:gd name="connsiteX270" fmla="*/ 7334 w 10000"/>
                <a:gd name="connsiteY270" fmla="*/ 283 h 10000"/>
                <a:gd name="connsiteX271" fmla="*/ 7269 w 10000"/>
                <a:gd name="connsiteY271" fmla="*/ 336 h 10000"/>
                <a:gd name="connsiteX272" fmla="*/ 7282 w 10000"/>
                <a:gd name="connsiteY272" fmla="*/ 387 h 10000"/>
                <a:gd name="connsiteX273" fmla="*/ 7382 w 10000"/>
                <a:gd name="connsiteY273" fmla="*/ 434 h 10000"/>
                <a:gd name="connsiteX274" fmla="*/ 7317 w 10000"/>
                <a:gd name="connsiteY274" fmla="*/ 475 h 10000"/>
                <a:gd name="connsiteX275" fmla="*/ 7221 w 10000"/>
                <a:gd name="connsiteY275" fmla="*/ 485 h 10000"/>
                <a:gd name="connsiteX276" fmla="*/ 6420 w 10000"/>
                <a:gd name="connsiteY276" fmla="*/ 387 h 10000"/>
                <a:gd name="connsiteX277" fmla="*/ 6324 w 10000"/>
                <a:gd name="connsiteY277" fmla="*/ 395 h 10000"/>
                <a:gd name="connsiteX278" fmla="*/ 6267 w 10000"/>
                <a:gd name="connsiteY278" fmla="*/ 414 h 10000"/>
                <a:gd name="connsiteX279" fmla="*/ 6211 w 10000"/>
                <a:gd name="connsiteY279" fmla="*/ 462 h 10000"/>
                <a:gd name="connsiteX280" fmla="*/ 6220 w 10000"/>
                <a:gd name="connsiteY280" fmla="*/ 581 h 10000"/>
                <a:gd name="connsiteX281" fmla="*/ 6132 w 10000"/>
                <a:gd name="connsiteY281" fmla="*/ 735 h 10000"/>
                <a:gd name="connsiteX282" fmla="*/ 6024 w 10000"/>
                <a:gd name="connsiteY282" fmla="*/ 815 h 10000"/>
                <a:gd name="connsiteX283" fmla="*/ 5980 w 10000"/>
                <a:gd name="connsiteY283" fmla="*/ 805 h 10000"/>
                <a:gd name="connsiteX284" fmla="*/ 5880 w 10000"/>
                <a:gd name="connsiteY284" fmla="*/ 739 h 10000"/>
                <a:gd name="connsiteX285" fmla="*/ 5753 w 10000"/>
                <a:gd name="connsiteY285" fmla="*/ 705 h 10000"/>
                <a:gd name="connsiteX286" fmla="*/ 5618 w 10000"/>
                <a:gd name="connsiteY286" fmla="*/ 715 h 10000"/>
                <a:gd name="connsiteX287" fmla="*/ 5301 w 10000"/>
                <a:gd name="connsiteY287" fmla="*/ 866 h 10000"/>
                <a:gd name="connsiteX288" fmla="*/ 5218 w 10000"/>
                <a:gd name="connsiteY288" fmla="*/ 1017 h 10000"/>
                <a:gd name="connsiteX289" fmla="*/ 4978 w 10000"/>
                <a:gd name="connsiteY289" fmla="*/ 1153 h 10000"/>
                <a:gd name="connsiteX290" fmla="*/ 4935 w 10000"/>
                <a:gd name="connsiteY290" fmla="*/ 1222 h 10000"/>
                <a:gd name="connsiteX291" fmla="*/ 5061 w 10000"/>
                <a:gd name="connsiteY291" fmla="*/ 1344 h 10000"/>
                <a:gd name="connsiteX292" fmla="*/ 5074 w 10000"/>
                <a:gd name="connsiteY292" fmla="*/ 1412 h 10000"/>
                <a:gd name="connsiteX293" fmla="*/ 4421 w 10000"/>
                <a:gd name="connsiteY293" fmla="*/ 1813 h 10000"/>
                <a:gd name="connsiteX294" fmla="*/ 4220 w 10000"/>
                <a:gd name="connsiteY294" fmla="*/ 2070 h 10000"/>
                <a:gd name="connsiteX295" fmla="*/ 4003 w 10000"/>
                <a:gd name="connsiteY295" fmla="*/ 2135 h 10000"/>
                <a:gd name="connsiteX296" fmla="*/ 3868 w 10000"/>
                <a:gd name="connsiteY296" fmla="*/ 2131 h 10000"/>
                <a:gd name="connsiteX297" fmla="*/ 3785 w 10000"/>
                <a:gd name="connsiteY297" fmla="*/ 2153 h 10000"/>
                <a:gd name="connsiteX298" fmla="*/ 3558 w 10000"/>
                <a:gd name="connsiteY298" fmla="*/ 2793 h 10000"/>
                <a:gd name="connsiteX299" fmla="*/ 3036 w 10000"/>
                <a:gd name="connsiteY299" fmla="*/ 3166 h 10000"/>
                <a:gd name="connsiteX300" fmla="*/ 3040 w 10000"/>
                <a:gd name="connsiteY300" fmla="*/ 3225 h 10000"/>
                <a:gd name="connsiteX301" fmla="*/ 3271 w 10000"/>
                <a:gd name="connsiteY301" fmla="*/ 3392 h 10000"/>
                <a:gd name="connsiteX302" fmla="*/ 3197 w 10000"/>
                <a:gd name="connsiteY302" fmla="*/ 3573 h 10000"/>
                <a:gd name="connsiteX303" fmla="*/ 3062 w 10000"/>
                <a:gd name="connsiteY303" fmla="*/ 3640 h 10000"/>
                <a:gd name="connsiteX304" fmla="*/ 2657 w 10000"/>
                <a:gd name="connsiteY304" fmla="*/ 3595 h 10000"/>
                <a:gd name="connsiteX305" fmla="*/ 2378 w 10000"/>
                <a:gd name="connsiteY305" fmla="*/ 3620 h 10000"/>
                <a:gd name="connsiteX306" fmla="*/ 2152 w 10000"/>
                <a:gd name="connsiteY306" fmla="*/ 3673 h 10000"/>
                <a:gd name="connsiteX307" fmla="*/ 1790 w 10000"/>
                <a:gd name="connsiteY307" fmla="*/ 3840 h 10000"/>
                <a:gd name="connsiteX308" fmla="*/ 1598 w 10000"/>
                <a:gd name="connsiteY308" fmla="*/ 4042 h 10000"/>
                <a:gd name="connsiteX309" fmla="*/ 1616 w 10000"/>
                <a:gd name="connsiteY309" fmla="*/ 4154 h 10000"/>
                <a:gd name="connsiteX310" fmla="*/ 1681 w 10000"/>
                <a:gd name="connsiteY310" fmla="*/ 4241 h 10000"/>
                <a:gd name="connsiteX311" fmla="*/ 1733 w 10000"/>
                <a:gd name="connsiteY311" fmla="*/ 4276 h 10000"/>
                <a:gd name="connsiteX312" fmla="*/ 1638 w 10000"/>
                <a:gd name="connsiteY312" fmla="*/ 4331 h 10000"/>
                <a:gd name="connsiteX313" fmla="*/ 1433 w 10000"/>
                <a:gd name="connsiteY313" fmla="*/ 4710 h 10000"/>
                <a:gd name="connsiteX314" fmla="*/ 1472 w 10000"/>
                <a:gd name="connsiteY314" fmla="*/ 4732 h 10000"/>
                <a:gd name="connsiteX315" fmla="*/ 1503 w 10000"/>
                <a:gd name="connsiteY315" fmla="*/ 4828 h 10000"/>
                <a:gd name="connsiteX316" fmla="*/ 1407 w 10000"/>
                <a:gd name="connsiteY316" fmla="*/ 5227 h 10000"/>
                <a:gd name="connsiteX317" fmla="*/ 1503 w 10000"/>
                <a:gd name="connsiteY317" fmla="*/ 5329 h 10000"/>
                <a:gd name="connsiteX318" fmla="*/ 1764 w 10000"/>
                <a:gd name="connsiteY318" fmla="*/ 5441 h 10000"/>
                <a:gd name="connsiteX319" fmla="*/ 1777 w 10000"/>
                <a:gd name="connsiteY319" fmla="*/ 5578 h 10000"/>
                <a:gd name="connsiteX320" fmla="*/ 1664 w 10000"/>
                <a:gd name="connsiteY320" fmla="*/ 5690 h 10000"/>
                <a:gd name="connsiteX321" fmla="*/ 1503 w 10000"/>
                <a:gd name="connsiteY321" fmla="*/ 5759 h 10000"/>
                <a:gd name="connsiteX322" fmla="*/ 1289 w 10000"/>
                <a:gd name="connsiteY322" fmla="*/ 5787 h 10000"/>
                <a:gd name="connsiteX323" fmla="*/ 1233 w 10000"/>
                <a:gd name="connsiteY323" fmla="*/ 5826 h 10000"/>
                <a:gd name="connsiteX324" fmla="*/ 1359 w 10000"/>
                <a:gd name="connsiteY324" fmla="*/ 5920 h 10000"/>
                <a:gd name="connsiteX325" fmla="*/ 1429 w 10000"/>
                <a:gd name="connsiteY325" fmla="*/ 6142 h 10000"/>
                <a:gd name="connsiteX326" fmla="*/ 1267 w 10000"/>
                <a:gd name="connsiteY326" fmla="*/ 6333 h 10000"/>
                <a:gd name="connsiteX327" fmla="*/ 1324 w 10000"/>
                <a:gd name="connsiteY327" fmla="*/ 6392 h 10000"/>
                <a:gd name="connsiteX328" fmla="*/ 1272 w 10000"/>
                <a:gd name="connsiteY328" fmla="*/ 6492 h 10000"/>
                <a:gd name="connsiteX329" fmla="*/ 1167 w 10000"/>
                <a:gd name="connsiteY329" fmla="*/ 6561 h 10000"/>
                <a:gd name="connsiteX330" fmla="*/ 758 w 10000"/>
                <a:gd name="connsiteY330" fmla="*/ 6614 h 10000"/>
                <a:gd name="connsiteX331" fmla="*/ 732 w 10000"/>
                <a:gd name="connsiteY331" fmla="*/ 6706 h 10000"/>
                <a:gd name="connsiteX332" fmla="*/ 510 w 10000"/>
                <a:gd name="connsiteY332" fmla="*/ 6843 h 10000"/>
                <a:gd name="connsiteX333" fmla="*/ 540 w 10000"/>
                <a:gd name="connsiteY333" fmla="*/ 7040 h 10000"/>
                <a:gd name="connsiteX334" fmla="*/ 353 w 10000"/>
                <a:gd name="connsiteY334" fmla="*/ 7293 h 10000"/>
                <a:gd name="connsiteX335" fmla="*/ 226 w 10000"/>
                <a:gd name="connsiteY335" fmla="*/ 7323 h 10000"/>
                <a:gd name="connsiteX336" fmla="*/ 174 w 10000"/>
                <a:gd name="connsiteY336" fmla="*/ 7262 h 10000"/>
                <a:gd name="connsiteX337" fmla="*/ 109 w 10000"/>
                <a:gd name="connsiteY337" fmla="*/ 7354 h 10000"/>
                <a:gd name="connsiteX338" fmla="*/ 152 w 10000"/>
                <a:gd name="connsiteY338" fmla="*/ 7197 h 10000"/>
                <a:gd name="connsiteX339" fmla="*/ 126 w 10000"/>
                <a:gd name="connsiteY339"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145 w 10000"/>
                <a:gd name="connsiteY207" fmla="*/ 3267 h 10000"/>
                <a:gd name="connsiteX208" fmla="*/ 8075 w 10000"/>
                <a:gd name="connsiteY208" fmla="*/ 3147 h 10000"/>
                <a:gd name="connsiteX209" fmla="*/ 8380 w 10000"/>
                <a:gd name="connsiteY209" fmla="*/ 2860 h 10000"/>
                <a:gd name="connsiteX210" fmla="*/ 8253 w 10000"/>
                <a:gd name="connsiteY210" fmla="*/ 2762 h 10000"/>
                <a:gd name="connsiteX211" fmla="*/ 8267 w 10000"/>
                <a:gd name="connsiteY211" fmla="*/ 2748 h 10000"/>
                <a:gd name="connsiteX212" fmla="*/ 8397 w 10000"/>
                <a:gd name="connsiteY212" fmla="*/ 2705 h 10000"/>
                <a:gd name="connsiteX213" fmla="*/ 8402 w 10000"/>
                <a:gd name="connsiteY213" fmla="*/ 2662 h 10000"/>
                <a:gd name="connsiteX214" fmla="*/ 8449 w 10000"/>
                <a:gd name="connsiteY214" fmla="*/ 2656 h 10000"/>
                <a:gd name="connsiteX215" fmla="*/ 8558 w 10000"/>
                <a:gd name="connsiteY215" fmla="*/ 2677 h 10000"/>
                <a:gd name="connsiteX216" fmla="*/ 8593 w 10000"/>
                <a:gd name="connsiteY216" fmla="*/ 2669 h 10000"/>
                <a:gd name="connsiteX217" fmla="*/ 8606 w 10000"/>
                <a:gd name="connsiteY217" fmla="*/ 2630 h 10000"/>
                <a:gd name="connsiteX218" fmla="*/ 8567 w 10000"/>
                <a:gd name="connsiteY218" fmla="*/ 2605 h 10000"/>
                <a:gd name="connsiteX219" fmla="*/ 8685 w 10000"/>
                <a:gd name="connsiteY219" fmla="*/ 2597 h 10000"/>
                <a:gd name="connsiteX220" fmla="*/ 8698 w 10000"/>
                <a:gd name="connsiteY220" fmla="*/ 2565 h 10000"/>
                <a:gd name="connsiteX221" fmla="*/ 8558 w 10000"/>
                <a:gd name="connsiteY221" fmla="*/ 2481 h 10000"/>
                <a:gd name="connsiteX222" fmla="*/ 8558 w 10000"/>
                <a:gd name="connsiteY222" fmla="*/ 2459 h 10000"/>
                <a:gd name="connsiteX223" fmla="*/ 8698 w 10000"/>
                <a:gd name="connsiteY223" fmla="*/ 2504 h 10000"/>
                <a:gd name="connsiteX224" fmla="*/ 8763 w 10000"/>
                <a:gd name="connsiteY224" fmla="*/ 2548 h 10000"/>
                <a:gd name="connsiteX225" fmla="*/ 8815 w 10000"/>
                <a:gd name="connsiteY225" fmla="*/ 2548 h 10000"/>
                <a:gd name="connsiteX226" fmla="*/ 8789 w 10000"/>
                <a:gd name="connsiteY226" fmla="*/ 2457 h 10000"/>
                <a:gd name="connsiteX227" fmla="*/ 8798 w 10000"/>
                <a:gd name="connsiteY227" fmla="*/ 2467 h 10000"/>
                <a:gd name="connsiteX228" fmla="*/ 8841 w 10000"/>
                <a:gd name="connsiteY228" fmla="*/ 2457 h 10000"/>
                <a:gd name="connsiteX229" fmla="*/ 8855 w 10000"/>
                <a:gd name="connsiteY229" fmla="*/ 2341 h 10000"/>
                <a:gd name="connsiteX230" fmla="*/ 8898 w 10000"/>
                <a:gd name="connsiteY230" fmla="*/ 2332 h 10000"/>
                <a:gd name="connsiteX231" fmla="*/ 8946 w 10000"/>
                <a:gd name="connsiteY231" fmla="*/ 2330 h 10000"/>
                <a:gd name="connsiteX232" fmla="*/ 8946 w 10000"/>
                <a:gd name="connsiteY232" fmla="*/ 2361 h 10000"/>
                <a:gd name="connsiteX233" fmla="*/ 8994 w 10000"/>
                <a:gd name="connsiteY233" fmla="*/ 2389 h 10000"/>
                <a:gd name="connsiteX234" fmla="*/ 9051 w 10000"/>
                <a:gd name="connsiteY234" fmla="*/ 2400 h 10000"/>
                <a:gd name="connsiteX235" fmla="*/ 9094 w 10000"/>
                <a:gd name="connsiteY235" fmla="*/ 2324 h 10000"/>
                <a:gd name="connsiteX236" fmla="*/ 9164 w 10000"/>
                <a:gd name="connsiteY236" fmla="*/ 2347 h 10000"/>
                <a:gd name="connsiteX237" fmla="*/ 9247 w 10000"/>
                <a:gd name="connsiteY237" fmla="*/ 2402 h 10000"/>
                <a:gd name="connsiteX238" fmla="*/ 9286 w 10000"/>
                <a:gd name="connsiteY238" fmla="*/ 2400 h 10000"/>
                <a:gd name="connsiteX239" fmla="*/ 9355 w 10000"/>
                <a:gd name="connsiteY239" fmla="*/ 2428 h 10000"/>
                <a:gd name="connsiteX240" fmla="*/ 9408 w 10000"/>
                <a:gd name="connsiteY240" fmla="*/ 2359 h 10000"/>
                <a:gd name="connsiteX241" fmla="*/ 9717 w 10000"/>
                <a:gd name="connsiteY241" fmla="*/ 2343 h 10000"/>
                <a:gd name="connsiteX242" fmla="*/ 9830 w 10000"/>
                <a:gd name="connsiteY242" fmla="*/ 2369 h 10000"/>
                <a:gd name="connsiteX243" fmla="*/ 9909 w 10000"/>
                <a:gd name="connsiteY243" fmla="*/ 2410 h 10000"/>
                <a:gd name="connsiteX244" fmla="*/ 9948 w 10000"/>
                <a:gd name="connsiteY244" fmla="*/ 2365 h 10000"/>
                <a:gd name="connsiteX245" fmla="*/ 10000 w 10000"/>
                <a:gd name="connsiteY245" fmla="*/ 2349 h 10000"/>
                <a:gd name="connsiteX246" fmla="*/ 9704 w 10000"/>
                <a:gd name="connsiteY246" fmla="*/ 1992 h 10000"/>
                <a:gd name="connsiteX247" fmla="*/ 9743 w 10000"/>
                <a:gd name="connsiteY247" fmla="*/ 1897 h 10000"/>
                <a:gd name="connsiteX248" fmla="*/ 9830 w 10000"/>
                <a:gd name="connsiteY248" fmla="*/ 1819 h 10000"/>
                <a:gd name="connsiteX249" fmla="*/ 9830 w 10000"/>
                <a:gd name="connsiteY249" fmla="*/ 1699 h 10000"/>
                <a:gd name="connsiteX250" fmla="*/ 9556 w 10000"/>
                <a:gd name="connsiteY250" fmla="*/ 1465 h 10000"/>
                <a:gd name="connsiteX251" fmla="*/ 9512 w 10000"/>
                <a:gd name="connsiteY251" fmla="*/ 1379 h 10000"/>
                <a:gd name="connsiteX252" fmla="*/ 9573 w 10000"/>
                <a:gd name="connsiteY252" fmla="*/ 1271 h 10000"/>
                <a:gd name="connsiteX253" fmla="*/ 9543 w 10000"/>
                <a:gd name="connsiteY253" fmla="*/ 1194 h 10000"/>
                <a:gd name="connsiteX254" fmla="*/ 9486 w 10000"/>
                <a:gd name="connsiteY254" fmla="*/ 1159 h 10000"/>
                <a:gd name="connsiteX255" fmla="*/ 9438 w 10000"/>
                <a:gd name="connsiteY255" fmla="*/ 978 h 10000"/>
                <a:gd name="connsiteX256" fmla="*/ 9495 w 10000"/>
                <a:gd name="connsiteY256" fmla="*/ 831 h 10000"/>
                <a:gd name="connsiteX257" fmla="*/ 9077 w 10000"/>
                <a:gd name="connsiteY257" fmla="*/ 517 h 10000"/>
                <a:gd name="connsiteX258" fmla="*/ 8872 w 10000"/>
                <a:gd name="connsiteY258" fmla="*/ 440 h 10000"/>
                <a:gd name="connsiteX259" fmla="*/ 8493 w 10000"/>
                <a:gd name="connsiteY259" fmla="*/ 389 h 10000"/>
                <a:gd name="connsiteX260" fmla="*/ 7709 w 10000"/>
                <a:gd name="connsiteY260" fmla="*/ 26 h 10000"/>
                <a:gd name="connsiteX261" fmla="*/ 7683 w 10000"/>
                <a:gd name="connsiteY261" fmla="*/ 2 h 10000"/>
                <a:gd name="connsiteX262" fmla="*/ 7417 w 10000"/>
                <a:gd name="connsiteY262" fmla="*/ 0 h 10000"/>
                <a:gd name="connsiteX263" fmla="*/ 7356 w 10000"/>
                <a:gd name="connsiteY263" fmla="*/ 14 h 10000"/>
                <a:gd name="connsiteX264" fmla="*/ 7369 w 10000"/>
                <a:gd name="connsiteY264" fmla="*/ 61 h 10000"/>
                <a:gd name="connsiteX265" fmla="*/ 7422 w 10000"/>
                <a:gd name="connsiteY265" fmla="*/ 86 h 10000"/>
                <a:gd name="connsiteX266" fmla="*/ 7435 w 10000"/>
                <a:gd name="connsiteY266" fmla="*/ 139 h 10000"/>
                <a:gd name="connsiteX267" fmla="*/ 7417 w 10000"/>
                <a:gd name="connsiteY267" fmla="*/ 181 h 10000"/>
                <a:gd name="connsiteX268" fmla="*/ 7369 w 10000"/>
                <a:gd name="connsiteY268" fmla="*/ 208 h 10000"/>
                <a:gd name="connsiteX269" fmla="*/ 7334 w 10000"/>
                <a:gd name="connsiteY269" fmla="*/ 283 h 10000"/>
                <a:gd name="connsiteX270" fmla="*/ 7269 w 10000"/>
                <a:gd name="connsiteY270" fmla="*/ 336 h 10000"/>
                <a:gd name="connsiteX271" fmla="*/ 7282 w 10000"/>
                <a:gd name="connsiteY271" fmla="*/ 387 h 10000"/>
                <a:gd name="connsiteX272" fmla="*/ 7382 w 10000"/>
                <a:gd name="connsiteY272" fmla="*/ 434 h 10000"/>
                <a:gd name="connsiteX273" fmla="*/ 7317 w 10000"/>
                <a:gd name="connsiteY273" fmla="*/ 475 h 10000"/>
                <a:gd name="connsiteX274" fmla="*/ 7221 w 10000"/>
                <a:gd name="connsiteY274" fmla="*/ 485 h 10000"/>
                <a:gd name="connsiteX275" fmla="*/ 6420 w 10000"/>
                <a:gd name="connsiteY275" fmla="*/ 387 h 10000"/>
                <a:gd name="connsiteX276" fmla="*/ 6324 w 10000"/>
                <a:gd name="connsiteY276" fmla="*/ 395 h 10000"/>
                <a:gd name="connsiteX277" fmla="*/ 6267 w 10000"/>
                <a:gd name="connsiteY277" fmla="*/ 414 h 10000"/>
                <a:gd name="connsiteX278" fmla="*/ 6211 w 10000"/>
                <a:gd name="connsiteY278" fmla="*/ 462 h 10000"/>
                <a:gd name="connsiteX279" fmla="*/ 6220 w 10000"/>
                <a:gd name="connsiteY279" fmla="*/ 581 h 10000"/>
                <a:gd name="connsiteX280" fmla="*/ 6132 w 10000"/>
                <a:gd name="connsiteY280" fmla="*/ 735 h 10000"/>
                <a:gd name="connsiteX281" fmla="*/ 6024 w 10000"/>
                <a:gd name="connsiteY281" fmla="*/ 815 h 10000"/>
                <a:gd name="connsiteX282" fmla="*/ 5980 w 10000"/>
                <a:gd name="connsiteY282" fmla="*/ 805 h 10000"/>
                <a:gd name="connsiteX283" fmla="*/ 5880 w 10000"/>
                <a:gd name="connsiteY283" fmla="*/ 739 h 10000"/>
                <a:gd name="connsiteX284" fmla="*/ 5753 w 10000"/>
                <a:gd name="connsiteY284" fmla="*/ 705 h 10000"/>
                <a:gd name="connsiteX285" fmla="*/ 5618 w 10000"/>
                <a:gd name="connsiteY285" fmla="*/ 715 h 10000"/>
                <a:gd name="connsiteX286" fmla="*/ 5301 w 10000"/>
                <a:gd name="connsiteY286" fmla="*/ 866 h 10000"/>
                <a:gd name="connsiteX287" fmla="*/ 5218 w 10000"/>
                <a:gd name="connsiteY287" fmla="*/ 1017 h 10000"/>
                <a:gd name="connsiteX288" fmla="*/ 4978 w 10000"/>
                <a:gd name="connsiteY288" fmla="*/ 1153 h 10000"/>
                <a:gd name="connsiteX289" fmla="*/ 4935 w 10000"/>
                <a:gd name="connsiteY289" fmla="*/ 1222 h 10000"/>
                <a:gd name="connsiteX290" fmla="*/ 5061 w 10000"/>
                <a:gd name="connsiteY290" fmla="*/ 1344 h 10000"/>
                <a:gd name="connsiteX291" fmla="*/ 5074 w 10000"/>
                <a:gd name="connsiteY291" fmla="*/ 1412 h 10000"/>
                <a:gd name="connsiteX292" fmla="*/ 4421 w 10000"/>
                <a:gd name="connsiteY292" fmla="*/ 1813 h 10000"/>
                <a:gd name="connsiteX293" fmla="*/ 4220 w 10000"/>
                <a:gd name="connsiteY293" fmla="*/ 2070 h 10000"/>
                <a:gd name="connsiteX294" fmla="*/ 4003 w 10000"/>
                <a:gd name="connsiteY294" fmla="*/ 2135 h 10000"/>
                <a:gd name="connsiteX295" fmla="*/ 3868 w 10000"/>
                <a:gd name="connsiteY295" fmla="*/ 2131 h 10000"/>
                <a:gd name="connsiteX296" fmla="*/ 3785 w 10000"/>
                <a:gd name="connsiteY296" fmla="*/ 2153 h 10000"/>
                <a:gd name="connsiteX297" fmla="*/ 3558 w 10000"/>
                <a:gd name="connsiteY297" fmla="*/ 2793 h 10000"/>
                <a:gd name="connsiteX298" fmla="*/ 3036 w 10000"/>
                <a:gd name="connsiteY298" fmla="*/ 3166 h 10000"/>
                <a:gd name="connsiteX299" fmla="*/ 3040 w 10000"/>
                <a:gd name="connsiteY299" fmla="*/ 3225 h 10000"/>
                <a:gd name="connsiteX300" fmla="*/ 3271 w 10000"/>
                <a:gd name="connsiteY300" fmla="*/ 3392 h 10000"/>
                <a:gd name="connsiteX301" fmla="*/ 3197 w 10000"/>
                <a:gd name="connsiteY301" fmla="*/ 3573 h 10000"/>
                <a:gd name="connsiteX302" fmla="*/ 3062 w 10000"/>
                <a:gd name="connsiteY302" fmla="*/ 3640 h 10000"/>
                <a:gd name="connsiteX303" fmla="*/ 2657 w 10000"/>
                <a:gd name="connsiteY303" fmla="*/ 3595 h 10000"/>
                <a:gd name="connsiteX304" fmla="*/ 2378 w 10000"/>
                <a:gd name="connsiteY304" fmla="*/ 3620 h 10000"/>
                <a:gd name="connsiteX305" fmla="*/ 2152 w 10000"/>
                <a:gd name="connsiteY305" fmla="*/ 3673 h 10000"/>
                <a:gd name="connsiteX306" fmla="*/ 1790 w 10000"/>
                <a:gd name="connsiteY306" fmla="*/ 3840 h 10000"/>
                <a:gd name="connsiteX307" fmla="*/ 1598 w 10000"/>
                <a:gd name="connsiteY307" fmla="*/ 4042 h 10000"/>
                <a:gd name="connsiteX308" fmla="*/ 1616 w 10000"/>
                <a:gd name="connsiteY308" fmla="*/ 4154 h 10000"/>
                <a:gd name="connsiteX309" fmla="*/ 1681 w 10000"/>
                <a:gd name="connsiteY309" fmla="*/ 4241 h 10000"/>
                <a:gd name="connsiteX310" fmla="*/ 1733 w 10000"/>
                <a:gd name="connsiteY310" fmla="*/ 4276 h 10000"/>
                <a:gd name="connsiteX311" fmla="*/ 1638 w 10000"/>
                <a:gd name="connsiteY311" fmla="*/ 4331 h 10000"/>
                <a:gd name="connsiteX312" fmla="*/ 1433 w 10000"/>
                <a:gd name="connsiteY312" fmla="*/ 4710 h 10000"/>
                <a:gd name="connsiteX313" fmla="*/ 1472 w 10000"/>
                <a:gd name="connsiteY313" fmla="*/ 4732 h 10000"/>
                <a:gd name="connsiteX314" fmla="*/ 1503 w 10000"/>
                <a:gd name="connsiteY314" fmla="*/ 4828 h 10000"/>
                <a:gd name="connsiteX315" fmla="*/ 1407 w 10000"/>
                <a:gd name="connsiteY315" fmla="*/ 5227 h 10000"/>
                <a:gd name="connsiteX316" fmla="*/ 1503 w 10000"/>
                <a:gd name="connsiteY316" fmla="*/ 5329 h 10000"/>
                <a:gd name="connsiteX317" fmla="*/ 1764 w 10000"/>
                <a:gd name="connsiteY317" fmla="*/ 5441 h 10000"/>
                <a:gd name="connsiteX318" fmla="*/ 1777 w 10000"/>
                <a:gd name="connsiteY318" fmla="*/ 5578 h 10000"/>
                <a:gd name="connsiteX319" fmla="*/ 1664 w 10000"/>
                <a:gd name="connsiteY319" fmla="*/ 5690 h 10000"/>
                <a:gd name="connsiteX320" fmla="*/ 1503 w 10000"/>
                <a:gd name="connsiteY320" fmla="*/ 5759 h 10000"/>
                <a:gd name="connsiteX321" fmla="*/ 1289 w 10000"/>
                <a:gd name="connsiteY321" fmla="*/ 5787 h 10000"/>
                <a:gd name="connsiteX322" fmla="*/ 1233 w 10000"/>
                <a:gd name="connsiteY322" fmla="*/ 5826 h 10000"/>
                <a:gd name="connsiteX323" fmla="*/ 1359 w 10000"/>
                <a:gd name="connsiteY323" fmla="*/ 5920 h 10000"/>
                <a:gd name="connsiteX324" fmla="*/ 1429 w 10000"/>
                <a:gd name="connsiteY324" fmla="*/ 6142 h 10000"/>
                <a:gd name="connsiteX325" fmla="*/ 1267 w 10000"/>
                <a:gd name="connsiteY325" fmla="*/ 6333 h 10000"/>
                <a:gd name="connsiteX326" fmla="*/ 1324 w 10000"/>
                <a:gd name="connsiteY326" fmla="*/ 6392 h 10000"/>
                <a:gd name="connsiteX327" fmla="*/ 1272 w 10000"/>
                <a:gd name="connsiteY327" fmla="*/ 6492 h 10000"/>
                <a:gd name="connsiteX328" fmla="*/ 1167 w 10000"/>
                <a:gd name="connsiteY328" fmla="*/ 6561 h 10000"/>
                <a:gd name="connsiteX329" fmla="*/ 758 w 10000"/>
                <a:gd name="connsiteY329" fmla="*/ 6614 h 10000"/>
                <a:gd name="connsiteX330" fmla="*/ 732 w 10000"/>
                <a:gd name="connsiteY330" fmla="*/ 6706 h 10000"/>
                <a:gd name="connsiteX331" fmla="*/ 510 w 10000"/>
                <a:gd name="connsiteY331" fmla="*/ 6843 h 10000"/>
                <a:gd name="connsiteX332" fmla="*/ 540 w 10000"/>
                <a:gd name="connsiteY332" fmla="*/ 7040 h 10000"/>
                <a:gd name="connsiteX333" fmla="*/ 353 w 10000"/>
                <a:gd name="connsiteY333" fmla="*/ 7293 h 10000"/>
                <a:gd name="connsiteX334" fmla="*/ 226 w 10000"/>
                <a:gd name="connsiteY334" fmla="*/ 7323 h 10000"/>
                <a:gd name="connsiteX335" fmla="*/ 174 w 10000"/>
                <a:gd name="connsiteY335" fmla="*/ 7262 h 10000"/>
                <a:gd name="connsiteX336" fmla="*/ 109 w 10000"/>
                <a:gd name="connsiteY336" fmla="*/ 7354 h 10000"/>
                <a:gd name="connsiteX337" fmla="*/ 152 w 10000"/>
                <a:gd name="connsiteY337" fmla="*/ 7197 h 10000"/>
                <a:gd name="connsiteX338" fmla="*/ 126 w 10000"/>
                <a:gd name="connsiteY338"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145 w 10000"/>
                <a:gd name="connsiteY207" fmla="*/ 3267 h 10000"/>
                <a:gd name="connsiteX208" fmla="*/ 8380 w 10000"/>
                <a:gd name="connsiteY208" fmla="*/ 2860 h 10000"/>
                <a:gd name="connsiteX209" fmla="*/ 8253 w 10000"/>
                <a:gd name="connsiteY209" fmla="*/ 2762 h 10000"/>
                <a:gd name="connsiteX210" fmla="*/ 8267 w 10000"/>
                <a:gd name="connsiteY210" fmla="*/ 2748 h 10000"/>
                <a:gd name="connsiteX211" fmla="*/ 8397 w 10000"/>
                <a:gd name="connsiteY211" fmla="*/ 2705 h 10000"/>
                <a:gd name="connsiteX212" fmla="*/ 8402 w 10000"/>
                <a:gd name="connsiteY212" fmla="*/ 2662 h 10000"/>
                <a:gd name="connsiteX213" fmla="*/ 8449 w 10000"/>
                <a:gd name="connsiteY213" fmla="*/ 2656 h 10000"/>
                <a:gd name="connsiteX214" fmla="*/ 8558 w 10000"/>
                <a:gd name="connsiteY214" fmla="*/ 2677 h 10000"/>
                <a:gd name="connsiteX215" fmla="*/ 8593 w 10000"/>
                <a:gd name="connsiteY215" fmla="*/ 2669 h 10000"/>
                <a:gd name="connsiteX216" fmla="*/ 8606 w 10000"/>
                <a:gd name="connsiteY216" fmla="*/ 2630 h 10000"/>
                <a:gd name="connsiteX217" fmla="*/ 8567 w 10000"/>
                <a:gd name="connsiteY217" fmla="*/ 2605 h 10000"/>
                <a:gd name="connsiteX218" fmla="*/ 8685 w 10000"/>
                <a:gd name="connsiteY218" fmla="*/ 2597 h 10000"/>
                <a:gd name="connsiteX219" fmla="*/ 8698 w 10000"/>
                <a:gd name="connsiteY219" fmla="*/ 2565 h 10000"/>
                <a:gd name="connsiteX220" fmla="*/ 8558 w 10000"/>
                <a:gd name="connsiteY220" fmla="*/ 2481 h 10000"/>
                <a:gd name="connsiteX221" fmla="*/ 8558 w 10000"/>
                <a:gd name="connsiteY221" fmla="*/ 2459 h 10000"/>
                <a:gd name="connsiteX222" fmla="*/ 8698 w 10000"/>
                <a:gd name="connsiteY222" fmla="*/ 2504 h 10000"/>
                <a:gd name="connsiteX223" fmla="*/ 8763 w 10000"/>
                <a:gd name="connsiteY223" fmla="*/ 2548 h 10000"/>
                <a:gd name="connsiteX224" fmla="*/ 8815 w 10000"/>
                <a:gd name="connsiteY224" fmla="*/ 2548 h 10000"/>
                <a:gd name="connsiteX225" fmla="*/ 8789 w 10000"/>
                <a:gd name="connsiteY225" fmla="*/ 2457 h 10000"/>
                <a:gd name="connsiteX226" fmla="*/ 8798 w 10000"/>
                <a:gd name="connsiteY226" fmla="*/ 2467 h 10000"/>
                <a:gd name="connsiteX227" fmla="*/ 8841 w 10000"/>
                <a:gd name="connsiteY227" fmla="*/ 2457 h 10000"/>
                <a:gd name="connsiteX228" fmla="*/ 8855 w 10000"/>
                <a:gd name="connsiteY228" fmla="*/ 2341 h 10000"/>
                <a:gd name="connsiteX229" fmla="*/ 8898 w 10000"/>
                <a:gd name="connsiteY229" fmla="*/ 2332 h 10000"/>
                <a:gd name="connsiteX230" fmla="*/ 8946 w 10000"/>
                <a:gd name="connsiteY230" fmla="*/ 2330 h 10000"/>
                <a:gd name="connsiteX231" fmla="*/ 8946 w 10000"/>
                <a:gd name="connsiteY231" fmla="*/ 2361 h 10000"/>
                <a:gd name="connsiteX232" fmla="*/ 8994 w 10000"/>
                <a:gd name="connsiteY232" fmla="*/ 2389 h 10000"/>
                <a:gd name="connsiteX233" fmla="*/ 9051 w 10000"/>
                <a:gd name="connsiteY233" fmla="*/ 2400 h 10000"/>
                <a:gd name="connsiteX234" fmla="*/ 9094 w 10000"/>
                <a:gd name="connsiteY234" fmla="*/ 2324 h 10000"/>
                <a:gd name="connsiteX235" fmla="*/ 9164 w 10000"/>
                <a:gd name="connsiteY235" fmla="*/ 2347 h 10000"/>
                <a:gd name="connsiteX236" fmla="*/ 9247 w 10000"/>
                <a:gd name="connsiteY236" fmla="*/ 2402 h 10000"/>
                <a:gd name="connsiteX237" fmla="*/ 9286 w 10000"/>
                <a:gd name="connsiteY237" fmla="*/ 2400 h 10000"/>
                <a:gd name="connsiteX238" fmla="*/ 9355 w 10000"/>
                <a:gd name="connsiteY238" fmla="*/ 2428 h 10000"/>
                <a:gd name="connsiteX239" fmla="*/ 9408 w 10000"/>
                <a:gd name="connsiteY239" fmla="*/ 2359 h 10000"/>
                <a:gd name="connsiteX240" fmla="*/ 9717 w 10000"/>
                <a:gd name="connsiteY240" fmla="*/ 2343 h 10000"/>
                <a:gd name="connsiteX241" fmla="*/ 9830 w 10000"/>
                <a:gd name="connsiteY241" fmla="*/ 2369 h 10000"/>
                <a:gd name="connsiteX242" fmla="*/ 9909 w 10000"/>
                <a:gd name="connsiteY242" fmla="*/ 2410 h 10000"/>
                <a:gd name="connsiteX243" fmla="*/ 9948 w 10000"/>
                <a:gd name="connsiteY243" fmla="*/ 2365 h 10000"/>
                <a:gd name="connsiteX244" fmla="*/ 10000 w 10000"/>
                <a:gd name="connsiteY244" fmla="*/ 2349 h 10000"/>
                <a:gd name="connsiteX245" fmla="*/ 9704 w 10000"/>
                <a:gd name="connsiteY245" fmla="*/ 1992 h 10000"/>
                <a:gd name="connsiteX246" fmla="*/ 9743 w 10000"/>
                <a:gd name="connsiteY246" fmla="*/ 1897 h 10000"/>
                <a:gd name="connsiteX247" fmla="*/ 9830 w 10000"/>
                <a:gd name="connsiteY247" fmla="*/ 1819 h 10000"/>
                <a:gd name="connsiteX248" fmla="*/ 9830 w 10000"/>
                <a:gd name="connsiteY248" fmla="*/ 1699 h 10000"/>
                <a:gd name="connsiteX249" fmla="*/ 9556 w 10000"/>
                <a:gd name="connsiteY249" fmla="*/ 1465 h 10000"/>
                <a:gd name="connsiteX250" fmla="*/ 9512 w 10000"/>
                <a:gd name="connsiteY250" fmla="*/ 1379 h 10000"/>
                <a:gd name="connsiteX251" fmla="*/ 9573 w 10000"/>
                <a:gd name="connsiteY251" fmla="*/ 1271 h 10000"/>
                <a:gd name="connsiteX252" fmla="*/ 9543 w 10000"/>
                <a:gd name="connsiteY252" fmla="*/ 1194 h 10000"/>
                <a:gd name="connsiteX253" fmla="*/ 9486 w 10000"/>
                <a:gd name="connsiteY253" fmla="*/ 1159 h 10000"/>
                <a:gd name="connsiteX254" fmla="*/ 9438 w 10000"/>
                <a:gd name="connsiteY254" fmla="*/ 978 h 10000"/>
                <a:gd name="connsiteX255" fmla="*/ 9495 w 10000"/>
                <a:gd name="connsiteY255" fmla="*/ 831 h 10000"/>
                <a:gd name="connsiteX256" fmla="*/ 9077 w 10000"/>
                <a:gd name="connsiteY256" fmla="*/ 517 h 10000"/>
                <a:gd name="connsiteX257" fmla="*/ 8872 w 10000"/>
                <a:gd name="connsiteY257" fmla="*/ 440 h 10000"/>
                <a:gd name="connsiteX258" fmla="*/ 8493 w 10000"/>
                <a:gd name="connsiteY258" fmla="*/ 389 h 10000"/>
                <a:gd name="connsiteX259" fmla="*/ 7709 w 10000"/>
                <a:gd name="connsiteY259" fmla="*/ 26 h 10000"/>
                <a:gd name="connsiteX260" fmla="*/ 7683 w 10000"/>
                <a:gd name="connsiteY260" fmla="*/ 2 h 10000"/>
                <a:gd name="connsiteX261" fmla="*/ 7417 w 10000"/>
                <a:gd name="connsiteY261" fmla="*/ 0 h 10000"/>
                <a:gd name="connsiteX262" fmla="*/ 7356 w 10000"/>
                <a:gd name="connsiteY262" fmla="*/ 14 h 10000"/>
                <a:gd name="connsiteX263" fmla="*/ 7369 w 10000"/>
                <a:gd name="connsiteY263" fmla="*/ 61 h 10000"/>
                <a:gd name="connsiteX264" fmla="*/ 7422 w 10000"/>
                <a:gd name="connsiteY264" fmla="*/ 86 h 10000"/>
                <a:gd name="connsiteX265" fmla="*/ 7435 w 10000"/>
                <a:gd name="connsiteY265" fmla="*/ 139 h 10000"/>
                <a:gd name="connsiteX266" fmla="*/ 7417 w 10000"/>
                <a:gd name="connsiteY266" fmla="*/ 181 h 10000"/>
                <a:gd name="connsiteX267" fmla="*/ 7369 w 10000"/>
                <a:gd name="connsiteY267" fmla="*/ 208 h 10000"/>
                <a:gd name="connsiteX268" fmla="*/ 7334 w 10000"/>
                <a:gd name="connsiteY268" fmla="*/ 283 h 10000"/>
                <a:gd name="connsiteX269" fmla="*/ 7269 w 10000"/>
                <a:gd name="connsiteY269" fmla="*/ 336 h 10000"/>
                <a:gd name="connsiteX270" fmla="*/ 7282 w 10000"/>
                <a:gd name="connsiteY270" fmla="*/ 387 h 10000"/>
                <a:gd name="connsiteX271" fmla="*/ 7382 w 10000"/>
                <a:gd name="connsiteY271" fmla="*/ 434 h 10000"/>
                <a:gd name="connsiteX272" fmla="*/ 7317 w 10000"/>
                <a:gd name="connsiteY272" fmla="*/ 475 h 10000"/>
                <a:gd name="connsiteX273" fmla="*/ 7221 w 10000"/>
                <a:gd name="connsiteY273" fmla="*/ 485 h 10000"/>
                <a:gd name="connsiteX274" fmla="*/ 6420 w 10000"/>
                <a:gd name="connsiteY274" fmla="*/ 387 h 10000"/>
                <a:gd name="connsiteX275" fmla="*/ 6324 w 10000"/>
                <a:gd name="connsiteY275" fmla="*/ 395 h 10000"/>
                <a:gd name="connsiteX276" fmla="*/ 6267 w 10000"/>
                <a:gd name="connsiteY276" fmla="*/ 414 h 10000"/>
                <a:gd name="connsiteX277" fmla="*/ 6211 w 10000"/>
                <a:gd name="connsiteY277" fmla="*/ 462 h 10000"/>
                <a:gd name="connsiteX278" fmla="*/ 6220 w 10000"/>
                <a:gd name="connsiteY278" fmla="*/ 581 h 10000"/>
                <a:gd name="connsiteX279" fmla="*/ 6132 w 10000"/>
                <a:gd name="connsiteY279" fmla="*/ 735 h 10000"/>
                <a:gd name="connsiteX280" fmla="*/ 6024 w 10000"/>
                <a:gd name="connsiteY280" fmla="*/ 815 h 10000"/>
                <a:gd name="connsiteX281" fmla="*/ 5980 w 10000"/>
                <a:gd name="connsiteY281" fmla="*/ 805 h 10000"/>
                <a:gd name="connsiteX282" fmla="*/ 5880 w 10000"/>
                <a:gd name="connsiteY282" fmla="*/ 739 h 10000"/>
                <a:gd name="connsiteX283" fmla="*/ 5753 w 10000"/>
                <a:gd name="connsiteY283" fmla="*/ 705 h 10000"/>
                <a:gd name="connsiteX284" fmla="*/ 5618 w 10000"/>
                <a:gd name="connsiteY284" fmla="*/ 715 h 10000"/>
                <a:gd name="connsiteX285" fmla="*/ 5301 w 10000"/>
                <a:gd name="connsiteY285" fmla="*/ 866 h 10000"/>
                <a:gd name="connsiteX286" fmla="*/ 5218 w 10000"/>
                <a:gd name="connsiteY286" fmla="*/ 1017 h 10000"/>
                <a:gd name="connsiteX287" fmla="*/ 4978 w 10000"/>
                <a:gd name="connsiteY287" fmla="*/ 1153 h 10000"/>
                <a:gd name="connsiteX288" fmla="*/ 4935 w 10000"/>
                <a:gd name="connsiteY288" fmla="*/ 1222 h 10000"/>
                <a:gd name="connsiteX289" fmla="*/ 5061 w 10000"/>
                <a:gd name="connsiteY289" fmla="*/ 1344 h 10000"/>
                <a:gd name="connsiteX290" fmla="*/ 5074 w 10000"/>
                <a:gd name="connsiteY290" fmla="*/ 1412 h 10000"/>
                <a:gd name="connsiteX291" fmla="*/ 4421 w 10000"/>
                <a:gd name="connsiteY291" fmla="*/ 1813 h 10000"/>
                <a:gd name="connsiteX292" fmla="*/ 4220 w 10000"/>
                <a:gd name="connsiteY292" fmla="*/ 2070 h 10000"/>
                <a:gd name="connsiteX293" fmla="*/ 4003 w 10000"/>
                <a:gd name="connsiteY293" fmla="*/ 2135 h 10000"/>
                <a:gd name="connsiteX294" fmla="*/ 3868 w 10000"/>
                <a:gd name="connsiteY294" fmla="*/ 2131 h 10000"/>
                <a:gd name="connsiteX295" fmla="*/ 3785 w 10000"/>
                <a:gd name="connsiteY295" fmla="*/ 2153 h 10000"/>
                <a:gd name="connsiteX296" fmla="*/ 3558 w 10000"/>
                <a:gd name="connsiteY296" fmla="*/ 2793 h 10000"/>
                <a:gd name="connsiteX297" fmla="*/ 3036 w 10000"/>
                <a:gd name="connsiteY297" fmla="*/ 3166 h 10000"/>
                <a:gd name="connsiteX298" fmla="*/ 3040 w 10000"/>
                <a:gd name="connsiteY298" fmla="*/ 3225 h 10000"/>
                <a:gd name="connsiteX299" fmla="*/ 3271 w 10000"/>
                <a:gd name="connsiteY299" fmla="*/ 3392 h 10000"/>
                <a:gd name="connsiteX300" fmla="*/ 3197 w 10000"/>
                <a:gd name="connsiteY300" fmla="*/ 3573 h 10000"/>
                <a:gd name="connsiteX301" fmla="*/ 3062 w 10000"/>
                <a:gd name="connsiteY301" fmla="*/ 3640 h 10000"/>
                <a:gd name="connsiteX302" fmla="*/ 2657 w 10000"/>
                <a:gd name="connsiteY302" fmla="*/ 3595 h 10000"/>
                <a:gd name="connsiteX303" fmla="*/ 2378 w 10000"/>
                <a:gd name="connsiteY303" fmla="*/ 3620 h 10000"/>
                <a:gd name="connsiteX304" fmla="*/ 2152 w 10000"/>
                <a:gd name="connsiteY304" fmla="*/ 3673 h 10000"/>
                <a:gd name="connsiteX305" fmla="*/ 1790 w 10000"/>
                <a:gd name="connsiteY305" fmla="*/ 3840 h 10000"/>
                <a:gd name="connsiteX306" fmla="*/ 1598 w 10000"/>
                <a:gd name="connsiteY306" fmla="*/ 4042 h 10000"/>
                <a:gd name="connsiteX307" fmla="*/ 1616 w 10000"/>
                <a:gd name="connsiteY307" fmla="*/ 4154 h 10000"/>
                <a:gd name="connsiteX308" fmla="*/ 1681 w 10000"/>
                <a:gd name="connsiteY308" fmla="*/ 4241 h 10000"/>
                <a:gd name="connsiteX309" fmla="*/ 1733 w 10000"/>
                <a:gd name="connsiteY309" fmla="*/ 4276 h 10000"/>
                <a:gd name="connsiteX310" fmla="*/ 1638 w 10000"/>
                <a:gd name="connsiteY310" fmla="*/ 4331 h 10000"/>
                <a:gd name="connsiteX311" fmla="*/ 1433 w 10000"/>
                <a:gd name="connsiteY311" fmla="*/ 4710 h 10000"/>
                <a:gd name="connsiteX312" fmla="*/ 1472 w 10000"/>
                <a:gd name="connsiteY312" fmla="*/ 4732 h 10000"/>
                <a:gd name="connsiteX313" fmla="*/ 1503 w 10000"/>
                <a:gd name="connsiteY313" fmla="*/ 4828 h 10000"/>
                <a:gd name="connsiteX314" fmla="*/ 1407 w 10000"/>
                <a:gd name="connsiteY314" fmla="*/ 5227 h 10000"/>
                <a:gd name="connsiteX315" fmla="*/ 1503 w 10000"/>
                <a:gd name="connsiteY315" fmla="*/ 5329 h 10000"/>
                <a:gd name="connsiteX316" fmla="*/ 1764 w 10000"/>
                <a:gd name="connsiteY316" fmla="*/ 5441 h 10000"/>
                <a:gd name="connsiteX317" fmla="*/ 1777 w 10000"/>
                <a:gd name="connsiteY317" fmla="*/ 5578 h 10000"/>
                <a:gd name="connsiteX318" fmla="*/ 1664 w 10000"/>
                <a:gd name="connsiteY318" fmla="*/ 5690 h 10000"/>
                <a:gd name="connsiteX319" fmla="*/ 1503 w 10000"/>
                <a:gd name="connsiteY319" fmla="*/ 5759 h 10000"/>
                <a:gd name="connsiteX320" fmla="*/ 1289 w 10000"/>
                <a:gd name="connsiteY320" fmla="*/ 5787 h 10000"/>
                <a:gd name="connsiteX321" fmla="*/ 1233 w 10000"/>
                <a:gd name="connsiteY321" fmla="*/ 5826 h 10000"/>
                <a:gd name="connsiteX322" fmla="*/ 1359 w 10000"/>
                <a:gd name="connsiteY322" fmla="*/ 5920 h 10000"/>
                <a:gd name="connsiteX323" fmla="*/ 1429 w 10000"/>
                <a:gd name="connsiteY323" fmla="*/ 6142 h 10000"/>
                <a:gd name="connsiteX324" fmla="*/ 1267 w 10000"/>
                <a:gd name="connsiteY324" fmla="*/ 6333 h 10000"/>
                <a:gd name="connsiteX325" fmla="*/ 1324 w 10000"/>
                <a:gd name="connsiteY325" fmla="*/ 6392 h 10000"/>
                <a:gd name="connsiteX326" fmla="*/ 1272 w 10000"/>
                <a:gd name="connsiteY326" fmla="*/ 6492 h 10000"/>
                <a:gd name="connsiteX327" fmla="*/ 1167 w 10000"/>
                <a:gd name="connsiteY327" fmla="*/ 6561 h 10000"/>
                <a:gd name="connsiteX328" fmla="*/ 758 w 10000"/>
                <a:gd name="connsiteY328" fmla="*/ 6614 h 10000"/>
                <a:gd name="connsiteX329" fmla="*/ 732 w 10000"/>
                <a:gd name="connsiteY329" fmla="*/ 6706 h 10000"/>
                <a:gd name="connsiteX330" fmla="*/ 510 w 10000"/>
                <a:gd name="connsiteY330" fmla="*/ 6843 h 10000"/>
                <a:gd name="connsiteX331" fmla="*/ 540 w 10000"/>
                <a:gd name="connsiteY331" fmla="*/ 7040 h 10000"/>
                <a:gd name="connsiteX332" fmla="*/ 353 w 10000"/>
                <a:gd name="connsiteY332" fmla="*/ 7293 h 10000"/>
                <a:gd name="connsiteX333" fmla="*/ 226 w 10000"/>
                <a:gd name="connsiteY333" fmla="*/ 7323 h 10000"/>
                <a:gd name="connsiteX334" fmla="*/ 174 w 10000"/>
                <a:gd name="connsiteY334" fmla="*/ 7262 h 10000"/>
                <a:gd name="connsiteX335" fmla="*/ 109 w 10000"/>
                <a:gd name="connsiteY335" fmla="*/ 7354 h 10000"/>
                <a:gd name="connsiteX336" fmla="*/ 152 w 10000"/>
                <a:gd name="connsiteY336" fmla="*/ 7197 h 10000"/>
                <a:gd name="connsiteX337" fmla="*/ 126 w 10000"/>
                <a:gd name="connsiteY337"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380 w 10000"/>
                <a:gd name="connsiteY207" fmla="*/ 2860 h 10000"/>
                <a:gd name="connsiteX208" fmla="*/ 8253 w 10000"/>
                <a:gd name="connsiteY208" fmla="*/ 2762 h 10000"/>
                <a:gd name="connsiteX209" fmla="*/ 8267 w 10000"/>
                <a:gd name="connsiteY209" fmla="*/ 2748 h 10000"/>
                <a:gd name="connsiteX210" fmla="*/ 8397 w 10000"/>
                <a:gd name="connsiteY210" fmla="*/ 2705 h 10000"/>
                <a:gd name="connsiteX211" fmla="*/ 8402 w 10000"/>
                <a:gd name="connsiteY211" fmla="*/ 2662 h 10000"/>
                <a:gd name="connsiteX212" fmla="*/ 8449 w 10000"/>
                <a:gd name="connsiteY212" fmla="*/ 2656 h 10000"/>
                <a:gd name="connsiteX213" fmla="*/ 8558 w 10000"/>
                <a:gd name="connsiteY213" fmla="*/ 2677 h 10000"/>
                <a:gd name="connsiteX214" fmla="*/ 8593 w 10000"/>
                <a:gd name="connsiteY214" fmla="*/ 2669 h 10000"/>
                <a:gd name="connsiteX215" fmla="*/ 8606 w 10000"/>
                <a:gd name="connsiteY215" fmla="*/ 2630 h 10000"/>
                <a:gd name="connsiteX216" fmla="*/ 8567 w 10000"/>
                <a:gd name="connsiteY216" fmla="*/ 2605 h 10000"/>
                <a:gd name="connsiteX217" fmla="*/ 8685 w 10000"/>
                <a:gd name="connsiteY217" fmla="*/ 2597 h 10000"/>
                <a:gd name="connsiteX218" fmla="*/ 8698 w 10000"/>
                <a:gd name="connsiteY218" fmla="*/ 2565 h 10000"/>
                <a:gd name="connsiteX219" fmla="*/ 8558 w 10000"/>
                <a:gd name="connsiteY219" fmla="*/ 2481 h 10000"/>
                <a:gd name="connsiteX220" fmla="*/ 8558 w 10000"/>
                <a:gd name="connsiteY220" fmla="*/ 2459 h 10000"/>
                <a:gd name="connsiteX221" fmla="*/ 8698 w 10000"/>
                <a:gd name="connsiteY221" fmla="*/ 2504 h 10000"/>
                <a:gd name="connsiteX222" fmla="*/ 8763 w 10000"/>
                <a:gd name="connsiteY222" fmla="*/ 2548 h 10000"/>
                <a:gd name="connsiteX223" fmla="*/ 8815 w 10000"/>
                <a:gd name="connsiteY223" fmla="*/ 2548 h 10000"/>
                <a:gd name="connsiteX224" fmla="*/ 8789 w 10000"/>
                <a:gd name="connsiteY224" fmla="*/ 2457 h 10000"/>
                <a:gd name="connsiteX225" fmla="*/ 8798 w 10000"/>
                <a:gd name="connsiteY225" fmla="*/ 2467 h 10000"/>
                <a:gd name="connsiteX226" fmla="*/ 8841 w 10000"/>
                <a:gd name="connsiteY226" fmla="*/ 2457 h 10000"/>
                <a:gd name="connsiteX227" fmla="*/ 8855 w 10000"/>
                <a:gd name="connsiteY227" fmla="*/ 2341 h 10000"/>
                <a:gd name="connsiteX228" fmla="*/ 8898 w 10000"/>
                <a:gd name="connsiteY228" fmla="*/ 2332 h 10000"/>
                <a:gd name="connsiteX229" fmla="*/ 8946 w 10000"/>
                <a:gd name="connsiteY229" fmla="*/ 2330 h 10000"/>
                <a:gd name="connsiteX230" fmla="*/ 8946 w 10000"/>
                <a:gd name="connsiteY230" fmla="*/ 2361 h 10000"/>
                <a:gd name="connsiteX231" fmla="*/ 8994 w 10000"/>
                <a:gd name="connsiteY231" fmla="*/ 2389 h 10000"/>
                <a:gd name="connsiteX232" fmla="*/ 9051 w 10000"/>
                <a:gd name="connsiteY232" fmla="*/ 2400 h 10000"/>
                <a:gd name="connsiteX233" fmla="*/ 9094 w 10000"/>
                <a:gd name="connsiteY233" fmla="*/ 2324 h 10000"/>
                <a:gd name="connsiteX234" fmla="*/ 9164 w 10000"/>
                <a:gd name="connsiteY234" fmla="*/ 2347 h 10000"/>
                <a:gd name="connsiteX235" fmla="*/ 9247 w 10000"/>
                <a:gd name="connsiteY235" fmla="*/ 2402 h 10000"/>
                <a:gd name="connsiteX236" fmla="*/ 9286 w 10000"/>
                <a:gd name="connsiteY236" fmla="*/ 2400 h 10000"/>
                <a:gd name="connsiteX237" fmla="*/ 9355 w 10000"/>
                <a:gd name="connsiteY237" fmla="*/ 2428 h 10000"/>
                <a:gd name="connsiteX238" fmla="*/ 9408 w 10000"/>
                <a:gd name="connsiteY238" fmla="*/ 2359 h 10000"/>
                <a:gd name="connsiteX239" fmla="*/ 9717 w 10000"/>
                <a:gd name="connsiteY239" fmla="*/ 2343 h 10000"/>
                <a:gd name="connsiteX240" fmla="*/ 9830 w 10000"/>
                <a:gd name="connsiteY240" fmla="*/ 2369 h 10000"/>
                <a:gd name="connsiteX241" fmla="*/ 9909 w 10000"/>
                <a:gd name="connsiteY241" fmla="*/ 2410 h 10000"/>
                <a:gd name="connsiteX242" fmla="*/ 9948 w 10000"/>
                <a:gd name="connsiteY242" fmla="*/ 2365 h 10000"/>
                <a:gd name="connsiteX243" fmla="*/ 10000 w 10000"/>
                <a:gd name="connsiteY243" fmla="*/ 2349 h 10000"/>
                <a:gd name="connsiteX244" fmla="*/ 9704 w 10000"/>
                <a:gd name="connsiteY244" fmla="*/ 1992 h 10000"/>
                <a:gd name="connsiteX245" fmla="*/ 9743 w 10000"/>
                <a:gd name="connsiteY245" fmla="*/ 1897 h 10000"/>
                <a:gd name="connsiteX246" fmla="*/ 9830 w 10000"/>
                <a:gd name="connsiteY246" fmla="*/ 1819 h 10000"/>
                <a:gd name="connsiteX247" fmla="*/ 9830 w 10000"/>
                <a:gd name="connsiteY247" fmla="*/ 1699 h 10000"/>
                <a:gd name="connsiteX248" fmla="*/ 9556 w 10000"/>
                <a:gd name="connsiteY248" fmla="*/ 1465 h 10000"/>
                <a:gd name="connsiteX249" fmla="*/ 9512 w 10000"/>
                <a:gd name="connsiteY249" fmla="*/ 1379 h 10000"/>
                <a:gd name="connsiteX250" fmla="*/ 9573 w 10000"/>
                <a:gd name="connsiteY250" fmla="*/ 1271 h 10000"/>
                <a:gd name="connsiteX251" fmla="*/ 9543 w 10000"/>
                <a:gd name="connsiteY251" fmla="*/ 1194 h 10000"/>
                <a:gd name="connsiteX252" fmla="*/ 9486 w 10000"/>
                <a:gd name="connsiteY252" fmla="*/ 1159 h 10000"/>
                <a:gd name="connsiteX253" fmla="*/ 9438 w 10000"/>
                <a:gd name="connsiteY253" fmla="*/ 978 h 10000"/>
                <a:gd name="connsiteX254" fmla="*/ 9495 w 10000"/>
                <a:gd name="connsiteY254" fmla="*/ 831 h 10000"/>
                <a:gd name="connsiteX255" fmla="*/ 9077 w 10000"/>
                <a:gd name="connsiteY255" fmla="*/ 517 h 10000"/>
                <a:gd name="connsiteX256" fmla="*/ 8872 w 10000"/>
                <a:gd name="connsiteY256" fmla="*/ 440 h 10000"/>
                <a:gd name="connsiteX257" fmla="*/ 8493 w 10000"/>
                <a:gd name="connsiteY257" fmla="*/ 389 h 10000"/>
                <a:gd name="connsiteX258" fmla="*/ 7709 w 10000"/>
                <a:gd name="connsiteY258" fmla="*/ 26 h 10000"/>
                <a:gd name="connsiteX259" fmla="*/ 7683 w 10000"/>
                <a:gd name="connsiteY259" fmla="*/ 2 h 10000"/>
                <a:gd name="connsiteX260" fmla="*/ 7417 w 10000"/>
                <a:gd name="connsiteY260" fmla="*/ 0 h 10000"/>
                <a:gd name="connsiteX261" fmla="*/ 7356 w 10000"/>
                <a:gd name="connsiteY261" fmla="*/ 14 h 10000"/>
                <a:gd name="connsiteX262" fmla="*/ 7369 w 10000"/>
                <a:gd name="connsiteY262" fmla="*/ 61 h 10000"/>
                <a:gd name="connsiteX263" fmla="*/ 7422 w 10000"/>
                <a:gd name="connsiteY263" fmla="*/ 86 h 10000"/>
                <a:gd name="connsiteX264" fmla="*/ 7435 w 10000"/>
                <a:gd name="connsiteY264" fmla="*/ 139 h 10000"/>
                <a:gd name="connsiteX265" fmla="*/ 7417 w 10000"/>
                <a:gd name="connsiteY265" fmla="*/ 181 h 10000"/>
                <a:gd name="connsiteX266" fmla="*/ 7369 w 10000"/>
                <a:gd name="connsiteY266" fmla="*/ 208 h 10000"/>
                <a:gd name="connsiteX267" fmla="*/ 7334 w 10000"/>
                <a:gd name="connsiteY267" fmla="*/ 283 h 10000"/>
                <a:gd name="connsiteX268" fmla="*/ 7269 w 10000"/>
                <a:gd name="connsiteY268" fmla="*/ 336 h 10000"/>
                <a:gd name="connsiteX269" fmla="*/ 7282 w 10000"/>
                <a:gd name="connsiteY269" fmla="*/ 387 h 10000"/>
                <a:gd name="connsiteX270" fmla="*/ 7382 w 10000"/>
                <a:gd name="connsiteY270" fmla="*/ 434 h 10000"/>
                <a:gd name="connsiteX271" fmla="*/ 7317 w 10000"/>
                <a:gd name="connsiteY271" fmla="*/ 475 h 10000"/>
                <a:gd name="connsiteX272" fmla="*/ 7221 w 10000"/>
                <a:gd name="connsiteY272" fmla="*/ 485 h 10000"/>
                <a:gd name="connsiteX273" fmla="*/ 6420 w 10000"/>
                <a:gd name="connsiteY273" fmla="*/ 387 h 10000"/>
                <a:gd name="connsiteX274" fmla="*/ 6324 w 10000"/>
                <a:gd name="connsiteY274" fmla="*/ 395 h 10000"/>
                <a:gd name="connsiteX275" fmla="*/ 6267 w 10000"/>
                <a:gd name="connsiteY275" fmla="*/ 414 h 10000"/>
                <a:gd name="connsiteX276" fmla="*/ 6211 w 10000"/>
                <a:gd name="connsiteY276" fmla="*/ 462 h 10000"/>
                <a:gd name="connsiteX277" fmla="*/ 6220 w 10000"/>
                <a:gd name="connsiteY277" fmla="*/ 581 h 10000"/>
                <a:gd name="connsiteX278" fmla="*/ 6132 w 10000"/>
                <a:gd name="connsiteY278" fmla="*/ 735 h 10000"/>
                <a:gd name="connsiteX279" fmla="*/ 6024 w 10000"/>
                <a:gd name="connsiteY279" fmla="*/ 815 h 10000"/>
                <a:gd name="connsiteX280" fmla="*/ 5980 w 10000"/>
                <a:gd name="connsiteY280" fmla="*/ 805 h 10000"/>
                <a:gd name="connsiteX281" fmla="*/ 5880 w 10000"/>
                <a:gd name="connsiteY281" fmla="*/ 739 h 10000"/>
                <a:gd name="connsiteX282" fmla="*/ 5753 w 10000"/>
                <a:gd name="connsiteY282" fmla="*/ 705 h 10000"/>
                <a:gd name="connsiteX283" fmla="*/ 5618 w 10000"/>
                <a:gd name="connsiteY283" fmla="*/ 715 h 10000"/>
                <a:gd name="connsiteX284" fmla="*/ 5301 w 10000"/>
                <a:gd name="connsiteY284" fmla="*/ 866 h 10000"/>
                <a:gd name="connsiteX285" fmla="*/ 5218 w 10000"/>
                <a:gd name="connsiteY285" fmla="*/ 1017 h 10000"/>
                <a:gd name="connsiteX286" fmla="*/ 4978 w 10000"/>
                <a:gd name="connsiteY286" fmla="*/ 1153 h 10000"/>
                <a:gd name="connsiteX287" fmla="*/ 4935 w 10000"/>
                <a:gd name="connsiteY287" fmla="*/ 1222 h 10000"/>
                <a:gd name="connsiteX288" fmla="*/ 5061 w 10000"/>
                <a:gd name="connsiteY288" fmla="*/ 1344 h 10000"/>
                <a:gd name="connsiteX289" fmla="*/ 5074 w 10000"/>
                <a:gd name="connsiteY289" fmla="*/ 1412 h 10000"/>
                <a:gd name="connsiteX290" fmla="*/ 4421 w 10000"/>
                <a:gd name="connsiteY290" fmla="*/ 1813 h 10000"/>
                <a:gd name="connsiteX291" fmla="*/ 4220 w 10000"/>
                <a:gd name="connsiteY291" fmla="*/ 2070 h 10000"/>
                <a:gd name="connsiteX292" fmla="*/ 4003 w 10000"/>
                <a:gd name="connsiteY292" fmla="*/ 2135 h 10000"/>
                <a:gd name="connsiteX293" fmla="*/ 3868 w 10000"/>
                <a:gd name="connsiteY293" fmla="*/ 2131 h 10000"/>
                <a:gd name="connsiteX294" fmla="*/ 3785 w 10000"/>
                <a:gd name="connsiteY294" fmla="*/ 2153 h 10000"/>
                <a:gd name="connsiteX295" fmla="*/ 3558 w 10000"/>
                <a:gd name="connsiteY295" fmla="*/ 2793 h 10000"/>
                <a:gd name="connsiteX296" fmla="*/ 3036 w 10000"/>
                <a:gd name="connsiteY296" fmla="*/ 3166 h 10000"/>
                <a:gd name="connsiteX297" fmla="*/ 3040 w 10000"/>
                <a:gd name="connsiteY297" fmla="*/ 3225 h 10000"/>
                <a:gd name="connsiteX298" fmla="*/ 3271 w 10000"/>
                <a:gd name="connsiteY298" fmla="*/ 3392 h 10000"/>
                <a:gd name="connsiteX299" fmla="*/ 3197 w 10000"/>
                <a:gd name="connsiteY299" fmla="*/ 3573 h 10000"/>
                <a:gd name="connsiteX300" fmla="*/ 3062 w 10000"/>
                <a:gd name="connsiteY300" fmla="*/ 3640 h 10000"/>
                <a:gd name="connsiteX301" fmla="*/ 2657 w 10000"/>
                <a:gd name="connsiteY301" fmla="*/ 3595 h 10000"/>
                <a:gd name="connsiteX302" fmla="*/ 2378 w 10000"/>
                <a:gd name="connsiteY302" fmla="*/ 3620 h 10000"/>
                <a:gd name="connsiteX303" fmla="*/ 2152 w 10000"/>
                <a:gd name="connsiteY303" fmla="*/ 3673 h 10000"/>
                <a:gd name="connsiteX304" fmla="*/ 1790 w 10000"/>
                <a:gd name="connsiteY304" fmla="*/ 3840 h 10000"/>
                <a:gd name="connsiteX305" fmla="*/ 1598 w 10000"/>
                <a:gd name="connsiteY305" fmla="*/ 4042 h 10000"/>
                <a:gd name="connsiteX306" fmla="*/ 1616 w 10000"/>
                <a:gd name="connsiteY306" fmla="*/ 4154 h 10000"/>
                <a:gd name="connsiteX307" fmla="*/ 1681 w 10000"/>
                <a:gd name="connsiteY307" fmla="*/ 4241 h 10000"/>
                <a:gd name="connsiteX308" fmla="*/ 1733 w 10000"/>
                <a:gd name="connsiteY308" fmla="*/ 4276 h 10000"/>
                <a:gd name="connsiteX309" fmla="*/ 1638 w 10000"/>
                <a:gd name="connsiteY309" fmla="*/ 4331 h 10000"/>
                <a:gd name="connsiteX310" fmla="*/ 1433 w 10000"/>
                <a:gd name="connsiteY310" fmla="*/ 4710 h 10000"/>
                <a:gd name="connsiteX311" fmla="*/ 1472 w 10000"/>
                <a:gd name="connsiteY311" fmla="*/ 4732 h 10000"/>
                <a:gd name="connsiteX312" fmla="*/ 1503 w 10000"/>
                <a:gd name="connsiteY312" fmla="*/ 4828 h 10000"/>
                <a:gd name="connsiteX313" fmla="*/ 1407 w 10000"/>
                <a:gd name="connsiteY313" fmla="*/ 5227 h 10000"/>
                <a:gd name="connsiteX314" fmla="*/ 1503 w 10000"/>
                <a:gd name="connsiteY314" fmla="*/ 5329 h 10000"/>
                <a:gd name="connsiteX315" fmla="*/ 1764 w 10000"/>
                <a:gd name="connsiteY315" fmla="*/ 5441 h 10000"/>
                <a:gd name="connsiteX316" fmla="*/ 1777 w 10000"/>
                <a:gd name="connsiteY316" fmla="*/ 5578 h 10000"/>
                <a:gd name="connsiteX317" fmla="*/ 1664 w 10000"/>
                <a:gd name="connsiteY317" fmla="*/ 5690 h 10000"/>
                <a:gd name="connsiteX318" fmla="*/ 1503 w 10000"/>
                <a:gd name="connsiteY318" fmla="*/ 5759 h 10000"/>
                <a:gd name="connsiteX319" fmla="*/ 1289 w 10000"/>
                <a:gd name="connsiteY319" fmla="*/ 5787 h 10000"/>
                <a:gd name="connsiteX320" fmla="*/ 1233 w 10000"/>
                <a:gd name="connsiteY320" fmla="*/ 5826 h 10000"/>
                <a:gd name="connsiteX321" fmla="*/ 1359 w 10000"/>
                <a:gd name="connsiteY321" fmla="*/ 5920 h 10000"/>
                <a:gd name="connsiteX322" fmla="*/ 1429 w 10000"/>
                <a:gd name="connsiteY322" fmla="*/ 6142 h 10000"/>
                <a:gd name="connsiteX323" fmla="*/ 1267 w 10000"/>
                <a:gd name="connsiteY323" fmla="*/ 6333 h 10000"/>
                <a:gd name="connsiteX324" fmla="*/ 1324 w 10000"/>
                <a:gd name="connsiteY324" fmla="*/ 6392 h 10000"/>
                <a:gd name="connsiteX325" fmla="*/ 1272 w 10000"/>
                <a:gd name="connsiteY325" fmla="*/ 6492 h 10000"/>
                <a:gd name="connsiteX326" fmla="*/ 1167 w 10000"/>
                <a:gd name="connsiteY326" fmla="*/ 6561 h 10000"/>
                <a:gd name="connsiteX327" fmla="*/ 758 w 10000"/>
                <a:gd name="connsiteY327" fmla="*/ 6614 h 10000"/>
                <a:gd name="connsiteX328" fmla="*/ 732 w 10000"/>
                <a:gd name="connsiteY328" fmla="*/ 6706 h 10000"/>
                <a:gd name="connsiteX329" fmla="*/ 510 w 10000"/>
                <a:gd name="connsiteY329" fmla="*/ 6843 h 10000"/>
                <a:gd name="connsiteX330" fmla="*/ 540 w 10000"/>
                <a:gd name="connsiteY330" fmla="*/ 7040 h 10000"/>
                <a:gd name="connsiteX331" fmla="*/ 353 w 10000"/>
                <a:gd name="connsiteY331" fmla="*/ 7293 h 10000"/>
                <a:gd name="connsiteX332" fmla="*/ 226 w 10000"/>
                <a:gd name="connsiteY332" fmla="*/ 7323 h 10000"/>
                <a:gd name="connsiteX333" fmla="*/ 174 w 10000"/>
                <a:gd name="connsiteY333" fmla="*/ 7262 h 10000"/>
                <a:gd name="connsiteX334" fmla="*/ 109 w 10000"/>
                <a:gd name="connsiteY334" fmla="*/ 7354 h 10000"/>
                <a:gd name="connsiteX335" fmla="*/ 152 w 10000"/>
                <a:gd name="connsiteY335" fmla="*/ 7197 h 10000"/>
                <a:gd name="connsiteX336" fmla="*/ 126 w 10000"/>
                <a:gd name="connsiteY336"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253 w 10000"/>
                <a:gd name="connsiteY207" fmla="*/ 2762 h 10000"/>
                <a:gd name="connsiteX208" fmla="*/ 8267 w 10000"/>
                <a:gd name="connsiteY208" fmla="*/ 2748 h 10000"/>
                <a:gd name="connsiteX209" fmla="*/ 8397 w 10000"/>
                <a:gd name="connsiteY209" fmla="*/ 2705 h 10000"/>
                <a:gd name="connsiteX210" fmla="*/ 8402 w 10000"/>
                <a:gd name="connsiteY210" fmla="*/ 2662 h 10000"/>
                <a:gd name="connsiteX211" fmla="*/ 8449 w 10000"/>
                <a:gd name="connsiteY211" fmla="*/ 2656 h 10000"/>
                <a:gd name="connsiteX212" fmla="*/ 8558 w 10000"/>
                <a:gd name="connsiteY212" fmla="*/ 2677 h 10000"/>
                <a:gd name="connsiteX213" fmla="*/ 8593 w 10000"/>
                <a:gd name="connsiteY213" fmla="*/ 2669 h 10000"/>
                <a:gd name="connsiteX214" fmla="*/ 8606 w 10000"/>
                <a:gd name="connsiteY214" fmla="*/ 2630 h 10000"/>
                <a:gd name="connsiteX215" fmla="*/ 8567 w 10000"/>
                <a:gd name="connsiteY215" fmla="*/ 2605 h 10000"/>
                <a:gd name="connsiteX216" fmla="*/ 8685 w 10000"/>
                <a:gd name="connsiteY216" fmla="*/ 2597 h 10000"/>
                <a:gd name="connsiteX217" fmla="*/ 8698 w 10000"/>
                <a:gd name="connsiteY217" fmla="*/ 2565 h 10000"/>
                <a:gd name="connsiteX218" fmla="*/ 8558 w 10000"/>
                <a:gd name="connsiteY218" fmla="*/ 2481 h 10000"/>
                <a:gd name="connsiteX219" fmla="*/ 8558 w 10000"/>
                <a:gd name="connsiteY219" fmla="*/ 2459 h 10000"/>
                <a:gd name="connsiteX220" fmla="*/ 8698 w 10000"/>
                <a:gd name="connsiteY220" fmla="*/ 2504 h 10000"/>
                <a:gd name="connsiteX221" fmla="*/ 8763 w 10000"/>
                <a:gd name="connsiteY221" fmla="*/ 2548 h 10000"/>
                <a:gd name="connsiteX222" fmla="*/ 8815 w 10000"/>
                <a:gd name="connsiteY222" fmla="*/ 2548 h 10000"/>
                <a:gd name="connsiteX223" fmla="*/ 8789 w 10000"/>
                <a:gd name="connsiteY223" fmla="*/ 2457 h 10000"/>
                <a:gd name="connsiteX224" fmla="*/ 8798 w 10000"/>
                <a:gd name="connsiteY224" fmla="*/ 2467 h 10000"/>
                <a:gd name="connsiteX225" fmla="*/ 8841 w 10000"/>
                <a:gd name="connsiteY225" fmla="*/ 2457 h 10000"/>
                <a:gd name="connsiteX226" fmla="*/ 8855 w 10000"/>
                <a:gd name="connsiteY226" fmla="*/ 2341 h 10000"/>
                <a:gd name="connsiteX227" fmla="*/ 8898 w 10000"/>
                <a:gd name="connsiteY227" fmla="*/ 2332 h 10000"/>
                <a:gd name="connsiteX228" fmla="*/ 8946 w 10000"/>
                <a:gd name="connsiteY228" fmla="*/ 2330 h 10000"/>
                <a:gd name="connsiteX229" fmla="*/ 8946 w 10000"/>
                <a:gd name="connsiteY229" fmla="*/ 2361 h 10000"/>
                <a:gd name="connsiteX230" fmla="*/ 8994 w 10000"/>
                <a:gd name="connsiteY230" fmla="*/ 2389 h 10000"/>
                <a:gd name="connsiteX231" fmla="*/ 9051 w 10000"/>
                <a:gd name="connsiteY231" fmla="*/ 2400 h 10000"/>
                <a:gd name="connsiteX232" fmla="*/ 9094 w 10000"/>
                <a:gd name="connsiteY232" fmla="*/ 2324 h 10000"/>
                <a:gd name="connsiteX233" fmla="*/ 9164 w 10000"/>
                <a:gd name="connsiteY233" fmla="*/ 2347 h 10000"/>
                <a:gd name="connsiteX234" fmla="*/ 9247 w 10000"/>
                <a:gd name="connsiteY234" fmla="*/ 2402 h 10000"/>
                <a:gd name="connsiteX235" fmla="*/ 9286 w 10000"/>
                <a:gd name="connsiteY235" fmla="*/ 2400 h 10000"/>
                <a:gd name="connsiteX236" fmla="*/ 9355 w 10000"/>
                <a:gd name="connsiteY236" fmla="*/ 2428 h 10000"/>
                <a:gd name="connsiteX237" fmla="*/ 9408 w 10000"/>
                <a:gd name="connsiteY237" fmla="*/ 2359 h 10000"/>
                <a:gd name="connsiteX238" fmla="*/ 9717 w 10000"/>
                <a:gd name="connsiteY238" fmla="*/ 2343 h 10000"/>
                <a:gd name="connsiteX239" fmla="*/ 9830 w 10000"/>
                <a:gd name="connsiteY239" fmla="*/ 2369 h 10000"/>
                <a:gd name="connsiteX240" fmla="*/ 9909 w 10000"/>
                <a:gd name="connsiteY240" fmla="*/ 2410 h 10000"/>
                <a:gd name="connsiteX241" fmla="*/ 9948 w 10000"/>
                <a:gd name="connsiteY241" fmla="*/ 2365 h 10000"/>
                <a:gd name="connsiteX242" fmla="*/ 10000 w 10000"/>
                <a:gd name="connsiteY242" fmla="*/ 2349 h 10000"/>
                <a:gd name="connsiteX243" fmla="*/ 9704 w 10000"/>
                <a:gd name="connsiteY243" fmla="*/ 1992 h 10000"/>
                <a:gd name="connsiteX244" fmla="*/ 9743 w 10000"/>
                <a:gd name="connsiteY244" fmla="*/ 1897 h 10000"/>
                <a:gd name="connsiteX245" fmla="*/ 9830 w 10000"/>
                <a:gd name="connsiteY245" fmla="*/ 1819 h 10000"/>
                <a:gd name="connsiteX246" fmla="*/ 9830 w 10000"/>
                <a:gd name="connsiteY246" fmla="*/ 1699 h 10000"/>
                <a:gd name="connsiteX247" fmla="*/ 9556 w 10000"/>
                <a:gd name="connsiteY247" fmla="*/ 1465 h 10000"/>
                <a:gd name="connsiteX248" fmla="*/ 9512 w 10000"/>
                <a:gd name="connsiteY248" fmla="*/ 1379 h 10000"/>
                <a:gd name="connsiteX249" fmla="*/ 9573 w 10000"/>
                <a:gd name="connsiteY249" fmla="*/ 1271 h 10000"/>
                <a:gd name="connsiteX250" fmla="*/ 9543 w 10000"/>
                <a:gd name="connsiteY250" fmla="*/ 1194 h 10000"/>
                <a:gd name="connsiteX251" fmla="*/ 9486 w 10000"/>
                <a:gd name="connsiteY251" fmla="*/ 1159 h 10000"/>
                <a:gd name="connsiteX252" fmla="*/ 9438 w 10000"/>
                <a:gd name="connsiteY252" fmla="*/ 978 h 10000"/>
                <a:gd name="connsiteX253" fmla="*/ 9495 w 10000"/>
                <a:gd name="connsiteY253" fmla="*/ 831 h 10000"/>
                <a:gd name="connsiteX254" fmla="*/ 9077 w 10000"/>
                <a:gd name="connsiteY254" fmla="*/ 517 h 10000"/>
                <a:gd name="connsiteX255" fmla="*/ 8872 w 10000"/>
                <a:gd name="connsiteY255" fmla="*/ 440 h 10000"/>
                <a:gd name="connsiteX256" fmla="*/ 8493 w 10000"/>
                <a:gd name="connsiteY256" fmla="*/ 389 h 10000"/>
                <a:gd name="connsiteX257" fmla="*/ 7709 w 10000"/>
                <a:gd name="connsiteY257" fmla="*/ 26 h 10000"/>
                <a:gd name="connsiteX258" fmla="*/ 7683 w 10000"/>
                <a:gd name="connsiteY258" fmla="*/ 2 h 10000"/>
                <a:gd name="connsiteX259" fmla="*/ 7417 w 10000"/>
                <a:gd name="connsiteY259" fmla="*/ 0 h 10000"/>
                <a:gd name="connsiteX260" fmla="*/ 7356 w 10000"/>
                <a:gd name="connsiteY260" fmla="*/ 14 h 10000"/>
                <a:gd name="connsiteX261" fmla="*/ 7369 w 10000"/>
                <a:gd name="connsiteY261" fmla="*/ 61 h 10000"/>
                <a:gd name="connsiteX262" fmla="*/ 7422 w 10000"/>
                <a:gd name="connsiteY262" fmla="*/ 86 h 10000"/>
                <a:gd name="connsiteX263" fmla="*/ 7435 w 10000"/>
                <a:gd name="connsiteY263" fmla="*/ 139 h 10000"/>
                <a:gd name="connsiteX264" fmla="*/ 7417 w 10000"/>
                <a:gd name="connsiteY264" fmla="*/ 181 h 10000"/>
                <a:gd name="connsiteX265" fmla="*/ 7369 w 10000"/>
                <a:gd name="connsiteY265" fmla="*/ 208 h 10000"/>
                <a:gd name="connsiteX266" fmla="*/ 7334 w 10000"/>
                <a:gd name="connsiteY266" fmla="*/ 283 h 10000"/>
                <a:gd name="connsiteX267" fmla="*/ 7269 w 10000"/>
                <a:gd name="connsiteY267" fmla="*/ 336 h 10000"/>
                <a:gd name="connsiteX268" fmla="*/ 7282 w 10000"/>
                <a:gd name="connsiteY268" fmla="*/ 387 h 10000"/>
                <a:gd name="connsiteX269" fmla="*/ 7382 w 10000"/>
                <a:gd name="connsiteY269" fmla="*/ 434 h 10000"/>
                <a:gd name="connsiteX270" fmla="*/ 7317 w 10000"/>
                <a:gd name="connsiteY270" fmla="*/ 475 h 10000"/>
                <a:gd name="connsiteX271" fmla="*/ 7221 w 10000"/>
                <a:gd name="connsiteY271" fmla="*/ 485 h 10000"/>
                <a:gd name="connsiteX272" fmla="*/ 6420 w 10000"/>
                <a:gd name="connsiteY272" fmla="*/ 387 h 10000"/>
                <a:gd name="connsiteX273" fmla="*/ 6324 w 10000"/>
                <a:gd name="connsiteY273" fmla="*/ 395 h 10000"/>
                <a:gd name="connsiteX274" fmla="*/ 6267 w 10000"/>
                <a:gd name="connsiteY274" fmla="*/ 414 h 10000"/>
                <a:gd name="connsiteX275" fmla="*/ 6211 w 10000"/>
                <a:gd name="connsiteY275" fmla="*/ 462 h 10000"/>
                <a:gd name="connsiteX276" fmla="*/ 6220 w 10000"/>
                <a:gd name="connsiteY276" fmla="*/ 581 h 10000"/>
                <a:gd name="connsiteX277" fmla="*/ 6132 w 10000"/>
                <a:gd name="connsiteY277" fmla="*/ 735 h 10000"/>
                <a:gd name="connsiteX278" fmla="*/ 6024 w 10000"/>
                <a:gd name="connsiteY278" fmla="*/ 815 h 10000"/>
                <a:gd name="connsiteX279" fmla="*/ 5980 w 10000"/>
                <a:gd name="connsiteY279" fmla="*/ 805 h 10000"/>
                <a:gd name="connsiteX280" fmla="*/ 5880 w 10000"/>
                <a:gd name="connsiteY280" fmla="*/ 739 h 10000"/>
                <a:gd name="connsiteX281" fmla="*/ 5753 w 10000"/>
                <a:gd name="connsiteY281" fmla="*/ 705 h 10000"/>
                <a:gd name="connsiteX282" fmla="*/ 5618 w 10000"/>
                <a:gd name="connsiteY282" fmla="*/ 715 h 10000"/>
                <a:gd name="connsiteX283" fmla="*/ 5301 w 10000"/>
                <a:gd name="connsiteY283" fmla="*/ 866 h 10000"/>
                <a:gd name="connsiteX284" fmla="*/ 5218 w 10000"/>
                <a:gd name="connsiteY284" fmla="*/ 1017 h 10000"/>
                <a:gd name="connsiteX285" fmla="*/ 4978 w 10000"/>
                <a:gd name="connsiteY285" fmla="*/ 1153 h 10000"/>
                <a:gd name="connsiteX286" fmla="*/ 4935 w 10000"/>
                <a:gd name="connsiteY286" fmla="*/ 1222 h 10000"/>
                <a:gd name="connsiteX287" fmla="*/ 5061 w 10000"/>
                <a:gd name="connsiteY287" fmla="*/ 1344 h 10000"/>
                <a:gd name="connsiteX288" fmla="*/ 5074 w 10000"/>
                <a:gd name="connsiteY288" fmla="*/ 1412 h 10000"/>
                <a:gd name="connsiteX289" fmla="*/ 4421 w 10000"/>
                <a:gd name="connsiteY289" fmla="*/ 1813 h 10000"/>
                <a:gd name="connsiteX290" fmla="*/ 4220 w 10000"/>
                <a:gd name="connsiteY290" fmla="*/ 2070 h 10000"/>
                <a:gd name="connsiteX291" fmla="*/ 4003 w 10000"/>
                <a:gd name="connsiteY291" fmla="*/ 2135 h 10000"/>
                <a:gd name="connsiteX292" fmla="*/ 3868 w 10000"/>
                <a:gd name="connsiteY292" fmla="*/ 2131 h 10000"/>
                <a:gd name="connsiteX293" fmla="*/ 3785 w 10000"/>
                <a:gd name="connsiteY293" fmla="*/ 2153 h 10000"/>
                <a:gd name="connsiteX294" fmla="*/ 3558 w 10000"/>
                <a:gd name="connsiteY294" fmla="*/ 2793 h 10000"/>
                <a:gd name="connsiteX295" fmla="*/ 3036 w 10000"/>
                <a:gd name="connsiteY295" fmla="*/ 3166 h 10000"/>
                <a:gd name="connsiteX296" fmla="*/ 3040 w 10000"/>
                <a:gd name="connsiteY296" fmla="*/ 3225 h 10000"/>
                <a:gd name="connsiteX297" fmla="*/ 3271 w 10000"/>
                <a:gd name="connsiteY297" fmla="*/ 3392 h 10000"/>
                <a:gd name="connsiteX298" fmla="*/ 3197 w 10000"/>
                <a:gd name="connsiteY298" fmla="*/ 3573 h 10000"/>
                <a:gd name="connsiteX299" fmla="*/ 3062 w 10000"/>
                <a:gd name="connsiteY299" fmla="*/ 3640 h 10000"/>
                <a:gd name="connsiteX300" fmla="*/ 2657 w 10000"/>
                <a:gd name="connsiteY300" fmla="*/ 3595 h 10000"/>
                <a:gd name="connsiteX301" fmla="*/ 2378 w 10000"/>
                <a:gd name="connsiteY301" fmla="*/ 3620 h 10000"/>
                <a:gd name="connsiteX302" fmla="*/ 2152 w 10000"/>
                <a:gd name="connsiteY302" fmla="*/ 3673 h 10000"/>
                <a:gd name="connsiteX303" fmla="*/ 1790 w 10000"/>
                <a:gd name="connsiteY303" fmla="*/ 3840 h 10000"/>
                <a:gd name="connsiteX304" fmla="*/ 1598 w 10000"/>
                <a:gd name="connsiteY304" fmla="*/ 4042 h 10000"/>
                <a:gd name="connsiteX305" fmla="*/ 1616 w 10000"/>
                <a:gd name="connsiteY305" fmla="*/ 4154 h 10000"/>
                <a:gd name="connsiteX306" fmla="*/ 1681 w 10000"/>
                <a:gd name="connsiteY306" fmla="*/ 4241 h 10000"/>
                <a:gd name="connsiteX307" fmla="*/ 1733 w 10000"/>
                <a:gd name="connsiteY307" fmla="*/ 4276 h 10000"/>
                <a:gd name="connsiteX308" fmla="*/ 1638 w 10000"/>
                <a:gd name="connsiteY308" fmla="*/ 4331 h 10000"/>
                <a:gd name="connsiteX309" fmla="*/ 1433 w 10000"/>
                <a:gd name="connsiteY309" fmla="*/ 4710 h 10000"/>
                <a:gd name="connsiteX310" fmla="*/ 1472 w 10000"/>
                <a:gd name="connsiteY310" fmla="*/ 4732 h 10000"/>
                <a:gd name="connsiteX311" fmla="*/ 1503 w 10000"/>
                <a:gd name="connsiteY311" fmla="*/ 4828 h 10000"/>
                <a:gd name="connsiteX312" fmla="*/ 1407 w 10000"/>
                <a:gd name="connsiteY312" fmla="*/ 5227 h 10000"/>
                <a:gd name="connsiteX313" fmla="*/ 1503 w 10000"/>
                <a:gd name="connsiteY313" fmla="*/ 5329 h 10000"/>
                <a:gd name="connsiteX314" fmla="*/ 1764 w 10000"/>
                <a:gd name="connsiteY314" fmla="*/ 5441 h 10000"/>
                <a:gd name="connsiteX315" fmla="*/ 1777 w 10000"/>
                <a:gd name="connsiteY315" fmla="*/ 5578 h 10000"/>
                <a:gd name="connsiteX316" fmla="*/ 1664 w 10000"/>
                <a:gd name="connsiteY316" fmla="*/ 5690 h 10000"/>
                <a:gd name="connsiteX317" fmla="*/ 1503 w 10000"/>
                <a:gd name="connsiteY317" fmla="*/ 5759 h 10000"/>
                <a:gd name="connsiteX318" fmla="*/ 1289 w 10000"/>
                <a:gd name="connsiteY318" fmla="*/ 5787 h 10000"/>
                <a:gd name="connsiteX319" fmla="*/ 1233 w 10000"/>
                <a:gd name="connsiteY319" fmla="*/ 5826 h 10000"/>
                <a:gd name="connsiteX320" fmla="*/ 1359 w 10000"/>
                <a:gd name="connsiteY320" fmla="*/ 5920 h 10000"/>
                <a:gd name="connsiteX321" fmla="*/ 1429 w 10000"/>
                <a:gd name="connsiteY321" fmla="*/ 6142 h 10000"/>
                <a:gd name="connsiteX322" fmla="*/ 1267 w 10000"/>
                <a:gd name="connsiteY322" fmla="*/ 6333 h 10000"/>
                <a:gd name="connsiteX323" fmla="*/ 1324 w 10000"/>
                <a:gd name="connsiteY323" fmla="*/ 6392 h 10000"/>
                <a:gd name="connsiteX324" fmla="*/ 1272 w 10000"/>
                <a:gd name="connsiteY324" fmla="*/ 6492 h 10000"/>
                <a:gd name="connsiteX325" fmla="*/ 1167 w 10000"/>
                <a:gd name="connsiteY325" fmla="*/ 6561 h 10000"/>
                <a:gd name="connsiteX326" fmla="*/ 758 w 10000"/>
                <a:gd name="connsiteY326" fmla="*/ 6614 h 10000"/>
                <a:gd name="connsiteX327" fmla="*/ 732 w 10000"/>
                <a:gd name="connsiteY327" fmla="*/ 6706 h 10000"/>
                <a:gd name="connsiteX328" fmla="*/ 510 w 10000"/>
                <a:gd name="connsiteY328" fmla="*/ 6843 h 10000"/>
                <a:gd name="connsiteX329" fmla="*/ 540 w 10000"/>
                <a:gd name="connsiteY329" fmla="*/ 7040 h 10000"/>
                <a:gd name="connsiteX330" fmla="*/ 353 w 10000"/>
                <a:gd name="connsiteY330" fmla="*/ 7293 h 10000"/>
                <a:gd name="connsiteX331" fmla="*/ 226 w 10000"/>
                <a:gd name="connsiteY331" fmla="*/ 7323 h 10000"/>
                <a:gd name="connsiteX332" fmla="*/ 174 w 10000"/>
                <a:gd name="connsiteY332" fmla="*/ 7262 h 10000"/>
                <a:gd name="connsiteX333" fmla="*/ 109 w 10000"/>
                <a:gd name="connsiteY333" fmla="*/ 7354 h 10000"/>
                <a:gd name="connsiteX334" fmla="*/ 152 w 10000"/>
                <a:gd name="connsiteY334" fmla="*/ 7197 h 10000"/>
                <a:gd name="connsiteX335" fmla="*/ 126 w 10000"/>
                <a:gd name="connsiteY335"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253 w 10000"/>
                <a:gd name="connsiteY207" fmla="*/ 2762 h 10000"/>
                <a:gd name="connsiteX208" fmla="*/ 8397 w 10000"/>
                <a:gd name="connsiteY208" fmla="*/ 2705 h 10000"/>
                <a:gd name="connsiteX209" fmla="*/ 8402 w 10000"/>
                <a:gd name="connsiteY209" fmla="*/ 2662 h 10000"/>
                <a:gd name="connsiteX210" fmla="*/ 8449 w 10000"/>
                <a:gd name="connsiteY210" fmla="*/ 2656 h 10000"/>
                <a:gd name="connsiteX211" fmla="*/ 8558 w 10000"/>
                <a:gd name="connsiteY211" fmla="*/ 2677 h 10000"/>
                <a:gd name="connsiteX212" fmla="*/ 8593 w 10000"/>
                <a:gd name="connsiteY212" fmla="*/ 2669 h 10000"/>
                <a:gd name="connsiteX213" fmla="*/ 8606 w 10000"/>
                <a:gd name="connsiteY213" fmla="*/ 2630 h 10000"/>
                <a:gd name="connsiteX214" fmla="*/ 8567 w 10000"/>
                <a:gd name="connsiteY214" fmla="*/ 2605 h 10000"/>
                <a:gd name="connsiteX215" fmla="*/ 8685 w 10000"/>
                <a:gd name="connsiteY215" fmla="*/ 2597 h 10000"/>
                <a:gd name="connsiteX216" fmla="*/ 8698 w 10000"/>
                <a:gd name="connsiteY216" fmla="*/ 2565 h 10000"/>
                <a:gd name="connsiteX217" fmla="*/ 8558 w 10000"/>
                <a:gd name="connsiteY217" fmla="*/ 2481 h 10000"/>
                <a:gd name="connsiteX218" fmla="*/ 8558 w 10000"/>
                <a:gd name="connsiteY218" fmla="*/ 2459 h 10000"/>
                <a:gd name="connsiteX219" fmla="*/ 8698 w 10000"/>
                <a:gd name="connsiteY219" fmla="*/ 2504 h 10000"/>
                <a:gd name="connsiteX220" fmla="*/ 8763 w 10000"/>
                <a:gd name="connsiteY220" fmla="*/ 2548 h 10000"/>
                <a:gd name="connsiteX221" fmla="*/ 8815 w 10000"/>
                <a:gd name="connsiteY221" fmla="*/ 2548 h 10000"/>
                <a:gd name="connsiteX222" fmla="*/ 8789 w 10000"/>
                <a:gd name="connsiteY222" fmla="*/ 2457 h 10000"/>
                <a:gd name="connsiteX223" fmla="*/ 8798 w 10000"/>
                <a:gd name="connsiteY223" fmla="*/ 2467 h 10000"/>
                <a:gd name="connsiteX224" fmla="*/ 8841 w 10000"/>
                <a:gd name="connsiteY224" fmla="*/ 2457 h 10000"/>
                <a:gd name="connsiteX225" fmla="*/ 8855 w 10000"/>
                <a:gd name="connsiteY225" fmla="*/ 2341 h 10000"/>
                <a:gd name="connsiteX226" fmla="*/ 8898 w 10000"/>
                <a:gd name="connsiteY226" fmla="*/ 2332 h 10000"/>
                <a:gd name="connsiteX227" fmla="*/ 8946 w 10000"/>
                <a:gd name="connsiteY227" fmla="*/ 2330 h 10000"/>
                <a:gd name="connsiteX228" fmla="*/ 8946 w 10000"/>
                <a:gd name="connsiteY228" fmla="*/ 2361 h 10000"/>
                <a:gd name="connsiteX229" fmla="*/ 8994 w 10000"/>
                <a:gd name="connsiteY229" fmla="*/ 2389 h 10000"/>
                <a:gd name="connsiteX230" fmla="*/ 9051 w 10000"/>
                <a:gd name="connsiteY230" fmla="*/ 2400 h 10000"/>
                <a:gd name="connsiteX231" fmla="*/ 9094 w 10000"/>
                <a:gd name="connsiteY231" fmla="*/ 2324 h 10000"/>
                <a:gd name="connsiteX232" fmla="*/ 9164 w 10000"/>
                <a:gd name="connsiteY232" fmla="*/ 2347 h 10000"/>
                <a:gd name="connsiteX233" fmla="*/ 9247 w 10000"/>
                <a:gd name="connsiteY233" fmla="*/ 2402 h 10000"/>
                <a:gd name="connsiteX234" fmla="*/ 9286 w 10000"/>
                <a:gd name="connsiteY234" fmla="*/ 2400 h 10000"/>
                <a:gd name="connsiteX235" fmla="*/ 9355 w 10000"/>
                <a:gd name="connsiteY235" fmla="*/ 2428 h 10000"/>
                <a:gd name="connsiteX236" fmla="*/ 9408 w 10000"/>
                <a:gd name="connsiteY236" fmla="*/ 2359 h 10000"/>
                <a:gd name="connsiteX237" fmla="*/ 9717 w 10000"/>
                <a:gd name="connsiteY237" fmla="*/ 2343 h 10000"/>
                <a:gd name="connsiteX238" fmla="*/ 9830 w 10000"/>
                <a:gd name="connsiteY238" fmla="*/ 2369 h 10000"/>
                <a:gd name="connsiteX239" fmla="*/ 9909 w 10000"/>
                <a:gd name="connsiteY239" fmla="*/ 2410 h 10000"/>
                <a:gd name="connsiteX240" fmla="*/ 9948 w 10000"/>
                <a:gd name="connsiteY240" fmla="*/ 2365 h 10000"/>
                <a:gd name="connsiteX241" fmla="*/ 10000 w 10000"/>
                <a:gd name="connsiteY241" fmla="*/ 2349 h 10000"/>
                <a:gd name="connsiteX242" fmla="*/ 9704 w 10000"/>
                <a:gd name="connsiteY242" fmla="*/ 1992 h 10000"/>
                <a:gd name="connsiteX243" fmla="*/ 9743 w 10000"/>
                <a:gd name="connsiteY243" fmla="*/ 1897 h 10000"/>
                <a:gd name="connsiteX244" fmla="*/ 9830 w 10000"/>
                <a:gd name="connsiteY244" fmla="*/ 1819 h 10000"/>
                <a:gd name="connsiteX245" fmla="*/ 9830 w 10000"/>
                <a:gd name="connsiteY245" fmla="*/ 1699 h 10000"/>
                <a:gd name="connsiteX246" fmla="*/ 9556 w 10000"/>
                <a:gd name="connsiteY246" fmla="*/ 1465 h 10000"/>
                <a:gd name="connsiteX247" fmla="*/ 9512 w 10000"/>
                <a:gd name="connsiteY247" fmla="*/ 1379 h 10000"/>
                <a:gd name="connsiteX248" fmla="*/ 9573 w 10000"/>
                <a:gd name="connsiteY248" fmla="*/ 1271 h 10000"/>
                <a:gd name="connsiteX249" fmla="*/ 9543 w 10000"/>
                <a:gd name="connsiteY249" fmla="*/ 1194 h 10000"/>
                <a:gd name="connsiteX250" fmla="*/ 9486 w 10000"/>
                <a:gd name="connsiteY250" fmla="*/ 1159 h 10000"/>
                <a:gd name="connsiteX251" fmla="*/ 9438 w 10000"/>
                <a:gd name="connsiteY251" fmla="*/ 978 h 10000"/>
                <a:gd name="connsiteX252" fmla="*/ 9495 w 10000"/>
                <a:gd name="connsiteY252" fmla="*/ 831 h 10000"/>
                <a:gd name="connsiteX253" fmla="*/ 9077 w 10000"/>
                <a:gd name="connsiteY253" fmla="*/ 517 h 10000"/>
                <a:gd name="connsiteX254" fmla="*/ 8872 w 10000"/>
                <a:gd name="connsiteY254" fmla="*/ 440 h 10000"/>
                <a:gd name="connsiteX255" fmla="*/ 8493 w 10000"/>
                <a:gd name="connsiteY255" fmla="*/ 389 h 10000"/>
                <a:gd name="connsiteX256" fmla="*/ 7709 w 10000"/>
                <a:gd name="connsiteY256" fmla="*/ 26 h 10000"/>
                <a:gd name="connsiteX257" fmla="*/ 7683 w 10000"/>
                <a:gd name="connsiteY257" fmla="*/ 2 h 10000"/>
                <a:gd name="connsiteX258" fmla="*/ 7417 w 10000"/>
                <a:gd name="connsiteY258" fmla="*/ 0 h 10000"/>
                <a:gd name="connsiteX259" fmla="*/ 7356 w 10000"/>
                <a:gd name="connsiteY259" fmla="*/ 14 h 10000"/>
                <a:gd name="connsiteX260" fmla="*/ 7369 w 10000"/>
                <a:gd name="connsiteY260" fmla="*/ 61 h 10000"/>
                <a:gd name="connsiteX261" fmla="*/ 7422 w 10000"/>
                <a:gd name="connsiteY261" fmla="*/ 86 h 10000"/>
                <a:gd name="connsiteX262" fmla="*/ 7435 w 10000"/>
                <a:gd name="connsiteY262" fmla="*/ 139 h 10000"/>
                <a:gd name="connsiteX263" fmla="*/ 7417 w 10000"/>
                <a:gd name="connsiteY263" fmla="*/ 181 h 10000"/>
                <a:gd name="connsiteX264" fmla="*/ 7369 w 10000"/>
                <a:gd name="connsiteY264" fmla="*/ 208 h 10000"/>
                <a:gd name="connsiteX265" fmla="*/ 7334 w 10000"/>
                <a:gd name="connsiteY265" fmla="*/ 283 h 10000"/>
                <a:gd name="connsiteX266" fmla="*/ 7269 w 10000"/>
                <a:gd name="connsiteY266" fmla="*/ 336 h 10000"/>
                <a:gd name="connsiteX267" fmla="*/ 7282 w 10000"/>
                <a:gd name="connsiteY267" fmla="*/ 387 h 10000"/>
                <a:gd name="connsiteX268" fmla="*/ 7382 w 10000"/>
                <a:gd name="connsiteY268" fmla="*/ 434 h 10000"/>
                <a:gd name="connsiteX269" fmla="*/ 7317 w 10000"/>
                <a:gd name="connsiteY269" fmla="*/ 475 h 10000"/>
                <a:gd name="connsiteX270" fmla="*/ 7221 w 10000"/>
                <a:gd name="connsiteY270" fmla="*/ 485 h 10000"/>
                <a:gd name="connsiteX271" fmla="*/ 6420 w 10000"/>
                <a:gd name="connsiteY271" fmla="*/ 387 h 10000"/>
                <a:gd name="connsiteX272" fmla="*/ 6324 w 10000"/>
                <a:gd name="connsiteY272" fmla="*/ 395 h 10000"/>
                <a:gd name="connsiteX273" fmla="*/ 6267 w 10000"/>
                <a:gd name="connsiteY273" fmla="*/ 414 h 10000"/>
                <a:gd name="connsiteX274" fmla="*/ 6211 w 10000"/>
                <a:gd name="connsiteY274" fmla="*/ 462 h 10000"/>
                <a:gd name="connsiteX275" fmla="*/ 6220 w 10000"/>
                <a:gd name="connsiteY275" fmla="*/ 581 h 10000"/>
                <a:gd name="connsiteX276" fmla="*/ 6132 w 10000"/>
                <a:gd name="connsiteY276" fmla="*/ 735 h 10000"/>
                <a:gd name="connsiteX277" fmla="*/ 6024 w 10000"/>
                <a:gd name="connsiteY277" fmla="*/ 815 h 10000"/>
                <a:gd name="connsiteX278" fmla="*/ 5980 w 10000"/>
                <a:gd name="connsiteY278" fmla="*/ 805 h 10000"/>
                <a:gd name="connsiteX279" fmla="*/ 5880 w 10000"/>
                <a:gd name="connsiteY279" fmla="*/ 739 h 10000"/>
                <a:gd name="connsiteX280" fmla="*/ 5753 w 10000"/>
                <a:gd name="connsiteY280" fmla="*/ 705 h 10000"/>
                <a:gd name="connsiteX281" fmla="*/ 5618 w 10000"/>
                <a:gd name="connsiteY281" fmla="*/ 715 h 10000"/>
                <a:gd name="connsiteX282" fmla="*/ 5301 w 10000"/>
                <a:gd name="connsiteY282" fmla="*/ 866 h 10000"/>
                <a:gd name="connsiteX283" fmla="*/ 5218 w 10000"/>
                <a:gd name="connsiteY283" fmla="*/ 1017 h 10000"/>
                <a:gd name="connsiteX284" fmla="*/ 4978 w 10000"/>
                <a:gd name="connsiteY284" fmla="*/ 1153 h 10000"/>
                <a:gd name="connsiteX285" fmla="*/ 4935 w 10000"/>
                <a:gd name="connsiteY285" fmla="*/ 1222 h 10000"/>
                <a:gd name="connsiteX286" fmla="*/ 5061 w 10000"/>
                <a:gd name="connsiteY286" fmla="*/ 1344 h 10000"/>
                <a:gd name="connsiteX287" fmla="*/ 5074 w 10000"/>
                <a:gd name="connsiteY287" fmla="*/ 1412 h 10000"/>
                <a:gd name="connsiteX288" fmla="*/ 4421 w 10000"/>
                <a:gd name="connsiteY288" fmla="*/ 1813 h 10000"/>
                <a:gd name="connsiteX289" fmla="*/ 4220 w 10000"/>
                <a:gd name="connsiteY289" fmla="*/ 2070 h 10000"/>
                <a:gd name="connsiteX290" fmla="*/ 4003 w 10000"/>
                <a:gd name="connsiteY290" fmla="*/ 2135 h 10000"/>
                <a:gd name="connsiteX291" fmla="*/ 3868 w 10000"/>
                <a:gd name="connsiteY291" fmla="*/ 2131 h 10000"/>
                <a:gd name="connsiteX292" fmla="*/ 3785 w 10000"/>
                <a:gd name="connsiteY292" fmla="*/ 2153 h 10000"/>
                <a:gd name="connsiteX293" fmla="*/ 3558 w 10000"/>
                <a:gd name="connsiteY293" fmla="*/ 2793 h 10000"/>
                <a:gd name="connsiteX294" fmla="*/ 3036 w 10000"/>
                <a:gd name="connsiteY294" fmla="*/ 3166 h 10000"/>
                <a:gd name="connsiteX295" fmla="*/ 3040 w 10000"/>
                <a:gd name="connsiteY295" fmla="*/ 3225 h 10000"/>
                <a:gd name="connsiteX296" fmla="*/ 3271 w 10000"/>
                <a:gd name="connsiteY296" fmla="*/ 3392 h 10000"/>
                <a:gd name="connsiteX297" fmla="*/ 3197 w 10000"/>
                <a:gd name="connsiteY297" fmla="*/ 3573 h 10000"/>
                <a:gd name="connsiteX298" fmla="*/ 3062 w 10000"/>
                <a:gd name="connsiteY298" fmla="*/ 3640 h 10000"/>
                <a:gd name="connsiteX299" fmla="*/ 2657 w 10000"/>
                <a:gd name="connsiteY299" fmla="*/ 3595 h 10000"/>
                <a:gd name="connsiteX300" fmla="*/ 2378 w 10000"/>
                <a:gd name="connsiteY300" fmla="*/ 3620 h 10000"/>
                <a:gd name="connsiteX301" fmla="*/ 2152 w 10000"/>
                <a:gd name="connsiteY301" fmla="*/ 3673 h 10000"/>
                <a:gd name="connsiteX302" fmla="*/ 1790 w 10000"/>
                <a:gd name="connsiteY302" fmla="*/ 3840 h 10000"/>
                <a:gd name="connsiteX303" fmla="*/ 1598 w 10000"/>
                <a:gd name="connsiteY303" fmla="*/ 4042 h 10000"/>
                <a:gd name="connsiteX304" fmla="*/ 1616 w 10000"/>
                <a:gd name="connsiteY304" fmla="*/ 4154 h 10000"/>
                <a:gd name="connsiteX305" fmla="*/ 1681 w 10000"/>
                <a:gd name="connsiteY305" fmla="*/ 4241 h 10000"/>
                <a:gd name="connsiteX306" fmla="*/ 1733 w 10000"/>
                <a:gd name="connsiteY306" fmla="*/ 4276 h 10000"/>
                <a:gd name="connsiteX307" fmla="*/ 1638 w 10000"/>
                <a:gd name="connsiteY307" fmla="*/ 4331 h 10000"/>
                <a:gd name="connsiteX308" fmla="*/ 1433 w 10000"/>
                <a:gd name="connsiteY308" fmla="*/ 4710 h 10000"/>
                <a:gd name="connsiteX309" fmla="*/ 1472 w 10000"/>
                <a:gd name="connsiteY309" fmla="*/ 4732 h 10000"/>
                <a:gd name="connsiteX310" fmla="*/ 1503 w 10000"/>
                <a:gd name="connsiteY310" fmla="*/ 4828 h 10000"/>
                <a:gd name="connsiteX311" fmla="*/ 1407 w 10000"/>
                <a:gd name="connsiteY311" fmla="*/ 5227 h 10000"/>
                <a:gd name="connsiteX312" fmla="*/ 1503 w 10000"/>
                <a:gd name="connsiteY312" fmla="*/ 5329 h 10000"/>
                <a:gd name="connsiteX313" fmla="*/ 1764 w 10000"/>
                <a:gd name="connsiteY313" fmla="*/ 5441 h 10000"/>
                <a:gd name="connsiteX314" fmla="*/ 1777 w 10000"/>
                <a:gd name="connsiteY314" fmla="*/ 5578 h 10000"/>
                <a:gd name="connsiteX315" fmla="*/ 1664 w 10000"/>
                <a:gd name="connsiteY315" fmla="*/ 5690 h 10000"/>
                <a:gd name="connsiteX316" fmla="*/ 1503 w 10000"/>
                <a:gd name="connsiteY316" fmla="*/ 5759 h 10000"/>
                <a:gd name="connsiteX317" fmla="*/ 1289 w 10000"/>
                <a:gd name="connsiteY317" fmla="*/ 5787 h 10000"/>
                <a:gd name="connsiteX318" fmla="*/ 1233 w 10000"/>
                <a:gd name="connsiteY318" fmla="*/ 5826 h 10000"/>
                <a:gd name="connsiteX319" fmla="*/ 1359 w 10000"/>
                <a:gd name="connsiteY319" fmla="*/ 5920 h 10000"/>
                <a:gd name="connsiteX320" fmla="*/ 1429 w 10000"/>
                <a:gd name="connsiteY320" fmla="*/ 6142 h 10000"/>
                <a:gd name="connsiteX321" fmla="*/ 1267 w 10000"/>
                <a:gd name="connsiteY321" fmla="*/ 6333 h 10000"/>
                <a:gd name="connsiteX322" fmla="*/ 1324 w 10000"/>
                <a:gd name="connsiteY322" fmla="*/ 6392 h 10000"/>
                <a:gd name="connsiteX323" fmla="*/ 1272 w 10000"/>
                <a:gd name="connsiteY323" fmla="*/ 6492 h 10000"/>
                <a:gd name="connsiteX324" fmla="*/ 1167 w 10000"/>
                <a:gd name="connsiteY324" fmla="*/ 6561 h 10000"/>
                <a:gd name="connsiteX325" fmla="*/ 758 w 10000"/>
                <a:gd name="connsiteY325" fmla="*/ 6614 h 10000"/>
                <a:gd name="connsiteX326" fmla="*/ 732 w 10000"/>
                <a:gd name="connsiteY326" fmla="*/ 6706 h 10000"/>
                <a:gd name="connsiteX327" fmla="*/ 510 w 10000"/>
                <a:gd name="connsiteY327" fmla="*/ 6843 h 10000"/>
                <a:gd name="connsiteX328" fmla="*/ 540 w 10000"/>
                <a:gd name="connsiteY328" fmla="*/ 7040 h 10000"/>
                <a:gd name="connsiteX329" fmla="*/ 353 w 10000"/>
                <a:gd name="connsiteY329" fmla="*/ 7293 h 10000"/>
                <a:gd name="connsiteX330" fmla="*/ 226 w 10000"/>
                <a:gd name="connsiteY330" fmla="*/ 7323 h 10000"/>
                <a:gd name="connsiteX331" fmla="*/ 174 w 10000"/>
                <a:gd name="connsiteY331" fmla="*/ 7262 h 10000"/>
                <a:gd name="connsiteX332" fmla="*/ 109 w 10000"/>
                <a:gd name="connsiteY332" fmla="*/ 7354 h 10000"/>
                <a:gd name="connsiteX333" fmla="*/ 152 w 10000"/>
                <a:gd name="connsiteY333" fmla="*/ 7197 h 10000"/>
                <a:gd name="connsiteX334" fmla="*/ 126 w 10000"/>
                <a:gd name="connsiteY334"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253 w 10000"/>
                <a:gd name="connsiteY207" fmla="*/ 2762 h 10000"/>
                <a:gd name="connsiteX208" fmla="*/ 8397 w 10000"/>
                <a:gd name="connsiteY208" fmla="*/ 2705 h 10000"/>
                <a:gd name="connsiteX209" fmla="*/ 8402 w 10000"/>
                <a:gd name="connsiteY209" fmla="*/ 2662 h 10000"/>
                <a:gd name="connsiteX210" fmla="*/ 8449 w 10000"/>
                <a:gd name="connsiteY210" fmla="*/ 2656 h 10000"/>
                <a:gd name="connsiteX211" fmla="*/ 8593 w 10000"/>
                <a:gd name="connsiteY211" fmla="*/ 2669 h 10000"/>
                <a:gd name="connsiteX212" fmla="*/ 8606 w 10000"/>
                <a:gd name="connsiteY212" fmla="*/ 2630 h 10000"/>
                <a:gd name="connsiteX213" fmla="*/ 8567 w 10000"/>
                <a:gd name="connsiteY213" fmla="*/ 2605 h 10000"/>
                <a:gd name="connsiteX214" fmla="*/ 8685 w 10000"/>
                <a:gd name="connsiteY214" fmla="*/ 2597 h 10000"/>
                <a:gd name="connsiteX215" fmla="*/ 8698 w 10000"/>
                <a:gd name="connsiteY215" fmla="*/ 2565 h 10000"/>
                <a:gd name="connsiteX216" fmla="*/ 8558 w 10000"/>
                <a:gd name="connsiteY216" fmla="*/ 2481 h 10000"/>
                <a:gd name="connsiteX217" fmla="*/ 8558 w 10000"/>
                <a:gd name="connsiteY217" fmla="*/ 2459 h 10000"/>
                <a:gd name="connsiteX218" fmla="*/ 8698 w 10000"/>
                <a:gd name="connsiteY218" fmla="*/ 2504 h 10000"/>
                <a:gd name="connsiteX219" fmla="*/ 8763 w 10000"/>
                <a:gd name="connsiteY219" fmla="*/ 2548 h 10000"/>
                <a:gd name="connsiteX220" fmla="*/ 8815 w 10000"/>
                <a:gd name="connsiteY220" fmla="*/ 2548 h 10000"/>
                <a:gd name="connsiteX221" fmla="*/ 8789 w 10000"/>
                <a:gd name="connsiteY221" fmla="*/ 2457 h 10000"/>
                <a:gd name="connsiteX222" fmla="*/ 8798 w 10000"/>
                <a:gd name="connsiteY222" fmla="*/ 2467 h 10000"/>
                <a:gd name="connsiteX223" fmla="*/ 8841 w 10000"/>
                <a:gd name="connsiteY223" fmla="*/ 2457 h 10000"/>
                <a:gd name="connsiteX224" fmla="*/ 8855 w 10000"/>
                <a:gd name="connsiteY224" fmla="*/ 2341 h 10000"/>
                <a:gd name="connsiteX225" fmla="*/ 8898 w 10000"/>
                <a:gd name="connsiteY225" fmla="*/ 2332 h 10000"/>
                <a:gd name="connsiteX226" fmla="*/ 8946 w 10000"/>
                <a:gd name="connsiteY226" fmla="*/ 2330 h 10000"/>
                <a:gd name="connsiteX227" fmla="*/ 8946 w 10000"/>
                <a:gd name="connsiteY227" fmla="*/ 2361 h 10000"/>
                <a:gd name="connsiteX228" fmla="*/ 8994 w 10000"/>
                <a:gd name="connsiteY228" fmla="*/ 2389 h 10000"/>
                <a:gd name="connsiteX229" fmla="*/ 9051 w 10000"/>
                <a:gd name="connsiteY229" fmla="*/ 2400 h 10000"/>
                <a:gd name="connsiteX230" fmla="*/ 9094 w 10000"/>
                <a:gd name="connsiteY230" fmla="*/ 2324 h 10000"/>
                <a:gd name="connsiteX231" fmla="*/ 9164 w 10000"/>
                <a:gd name="connsiteY231" fmla="*/ 2347 h 10000"/>
                <a:gd name="connsiteX232" fmla="*/ 9247 w 10000"/>
                <a:gd name="connsiteY232" fmla="*/ 2402 h 10000"/>
                <a:gd name="connsiteX233" fmla="*/ 9286 w 10000"/>
                <a:gd name="connsiteY233" fmla="*/ 2400 h 10000"/>
                <a:gd name="connsiteX234" fmla="*/ 9355 w 10000"/>
                <a:gd name="connsiteY234" fmla="*/ 2428 h 10000"/>
                <a:gd name="connsiteX235" fmla="*/ 9408 w 10000"/>
                <a:gd name="connsiteY235" fmla="*/ 2359 h 10000"/>
                <a:gd name="connsiteX236" fmla="*/ 9717 w 10000"/>
                <a:gd name="connsiteY236" fmla="*/ 2343 h 10000"/>
                <a:gd name="connsiteX237" fmla="*/ 9830 w 10000"/>
                <a:gd name="connsiteY237" fmla="*/ 2369 h 10000"/>
                <a:gd name="connsiteX238" fmla="*/ 9909 w 10000"/>
                <a:gd name="connsiteY238" fmla="*/ 2410 h 10000"/>
                <a:gd name="connsiteX239" fmla="*/ 9948 w 10000"/>
                <a:gd name="connsiteY239" fmla="*/ 2365 h 10000"/>
                <a:gd name="connsiteX240" fmla="*/ 10000 w 10000"/>
                <a:gd name="connsiteY240" fmla="*/ 2349 h 10000"/>
                <a:gd name="connsiteX241" fmla="*/ 9704 w 10000"/>
                <a:gd name="connsiteY241" fmla="*/ 1992 h 10000"/>
                <a:gd name="connsiteX242" fmla="*/ 9743 w 10000"/>
                <a:gd name="connsiteY242" fmla="*/ 1897 h 10000"/>
                <a:gd name="connsiteX243" fmla="*/ 9830 w 10000"/>
                <a:gd name="connsiteY243" fmla="*/ 1819 h 10000"/>
                <a:gd name="connsiteX244" fmla="*/ 9830 w 10000"/>
                <a:gd name="connsiteY244" fmla="*/ 1699 h 10000"/>
                <a:gd name="connsiteX245" fmla="*/ 9556 w 10000"/>
                <a:gd name="connsiteY245" fmla="*/ 1465 h 10000"/>
                <a:gd name="connsiteX246" fmla="*/ 9512 w 10000"/>
                <a:gd name="connsiteY246" fmla="*/ 1379 h 10000"/>
                <a:gd name="connsiteX247" fmla="*/ 9573 w 10000"/>
                <a:gd name="connsiteY247" fmla="*/ 1271 h 10000"/>
                <a:gd name="connsiteX248" fmla="*/ 9543 w 10000"/>
                <a:gd name="connsiteY248" fmla="*/ 1194 h 10000"/>
                <a:gd name="connsiteX249" fmla="*/ 9486 w 10000"/>
                <a:gd name="connsiteY249" fmla="*/ 1159 h 10000"/>
                <a:gd name="connsiteX250" fmla="*/ 9438 w 10000"/>
                <a:gd name="connsiteY250" fmla="*/ 978 h 10000"/>
                <a:gd name="connsiteX251" fmla="*/ 9495 w 10000"/>
                <a:gd name="connsiteY251" fmla="*/ 831 h 10000"/>
                <a:gd name="connsiteX252" fmla="*/ 9077 w 10000"/>
                <a:gd name="connsiteY252" fmla="*/ 517 h 10000"/>
                <a:gd name="connsiteX253" fmla="*/ 8872 w 10000"/>
                <a:gd name="connsiteY253" fmla="*/ 440 h 10000"/>
                <a:gd name="connsiteX254" fmla="*/ 8493 w 10000"/>
                <a:gd name="connsiteY254" fmla="*/ 389 h 10000"/>
                <a:gd name="connsiteX255" fmla="*/ 7709 w 10000"/>
                <a:gd name="connsiteY255" fmla="*/ 26 h 10000"/>
                <a:gd name="connsiteX256" fmla="*/ 7683 w 10000"/>
                <a:gd name="connsiteY256" fmla="*/ 2 h 10000"/>
                <a:gd name="connsiteX257" fmla="*/ 7417 w 10000"/>
                <a:gd name="connsiteY257" fmla="*/ 0 h 10000"/>
                <a:gd name="connsiteX258" fmla="*/ 7356 w 10000"/>
                <a:gd name="connsiteY258" fmla="*/ 14 h 10000"/>
                <a:gd name="connsiteX259" fmla="*/ 7369 w 10000"/>
                <a:gd name="connsiteY259" fmla="*/ 61 h 10000"/>
                <a:gd name="connsiteX260" fmla="*/ 7422 w 10000"/>
                <a:gd name="connsiteY260" fmla="*/ 86 h 10000"/>
                <a:gd name="connsiteX261" fmla="*/ 7435 w 10000"/>
                <a:gd name="connsiteY261" fmla="*/ 139 h 10000"/>
                <a:gd name="connsiteX262" fmla="*/ 7417 w 10000"/>
                <a:gd name="connsiteY262" fmla="*/ 181 h 10000"/>
                <a:gd name="connsiteX263" fmla="*/ 7369 w 10000"/>
                <a:gd name="connsiteY263" fmla="*/ 208 h 10000"/>
                <a:gd name="connsiteX264" fmla="*/ 7334 w 10000"/>
                <a:gd name="connsiteY264" fmla="*/ 283 h 10000"/>
                <a:gd name="connsiteX265" fmla="*/ 7269 w 10000"/>
                <a:gd name="connsiteY265" fmla="*/ 336 h 10000"/>
                <a:gd name="connsiteX266" fmla="*/ 7282 w 10000"/>
                <a:gd name="connsiteY266" fmla="*/ 387 h 10000"/>
                <a:gd name="connsiteX267" fmla="*/ 7382 w 10000"/>
                <a:gd name="connsiteY267" fmla="*/ 434 h 10000"/>
                <a:gd name="connsiteX268" fmla="*/ 7317 w 10000"/>
                <a:gd name="connsiteY268" fmla="*/ 475 h 10000"/>
                <a:gd name="connsiteX269" fmla="*/ 7221 w 10000"/>
                <a:gd name="connsiteY269" fmla="*/ 485 h 10000"/>
                <a:gd name="connsiteX270" fmla="*/ 6420 w 10000"/>
                <a:gd name="connsiteY270" fmla="*/ 387 h 10000"/>
                <a:gd name="connsiteX271" fmla="*/ 6324 w 10000"/>
                <a:gd name="connsiteY271" fmla="*/ 395 h 10000"/>
                <a:gd name="connsiteX272" fmla="*/ 6267 w 10000"/>
                <a:gd name="connsiteY272" fmla="*/ 414 h 10000"/>
                <a:gd name="connsiteX273" fmla="*/ 6211 w 10000"/>
                <a:gd name="connsiteY273" fmla="*/ 462 h 10000"/>
                <a:gd name="connsiteX274" fmla="*/ 6220 w 10000"/>
                <a:gd name="connsiteY274" fmla="*/ 581 h 10000"/>
                <a:gd name="connsiteX275" fmla="*/ 6132 w 10000"/>
                <a:gd name="connsiteY275" fmla="*/ 735 h 10000"/>
                <a:gd name="connsiteX276" fmla="*/ 6024 w 10000"/>
                <a:gd name="connsiteY276" fmla="*/ 815 h 10000"/>
                <a:gd name="connsiteX277" fmla="*/ 5980 w 10000"/>
                <a:gd name="connsiteY277" fmla="*/ 805 h 10000"/>
                <a:gd name="connsiteX278" fmla="*/ 5880 w 10000"/>
                <a:gd name="connsiteY278" fmla="*/ 739 h 10000"/>
                <a:gd name="connsiteX279" fmla="*/ 5753 w 10000"/>
                <a:gd name="connsiteY279" fmla="*/ 705 h 10000"/>
                <a:gd name="connsiteX280" fmla="*/ 5618 w 10000"/>
                <a:gd name="connsiteY280" fmla="*/ 715 h 10000"/>
                <a:gd name="connsiteX281" fmla="*/ 5301 w 10000"/>
                <a:gd name="connsiteY281" fmla="*/ 866 h 10000"/>
                <a:gd name="connsiteX282" fmla="*/ 5218 w 10000"/>
                <a:gd name="connsiteY282" fmla="*/ 1017 h 10000"/>
                <a:gd name="connsiteX283" fmla="*/ 4978 w 10000"/>
                <a:gd name="connsiteY283" fmla="*/ 1153 h 10000"/>
                <a:gd name="connsiteX284" fmla="*/ 4935 w 10000"/>
                <a:gd name="connsiteY284" fmla="*/ 1222 h 10000"/>
                <a:gd name="connsiteX285" fmla="*/ 5061 w 10000"/>
                <a:gd name="connsiteY285" fmla="*/ 1344 h 10000"/>
                <a:gd name="connsiteX286" fmla="*/ 5074 w 10000"/>
                <a:gd name="connsiteY286" fmla="*/ 1412 h 10000"/>
                <a:gd name="connsiteX287" fmla="*/ 4421 w 10000"/>
                <a:gd name="connsiteY287" fmla="*/ 1813 h 10000"/>
                <a:gd name="connsiteX288" fmla="*/ 4220 w 10000"/>
                <a:gd name="connsiteY288" fmla="*/ 2070 h 10000"/>
                <a:gd name="connsiteX289" fmla="*/ 4003 w 10000"/>
                <a:gd name="connsiteY289" fmla="*/ 2135 h 10000"/>
                <a:gd name="connsiteX290" fmla="*/ 3868 w 10000"/>
                <a:gd name="connsiteY290" fmla="*/ 2131 h 10000"/>
                <a:gd name="connsiteX291" fmla="*/ 3785 w 10000"/>
                <a:gd name="connsiteY291" fmla="*/ 2153 h 10000"/>
                <a:gd name="connsiteX292" fmla="*/ 3558 w 10000"/>
                <a:gd name="connsiteY292" fmla="*/ 2793 h 10000"/>
                <a:gd name="connsiteX293" fmla="*/ 3036 w 10000"/>
                <a:gd name="connsiteY293" fmla="*/ 3166 h 10000"/>
                <a:gd name="connsiteX294" fmla="*/ 3040 w 10000"/>
                <a:gd name="connsiteY294" fmla="*/ 3225 h 10000"/>
                <a:gd name="connsiteX295" fmla="*/ 3271 w 10000"/>
                <a:gd name="connsiteY295" fmla="*/ 3392 h 10000"/>
                <a:gd name="connsiteX296" fmla="*/ 3197 w 10000"/>
                <a:gd name="connsiteY296" fmla="*/ 3573 h 10000"/>
                <a:gd name="connsiteX297" fmla="*/ 3062 w 10000"/>
                <a:gd name="connsiteY297" fmla="*/ 3640 h 10000"/>
                <a:gd name="connsiteX298" fmla="*/ 2657 w 10000"/>
                <a:gd name="connsiteY298" fmla="*/ 3595 h 10000"/>
                <a:gd name="connsiteX299" fmla="*/ 2378 w 10000"/>
                <a:gd name="connsiteY299" fmla="*/ 3620 h 10000"/>
                <a:gd name="connsiteX300" fmla="*/ 2152 w 10000"/>
                <a:gd name="connsiteY300" fmla="*/ 3673 h 10000"/>
                <a:gd name="connsiteX301" fmla="*/ 1790 w 10000"/>
                <a:gd name="connsiteY301" fmla="*/ 3840 h 10000"/>
                <a:gd name="connsiteX302" fmla="*/ 1598 w 10000"/>
                <a:gd name="connsiteY302" fmla="*/ 4042 h 10000"/>
                <a:gd name="connsiteX303" fmla="*/ 1616 w 10000"/>
                <a:gd name="connsiteY303" fmla="*/ 4154 h 10000"/>
                <a:gd name="connsiteX304" fmla="*/ 1681 w 10000"/>
                <a:gd name="connsiteY304" fmla="*/ 4241 h 10000"/>
                <a:gd name="connsiteX305" fmla="*/ 1733 w 10000"/>
                <a:gd name="connsiteY305" fmla="*/ 4276 h 10000"/>
                <a:gd name="connsiteX306" fmla="*/ 1638 w 10000"/>
                <a:gd name="connsiteY306" fmla="*/ 4331 h 10000"/>
                <a:gd name="connsiteX307" fmla="*/ 1433 w 10000"/>
                <a:gd name="connsiteY307" fmla="*/ 4710 h 10000"/>
                <a:gd name="connsiteX308" fmla="*/ 1472 w 10000"/>
                <a:gd name="connsiteY308" fmla="*/ 4732 h 10000"/>
                <a:gd name="connsiteX309" fmla="*/ 1503 w 10000"/>
                <a:gd name="connsiteY309" fmla="*/ 4828 h 10000"/>
                <a:gd name="connsiteX310" fmla="*/ 1407 w 10000"/>
                <a:gd name="connsiteY310" fmla="*/ 5227 h 10000"/>
                <a:gd name="connsiteX311" fmla="*/ 1503 w 10000"/>
                <a:gd name="connsiteY311" fmla="*/ 5329 h 10000"/>
                <a:gd name="connsiteX312" fmla="*/ 1764 w 10000"/>
                <a:gd name="connsiteY312" fmla="*/ 5441 h 10000"/>
                <a:gd name="connsiteX313" fmla="*/ 1777 w 10000"/>
                <a:gd name="connsiteY313" fmla="*/ 5578 h 10000"/>
                <a:gd name="connsiteX314" fmla="*/ 1664 w 10000"/>
                <a:gd name="connsiteY314" fmla="*/ 5690 h 10000"/>
                <a:gd name="connsiteX315" fmla="*/ 1503 w 10000"/>
                <a:gd name="connsiteY315" fmla="*/ 5759 h 10000"/>
                <a:gd name="connsiteX316" fmla="*/ 1289 w 10000"/>
                <a:gd name="connsiteY316" fmla="*/ 5787 h 10000"/>
                <a:gd name="connsiteX317" fmla="*/ 1233 w 10000"/>
                <a:gd name="connsiteY317" fmla="*/ 5826 h 10000"/>
                <a:gd name="connsiteX318" fmla="*/ 1359 w 10000"/>
                <a:gd name="connsiteY318" fmla="*/ 5920 h 10000"/>
                <a:gd name="connsiteX319" fmla="*/ 1429 w 10000"/>
                <a:gd name="connsiteY319" fmla="*/ 6142 h 10000"/>
                <a:gd name="connsiteX320" fmla="*/ 1267 w 10000"/>
                <a:gd name="connsiteY320" fmla="*/ 6333 h 10000"/>
                <a:gd name="connsiteX321" fmla="*/ 1324 w 10000"/>
                <a:gd name="connsiteY321" fmla="*/ 6392 h 10000"/>
                <a:gd name="connsiteX322" fmla="*/ 1272 w 10000"/>
                <a:gd name="connsiteY322" fmla="*/ 6492 h 10000"/>
                <a:gd name="connsiteX323" fmla="*/ 1167 w 10000"/>
                <a:gd name="connsiteY323" fmla="*/ 6561 h 10000"/>
                <a:gd name="connsiteX324" fmla="*/ 758 w 10000"/>
                <a:gd name="connsiteY324" fmla="*/ 6614 h 10000"/>
                <a:gd name="connsiteX325" fmla="*/ 732 w 10000"/>
                <a:gd name="connsiteY325" fmla="*/ 6706 h 10000"/>
                <a:gd name="connsiteX326" fmla="*/ 510 w 10000"/>
                <a:gd name="connsiteY326" fmla="*/ 6843 h 10000"/>
                <a:gd name="connsiteX327" fmla="*/ 540 w 10000"/>
                <a:gd name="connsiteY327" fmla="*/ 7040 h 10000"/>
                <a:gd name="connsiteX328" fmla="*/ 353 w 10000"/>
                <a:gd name="connsiteY328" fmla="*/ 7293 h 10000"/>
                <a:gd name="connsiteX329" fmla="*/ 226 w 10000"/>
                <a:gd name="connsiteY329" fmla="*/ 7323 h 10000"/>
                <a:gd name="connsiteX330" fmla="*/ 174 w 10000"/>
                <a:gd name="connsiteY330" fmla="*/ 7262 h 10000"/>
                <a:gd name="connsiteX331" fmla="*/ 109 w 10000"/>
                <a:gd name="connsiteY331" fmla="*/ 7354 h 10000"/>
                <a:gd name="connsiteX332" fmla="*/ 152 w 10000"/>
                <a:gd name="connsiteY332" fmla="*/ 7197 h 10000"/>
                <a:gd name="connsiteX333" fmla="*/ 126 w 10000"/>
                <a:gd name="connsiteY333"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253 w 10000"/>
                <a:gd name="connsiteY207" fmla="*/ 2762 h 10000"/>
                <a:gd name="connsiteX208" fmla="*/ 8397 w 10000"/>
                <a:gd name="connsiteY208" fmla="*/ 2705 h 10000"/>
                <a:gd name="connsiteX209" fmla="*/ 8402 w 10000"/>
                <a:gd name="connsiteY209" fmla="*/ 2662 h 10000"/>
                <a:gd name="connsiteX210" fmla="*/ 8449 w 10000"/>
                <a:gd name="connsiteY210" fmla="*/ 2656 h 10000"/>
                <a:gd name="connsiteX211" fmla="*/ 8593 w 10000"/>
                <a:gd name="connsiteY211" fmla="*/ 2669 h 10000"/>
                <a:gd name="connsiteX212" fmla="*/ 8606 w 10000"/>
                <a:gd name="connsiteY212" fmla="*/ 2630 h 10000"/>
                <a:gd name="connsiteX213" fmla="*/ 8567 w 10000"/>
                <a:gd name="connsiteY213" fmla="*/ 2605 h 10000"/>
                <a:gd name="connsiteX214" fmla="*/ 8685 w 10000"/>
                <a:gd name="connsiteY214" fmla="*/ 2597 h 10000"/>
                <a:gd name="connsiteX215" fmla="*/ 8558 w 10000"/>
                <a:gd name="connsiteY215" fmla="*/ 2481 h 10000"/>
                <a:gd name="connsiteX216" fmla="*/ 8558 w 10000"/>
                <a:gd name="connsiteY216" fmla="*/ 2459 h 10000"/>
                <a:gd name="connsiteX217" fmla="*/ 8698 w 10000"/>
                <a:gd name="connsiteY217" fmla="*/ 2504 h 10000"/>
                <a:gd name="connsiteX218" fmla="*/ 8763 w 10000"/>
                <a:gd name="connsiteY218" fmla="*/ 2548 h 10000"/>
                <a:gd name="connsiteX219" fmla="*/ 8815 w 10000"/>
                <a:gd name="connsiteY219" fmla="*/ 2548 h 10000"/>
                <a:gd name="connsiteX220" fmla="*/ 8789 w 10000"/>
                <a:gd name="connsiteY220" fmla="*/ 2457 h 10000"/>
                <a:gd name="connsiteX221" fmla="*/ 8798 w 10000"/>
                <a:gd name="connsiteY221" fmla="*/ 2467 h 10000"/>
                <a:gd name="connsiteX222" fmla="*/ 8841 w 10000"/>
                <a:gd name="connsiteY222" fmla="*/ 2457 h 10000"/>
                <a:gd name="connsiteX223" fmla="*/ 8855 w 10000"/>
                <a:gd name="connsiteY223" fmla="*/ 2341 h 10000"/>
                <a:gd name="connsiteX224" fmla="*/ 8898 w 10000"/>
                <a:gd name="connsiteY224" fmla="*/ 2332 h 10000"/>
                <a:gd name="connsiteX225" fmla="*/ 8946 w 10000"/>
                <a:gd name="connsiteY225" fmla="*/ 2330 h 10000"/>
                <a:gd name="connsiteX226" fmla="*/ 8946 w 10000"/>
                <a:gd name="connsiteY226" fmla="*/ 2361 h 10000"/>
                <a:gd name="connsiteX227" fmla="*/ 8994 w 10000"/>
                <a:gd name="connsiteY227" fmla="*/ 2389 h 10000"/>
                <a:gd name="connsiteX228" fmla="*/ 9051 w 10000"/>
                <a:gd name="connsiteY228" fmla="*/ 2400 h 10000"/>
                <a:gd name="connsiteX229" fmla="*/ 9094 w 10000"/>
                <a:gd name="connsiteY229" fmla="*/ 2324 h 10000"/>
                <a:gd name="connsiteX230" fmla="*/ 9164 w 10000"/>
                <a:gd name="connsiteY230" fmla="*/ 2347 h 10000"/>
                <a:gd name="connsiteX231" fmla="*/ 9247 w 10000"/>
                <a:gd name="connsiteY231" fmla="*/ 2402 h 10000"/>
                <a:gd name="connsiteX232" fmla="*/ 9286 w 10000"/>
                <a:gd name="connsiteY232" fmla="*/ 2400 h 10000"/>
                <a:gd name="connsiteX233" fmla="*/ 9355 w 10000"/>
                <a:gd name="connsiteY233" fmla="*/ 2428 h 10000"/>
                <a:gd name="connsiteX234" fmla="*/ 9408 w 10000"/>
                <a:gd name="connsiteY234" fmla="*/ 2359 h 10000"/>
                <a:gd name="connsiteX235" fmla="*/ 9717 w 10000"/>
                <a:gd name="connsiteY235" fmla="*/ 2343 h 10000"/>
                <a:gd name="connsiteX236" fmla="*/ 9830 w 10000"/>
                <a:gd name="connsiteY236" fmla="*/ 2369 h 10000"/>
                <a:gd name="connsiteX237" fmla="*/ 9909 w 10000"/>
                <a:gd name="connsiteY237" fmla="*/ 2410 h 10000"/>
                <a:gd name="connsiteX238" fmla="*/ 9948 w 10000"/>
                <a:gd name="connsiteY238" fmla="*/ 2365 h 10000"/>
                <a:gd name="connsiteX239" fmla="*/ 10000 w 10000"/>
                <a:gd name="connsiteY239" fmla="*/ 2349 h 10000"/>
                <a:gd name="connsiteX240" fmla="*/ 9704 w 10000"/>
                <a:gd name="connsiteY240" fmla="*/ 1992 h 10000"/>
                <a:gd name="connsiteX241" fmla="*/ 9743 w 10000"/>
                <a:gd name="connsiteY241" fmla="*/ 1897 h 10000"/>
                <a:gd name="connsiteX242" fmla="*/ 9830 w 10000"/>
                <a:gd name="connsiteY242" fmla="*/ 1819 h 10000"/>
                <a:gd name="connsiteX243" fmla="*/ 9830 w 10000"/>
                <a:gd name="connsiteY243" fmla="*/ 1699 h 10000"/>
                <a:gd name="connsiteX244" fmla="*/ 9556 w 10000"/>
                <a:gd name="connsiteY244" fmla="*/ 1465 h 10000"/>
                <a:gd name="connsiteX245" fmla="*/ 9512 w 10000"/>
                <a:gd name="connsiteY245" fmla="*/ 1379 h 10000"/>
                <a:gd name="connsiteX246" fmla="*/ 9573 w 10000"/>
                <a:gd name="connsiteY246" fmla="*/ 1271 h 10000"/>
                <a:gd name="connsiteX247" fmla="*/ 9543 w 10000"/>
                <a:gd name="connsiteY247" fmla="*/ 1194 h 10000"/>
                <a:gd name="connsiteX248" fmla="*/ 9486 w 10000"/>
                <a:gd name="connsiteY248" fmla="*/ 1159 h 10000"/>
                <a:gd name="connsiteX249" fmla="*/ 9438 w 10000"/>
                <a:gd name="connsiteY249" fmla="*/ 978 h 10000"/>
                <a:gd name="connsiteX250" fmla="*/ 9495 w 10000"/>
                <a:gd name="connsiteY250" fmla="*/ 831 h 10000"/>
                <a:gd name="connsiteX251" fmla="*/ 9077 w 10000"/>
                <a:gd name="connsiteY251" fmla="*/ 517 h 10000"/>
                <a:gd name="connsiteX252" fmla="*/ 8872 w 10000"/>
                <a:gd name="connsiteY252" fmla="*/ 440 h 10000"/>
                <a:gd name="connsiteX253" fmla="*/ 8493 w 10000"/>
                <a:gd name="connsiteY253" fmla="*/ 389 h 10000"/>
                <a:gd name="connsiteX254" fmla="*/ 7709 w 10000"/>
                <a:gd name="connsiteY254" fmla="*/ 26 h 10000"/>
                <a:gd name="connsiteX255" fmla="*/ 7683 w 10000"/>
                <a:gd name="connsiteY255" fmla="*/ 2 h 10000"/>
                <a:gd name="connsiteX256" fmla="*/ 7417 w 10000"/>
                <a:gd name="connsiteY256" fmla="*/ 0 h 10000"/>
                <a:gd name="connsiteX257" fmla="*/ 7356 w 10000"/>
                <a:gd name="connsiteY257" fmla="*/ 14 h 10000"/>
                <a:gd name="connsiteX258" fmla="*/ 7369 w 10000"/>
                <a:gd name="connsiteY258" fmla="*/ 61 h 10000"/>
                <a:gd name="connsiteX259" fmla="*/ 7422 w 10000"/>
                <a:gd name="connsiteY259" fmla="*/ 86 h 10000"/>
                <a:gd name="connsiteX260" fmla="*/ 7435 w 10000"/>
                <a:gd name="connsiteY260" fmla="*/ 139 h 10000"/>
                <a:gd name="connsiteX261" fmla="*/ 7417 w 10000"/>
                <a:gd name="connsiteY261" fmla="*/ 181 h 10000"/>
                <a:gd name="connsiteX262" fmla="*/ 7369 w 10000"/>
                <a:gd name="connsiteY262" fmla="*/ 208 h 10000"/>
                <a:gd name="connsiteX263" fmla="*/ 7334 w 10000"/>
                <a:gd name="connsiteY263" fmla="*/ 283 h 10000"/>
                <a:gd name="connsiteX264" fmla="*/ 7269 w 10000"/>
                <a:gd name="connsiteY264" fmla="*/ 336 h 10000"/>
                <a:gd name="connsiteX265" fmla="*/ 7282 w 10000"/>
                <a:gd name="connsiteY265" fmla="*/ 387 h 10000"/>
                <a:gd name="connsiteX266" fmla="*/ 7382 w 10000"/>
                <a:gd name="connsiteY266" fmla="*/ 434 h 10000"/>
                <a:gd name="connsiteX267" fmla="*/ 7317 w 10000"/>
                <a:gd name="connsiteY267" fmla="*/ 475 h 10000"/>
                <a:gd name="connsiteX268" fmla="*/ 7221 w 10000"/>
                <a:gd name="connsiteY268" fmla="*/ 485 h 10000"/>
                <a:gd name="connsiteX269" fmla="*/ 6420 w 10000"/>
                <a:gd name="connsiteY269" fmla="*/ 387 h 10000"/>
                <a:gd name="connsiteX270" fmla="*/ 6324 w 10000"/>
                <a:gd name="connsiteY270" fmla="*/ 395 h 10000"/>
                <a:gd name="connsiteX271" fmla="*/ 6267 w 10000"/>
                <a:gd name="connsiteY271" fmla="*/ 414 h 10000"/>
                <a:gd name="connsiteX272" fmla="*/ 6211 w 10000"/>
                <a:gd name="connsiteY272" fmla="*/ 462 h 10000"/>
                <a:gd name="connsiteX273" fmla="*/ 6220 w 10000"/>
                <a:gd name="connsiteY273" fmla="*/ 581 h 10000"/>
                <a:gd name="connsiteX274" fmla="*/ 6132 w 10000"/>
                <a:gd name="connsiteY274" fmla="*/ 735 h 10000"/>
                <a:gd name="connsiteX275" fmla="*/ 6024 w 10000"/>
                <a:gd name="connsiteY275" fmla="*/ 815 h 10000"/>
                <a:gd name="connsiteX276" fmla="*/ 5980 w 10000"/>
                <a:gd name="connsiteY276" fmla="*/ 805 h 10000"/>
                <a:gd name="connsiteX277" fmla="*/ 5880 w 10000"/>
                <a:gd name="connsiteY277" fmla="*/ 739 h 10000"/>
                <a:gd name="connsiteX278" fmla="*/ 5753 w 10000"/>
                <a:gd name="connsiteY278" fmla="*/ 705 h 10000"/>
                <a:gd name="connsiteX279" fmla="*/ 5618 w 10000"/>
                <a:gd name="connsiteY279" fmla="*/ 715 h 10000"/>
                <a:gd name="connsiteX280" fmla="*/ 5301 w 10000"/>
                <a:gd name="connsiteY280" fmla="*/ 866 h 10000"/>
                <a:gd name="connsiteX281" fmla="*/ 5218 w 10000"/>
                <a:gd name="connsiteY281" fmla="*/ 1017 h 10000"/>
                <a:gd name="connsiteX282" fmla="*/ 4978 w 10000"/>
                <a:gd name="connsiteY282" fmla="*/ 1153 h 10000"/>
                <a:gd name="connsiteX283" fmla="*/ 4935 w 10000"/>
                <a:gd name="connsiteY283" fmla="*/ 1222 h 10000"/>
                <a:gd name="connsiteX284" fmla="*/ 5061 w 10000"/>
                <a:gd name="connsiteY284" fmla="*/ 1344 h 10000"/>
                <a:gd name="connsiteX285" fmla="*/ 5074 w 10000"/>
                <a:gd name="connsiteY285" fmla="*/ 1412 h 10000"/>
                <a:gd name="connsiteX286" fmla="*/ 4421 w 10000"/>
                <a:gd name="connsiteY286" fmla="*/ 1813 h 10000"/>
                <a:gd name="connsiteX287" fmla="*/ 4220 w 10000"/>
                <a:gd name="connsiteY287" fmla="*/ 2070 h 10000"/>
                <a:gd name="connsiteX288" fmla="*/ 4003 w 10000"/>
                <a:gd name="connsiteY288" fmla="*/ 2135 h 10000"/>
                <a:gd name="connsiteX289" fmla="*/ 3868 w 10000"/>
                <a:gd name="connsiteY289" fmla="*/ 2131 h 10000"/>
                <a:gd name="connsiteX290" fmla="*/ 3785 w 10000"/>
                <a:gd name="connsiteY290" fmla="*/ 2153 h 10000"/>
                <a:gd name="connsiteX291" fmla="*/ 3558 w 10000"/>
                <a:gd name="connsiteY291" fmla="*/ 2793 h 10000"/>
                <a:gd name="connsiteX292" fmla="*/ 3036 w 10000"/>
                <a:gd name="connsiteY292" fmla="*/ 3166 h 10000"/>
                <a:gd name="connsiteX293" fmla="*/ 3040 w 10000"/>
                <a:gd name="connsiteY293" fmla="*/ 3225 h 10000"/>
                <a:gd name="connsiteX294" fmla="*/ 3271 w 10000"/>
                <a:gd name="connsiteY294" fmla="*/ 3392 h 10000"/>
                <a:gd name="connsiteX295" fmla="*/ 3197 w 10000"/>
                <a:gd name="connsiteY295" fmla="*/ 3573 h 10000"/>
                <a:gd name="connsiteX296" fmla="*/ 3062 w 10000"/>
                <a:gd name="connsiteY296" fmla="*/ 3640 h 10000"/>
                <a:gd name="connsiteX297" fmla="*/ 2657 w 10000"/>
                <a:gd name="connsiteY297" fmla="*/ 3595 h 10000"/>
                <a:gd name="connsiteX298" fmla="*/ 2378 w 10000"/>
                <a:gd name="connsiteY298" fmla="*/ 3620 h 10000"/>
                <a:gd name="connsiteX299" fmla="*/ 2152 w 10000"/>
                <a:gd name="connsiteY299" fmla="*/ 3673 h 10000"/>
                <a:gd name="connsiteX300" fmla="*/ 1790 w 10000"/>
                <a:gd name="connsiteY300" fmla="*/ 3840 h 10000"/>
                <a:gd name="connsiteX301" fmla="*/ 1598 w 10000"/>
                <a:gd name="connsiteY301" fmla="*/ 4042 h 10000"/>
                <a:gd name="connsiteX302" fmla="*/ 1616 w 10000"/>
                <a:gd name="connsiteY302" fmla="*/ 4154 h 10000"/>
                <a:gd name="connsiteX303" fmla="*/ 1681 w 10000"/>
                <a:gd name="connsiteY303" fmla="*/ 4241 h 10000"/>
                <a:gd name="connsiteX304" fmla="*/ 1733 w 10000"/>
                <a:gd name="connsiteY304" fmla="*/ 4276 h 10000"/>
                <a:gd name="connsiteX305" fmla="*/ 1638 w 10000"/>
                <a:gd name="connsiteY305" fmla="*/ 4331 h 10000"/>
                <a:gd name="connsiteX306" fmla="*/ 1433 w 10000"/>
                <a:gd name="connsiteY306" fmla="*/ 4710 h 10000"/>
                <a:gd name="connsiteX307" fmla="*/ 1472 w 10000"/>
                <a:gd name="connsiteY307" fmla="*/ 4732 h 10000"/>
                <a:gd name="connsiteX308" fmla="*/ 1503 w 10000"/>
                <a:gd name="connsiteY308" fmla="*/ 4828 h 10000"/>
                <a:gd name="connsiteX309" fmla="*/ 1407 w 10000"/>
                <a:gd name="connsiteY309" fmla="*/ 5227 h 10000"/>
                <a:gd name="connsiteX310" fmla="*/ 1503 w 10000"/>
                <a:gd name="connsiteY310" fmla="*/ 5329 h 10000"/>
                <a:gd name="connsiteX311" fmla="*/ 1764 w 10000"/>
                <a:gd name="connsiteY311" fmla="*/ 5441 h 10000"/>
                <a:gd name="connsiteX312" fmla="*/ 1777 w 10000"/>
                <a:gd name="connsiteY312" fmla="*/ 5578 h 10000"/>
                <a:gd name="connsiteX313" fmla="*/ 1664 w 10000"/>
                <a:gd name="connsiteY313" fmla="*/ 5690 h 10000"/>
                <a:gd name="connsiteX314" fmla="*/ 1503 w 10000"/>
                <a:gd name="connsiteY314" fmla="*/ 5759 h 10000"/>
                <a:gd name="connsiteX315" fmla="*/ 1289 w 10000"/>
                <a:gd name="connsiteY315" fmla="*/ 5787 h 10000"/>
                <a:gd name="connsiteX316" fmla="*/ 1233 w 10000"/>
                <a:gd name="connsiteY316" fmla="*/ 5826 h 10000"/>
                <a:gd name="connsiteX317" fmla="*/ 1359 w 10000"/>
                <a:gd name="connsiteY317" fmla="*/ 5920 h 10000"/>
                <a:gd name="connsiteX318" fmla="*/ 1429 w 10000"/>
                <a:gd name="connsiteY318" fmla="*/ 6142 h 10000"/>
                <a:gd name="connsiteX319" fmla="*/ 1267 w 10000"/>
                <a:gd name="connsiteY319" fmla="*/ 6333 h 10000"/>
                <a:gd name="connsiteX320" fmla="*/ 1324 w 10000"/>
                <a:gd name="connsiteY320" fmla="*/ 6392 h 10000"/>
                <a:gd name="connsiteX321" fmla="*/ 1272 w 10000"/>
                <a:gd name="connsiteY321" fmla="*/ 6492 h 10000"/>
                <a:gd name="connsiteX322" fmla="*/ 1167 w 10000"/>
                <a:gd name="connsiteY322" fmla="*/ 6561 h 10000"/>
                <a:gd name="connsiteX323" fmla="*/ 758 w 10000"/>
                <a:gd name="connsiteY323" fmla="*/ 6614 h 10000"/>
                <a:gd name="connsiteX324" fmla="*/ 732 w 10000"/>
                <a:gd name="connsiteY324" fmla="*/ 6706 h 10000"/>
                <a:gd name="connsiteX325" fmla="*/ 510 w 10000"/>
                <a:gd name="connsiteY325" fmla="*/ 6843 h 10000"/>
                <a:gd name="connsiteX326" fmla="*/ 540 w 10000"/>
                <a:gd name="connsiteY326" fmla="*/ 7040 h 10000"/>
                <a:gd name="connsiteX327" fmla="*/ 353 w 10000"/>
                <a:gd name="connsiteY327" fmla="*/ 7293 h 10000"/>
                <a:gd name="connsiteX328" fmla="*/ 226 w 10000"/>
                <a:gd name="connsiteY328" fmla="*/ 7323 h 10000"/>
                <a:gd name="connsiteX329" fmla="*/ 174 w 10000"/>
                <a:gd name="connsiteY329" fmla="*/ 7262 h 10000"/>
                <a:gd name="connsiteX330" fmla="*/ 109 w 10000"/>
                <a:gd name="connsiteY330" fmla="*/ 7354 h 10000"/>
                <a:gd name="connsiteX331" fmla="*/ 152 w 10000"/>
                <a:gd name="connsiteY331" fmla="*/ 7197 h 10000"/>
                <a:gd name="connsiteX332" fmla="*/ 126 w 10000"/>
                <a:gd name="connsiteY332"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253 w 10000"/>
                <a:gd name="connsiteY207" fmla="*/ 2762 h 10000"/>
                <a:gd name="connsiteX208" fmla="*/ 8397 w 10000"/>
                <a:gd name="connsiteY208" fmla="*/ 2705 h 10000"/>
                <a:gd name="connsiteX209" fmla="*/ 8402 w 10000"/>
                <a:gd name="connsiteY209" fmla="*/ 2662 h 10000"/>
                <a:gd name="connsiteX210" fmla="*/ 8449 w 10000"/>
                <a:gd name="connsiteY210" fmla="*/ 2656 h 10000"/>
                <a:gd name="connsiteX211" fmla="*/ 8593 w 10000"/>
                <a:gd name="connsiteY211" fmla="*/ 2669 h 10000"/>
                <a:gd name="connsiteX212" fmla="*/ 8606 w 10000"/>
                <a:gd name="connsiteY212" fmla="*/ 2630 h 10000"/>
                <a:gd name="connsiteX213" fmla="*/ 8685 w 10000"/>
                <a:gd name="connsiteY213" fmla="*/ 2597 h 10000"/>
                <a:gd name="connsiteX214" fmla="*/ 8558 w 10000"/>
                <a:gd name="connsiteY214" fmla="*/ 2481 h 10000"/>
                <a:gd name="connsiteX215" fmla="*/ 8558 w 10000"/>
                <a:gd name="connsiteY215" fmla="*/ 2459 h 10000"/>
                <a:gd name="connsiteX216" fmla="*/ 8698 w 10000"/>
                <a:gd name="connsiteY216" fmla="*/ 2504 h 10000"/>
                <a:gd name="connsiteX217" fmla="*/ 8763 w 10000"/>
                <a:gd name="connsiteY217" fmla="*/ 2548 h 10000"/>
                <a:gd name="connsiteX218" fmla="*/ 8815 w 10000"/>
                <a:gd name="connsiteY218" fmla="*/ 2548 h 10000"/>
                <a:gd name="connsiteX219" fmla="*/ 8789 w 10000"/>
                <a:gd name="connsiteY219" fmla="*/ 2457 h 10000"/>
                <a:gd name="connsiteX220" fmla="*/ 8798 w 10000"/>
                <a:gd name="connsiteY220" fmla="*/ 2467 h 10000"/>
                <a:gd name="connsiteX221" fmla="*/ 8841 w 10000"/>
                <a:gd name="connsiteY221" fmla="*/ 2457 h 10000"/>
                <a:gd name="connsiteX222" fmla="*/ 8855 w 10000"/>
                <a:gd name="connsiteY222" fmla="*/ 2341 h 10000"/>
                <a:gd name="connsiteX223" fmla="*/ 8898 w 10000"/>
                <a:gd name="connsiteY223" fmla="*/ 2332 h 10000"/>
                <a:gd name="connsiteX224" fmla="*/ 8946 w 10000"/>
                <a:gd name="connsiteY224" fmla="*/ 2330 h 10000"/>
                <a:gd name="connsiteX225" fmla="*/ 8946 w 10000"/>
                <a:gd name="connsiteY225" fmla="*/ 2361 h 10000"/>
                <a:gd name="connsiteX226" fmla="*/ 8994 w 10000"/>
                <a:gd name="connsiteY226" fmla="*/ 2389 h 10000"/>
                <a:gd name="connsiteX227" fmla="*/ 9051 w 10000"/>
                <a:gd name="connsiteY227" fmla="*/ 2400 h 10000"/>
                <a:gd name="connsiteX228" fmla="*/ 9094 w 10000"/>
                <a:gd name="connsiteY228" fmla="*/ 2324 h 10000"/>
                <a:gd name="connsiteX229" fmla="*/ 9164 w 10000"/>
                <a:gd name="connsiteY229" fmla="*/ 2347 h 10000"/>
                <a:gd name="connsiteX230" fmla="*/ 9247 w 10000"/>
                <a:gd name="connsiteY230" fmla="*/ 2402 h 10000"/>
                <a:gd name="connsiteX231" fmla="*/ 9286 w 10000"/>
                <a:gd name="connsiteY231" fmla="*/ 2400 h 10000"/>
                <a:gd name="connsiteX232" fmla="*/ 9355 w 10000"/>
                <a:gd name="connsiteY232" fmla="*/ 2428 h 10000"/>
                <a:gd name="connsiteX233" fmla="*/ 9408 w 10000"/>
                <a:gd name="connsiteY233" fmla="*/ 2359 h 10000"/>
                <a:gd name="connsiteX234" fmla="*/ 9717 w 10000"/>
                <a:gd name="connsiteY234" fmla="*/ 2343 h 10000"/>
                <a:gd name="connsiteX235" fmla="*/ 9830 w 10000"/>
                <a:gd name="connsiteY235" fmla="*/ 2369 h 10000"/>
                <a:gd name="connsiteX236" fmla="*/ 9909 w 10000"/>
                <a:gd name="connsiteY236" fmla="*/ 2410 h 10000"/>
                <a:gd name="connsiteX237" fmla="*/ 9948 w 10000"/>
                <a:gd name="connsiteY237" fmla="*/ 2365 h 10000"/>
                <a:gd name="connsiteX238" fmla="*/ 10000 w 10000"/>
                <a:gd name="connsiteY238" fmla="*/ 2349 h 10000"/>
                <a:gd name="connsiteX239" fmla="*/ 9704 w 10000"/>
                <a:gd name="connsiteY239" fmla="*/ 1992 h 10000"/>
                <a:gd name="connsiteX240" fmla="*/ 9743 w 10000"/>
                <a:gd name="connsiteY240" fmla="*/ 1897 h 10000"/>
                <a:gd name="connsiteX241" fmla="*/ 9830 w 10000"/>
                <a:gd name="connsiteY241" fmla="*/ 1819 h 10000"/>
                <a:gd name="connsiteX242" fmla="*/ 9830 w 10000"/>
                <a:gd name="connsiteY242" fmla="*/ 1699 h 10000"/>
                <a:gd name="connsiteX243" fmla="*/ 9556 w 10000"/>
                <a:gd name="connsiteY243" fmla="*/ 1465 h 10000"/>
                <a:gd name="connsiteX244" fmla="*/ 9512 w 10000"/>
                <a:gd name="connsiteY244" fmla="*/ 1379 h 10000"/>
                <a:gd name="connsiteX245" fmla="*/ 9573 w 10000"/>
                <a:gd name="connsiteY245" fmla="*/ 1271 h 10000"/>
                <a:gd name="connsiteX246" fmla="*/ 9543 w 10000"/>
                <a:gd name="connsiteY246" fmla="*/ 1194 h 10000"/>
                <a:gd name="connsiteX247" fmla="*/ 9486 w 10000"/>
                <a:gd name="connsiteY247" fmla="*/ 1159 h 10000"/>
                <a:gd name="connsiteX248" fmla="*/ 9438 w 10000"/>
                <a:gd name="connsiteY248" fmla="*/ 978 h 10000"/>
                <a:gd name="connsiteX249" fmla="*/ 9495 w 10000"/>
                <a:gd name="connsiteY249" fmla="*/ 831 h 10000"/>
                <a:gd name="connsiteX250" fmla="*/ 9077 w 10000"/>
                <a:gd name="connsiteY250" fmla="*/ 517 h 10000"/>
                <a:gd name="connsiteX251" fmla="*/ 8872 w 10000"/>
                <a:gd name="connsiteY251" fmla="*/ 440 h 10000"/>
                <a:gd name="connsiteX252" fmla="*/ 8493 w 10000"/>
                <a:gd name="connsiteY252" fmla="*/ 389 h 10000"/>
                <a:gd name="connsiteX253" fmla="*/ 7709 w 10000"/>
                <a:gd name="connsiteY253" fmla="*/ 26 h 10000"/>
                <a:gd name="connsiteX254" fmla="*/ 7683 w 10000"/>
                <a:gd name="connsiteY254" fmla="*/ 2 h 10000"/>
                <a:gd name="connsiteX255" fmla="*/ 7417 w 10000"/>
                <a:gd name="connsiteY255" fmla="*/ 0 h 10000"/>
                <a:gd name="connsiteX256" fmla="*/ 7356 w 10000"/>
                <a:gd name="connsiteY256" fmla="*/ 14 h 10000"/>
                <a:gd name="connsiteX257" fmla="*/ 7369 w 10000"/>
                <a:gd name="connsiteY257" fmla="*/ 61 h 10000"/>
                <a:gd name="connsiteX258" fmla="*/ 7422 w 10000"/>
                <a:gd name="connsiteY258" fmla="*/ 86 h 10000"/>
                <a:gd name="connsiteX259" fmla="*/ 7435 w 10000"/>
                <a:gd name="connsiteY259" fmla="*/ 139 h 10000"/>
                <a:gd name="connsiteX260" fmla="*/ 7417 w 10000"/>
                <a:gd name="connsiteY260" fmla="*/ 181 h 10000"/>
                <a:gd name="connsiteX261" fmla="*/ 7369 w 10000"/>
                <a:gd name="connsiteY261" fmla="*/ 208 h 10000"/>
                <a:gd name="connsiteX262" fmla="*/ 7334 w 10000"/>
                <a:gd name="connsiteY262" fmla="*/ 283 h 10000"/>
                <a:gd name="connsiteX263" fmla="*/ 7269 w 10000"/>
                <a:gd name="connsiteY263" fmla="*/ 336 h 10000"/>
                <a:gd name="connsiteX264" fmla="*/ 7282 w 10000"/>
                <a:gd name="connsiteY264" fmla="*/ 387 h 10000"/>
                <a:gd name="connsiteX265" fmla="*/ 7382 w 10000"/>
                <a:gd name="connsiteY265" fmla="*/ 434 h 10000"/>
                <a:gd name="connsiteX266" fmla="*/ 7317 w 10000"/>
                <a:gd name="connsiteY266" fmla="*/ 475 h 10000"/>
                <a:gd name="connsiteX267" fmla="*/ 7221 w 10000"/>
                <a:gd name="connsiteY267" fmla="*/ 485 h 10000"/>
                <a:gd name="connsiteX268" fmla="*/ 6420 w 10000"/>
                <a:gd name="connsiteY268" fmla="*/ 387 h 10000"/>
                <a:gd name="connsiteX269" fmla="*/ 6324 w 10000"/>
                <a:gd name="connsiteY269" fmla="*/ 395 h 10000"/>
                <a:gd name="connsiteX270" fmla="*/ 6267 w 10000"/>
                <a:gd name="connsiteY270" fmla="*/ 414 h 10000"/>
                <a:gd name="connsiteX271" fmla="*/ 6211 w 10000"/>
                <a:gd name="connsiteY271" fmla="*/ 462 h 10000"/>
                <a:gd name="connsiteX272" fmla="*/ 6220 w 10000"/>
                <a:gd name="connsiteY272" fmla="*/ 581 h 10000"/>
                <a:gd name="connsiteX273" fmla="*/ 6132 w 10000"/>
                <a:gd name="connsiteY273" fmla="*/ 735 h 10000"/>
                <a:gd name="connsiteX274" fmla="*/ 6024 w 10000"/>
                <a:gd name="connsiteY274" fmla="*/ 815 h 10000"/>
                <a:gd name="connsiteX275" fmla="*/ 5980 w 10000"/>
                <a:gd name="connsiteY275" fmla="*/ 805 h 10000"/>
                <a:gd name="connsiteX276" fmla="*/ 5880 w 10000"/>
                <a:gd name="connsiteY276" fmla="*/ 739 h 10000"/>
                <a:gd name="connsiteX277" fmla="*/ 5753 w 10000"/>
                <a:gd name="connsiteY277" fmla="*/ 705 h 10000"/>
                <a:gd name="connsiteX278" fmla="*/ 5618 w 10000"/>
                <a:gd name="connsiteY278" fmla="*/ 715 h 10000"/>
                <a:gd name="connsiteX279" fmla="*/ 5301 w 10000"/>
                <a:gd name="connsiteY279" fmla="*/ 866 h 10000"/>
                <a:gd name="connsiteX280" fmla="*/ 5218 w 10000"/>
                <a:gd name="connsiteY280" fmla="*/ 1017 h 10000"/>
                <a:gd name="connsiteX281" fmla="*/ 4978 w 10000"/>
                <a:gd name="connsiteY281" fmla="*/ 1153 h 10000"/>
                <a:gd name="connsiteX282" fmla="*/ 4935 w 10000"/>
                <a:gd name="connsiteY282" fmla="*/ 1222 h 10000"/>
                <a:gd name="connsiteX283" fmla="*/ 5061 w 10000"/>
                <a:gd name="connsiteY283" fmla="*/ 1344 h 10000"/>
                <a:gd name="connsiteX284" fmla="*/ 5074 w 10000"/>
                <a:gd name="connsiteY284" fmla="*/ 1412 h 10000"/>
                <a:gd name="connsiteX285" fmla="*/ 4421 w 10000"/>
                <a:gd name="connsiteY285" fmla="*/ 1813 h 10000"/>
                <a:gd name="connsiteX286" fmla="*/ 4220 w 10000"/>
                <a:gd name="connsiteY286" fmla="*/ 2070 h 10000"/>
                <a:gd name="connsiteX287" fmla="*/ 4003 w 10000"/>
                <a:gd name="connsiteY287" fmla="*/ 2135 h 10000"/>
                <a:gd name="connsiteX288" fmla="*/ 3868 w 10000"/>
                <a:gd name="connsiteY288" fmla="*/ 2131 h 10000"/>
                <a:gd name="connsiteX289" fmla="*/ 3785 w 10000"/>
                <a:gd name="connsiteY289" fmla="*/ 2153 h 10000"/>
                <a:gd name="connsiteX290" fmla="*/ 3558 w 10000"/>
                <a:gd name="connsiteY290" fmla="*/ 2793 h 10000"/>
                <a:gd name="connsiteX291" fmla="*/ 3036 w 10000"/>
                <a:gd name="connsiteY291" fmla="*/ 3166 h 10000"/>
                <a:gd name="connsiteX292" fmla="*/ 3040 w 10000"/>
                <a:gd name="connsiteY292" fmla="*/ 3225 h 10000"/>
                <a:gd name="connsiteX293" fmla="*/ 3271 w 10000"/>
                <a:gd name="connsiteY293" fmla="*/ 3392 h 10000"/>
                <a:gd name="connsiteX294" fmla="*/ 3197 w 10000"/>
                <a:gd name="connsiteY294" fmla="*/ 3573 h 10000"/>
                <a:gd name="connsiteX295" fmla="*/ 3062 w 10000"/>
                <a:gd name="connsiteY295" fmla="*/ 3640 h 10000"/>
                <a:gd name="connsiteX296" fmla="*/ 2657 w 10000"/>
                <a:gd name="connsiteY296" fmla="*/ 3595 h 10000"/>
                <a:gd name="connsiteX297" fmla="*/ 2378 w 10000"/>
                <a:gd name="connsiteY297" fmla="*/ 3620 h 10000"/>
                <a:gd name="connsiteX298" fmla="*/ 2152 w 10000"/>
                <a:gd name="connsiteY298" fmla="*/ 3673 h 10000"/>
                <a:gd name="connsiteX299" fmla="*/ 1790 w 10000"/>
                <a:gd name="connsiteY299" fmla="*/ 3840 h 10000"/>
                <a:gd name="connsiteX300" fmla="*/ 1598 w 10000"/>
                <a:gd name="connsiteY300" fmla="*/ 4042 h 10000"/>
                <a:gd name="connsiteX301" fmla="*/ 1616 w 10000"/>
                <a:gd name="connsiteY301" fmla="*/ 4154 h 10000"/>
                <a:gd name="connsiteX302" fmla="*/ 1681 w 10000"/>
                <a:gd name="connsiteY302" fmla="*/ 4241 h 10000"/>
                <a:gd name="connsiteX303" fmla="*/ 1733 w 10000"/>
                <a:gd name="connsiteY303" fmla="*/ 4276 h 10000"/>
                <a:gd name="connsiteX304" fmla="*/ 1638 w 10000"/>
                <a:gd name="connsiteY304" fmla="*/ 4331 h 10000"/>
                <a:gd name="connsiteX305" fmla="*/ 1433 w 10000"/>
                <a:gd name="connsiteY305" fmla="*/ 4710 h 10000"/>
                <a:gd name="connsiteX306" fmla="*/ 1472 w 10000"/>
                <a:gd name="connsiteY306" fmla="*/ 4732 h 10000"/>
                <a:gd name="connsiteX307" fmla="*/ 1503 w 10000"/>
                <a:gd name="connsiteY307" fmla="*/ 4828 h 10000"/>
                <a:gd name="connsiteX308" fmla="*/ 1407 w 10000"/>
                <a:gd name="connsiteY308" fmla="*/ 5227 h 10000"/>
                <a:gd name="connsiteX309" fmla="*/ 1503 w 10000"/>
                <a:gd name="connsiteY309" fmla="*/ 5329 h 10000"/>
                <a:gd name="connsiteX310" fmla="*/ 1764 w 10000"/>
                <a:gd name="connsiteY310" fmla="*/ 5441 h 10000"/>
                <a:gd name="connsiteX311" fmla="*/ 1777 w 10000"/>
                <a:gd name="connsiteY311" fmla="*/ 5578 h 10000"/>
                <a:gd name="connsiteX312" fmla="*/ 1664 w 10000"/>
                <a:gd name="connsiteY312" fmla="*/ 5690 h 10000"/>
                <a:gd name="connsiteX313" fmla="*/ 1503 w 10000"/>
                <a:gd name="connsiteY313" fmla="*/ 5759 h 10000"/>
                <a:gd name="connsiteX314" fmla="*/ 1289 w 10000"/>
                <a:gd name="connsiteY314" fmla="*/ 5787 h 10000"/>
                <a:gd name="connsiteX315" fmla="*/ 1233 w 10000"/>
                <a:gd name="connsiteY315" fmla="*/ 5826 h 10000"/>
                <a:gd name="connsiteX316" fmla="*/ 1359 w 10000"/>
                <a:gd name="connsiteY316" fmla="*/ 5920 h 10000"/>
                <a:gd name="connsiteX317" fmla="*/ 1429 w 10000"/>
                <a:gd name="connsiteY317" fmla="*/ 6142 h 10000"/>
                <a:gd name="connsiteX318" fmla="*/ 1267 w 10000"/>
                <a:gd name="connsiteY318" fmla="*/ 6333 h 10000"/>
                <a:gd name="connsiteX319" fmla="*/ 1324 w 10000"/>
                <a:gd name="connsiteY319" fmla="*/ 6392 h 10000"/>
                <a:gd name="connsiteX320" fmla="*/ 1272 w 10000"/>
                <a:gd name="connsiteY320" fmla="*/ 6492 h 10000"/>
                <a:gd name="connsiteX321" fmla="*/ 1167 w 10000"/>
                <a:gd name="connsiteY321" fmla="*/ 6561 h 10000"/>
                <a:gd name="connsiteX322" fmla="*/ 758 w 10000"/>
                <a:gd name="connsiteY322" fmla="*/ 6614 h 10000"/>
                <a:gd name="connsiteX323" fmla="*/ 732 w 10000"/>
                <a:gd name="connsiteY323" fmla="*/ 6706 h 10000"/>
                <a:gd name="connsiteX324" fmla="*/ 510 w 10000"/>
                <a:gd name="connsiteY324" fmla="*/ 6843 h 10000"/>
                <a:gd name="connsiteX325" fmla="*/ 540 w 10000"/>
                <a:gd name="connsiteY325" fmla="*/ 7040 h 10000"/>
                <a:gd name="connsiteX326" fmla="*/ 353 w 10000"/>
                <a:gd name="connsiteY326" fmla="*/ 7293 h 10000"/>
                <a:gd name="connsiteX327" fmla="*/ 226 w 10000"/>
                <a:gd name="connsiteY327" fmla="*/ 7323 h 10000"/>
                <a:gd name="connsiteX328" fmla="*/ 174 w 10000"/>
                <a:gd name="connsiteY328" fmla="*/ 7262 h 10000"/>
                <a:gd name="connsiteX329" fmla="*/ 109 w 10000"/>
                <a:gd name="connsiteY329" fmla="*/ 7354 h 10000"/>
                <a:gd name="connsiteX330" fmla="*/ 152 w 10000"/>
                <a:gd name="connsiteY330" fmla="*/ 7197 h 10000"/>
                <a:gd name="connsiteX331" fmla="*/ 126 w 10000"/>
                <a:gd name="connsiteY331"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253 w 10000"/>
                <a:gd name="connsiteY207" fmla="*/ 2762 h 10000"/>
                <a:gd name="connsiteX208" fmla="*/ 8402 w 10000"/>
                <a:gd name="connsiteY208" fmla="*/ 2662 h 10000"/>
                <a:gd name="connsiteX209" fmla="*/ 8449 w 10000"/>
                <a:gd name="connsiteY209" fmla="*/ 2656 h 10000"/>
                <a:gd name="connsiteX210" fmla="*/ 8593 w 10000"/>
                <a:gd name="connsiteY210" fmla="*/ 2669 h 10000"/>
                <a:gd name="connsiteX211" fmla="*/ 8606 w 10000"/>
                <a:gd name="connsiteY211" fmla="*/ 2630 h 10000"/>
                <a:gd name="connsiteX212" fmla="*/ 8685 w 10000"/>
                <a:gd name="connsiteY212" fmla="*/ 2597 h 10000"/>
                <a:gd name="connsiteX213" fmla="*/ 8558 w 10000"/>
                <a:gd name="connsiteY213" fmla="*/ 2481 h 10000"/>
                <a:gd name="connsiteX214" fmla="*/ 8558 w 10000"/>
                <a:gd name="connsiteY214" fmla="*/ 2459 h 10000"/>
                <a:gd name="connsiteX215" fmla="*/ 8698 w 10000"/>
                <a:gd name="connsiteY215" fmla="*/ 2504 h 10000"/>
                <a:gd name="connsiteX216" fmla="*/ 8763 w 10000"/>
                <a:gd name="connsiteY216" fmla="*/ 2548 h 10000"/>
                <a:gd name="connsiteX217" fmla="*/ 8815 w 10000"/>
                <a:gd name="connsiteY217" fmla="*/ 2548 h 10000"/>
                <a:gd name="connsiteX218" fmla="*/ 8789 w 10000"/>
                <a:gd name="connsiteY218" fmla="*/ 2457 h 10000"/>
                <a:gd name="connsiteX219" fmla="*/ 8798 w 10000"/>
                <a:gd name="connsiteY219" fmla="*/ 2467 h 10000"/>
                <a:gd name="connsiteX220" fmla="*/ 8841 w 10000"/>
                <a:gd name="connsiteY220" fmla="*/ 2457 h 10000"/>
                <a:gd name="connsiteX221" fmla="*/ 8855 w 10000"/>
                <a:gd name="connsiteY221" fmla="*/ 2341 h 10000"/>
                <a:gd name="connsiteX222" fmla="*/ 8898 w 10000"/>
                <a:gd name="connsiteY222" fmla="*/ 2332 h 10000"/>
                <a:gd name="connsiteX223" fmla="*/ 8946 w 10000"/>
                <a:gd name="connsiteY223" fmla="*/ 2330 h 10000"/>
                <a:gd name="connsiteX224" fmla="*/ 8946 w 10000"/>
                <a:gd name="connsiteY224" fmla="*/ 2361 h 10000"/>
                <a:gd name="connsiteX225" fmla="*/ 8994 w 10000"/>
                <a:gd name="connsiteY225" fmla="*/ 2389 h 10000"/>
                <a:gd name="connsiteX226" fmla="*/ 9051 w 10000"/>
                <a:gd name="connsiteY226" fmla="*/ 2400 h 10000"/>
                <a:gd name="connsiteX227" fmla="*/ 9094 w 10000"/>
                <a:gd name="connsiteY227" fmla="*/ 2324 h 10000"/>
                <a:gd name="connsiteX228" fmla="*/ 9164 w 10000"/>
                <a:gd name="connsiteY228" fmla="*/ 2347 h 10000"/>
                <a:gd name="connsiteX229" fmla="*/ 9247 w 10000"/>
                <a:gd name="connsiteY229" fmla="*/ 2402 h 10000"/>
                <a:gd name="connsiteX230" fmla="*/ 9286 w 10000"/>
                <a:gd name="connsiteY230" fmla="*/ 2400 h 10000"/>
                <a:gd name="connsiteX231" fmla="*/ 9355 w 10000"/>
                <a:gd name="connsiteY231" fmla="*/ 2428 h 10000"/>
                <a:gd name="connsiteX232" fmla="*/ 9408 w 10000"/>
                <a:gd name="connsiteY232" fmla="*/ 2359 h 10000"/>
                <a:gd name="connsiteX233" fmla="*/ 9717 w 10000"/>
                <a:gd name="connsiteY233" fmla="*/ 2343 h 10000"/>
                <a:gd name="connsiteX234" fmla="*/ 9830 w 10000"/>
                <a:gd name="connsiteY234" fmla="*/ 2369 h 10000"/>
                <a:gd name="connsiteX235" fmla="*/ 9909 w 10000"/>
                <a:gd name="connsiteY235" fmla="*/ 2410 h 10000"/>
                <a:gd name="connsiteX236" fmla="*/ 9948 w 10000"/>
                <a:gd name="connsiteY236" fmla="*/ 2365 h 10000"/>
                <a:gd name="connsiteX237" fmla="*/ 10000 w 10000"/>
                <a:gd name="connsiteY237" fmla="*/ 2349 h 10000"/>
                <a:gd name="connsiteX238" fmla="*/ 9704 w 10000"/>
                <a:gd name="connsiteY238" fmla="*/ 1992 h 10000"/>
                <a:gd name="connsiteX239" fmla="*/ 9743 w 10000"/>
                <a:gd name="connsiteY239" fmla="*/ 1897 h 10000"/>
                <a:gd name="connsiteX240" fmla="*/ 9830 w 10000"/>
                <a:gd name="connsiteY240" fmla="*/ 1819 h 10000"/>
                <a:gd name="connsiteX241" fmla="*/ 9830 w 10000"/>
                <a:gd name="connsiteY241" fmla="*/ 1699 h 10000"/>
                <a:gd name="connsiteX242" fmla="*/ 9556 w 10000"/>
                <a:gd name="connsiteY242" fmla="*/ 1465 h 10000"/>
                <a:gd name="connsiteX243" fmla="*/ 9512 w 10000"/>
                <a:gd name="connsiteY243" fmla="*/ 1379 h 10000"/>
                <a:gd name="connsiteX244" fmla="*/ 9573 w 10000"/>
                <a:gd name="connsiteY244" fmla="*/ 1271 h 10000"/>
                <a:gd name="connsiteX245" fmla="*/ 9543 w 10000"/>
                <a:gd name="connsiteY245" fmla="*/ 1194 h 10000"/>
                <a:gd name="connsiteX246" fmla="*/ 9486 w 10000"/>
                <a:gd name="connsiteY246" fmla="*/ 1159 h 10000"/>
                <a:gd name="connsiteX247" fmla="*/ 9438 w 10000"/>
                <a:gd name="connsiteY247" fmla="*/ 978 h 10000"/>
                <a:gd name="connsiteX248" fmla="*/ 9495 w 10000"/>
                <a:gd name="connsiteY248" fmla="*/ 831 h 10000"/>
                <a:gd name="connsiteX249" fmla="*/ 9077 w 10000"/>
                <a:gd name="connsiteY249" fmla="*/ 517 h 10000"/>
                <a:gd name="connsiteX250" fmla="*/ 8872 w 10000"/>
                <a:gd name="connsiteY250" fmla="*/ 440 h 10000"/>
                <a:gd name="connsiteX251" fmla="*/ 8493 w 10000"/>
                <a:gd name="connsiteY251" fmla="*/ 389 h 10000"/>
                <a:gd name="connsiteX252" fmla="*/ 7709 w 10000"/>
                <a:gd name="connsiteY252" fmla="*/ 26 h 10000"/>
                <a:gd name="connsiteX253" fmla="*/ 7683 w 10000"/>
                <a:gd name="connsiteY253" fmla="*/ 2 h 10000"/>
                <a:gd name="connsiteX254" fmla="*/ 7417 w 10000"/>
                <a:gd name="connsiteY254" fmla="*/ 0 h 10000"/>
                <a:gd name="connsiteX255" fmla="*/ 7356 w 10000"/>
                <a:gd name="connsiteY255" fmla="*/ 14 h 10000"/>
                <a:gd name="connsiteX256" fmla="*/ 7369 w 10000"/>
                <a:gd name="connsiteY256" fmla="*/ 61 h 10000"/>
                <a:gd name="connsiteX257" fmla="*/ 7422 w 10000"/>
                <a:gd name="connsiteY257" fmla="*/ 86 h 10000"/>
                <a:gd name="connsiteX258" fmla="*/ 7435 w 10000"/>
                <a:gd name="connsiteY258" fmla="*/ 139 h 10000"/>
                <a:gd name="connsiteX259" fmla="*/ 7417 w 10000"/>
                <a:gd name="connsiteY259" fmla="*/ 181 h 10000"/>
                <a:gd name="connsiteX260" fmla="*/ 7369 w 10000"/>
                <a:gd name="connsiteY260" fmla="*/ 208 h 10000"/>
                <a:gd name="connsiteX261" fmla="*/ 7334 w 10000"/>
                <a:gd name="connsiteY261" fmla="*/ 283 h 10000"/>
                <a:gd name="connsiteX262" fmla="*/ 7269 w 10000"/>
                <a:gd name="connsiteY262" fmla="*/ 336 h 10000"/>
                <a:gd name="connsiteX263" fmla="*/ 7282 w 10000"/>
                <a:gd name="connsiteY263" fmla="*/ 387 h 10000"/>
                <a:gd name="connsiteX264" fmla="*/ 7382 w 10000"/>
                <a:gd name="connsiteY264" fmla="*/ 434 h 10000"/>
                <a:gd name="connsiteX265" fmla="*/ 7317 w 10000"/>
                <a:gd name="connsiteY265" fmla="*/ 475 h 10000"/>
                <a:gd name="connsiteX266" fmla="*/ 7221 w 10000"/>
                <a:gd name="connsiteY266" fmla="*/ 485 h 10000"/>
                <a:gd name="connsiteX267" fmla="*/ 6420 w 10000"/>
                <a:gd name="connsiteY267" fmla="*/ 387 h 10000"/>
                <a:gd name="connsiteX268" fmla="*/ 6324 w 10000"/>
                <a:gd name="connsiteY268" fmla="*/ 395 h 10000"/>
                <a:gd name="connsiteX269" fmla="*/ 6267 w 10000"/>
                <a:gd name="connsiteY269" fmla="*/ 414 h 10000"/>
                <a:gd name="connsiteX270" fmla="*/ 6211 w 10000"/>
                <a:gd name="connsiteY270" fmla="*/ 462 h 10000"/>
                <a:gd name="connsiteX271" fmla="*/ 6220 w 10000"/>
                <a:gd name="connsiteY271" fmla="*/ 581 h 10000"/>
                <a:gd name="connsiteX272" fmla="*/ 6132 w 10000"/>
                <a:gd name="connsiteY272" fmla="*/ 735 h 10000"/>
                <a:gd name="connsiteX273" fmla="*/ 6024 w 10000"/>
                <a:gd name="connsiteY273" fmla="*/ 815 h 10000"/>
                <a:gd name="connsiteX274" fmla="*/ 5980 w 10000"/>
                <a:gd name="connsiteY274" fmla="*/ 805 h 10000"/>
                <a:gd name="connsiteX275" fmla="*/ 5880 w 10000"/>
                <a:gd name="connsiteY275" fmla="*/ 739 h 10000"/>
                <a:gd name="connsiteX276" fmla="*/ 5753 w 10000"/>
                <a:gd name="connsiteY276" fmla="*/ 705 h 10000"/>
                <a:gd name="connsiteX277" fmla="*/ 5618 w 10000"/>
                <a:gd name="connsiteY277" fmla="*/ 715 h 10000"/>
                <a:gd name="connsiteX278" fmla="*/ 5301 w 10000"/>
                <a:gd name="connsiteY278" fmla="*/ 866 h 10000"/>
                <a:gd name="connsiteX279" fmla="*/ 5218 w 10000"/>
                <a:gd name="connsiteY279" fmla="*/ 1017 h 10000"/>
                <a:gd name="connsiteX280" fmla="*/ 4978 w 10000"/>
                <a:gd name="connsiteY280" fmla="*/ 1153 h 10000"/>
                <a:gd name="connsiteX281" fmla="*/ 4935 w 10000"/>
                <a:gd name="connsiteY281" fmla="*/ 1222 h 10000"/>
                <a:gd name="connsiteX282" fmla="*/ 5061 w 10000"/>
                <a:gd name="connsiteY282" fmla="*/ 1344 h 10000"/>
                <a:gd name="connsiteX283" fmla="*/ 5074 w 10000"/>
                <a:gd name="connsiteY283" fmla="*/ 1412 h 10000"/>
                <a:gd name="connsiteX284" fmla="*/ 4421 w 10000"/>
                <a:gd name="connsiteY284" fmla="*/ 1813 h 10000"/>
                <a:gd name="connsiteX285" fmla="*/ 4220 w 10000"/>
                <a:gd name="connsiteY285" fmla="*/ 2070 h 10000"/>
                <a:gd name="connsiteX286" fmla="*/ 4003 w 10000"/>
                <a:gd name="connsiteY286" fmla="*/ 2135 h 10000"/>
                <a:gd name="connsiteX287" fmla="*/ 3868 w 10000"/>
                <a:gd name="connsiteY287" fmla="*/ 2131 h 10000"/>
                <a:gd name="connsiteX288" fmla="*/ 3785 w 10000"/>
                <a:gd name="connsiteY288" fmla="*/ 2153 h 10000"/>
                <a:gd name="connsiteX289" fmla="*/ 3558 w 10000"/>
                <a:gd name="connsiteY289" fmla="*/ 2793 h 10000"/>
                <a:gd name="connsiteX290" fmla="*/ 3036 w 10000"/>
                <a:gd name="connsiteY290" fmla="*/ 3166 h 10000"/>
                <a:gd name="connsiteX291" fmla="*/ 3040 w 10000"/>
                <a:gd name="connsiteY291" fmla="*/ 3225 h 10000"/>
                <a:gd name="connsiteX292" fmla="*/ 3271 w 10000"/>
                <a:gd name="connsiteY292" fmla="*/ 3392 h 10000"/>
                <a:gd name="connsiteX293" fmla="*/ 3197 w 10000"/>
                <a:gd name="connsiteY293" fmla="*/ 3573 h 10000"/>
                <a:gd name="connsiteX294" fmla="*/ 3062 w 10000"/>
                <a:gd name="connsiteY294" fmla="*/ 3640 h 10000"/>
                <a:gd name="connsiteX295" fmla="*/ 2657 w 10000"/>
                <a:gd name="connsiteY295" fmla="*/ 3595 h 10000"/>
                <a:gd name="connsiteX296" fmla="*/ 2378 w 10000"/>
                <a:gd name="connsiteY296" fmla="*/ 3620 h 10000"/>
                <a:gd name="connsiteX297" fmla="*/ 2152 w 10000"/>
                <a:gd name="connsiteY297" fmla="*/ 3673 h 10000"/>
                <a:gd name="connsiteX298" fmla="*/ 1790 w 10000"/>
                <a:gd name="connsiteY298" fmla="*/ 3840 h 10000"/>
                <a:gd name="connsiteX299" fmla="*/ 1598 w 10000"/>
                <a:gd name="connsiteY299" fmla="*/ 4042 h 10000"/>
                <a:gd name="connsiteX300" fmla="*/ 1616 w 10000"/>
                <a:gd name="connsiteY300" fmla="*/ 4154 h 10000"/>
                <a:gd name="connsiteX301" fmla="*/ 1681 w 10000"/>
                <a:gd name="connsiteY301" fmla="*/ 4241 h 10000"/>
                <a:gd name="connsiteX302" fmla="*/ 1733 w 10000"/>
                <a:gd name="connsiteY302" fmla="*/ 4276 h 10000"/>
                <a:gd name="connsiteX303" fmla="*/ 1638 w 10000"/>
                <a:gd name="connsiteY303" fmla="*/ 4331 h 10000"/>
                <a:gd name="connsiteX304" fmla="*/ 1433 w 10000"/>
                <a:gd name="connsiteY304" fmla="*/ 4710 h 10000"/>
                <a:gd name="connsiteX305" fmla="*/ 1472 w 10000"/>
                <a:gd name="connsiteY305" fmla="*/ 4732 h 10000"/>
                <a:gd name="connsiteX306" fmla="*/ 1503 w 10000"/>
                <a:gd name="connsiteY306" fmla="*/ 4828 h 10000"/>
                <a:gd name="connsiteX307" fmla="*/ 1407 w 10000"/>
                <a:gd name="connsiteY307" fmla="*/ 5227 h 10000"/>
                <a:gd name="connsiteX308" fmla="*/ 1503 w 10000"/>
                <a:gd name="connsiteY308" fmla="*/ 5329 h 10000"/>
                <a:gd name="connsiteX309" fmla="*/ 1764 w 10000"/>
                <a:gd name="connsiteY309" fmla="*/ 5441 h 10000"/>
                <a:gd name="connsiteX310" fmla="*/ 1777 w 10000"/>
                <a:gd name="connsiteY310" fmla="*/ 5578 h 10000"/>
                <a:gd name="connsiteX311" fmla="*/ 1664 w 10000"/>
                <a:gd name="connsiteY311" fmla="*/ 5690 h 10000"/>
                <a:gd name="connsiteX312" fmla="*/ 1503 w 10000"/>
                <a:gd name="connsiteY312" fmla="*/ 5759 h 10000"/>
                <a:gd name="connsiteX313" fmla="*/ 1289 w 10000"/>
                <a:gd name="connsiteY313" fmla="*/ 5787 h 10000"/>
                <a:gd name="connsiteX314" fmla="*/ 1233 w 10000"/>
                <a:gd name="connsiteY314" fmla="*/ 5826 h 10000"/>
                <a:gd name="connsiteX315" fmla="*/ 1359 w 10000"/>
                <a:gd name="connsiteY315" fmla="*/ 5920 h 10000"/>
                <a:gd name="connsiteX316" fmla="*/ 1429 w 10000"/>
                <a:gd name="connsiteY316" fmla="*/ 6142 h 10000"/>
                <a:gd name="connsiteX317" fmla="*/ 1267 w 10000"/>
                <a:gd name="connsiteY317" fmla="*/ 6333 h 10000"/>
                <a:gd name="connsiteX318" fmla="*/ 1324 w 10000"/>
                <a:gd name="connsiteY318" fmla="*/ 6392 h 10000"/>
                <a:gd name="connsiteX319" fmla="*/ 1272 w 10000"/>
                <a:gd name="connsiteY319" fmla="*/ 6492 h 10000"/>
                <a:gd name="connsiteX320" fmla="*/ 1167 w 10000"/>
                <a:gd name="connsiteY320" fmla="*/ 6561 h 10000"/>
                <a:gd name="connsiteX321" fmla="*/ 758 w 10000"/>
                <a:gd name="connsiteY321" fmla="*/ 6614 h 10000"/>
                <a:gd name="connsiteX322" fmla="*/ 732 w 10000"/>
                <a:gd name="connsiteY322" fmla="*/ 6706 h 10000"/>
                <a:gd name="connsiteX323" fmla="*/ 510 w 10000"/>
                <a:gd name="connsiteY323" fmla="*/ 6843 h 10000"/>
                <a:gd name="connsiteX324" fmla="*/ 540 w 10000"/>
                <a:gd name="connsiteY324" fmla="*/ 7040 h 10000"/>
                <a:gd name="connsiteX325" fmla="*/ 353 w 10000"/>
                <a:gd name="connsiteY325" fmla="*/ 7293 h 10000"/>
                <a:gd name="connsiteX326" fmla="*/ 226 w 10000"/>
                <a:gd name="connsiteY326" fmla="*/ 7323 h 10000"/>
                <a:gd name="connsiteX327" fmla="*/ 174 w 10000"/>
                <a:gd name="connsiteY327" fmla="*/ 7262 h 10000"/>
                <a:gd name="connsiteX328" fmla="*/ 109 w 10000"/>
                <a:gd name="connsiteY328" fmla="*/ 7354 h 10000"/>
                <a:gd name="connsiteX329" fmla="*/ 152 w 10000"/>
                <a:gd name="connsiteY329" fmla="*/ 7197 h 10000"/>
                <a:gd name="connsiteX330" fmla="*/ 126 w 10000"/>
                <a:gd name="connsiteY330"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402 w 10000"/>
                <a:gd name="connsiteY207" fmla="*/ 2662 h 10000"/>
                <a:gd name="connsiteX208" fmla="*/ 8449 w 10000"/>
                <a:gd name="connsiteY208" fmla="*/ 2656 h 10000"/>
                <a:gd name="connsiteX209" fmla="*/ 8593 w 10000"/>
                <a:gd name="connsiteY209" fmla="*/ 2669 h 10000"/>
                <a:gd name="connsiteX210" fmla="*/ 8606 w 10000"/>
                <a:gd name="connsiteY210" fmla="*/ 2630 h 10000"/>
                <a:gd name="connsiteX211" fmla="*/ 8685 w 10000"/>
                <a:gd name="connsiteY211" fmla="*/ 2597 h 10000"/>
                <a:gd name="connsiteX212" fmla="*/ 8558 w 10000"/>
                <a:gd name="connsiteY212" fmla="*/ 2481 h 10000"/>
                <a:gd name="connsiteX213" fmla="*/ 8558 w 10000"/>
                <a:gd name="connsiteY213" fmla="*/ 2459 h 10000"/>
                <a:gd name="connsiteX214" fmla="*/ 8698 w 10000"/>
                <a:gd name="connsiteY214" fmla="*/ 2504 h 10000"/>
                <a:gd name="connsiteX215" fmla="*/ 8763 w 10000"/>
                <a:gd name="connsiteY215" fmla="*/ 2548 h 10000"/>
                <a:gd name="connsiteX216" fmla="*/ 8815 w 10000"/>
                <a:gd name="connsiteY216" fmla="*/ 2548 h 10000"/>
                <a:gd name="connsiteX217" fmla="*/ 8789 w 10000"/>
                <a:gd name="connsiteY217" fmla="*/ 2457 h 10000"/>
                <a:gd name="connsiteX218" fmla="*/ 8798 w 10000"/>
                <a:gd name="connsiteY218" fmla="*/ 2467 h 10000"/>
                <a:gd name="connsiteX219" fmla="*/ 8841 w 10000"/>
                <a:gd name="connsiteY219" fmla="*/ 2457 h 10000"/>
                <a:gd name="connsiteX220" fmla="*/ 8855 w 10000"/>
                <a:gd name="connsiteY220" fmla="*/ 2341 h 10000"/>
                <a:gd name="connsiteX221" fmla="*/ 8898 w 10000"/>
                <a:gd name="connsiteY221" fmla="*/ 2332 h 10000"/>
                <a:gd name="connsiteX222" fmla="*/ 8946 w 10000"/>
                <a:gd name="connsiteY222" fmla="*/ 2330 h 10000"/>
                <a:gd name="connsiteX223" fmla="*/ 8946 w 10000"/>
                <a:gd name="connsiteY223" fmla="*/ 2361 h 10000"/>
                <a:gd name="connsiteX224" fmla="*/ 8994 w 10000"/>
                <a:gd name="connsiteY224" fmla="*/ 2389 h 10000"/>
                <a:gd name="connsiteX225" fmla="*/ 9051 w 10000"/>
                <a:gd name="connsiteY225" fmla="*/ 2400 h 10000"/>
                <a:gd name="connsiteX226" fmla="*/ 9094 w 10000"/>
                <a:gd name="connsiteY226" fmla="*/ 2324 h 10000"/>
                <a:gd name="connsiteX227" fmla="*/ 9164 w 10000"/>
                <a:gd name="connsiteY227" fmla="*/ 2347 h 10000"/>
                <a:gd name="connsiteX228" fmla="*/ 9247 w 10000"/>
                <a:gd name="connsiteY228" fmla="*/ 2402 h 10000"/>
                <a:gd name="connsiteX229" fmla="*/ 9286 w 10000"/>
                <a:gd name="connsiteY229" fmla="*/ 2400 h 10000"/>
                <a:gd name="connsiteX230" fmla="*/ 9355 w 10000"/>
                <a:gd name="connsiteY230" fmla="*/ 2428 h 10000"/>
                <a:gd name="connsiteX231" fmla="*/ 9408 w 10000"/>
                <a:gd name="connsiteY231" fmla="*/ 2359 h 10000"/>
                <a:gd name="connsiteX232" fmla="*/ 9717 w 10000"/>
                <a:gd name="connsiteY232" fmla="*/ 2343 h 10000"/>
                <a:gd name="connsiteX233" fmla="*/ 9830 w 10000"/>
                <a:gd name="connsiteY233" fmla="*/ 2369 h 10000"/>
                <a:gd name="connsiteX234" fmla="*/ 9909 w 10000"/>
                <a:gd name="connsiteY234" fmla="*/ 2410 h 10000"/>
                <a:gd name="connsiteX235" fmla="*/ 9948 w 10000"/>
                <a:gd name="connsiteY235" fmla="*/ 2365 h 10000"/>
                <a:gd name="connsiteX236" fmla="*/ 10000 w 10000"/>
                <a:gd name="connsiteY236" fmla="*/ 2349 h 10000"/>
                <a:gd name="connsiteX237" fmla="*/ 9704 w 10000"/>
                <a:gd name="connsiteY237" fmla="*/ 1992 h 10000"/>
                <a:gd name="connsiteX238" fmla="*/ 9743 w 10000"/>
                <a:gd name="connsiteY238" fmla="*/ 1897 h 10000"/>
                <a:gd name="connsiteX239" fmla="*/ 9830 w 10000"/>
                <a:gd name="connsiteY239" fmla="*/ 1819 h 10000"/>
                <a:gd name="connsiteX240" fmla="*/ 9830 w 10000"/>
                <a:gd name="connsiteY240" fmla="*/ 1699 h 10000"/>
                <a:gd name="connsiteX241" fmla="*/ 9556 w 10000"/>
                <a:gd name="connsiteY241" fmla="*/ 1465 h 10000"/>
                <a:gd name="connsiteX242" fmla="*/ 9512 w 10000"/>
                <a:gd name="connsiteY242" fmla="*/ 1379 h 10000"/>
                <a:gd name="connsiteX243" fmla="*/ 9573 w 10000"/>
                <a:gd name="connsiteY243" fmla="*/ 1271 h 10000"/>
                <a:gd name="connsiteX244" fmla="*/ 9543 w 10000"/>
                <a:gd name="connsiteY244" fmla="*/ 1194 h 10000"/>
                <a:gd name="connsiteX245" fmla="*/ 9486 w 10000"/>
                <a:gd name="connsiteY245" fmla="*/ 1159 h 10000"/>
                <a:gd name="connsiteX246" fmla="*/ 9438 w 10000"/>
                <a:gd name="connsiteY246" fmla="*/ 978 h 10000"/>
                <a:gd name="connsiteX247" fmla="*/ 9495 w 10000"/>
                <a:gd name="connsiteY247" fmla="*/ 831 h 10000"/>
                <a:gd name="connsiteX248" fmla="*/ 9077 w 10000"/>
                <a:gd name="connsiteY248" fmla="*/ 517 h 10000"/>
                <a:gd name="connsiteX249" fmla="*/ 8872 w 10000"/>
                <a:gd name="connsiteY249" fmla="*/ 440 h 10000"/>
                <a:gd name="connsiteX250" fmla="*/ 8493 w 10000"/>
                <a:gd name="connsiteY250" fmla="*/ 389 h 10000"/>
                <a:gd name="connsiteX251" fmla="*/ 7709 w 10000"/>
                <a:gd name="connsiteY251" fmla="*/ 26 h 10000"/>
                <a:gd name="connsiteX252" fmla="*/ 7683 w 10000"/>
                <a:gd name="connsiteY252" fmla="*/ 2 h 10000"/>
                <a:gd name="connsiteX253" fmla="*/ 7417 w 10000"/>
                <a:gd name="connsiteY253" fmla="*/ 0 h 10000"/>
                <a:gd name="connsiteX254" fmla="*/ 7356 w 10000"/>
                <a:gd name="connsiteY254" fmla="*/ 14 h 10000"/>
                <a:gd name="connsiteX255" fmla="*/ 7369 w 10000"/>
                <a:gd name="connsiteY255" fmla="*/ 61 h 10000"/>
                <a:gd name="connsiteX256" fmla="*/ 7422 w 10000"/>
                <a:gd name="connsiteY256" fmla="*/ 86 h 10000"/>
                <a:gd name="connsiteX257" fmla="*/ 7435 w 10000"/>
                <a:gd name="connsiteY257" fmla="*/ 139 h 10000"/>
                <a:gd name="connsiteX258" fmla="*/ 7417 w 10000"/>
                <a:gd name="connsiteY258" fmla="*/ 181 h 10000"/>
                <a:gd name="connsiteX259" fmla="*/ 7369 w 10000"/>
                <a:gd name="connsiteY259" fmla="*/ 208 h 10000"/>
                <a:gd name="connsiteX260" fmla="*/ 7334 w 10000"/>
                <a:gd name="connsiteY260" fmla="*/ 283 h 10000"/>
                <a:gd name="connsiteX261" fmla="*/ 7269 w 10000"/>
                <a:gd name="connsiteY261" fmla="*/ 336 h 10000"/>
                <a:gd name="connsiteX262" fmla="*/ 7282 w 10000"/>
                <a:gd name="connsiteY262" fmla="*/ 387 h 10000"/>
                <a:gd name="connsiteX263" fmla="*/ 7382 w 10000"/>
                <a:gd name="connsiteY263" fmla="*/ 434 h 10000"/>
                <a:gd name="connsiteX264" fmla="*/ 7317 w 10000"/>
                <a:gd name="connsiteY264" fmla="*/ 475 h 10000"/>
                <a:gd name="connsiteX265" fmla="*/ 7221 w 10000"/>
                <a:gd name="connsiteY265" fmla="*/ 485 h 10000"/>
                <a:gd name="connsiteX266" fmla="*/ 6420 w 10000"/>
                <a:gd name="connsiteY266" fmla="*/ 387 h 10000"/>
                <a:gd name="connsiteX267" fmla="*/ 6324 w 10000"/>
                <a:gd name="connsiteY267" fmla="*/ 395 h 10000"/>
                <a:gd name="connsiteX268" fmla="*/ 6267 w 10000"/>
                <a:gd name="connsiteY268" fmla="*/ 414 h 10000"/>
                <a:gd name="connsiteX269" fmla="*/ 6211 w 10000"/>
                <a:gd name="connsiteY269" fmla="*/ 462 h 10000"/>
                <a:gd name="connsiteX270" fmla="*/ 6220 w 10000"/>
                <a:gd name="connsiteY270" fmla="*/ 581 h 10000"/>
                <a:gd name="connsiteX271" fmla="*/ 6132 w 10000"/>
                <a:gd name="connsiteY271" fmla="*/ 735 h 10000"/>
                <a:gd name="connsiteX272" fmla="*/ 6024 w 10000"/>
                <a:gd name="connsiteY272" fmla="*/ 815 h 10000"/>
                <a:gd name="connsiteX273" fmla="*/ 5980 w 10000"/>
                <a:gd name="connsiteY273" fmla="*/ 805 h 10000"/>
                <a:gd name="connsiteX274" fmla="*/ 5880 w 10000"/>
                <a:gd name="connsiteY274" fmla="*/ 739 h 10000"/>
                <a:gd name="connsiteX275" fmla="*/ 5753 w 10000"/>
                <a:gd name="connsiteY275" fmla="*/ 705 h 10000"/>
                <a:gd name="connsiteX276" fmla="*/ 5618 w 10000"/>
                <a:gd name="connsiteY276" fmla="*/ 715 h 10000"/>
                <a:gd name="connsiteX277" fmla="*/ 5301 w 10000"/>
                <a:gd name="connsiteY277" fmla="*/ 866 h 10000"/>
                <a:gd name="connsiteX278" fmla="*/ 5218 w 10000"/>
                <a:gd name="connsiteY278" fmla="*/ 1017 h 10000"/>
                <a:gd name="connsiteX279" fmla="*/ 4978 w 10000"/>
                <a:gd name="connsiteY279" fmla="*/ 1153 h 10000"/>
                <a:gd name="connsiteX280" fmla="*/ 4935 w 10000"/>
                <a:gd name="connsiteY280" fmla="*/ 1222 h 10000"/>
                <a:gd name="connsiteX281" fmla="*/ 5061 w 10000"/>
                <a:gd name="connsiteY281" fmla="*/ 1344 h 10000"/>
                <a:gd name="connsiteX282" fmla="*/ 5074 w 10000"/>
                <a:gd name="connsiteY282" fmla="*/ 1412 h 10000"/>
                <a:gd name="connsiteX283" fmla="*/ 4421 w 10000"/>
                <a:gd name="connsiteY283" fmla="*/ 1813 h 10000"/>
                <a:gd name="connsiteX284" fmla="*/ 4220 w 10000"/>
                <a:gd name="connsiteY284" fmla="*/ 2070 h 10000"/>
                <a:gd name="connsiteX285" fmla="*/ 4003 w 10000"/>
                <a:gd name="connsiteY285" fmla="*/ 2135 h 10000"/>
                <a:gd name="connsiteX286" fmla="*/ 3868 w 10000"/>
                <a:gd name="connsiteY286" fmla="*/ 2131 h 10000"/>
                <a:gd name="connsiteX287" fmla="*/ 3785 w 10000"/>
                <a:gd name="connsiteY287" fmla="*/ 2153 h 10000"/>
                <a:gd name="connsiteX288" fmla="*/ 3558 w 10000"/>
                <a:gd name="connsiteY288" fmla="*/ 2793 h 10000"/>
                <a:gd name="connsiteX289" fmla="*/ 3036 w 10000"/>
                <a:gd name="connsiteY289" fmla="*/ 3166 h 10000"/>
                <a:gd name="connsiteX290" fmla="*/ 3040 w 10000"/>
                <a:gd name="connsiteY290" fmla="*/ 3225 h 10000"/>
                <a:gd name="connsiteX291" fmla="*/ 3271 w 10000"/>
                <a:gd name="connsiteY291" fmla="*/ 3392 h 10000"/>
                <a:gd name="connsiteX292" fmla="*/ 3197 w 10000"/>
                <a:gd name="connsiteY292" fmla="*/ 3573 h 10000"/>
                <a:gd name="connsiteX293" fmla="*/ 3062 w 10000"/>
                <a:gd name="connsiteY293" fmla="*/ 3640 h 10000"/>
                <a:gd name="connsiteX294" fmla="*/ 2657 w 10000"/>
                <a:gd name="connsiteY294" fmla="*/ 3595 h 10000"/>
                <a:gd name="connsiteX295" fmla="*/ 2378 w 10000"/>
                <a:gd name="connsiteY295" fmla="*/ 3620 h 10000"/>
                <a:gd name="connsiteX296" fmla="*/ 2152 w 10000"/>
                <a:gd name="connsiteY296" fmla="*/ 3673 h 10000"/>
                <a:gd name="connsiteX297" fmla="*/ 1790 w 10000"/>
                <a:gd name="connsiteY297" fmla="*/ 3840 h 10000"/>
                <a:gd name="connsiteX298" fmla="*/ 1598 w 10000"/>
                <a:gd name="connsiteY298" fmla="*/ 4042 h 10000"/>
                <a:gd name="connsiteX299" fmla="*/ 1616 w 10000"/>
                <a:gd name="connsiteY299" fmla="*/ 4154 h 10000"/>
                <a:gd name="connsiteX300" fmla="*/ 1681 w 10000"/>
                <a:gd name="connsiteY300" fmla="*/ 4241 h 10000"/>
                <a:gd name="connsiteX301" fmla="*/ 1733 w 10000"/>
                <a:gd name="connsiteY301" fmla="*/ 4276 h 10000"/>
                <a:gd name="connsiteX302" fmla="*/ 1638 w 10000"/>
                <a:gd name="connsiteY302" fmla="*/ 4331 h 10000"/>
                <a:gd name="connsiteX303" fmla="*/ 1433 w 10000"/>
                <a:gd name="connsiteY303" fmla="*/ 4710 h 10000"/>
                <a:gd name="connsiteX304" fmla="*/ 1472 w 10000"/>
                <a:gd name="connsiteY304" fmla="*/ 4732 h 10000"/>
                <a:gd name="connsiteX305" fmla="*/ 1503 w 10000"/>
                <a:gd name="connsiteY305" fmla="*/ 4828 h 10000"/>
                <a:gd name="connsiteX306" fmla="*/ 1407 w 10000"/>
                <a:gd name="connsiteY306" fmla="*/ 5227 h 10000"/>
                <a:gd name="connsiteX307" fmla="*/ 1503 w 10000"/>
                <a:gd name="connsiteY307" fmla="*/ 5329 h 10000"/>
                <a:gd name="connsiteX308" fmla="*/ 1764 w 10000"/>
                <a:gd name="connsiteY308" fmla="*/ 5441 h 10000"/>
                <a:gd name="connsiteX309" fmla="*/ 1777 w 10000"/>
                <a:gd name="connsiteY309" fmla="*/ 5578 h 10000"/>
                <a:gd name="connsiteX310" fmla="*/ 1664 w 10000"/>
                <a:gd name="connsiteY310" fmla="*/ 5690 h 10000"/>
                <a:gd name="connsiteX311" fmla="*/ 1503 w 10000"/>
                <a:gd name="connsiteY311" fmla="*/ 5759 h 10000"/>
                <a:gd name="connsiteX312" fmla="*/ 1289 w 10000"/>
                <a:gd name="connsiteY312" fmla="*/ 5787 h 10000"/>
                <a:gd name="connsiteX313" fmla="*/ 1233 w 10000"/>
                <a:gd name="connsiteY313" fmla="*/ 5826 h 10000"/>
                <a:gd name="connsiteX314" fmla="*/ 1359 w 10000"/>
                <a:gd name="connsiteY314" fmla="*/ 5920 h 10000"/>
                <a:gd name="connsiteX315" fmla="*/ 1429 w 10000"/>
                <a:gd name="connsiteY315" fmla="*/ 6142 h 10000"/>
                <a:gd name="connsiteX316" fmla="*/ 1267 w 10000"/>
                <a:gd name="connsiteY316" fmla="*/ 6333 h 10000"/>
                <a:gd name="connsiteX317" fmla="*/ 1324 w 10000"/>
                <a:gd name="connsiteY317" fmla="*/ 6392 h 10000"/>
                <a:gd name="connsiteX318" fmla="*/ 1272 w 10000"/>
                <a:gd name="connsiteY318" fmla="*/ 6492 h 10000"/>
                <a:gd name="connsiteX319" fmla="*/ 1167 w 10000"/>
                <a:gd name="connsiteY319" fmla="*/ 6561 h 10000"/>
                <a:gd name="connsiteX320" fmla="*/ 758 w 10000"/>
                <a:gd name="connsiteY320" fmla="*/ 6614 h 10000"/>
                <a:gd name="connsiteX321" fmla="*/ 732 w 10000"/>
                <a:gd name="connsiteY321" fmla="*/ 6706 h 10000"/>
                <a:gd name="connsiteX322" fmla="*/ 510 w 10000"/>
                <a:gd name="connsiteY322" fmla="*/ 6843 h 10000"/>
                <a:gd name="connsiteX323" fmla="*/ 540 w 10000"/>
                <a:gd name="connsiteY323" fmla="*/ 7040 h 10000"/>
                <a:gd name="connsiteX324" fmla="*/ 353 w 10000"/>
                <a:gd name="connsiteY324" fmla="*/ 7293 h 10000"/>
                <a:gd name="connsiteX325" fmla="*/ 226 w 10000"/>
                <a:gd name="connsiteY325" fmla="*/ 7323 h 10000"/>
                <a:gd name="connsiteX326" fmla="*/ 174 w 10000"/>
                <a:gd name="connsiteY326" fmla="*/ 7262 h 10000"/>
                <a:gd name="connsiteX327" fmla="*/ 109 w 10000"/>
                <a:gd name="connsiteY327" fmla="*/ 7354 h 10000"/>
                <a:gd name="connsiteX328" fmla="*/ 152 w 10000"/>
                <a:gd name="connsiteY328" fmla="*/ 7197 h 10000"/>
                <a:gd name="connsiteX329" fmla="*/ 126 w 10000"/>
                <a:gd name="connsiteY329"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402 w 10000"/>
                <a:gd name="connsiteY207" fmla="*/ 2662 h 10000"/>
                <a:gd name="connsiteX208" fmla="*/ 8449 w 10000"/>
                <a:gd name="connsiteY208" fmla="*/ 2656 h 10000"/>
                <a:gd name="connsiteX209" fmla="*/ 8593 w 10000"/>
                <a:gd name="connsiteY209" fmla="*/ 2669 h 10000"/>
                <a:gd name="connsiteX210" fmla="*/ 8685 w 10000"/>
                <a:gd name="connsiteY210" fmla="*/ 2597 h 10000"/>
                <a:gd name="connsiteX211" fmla="*/ 8558 w 10000"/>
                <a:gd name="connsiteY211" fmla="*/ 2481 h 10000"/>
                <a:gd name="connsiteX212" fmla="*/ 8558 w 10000"/>
                <a:gd name="connsiteY212" fmla="*/ 2459 h 10000"/>
                <a:gd name="connsiteX213" fmla="*/ 8698 w 10000"/>
                <a:gd name="connsiteY213" fmla="*/ 2504 h 10000"/>
                <a:gd name="connsiteX214" fmla="*/ 8763 w 10000"/>
                <a:gd name="connsiteY214" fmla="*/ 2548 h 10000"/>
                <a:gd name="connsiteX215" fmla="*/ 8815 w 10000"/>
                <a:gd name="connsiteY215" fmla="*/ 2548 h 10000"/>
                <a:gd name="connsiteX216" fmla="*/ 8789 w 10000"/>
                <a:gd name="connsiteY216" fmla="*/ 2457 h 10000"/>
                <a:gd name="connsiteX217" fmla="*/ 8798 w 10000"/>
                <a:gd name="connsiteY217" fmla="*/ 2467 h 10000"/>
                <a:gd name="connsiteX218" fmla="*/ 8841 w 10000"/>
                <a:gd name="connsiteY218" fmla="*/ 2457 h 10000"/>
                <a:gd name="connsiteX219" fmla="*/ 8855 w 10000"/>
                <a:gd name="connsiteY219" fmla="*/ 2341 h 10000"/>
                <a:gd name="connsiteX220" fmla="*/ 8898 w 10000"/>
                <a:gd name="connsiteY220" fmla="*/ 2332 h 10000"/>
                <a:gd name="connsiteX221" fmla="*/ 8946 w 10000"/>
                <a:gd name="connsiteY221" fmla="*/ 2330 h 10000"/>
                <a:gd name="connsiteX222" fmla="*/ 8946 w 10000"/>
                <a:gd name="connsiteY222" fmla="*/ 2361 h 10000"/>
                <a:gd name="connsiteX223" fmla="*/ 8994 w 10000"/>
                <a:gd name="connsiteY223" fmla="*/ 2389 h 10000"/>
                <a:gd name="connsiteX224" fmla="*/ 9051 w 10000"/>
                <a:gd name="connsiteY224" fmla="*/ 2400 h 10000"/>
                <a:gd name="connsiteX225" fmla="*/ 9094 w 10000"/>
                <a:gd name="connsiteY225" fmla="*/ 2324 h 10000"/>
                <a:gd name="connsiteX226" fmla="*/ 9164 w 10000"/>
                <a:gd name="connsiteY226" fmla="*/ 2347 h 10000"/>
                <a:gd name="connsiteX227" fmla="*/ 9247 w 10000"/>
                <a:gd name="connsiteY227" fmla="*/ 2402 h 10000"/>
                <a:gd name="connsiteX228" fmla="*/ 9286 w 10000"/>
                <a:gd name="connsiteY228" fmla="*/ 2400 h 10000"/>
                <a:gd name="connsiteX229" fmla="*/ 9355 w 10000"/>
                <a:gd name="connsiteY229" fmla="*/ 2428 h 10000"/>
                <a:gd name="connsiteX230" fmla="*/ 9408 w 10000"/>
                <a:gd name="connsiteY230" fmla="*/ 2359 h 10000"/>
                <a:gd name="connsiteX231" fmla="*/ 9717 w 10000"/>
                <a:gd name="connsiteY231" fmla="*/ 2343 h 10000"/>
                <a:gd name="connsiteX232" fmla="*/ 9830 w 10000"/>
                <a:gd name="connsiteY232" fmla="*/ 2369 h 10000"/>
                <a:gd name="connsiteX233" fmla="*/ 9909 w 10000"/>
                <a:gd name="connsiteY233" fmla="*/ 2410 h 10000"/>
                <a:gd name="connsiteX234" fmla="*/ 9948 w 10000"/>
                <a:gd name="connsiteY234" fmla="*/ 2365 h 10000"/>
                <a:gd name="connsiteX235" fmla="*/ 10000 w 10000"/>
                <a:gd name="connsiteY235" fmla="*/ 2349 h 10000"/>
                <a:gd name="connsiteX236" fmla="*/ 9704 w 10000"/>
                <a:gd name="connsiteY236" fmla="*/ 1992 h 10000"/>
                <a:gd name="connsiteX237" fmla="*/ 9743 w 10000"/>
                <a:gd name="connsiteY237" fmla="*/ 1897 h 10000"/>
                <a:gd name="connsiteX238" fmla="*/ 9830 w 10000"/>
                <a:gd name="connsiteY238" fmla="*/ 1819 h 10000"/>
                <a:gd name="connsiteX239" fmla="*/ 9830 w 10000"/>
                <a:gd name="connsiteY239" fmla="*/ 1699 h 10000"/>
                <a:gd name="connsiteX240" fmla="*/ 9556 w 10000"/>
                <a:gd name="connsiteY240" fmla="*/ 1465 h 10000"/>
                <a:gd name="connsiteX241" fmla="*/ 9512 w 10000"/>
                <a:gd name="connsiteY241" fmla="*/ 1379 h 10000"/>
                <a:gd name="connsiteX242" fmla="*/ 9573 w 10000"/>
                <a:gd name="connsiteY242" fmla="*/ 1271 h 10000"/>
                <a:gd name="connsiteX243" fmla="*/ 9543 w 10000"/>
                <a:gd name="connsiteY243" fmla="*/ 1194 h 10000"/>
                <a:gd name="connsiteX244" fmla="*/ 9486 w 10000"/>
                <a:gd name="connsiteY244" fmla="*/ 1159 h 10000"/>
                <a:gd name="connsiteX245" fmla="*/ 9438 w 10000"/>
                <a:gd name="connsiteY245" fmla="*/ 978 h 10000"/>
                <a:gd name="connsiteX246" fmla="*/ 9495 w 10000"/>
                <a:gd name="connsiteY246" fmla="*/ 831 h 10000"/>
                <a:gd name="connsiteX247" fmla="*/ 9077 w 10000"/>
                <a:gd name="connsiteY247" fmla="*/ 517 h 10000"/>
                <a:gd name="connsiteX248" fmla="*/ 8872 w 10000"/>
                <a:gd name="connsiteY248" fmla="*/ 440 h 10000"/>
                <a:gd name="connsiteX249" fmla="*/ 8493 w 10000"/>
                <a:gd name="connsiteY249" fmla="*/ 389 h 10000"/>
                <a:gd name="connsiteX250" fmla="*/ 7709 w 10000"/>
                <a:gd name="connsiteY250" fmla="*/ 26 h 10000"/>
                <a:gd name="connsiteX251" fmla="*/ 7683 w 10000"/>
                <a:gd name="connsiteY251" fmla="*/ 2 h 10000"/>
                <a:gd name="connsiteX252" fmla="*/ 7417 w 10000"/>
                <a:gd name="connsiteY252" fmla="*/ 0 h 10000"/>
                <a:gd name="connsiteX253" fmla="*/ 7356 w 10000"/>
                <a:gd name="connsiteY253" fmla="*/ 14 h 10000"/>
                <a:gd name="connsiteX254" fmla="*/ 7369 w 10000"/>
                <a:gd name="connsiteY254" fmla="*/ 61 h 10000"/>
                <a:gd name="connsiteX255" fmla="*/ 7422 w 10000"/>
                <a:gd name="connsiteY255" fmla="*/ 86 h 10000"/>
                <a:gd name="connsiteX256" fmla="*/ 7435 w 10000"/>
                <a:gd name="connsiteY256" fmla="*/ 139 h 10000"/>
                <a:gd name="connsiteX257" fmla="*/ 7417 w 10000"/>
                <a:gd name="connsiteY257" fmla="*/ 181 h 10000"/>
                <a:gd name="connsiteX258" fmla="*/ 7369 w 10000"/>
                <a:gd name="connsiteY258" fmla="*/ 208 h 10000"/>
                <a:gd name="connsiteX259" fmla="*/ 7334 w 10000"/>
                <a:gd name="connsiteY259" fmla="*/ 283 h 10000"/>
                <a:gd name="connsiteX260" fmla="*/ 7269 w 10000"/>
                <a:gd name="connsiteY260" fmla="*/ 336 h 10000"/>
                <a:gd name="connsiteX261" fmla="*/ 7282 w 10000"/>
                <a:gd name="connsiteY261" fmla="*/ 387 h 10000"/>
                <a:gd name="connsiteX262" fmla="*/ 7382 w 10000"/>
                <a:gd name="connsiteY262" fmla="*/ 434 h 10000"/>
                <a:gd name="connsiteX263" fmla="*/ 7317 w 10000"/>
                <a:gd name="connsiteY263" fmla="*/ 475 h 10000"/>
                <a:gd name="connsiteX264" fmla="*/ 7221 w 10000"/>
                <a:gd name="connsiteY264" fmla="*/ 485 h 10000"/>
                <a:gd name="connsiteX265" fmla="*/ 6420 w 10000"/>
                <a:gd name="connsiteY265" fmla="*/ 387 h 10000"/>
                <a:gd name="connsiteX266" fmla="*/ 6324 w 10000"/>
                <a:gd name="connsiteY266" fmla="*/ 395 h 10000"/>
                <a:gd name="connsiteX267" fmla="*/ 6267 w 10000"/>
                <a:gd name="connsiteY267" fmla="*/ 414 h 10000"/>
                <a:gd name="connsiteX268" fmla="*/ 6211 w 10000"/>
                <a:gd name="connsiteY268" fmla="*/ 462 h 10000"/>
                <a:gd name="connsiteX269" fmla="*/ 6220 w 10000"/>
                <a:gd name="connsiteY269" fmla="*/ 581 h 10000"/>
                <a:gd name="connsiteX270" fmla="*/ 6132 w 10000"/>
                <a:gd name="connsiteY270" fmla="*/ 735 h 10000"/>
                <a:gd name="connsiteX271" fmla="*/ 6024 w 10000"/>
                <a:gd name="connsiteY271" fmla="*/ 815 h 10000"/>
                <a:gd name="connsiteX272" fmla="*/ 5980 w 10000"/>
                <a:gd name="connsiteY272" fmla="*/ 805 h 10000"/>
                <a:gd name="connsiteX273" fmla="*/ 5880 w 10000"/>
                <a:gd name="connsiteY273" fmla="*/ 739 h 10000"/>
                <a:gd name="connsiteX274" fmla="*/ 5753 w 10000"/>
                <a:gd name="connsiteY274" fmla="*/ 705 h 10000"/>
                <a:gd name="connsiteX275" fmla="*/ 5618 w 10000"/>
                <a:gd name="connsiteY275" fmla="*/ 715 h 10000"/>
                <a:gd name="connsiteX276" fmla="*/ 5301 w 10000"/>
                <a:gd name="connsiteY276" fmla="*/ 866 h 10000"/>
                <a:gd name="connsiteX277" fmla="*/ 5218 w 10000"/>
                <a:gd name="connsiteY277" fmla="*/ 1017 h 10000"/>
                <a:gd name="connsiteX278" fmla="*/ 4978 w 10000"/>
                <a:gd name="connsiteY278" fmla="*/ 1153 h 10000"/>
                <a:gd name="connsiteX279" fmla="*/ 4935 w 10000"/>
                <a:gd name="connsiteY279" fmla="*/ 1222 h 10000"/>
                <a:gd name="connsiteX280" fmla="*/ 5061 w 10000"/>
                <a:gd name="connsiteY280" fmla="*/ 1344 h 10000"/>
                <a:gd name="connsiteX281" fmla="*/ 5074 w 10000"/>
                <a:gd name="connsiteY281" fmla="*/ 1412 h 10000"/>
                <a:gd name="connsiteX282" fmla="*/ 4421 w 10000"/>
                <a:gd name="connsiteY282" fmla="*/ 1813 h 10000"/>
                <a:gd name="connsiteX283" fmla="*/ 4220 w 10000"/>
                <a:gd name="connsiteY283" fmla="*/ 2070 h 10000"/>
                <a:gd name="connsiteX284" fmla="*/ 4003 w 10000"/>
                <a:gd name="connsiteY284" fmla="*/ 2135 h 10000"/>
                <a:gd name="connsiteX285" fmla="*/ 3868 w 10000"/>
                <a:gd name="connsiteY285" fmla="*/ 2131 h 10000"/>
                <a:gd name="connsiteX286" fmla="*/ 3785 w 10000"/>
                <a:gd name="connsiteY286" fmla="*/ 2153 h 10000"/>
                <a:gd name="connsiteX287" fmla="*/ 3558 w 10000"/>
                <a:gd name="connsiteY287" fmla="*/ 2793 h 10000"/>
                <a:gd name="connsiteX288" fmla="*/ 3036 w 10000"/>
                <a:gd name="connsiteY288" fmla="*/ 3166 h 10000"/>
                <a:gd name="connsiteX289" fmla="*/ 3040 w 10000"/>
                <a:gd name="connsiteY289" fmla="*/ 3225 h 10000"/>
                <a:gd name="connsiteX290" fmla="*/ 3271 w 10000"/>
                <a:gd name="connsiteY290" fmla="*/ 3392 h 10000"/>
                <a:gd name="connsiteX291" fmla="*/ 3197 w 10000"/>
                <a:gd name="connsiteY291" fmla="*/ 3573 h 10000"/>
                <a:gd name="connsiteX292" fmla="*/ 3062 w 10000"/>
                <a:gd name="connsiteY292" fmla="*/ 3640 h 10000"/>
                <a:gd name="connsiteX293" fmla="*/ 2657 w 10000"/>
                <a:gd name="connsiteY293" fmla="*/ 3595 h 10000"/>
                <a:gd name="connsiteX294" fmla="*/ 2378 w 10000"/>
                <a:gd name="connsiteY294" fmla="*/ 3620 h 10000"/>
                <a:gd name="connsiteX295" fmla="*/ 2152 w 10000"/>
                <a:gd name="connsiteY295" fmla="*/ 3673 h 10000"/>
                <a:gd name="connsiteX296" fmla="*/ 1790 w 10000"/>
                <a:gd name="connsiteY296" fmla="*/ 3840 h 10000"/>
                <a:gd name="connsiteX297" fmla="*/ 1598 w 10000"/>
                <a:gd name="connsiteY297" fmla="*/ 4042 h 10000"/>
                <a:gd name="connsiteX298" fmla="*/ 1616 w 10000"/>
                <a:gd name="connsiteY298" fmla="*/ 4154 h 10000"/>
                <a:gd name="connsiteX299" fmla="*/ 1681 w 10000"/>
                <a:gd name="connsiteY299" fmla="*/ 4241 h 10000"/>
                <a:gd name="connsiteX300" fmla="*/ 1733 w 10000"/>
                <a:gd name="connsiteY300" fmla="*/ 4276 h 10000"/>
                <a:gd name="connsiteX301" fmla="*/ 1638 w 10000"/>
                <a:gd name="connsiteY301" fmla="*/ 4331 h 10000"/>
                <a:gd name="connsiteX302" fmla="*/ 1433 w 10000"/>
                <a:gd name="connsiteY302" fmla="*/ 4710 h 10000"/>
                <a:gd name="connsiteX303" fmla="*/ 1472 w 10000"/>
                <a:gd name="connsiteY303" fmla="*/ 4732 h 10000"/>
                <a:gd name="connsiteX304" fmla="*/ 1503 w 10000"/>
                <a:gd name="connsiteY304" fmla="*/ 4828 h 10000"/>
                <a:gd name="connsiteX305" fmla="*/ 1407 w 10000"/>
                <a:gd name="connsiteY305" fmla="*/ 5227 h 10000"/>
                <a:gd name="connsiteX306" fmla="*/ 1503 w 10000"/>
                <a:gd name="connsiteY306" fmla="*/ 5329 h 10000"/>
                <a:gd name="connsiteX307" fmla="*/ 1764 w 10000"/>
                <a:gd name="connsiteY307" fmla="*/ 5441 h 10000"/>
                <a:gd name="connsiteX308" fmla="*/ 1777 w 10000"/>
                <a:gd name="connsiteY308" fmla="*/ 5578 h 10000"/>
                <a:gd name="connsiteX309" fmla="*/ 1664 w 10000"/>
                <a:gd name="connsiteY309" fmla="*/ 5690 h 10000"/>
                <a:gd name="connsiteX310" fmla="*/ 1503 w 10000"/>
                <a:gd name="connsiteY310" fmla="*/ 5759 h 10000"/>
                <a:gd name="connsiteX311" fmla="*/ 1289 w 10000"/>
                <a:gd name="connsiteY311" fmla="*/ 5787 h 10000"/>
                <a:gd name="connsiteX312" fmla="*/ 1233 w 10000"/>
                <a:gd name="connsiteY312" fmla="*/ 5826 h 10000"/>
                <a:gd name="connsiteX313" fmla="*/ 1359 w 10000"/>
                <a:gd name="connsiteY313" fmla="*/ 5920 h 10000"/>
                <a:gd name="connsiteX314" fmla="*/ 1429 w 10000"/>
                <a:gd name="connsiteY314" fmla="*/ 6142 h 10000"/>
                <a:gd name="connsiteX315" fmla="*/ 1267 w 10000"/>
                <a:gd name="connsiteY315" fmla="*/ 6333 h 10000"/>
                <a:gd name="connsiteX316" fmla="*/ 1324 w 10000"/>
                <a:gd name="connsiteY316" fmla="*/ 6392 h 10000"/>
                <a:gd name="connsiteX317" fmla="*/ 1272 w 10000"/>
                <a:gd name="connsiteY317" fmla="*/ 6492 h 10000"/>
                <a:gd name="connsiteX318" fmla="*/ 1167 w 10000"/>
                <a:gd name="connsiteY318" fmla="*/ 6561 h 10000"/>
                <a:gd name="connsiteX319" fmla="*/ 758 w 10000"/>
                <a:gd name="connsiteY319" fmla="*/ 6614 h 10000"/>
                <a:gd name="connsiteX320" fmla="*/ 732 w 10000"/>
                <a:gd name="connsiteY320" fmla="*/ 6706 h 10000"/>
                <a:gd name="connsiteX321" fmla="*/ 510 w 10000"/>
                <a:gd name="connsiteY321" fmla="*/ 6843 h 10000"/>
                <a:gd name="connsiteX322" fmla="*/ 540 w 10000"/>
                <a:gd name="connsiteY322" fmla="*/ 7040 h 10000"/>
                <a:gd name="connsiteX323" fmla="*/ 353 w 10000"/>
                <a:gd name="connsiteY323" fmla="*/ 7293 h 10000"/>
                <a:gd name="connsiteX324" fmla="*/ 226 w 10000"/>
                <a:gd name="connsiteY324" fmla="*/ 7323 h 10000"/>
                <a:gd name="connsiteX325" fmla="*/ 174 w 10000"/>
                <a:gd name="connsiteY325" fmla="*/ 7262 h 10000"/>
                <a:gd name="connsiteX326" fmla="*/ 109 w 10000"/>
                <a:gd name="connsiteY326" fmla="*/ 7354 h 10000"/>
                <a:gd name="connsiteX327" fmla="*/ 152 w 10000"/>
                <a:gd name="connsiteY327" fmla="*/ 7197 h 10000"/>
                <a:gd name="connsiteX328" fmla="*/ 126 w 10000"/>
                <a:gd name="connsiteY328"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402 w 10000"/>
                <a:gd name="connsiteY207" fmla="*/ 2662 h 10000"/>
                <a:gd name="connsiteX208" fmla="*/ 8449 w 10000"/>
                <a:gd name="connsiteY208" fmla="*/ 2656 h 10000"/>
                <a:gd name="connsiteX209" fmla="*/ 8593 w 10000"/>
                <a:gd name="connsiteY209" fmla="*/ 2669 h 10000"/>
                <a:gd name="connsiteX210" fmla="*/ 8558 w 10000"/>
                <a:gd name="connsiteY210" fmla="*/ 2481 h 10000"/>
                <a:gd name="connsiteX211" fmla="*/ 8558 w 10000"/>
                <a:gd name="connsiteY211" fmla="*/ 2459 h 10000"/>
                <a:gd name="connsiteX212" fmla="*/ 8698 w 10000"/>
                <a:gd name="connsiteY212" fmla="*/ 2504 h 10000"/>
                <a:gd name="connsiteX213" fmla="*/ 8763 w 10000"/>
                <a:gd name="connsiteY213" fmla="*/ 2548 h 10000"/>
                <a:gd name="connsiteX214" fmla="*/ 8815 w 10000"/>
                <a:gd name="connsiteY214" fmla="*/ 2548 h 10000"/>
                <a:gd name="connsiteX215" fmla="*/ 8789 w 10000"/>
                <a:gd name="connsiteY215" fmla="*/ 2457 h 10000"/>
                <a:gd name="connsiteX216" fmla="*/ 8798 w 10000"/>
                <a:gd name="connsiteY216" fmla="*/ 2467 h 10000"/>
                <a:gd name="connsiteX217" fmla="*/ 8841 w 10000"/>
                <a:gd name="connsiteY217" fmla="*/ 2457 h 10000"/>
                <a:gd name="connsiteX218" fmla="*/ 8855 w 10000"/>
                <a:gd name="connsiteY218" fmla="*/ 2341 h 10000"/>
                <a:gd name="connsiteX219" fmla="*/ 8898 w 10000"/>
                <a:gd name="connsiteY219" fmla="*/ 2332 h 10000"/>
                <a:gd name="connsiteX220" fmla="*/ 8946 w 10000"/>
                <a:gd name="connsiteY220" fmla="*/ 2330 h 10000"/>
                <a:gd name="connsiteX221" fmla="*/ 8946 w 10000"/>
                <a:gd name="connsiteY221" fmla="*/ 2361 h 10000"/>
                <a:gd name="connsiteX222" fmla="*/ 8994 w 10000"/>
                <a:gd name="connsiteY222" fmla="*/ 2389 h 10000"/>
                <a:gd name="connsiteX223" fmla="*/ 9051 w 10000"/>
                <a:gd name="connsiteY223" fmla="*/ 2400 h 10000"/>
                <a:gd name="connsiteX224" fmla="*/ 9094 w 10000"/>
                <a:gd name="connsiteY224" fmla="*/ 2324 h 10000"/>
                <a:gd name="connsiteX225" fmla="*/ 9164 w 10000"/>
                <a:gd name="connsiteY225" fmla="*/ 2347 h 10000"/>
                <a:gd name="connsiteX226" fmla="*/ 9247 w 10000"/>
                <a:gd name="connsiteY226" fmla="*/ 2402 h 10000"/>
                <a:gd name="connsiteX227" fmla="*/ 9286 w 10000"/>
                <a:gd name="connsiteY227" fmla="*/ 2400 h 10000"/>
                <a:gd name="connsiteX228" fmla="*/ 9355 w 10000"/>
                <a:gd name="connsiteY228" fmla="*/ 2428 h 10000"/>
                <a:gd name="connsiteX229" fmla="*/ 9408 w 10000"/>
                <a:gd name="connsiteY229" fmla="*/ 2359 h 10000"/>
                <a:gd name="connsiteX230" fmla="*/ 9717 w 10000"/>
                <a:gd name="connsiteY230" fmla="*/ 2343 h 10000"/>
                <a:gd name="connsiteX231" fmla="*/ 9830 w 10000"/>
                <a:gd name="connsiteY231" fmla="*/ 2369 h 10000"/>
                <a:gd name="connsiteX232" fmla="*/ 9909 w 10000"/>
                <a:gd name="connsiteY232" fmla="*/ 2410 h 10000"/>
                <a:gd name="connsiteX233" fmla="*/ 9948 w 10000"/>
                <a:gd name="connsiteY233" fmla="*/ 2365 h 10000"/>
                <a:gd name="connsiteX234" fmla="*/ 10000 w 10000"/>
                <a:gd name="connsiteY234" fmla="*/ 2349 h 10000"/>
                <a:gd name="connsiteX235" fmla="*/ 9704 w 10000"/>
                <a:gd name="connsiteY235" fmla="*/ 1992 h 10000"/>
                <a:gd name="connsiteX236" fmla="*/ 9743 w 10000"/>
                <a:gd name="connsiteY236" fmla="*/ 1897 h 10000"/>
                <a:gd name="connsiteX237" fmla="*/ 9830 w 10000"/>
                <a:gd name="connsiteY237" fmla="*/ 1819 h 10000"/>
                <a:gd name="connsiteX238" fmla="*/ 9830 w 10000"/>
                <a:gd name="connsiteY238" fmla="*/ 1699 h 10000"/>
                <a:gd name="connsiteX239" fmla="*/ 9556 w 10000"/>
                <a:gd name="connsiteY239" fmla="*/ 1465 h 10000"/>
                <a:gd name="connsiteX240" fmla="*/ 9512 w 10000"/>
                <a:gd name="connsiteY240" fmla="*/ 1379 h 10000"/>
                <a:gd name="connsiteX241" fmla="*/ 9573 w 10000"/>
                <a:gd name="connsiteY241" fmla="*/ 1271 h 10000"/>
                <a:gd name="connsiteX242" fmla="*/ 9543 w 10000"/>
                <a:gd name="connsiteY242" fmla="*/ 1194 h 10000"/>
                <a:gd name="connsiteX243" fmla="*/ 9486 w 10000"/>
                <a:gd name="connsiteY243" fmla="*/ 1159 h 10000"/>
                <a:gd name="connsiteX244" fmla="*/ 9438 w 10000"/>
                <a:gd name="connsiteY244" fmla="*/ 978 h 10000"/>
                <a:gd name="connsiteX245" fmla="*/ 9495 w 10000"/>
                <a:gd name="connsiteY245" fmla="*/ 831 h 10000"/>
                <a:gd name="connsiteX246" fmla="*/ 9077 w 10000"/>
                <a:gd name="connsiteY246" fmla="*/ 517 h 10000"/>
                <a:gd name="connsiteX247" fmla="*/ 8872 w 10000"/>
                <a:gd name="connsiteY247" fmla="*/ 440 h 10000"/>
                <a:gd name="connsiteX248" fmla="*/ 8493 w 10000"/>
                <a:gd name="connsiteY248" fmla="*/ 389 h 10000"/>
                <a:gd name="connsiteX249" fmla="*/ 7709 w 10000"/>
                <a:gd name="connsiteY249" fmla="*/ 26 h 10000"/>
                <a:gd name="connsiteX250" fmla="*/ 7683 w 10000"/>
                <a:gd name="connsiteY250" fmla="*/ 2 h 10000"/>
                <a:gd name="connsiteX251" fmla="*/ 7417 w 10000"/>
                <a:gd name="connsiteY251" fmla="*/ 0 h 10000"/>
                <a:gd name="connsiteX252" fmla="*/ 7356 w 10000"/>
                <a:gd name="connsiteY252" fmla="*/ 14 h 10000"/>
                <a:gd name="connsiteX253" fmla="*/ 7369 w 10000"/>
                <a:gd name="connsiteY253" fmla="*/ 61 h 10000"/>
                <a:gd name="connsiteX254" fmla="*/ 7422 w 10000"/>
                <a:gd name="connsiteY254" fmla="*/ 86 h 10000"/>
                <a:gd name="connsiteX255" fmla="*/ 7435 w 10000"/>
                <a:gd name="connsiteY255" fmla="*/ 139 h 10000"/>
                <a:gd name="connsiteX256" fmla="*/ 7417 w 10000"/>
                <a:gd name="connsiteY256" fmla="*/ 181 h 10000"/>
                <a:gd name="connsiteX257" fmla="*/ 7369 w 10000"/>
                <a:gd name="connsiteY257" fmla="*/ 208 h 10000"/>
                <a:gd name="connsiteX258" fmla="*/ 7334 w 10000"/>
                <a:gd name="connsiteY258" fmla="*/ 283 h 10000"/>
                <a:gd name="connsiteX259" fmla="*/ 7269 w 10000"/>
                <a:gd name="connsiteY259" fmla="*/ 336 h 10000"/>
                <a:gd name="connsiteX260" fmla="*/ 7282 w 10000"/>
                <a:gd name="connsiteY260" fmla="*/ 387 h 10000"/>
                <a:gd name="connsiteX261" fmla="*/ 7382 w 10000"/>
                <a:gd name="connsiteY261" fmla="*/ 434 h 10000"/>
                <a:gd name="connsiteX262" fmla="*/ 7317 w 10000"/>
                <a:gd name="connsiteY262" fmla="*/ 475 h 10000"/>
                <a:gd name="connsiteX263" fmla="*/ 7221 w 10000"/>
                <a:gd name="connsiteY263" fmla="*/ 485 h 10000"/>
                <a:gd name="connsiteX264" fmla="*/ 6420 w 10000"/>
                <a:gd name="connsiteY264" fmla="*/ 387 h 10000"/>
                <a:gd name="connsiteX265" fmla="*/ 6324 w 10000"/>
                <a:gd name="connsiteY265" fmla="*/ 395 h 10000"/>
                <a:gd name="connsiteX266" fmla="*/ 6267 w 10000"/>
                <a:gd name="connsiteY266" fmla="*/ 414 h 10000"/>
                <a:gd name="connsiteX267" fmla="*/ 6211 w 10000"/>
                <a:gd name="connsiteY267" fmla="*/ 462 h 10000"/>
                <a:gd name="connsiteX268" fmla="*/ 6220 w 10000"/>
                <a:gd name="connsiteY268" fmla="*/ 581 h 10000"/>
                <a:gd name="connsiteX269" fmla="*/ 6132 w 10000"/>
                <a:gd name="connsiteY269" fmla="*/ 735 h 10000"/>
                <a:gd name="connsiteX270" fmla="*/ 6024 w 10000"/>
                <a:gd name="connsiteY270" fmla="*/ 815 h 10000"/>
                <a:gd name="connsiteX271" fmla="*/ 5980 w 10000"/>
                <a:gd name="connsiteY271" fmla="*/ 805 h 10000"/>
                <a:gd name="connsiteX272" fmla="*/ 5880 w 10000"/>
                <a:gd name="connsiteY272" fmla="*/ 739 h 10000"/>
                <a:gd name="connsiteX273" fmla="*/ 5753 w 10000"/>
                <a:gd name="connsiteY273" fmla="*/ 705 h 10000"/>
                <a:gd name="connsiteX274" fmla="*/ 5618 w 10000"/>
                <a:gd name="connsiteY274" fmla="*/ 715 h 10000"/>
                <a:gd name="connsiteX275" fmla="*/ 5301 w 10000"/>
                <a:gd name="connsiteY275" fmla="*/ 866 h 10000"/>
                <a:gd name="connsiteX276" fmla="*/ 5218 w 10000"/>
                <a:gd name="connsiteY276" fmla="*/ 1017 h 10000"/>
                <a:gd name="connsiteX277" fmla="*/ 4978 w 10000"/>
                <a:gd name="connsiteY277" fmla="*/ 1153 h 10000"/>
                <a:gd name="connsiteX278" fmla="*/ 4935 w 10000"/>
                <a:gd name="connsiteY278" fmla="*/ 1222 h 10000"/>
                <a:gd name="connsiteX279" fmla="*/ 5061 w 10000"/>
                <a:gd name="connsiteY279" fmla="*/ 1344 h 10000"/>
                <a:gd name="connsiteX280" fmla="*/ 5074 w 10000"/>
                <a:gd name="connsiteY280" fmla="*/ 1412 h 10000"/>
                <a:gd name="connsiteX281" fmla="*/ 4421 w 10000"/>
                <a:gd name="connsiteY281" fmla="*/ 1813 h 10000"/>
                <a:gd name="connsiteX282" fmla="*/ 4220 w 10000"/>
                <a:gd name="connsiteY282" fmla="*/ 2070 h 10000"/>
                <a:gd name="connsiteX283" fmla="*/ 4003 w 10000"/>
                <a:gd name="connsiteY283" fmla="*/ 2135 h 10000"/>
                <a:gd name="connsiteX284" fmla="*/ 3868 w 10000"/>
                <a:gd name="connsiteY284" fmla="*/ 2131 h 10000"/>
                <a:gd name="connsiteX285" fmla="*/ 3785 w 10000"/>
                <a:gd name="connsiteY285" fmla="*/ 2153 h 10000"/>
                <a:gd name="connsiteX286" fmla="*/ 3558 w 10000"/>
                <a:gd name="connsiteY286" fmla="*/ 2793 h 10000"/>
                <a:gd name="connsiteX287" fmla="*/ 3036 w 10000"/>
                <a:gd name="connsiteY287" fmla="*/ 3166 h 10000"/>
                <a:gd name="connsiteX288" fmla="*/ 3040 w 10000"/>
                <a:gd name="connsiteY288" fmla="*/ 3225 h 10000"/>
                <a:gd name="connsiteX289" fmla="*/ 3271 w 10000"/>
                <a:gd name="connsiteY289" fmla="*/ 3392 h 10000"/>
                <a:gd name="connsiteX290" fmla="*/ 3197 w 10000"/>
                <a:gd name="connsiteY290" fmla="*/ 3573 h 10000"/>
                <a:gd name="connsiteX291" fmla="*/ 3062 w 10000"/>
                <a:gd name="connsiteY291" fmla="*/ 3640 h 10000"/>
                <a:gd name="connsiteX292" fmla="*/ 2657 w 10000"/>
                <a:gd name="connsiteY292" fmla="*/ 3595 h 10000"/>
                <a:gd name="connsiteX293" fmla="*/ 2378 w 10000"/>
                <a:gd name="connsiteY293" fmla="*/ 3620 h 10000"/>
                <a:gd name="connsiteX294" fmla="*/ 2152 w 10000"/>
                <a:gd name="connsiteY294" fmla="*/ 3673 h 10000"/>
                <a:gd name="connsiteX295" fmla="*/ 1790 w 10000"/>
                <a:gd name="connsiteY295" fmla="*/ 3840 h 10000"/>
                <a:gd name="connsiteX296" fmla="*/ 1598 w 10000"/>
                <a:gd name="connsiteY296" fmla="*/ 4042 h 10000"/>
                <a:gd name="connsiteX297" fmla="*/ 1616 w 10000"/>
                <a:gd name="connsiteY297" fmla="*/ 4154 h 10000"/>
                <a:gd name="connsiteX298" fmla="*/ 1681 w 10000"/>
                <a:gd name="connsiteY298" fmla="*/ 4241 h 10000"/>
                <a:gd name="connsiteX299" fmla="*/ 1733 w 10000"/>
                <a:gd name="connsiteY299" fmla="*/ 4276 h 10000"/>
                <a:gd name="connsiteX300" fmla="*/ 1638 w 10000"/>
                <a:gd name="connsiteY300" fmla="*/ 4331 h 10000"/>
                <a:gd name="connsiteX301" fmla="*/ 1433 w 10000"/>
                <a:gd name="connsiteY301" fmla="*/ 4710 h 10000"/>
                <a:gd name="connsiteX302" fmla="*/ 1472 w 10000"/>
                <a:gd name="connsiteY302" fmla="*/ 4732 h 10000"/>
                <a:gd name="connsiteX303" fmla="*/ 1503 w 10000"/>
                <a:gd name="connsiteY303" fmla="*/ 4828 h 10000"/>
                <a:gd name="connsiteX304" fmla="*/ 1407 w 10000"/>
                <a:gd name="connsiteY304" fmla="*/ 5227 h 10000"/>
                <a:gd name="connsiteX305" fmla="*/ 1503 w 10000"/>
                <a:gd name="connsiteY305" fmla="*/ 5329 h 10000"/>
                <a:gd name="connsiteX306" fmla="*/ 1764 w 10000"/>
                <a:gd name="connsiteY306" fmla="*/ 5441 h 10000"/>
                <a:gd name="connsiteX307" fmla="*/ 1777 w 10000"/>
                <a:gd name="connsiteY307" fmla="*/ 5578 h 10000"/>
                <a:gd name="connsiteX308" fmla="*/ 1664 w 10000"/>
                <a:gd name="connsiteY308" fmla="*/ 5690 h 10000"/>
                <a:gd name="connsiteX309" fmla="*/ 1503 w 10000"/>
                <a:gd name="connsiteY309" fmla="*/ 5759 h 10000"/>
                <a:gd name="connsiteX310" fmla="*/ 1289 w 10000"/>
                <a:gd name="connsiteY310" fmla="*/ 5787 h 10000"/>
                <a:gd name="connsiteX311" fmla="*/ 1233 w 10000"/>
                <a:gd name="connsiteY311" fmla="*/ 5826 h 10000"/>
                <a:gd name="connsiteX312" fmla="*/ 1359 w 10000"/>
                <a:gd name="connsiteY312" fmla="*/ 5920 h 10000"/>
                <a:gd name="connsiteX313" fmla="*/ 1429 w 10000"/>
                <a:gd name="connsiteY313" fmla="*/ 6142 h 10000"/>
                <a:gd name="connsiteX314" fmla="*/ 1267 w 10000"/>
                <a:gd name="connsiteY314" fmla="*/ 6333 h 10000"/>
                <a:gd name="connsiteX315" fmla="*/ 1324 w 10000"/>
                <a:gd name="connsiteY315" fmla="*/ 6392 h 10000"/>
                <a:gd name="connsiteX316" fmla="*/ 1272 w 10000"/>
                <a:gd name="connsiteY316" fmla="*/ 6492 h 10000"/>
                <a:gd name="connsiteX317" fmla="*/ 1167 w 10000"/>
                <a:gd name="connsiteY317" fmla="*/ 6561 h 10000"/>
                <a:gd name="connsiteX318" fmla="*/ 758 w 10000"/>
                <a:gd name="connsiteY318" fmla="*/ 6614 h 10000"/>
                <a:gd name="connsiteX319" fmla="*/ 732 w 10000"/>
                <a:gd name="connsiteY319" fmla="*/ 6706 h 10000"/>
                <a:gd name="connsiteX320" fmla="*/ 510 w 10000"/>
                <a:gd name="connsiteY320" fmla="*/ 6843 h 10000"/>
                <a:gd name="connsiteX321" fmla="*/ 540 w 10000"/>
                <a:gd name="connsiteY321" fmla="*/ 7040 h 10000"/>
                <a:gd name="connsiteX322" fmla="*/ 353 w 10000"/>
                <a:gd name="connsiteY322" fmla="*/ 7293 h 10000"/>
                <a:gd name="connsiteX323" fmla="*/ 226 w 10000"/>
                <a:gd name="connsiteY323" fmla="*/ 7323 h 10000"/>
                <a:gd name="connsiteX324" fmla="*/ 174 w 10000"/>
                <a:gd name="connsiteY324" fmla="*/ 7262 h 10000"/>
                <a:gd name="connsiteX325" fmla="*/ 109 w 10000"/>
                <a:gd name="connsiteY325" fmla="*/ 7354 h 10000"/>
                <a:gd name="connsiteX326" fmla="*/ 152 w 10000"/>
                <a:gd name="connsiteY326" fmla="*/ 7197 h 10000"/>
                <a:gd name="connsiteX327" fmla="*/ 126 w 10000"/>
                <a:gd name="connsiteY327"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402 w 10000"/>
                <a:gd name="connsiteY207" fmla="*/ 2662 h 10000"/>
                <a:gd name="connsiteX208" fmla="*/ 8449 w 10000"/>
                <a:gd name="connsiteY208" fmla="*/ 2656 h 10000"/>
                <a:gd name="connsiteX209" fmla="*/ 8558 w 10000"/>
                <a:gd name="connsiteY209" fmla="*/ 2481 h 10000"/>
                <a:gd name="connsiteX210" fmla="*/ 8558 w 10000"/>
                <a:gd name="connsiteY210" fmla="*/ 2459 h 10000"/>
                <a:gd name="connsiteX211" fmla="*/ 8698 w 10000"/>
                <a:gd name="connsiteY211" fmla="*/ 2504 h 10000"/>
                <a:gd name="connsiteX212" fmla="*/ 8763 w 10000"/>
                <a:gd name="connsiteY212" fmla="*/ 2548 h 10000"/>
                <a:gd name="connsiteX213" fmla="*/ 8815 w 10000"/>
                <a:gd name="connsiteY213" fmla="*/ 2548 h 10000"/>
                <a:gd name="connsiteX214" fmla="*/ 8789 w 10000"/>
                <a:gd name="connsiteY214" fmla="*/ 2457 h 10000"/>
                <a:gd name="connsiteX215" fmla="*/ 8798 w 10000"/>
                <a:gd name="connsiteY215" fmla="*/ 2467 h 10000"/>
                <a:gd name="connsiteX216" fmla="*/ 8841 w 10000"/>
                <a:gd name="connsiteY216" fmla="*/ 2457 h 10000"/>
                <a:gd name="connsiteX217" fmla="*/ 8855 w 10000"/>
                <a:gd name="connsiteY217" fmla="*/ 2341 h 10000"/>
                <a:gd name="connsiteX218" fmla="*/ 8898 w 10000"/>
                <a:gd name="connsiteY218" fmla="*/ 2332 h 10000"/>
                <a:gd name="connsiteX219" fmla="*/ 8946 w 10000"/>
                <a:gd name="connsiteY219" fmla="*/ 2330 h 10000"/>
                <a:gd name="connsiteX220" fmla="*/ 8946 w 10000"/>
                <a:gd name="connsiteY220" fmla="*/ 2361 h 10000"/>
                <a:gd name="connsiteX221" fmla="*/ 8994 w 10000"/>
                <a:gd name="connsiteY221" fmla="*/ 2389 h 10000"/>
                <a:gd name="connsiteX222" fmla="*/ 9051 w 10000"/>
                <a:gd name="connsiteY222" fmla="*/ 2400 h 10000"/>
                <a:gd name="connsiteX223" fmla="*/ 9094 w 10000"/>
                <a:gd name="connsiteY223" fmla="*/ 2324 h 10000"/>
                <a:gd name="connsiteX224" fmla="*/ 9164 w 10000"/>
                <a:gd name="connsiteY224" fmla="*/ 2347 h 10000"/>
                <a:gd name="connsiteX225" fmla="*/ 9247 w 10000"/>
                <a:gd name="connsiteY225" fmla="*/ 2402 h 10000"/>
                <a:gd name="connsiteX226" fmla="*/ 9286 w 10000"/>
                <a:gd name="connsiteY226" fmla="*/ 2400 h 10000"/>
                <a:gd name="connsiteX227" fmla="*/ 9355 w 10000"/>
                <a:gd name="connsiteY227" fmla="*/ 2428 h 10000"/>
                <a:gd name="connsiteX228" fmla="*/ 9408 w 10000"/>
                <a:gd name="connsiteY228" fmla="*/ 2359 h 10000"/>
                <a:gd name="connsiteX229" fmla="*/ 9717 w 10000"/>
                <a:gd name="connsiteY229" fmla="*/ 2343 h 10000"/>
                <a:gd name="connsiteX230" fmla="*/ 9830 w 10000"/>
                <a:gd name="connsiteY230" fmla="*/ 2369 h 10000"/>
                <a:gd name="connsiteX231" fmla="*/ 9909 w 10000"/>
                <a:gd name="connsiteY231" fmla="*/ 2410 h 10000"/>
                <a:gd name="connsiteX232" fmla="*/ 9948 w 10000"/>
                <a:gd name="connsiteY232" fmla="*/ 2365 h 10000"/>
                <a:gd name="connsiteX233" fmla="*/ 10000 w 10000"/>
                <a:gd name="connsiteY233" fmla="*/ 2349 h 10000"/>
                <a:gd name="connsiteX234" fmla="*/ 9704 w 10000"/>
                <a:gd name="connsiteY234" fmla="*/ 1992 h 10000"/>
                <a:gd name="connsiteX235" fmla="*/ 9743 w 10000"/>
                <a:gd name="connsiteY235" fmla="*/ 1897 h 10000"/>
                <a:gd name="connsiteX236" fmla="*/ 9830 w 10000"/>
                <a:gd name="connsiteY236" fmla="*/ 1819 h 10000"/>
                <a:gd name="connsiteX237" fmla="*/ 9830 w 10000"/>
                <a:gd name="connsiteY237" fmla="*/ 1699 h 10000"/>
                <a:gd name="connsiteX238" fmla="*/ 9556 w 10000"/>
                <a:gd name="connsiteY238" fmla="*/ 1465 h 10000"/>
                <a:gd name="connsiteX239" fmla="*/ 9512 w 10000"/>
                <a:gd name="connsiteY239" fmla="*/ 1379 h 10000"/>
                <a:gd name="connsiteX240" fmla="*/ 9573 w 10000"/>
                <a:gd name="connsiteY240" fmla="*/ 1271 h 10000"/>
                <a:gd name="connsiteX241" fmla="*/ 9543 w 10000"/>
                <a:gd name="connsiteY241" fmla="*/ 1194 h 10000"/>
                <a:gd name="connsiteX242" fmla="*/ 9486 w 10000"/>
                <a:gd name="connsiteY242" fmla="*/ 1159 h 10000"/>
                <a:gd name="connsiteX243" fmla="*/ 9438 w 10000"/>
                <a:gd name="connsiteY243" fmla="*/ 978 h 10000"/>
                <a:gd name="connsiteX244" fmla="*/ 9495 w 10000"/>
                <a:gd name="connsiteY244" fmla="*/ 831 h 10000"/>
                <a:gd name="connsiteX245" fmla="*/ 9077 w 10000"/>
                <a:gd name="connsiteY245" fmla="*/ 517 h 10000"/>
                <a:gd name="connsiteX246" fmla="*/ 8872 w 10000"/>
                <a:gd name="connsiteY246" fmla="*/ 440 h 10000"/>
                <a:gd name="connsiteX247" fmla="*/ 8493 w 10000"/>
                <a:gd name="connsiteY247" fmla="*/ 389 h 10000"/>
                <a:gd name="connsiteX248" fmla="*/ 7709 w 10000"/>
                <a:gd name="connsiteY248" fmla="*/ 26 h 10000"/>
                <a:gd name="connsiteX249" fmla="*/ 7683 w 10000"/>
                <a:gd name="connsiteY249" fmla="*/ 2 h 10000"/>
                <a:gd name="connsiteX250" fmla="*/ 7417 w 10000"/>
                <a:gd name="connsiteY250" fmla="*/ 0 h 10000"/>
                <a:gd name="connsiteX251" fmla="*/ 7356 w 10000"/>
                <a:gd name="connsiteY251" fmla="*/ 14 h 10000"/>
                <a:gd name="connsiteX252" fmla="*/ 7369 w 10000"/>
                <a:gd name="connsiteY252" fmla="*/ 61 h 10000"/>
                <a:gd name="connsiteX253" fmla="*/ 7422 w 10000"/>
                <a:gd name="connsiteY253" fmla="*/ 86 h 10000"/>
                <a:gd name="connsiteX254" fmla="*/ 7435 w 10000"/>
                <a:gd name="connsiteY254" fmla="*/ 139 h 10000"/>
                <a:gd name="connsiteX255" fmla="*/ 7417 w 10000"/>
                <a:gd name="connsiteY255" fmla="*/ 181 h 10000"/>
                <a:gd name="connsiteX256" fmla="*/ 7369 w 10000"/>
                <a:gd name="connsiteY256" fmla="*/ 208 h 10000"/>
                <a:gd name="connsiteX257" fmla="*/ 7334 w 10000"/>
                <a:gd name="connsiteY257" fmla="*/ 283 h 10000"/>
                <a:gd name="connsiteX258" fmla="*/ 7269 w 10000"/>
                <a:gd name="connsiteY258" fmla="*/ 336 h 10000"/>
                <a:gd name="connsiteX259" fmla="*/ 7282 w 10000"/>
                <a:gd name="connsiteY259" fmla="*/ 387 h 10000"/>
                <a:gd name="connsiteX260" fmla="*/ 7382 w 10000"/>
                <a:gd name="connsiteY260" fmla="*/ 434 h 10000"/>
                <a:gd name="connsiteX261" fmla="*/ 7317 w 10000"/>
                <a:gd name="connsiteY261" fmla="*/ 475 h 10000"/>
                <a:gd name="connsiteX262" fmla="*/ 7221 w 10000"/>
                <a:gd name="connsiteY262" fmla="*/ 485 h 10000"/>
                <a:gd name="connsiteX263" fmla="*/ 6420 w 10000"/>
                <a:gd name="connsiteY263" fmla="*/ 387 h 10000"/>
                <a:gd name="connsiteX264" fmla="*/ 6324 w 10000"/>
                <a:gd name="connsiteY264" fmla="*/ 395 h 10000"/>
                <a:gd name="connsiteX265" fmla="*/ 6267 w 10000"/>
                <a:gd name="connsiteY265" fmla="*/ 414 h 10000"/>
                <a:gd name="connsiteX266" fmla="*/ 6211 w 10000"/>
                <a:gd name="connsiteY266" fmla="*/ 462 h 10000"/>
                <a:gd name="connsiteX267" fmla="*/ 6220 w 10000"/>
                <a:gd name="connsiteY267" fmla="*/ 581 h 10000"/>
                <a:gd name="connsiteX268" fmla="*/ 6132 w 10000"/>
                <a:gd name="connsiteY268" fmla="*/ 735 h 10000"/>
                <a:gd name="connsiteX269" fmla="*/ 6024 w 10000"/>
                <a:gd name="connsiteY269" fmla="*/ 815 h 10000"/>
                <a:gd name="connsiteX270" fmla="*/ 5980 w 10000"/>
                <a:gd name="connsiteY270" fmla="*/ 805 h 10000"/>
                <a:gd name="connsiteX271" fmla="*/ 5880 w 10000"/>
                <a:gd name="connsiteY271" fmla="*/ 739 h 10000"/>
                <a:gd name="connsiteX272" fmla="*/ 5753 w 10000"/>
                <a:gd name="connsiteY272" fmla="*/ 705 h 10000"/>
                <a:gd name="connsiteX273" fmla="*/ 5618 w 10000"/>
                <a:gd name="connsiteY273" fmla="*/ 715 h 10000"/>
                <a:gd name="connsiteX274" fmla="*/ 5301 w 10000"/>
                <a:gd name="connsiteY274" fmla="*/ 866 h 10000"/>
                <a:gd name="connsiteX275" fmla="*/ 5218 w 10000"/>
                <a:gd name="connsiteY275" fmla="*/ 1017 h 10000"/>
                <a:gd name="connsiteX276" fmla="*/ 4978 w 10000"/>
                <a:gd name="connsiteY276" fmla="*/ 1153 h 10000"/>
                <a:gd name="connsiteX277" fmla="*/ 4935 w 10000"/>
                <a:gd name="connsiteY277" fmla="*/ 1222 h 10000"/>
                <a:gd name="connsiteX278" fmla="*/ 5061 w 10000"/>
                <a:gd name="connsiteY278" fmla="*/ 1344 h 10000"/>
                <a:gd name="connsiteX279" fmla="*/ 5074 w 10000"/>
                <a:gd name="connsiteY279" fmla="*/ 1412 h 10000"/>
                <a:gd name="connsiteX280" fmla="*/ 4421 w 10000"/>
                <a:gd name="connsiteY280" fmla="*/ 1813 h 10000"/>
                <a:gd name="connsiteX281" fmla="*/ 4220 w 10000"/>
                <a:gd name="connsiteY281" fmla="*/ 2070 h 10000"/>
                <a:gd name="connsiteX282" fmla="*/ 4003 w 10000"/>
                <a:gd name="connsiteY282" fmla="*/ 2135 h 10000"/>
                <a:gd name="connsiteX283" fmla="*/ 3868 w 10000"/>
                <a:gd name="connsiteY283" fmla="*/ 2131 h 10000"/>
                <a:gd name="connsiteX284" fmla="*/ 3785 w 10000"/>
                <a:gd name="connsiteY284" fmla="*/ 2153 h 10000"/>
                <a:gd name="connsiteX285" fmla="*/ 3558 w 10000"/>
                <a:gd name="connsiteY285" fmla="*/ 2793 h 10000"/>
                <a:gd name="connsiteX286" fmla="*/ 3036 w 10000"/>
                <a:gd name="connsiteY286" fmla="*/ 3166 h 10000"/>
                <a:gd name="connsiteX287" fmla="*/ 3040 w 10000"/>
                <a:gd name="connsiteY287" fmla="*/ 3225 h 10000"/>
                <a:gd name="connsiteX288" fmla="*/ 3271 w 10000"/>
                <a:gd name="connsiteY288" fmla="*/ 3392 h 10000"/>
                <a:gd name="connsiteX289" fmla="*/ 3197 w 10000"/>
                <a:gd name="connsiteY289" fmla="*/ 3573 h 10000"/>
                <a:gd name="connsiteX290" fmla="*/ 3062 w 10000"/>
                <a:gd name="connsiteY290" fmla="*/ 3640 h 10000"/>
                <a:gd name="connsiteX291" fmla="*/ 2657 w 10000"/>
                <a:gd name="connsiteY291" fmla="*/ 3595 h 10000"/>
                <a:gd name="connsiteX292" fmla="*/ 2378 w 10000"/>
                <a:gd name="connsiteY292" fmla="*/ 3620 h 10000"/>
                <a:gd name="connsiteX293" fmla="*/ 2152 w 10000"/>
                <a:gd name="connsiteY293" fmla="*/ 3673 h 10000"/>
                <a:gd name="connsiteX294" fmla="*/ 1790 w 10000"/>
                <a:gd name="connsiteY294" fmla="*/ 3840 h 10000"/>
                <a:gd name="connsiteX295" fmla="*/ 1598 w 10000"/>
                <a:gd name="connsiteY295" fmla="*/ 4042 h 10000"/>
                <a:gd name="connsiteX296" fmla="*/ 1616 w 10000"/>
                <a:gd name="connsiteY296" fmla="*/ 4154 h 10000"/>
                <a:gd name="connsiteX297" fmla="*/ 1681 w 10000"/>
                <a:gd name="connsiteY297" fmla="*/ 4241 h 10000"/>
                <a:gd name="connsiteX298" fmla="*/ 1733 w 10000"/>
                <a:gd name="connsiteY298" fmla="*/ 4276 h 10000"/>
                <a:gd name="connsiteX299" fmla="*/ 1638 w 10000"/>
                <a:gd name="connsiteY299" fmla="*/ 4331 h 10000"/>
                <a:gd name="connsiteX300" fmla="*/ 1433 w 10000"/>
                <a:gd name="connsiteY300" fmla="*/ 4710 h 10000"/>
                <a:gd name="connsiteX301" fmla="*/ 1472 w 10000"/>
                <a:gd name="connsiteY301" fmla="*/ 4732 h 10000"/>
                <a:gd name="connsiteX302" fmla="*/ 1503 w 10000"/>
                <a:gd name="connsiteY302" fmla="*/ 4828 h 10000"/>
                <a:gd name="connsiteX303" fmla="*/ 1407 w 10000"/>
                <a:gd name="connsiteY303" fmla="*/ 5227 h 10000"/>
                <a:gd name="connsiteX304" fmla="*/ 1503 w 10000"/>
                <a:gd name="connsiteY304" fmla="*/ 5329 h 10000"/>
                <a:gd name="connsiteX305" fmla="*/ 1764 w 10000"/>
                <a:gd name="connsiteY305" fmla="*/ 5441 h 10000"/>
                <a:gd name="connsiteX306" fmla="*/ 1777 w 10000"/>
                <a:gd name="connsiteY306" fmla="*/ 5578 h 10000"/>
                <a:gd name="connsiteX307" fmla="*/ 1664 w 10000"/>
                <a:gd name="connsiteY307" fmla="*/ 5690 h 10000"/>
                <a:gd name="connsiteX308" fmla="*/ 1503 w 10000"/>
                <a:gd name="connsiteY308" fmla="*/ 5759 h 10000"/>
                <a:gd name="connsiteX309" fmla="*/ 1289 w 10000"/>
                <a:gd name="connsiteY309" fmla="*/ 5787 h 10000"/>
                <a:gd name="connsiteX310" fmla="*/ 1233 w 10000"/>
                <a:gd name="connsiteY310" fmla="*/ 5826 h 10000"/>
                <a:gd name="connsiteX311" fmla="*/ 1359 w 10000"/>
                <a:gd name="connsiteY311" fmla="*/ 5920 h 10000"/>
                <a:gd name="connsiteX312" fmla="*/ 1429 w 10000"/>
                <a:gd name="connsiteY312" fmla="*/ 6142 h 10000"/>
                <a:gd name="connsiteX313" fmla="*/ 1267 w 10000"/>
                <a:gd name="connsiteY313" fmla="*/ 6333 h 10000"/>
                <a:gd name="connsiteX314" fmla="*/ 1324 w 10000"/>
                <a:gd name="connsiteY314" fmla="*/ 6392 h 10000"/>
                <a:gd name="connsiteX315" fmla="*/ 1272 w 10000"/>
                <a:gd name="connsiteY315" fmla="*/ 6492 h 10000"/>
                <a:gd name="connsiteX316" fmla="*/ 1167 w 10000"/>
                <a:gd name="connsiteY316" fmla="*/ 6561 h 10000"/>
                <a:gd name="connsiteX317" fmla="*/ 758 w 10000"/>
                <a:gd name="connsiteY317" fmla="*/ 6614 h 10000"/>
                <a:gd name="connsiteX318" fmla="*/ 732 w 10000"/>
                <a:gd name="connsiteY318" fmla="*/ 6706 h 10000"/>
                <a:gd name="connsiteX319" fmla="*/ 510 w 10000"/>
                <a:gd name="connsiteY319" fmla="*/ 6843 h 10000"/>
                <a:gd name="connsiteX320" fmla="*/ 540 w 10000"/>
                <a:gd name="connsiteY320" fmla="*/ 7040 h 10000"/>
                <a:gd name="connsiteX321" fmla="*/ 353 w 10000"/>
                <a:gd name="connsiteY321" fmla="*/ 7293 h 10000"/>
                <a:gd name="connsiteX322" fmla="*/ 226 w 10000"/>
                <a:gd name="connsiteY322" fmla="*/ 7323 h 10000"/>
                <a:gd name="connsiteX323" fmla="*/ 174 w 10000"/>
                <a:gd name="connsiteY323" fmla="*/ 7262 h 10000"/>
                <a:gd name="connsiteX324" fmla="*/ 109 w 10000"/>
                <a:gd name="connsiteY324" fmla="*/ 7354 h 10000"/>
                <a:gd name="connsiteX325" fmla="*/ 152 w 10000"/>
                <a:gd name="connsiteY325" fmla="*/ 7197 h 10000"/>
                <a:gd name="connsiteX326" fmla="*/ 126 w 10000"/>
                <a:gd name="connsiteY326"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402 w 10000"/>
                <a:gd name="connsiteY207" fmla="*/ 2662 h 10000"/>
                <a:gd name="connsiteX208" fmla="*/ 8558 w 10000"/>
                <a:gd name="connsiteY208" fmla="*/ 2481 h 10000"/>
                <a:gd name="connsiteX209" fmla="*/ 8558 w 10000"/>
                <a:gd name="connsiteY209" fmla="*/ 2459 h 10000"/>
                <a:gd name="connsiteX210" fmla="*/ 8698 w 10000"/>
                <a:gd name="connsiteY210" fmla="*/ 2504 h 10000"/>
                <a:gd name="connsiteX211" fmla="*/ 8763 w 10000"/>
                <a:gd name="connsiteY211" fmla="*/ 2548 h 10000"/>
                <a:gd name="connsiteX212" fmla="*/ 8815 w 10000"/>
                <a:gd name="connsiteY212" fmla="*/ 2548 h 10000"/>
                <a:gd name="connsiteX213" fmla="*/ 8789 w 10000"/>
                <a:gd name="connsiteY213" fmla="*/ 2457 h 10000"/>
                <a:gd name="connsiteX214" fmla="*/ 8798 w 10000"/>
                <a:gd name="connsiteY214" fmla="*/ 2467 h 10000"/>
                <a:gd name="connsiteX215" fmla="*/ 8841 w 10000"/>
                <a:gd name="connsiteY215" fmla="*/ 2457 h 10000"/>
                <a:gd name="connsiteX216" fmla="*/ 8855 w 10000"/>
                <a:gd name="connsiteY216" fmla="*/ 2341 h 10000"/>
                <a:gd name="connsiteX217" fmla="*/ 8898 w 10000"/>
                <a:gd name="connsiteY217" fmla="*/ 2332 h 10000"/>
                <a:gd name="connsiteX218" fmla="*/ 8946 w 10000"/>
                <a:gd name="connsiteY218" fmla="*/ 2330 h 10000"/>
                <a:gd name="connsiteX219" fmla="*/ 8946 w 10000"/>
                <a:gd name="connsiteY219" fmla="*/ 2361 h 10000"/>
                <a:gd name="connsiteX220" fmla="*/ 8994 w 10000"/>
                <a:gd name="connsiteY220" fmla="*/ 2389 h 10000"/>
                <a:gd name="connsiteX221" fmla="*/ 9051 w 10000"/>
                <a:gd name="connsiteY221" fmla="*/ 2400 h 10000"/>
                <a:gd name="connsiteX222" fmla="*/ 9094 w 10000"/>
                <a:gd name="connsiteY222" fmla="*/ 2324 h 10000"/>
                <a:gd name="connsiteX223" fmla="*/ 9164 w 10000"/>
                <a:gd name="connsiteY223" fmla="*/ 2347 h 10000"/>
                <a:gd name="connsiteX224" fmla="*/ 9247 w 10000"/>
                <a:gd name="connsiteY224" fmla="*/ 2402 h 10000"/>
                <a:gd name="connsiteX225" fmla="*/ 9286 w 10000"/>
                <a:gd name="connsiteY225" fmla="*/ 2400 h 10000"/>
                <a:gd name="connsiteX226" fmla="*/ 9355 w 10000"/>
                <a:gd name="connsiteY226" fmla="*/ 2428 h 10000"/>
                <a:gd name="connsiteX227" fmla="*/ 9408 w 10000"/>
                <a:gd name="connsiteY227" fmla="*/ 2359 h 10000"/>
                <a:gd name="connsiteX228" fmla="*/ 9717 w 10000"/>
                <a:gd name="connsiteY228" fmla="*/ 2343 h 10000"/>
                <a:gd name="connsiteX229" fmla="*/ 9830 w 10000"/>
                <a:gd name="connsiteY229" fmla="*/ 2369 h 10000"/>
                <a:gd name="connsiteX230" fmla="*/ 9909 w 10000"/>
                <a:gd name="connsiteY230" fmla="*/ 2410 h 10000"/>
                <a:gd name="connsiteX231" fmla="*/ 9948 w 10000"/>
                <a:gd name="connsiteY231" fmla="*/ 2365 h 10000"/>
                <a:gd name="connsiteX232" fmla="*/ 10000 w 10000"/>
                <a:gd name="connsiteY232" fmla="*/ 2349 h 10000"/>
                <a:gd name="connsiteX233" fmla="*/ 9704 w 10000"/>
                <a:gd name="connsiteY233" fmla="*/ 1992 h 10000"/>
                <a:gd name="connsiteX234" fmla="*/ 9743 w 10000"/>
                <a:gd name="connsiteY234" fmla="*/ 1897 h 10000"/>
                <a:gd name="connsiteX235" fmla="*/ 9830 w 10000"/>
                <a:gd name="connsiteY235" fmla="*/ 1819 h 10000"/>
                <a:gd name="connsiteX236" fmla="*/ 9830 w 10000"/>
                <a:gd name="connsiteY236" fmla="*/ 1699 h 10000"/>
                <a:gd name="connsiteX237" fmla="*/ 9556 w 10000"/>
                <a:gd name="connsiteY237" fmla="*/ 1465 h 10000"/>
                <a:gd name="connsiteX238" fmla="*/ 9512 w 10000"/>
                <a:gd name="connsiteY238" fmla="*/ 1379 h 10000"/>
                <a:gd name="connsiteX239" fmla="*/ 9573 w 10000"/>
                <a:gd name="connsiteY239" fmla="*/ 1271 h 10000"/>
                <a:gd name="connsiteX240" fmla="*/ 9543 w 10000"/>
                <a:gd name="connsiteY240" fmla="*/ 1194 h 10000"/>
                <a:gd name="connsiteX241" fmla="*/ 9486 w 10000"/>
                <a:gd name="connsiteY241" fmla="*/ 1159 h 10000"/>
                <a:gd name="connsiteX242" fmla="*/ 9438 w 10000"/>
                <a:gd name="connsiteY242" fmla="*/ 978 h 10000"/>
                <a:gd name="connsiteX243" fmla="*/ 9495 w 10000"/>
                <a:gd name="connsiteY243" fmla="*/ 831 h 10000"/>
                <a:gd name="connsiteX244" fmla="*/ 9077 w 10000"/>
                <a:gd name="connsiteY244" fmla="*/ 517 h 10000"/>
                <a:gd name="connsiteX245" fmla="*/ 8872 w 10000"/>
                <a:gd name="connsiteY245" fmla="*/ 440 h 10000"/>
                <a:gd name="connsiteX246" fmla="*/ 8493 w 10000"/>
                <a:gd name="connsiteY246" fmla="*/ 389 h 10000"/>
                <a:gd name="connsiteX247" fmla="*/ 7709 w 10000"/>
                <a:gd name="connsiteY247" fmla="*/ 26 h 10000"/>
                <a:gd name="connsiteX248" fmla="*/ 7683 w 10000"/>
                <a:gd name="connsiteY248" fmla="*/ 2 h 10000"/>
                <a:gd name="connsiteX249" fmla="*/ 7417 w 10000"/>
                <a:gd name="connsiteY249" fmla="*/ 0 h 10000"/>
                <a:gd name="connsiteX250" fmla="*/ 7356 w 10000"/>
                <a:gd name="connsiteY250" fmla="*/ 14 h 10000"/>
                <a:gd name="connsiteX251" fmla="*/ 7369 w 10000"/>
                <a:gd name="connsiteY251" fmla="*/ 61 h 10000"/>
                <a:gd name="connsiteX252" fmla="*/ 7422 w 10000"/>
                <a:gd name="connsiteY252" fmla="*/ 86 h 10000"/>
                <a:gd name="connsiteX253" fmla="*/ 7435 w 10000"/>
                <a:gd name="connsiteY253" fmla="*/ 139 h 10000"/>
                <a:gd name="connsiteX254" fmla="*/ 7417 w 10000"/>
                <a:gd name="connsiteY254" fmla="*/ 181 h 10000"/>
                <a:gd name="connsiteX255" fmla="*/ 7369 w 10000"/>
                <a:gd name="connsiteY255" fmla="*/ 208 h 10000"/>
                <a:gd name="connsiteX256" fmla="*/ 7334 w 10000"/>
                <a:gd name="connsiteY256" fmla="*/ 283 h 10000"/>
                <a:gd name="connsiteX257" fmla="*/ 7269 w 10000"/>
                <a:gd name="connsiteY257" fmla="*/ 336 h 10000"/>
                <a:gd name="connsiteX258" fmla="*/ 7282 w 10000"/>
                <a:gd name="connsiteY258" fmla="*/ 387 h 10000"/>
                <a:gd name="connsiteX259" fmla="*/ 7382 w 10000"/>
                <a:gd name="connsiteY259" fmla="*/ 434 h 10000"/>
                <a:gd name="connsiteX260" fmla="*/ 7317 w 10000"/>
                <a:gd name="connsiteY260" fmla="*/ 475 h 10000"/>
                <a:gd name="connsiteX261" fmla="*/ 7221 w 10000"/>
                <a:gd name="connsiteY261" fmla="*/ 485 h 10000"/>
                <a:gd name="connsiteX262" fmla="*/ 6420 w 10000"/>
                <a:gd name="connsiteY262" fmla="*/ 387 h 10000"/>
                <a:gd name="connsiteX263" fmla="*/ 6324 w 10000"/>
                <a:gd name="connsiteY263" fmla="*/ 395 h 10000"/>
                <a:gd name="connsiteX264" fmla="*/ 6267 w 10000"/>
                <a:gd name="connsiteY264" fmla="*/ 414 h 10000"/>
                <a:gd name="connsiteX265" fmla="*/ 6211 w 10000"/>
                <a:gd name="connsiteY265" fmla="*/ 462 h 10000"/>
                <a:gd name="connsiteX266" fmla="*/ 6220 w 10000"/>
                <a:gd name="connsiteY266" fmla="*/ 581 h 10000"/>
                <a:gd name="connsiteX267" fmla="*/ 6132 w 10000"/>
                <a:gd name="connsiteY267" fmla="*/ 735 h 10000"/>
                <a:gd name="connsiteX268" fmla="*/ 6024 w 10000"/>
                <a:gd name="connsiteY268" fmla="*/ 815 h 10000"/>
                <a:gd name="connsiteX269" fmla="*/ 5980 w 10000"/>
                <a:gd name="connsiteY269" fmla="*/ 805 h 10000"/>
                <a:gd name="connsiteX270" fmla="*/ 5880 w 10000"/>
                <a:gd name="connsiteY270" fmla="*/ 739 h 10000"/>
                <a:gd name="connsiteX271" fmla="*/ 5753 w 10000"/>
                <a:gd name="connsiteY271" fmla="*/ 705 h 10000"/>
                <a:gd name="connsiteX272" fmla="*/ 5618 w 10000"/>
                <a:gd name="connsiteY272" fmla="*/ 715 h 10000"/>
                <a:gd name="connsiteX273" fmla="*/ 5301 w 10000"/>
                <a:gd name="connsiteY273" fmla="*/ 866 h 10000"/>
                <a:gd name="connsiteX274" fmla="*/ 5218 w 10000"/>
                <a:gd name="connsiteY274" fmla="*/ 1017 h 10000"/>
                <a:gd name="connsiteX275" fmla="*/ 4978 w 10000"/>
                <a:gd name="connsiteY275" fmla="*/ 1153 h 10000"/>
                <a:gd name="connsiteX276" fmla="*/ 4935 w 10000"/>
                <a:gd name="connsiteY276" fmla="*/ 1222 h 10000"/>
                <a:gd name="connsiteX277" fmla="*/ 5061 w 10000"/>
                <a:gd name="connsiteY277" fmla="*/ 1344 h 10000"/>
                <a:gd name="connsiteX278" fmla="*/ 5074 w 10000"/>
                <a:gd name="connsiteY278" fmla="*/ 1412 h 10000"/>
                <a:gd name="connsiteX279" fmla="*/ 4421 w 10000"/>
                <a:gd name="connsiteY279" fmla="*/ 1813 h 10000"/>
                <a:gd name="connsiteX280" fmla="*/ 4220 w 10000"/>
                <a:gd name="connsiteY280" fmla="*/ 2070 h 10000"/>
                <a:gd name="connsiteX281" fmla="*/ 4003 w 10000"/>
                <a:gd name="connsiteY281" fmla="*/ 2135 h 10000"/>
                <a:gd name="connsiteX282" fmla="*/ 3868 w 10000"/>
                <a:gd name="connsiteY282" fmla="*/ 2131 h 10000"/>
                <a:gd name="connsiteX283" fmla="*/ 3785 w 10000"/>
                <a:gd name="connsiteY283" fmla="*/ 2153 h 10000"/>
                <a:gd name="connsiteX284" fmla="*/ 3558 w 10000"/>
                <a:gd name="connsiteY284" fmla="*/ 2793 h 10000"/>
                <a:gd name="connsiteX285" fmla="*/ 3036 w 10000"/>
                <a:gd name="connsiteY285" fmla="*/ 3166 h 10000"/>
                <a:gd name="connsiteX286" fmla="*/ 3040 w 10000"/>
                <a:gd name="connsiteY286" fmla="*/ 3225 h 10000"/>
                <a:gd name="connsiteX287" fmla="*/ 3271 w 10000"/>
                <a:gd name="connsiteY287" fmla="*/ 3392 h 10000"/>
                <a:gd name="connsiteX288" fmla="*/ 3197 w 10000"/>
                <a:gd name="connsiteY288" fmla="*/ 3573 h 10000"/>
                <a:gd name="connsiteX289" fmla="*/ 3062 w 10000"/>
                <a:gd name="connsiteY289" fmla="*/ 3640 h 10000"/>
                <a:gd name="connsiteX290" fmla="*/ 2657 w 10000"/>
                <a:gd name="connsiteY290" fmla="*/ 3595 h 10000"/>
                <a:gd name="connsiteX291" fmla="*/ 2378 w 10000"/>
                <a:gd name="connsiteY291" fmla="*/ 3620 h 10000"/>
                <a:gd name="connsiteX292" fmla="*/ 2152 w 10000"/>
                <a:gd name="connsiteY292" fmla="*/ 3673 h 10000"/>
                <a:gd name="connsiteX293" fmla="*/ 1790 w 10000"/>
                <a:gd name="connsiteY293" fmla="*/ 3840 h 10000"/>
                <a:gd name="connsiteX294" fmla="*/ 1598 w 10000"/>
                <a:gd name="connsiteY294" fmla="*/ 4042 h 10000"/>
                <a:gd name="connsiteX295" fmla="*/ 1616 w 10000"/>
                <a:gd name="connsiteY295" fmla="*/ 4154 h 10000"/>
                <a:gd name="connsiteX296" fmla="*/ 1681 w 10000"/>
                <a:gd name="connsiteY296" fmla="*/ 4241 h 10000"/>
                <a:gd name="connsiteX297" fmla="*/ 1733 w 10000"/>
                <a:gd name="connsiteY297" fmla="*/ 4276 h 10000"/>
                <a:gd name="connsiteX298" fmla="*/ 1638 w 10000"/>
                <a:gd name="connsiteY298" fmla="*/ 4331 h 10000"/>
                <a:gd name="connsiteX299" fmla="*/ 1433 w 10000"/>
                <a:gd name="connsiteY299" fmla="*/ 4710 h 10000"/>
                <a:gd name="connsiteX300" fmla="*/ 1472 w 10000"/>
                <a:gd name="connsiteY300" fmla="*/ 4732 h 10000"/>
                <a:gd name="connsiteX301" fmla="*/ 1503 w 10000"/>
                <a:gd name="connsiteY301" fmla="*/ 4828 h 10000"/>
                <a:gd name="connsiteX302" fmla="*/ 1407 w 10000"/>
                <a:gd name="connsiteY302" fmla="*/ 5227 h 10000"/>
                <a:gd name="connsiteX303" fmla="*/ 1503 w 10000"/>
                <a:gd name="connsiteY303" fmla="*/ 5329 h 10000"/>
                <a:gd name="connsiteX304" fmla="*/ 1764 w 10000"/>
                <a:gd name="connsiteY304" fmla="*/ 5441 h 10000"/>
                <a:gd name="connsiteX305" fmla="*/ 1777 w 10000"/>
                <a:gd name="connsiteY305" fmla="*/ 5578 h 10000"/>
                <a:gd name="connsiteX306" fmla="*/ 1664 w 10000"/>
                <a:gd name="connsiteY306" fmla="*/ 5690 h 10000"/>
                <a:gd name="connsiteX307" fmla="*/ 1503 w 10000"/>
                <a:gd name="connsiteY307" fmla="*/ 5759 h 10000"/>
                <a:gd name="connsiteX308" fmla="*/ 1289 w 10000"/>
                <a:gd name="connsiteY308" fmla="*/ 5787 h 10000"/>
                <a:gd name="connsiteX309" fmla="*/ 1233 w 10000"/>
                <a:gd name="connsiteY309" fmla="*/ 5826 h 10000"/>
                <a:gd name="connsiteX310" fmla="*/ 1359 w 10000"/>
                <a:gd name="connsiteY310" fmla="*/ 5920 h 10000"/>
                <a:gd name="connsiteX311" fmla="*/ 1429 w 10000"/>
                <a:gd name="connsiteY311" fmla="*/ 6142 h 10000"/>
                <a:gd name="connsiteX312" fmla="*/ 1267 w 10000"/>
                <a:gd name="connsiteY312" fmla="*/ 6333 h 10000"/>
                <a:gd name="connsiteX313" fmla="*/ 1324 w 10000"/>
                <a:gd name="connsiteY313" fmla="*/ 6392 h 10000"/>
                <a:gd name="connsiteX314" fmla="*/ 1272 w 10000"/>
                <a:gd name="connsiteY314" fmla="*/ 6492 h 10000"/>
                <a:gd name="connsiteX315" fmla="*/ 1167 w 10000"/>
                <a:gd name="connsiteY315" fmla="*/ 6561 h 10000"/>
                <a:gd name="connsiteX316" fmla="*/ 758 w 10000"/>
                <a:gd name="connsiteY316" fmla="*/ 6614 h 10000"/>
                <a:gd name="connsiteX317" fmla="*/ 732 w 10000"/>
                <a:gd name="connsiteY317" fmla="*/ 6706 h 10000"/>
                <a:gd name="connsiteX318" fmla="*/ 510 w 10000"/>
                <a:gd name="connsiteY318" fmla="*/ 6843 h 10000"/>
                <a:gd name="connsiteX319" fmla="*/ 540 w 10000"/>
                <a:gd name="connsiteY319" fmla="*/ 7040 h 10000"/>
                <a:gd name="connsiteX320" fmla="*/ 353 w 10000"/>
                <a:gd name="connsiteY320" fmla="*/ 7293 h 10000"/>
                <a:gd name="connsiteX321" fmla="*/ 226 w 10000"/>
                <a:gd name="connsiteY321" fmla="*/ 7323 h 10000"/>
                <a:gd name="connsiteX322" fmla="*/ 174 w 10000"/>
                <a:gd name="connsiteY322" fmla="*/ 7262 h 10000"/>
                <a:gd name="connsiteX323" fmla="*/ 109 w 10000"/>
                <a:gd name="connsiteY323" fmla="*/ 7354 h 10000"/>
                <a:gd name="connsiteX324" fmla="*/ 152 w 10000"/>
                <a:gd name="connsiteY324" fmla="*/ 7197 h 10000"/>
                <a:gd name="connsiteX325" fmla="*/ 126 w 10000"/>
                <a:gd name="connsiteY325"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558 w 10000"/>
                <a:gd name="connsiteY207" fmla="*/ 2481 h 10000"/>
                <a:gd name="connsiteX208" fmla="*/ 8558 w 10000"/>
                <a:gd name="connsiteY208" fmla="*/ 2459 h 10000"/>
                <a:gd name="connsiteX209" fmla="*/ 8698 w 10000"/>
                <a:gd name="connsiteY209" fmla="*/ 2504 h 10000"/>
                <a:gd name="connsiteX210" fmla="*/ 8763 w 10000"/>
                <a:gd name="connsiteY210" fmla="*/ 2548 h 10000"/>
                <a:gd name="connsiteX211" fmla="*/ 8815 w 10000"/>
                <a:gd name="connsiteY211" fmla="*/ 2548 h 10000"/>
                <a:gd name="connsiteX212" fmla="*/ 8789 w 10000"/>
                <a:gd name="connsiteY212" fmla="*/ 2457 h 10000"/>
                <a:gd name="connsiteX213" fmla="*/ 8798 w 10000"/>
                <a:gd name="connsiteY213" fmla="*/ 2467 h 10000"/>
                <a:gd name="connsiteX214" fmla="*/ 8841 w 10000"/>
                <a:gd name="connsiteY214" fmla="*/ 2457 h 10000"/>
                <a:gd name="connsiteX215" fmla="*/ 8855 w 10000"/>
                <a:gd name="connsiteY215" fmla="*/ 2341 h 10000"/>
                <a:gd name="connsiteX216" fmla="*/ 8898 w 10000"/>
                <a:gd name="connsiteY216" fmla="*/ 2332 h 10000"/>
                <a:gd name="connsiteX217" fmla="*/ 8946 w 10000"/>
                <a:gd name="connsiteY217" fmla="*/ 2330 h 10000"/>
                <a:gd name="connsiteX218" fmla="*/ 8946 w 10000"/>
                <a:gd name="connsiteY218" fmla="*/ 2361 h 10000"/>
                <a:gd name="connsiteX219" fmla="*/ 8994 w 10000"/>
                <a:gd name="connsiteY219" fmla="*/ 2389 h 10000"/>
                <a:gd name="connsiteX220" fmla="*/ 9051 w 10000"/>
                <a:gd name="connsiteY220" fmla="*/ 2400 h 10000"/>
                <a:gd name="connsiteX221" fmla="*/ 9094 w 10000"/>
                <a:gd name="connsiteY221" fmla="*/ 2324 h 10000"/>
                <a:gd name="connsiteX222" fmla="*/ 9164 w 10000"/>
                <a:gd name="connsiteY222" fmla="*/ 2347 h 10000"/>
                <a:gd name="connsiteX223" fmla="*/ 9247 w 10000"/>
                <a:gd name="connsiteY223" fmla="*/ 2402 h 10000"/>
                <a:gd name="connsiteX224" fmla="*/ 9286 w 10000"/>
                <a:gd name="connsiteY224" fmla="*/ 2400 h 10000"/>
                <a:gd name="connsiteX225" fmla="*/ 9355 w 10000"/>
                <a:gd name="connsiteY225" fmla="*/ 2428 h 10000"/>
                <a:gd name="connsiteX226" fmla="*/ 9408 w 10000"/>
                <a:gd name="connsiteY226" fmla="*/ 2359 h 10000"/>
                <a:gd name="connsiteX227" fmla="*/ 9717 w 10000"/>
                <a:gd name="connsiteY227" fmla="*/ 2343 h 10000"/>
                <a:gd name="connsiteX228" fmla="*/ 9830 w 10000"/>
                <a:gd name="connsiteY228" fmla="*/ 2369 h 10000"/>
                <a:gd name="connsiteX229" fmla="*/ 9909 w 10000"/>
                <a:gd name="connsiteY229" fmla="*/ 2410 h 10000"/>
                <a:gd name="connsiteX230" fmla="*/ 9948 w 10000"/>
                <a:gd name="connsiteY230" fmla="*/ 2365 h 10000"/>
                <a:gd name="connsiteX231" fmla="*/ 10000 w 10000"/>
                <a:gd name="connsiteY231" fmla="*/ 2349 h 10000"/>
                <a:gd name="connsiteX232" fmla="*/ 9704 w 10000"/>
                <a:gd name="connsiteY232" fmla="*/ 1992 h 10000"/>
                <a:gd name="connsiteX233" fmla="*/ 9743 w 10000"/>
                <a:gd name="connsiteY233" fmla="*/ 1897 h 10000"/>
                <a:gd name="connsiteX234" fmla="*/ 9830 w 10000"/>
                <a:gd name="connsiteY234" fmla="*/ 1819 h 10000"/>
                <a:gd name="connsiteX235" fmla="*/ 9830 w 10000"/>
                <a:gd name="connsiteY235" fmla="*/ 1699 h 10000"/>
                <a:gd name="connsiteX236" fmla="*/ 9556 w 10000"/>
                <a:gd name="connsiteY236" fmla="*/ 1465 h 10000"/>
                <a:gd name="connsiteX237" fmla="*/ 9512 w 10000"/>
                <a:gd name="connsiteY237" fmla="*/ 1379 h 10000"/>
                <a:gd name="connsiteX238" fmla="*/ 9573 w 10000"/>
                <a:gd name="connsiteY238" fmla="*/ 1271 h 10000"/>
                <a:gd name="connsiteX239" fmla="*/ 9543 w 10000"/>
                <a:gd name="connsiteY239" fmla="*/ 1194 h 10000"/>
                <a:gd name="connsiteX240" fmla="*/ 9486 w 10000"/>
                <a:gd name="connsiteY240" fmla="*/ 1159 h 10000"/>
                <a:gd name="connsiteX241" fmla="*/ 9438 w 10000"/>
                <a:gd name="connsiteY241" fmla="*/ 978 h 10000"/>
                <a:gd name="connsiteX242" fmla="*/ 9495 w 10000"/>
                <a:gd name="connsiteY242" fmla="*/ 831 h 10000"/>
                <a:gd name="connsiteX243" fmla="*/ 9077 w 10000"/>
                <a:gd name="connsiteY243" fmla="*/ 517 h 10000"/>
                <a:gd name="connsiteX244" fmla="*/ 8872 w 10000"/>
                <a:gd name="connsiteY244" fmla="*/ 440 h 10000"/>
                <a:gd name="connsiteX245" fmla="*/ 8493 w 10000"/>
                <a:gd name="connsiteY245" fmla="*/ 389 h 10000"/>
                <a:gd name="connsiteX246" fmla="*/ 7709 w 10000"/>
                <a:gd name="connsiteY246" fmla="*/ 26 h 10000"/>
                <a:gd name="connsiteX247" fmla="*/ 7683 w 10000"/>
                <a:gd name="connsiteY247" fmla="*/ 2 h 10000"/>
                <a:gd name="connsiteX248" fmla="*/ 7417 w 10000"/>
                <a:gd name="connsiteY248" fmla="*/ 0 h 10000"/>
                <a:gd name="connsiteX249" fmla="*/ 7356 w 10000"/>
                <a:gd name="connsiteY249" fmla="*/ 14 h 10000"/>
                <a:gd name="connsiteX250" fmla="*/ 7369 w 10000"/>
                <a:gd name="connsiteY250" fmla="*/ 61 h 10000"/>
                <a:gd name="connsiteX251" fmla="*/ 7422 w 10000"/>
                <a:gd name="connsiteY251" fmla="*/ 86 h 10000"/>
                <a:gd name="connsiteX252" fmla="*/ 7435 w 10000"/>
                <a:gd name="connsiteY252" fmla="*/ 139 h 10000"/>
                <a:gd name="connsiteX253" fmla="*/ 7417 w 10000"/>
                <a:gd name="connsiteY253" fmla="*/ 181 h 10000"/>
                <a:gd name="connsiteX254" fmla="*/ 7369 w 10000"/>
                <a:gd name="connsiteY254" fmla="*/ 208 h 10000"/>
                <a:gd name="connsiteX255" fmla="*/ 7334 w 10000"/>
                <a:gd name="connsiteY255" fmla="*/ 283 h 10000"/>
                <a:gd name="connsiteX256" fmla="*/ 7269 w 10000"/>
                <a:gd name="connsiteY256" fmla="*/ 336 h 10000"/>
                <a:gd name="connsiteX257" fmla="*/ 7282 w 10000"/>
                <a:gd name="connsiteY257" fmla="*/ 387 h 10000"/>
                <a:gd name="connsiteX258" fmla="*/ 7382 w 10000"/>
                <a:gd name="connsiteY258" fmla="*/ 434 h 10000"/>
                <a:gd name="connsiteX259" fmla="*/ 7317 w 10000"/>
                <a:gd name="connsiteY259" fmla="*/ 475 h 10000"/>
                <a:gd name="connsiteX260" fmla="*/ 7221 w 10000"/>
                <a:gd name="connsiteY260" fmla="*/ 485 h 10000"/>
                <a:gd name="connsiteX261" fmla="*/ 6420 w 10000"/>
                <a:gd name="connsiteY261" fmla="*/ 387 h 10000"/>
                <a:gd name="connsiteX262" fmla="*/ 6324 w 10000"/>
                <a:gd name="connsiteY262" fmla="*/ 395 h 10000"/>
                <a:gd name="connsiteX263" fmla="*/ 6267 w 10000"/>
                <a:gd name="connsiteY263" fmla="*/ 414 h 10000"/>
                <a:gd name="connsiteX264" fmla="*/ 6211 w 10000"/>
                <a:gd name="connsiteY264" fmla="*/ 462 h 10000"/>
                <a:gd name="connsiteX265" fmla="*/ 6220 w 10000"/>
                <a:gd name="connsiteY265" fmla="*/ 581 h 10000"/>
                <a:gd name="connsiteX266" fmla="*/ 6132 w 10000"/>
                <a:gd name="connsiteY266" fmla="*/ 735 h 10000"/>
                <a:gd name="connsiteX267" fmla="*/ 6024 w 10000"/>
                <a:gd name="connsiteY267" fmla="*/ 815 h 10000"/>
                <a:gd name="connsiteX268" fmla="*/ 5980 w 10000"/>
                <a:gd name="connsiteY268" fmla="*/ 805 h 10000"/>
                <a:gd name="connsiteX269" fmla="*/ 5880 w 10000"/>
                <a:gd name="connsiteY269" fmla="*/ 739 h 10000"/>
                <a:gd name="connsiteX270" fmla="*/ 5753 w 10000"/>
                <a:gd name="connsiteY270" fmla="*/ 705 h 10000"/>
                <a:gd name="connsiteX271" fmla="*/ 5618 w 10000"/>
                <a:gd name="connsiteY271" fmla="*/ 715 h 10000"/>
                <a:gd name="connsiteX272" fmla="*/ 5301 w 10000"/>
                <a:gd name="connsiteY272" fmla="*/ 866 h 10000"/>
                <a:gd name="connsiteX273" fmla="*/ 5218 w 10000"/>
                <a:gd name="connsiteY273" fmla="*/ 1017 h 10000"/>
                <a:gd name="connsiteX274" fmla="*/ 4978 w 10000"/>
                <a:gd name="connsiteY274" fmla="*/ 1153 h 10000"/>
                <a:gd name="connsiteX275" fmla="*/ 4935 w 10000"/>
                <a:gd name="connsiteY275" fmla="*/ 1222 h 10000"/>
                <a:gd name="connsiteX276" fmla="*/ 5061 w 10000"/>
                <a:gd name="connsiteY276" fmla="*/ 1344 h 10000"/>
                <a:gd name="connsiteX277" fmla="*/ 5074 w 10000"/>
                <a:gd name="connsiteY277" fmla="*/ 1412 h 10000"/>
                <a:gd name="connsiteX278" fmla="*/ 4421 w 10000"/>
                <a:gd name="connsiteY278" fmla="*/ 1813 h 10000"/>
                <a:gd name="connsiteX279" fmla="*/ 4220 w 10000"/>
                <a:gd name="connsiteY279" fmla="*/ 2070 h 10000"/>
                <a:gd name="connsiteX280" fmla="*/ 4003 w 10000"/>
                <a:gd name="connsiteY280" fmla="*/ 2135 h 10000"/>
                <a:gd name="connsiteX281" fmla="*/ 3868 w 10000"/>
                <a:gd name="connsiteY281" fmla="*/ 2131 h 10000"/>
                <a:gd name="connsiteX282" fmla="*/ 3785 w 10000"/>
                <a:gd name="connsiteY282" fmla="*/ 2153 h 10000"/>
                <a:gd name="connsiteX283" fmla="*/ 3558 w 10000"/>
                <a:gd name="connsiteY283" fmla="*/ 2793 h 10000"/>
                <a:gd name="connsiteX284" fmla="*/ 3036 w 10000"/>
                <a:gd name="connsiteY284" fmla="*/ 3166 h 10000"/>
                <a:gd name="connsiteX285" fmla="*/ 3040 w 10000"/>
                <a:gd name="connsiteY285" fmla="*/ 3225 h 10000"/>
                <a:gd name="connsiteX286" fmla="*/ 3271 w 10000"/>
                <a:gd name="connsiteY286" fmla="*/ 3392 h 10000"/>
                <a:gd name="connsiteX287" fmla="*/ 3197 w 10000"/>
                <a:gd name="connsiteY287" fmla="*/ 3573 h 10000"/>
                <a:gd name="connsiteX288" fmla="*/ 3062 w 10000"/>
                <a:gd name="connsiteY288" fmla="*/ 3640 h 10000"/>
                <a:gd name="connsiteX289" fmla="*/ 2657 w 10000"/>
                <a:gd name="connsiteY289" fmla="*/ 3595 h 10000"/>
                <a:gd name="connsiteX290" fmla="*/ 2378 w 10000"/>
                <a:gd name="connsiteY290" fmla="*/ 3620 h 10000"/>
                <a:gd name="connsiteX291" fmla="*/ 2152 w 10000"/>
                <a:gd name="connsiteY291" fmla="*/ 3673 h 10000"/>
                <a:gd name="connsiteX292" fmla="*/ 1790 w 10000"/>
                <a:gd name="connsiteY292" fmla="*/ 3840 h 10000"/>
                <a:gd name="connsiteX293" fmla="*/ 1598 w 10000"/>
                <a:gd name="connsiteY293" fmla="*/ 4042 h 10000"/>
                <a:gd name="connsiteX294" fmla="*/ 1616 w 10000"/>
                <a:gd name="connsiteY294" fmla="*/ 4154 h 10000"/>
                <a:gd name="connsiteX295" fmla="*/ 1681 w 10000"/>
                <a:gd name="connsiteY295" fmla="*/ 4241 h 10000"/>
                <a:gd name="connsiteX296" fmla="*/ 1733 w 10000"/>
                <a:gd name="connsiteY296" fmla="*/ 4276 h 10000"/>
                <a:gd name="connsiteX297" fmla="*/ 1638 w 10000"/>
                <a:gd name="connsiteY297" fmla="*/ 4331 h 10000"/>
                <a:gd name="connsiteX298" fmla="*/ 1433 w 10000"/>
                <a:gd name="connsiteY298" fmla="*/ 4710 h 10000"/>
                <a:gd name="connsiteX299" fmla="*/ 1472 w 10000"/>
                <a:gd name="connsiteY299" fmla="*/ 4732 h 10000"/>
                <a:gd name="connsiteX300" fmla="*/ 1503 w 10000"/>
                <a:gd name="connsiteY300" fmla="*/ 4828 h 10000"/>
                <a:gd name="connsiteX301" fmla="*/ 1407 w 10000"/>
                <a:gd name="connsiteY301" fmla="*/ 5227 h 10000"/>
                <a:gd name="connsiteX302" fmla="*/ 1503 w 10000"/>
                <a:gd name="connsiteY302" fmla="*/ 5329 h 10000"/>
                <a:gd name="connsiteX303" fmla="*/ 1764 w 10000"/>
                <a:gd name="connsiteY303" fmla="*/ 5441 h 10000"/>
                <a:gd name="connsiteX304" fmla="*/ 1777 w 10000"/>
                <a:gd name="connsiteY304" fmla="*/ 5578 h 10000"/>
                <a:gd name="connsiteX305" fmla="*/ 1664 w 10000"/>
                <a:gd name="connsiteY305" fmla="*/ 5690 h 10000"/>
                <a:gd name="connsiteX306" fmla="*/ 1503 w 10000"/>
                <a:gd name="connsiteY306" fmla="*/ 5759 h 10000"/>
                <a:gd name="connsiteX307" fmla="*/ 1289 w 10000"/>
                <a:gd name="connsiteY307" fmla="*/ 5787 h 10000"/>
                <a:gd name="connsiteX308" fmla="*/ 1233 w 10000"/>
                <a:gd name="connsiteY308" fmla="*/ 5826 h 10000"/>
                <a:gd name="connsiteX309" fmla="*/ 1359 w 10000"/>
                <a:gd name="connsiteY309" fmla="*/ 5920 h 10000"/>
                <a:gd name="connsiteX310" fmla="*/ 1429 w 10000"/>
                <a:gd name="connsiteY310" fmla="*/ 6142 h 10000"/>
                <a:gd name="connsiteX311" fmla="*/ 1267 w 10000"/>
                <a:gd name="connsiteY311" fmla="*/ 6333 h 10000"/>
                <a:gd name="connsiteX312" fmla="*/ 1324 w 10000"/>
                <a:gd name="connsiteY312" fmla="*/ 6392 h 10000"/>
                <a:gd name="connsiteX313" fmla="*/ 1272 w 10000"/>
                <a:gd name="connsiteY313" fmla="*/ 6492 h 10000"/>
                <a:gd name="connsiteX314" fmla="*/ 1167 w 10000"/>
                <a:gd name="connsiteY314" fmla="*/ 6561 h 10000"/>
                <a:gd name="connsiteX315" fmla="*/ 758 w 10000"/>
                <a:gd name="connsiteY315" fmla="*/ 6614 h 10000"/>
                <a:gd name="connsiteX316" fmla="*/ 732 w 10000"/>
                <a:gd name="connsiteY316" fmla="*/ 6706 h 10000"/>
                <a:gd name="connsiteX317" fmla="*/ 510 w 10000"/>
                <a:gd name="connsiteY317" fmla="*/ 6843 h 10000"/>
                <a:gd name="connsiteX318" fmla="*/ 540 w 10000"/>
                <a:gd name="connsiteY318" fmla="*/ 7040 h 10000"/>
                <a:gd name="connsiteX319" fmla="*/ 353 w 10000"/>
                <a:gd name="connsiteY319" fmla="*/ 7293 h 10000"/>
                <a:gd name="connsiteX320" fmla="*/ 226 w 10000"/>
                <a:gd name="connsiteY320" fmla="*/ 7323 h 10000"/>
                <a:gd name="connsiteX321" fmla="*/ 174 w 10000"/>
                <a:gd name="connsiteY321" fmla="*/ 7262 h 10000"/>
                <a:gd name="connsiteX322" fmla="*/ 109 w 10000"/>
                <a:gd name="connsiteY322" fmla="*/ 7354 h 10000"/>
                <a:gd name="connsiteX323" fmla="*/ 152 w 10000"/>
                <a:gd name="connsiteY323" fmla="*/ 7197 h 10000"/>
                <a:gd name="connsiteX324" fmla="*/ 126 w 10000"/>
                <a:gd name="connsiteY324"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558 w 10000"/>
                <a:gd name="connsiteY207" fmla="*/ 2481 h 10000"/>
                <a:gd name="connsiteX208" fmla="*/ 8558 w 10000"/>
                <a:gd name="connsiteY208" fmla="*/ 2459 h 10000"/>
                <a:gd name="connsiteX209" fmla="*/ 8698 w 10000"/>
                <a:gd name="connsiteY209" fmla="*/ 2504 h 10000"/>
                <a:gd name="connsiteX210" fmla="*/ 8815 w 10000"/>
                <a:gd name="connsiteY210" fmla="*/ 2548 h 10000"/>
                <a:gd name="connsiteX211" fmla="*/ 8789 w 10000"/>
                <a:gd name="connsiteY211" fmla="*/ 2457 h 10000"/>
                <a:gd name="connsiteX212" fmla="*/ 8798 w 10000"/>
                <a:gd name="connsiteY212" fmla="*/ 2467 h 10000"/>
                <a:gd name="connsiteX213" fmla="*/ 8841 w 10000"/>
                <a:gd name="connsiteY213" fmla="*/ 2457 h 10000"/>
                <a:gd name="connsiteX214" fmla="*/ 8855 w 10000"/>
                <a:gd name="connsiteY214" fmla="*/ 2341 h 10000"/>
                <a:gd name="connsiteX215" fmla="*/ 8898 w 10000"/>
                <a:gd name="connsiteY215" fmla="*/ 2332 h 10000"/>
                <a:gd name="connsiteX216" fmla="*/ 8946 w 10000"/>
                <a:gd name="connsiteY216" fmla="*/ 2330 h 10000"/>
                <a:gd name="connsiteX217" fmla="*/ 8946 w 10000"/>
                <a:gd name="connsiteY217" fmla="*/ 2361 h 10000"/>
                <a:gd name="connsiteX218" fmla="*/ 8994 w 10000"/>
                <a:gd name="connsiteY218" fmla="*/ 2389 h 10000"/>
                <a:gd name="connsiteX219" fmla="*/ 9051 w 10000"/>
                <a:gd name="connsiteY219" fmla="*/ 2400 h 10000"/>
                <a:gd name="connsiteX220" fmla="*/ 9094 w 10000"/>
                <a:gd name="connsiteY220" fmla="*/ 2324 h 10000"/>
                <a:gd name="connsiteX221" fmla="*/ 9164 w 10000"/>
                <a:gd name="connsiteY221" fmla="*/ 2347 h 10000"/>
                <a:gd name="connsiteX222" fmla="*/ 9247 w 10000"/>
                <a:gd name="connsiteY222" fmla="*/ 2402 h 10000"/>
                <a:gd name="connsiteX223" fmla="*/ 9286 w 10000"/>
                <a:gd name="connsiteY223" fmla="*/ 2400 h 10000"/>
                <a:gd name="connsiteX224" fmla="*/ 9355 w 10000"/>
                <a:gd name="connsiteY224" fmla="*/ 2428 h 10000"/>
                <a:gd name="connsiteX225" fmla="*/ 9408 w 10000"/>
                <a:gd name="connsiteY225" fmla="*/ 2359 h 10000"/>
                <a:gd name="connsiteX226" fmla="*/ 9717 w 10000"/>
                <a:gd name="connsiteY226" fmla="*/ 2343 h 10000"/>
                <a:gd name="connsiteX227" fmla="*/ 9830 w 10000"/>
                <a:gd name="connsiteY227" fmla="*/ 2369 h 10000"/>
                <a:gd name="connsiteX228" fmla="*/ 9909 w 10000"/>
                <a:gd name="connsiteY228" fmla="*/ 2410 h 10000"/>
                <a:gd name="connsiteX229" fmla="*/ 9948 w 10000"/>
                <a:gd name="connsiteY229" fmla="*/ 2365 h 10000"/>
                <a:gd name="connsiteX230" fmla="*/ 10000 w 10000"/>
                <a:gd name="connsiteY230" fmla="*/ 2349 h 10000"/>
                <a:gd name="connsiteX231" fmla="*/ 9704 w 10000"/>
                <a:gd name="connsiteY231" fmla="*/ 1992 h 10000"/>
                <a:gd name="connsiteX232" fmla="*/ 9743 w 10000"/>
                <a:gd name="connsiteY232" fmla="*/ 1897 h 10000"/>
                <a:gd name="connsiteX233" fmla="*/ 9830 w 10000"/>
                <a:gd name="connsiteY233" fmla="*/ 1819 h 10000"/>
                <a:gd name="connsiteX234" fmla="*/ 9830 w 10000"/>
                <a:gd name="connsiteY234" fmla="*/ 1699 h 10000"/>
                <a:gd name="connsiteX235" fmla="*/ 9556 w 10000"/>
                <a:gd name="connsiteY235" fmla="*/ 1465 h 10000"/>
                <a:gd name="connsiteX236" fmla="*/ 9512 w 10000"/>
                <a:gd name="connsiteY236" fmla="*/ 1379 h 10000"/>
                <a:gd name="connsiteX237" fmla="*/ 9573 w 10000"/>
                <a:gd name="connsiteY237" fmla="*/ 1271 h 10000"/>
                <a:gd name="connsiteX238" fmla="*/ 9543 w 10000"/>
                <a:gd name="connsiteY238" fmla="*/ 1194 h 10000"/>
                <a:gd name="connsiteX239" fmla="*/ 9486 w 10000"/>
                <a:gd name="connsiteY239" fmla="*/ 1159 h 10000"/>
                <a:gd name="connsiteX240" fmla="*/ 9438 w 10000"/>
                <a:gd name="connsiteY240" fmla="*/ 978 h 10000"/>
                <a:gd name="connsiteX241" fmla="*/ 9495 w 10000"/>
                <a:gd name="connsiteY241" fmla="*/ 831 h 10000"/>
                <a:gd name="connsiteX242" fmla="*/ 9077 w 10000"/>
                <a:gd name="connsiteY242" fmla="*/ 517 h 10000"/>
                <a:gd name="connsiteX243" fmla="*/ 8872 w 10000"/>
                <a:gd name="connsiteY243" fmla="*/ 440 h 10000"/>
                <a:gd name="connsiteX244" fmla="*/ 8493 w 10000"/>
                <a:gd name="connsiteY244" fmla="*/ 389 h 10000"/>
                <a:gd name="connsiteX245" fmla="*/ 7709 w 10000"/>
                <a:gd name="connsiteY245" fmla="*/ 26 h 10000"/>
                <a:gd name="connsiteX246" fmla="*/ 7683 w 10000"/>
                <a:gd name="connsiteY246" fmla="*/ 2 h 10000"/>
                <a:gd name="connsiteX247" fmla="*/ 7417 w 10000"/>
                <a:gd name="connsiteY247" fmla="*/ 0 h 10000"/>
                <a:gd name="connsiteX248" fmla="*/ 7356 w 10000"/>
                <a:gd name="connsiteY248" fmla="*/ 14 h 10000"/>
                <a:gd name="connsiteX249" fmla="*/ 7369 w 10000"/>
                <a:gd name="connsiteY249" fmla="*/ 61 h 10000"/>
                <a:gd name="connsiteX250" fmla="*/ 7422 w 10000"/>
                <a:gd name="connsiteY250" fmla="*/ 86 h 10000"/>
                <a:gd name="connsiteX251" fmla="*/ 7435 w 10000"/>
                <a:gd name="connsiteY251" fmla="*/ 139 h 10000"/>
                <a:gd name="connsiteX252" fmla="*/ 7417 w 10000"/>
                <a:gd name="connsiteY252" fmla="*/ 181 h 10000"/>
                <a:gd name="connsiteX253" fmla="*/ 7369 w 10000"/>
                <a:gd name="connsiteY253" fmla="*/ 208 h 10000"/>
                <a:gd name="connsiteX254" fmla="*/ 7334 w 10000"/>
                <a:gd name="connsiteY254" fmla="*/ 283 h 10000"/>
                <a:gd name="connsiteX255" fmla="*/ 7269 w 10000"/>
                <a:gd name="connsiteY255" fmla="*/ 336 h 10000"/>
                <a:gd name="connsiteX256" fmla="*/ 7282 w 10000"/>
                <a:gd name="connsiteY256" fmla="*/ 387 h 10000"/>
                <a:gd name="connsiteX257" fmla="*/ 7382 w 10000"/>
                <a:gd name="connsiteY257" fmla="*/ 434 h 10000"/>
                <a:gd name="connsiteX258" fmla="*/ 7317 w 10000"/>
                <a:gd name="connsiteY258" fmla="*/ 475 h 10000"/>
                <a:gd name="connsiteX259" fmla="*/ 7221 w 10000"/>
                <a:gd name="connsiteY259" fmla="*/ 485 h 10000"/>
                <a:gd name="connsiteX260" fmla="*/ 6420 w 10000"/>
                <a:gd name="connsiteY260" fmla="*/ 387 h 10000"/>
                <a:gd name="connsiteX261" fmla="*/ 6324 w 10000"/>
                <a:gd name="connsiteY261" fmla="*/ 395 h 10000"/>
                <a:gd name="connsiteX262" fmla="*/ 6267 w 10000"/>
                <a:gd name="connsiteY262" fmla="*/ 414 h 10000"/>
                <a:gd name="connsiteX263" fmla="*/ 6211 w 10000"/>
                <a:gd name="connsiteY263" fmla="*/ 462 h 10000"/>
                <a:gd name="connsiteX264" fmla="*/ 6220 w 10000"/>
                <a:gd name="connsiteY264" fmla="*/ 581 h 10000"/>
                <a:gd name="connsiteX265" fmla="*/ 6132 w 10000"/>
                <a:gd name="connsiteY265" fmla="*/ 735 h 10000"/>
                <a:gd name="connsiteX266" fmla="*/ 6024 w 10000"/>
                <a:gd name="connsiteY266" fmla="*/ 815 h 10000"/>
                <a:gd name="connsiteX267" fmla="*/ 5980 w 10000"/>
                <a:gd name="connsiteY267" fmla="*/ 805 h 10000"/>
                <a:gd name="connsiteX268" fmla="*/ 5880 w 10000"/>
                <a:gd name="connsiteY268" fmla="*/ 739 h 10000"/>
                <a:gd name="connsiteX269" fmla="*/ 5753 w 10000"/>
                <a:gd name="connsiteY269" fmla="*/ 705 h 10000"/>
                <a:gd name="connsiteX270" fmla="*/ 5618 w 10000"/>
                <a:gd name="connsiteY270" fmla="*/ 715 h 10000"/>
                <a:gd name="connsiteX271" fmla="*/ 5301 w 10000"/>
                <a:gd name="connsiteY271" fmla="*/ 866 h 10000"/>
                <a:gd name="connsiteX272" fmla="*/ 5218 w 10000"/>
                <a:gd name="connsiteY272" fmla="*/ 1017 h 10000"/>
                <a:gd name="connsiteX273" fmla="*/ 4978 w 10000"/>
                <a:gd name="connsiteY273" fmla="*/ 1153 h 10000"/>
                <a:gd name="connsiteX274" fmla="*/ 4935 w 10000"/>
                <a:gd name="connsiteY274" fmla="*/ 1222 h 10000"/>
                <a:gd name="connsiteX275" fmla="*/ 5061 w 10000"/>
                <a:gd name="connsiteY275" fmla="*/ 1344 h 10000"/>
                <a:gd name="connsiteX276" fmla="*/ 5074 w 10000"/>
                <a:gd name="connsiteY276" fmla="*/ 1412 h 10000"/>
                <a:gd name="connsiteX277" fmla="*/ 4421 w 10000"/>
                <a:gd name="connsiteY277" fmla="*/ 1813 h 10000"/>
                <a:gd name="connsiteX278" fmla="*/ 4220 w 10000"/>
                <a:gd name="connsiteY278" fmla="*/ 2070 h 10000"/>
                <a:gd name="connsiteX279" fmla="*/ 4003 w 10000"/>
                <a:gd name="connsiteY279" fmla="*/ 2135 h 10000"/>
                <a:gd name="connsiteX280" fmla="*/ 3868 w 10000"/>
                <a:gd name="connsiteY280" fmla="*/ 2131 h 10000"/>
                <a:gd name="connsiteX281" fmla="*/ 3785 w 10000"/>
                <a:gd name="connsiteY281" fmla="*/ 2153 h 10000"/>
                <a:gd name="connsiteX282" fmla="*/ 3558 w 10000"/>
                <a:gd name="connsiteY282" fmla="*/ 2793 h 10000"/>
                <a:gd name="connsiteX283" fmla="*/ 3036 w 10000"/>
                <a:gd name="connsiteY283" fmla="*/ 3166 h 10000"/>
                <a:gd name="connsiteX284" fmla="*/ 3040 w 10000"/>
                <a:gd name="connsiteY284" fmla="*/ 3225 h 10000"/>
                <a:gd name="connsiteX285" fmla="*/ 3271 w 10000"/>
                <a:gd name="connsiteY285" fmla="*/ 3392 h 10000"/>
                <a:gd name="connsiteX286" fmla="*/ 3197 w 10000"/>
                <a:gd name="connsiteY286" fmla="*/ 3573 h 10000"/>
                <a:gd name="connsiteX287" fmla="*/ 3062 w 10000"/>
                <a:gd name="connsiteY287" fmla="*/ 3640 h 10000"/>
                <a:gd name="connsiteX288" fmla="*/ 2657 w 10000"/>
                <a:gd name="connsiteY288" fmla="*/ 3595 h 10000"/>
                <a:gd name="connsiteX289" fmla="*/ 2378 w 10000"/>
                <a:gd name="connsiteY289" fmla="*/ 3620 h 10000"/>
                <a:gd name="connsiteX290" fmla="*/ 2152 w 10000"/>
                <a:gd name="connsiteY290" fmla="*/ 3673 h 10000"/>
                <a:gd name="connsiteX291" fmla="*/ 1790 w 10000"/>
                <a:gd name="connsiteY291" fmla="*/ 3840 h 10000"/>
                <a:gd name="connsiteX292" fmla="*/ 1598 w 10000"/>
                <a:gd name="connsiteY292" fmla="*/ 4042 h 10000"/>
                <a:gd name="connsiteX293" fmla="*/ 1616 w 10000"/>
                <a:gd name="connsiteY293" fmla="*/ 4154 h 10000"/>
                <a:gd name="connsiteX294" fmla="*/ 1681 w 10000"/>
                <a:gd name="connsiteY294" fmla="*/ 4241 h 10000"/>
                <a:gd name="connsiteX295" fmla="*/ 1733 w 10000"/>
                <a:gd name="connsiteY295" fmla="*/ 4276 h 10000"/>
                <a:gd name="connsiteX296" fmla="*/ 1638 w 10000"/>
                <a:gd name="connsiteY296" fmla="*/ 4331 h 10000"/>
                <a:gd name="connsiteX297" fmla="*/ 1433 w 10000"/>
                <a:gd name="connsiteY297" fmla="*/ 4710 h 10000"/>
                <a:gd name="connsiteX298" fmla="*/ 1472 w 10000"/>
                <a:gd name="connsiteY298" fmla="*/ 4732 h 10000"/>
                <a:gd name="connsiteX299" fmla="*/ 1503 w 10000"/>
                <a:gd name="connsiteY299" fmla="*/ 4828 h 10000"/>
                <a:gd name="connsiteX300" fmla="*/ 1407 w 10000"/>
                <a:gd name="connsiteY300" fmla="*/ 5227 h 10000"/>
                <a:gd name="connsiteX301" fmla="*/ 1503 w 10000"/>
                <a:gd name="connsiteY301" fmla="*/ 5329 h 10000"/>
                <a:gd name="connsiteX302" fmla="*/ 1764 w 10000"/>
                <a:gd name="connsiteY302" fmla="*/ 5441 h 10000"/>
                <a:gd name="connsiteX303" fmla="*/ 1777 w 10000"/>
                <a:gd name="connsiteY303" fmla="*/ 5578 h 10000"/>
                <a:gd name="connsiteX304" fmla="*/ 1664 w 10000"/>
                <a:gd name="connsiteY304" fmla="*/ 5690 h 10000"/>
                <a:gd name="connsiteX305" fmla="*/ 1503 w 10000"/>
                <a:gd name="connsiteY305" fmla="*/ 5759 h 10000"/>
                <a:gd name="connsiteX306" fmla="*/ 1289 w 10000"/>
                <a:gd name="connsiteY306" fmla="*/ 5787 h 10000"/>
                <a:gd name="connsiteX307" fmla="*/ 1233 w 10000"/>
                <a:gd name="connsiteY307" fmla="*/ 5826 h 10000"/>
                <a:gd name="connsiteX308" fmla="*/ 1359 w 10000"/>
                <a:gd name="connsiteY308" fmla="*/ 5920 h 10000"/>
                <a:gd name="connsiteX309" fmla="*/ 1429 w 10000"/>
                <a:gd name="connsiteY309" fmla="*/ 6142 h 10000"/>
                <a:gd name="connsiteX310" fmla="*/ 1267 w 10000"/>
                <a:gd name="connsiteY310" fmla="*/ 6333 h 10000"/>
                <a:gd name="connsiteX311" fmla="*/ 1324 w 10000"/>
                <a:gd name="connsiteY311" fmla="*/ 6392 h 10000"/>
                <a:gd name="connsiteX312" fmla="*/ 1272 w 10000"/>
                <a:gd name="connsiteY312" fmla="*/ 6492 h 10000"/>
                <a:gd name="connsiteX313" fmla="*/ 1167 w 10000"/>
                <a:gd name="connsiteY313" fmla="*/ 6561 h 10000"/>
                <a:gd name="connsiteX314" fmla="*/ 758 w 10000"/>
                <a:gd name="connsiteY314" fmla="*/ 6614 h 10000"/>
                <a:gd name="connsiteX315" fmla="*/ 732 w 10000"/>
                <a:gd name="connsiteY315" fmla="*/ 6706 h 10000"/>
                <a:gd name="connsiteX316" fmla="*/ 510 w 10000"/>
                <a:gd name="connsiteY316" fmla="*/ 6843 h 10000"/>
                <a:gd name="connsiteX317" fmla="*/ 540 w 10000"/>
                <a:gd name="connsiteY317" fmla="*/ 7040 h 10000"/>
                <a:gd name="connsiteX318" fmla="*/ 353 w 10000"/>
                <a:gd name="connsiteY318" fmla="*/ 7293 h 10000"/>
                <a:gd name="connsiteX319" fmla="*/ 226 w 10000"/>
                <a:gd name="connsiteY319" fmla="*/ 7323 h 10000"/>
                <a:gd name="connsiteX320" fmla="*/ 174 w 10000"/>
                <a:gd name="connsiteY320" fmla="*/ 7262 h 10000"/>
                <a:gd name="connsiteX321" fmla="*/ 109 w 10000"/>
                <a:gd name="connsiteY321" fmla="*/ 7354 h 10000"/>
                <a:gd name="connsiteX322" fmla="*/ 152 w 10000"/>
                <a:gd name="connsiteY322" fmla="*/ 7197 h 10000"/>
                <a:gd name="connsiteX323" fmla="*/ 126 w 10000"/>
                <a:gd name="connsiteY323"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558 w 10000"/>
                <a:gd name="connsiteY207" fmla="*/ 2481 h 10000"/>
                <a:gd name="connsiteX208" fmla="*/ 8698 w 10000"/>
                <a:gd name="connsiteY208" fmla="*/ 2504 h 10000"/>
                <a:gd name="connsiteX209" fmla="*/ 8815 w 10000"/>
                <a:gd name="connsiteY209" fmla="*/ 2548 h 10000"/>
                <a:gd name="connsiteX210" fmla="*/ 8789 w 10000"/>
                <a:gd name="connsiteY210" fmla="*/ 2457 h 10000"/>
                <a:gd name="connsiteX211" fmla="*/ 8798 w 10000"/>
                <a:gd name="connsiteY211" fmla="*/ 2467 h 10000"/>
                <a:gd name="connsiteX212" fmla="*/ 8841 w 10000"/>
                <a:gd name="connsiteY212" fmla="*/ 2457 h 10000"/>
                <a:gd name="connsiteX213" fmla="*/ 8855 w 10000"/>
                <a:gd name="connsiteY213" fmla="*/ 2341 h 10000"/>
                <a:gd name="connsiteX214" fmla="*/ 8898 w 10000"/>
                <a:gd name="connsiteY214" fmla="*/ 2332 h 10000"/>
                <a:gd name="connsiteX215" fmla="*/ 8946 w 10000"/>
                <a:gd name="connsiteY215" fmla="*/ 2330 h 10000"/>
                <a:gd name="connsiteX216" fmla="*/ 8946 w 10000"/>
                <a:gd name="connsiteY216" fmla="*/ 2361 h 10000"/>
                <a:gd name="connsiteX217" fmla="*/ 8994 w 10000"/>
                <a:gd name="connsiteY217" fmla="*/ 2389 h 10000"/>
                <a:gd name="connsiteX218" fmla="*/ 9051 w 10000"/>
                <a:gd name="connsiteY218" fmla="*/ 2400 h 10000"/>
                <a:gd name="connsiteX219" fmla="*/ 9094 w 10000"/>
                <a:gd name="connsiteY219" fmla="*/ 2324 h 10000"/>
                <a:gd name="connsiteX220" fmla="*/ 9164 w 10000"/>
                <a:gd name="connsiteY220" fmla="*/ 2347 h 10000"/>
                <a:gd name="connsiteX221" fmla="*/ 9247 w 10000"/>
                <a:gd name="connsiteY221" fmla="*/ 2402 h 10000"/>
                <a:gd name="connsiteX222" fmla="*/ 9286 w 10000"/>
                <a:gd name="connsiteY222" fmla="*/ 2400 h 10000"/>
                <a:gd name="connsiteX223" fmla="*/ 9355 w 10000"/>
                <a:gd name="connsiteY223" fmla="*/ 2428 h 10000"/>
                <a:gd name="connsiteX224" fmla="*/ 9408 w 10000"/>
                <a:gd name="connsiteY224" fmla="*/ 2359 h 10000"/>
                <a:gd name="connsiteX225" fmla="*/ 9717 w 10000"/>
                <a:gd name="connsiteY225" fmla="*/ 2343 h 10000"/>
                <a:gd name="connsiteX226" fmla="*/ 9830 w 10000"/>
                <a:gd name="connsiteY226" fmla="*/ 2369 h 10000"/>
                <a:gd name="connsiteX227" fmla="*/ 9909 w 10000"/>
                <a:gd name="connsiteY227" fmla="*/ 2410 h 10000"/>
                <a:gd name="connsiteX228" fmla="*/ 9948 w 10000"/>
                <a:gd name="connsiteY228" fmla="*/ 2365 h 10000"/>
                <a:gd name="connsiteX229" fmla="*/ 10000 w 10000"/>
                <a:gd name="connsiteY229" fmla="*/ 2349 h 10000"/>
                <a:gd name="connsiteX230" fmla="*/ 9704 w 10000"/>
                <a:gd name="connsiteY230" fmla="*/ 1992 h 10000"/>
                <a:gd name="connsiteX231" fmla="*/ 9743 w 10000"/>
                <a:gd name="connsiteY231" fmla="*/ 1897 h 10000"/>
                <a:gd name="connsiteX232" fmla="*/ 9830 w 10000"/>
                <a:gd name="connsiteY232" fmla="*/ 1819 h 10000"/>
                <a:gd name="connsiteX233" fmla="*/ 9830 w 10000"/>
                <a:gd name="connsiteY233" fmla="*/ 1699 h 10000"/>
                <a:gd name="connsiteX234" fmla="*/ 9556 w 10000"/>
                <a:gd name="connsiteY234" fmla="*/ 1465 h 10000"/>
                <a:gd name="connsiteX235" fmla="*/ 9512 w 10000"/>
                <a:gd name="connsiteY235" fmla="*/ 1379 h 10000"/>
                <a:gd name="connsiteX236" fmla="*/ 9573 w 10000"/>
                <a:gd name="connsiteY236" fmla="*/ 1271 h 10000"/>
                <a:gd name="connsiteX237" fmla="*/ 9543 w 10000"/>
                <a:gd name="connsiteY237" fmla="*/ 1194 h 10000"/>
                <a:gd name="connsiteX238" fmla="*/ 9486 w 10000"/>
                <a:gd name="connsiteY238" fmla="*/ 1159 h 10000"/>
                <a:gd name="connsiteX239" fmla="*/ 9438 w 10000"/>
                <a:gd name="connsiteY239" fmla="*/ 978 h 10000"/>
                <a:gd name="connsiteX240" fmla="*/ 9495 w 10000"/>
                <a:gd name="connsiteY240" fmla="*/ 831 h 10000"/>
                <a:gd name="connsiteX241" fmla="*/ 9077 w 10000"/>
                <a:gd name="connsiteY241" fmla="*/ 517 h 10000"/>
                <a:gd name="connsiteX242" fmla="*/ 8872 w 10000"/>
                <a:gd name="connsiteY242" fmla="*/ 440 h 10000"/>
                <a:gd name="connsiteX243" fmla="*/ 8493 w 10000"/>
                <a:gd name="connsiteY243" fmla="*/ 389 h 10000"/>
                <a:gd name="connsiteX244" fmla="*/ 7709 w 10000"/>
                <a:gd name="connsiteY244" fmla="*/ 26 h 10000"/>
                <a:gd name="connsiteX245" fmla="*/ 7683 w 10000"/>
                <a:gd name="connsiteY245" fmla="*/ 2 h 10000"/>
                <a:gd name="connsiteX246" fmla="*/ 7417 w 10000"/>
                <a:gd name="connsiteY246" fmla="*/ 0 h 10000"/>
                <a:gd name="connsiteX247" fmla="*/ 7356 w 10000"/>
                <a:gd name="connsiteY247" fmla="*/ 14 h 10000"/>
                <a:gd name="connsiteX248" fmla="*/ 7369 w 10000"/>
                <a:gd name="connsiteY248" fmla="*/ 61 h 10000"/>
                <a:gd name="connsiteX249" fmla="*/ 7422 w 10000"/>
                <a:gd name="connsiteY249" fmla="*/ 86 h 10000"/>
                <a:gd name="connsiteX250" fmla="*/ 7435 w 10000"/>
                <a:gd name="connsiteY250" fmla="*/ 139 h 10000"/>
                <a:gd name="connsiteX251" fmla="*/ 7417 w 10000"/>
                <a:gd name="connsiteY251" fmla="*/ 181 h 10000"/>
                <a:gd name="connsiteX252" fmla="*/ 7369 w 10000"/>
                <a:gd name="connsiteY252" fmla="*/ 208 h 10000"/>
                <a:gd name="connsiteX253" fmla="*/ 7334 w 10000"/>
                <a:gd name="connsiteY253" fmla="*/ 283 h 10000"/>
                <a:gd name="connsiteX254" fmla="*/ 7269 w 10000"/>
                <a:gd name="connsiteY254" fmla="*/ 336 h 10000"/>
                <a:gd name="connsiteX255" fmla="*/ 7282 w 10000"/>
                <a:gd name="connsiteY255" fmla="*/ 387 h 10000"/>
                <a:gd name="connsiteX256" fmla="*/ 7382 w 10000"/>
                <a:gd name="connsiteY256" fmla="*/ 434 h 10000"/>
                <a:gd name="connsiteX257" fmla="*/ 7317 w 10000"/>
                <a:gd name="connsiteY257" fmla="*/ 475 h 10000"/>
                <a:gd name="connsiteX258" fmla="*/ 7221 w 10000"/>
                <a:gd name="connsiteY258" fmla="*/ 485 h 10000"/>
                <a:gd name="connsiteX259" fmla="*/ 6420 w 10000"/>
                <a:gd name="connsiteY259" fmla="*/ 387 h 10000"/>
                <a:gd name="connsiteX260" fmla="*/ 6324 w 10000"/>
                <a:gd name="connsiteY260" fmla="*/ 395 h 10000"/>
                <a:gd name="connsiteX261" fmla="*/ 6267 w 10000"/>
                <a:gd name="connsiteY261" fmla="*/ 414 h 10000"/>
                <a:gd name="connsiteX262" fmla="*/ 6211 w 10000"/>
                <a:gd name="connsiteY262" fmla="*/ 462 h 10000"/>
                <a:gd name="connsiteX263" fmla="*/ 6220 w 10000"/>
                <a:gd name="connsiteY263" fmla="*/ 581 h 10000"/>
                <a:gd name="connsiteX264" fmla="*/ 6132 w 10000"/>
                <a:gd name="connsiteY264" fmla="*/ 735 h 10000"/>
                <a:gd name="connsiteX265" fmla="*/ 6024 w 10000"/>
                <a:gd name="connsiteY265" fmla="*/ 815 h 10000"/>
                <a:gd name="connsiteX266" fmla="*/ 5980 w 10000"/>
                <a:gd name="connsiteY266" fmla="*/ 805 h 10000"/>
                <a:gd name="connsiteX267" fmla="*/ 5880 w 10000"/>
                <a:gd name="connsiteY267" fmla="*/ 739 h 10000"/>
                <a:gd name="connsiteX268" fmla="*/ 5753 w 10000"/>
                <a:gd name="connsiteY268" fmla="*/ 705 h 10000"/>
                <a:gd name="connsiteX269" fmla="*/ 5618 w 10000"/>
                <a:gd name="connsiteY269" fmla="*/ 715 h 10000"/>
                <a:gd name="connsiteX270" fmla="*/ 5301 w 10000"/>
                <a:gd name="connsiteY270" fmla="*/ 866 h 10000"/>
                <a:gd name="connsiteX271" fmla="*/ 5218 w 10000"/>
                <a:gd name="connsiteY271" fmla="*/ 1017 h 10000"/>
                <a:gd name="connsiteX272" fmla="*/ 4978 w 10000"/>
                <a:gd name="connsiteY272" fmla="*/ 1153 h 10000"/>
                <a:gd name="connsiteX273" fmla="*/ 4935 w 10000"/>
                <a:gd name="connsiteY273" fmla="*/ 1222 h 10000"/>
                <a:gd name="connsiteX274" fmla="*/ 5061 w 10000"/>
                <a:gd name="connsiteY274" fmla="*/ 1344 h 10000"/>
                <a:gd name="connsiteX275" fmla="*/ 5074 w 10000"/>
                <a:gd name="connsiteY275" fmla="*/ 1412 h 10000"/>
                <a:gd name="connsiteX276" fmla="*/ 4421 w 10000"/>
                <a:gd name="connsiteY276" fmla="*/ 1813 h 10000"/>
                <a:gd name="connsiteX277" fmla="*/ 4220 w 10000"/>
                <a:gd name="connsiteY277" fmla="*/ 2070 h 10000"/>
                <a:gd name="connsiteX278" fmla="*/ 4003 w 10000"/>
                <a:gd name="connsiteY278" fmla="*/ 2135 h 10000"/>
                <a:gd name="connsiteX279" fmla="*/ 3868 w 10000"/>
                <a:gd name="connsiteY279" fmla="*/ 2131 h 10000"/>
                <a:gd name="connsiteX280" fmla="*/ 3785 w 10000"/>
                <a:gd name="connsiteY280" fmla="*/ 2153 h 10000"/>
                <a:gd name="connsiteX281" fmla="*/ 3558 w 10000"/>
                <a:gd name="connsiteY281" fmla="*/ 2793 h 10000"/>
                <a:gd name="connsiteX282" fmla="*/ 3036 w 10000"/>
                <a:gd name="connsiteY282" fmla="*/ 3166 h 10000"/>
                <a:gd name="connsiteX283" fmla="*/ 3040 w 10000"/>
                <a:gd name="connsiteY283" fmla="*/ 3225 h 10000"/>
                <a:gd name="connsiteX284" fmla="*/ 3271 w 10000"/>
                <a:gd name="connsiteY284" fmla="*/ 3392 h 10000"/>
                <a:gd name="connsiteX285" fmla="*/ 3197 w 10000"/>
                <a:gd name="connsiteY285" fmla="*/ 3573 h 10000"/>
                <a:gd name="connsiteX286" fmla="*/ 3062 w 10000"/>
                <a:gd name="connsiteY286" fmla="*/ 3640 h 10000"/>
                <a:gd name="connsiteX287" fmla="*/ 2657 w 10000"/>
                <a:gd name="connsiteY287" fmla="*/ 3595 h 10000"/>
                <a:gd name="connsiteX288" fmla="*/ 2378 w 10000"/>
                <a:gd name="connsiteY288" fmla="*/ 3620 h 10000"/>
                <a:gd name="connsiteX289" fmla="*/ 2152 w 10000"/>
                <a:gd name="connsiteY289" fmla="*/ 3673 h 10000"/>
                <a:gd name="connsiteX290" fmla="*/ 1790 w 10000"/>
                <a:gd name="connsiteY290" fmla="*/ 3840 h 10000"/>
                <a:gd name="connsiteX291" fmla="*/ 1598 w 10000"/>
                <a:gd name="connsiteY291" fmla="*/ 4042 h 10000"/>
                <a:gd name="connsiteX292" fmla="*/ 1616 w 10000"/>
                <a:gd name="connsiteY292" fmla="*/ 4154 h 10000"/>
                <a:gd name="connsiteX293" fmla="*/ 1681 w 10000"/>
                <a:gd name="connsiteY293" fmla="*/ 4241 h 10000"/>
                <a:gd name="connsiteX294" fmla="*/ 1733 w 10000"/>
                <a:gd name="connsiteY294" fmla="*/ 4276 h 10000"/>
                <a:gd name="connsiteX295" fmla="*/ 1638 w 10000"/>
                <a:gd name="connsiteY295" fmla="*/ 4331 h 10000"/>
                <a:gd name="connsiteX296" fmla="*/ 1433 w 10000"/>
                <a:gd name="connsiteY296" fmla="*/ 4710 h 10000"/>
                <a:gd name="connsiteX297" fmla="*/ 1472 w 10000"/>
                <a:gd name="connsiteY297" fmla="*/ 4732 h 10000"/>
                <a:gd name="connsiteX298" fmla="*/ 1503 w 10000"/>
                <a:gd name="connsiteY298" fmla="*/ 4828 h 10000"/>
                <a:gd name="connsiteX299" fmla="*/ 1407 w 10000"/>
                <a:gd name="connsiteY299" fmla="*/ 5227 h 10000"/>
                <a:gd name="connsiteX300" fmla="*/ 1503 w 10000"/>
                <a:gd name="connsiteY300" fmla="*/ 5329 h 10000"/>
                <a:gd name="connsiteX301" fmla="*/ 1764 w 10000"/>
                <a:gd name="connsiteY301" fmla="*/ 5441 h 10000"/>
                <a:gd name="connsiteX302" fmla="*/ 1777 w 10000"/>
                <a:gd name="connsiteY302" fmla="*/ 5578 h 10000"/>
                <a:gd name="connsiteX303" fmla="*/ 1664 w 10000"/>
                <a:gd name="connsiteY303" fmla="*/ 5690 h 10000"/>
                <a:gd name="connsiteX304" fmla="*/ 1503 w 10000"/>
                <a:gd name="connsiteY304" fmla="*/ 5759 h 10000"/>
                <a:gd name="connsiteX305" fmla="*/ 1289 w 10000"/>
                <a:gd name="connsiteY305" fmla="*/ 5787 h 10000"/>
                <a:gd name="connsiteX306" fmla="*/ 1233 w 10000"/>
                <a:gd name="connsiteY306" fmla="*/ 5826 h 10000"/>
                <a:gd name="connsiteX307" fmla="*/ 1359 w 10000"/>
                <a:gd name="connsiteY307" fmla="*/ 5920 h 10000"/>
                <a:gd name="connsiteX308" fmla="*/ 1429 w 10000"/>
                <a:gd name="connsiteY308" fmla="*/ 6142 h 10000"/>
                <a:gd name="connsiteX309" fmla="*/ 1267 w 10000"/>
                <a:gd name="connsiteY309" fmla="*/ 6333 h 10000"/>
                <a:gd name="connsiteX310" fmla="*/ 1324 w 10000"/>
                <a:gd name="connsiteY310" fmla="*/ 6392 h 10000"/>
                <a:gd name="connsiteX311" fmla="*/ 1272 w 10000"/>
                <a:gd name="connsiteY311" fmla="*/ 6492 h 10000"/>
                <a:gd name="connsiteX312" fmla="*/ 1167 w 10000"/>
                <a:gd name="connsiteY312" fmla="*/ 6561 h 10000"/>
                <a:gd name="connsiteX313" fmla="*/ 758 w 10000"/>
                <a:gd name="connsiteY313" fmla="*/ 6614 h 10000"/>
                <a:gd name="connsiteX314" fmla="*/ 732 w 10000"/>
                <a:gd name="connsiteY314" fmla="*/ 6706 h 10000"/>
                <a:gd name="connsiteX315" fmla="*/ 510 w 10000"/>
                <a:gd name="connsiteY315" fmla="*/ 6843 h 10000"/>
                <a:gd name="connsiteX316" fmla="*/ 540 w 10000"/>
                <a:gd name="connsiteY316" fmla="*/ 7040 h 10000"/>
                <a:gd name="connsiteX317" fmla="*/ 353 w 10000"/>
                <a:gd name="connsiteY317" fmla="*/ 7293 h 10000"/>
                <a:gd name="connsiteX318" fmla="*/ 226 w 10000"/>
                <a:gd name="connsiteY318" fmla="*/ 7323 h 10000"/>
                <a:gd name="connsiteX319" fmla="*/ 174 w 10000"/>
                <a:gd name="connsiteY319" fmla="*/ 7262 h 10000"/>
                <a:gd name="connsiteX320" fmla="*/ 109 w 10000"/>
                <a:gd name="connsiteY320" fmla="*/ 7354 h 10000"/>
                <a:gd name="connsiteX321" fmla="*/ 152 w 10000"/>
                <a:gd name="connsiteY321" fmla="*/ 7197 h 10000"/>
                <a:gd name="connsiteX322" fmla="*/ 126 w 10000"/>
                <a:gd name="connsiteY322"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558 w 10000"/>
                <a:gd name="connsiteY207" fmla="*/ 2481 h 10000"/>
                <a:gd name="connsiteX208" fmla="*/ 8698 w 10000"/>
                <a:gd name="connsiteY208" fmla="*/ 2504 h 10000"/>
                <a:gd name="connsiteX209" fmla="*/ 8815 w 10000"/>
                <a:gd name="connsiteY209" fmla="*/ 2548 h 10000"/>
                <a:gd name="connsiteX210" fmla="*/ 8789 w 10000"/>
                <a:gd name="connsiteY210" fmla="*/ 2457 h 10000"/>
                <a:gd name="connsiteX211" fmla="*/ 8798 w 10000"/>
                <a:gd name="connsiteY211" fmla="*/ 2467 h 10000"/>
                <a:gd name="connsiteX212" fmla="*/ 8855 w 10000"/>
                <a:gd name="connsiteY212" fmla="*/ 2341 h 10000"/>
                <a:gd name="connsiteX213" fmla="*/ 8898 w 10000"/>
                <a:gd name="connsiteY213" fmla="*/ 2332 h 10000"/>
                <a:gd name="connsiteX214" fmla="*/ 8946 w 10000"/>
                <a:gd name="connsiteY214" fmla="*/ 2330 h 10000"/>
                <a:gd name="connsiteX215" fmla="*/ 8946 w 10000"/>
                <a:gd name="connsiteY215" fmla="*/ 2361 h 10000"/>
                <a:gd name="connsiteX216" fmla="*/ 8994 w 10000"/>
                <a:gd name="connsiteY216" fmla="*/ 2389 h 10000"/>
                <a:gd name="connsiteX217" fmla="*/ 9051 w 10000"/>
                <a:gd name="connsiteY217" fmla="*/ 2400 h 10000"/>
                <a:gd name="connsiteX218" fmla="*/ 9094 w 10000"/>
                <a:gd name="connsiteY218" fmla="*/ 2324 h 10000"/>
                <a:gd name="connsiteX219" fmla="*/ 9164 w 10000"/>
                <a:gd name="connsiteY219" fmla="*/ 2347 h 10000"/>
                <a:gd name="connsiteX220" fmla="*/ 9247 w 10000"/>
                <a:gd name="connsiteY220" fmla="*/ 2402 h 10000"/>
                <a:gd name="connsiteX221" fmla="*/ 9286 w 10000"/>
                <a:gd name="connsiteY221" fmla="*/ 2400 h 10000"/>
                <a:gd name="connsiteX222" fmla="*/ 9355 w 10000"/>
                <a:gd name="connsiteY222" fmla="*/ 2428 h 10000"/>
                <a:gd name="connsiteX223" fmla="*/ 9408 w 10000"/>
                <a:gd name="connsiteY223" fmla="*/ 2359 h 10000"/>
                <a:gd name="connsiteX224" fmla="*/ 9717 w 10000"/>
                <a:gd name="connsiteY224" fmla="*/ 2343 h 10000"/>
                <a:gd name="connsiteX225" fmla="*/ 9830 w 10000"/>
                <a:gd name="connsiteY225" fmla="*/ 2369 h 10000"/>
                <a:gd name="connsiteX226" fmla="*/ 9909 w 10000"/>
                <a:gd name="connsiteY226" fmla="*/ 2410 h 10000"/>
                <a:gd name="connsiteX227" fmla="*/ 9948 w 10000"/>
                <a:gd name="connsiteY227" fmla="*/ 2365 h 10000"/>
                <a:gd name="connsiteX228" fmla="*/ 10000 w 10000"/>
                <a:gd name="connsiteY228" fmla="*/ 2349 h 10000"/>
                <a:gd name="connsiteX229" fmla="*/ 9704 w 10000"/>
                <a:gd name="connsiteY229" fmla="*/ 1992 h 10000"/>
                <a:gd name="connsiteX230" fmla="*/ 9743 w 10000"/>
                <a:gd name="connsiteY230" fmla="*/ 1897 h 10000"/>
                <a:gd name="connsiteX231" fmla="*/ 9830 w 10000"/>
                <a:gd name="connsiteY231" fmla="*/ 1819 h 10000"/>
                <a:gd name="connsiteX232" fmla="*/ 9830 w 10000"/>
                <a:gd name="connsiteY232" fmla="*/ 1699 h 10000"/>
                <a:gd name="connsiteX233" fmla="*/ 9556 w 10000"/>
                <a:gd name="connsiteY233" fmla="*/ 1465 h 10000"/>
                <a:gd name="connsiteX234" fmla="*/ 9512 w 10000"/>
                <a:gd name="connsiteY234" fmla="*/ 1379 h 10000"/>
                <a:gd name="connsiteX235" fmla="*/ 9573 w 10000"/>
                <a:gd name="connsiteY235" fmla="*/ 1271 h 10000"/>
                <a:gd name="connsiteX236" fmla="*/ 9543 w 10000"/>
                <a:gd name="connsiteY236" fmla="*/ 1194 h 10000"/>
                <a:gd name="connsiteX237" fmla="*/ 9486 w 10000"/>
                <a:gd name="connsiteY237" fmla="*/ 1159 h 10000"/>
                <a:gd name="connsiteX238" fmla="*/ 9438 w 10000"/>
                <a:gd name="connsiteY238" fmla="*/ 978 h 10000"/>
                <a:gd name="connsiteX239" fmla="*/ 9495 w 10000"/>
                <a:gd name="connsiteY239" fmla="*/ 831 h 10000"/>
                <a:gd name="connsiteX240" fmla="*/ 9077 w 10000"/>
                <a:gd name="connsiteY240" fmla="*/ 517 h 10000"/>
                <a:gd name="connsiteX241" fmla="*/ 8872 w 10000"/>
                <a:gd name="connsiteY241" fmla="*/ 440 h 10000"/>
                <a:gd name="connsiteX242" fmla="*/ 8493 w 10000"/>
                <a:gd name="connsiteY242" fmla="*/ 389 h 10000"/>
                <a:gd name="connsiteX243" fmla="*/ 7709 w 10000"/>
                <a:gd name="connsiteY243" fmla="*/ 26 h 10000"/>
                <a:gd name="connsiteX244" fmla="*/ 7683 w 10000"/>
                <a:gd name="connsiteY244" fmla="*/ 2 h 10000"/>
                <a:gd name="connsiteX245" fmla="*/ 7417 w 10000"/>
                <a:gd name="connsiteY245" fmla="*/ 0 h 10000"/>
                <a:gd name="connsiteX246" fmla="*/ 7356 w 10000"/>
                <a:gd name="connsiteY246" fmla="*/ 14 h 10000"/>
                <a:gd name="connsiteX247" fmla="*/ 7369 w 10000"/>
                <a:gd name="connsiteY247" fmla="*/ 61 h 10000"/>
                <a:gd name="connsiteX248" fmla="*/ 7422 w 10000"/>
                <a:gd name="connsiteY248" fmla="*/ 86 h 10000"/>
                <a:gd name="connsiteX249" fmla="*/ 7435 w 10000"/>
                <a:gd name="connsiteY249" fmla="*/ 139 h 10000"/>
                <a:gd name="connsiteX250" fmla="*/ 7417 w 10000"/>
                <a:gd name="connsiteY250" fmla="*/ 181 h 10000"/>
                <a:gd name="connsiteX251" fmla="*/ 7369 w 10000"/>
                <a:gd name="connsiteY251" fmla="*/ 208 h 10000"/>
                <a:gd name="connsiteX252" fmla="*/ 7334 w 10000"/>
                <a:gd name="connsiteY252" fmla="*/ 283 h 10000"/>
                <a:gd name="connsiteX253" fmla="*/ 7269 w 10000"/>
                <a:gd name="connsiteY253" fmla="*/ 336 h 10000"/>
                <a:gd name="connsiteX254" fmla="*/ 7282 w 10000"/>
                <a:gd name="connsiteY254" fmla="*/ 387 h 10000"/>
                <a:gd name="connsiteX255" fmla="*/ 7382 w 10000"/>
                <a:gd name="connsiteY255" fmla="*/ 434 h 10000"/>
                <a:gd name="connsiteX256" fmla="*/ 7317 w 10000"/>
                <a:gd name="connsiteY256" fmla="*/ 475 h 10000"/>
                <a:gd name="connsiteX257" fmla="*/ 7221 w 10000"/>
                <a:gd name="connsiteY257" fmla="*/ 485 h 10000"/>
                <a:gd name="connsiteX258" fmla="*/ 6420 w 10000"/>
                <a:gd name="connsiteY258" fmla="*/ 387 h 10000"/>
                <a:gd name="connsiteX259" fmla="*/ 6324 w 10000"/>
                <a:gd name="connsiteY259" fmla="*/ 395 h 10000"/>
                <a:gd name="connsiteX260" fmla="*/ 6267 w 10000"/>
                <a:gd name="connsiteY260" fmla="*/ 414 h 10000"/>
                <a:gd name="connsiteX261" fmla="*/ 6211 w 10000"/>
                <a:gd name="connsiteY261" fmla="*/ 462 h 10000"/>
                <a:gd name="connsiteX262" fmla="*/ 6220 w 10000"/>
                <a:gd name="connsiteY262" fmla="*/ 581 h 10000"/>
                <a:gd name="connsiteX263" fmla="*/ 6132 w 10000"/>
                <a:gd name="connsiteY263" fmla="*/ 735 h 10000"/>
                <a:gd name="connsiteX264" fmla="*/ 6024 w 10000"/>
                <a:gd name="connsiteY264" fmla="*/ 815 h 10000"/>
                <a:gd name="connsiteX265" fmla="*/ 5980 w 10000"/>
                <a:gd name="connsiteY265" fmla="*/ 805 h 10000"/>
                <a:gd name="connsiteX266" fmla="*/ 5880 w 10000"/>
                <a:gd name="connsiteY266" fmla="*/ 739 h 10000"/>
                <a:gd name="connsiteX267" fmla="*/ 5753 w 10000"/>
                <a:gd name="connsiteY267" fmla="*/ 705 h 10000"/>
                <a:gd name="connsiteX268" fmla="*/ 5618 w 10000"/>
                <a:gd name="connsiteY268" fmla="*/ 715 h 10000"/>
                <a:gd name="connsiteX269" fmla="*/ 5301 w 10000"/>
                <a:gd name="connsiteY269" fmla="*/ 866 h 10000"/>
                <a:gd name="connsiteX270" fmla="*/ 5218 w 10000"/>
                <a:gd name="connsiteY270" fmla="*/ 1017 h 10000"/>
                <a:gd name="connsiteX271" fmla="*/ 4978 w 10000"/>
                <a:gd name="connsiteY271" fmla="*/ 1153 h 10000"/>
                <a:gd name="connsiteX272" fmla="*/ 4935 w 10000"/>
                <a:gd name="connsiteY272" fmla="*/ 1222 h 10000"/>
                <a:gd name="connsiteX273" fmla="*/ 5061 w 10000"/>
                <a:gd name="connsiteY273" fmla="*/ 1344 h 10000"/>
                <a:gd name="connsiteX274" fmla="*/ 5074 w 10000"/>
                <a:gd name="connsiteY274" fmla="*/ 1412 h 10000"/>
                <a:gd name="connsiteX275" fmla="*/ 4421 w 10000"/>
                <a:gd name="connsiteY275" fmla="*/ 1813 h 10000"/>
                <a:gd name="connsiteX276" fmla="*/ 4220 w 10000"/>
                <a:gd name="connsiteY276" fmla="*/ 2070 h 10000"/>
                <a:gd name="connsiteX277" fmla="*/ 4003 w 10000"/>
                <a:gd name="connsiteY277" fmla="*/ 2135 h 10000"/>
                <a:gd name="connsiteX278" fmla="*/ 3868 w 10000"/>
                <a:gd name="connsiteY278" fmla="*/ 2131 h 10000"/>
                <a:gd name="connsiteX279" fmla="*/ 3785 w 10000"/>
                <a:gd name="connsiteY279" fmla="*/ 2153 h 10000"/>
                <a:gd name="connsiteX280" fmla="*/ 3558 w 10000"/>
                <a:gd name="connsiteY280" fmla="*/ 2793 h 10000"/>
                <a:gd name="connsiteX281" fmla="*/ 3036 w 10000"/>
                <a:gd name="connsiteY281" fmla="*/ 3166 h 10000"/>
                <a:gd name="connsiteX282" fmla="*/ 3040 w 10000"/>
                <a:gd name="connsiteY282" fmla="*/ 3225 h 10000"/>
                <a:gd name="connsiteX283" fmla="*/ 3271 w 10000"/>
                <a:gd name="connsiteY283" fmla="*/ 3392 h 10000"/>
                <a:gd name="connsiteX284" fmla="*/ 3197 w 10000"/>
                <a:gd name="connsiteY284" fmla="*/ 3573 h 10000"/>
                <a:gd name="connsiteX285" fmla="*/ 3062 w 10000"/>
                <a:gd name="connsiteY285" fmla="*/ 3640 h 10000"/>
                <a:gd name="connsiteX286" fmla="*/ 2657 w 10000"/>
                <a:gd name="connsiteY286" fmla="*/ 3595 h 10000"/>
                <a:gd name="connsiteX287" fmla="*/ 2378 w 10000"/>
                <a:gd name="connsiteY287" fmla="*/ 3620 h 10000"/>
                <a:gd name="connsiteX288" fmla="*/ 2152 w 10000"/>
                <a:gd name="connsiteY288" fmla="*/ 3673 h 10000"/>
                <a:gd name="connsiteX289" fmla="*/ 1790 w 10000"/>
                <a:gd name="connsiteY289" fmla="*/ 3840 h 10000"/>
                <a:gd name="connsiteX290" fmla="*/ 1598 w 10000"/>
                <a:gd name="connsiteY290" fmla="*/ 4042 h 10000"/>
                <a:gd name="connsiteX291" fmla="*/ 1616 w 10000"/>
                <a:gd name="connsiteY291" fmla="*/ 4154 h 10000"/>
                <a:gd name="connsiteX292" fmla="*/ 1681 w 10000"/>
                <a:gd name="connsiteY292" fmla="*/ 4241 h 10000"/>
                <a:gd name="connsiteX293" fmla="*/ 1733 w 10000"/>
                <a:gd name="connsiteY293" fmla="*/ 4276 h 10000"/>
                <a:gd name="connsiteX294" fmla="*/ 1638 w 10000"/>
                <a:gd name="connsiteY294" fmla="*/ 4331 h 10000"/>
                <a:gd name="connsiteX295" fmla="*/ 1433 w 10000"/>
                <a:gd name="connsiteY295" fmla="*/ 4710 h 10000"/>
                <a:gd name="connsiteX296" fmla="*/ 1472 w 10000"/>
                <a:gd name="connsiteY296" fmla="*/ 4732 h 10000"/>
                <a:gd name="connsiteX297" fmla="*/ 1503 w 10000"/>
                <a:gd name="connsiteY297" fmla="*/ 4828 h 10000"/>
                <a:gd name="connsiteX298" fmla="*/ 1407 w 10000"/>
                <a:gd name="connsiteY298" fmla="*/ 5227 h 10000"/>
                <a:gd name="connsiteX299" fmla="*/ 1503 w 10000"/>
                <a:gd name="connsiteY299" fmla="*/ 5329 h 10000"/>
                <a:gd name="connsiteX300" fmla="*/ 1764 w 10000"/>
                <a:gd name="connsiteY300" fmla="*/ 5441 h 10000"/>
                <a:gd name="connsiteX301" fmla="*/ 1777 w 10000"/>
                <a:gd name="connsiteY301" fmla="*/ 5578 h 10000"/>
                <a:gd name="connsiteX302" fmla="*/ 1664 w 10000"/>
                <a:gd name="connsiteY302" fmla="*/ 5690 h 10000"/>
                <a:gd name="connsiteX303" fmla="*/ 1503 w 10000"/>
                <a:gd name="connsiteY303" fmla="*/ 5759 h 10000"/>
                <a:gd name="connsiteX304" fmla="*/ 1289 w 10000"/>
                <a:gd name="connsiteY304" fmla="*/ 5787 h 10000"/>
                <a:gd name="connsiteX305" fmla="*/ 1233 w 10000"/>
                <a:gd name="connsiteY305" fmla="*/ 5826 h 10000"/>
                <a:gd name="connsiteX306" fmla="*/ 1359 w 10000"/>
                <a:gd name="connsiteY306" fmla="*/ 5920 h 10000"/>
                <a:gd name="connsiteX307" fmla="*/ 1429 w 10000"/>
                <a:gd name="connsiteY307" fmla="*/ 6142 h 10000"/>
                <a:gd name="connsiteX308" fmla="*/ 1267 w 10000"/>
                <a:gd name="connsiteY308" fmla="*/ 6333 h 10000"/>
                <a:gd name="connsiteX309" fmla="*/ 1324 w 10000"/>
                <a:gd name="connsiteY309" fmla="*/ 6392 h 10000"/>
                <a:gd name="connsiteX310" fmla="*/ 1272 w 10000"/>
                <a:gd name="connsiteY310" fmla="*/ 6492 h 10000"/>
                <a:gd name="connsiteX311" fmla="*/ 1167 w 10000"/>
                <a:gd name="connsiteY311" fmla="*/ 6561 h 10000"/>
                <a:gd name="connsiteX312" fmla="*/ 758 w 10000"/>
                <a:gd name="connsiteY312" fmla="*/ 6614 h 10000"/>
                <a:gd name="connsiteX313" fmla="*/ 732 w 10000"/>
                <a:gd name="connsiteY313" fmla="*/ 6706 h 10000"/>
                <a:gd name="connsiteX314" fmla="*/ 510 w 10000"/>
                <a:gd name="connsiteY314" fmla="*/ 6843 h 10000"/>
                <a:gd name="connsiteX315" fmla="*/ 540 w 10000"/>
                <a:gd name="connsiteY315" fmla="*/ 7040 h 10000"/>
                <a:gd name="connsiteX316" fmla="*/ 353 w 10000"/>
                <a:gd name="connsiteY316" fmla="*/ 7293 h 10000"/>
                <a:gd name="connsiteX317" fmla="*/ 226 w 10000"/>
                <a:gd name="connsiteY317" fmla="*/ 7323 h 10000"/>
                <a:gd name="connsiteX318" fmla="*/ 174 w 10000"/>
                <a:gd name="connsiteY318" fmla="*/ 7262 h 10000"/>
                <a:gd name="connsiteX319" fmla="*/ 109 w 10000"/>
                <a:gd name="connsiteY319" fmla="*/ 7354 h 10000"/>
                <a:gd name="connsiteX320" fmla="*/ 152 w 10000"/>
                <a:gd name="connsiteY320" fmla="*/ 7197 h 10000"/>
                <a:gd name="connsiteX321" fmla="*/ 126 w 10000"/>
                <a:gd name="connsiteY321"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558 w 10000"/>
                <a:gd name="connsiteY207" fmla="*/ 2481 h 10000"/>
                <a:gd name="connsiteX208" fmla="*/ 8698 w 10000"/>
                <a:gd name="connsiteY208" fmla="*/ 2504 h 10000"/>
                <a:gd name="connsiteX209" fmla="*/ 8815 w 10000"/>
                <a:gd name="connsiteY209" fmla="*/ 2548 h 10000"/>
                <a:gd name="connsiteX210" fmla="*/ 8789 w 10000"/>
                <a:gd name="connsiteY210" fmla="*/ 2457 h 10000"/>
                <a:gd name="connsiteX211" fmla="*/ 8855 w 10000"/>
                <a:gd name="connsiteY211" fmla="*/ 2341 h 10000"/>
                <a:gd name="connsiteX212" fmla="*/ 8898 w 10000"/>
                <a:gd name="connsiteY212" fmla="*/ 2332 h 10000"/>
                <a:gd name="connsiteX213" fmla="*/ 8946 w 10000"/>
                <a:gd name="connsiteY213" fmla="*/ 2330 h 10000"/>
                <a:gd name="connsiteX214" fmla="*/ 8946 w 10000"/>
                <a:gd name="connsiteY214" fmla="*/ 2361 h 10000"/>
                <a:gd name="connsiteX215" fmla="*/ 8994 w 10000"/>
                <a:gd name="connsiteY215" fmla="*/ 2389 h 10000"/>
                <a:gd name="connsiteX216" fmla="*/ 9051 w 10000"/>
                <a:gd name="connsiteY216" fmla="*/ 2400 h 10000"/>
                <a:gd name="connsiteX217" fmla="*/ 9094 w 10000"/>
                <a:gd name="connsiteY217" fmla="*/ 2324 h 10000"/>
                <a:gd name="connsiteX218" fmla="*/ 9164 w 10000"/>
                <a:gd name="connsiteY218" fmla="*/ 2347 h 10000"/>
                <a:gd name="connsiteX219" fmla="*/ 9247 w 10000"/>
                <a:gd name="connsiteY219" fmla="*/ 2402 h 10000"/>
                <a:gd name="connsiteX220" fmla="*/ 9286 w 10000"/>
                <a:gd name="connsiteY220" fmla="*/ 2400 h 10000"/>
                <a:gd name="connsiteX221" fmla="*/ 9355 w 10000"/>
                <a:gd name="connsiteY221" fmla="*/ 2428 h 10000"/>
                <a:gd name="connsiteX222" fmla="*/ 9408 w 10000"/>
                <a:gd name="connsiteY222" fmla="*/ 2359 h 10000"/>
                <a:gd name="connsiteX223" fmla="*/ 9717 w 10000"/>
                <a:gd name="connsiteY223" fmla="*/ 2343 h 10000"/>
                <a:gd name="connsiteX224" fmla="*/ 9830 w 10000"/>
                <a:gd name="connsiteY224" fmla="*/ 2369 h 10000"/>
                <a:gd name="connsiteX225" fmla="*/ 9909 w 10000"/>
                <a:gd name="connsiteY225" fmla="*/ 2410 h 10000"/>
                <a:gd name="connsiteX226" fmla="*/ 9948 w 10000"/>
                <a:gd name="connsiteY226" fmla="*/ 2365 h 10000"/>
                <a:gd name="connsiteX227" fmla="*/ 10000 w 10000"/>
                <a:gd name="connsiteY227" fmla="*/ 2349 h 10000"/>
                <a:gd name="connsiteX228" fmla="*/ 9704 w 10000"/>
                <a:gd name="connsiteY228" fmla="*/ 1992 h 10000"/>
                <a:gd name="connsiteX229" fmla="*/ 9743 w 10000"/>
                <a:gd name="connsiteY229" fmla="*/ 1897 h 10000"/>
                <a:gd name="connsiteX230" fmla="*/ 9830 w 10000"/>
                <a:gd name="connsiteY230" fmla="*/ 1819 h 10000"/>
                <a:gd name="connsiteX231" fmla="*/ 9830 w 10000"/>
                <a:gd name="connsiteY231" fmla="*/ 1699 h 10000"/>
                <a:gd name="connsiteX232" fmla="*/ 9556 w 10000"/>
                <a:gd name="connsiteY232" fmla="*/ 1465 h 10000"/>
                <a:gd name="connsiteX233" fmla="*/ 9512 w 10000"/>
                <a:gd name="connsiteY233" fmla="*/ 1379 h 10000"/>
                <a:gd name="connsiteX234" fmla="*/ 9573 w 10000"/>
                <a:gd name="connsiteY234" fmla="*/ 1271 h 10000"/>
                <a:gd name="connsiteX235" fmla="*/ 9543 w 10000"/>
                <a:gd name="connsiteY235" fmla="*/ 1194 h 10000"/>
                <a:gd name="connsiteX236" fmla="*/ 9486 w 10000"/>
                <a:gd name="connsiteY236" fmla="*/ 1159 h 10000"/>
                <a:gd name="connsiteX237" fmla="*/ 9438 w 10000"/>
                <a:gd name="connsiteY237" fmla="*/ 978 h 10000"/>
                <a:gd name="connsiteX238" fmla="*/ 9495 w 10000"/>
                <a:gd name="connsiteY238" fmla="*/ 831 h 10000"/>
                <a:gd name="connsiteX239" fmla="*/ 9077 w 10000"/>
                <a:gd name="connsiteY239" fmla="*/ 517 h 10000"/>
                <a:gd name="connsiteX240" fmla="*/ 8872 w 10000"/>
                <a:gd name="connsiteY240" fmla="*/ 440 h 10000"/>
                <a:gd name="connsiteX241" fmla="*/ 8493 w 10000"/>
                <a:gd name="connsiteY241" fmla="*/ 389 h 10000"/>
                <a:gd name="connsiteX242" fmla="*/ 7709 w 10000"/>
                <a:gd name="connsiteY242" fmla="*/ 26 h 10000"/>
                <a:gd name="connsiteX243" fmla="*/ 7683 w 10000"/>
                <a:gd name="connsiteY243" fmla="*/ 2 h 10000"/>
                <a:gd name="connsiteX244" fmla="*/ 7417 w 10000"/>
                <a:gd name="connsiteY244" fmla="*/ 0 h 10000"/>
                <a:gd name="connsiteX245" fmla="*/ 7356 w 10000"/>
                <a:gd name="connsiteY245" fmla="*/ 14 h 10000"/>
                <a:gd name="connsiteX246" fmla="*/ 7369 w 10000"/>
                <a:gd name="connsiteY246" fmla="*/ 61 h 10000"/>
                <a:gd name="connsiteX247" fmla="*/ 7422 w 10000"/>
                <a:gd name="connsiteY247" fmla="*/ 86 h 10000"/>
                <a:gd name="connsiteX248" fmla="*/ 7435 w 10000"/>
                <a:gd name="connsiteY248" fmla="*/ 139 h 10000"/>
                <a:gd name="connsiteX249" fmla="*/ 7417 w 10000"/>
                <a:gd name="connsiteY249" fmla="*/ 181 h 10000"/>
                <a:gd name="connsiteX250" fmla="*/ 7369 w 10000"/>
                <a:gd name="connsiteY250" fmla="*/ 208 h 10000"/>
                <a:gd name="connsiteX251" fmla="*/ 7334 w 10000"/>
                <a:gd name="connsiteY251" fmla="*/ 283 h 10000"/>
                <a:gd name="connsiteX252" fmla="*/ 7269 w 10000"/>
                <a:gd name="connsiteY252" fmla="*/ 336 h 10000"/>
                <a:gd name="connsiteX253" fmla="*/ 7282 w 10000"/>
                <a:gd name="connsiteY253" fmla="*/ 387 h 10000"/>
                <a:gd name="connsiteX254" fmla="*/ 7382 w 10000"/>
                <a:gd name="connsiteY254" fmla="*/ 434 h 10000"/>
                <a:gd name="connsiteX255" fmla="*/ 7317 w 10000"/>
                <a:gd name="connsiteY255" fmla="*/ 475 h 10000"/>
                <a:gd name="connsiteX256" fmla="*/ 7221 w 10000"/>
                <a:gd name="connsiteY256" fmla="*/ 485 h 10000"/>
                <a:gd name="connsiteX257" fmla="*/ 6420 w 10000"/>
                <a:gd name="connsiteY257" fmla="*/ 387 h 10000"/>
                <a:gd name="connsiteX258" fmla="*/ 6324 w 10000"/>
                <a:gd name="connsiteY258" fmla="*/ 395 h 10000"/>
                <a:gd name="connsiteX259" fmla="*/ 6267 w 10000"/>
                <a:gd name="connsiteY259" fmla="*/ 414 h 10000"/>
                <a:gd name="connsiteX260" fmla="*/ 6211 w 10000"/>
                <a:gd name="connsiteY260" fmla="*/ 462 h 10000"/>
                <a:gd name="connsiteX261" fmla="*/ 6220 w 10000"/>
                <a:gd name="connsiteY261" fmla="*/ 581 h 10000"/>
                <a:gd name="connsiteX262" fmla="*/ 6132 w 10000"/>
                <a:gd name="connsiteY262" fmla="*/ 735 h 10000"/>
                <a:gd name="connsiteX263" fmla="*/ 6024 w 10000"/>
                <a:gd name="connsiteY263" fmla="*/ 815 h 10000"/>
                <a:gd name="connsiteX264" fmla="*/ 5980 w 10000"/>
                <a:gd name="connsiteY264" fmla="*/ 805 h 10000"/>
                <a:gd name="connsiteX265" fmla="*/ 5880 w 10000"/>
                <a:gd name="connsiteY265" fmla="*/ 739 h 10000"/>
                <a:gd name="connsiteX266" fmla="*/ 5753 w 10000"/>
                <a:gd name="connsiteY266" fmla="*/ 705 h 10000"/>
                <a:gd name="connsiteX267" fmla="*/ 5618 w 10000"/>
                <a:gd name="connsiteY267" fmla="*/ 715 h 10000"/>
                <a:gd name="connsiteX268" fmla="*/ 5301 w 10000"/>
                <a:gd name="connsiteY268" fmla="*/ 866 h 10000"/>
                <a:gd name="connsiteX269" fmla="*/ 5218 w 10000"/>
                <a:gd name="connsiteY269" fmla="*/ 1017 h 10000"/>
                <a:gd name="connsiteX270" fmla="*/ 4978 w 10000"/>
                <a:gd name="connsiteY270" fmla="*/ 1153 h 10000"/>
                <a:gd name="connsiteX271" fmla="*/ 4935 w 10000"/>
                <a:gd name="connsiteY271" fmla="*/ 1222 h 10000"/>
                <a:gd name="connsiteX272" fmla="*/ 5061 w 10000"/>
                <a:gd name="connsiteY272" fmla="*/ 1344 h 10000"/>
                <a:gd name="connsiteX273" fmla="*/ 5074 w 10000"/>
                <a:gd name="connsiteY273" fmla="*/ 1412 h 10000"/>
                <a:gd name="connsiteX274" fmla="*/ 4421 w 10000"/>
                <a:gd name="connsiteY274" fmla="*/ 1813 h 10000"/>
                <a:gd name="connsiteX275" fmla="*/ 4220 w 10000"/>
                <a:gd name="connsiteY275" fmla="*/ 2070 h 10000"/>
                <a:gd name="connsiteX276" fmla="*/ 4003 w 10000"/>
                <a:gd name="connsiteY276" fmla="*/ 2135 h 10000"/>
                <a:gd name="connsiteX277" fmla="*/ 3868 w 10000"/>
                <a:gd name="connsiteY277" fmla="*/ 2131 h 10000"/>
                <a:gd name="connsiteX278" fmla="*/ 3785 w 10000"/>
                <a:gd name="connsiteY278" fmla="*/ 2153 h 10000"/>
                <a:gd name="connsiteX279" fmla="*/ 3558 w 10000"/>
                <a:gd name="connsiteY279" fmla="*/ 2793 h 10000"/>
                <a:gd name="connsiteX280" fmla="*/ 3036 w 10000"/>
                <a:gd name="connsiteY280" fmla="*/ 3166 h 10000"/>
                <a:gd name="connsiteX281" fmla="*/ 3040 w 10000"/>
                <a:gd name="connsiteY281" fmla="*/ 3225 h 10000"/>
                <a:gd name="connsiteX282" fmla="*/ 3271 w 10000"/>
                <a:gd name="connsiteY282" fmla="*/ 3392 h 10000"/>
                <a:gd name="connsiteX283" fmla="*/ 3197 w 10000"/>
                <a:gd name="connsiteY283" fmla="*/ 3573 h 10000"/>
                <a:gd name="connsiteX284" fmla="*/ 3062 w 10000"/>
                <a:gd name="connsiteY284" fmla="*/ 3640 h 10000"/>
                <a:gd name="connsiteX285" fmla="*/ 2657 w 10000"/>
                <a:gd name="connsiteY285" fmla="*/ 3595 h 10000"/>
                <a:gd name="connsiteX286" fmla="*/ 2378 w 10000"/>
                <a:gd name="connsiteY286" fmla="*/ 3620 h 10000"/>
                <a:gd name="connsiteX287" fmla="*/ 2152 w 10000"/>
                <a:gd name="connsiteY287" fmla="*/ 3673 h 10000"/>
                <a:gd name="connsiteX288" fmla="*/ 1790 w 10000"/>
                <a:gd name="connsiteY288" fmla="*/ 3840 h 10000"/>
                <a:gd name="connsiteX289" fmla="*/ 1598 w 10000"/>
                <a:gd name="connsiteY289" fmla="*/ 4042 h 10000"/>
                <a:gd name="connsiteX290" fmla="*/ 1616 w 10000"/>
                <a:gd name="connsiteY290" fmla="*/ 4154 h 10000"/>
                <a:gd name="connsiteX291" fmla="*/ 1681 w 10000"/>
                <a:gd name="connsiteY291" fmla="*/ 4241 h 10000"/>
                <a:gd name="connsiteX292" fmla="*/ 1733 w 10000"/>
                <a:gd name="connsiteY292" fmla="*/ 4276 h 10000"/>
                <a:gd name="connsiteX293" fmla="*/ 1638 w 10000"/>
                <a:gd name="connsiteY293" fmla="*/ 4331 h 10000"/>
                <a:gd name="connsiteX294" fmla="*/ 1433 w 10000"/>
                <a:gd name="connsiteY294" fmla="*/ 4710 h 10000"/>
                <a:gd name="connsiteX295" fmla="*/ 1472 w 10000"/>
                <a:gd name="connsiteY295" fmla="*/ 4732 h 10000"/>
                <a:gd name="connsiteX296" fmla="*/ 1503 w 10000"/>
                <a:gd name="connsiteY296" fmla="*/ 4828 h 10000"/>
                <a:gd name="connsiteX297" fmla="*/ 1407 w 10000"/>
                <a:gd name="connsiteY297" fmla="*/ 5227 h 10000"/>
                <a:gd name="connsiteX298" fmla="*/ 1503 w 10000"/>
                <a:gd name="connsiteY298" fmla="*/ 5329 h 10000"/>
                <a:gd name="connsiteX299" fmla="*/ 1764 w 10000"/>
                <a:gd name="connsiteY299" fmla="*/ 5441 h 10000"/>
                <a:gd name="connsiteX300" fmla="*/ 1777 w 10000"/>
                <a:gd name="connsiteY300" fmla="*/ 5578 h 10000"/>
                <a:gd name="connsiteX301" fmla="*/ 1664 w 10000"/>
                <a:gd name="connsiteY301" fmla="*/ 5690 h 10000"/>
                <a:gd name="connsiteX302" fmla="*/ 1503 w 10000"/>
                <a:gd name="connsiteY302" fmla="*/ 5759 h 10000"/>
                <a:gd name="connsiteX303" fmla="*/ 1289 w 10000"/>
                <a:gd name="connsiteY303" fmla="*/ 5787 h 10000"/>
                <a:gd name="connsiteX304" fmla="*/ 1233 w 10000"/>
                <a:gd name="connsiteY304" fmla="*/ 5826 h 10000"/>
                <a:gd name="connsiteX305" fmla="*/ 1359 w 10000"/>
                <a:gd name="connsiteY305" fmla="*/ 5920 h 10000"/>
                <a:gd name="connsiteX306" fmla="*/ 1429 w 10000"/>
                <a:gd name="connsiteY306" fmla="*/ 6142 h 10000"/>
                <a:gd name="connsiteX307" fmla="*/ 1267 w 10000"/>
                <a:gd name="connsiteY307" fmla="*/ 6333 h 10000"/>
                <a:gd name="connsiteX308" fmla="*/ 1324 w 10000"/>
                <a:gd name="connsiteY308" fmla="*/ 6392 h 10000"/>
                <a:gd name="connsiteX309" fmla="*/ 1272 w 10000"/>
                <a:gd name="connsiteY309" fmla="*/ 6492 h 10000"/>
                <a:gd name="connsiteX310" fmla="*/ 1167 w 10000"/>
                <a:gd name="connsiteY310" fmla="*/ 6561 h 10000"/>
                <a:gd name="connsiteX311" fmla="*/ 758 w 10000"/>
                <a:gd name="connsiteY311" fmla="*/ 6614 h 10000"/>
                <a:gd name="connsiteX312" fmla="*/ 732 w 10000"/>
                <a:gd name="connsiteY312" fmla="*/ 6706 h 10000"/>
                <a:gd name="connsiteX313" fmla="*/ 510 w 10000"/>
                <a:gd name="connsiteY313" fmla="*/ 6843 h 10000"/>
                <a:gd name="connsiteX314" fmla="*/ 540 w 10000"/>
                <a:gd name="connsiteY314" fmla="*/ 7040 h 10000"/>
                <a:gd name="connsiteX315" fmla="*/ 353 w 10000"/>
                <a:gd name="connsiteY315" fmla="*/ 7293 h 10000"/>
                <a:gd name="connsiteX316" fmla="*/ 226 w 10000"/>
                <a:gd name="connsiteY316" fmla="*/ 7323 h 10000"/>
                <a:gd name="connsiteX317" fmla="*/ 174 w 10000"/>
                <a:gd name="connsiteY317" fmla="*/ 7262 h 10000"/>
                <a:gd name="connsiteX318" fmla="*/ 109 w 10000"/>
                <a:gd name="connsiteY318" fmla="*/ 7354 h 10000"/>
                <a:gd name="connsiteX319" fmla="*/ 152 w 10000"/>
                <a:gd name="connsiteY319" fmla="*/ 7197 h 10000"/>
                <a:gd name="connsiteX320" fmla="*/ 126 w 10000"/>
                <a:gd name="connsiteY320"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558 w 10000"/>
                <a:gd name="connsiteY207" fmla="*/ 2481 h 10000"/>
                <a:gd name="connsiteX208" fmla="*/ 8815 w 10000"/>
                <a:gd name="connsiteY208" fmla="*/ 2548 h 10000"/>
                <a:gd name="connsiteX209" fmla="*/ 8789 w 10000"/>
                <a:gd name="connsiteY209" fmla="*/ 2457 h 10000"/>
                <a:gd name="connsiteX210" fmla="*/ 8855 w 10000"/>
                <a:gd name="connsiteY210" fmla="*/ 2341 h 10000"/>
                <a:gd name="connsiteX211" fmla="*/ 8898 w 10000"/>
                <a:gd name="connsiteY211" fmla="*/ 2332 h 10000"/>
                <a:gd name="connsiteX212" fmla="*/ 8946 w 10000"/>
                <a:gd name="connsiteY212" fmla="*/ 2330 h 10000"/>
                <a:gd name="connsiteX213" fmla="*/ 8946 w 10000"/>
                <a:gd name="connsiteY213" fmla="*/ 2361 h 10000"/>
                <a:gd name="connsiteX214" fmla="*/ 8994 w 10000"/>
                <a:gd name="connsiteY214" fmla="*/ 2389 h 10000"/>
                <a:gd name="connsiteX215" fmla="*/ 9051 w 10000"/>
                <a:gd name="connsiteY215" fmla="*/ 2400 h 10000"/>
                <a:gd name="connsiteX216" fmla="*/ 9094 w 10000"/>
                <a:gd name="connsiteY216" fmla="*/ 2324 h 10000"/>
                <a:gd name="connsiteX217" fmla="*/ 9164 w 10000"/>
                <a:gd name="connsiteY217" fmla="*/ 2347 h 10000"/>
                <a:gd name="connsiteX218" fmla="*/ 9247 w 10000"/>
                <a:gd name="connsiteY218" fmla="*/ 2402 h 10000"/>
                <a:gd name="connsiteX219" fmla="*/ 9286 w 10000"/>
                <a:gd name="connsiteY219" fmla="*/ 2400 h 10000"/>
                <a:gd name="connsiteX220" fmla="*/ 9355 w 10000"/>
                <a:gd name="connsiteY220" fmla="*/ 2428 h 10000"/>
                <a:gd name="connsiteX221" fmla="*/ 9408 w 10000"/>
                <a:gd name="connsiteY221" fmla="*/ 2359 h 10000"/>
                <a:gd name="connsiteX222" fmla="*/ 9717 w 10000"/>
                <a:gd name="connsiteY222" fmla="*/ 2343 h 10000"/>
                <a:gd name="connsiteX223" fmla="*/ 9830 w 10000"/>
                <a:gd name="connsiteY223" fmla="*/ 2369 h 10000"/>
                <a:gd name="connsiteX224" fmla="*/ 9909 w 10000"/>
                <a:gd name="connsiteY224" fmla="*/ 2410 h 10000"/>
                <a:gd name="connsiteX225" fmla="*/ 9948 w 10000"/>
                <a:gd name="connsiteY225" fmla="*/ 2365 h 10000"/>
                <a:gd name="connsiteX226" fmla="*/ 10000 w 10000"/>
                <a:gd name="connsiteY226" fmla="*/ 2349 h 10000"/>
                <a:gd name="connsiteX227" fmla="*/ 9704 w 10000"/>
                <a:gd name="connsiteY227" fmla="*/ 1992 h 10000"/>
                <a:gd name="connsiteX228" fmla="*/ 9743 w 10000"/>
                <a:gd name="connsiteY228" fmla="*/ 1897 h 10000"/>
                <a:gd name="connsiteX229" fmla="*/ 9830 w 10000"/>
                <a:gd name="connsiteY229" fmla="*/ 1819 h 10000"/>
                <a:gd name="connsiteX230" fmla="*/ 9830 w 10000"/>
                <a:gd name="connsiteY230" fmla="*/ 1699 h 10000"/>
                <a:gd name="connsiteX231" fmla="*/ 9556 w 10000"/>
                <a:gd name="connsiteY231" fmla="*/ 1465 h 10000"/>
                <a:gd name="connsiteX232" fmla="*/ 9512 w 10000"/>
                <a:gd name="connsiteY232" fmla="*/ 1379 h 10000"/>
                <a:gd name="connsiteX233" fmla="*/ 9573 w 10000"/>
                <a:gd name="connsiteY233" fmla="*/ 1271 h 10000"/>
                <a:gd name="connsiteX234" fmla="*/ 9543 w 10000"/>
                <a:gd name="connsiteY234" fmla="*/ 1194 h 10000"/>
                <a:gd name="connsiteX235" fmla="*/ 9486 w 10000"/>
                <a:gd name="connsiteY235" fmla="*/ 1159 h 10000"/>
                <a:gd name="connsiteX236" fmla="*/ 9438 w 10000"/>
                <a:gd name="connsiteY236" fmla="*/ 978 h 10000"/>
                <a:gd name="connsiteX237" fmla="*/ 9495 w 10000"/>
                <a:gd name="connsiteY237" fmla="*/ 831 h 10000"/>
                <a:gd name="connsiteX238" fmla="*/ 9077 w 10000"/>
                <a:gd name="connsiteY238" fmla="*/ 517 h 10000"/>
                <a:gd name="connsiteX239" fmla="*/ 8872 w 10000"/>
                <a:gd name="connsiteY239" fmla="*/ 440 h 10000"/>
                <a:gd name="connsiteX240" fmla="*/ 8493 w 10000"/>
                <a:gd name="connsiteY240" fmla="*/ 389 h 10000"/>
                <a:gd name="connsiteX241" fmla="*/ 7709 w 10000"/>
                <a:gd name="connsiteY241" fmla="*/ 26 h 10000"/>
                <a:gd name="connsiteX242" fmla="*/ 7683 w 10000"/>
                <a:gd name="connsiteY242" fmla="*/ 2 h 10000"/>
                <a:gd name="connsiteX243" fmla="*/ 7417 w 10000"/>
                <a:gd name="connsiteY243" fmla="*/ 0 h 10000"/>
                <a:gd name="connsiteX244" fmla="*/ 7356 w 10000"/>
                <a:gd name="connsiteY244" fmla="*/ 14 h 10000"/>
                <a:gd name="connsiteX245" fmla="*/ 7369 w 10000"/>
                <a:gd name="connsiteY245" fmla="*/ 61 h 10000"/>
                <a:gd name="connsiteX246" fmla="*/ 7422 w 10000"/>
                <a:gd name="connsiteY246" fmla="*/ 86 h 10000"/>
                <a:gd name="connsiteX247" fmla="*/ 7435 w 10000"/>
                <a:gd name="connsiteY247" fmla="*/ 139 h 10000"/>
                <a:gd name="connsiteX248" fmla="*/ 7417 w 10000"/>
                <a:gd name="connsiteY248" fmla="*/ 181 h 10000"/>
                <a:gd name="connsiteX249" fmla="*/ 7369 w 10000"/>
                <a:gd name="connsiteY249" fmla="*/ 208 h 10000"/>
                <a:gd name="connsiteX250" fmla="*/ 7334 w 10000"/>
                <a:gd name="connsiteY250" fmla="*/ 283 h 10000"/>
                <a:gd name="connsiteX251" fmla="*/ 7269 w 10000"/>
                <a:gd name="connsiteY251" fmla="*/ 336 h 10000"/>
                <a:gd name="connsiteX252" fmla="*/ 7282 w 10000"/>
                <a:gd name="connsiteY252" fmla="*/ 387 h 10000"/>
                <a:gd name="connsiteX253" fmla="*/ 7382 w 10000"/>
                <a:gd name="connsiteY253" fmla="*/ 434 h 10000"/>
                <a:gd name="connsiteX254" fmla="*/ 7317 w 10000"/>
                <a:gd name="connsiteY254" fmla="*/ 475 h 10000"/>
                <a:gd name="connsiteX255" fmla="*/ 7221 w 10000"/>
                <a:gd name="connsiteY255" fmla="*/ 485 h 10000"/>
                <a:gd name="connsiteX256" fmla="*/ 6420 w 10000"/>
                <a:gd name="connsiteY256" fmla="*/ 387 h 10000"/>
                <a:gd name="connsiteX257" fmla="*/ 6324 w 10000"/>
                <a:gd name="connsiteY257" fmla="*/ 395 h 10000"/>
                <a:gd name="connsiteX258" fmla="*/ 6267 w 10000"/>
                <a:gd name="connsiteY258" fmla="*/ 414 h 10000"/>
                <a:gd name="connsiteX259" fmla="*/ 6211 w 10000"/>
                <a:gd name="connsiteY259" fmla="*/ 462 h 10000"/>
                <a:gd name="connsiteX260" fmla="*/ 6220 w 10000"/>
                <a:gd name="connsiteY260" fmla="*/ 581 h 10000"/>
                <a:gd name="connsiteX261" fmla="*/ 6132 w 10000"/>
                <a:gd name="connsiteY261" fmla="*/ 735 h 10000"/>
                <a:gd name="connsiteX262" fmla="*/ 6024 w 10000"/>
                <a:gd name="connsiteY262" fmla="*/ 815 h 10000"/>
                <a:gd name="connsiteX263" fmla="*/ 5980 w 10000"/>
                <a:gd name="connsiteY263" fmla="*/ 805 h 10000"/>
                <a:gd name="connsiteX264" fmla="*/ 5880 w 10000"/>
                <a:gd name="connsiteY264" fmla="*/ 739 h 10000"/>
                <a:gd name="connsiteX265" fmla="*/ 5753 w 10000"/>
                <a:gd name="connsiteY265" fmla="*/ 705 h 10000"/>
                <a:gd name="connsiteX266" fmla="*/ 5618 w 10000"/>
                <a:gd name="connsiteY266" fmla="*/ 715 h 10000"/>
                <a:gd name="connsiteX267" fmla="*/ 5301 w 10000"/>
                <a:gd name="connsiteY267" fmla="*/ 866 h 10000"/>
                <a:gd name="connsiteX268" fmla="*/ 5218 w 10000"/>
                <a:gd name="connsiteY268" fmla="*/ 1017 h 10000"/>
                <a:gd name="connsiteX269" fmla="*/ 4978 w 10000"/>
                <a:gd name="connsiteY269" fmla="*/ 1153 h 10000"/>
                <a:gd name="connsiteX270" fmla="*/ 4935 w 10000"/>
                <a:gd name="connsiteY270" fmla="*/ 1222 h 10000"/>
                <a:gd name="connsiteX271" fmla="*/ 5061 w 10000"/>
                <a:gd name="connsiteY271" fmla="*/ 1344 h 10000"/>
                <a:gd name="connsiteX272" fmla="*/ 5074 w 10000"/>
                <a:gd name="connsiteY272" fmla="*/ 1412 h 10000"/>
                <a:gd name="connsiteX273" fmla="*/ 4421 w 10000"/>
                <a:gd name="connsiteY273" fmla="*/ 1813 h 10000"/>
                <a:gd name="connsiteX274" fmla="*/ 4220 w 10000"/>
                <a:gd name="connsiteY274" fmla="*/ 2070 h 10000"/>
                <a:gd name="connsiteX275" fmla="*/ 4003 w 10000"/>
                <a:gd name="connsiteY275" fmla="*/ 2135 h 10000"/>
                <a:gd name="connsiteX276" fmla="*/ 3868 w 10000"/>
                <a:gd name="connsiteY276" fmla="*/ 2131 h 10000"/>
                <a:gd name="connsiteX277" fmla="*/ 3785 w 10000"/>
                <a:gd name="connsiteY277" fmla="*/ 2153 h 10000"/>
                <a:gd name="connsiteX278" fmla="*/ 3558 w 10000"/>
                <a:gd name="connsiteY278" fmla="*/ 2793 h 10000"/>
                <a:gd name="connsiteX279" fmla="*/ 3036 w 10000"/>
                <a:gd name="connsiteY279" fmla="*/ 3166 h 10000"/>
                <a:gd name="connsiteX280" fmla="*/ 3040 w 10000"/>
                <a:gd name="connsiteY280" fmla="*/ 3225 h 10000"/>
                <a:gd name="connsiteX281" fmla="*/ 3271 w 10000"/>
                <a:gd name="connsiteY281" fmla="*/ 3392 h 10000"/>
                <a:gd name="connsiteX282" fmla="*/ 3197 w 10000"/>
                <a:gd name="connsiteY282" fmla="*/ 3573 h 10000"/>
                <a:gd name="connsiteX283" fmla="*/ 3062 w 10000"/>
                <a:gd name="connsiteY283" fmla="*/ 3640 h 10000"/>
                <a:gd name="connsiteX284" fmla="*/ 2657 w 10000"/>
                <a:gd name="connsiteY284" fmla="*/ 3595 h 10000"/>
                <a:gd name="connsiteX285" fmla="*/ 2378 w 10000"/>
                <a:gd name="connsiteY285" fmla="*/ 3620 h 10000"/>
                <a:gd name="connsiteX286" fmla="*/ 2152 w 10000"/>
                <a:gd name="connsiteY286" fmla="*/ 3673 h 10000"/>
                <a:gd name="connsiteX287" fmla="*/ 1790 w 10000"/>
                <a:gd name="connsiteY287" fmla="*/ 3840 h 10000"/>
                <a:gd name="connsiteX288" fmla="*/ 1598 w 10000"/>
                <a:gd name="connsiteY288" fmla="*/ 4042 h 10000"/>
                <a:gd name="connsiteX289" fmla="*/ 1616 w 10000"/>
                <a:gd name="connsiteY289" fmla="*/ 4154 h 10000"/>
                <a:gd name="connsiteX290" fmla="*/ 1681 w 10000"/>
                <a:gd name="connsiteY290" fmla="*/ 4241 h 10000"/>
                <a:gd name="connsiteX291" fmla="*/ 1733 w 10000"/>
                <a:gd name="connsiteY291" fmla="*/ 4276 h 10000"/>
                <a:gd name="connsiteX292" fmla="*/ 1638 w 10000"/>
                <a:gd name="connsiteY292" fmla="*/ 4331 h 10000"/>
                <a:gd name="connsiteX293" fmla="*/ 1433 w 10000"/>
                <a:gd name="connsiteY293" fmla="*/ 4710 h 10000"/>
                <a:gd name="connsiteX294" fmla="*/ 1472 w 10000"/>
                <a:gd name="connsiteY294" fmla="*/ 4732 h 10000"/>
                <a:gd name="connsiteX295" fmla="*/ 1503 w 10000"/>
                <a:gd name="connsiteY295" fmla="*/ 4828 h 10000"/>
                <a:gd name="connsiteX296" fmla="*/ 1407 w 10000"/>
                <a:gd name="connsiteY296" fmla="*/ 5227 h 10000"/>
                <a:gd name="connsiteX297" fmla="*/ 1503 w 10000"/>
                <a:gd name="connsiteY297" fmla="*/ 5329 h 10000"/>
                <a:gd name="connsiteX298" fmla="*/ 1764 w 10000"/>
                <a:gd name="connsiteY298" fmla="*/ 5441 h 10000"/>
                <a:gd name="connsiteX299" fmla="*/ 1777 w 10000"/>
                <a:gd name="connsiteY299" fmla="*/ 5578 h 10000"/>
                <a:gd name="connsiteX300" fmla="*/ 1664 w 10000"/>
                <a:gd name="connsiteY300" fmla="*/ 5690 h 10000"/>
                <a:gd name="connsiteX301" fmla="*/ 1503 w 10000"/>
                <a:gd name="connsiteY301" fmla="*/ 5759 h 10000"/>
                <a:gd name="connsiteX302" fmla="*/ 1289 w 10000"/>
                <a:gd name="connsiteY302" fmla="*/ 5787 h 10000"/>
                <a:gd name="connsiteX303" fmla="*/ 1233 w 10000"/>
                <a:gd name="connsiteY303" fmla="*/ 5826 h 10000"/>
                <a:gd name="connsiteX304" fmla="*/ 1359 w 10000"/>
                <a:gd name="connsiteY304" fmla="*/ 5920 h 10000"/>
                <a:gd name="connsiteX305" fmla="*/ 1429 w 10000"/>
                <a:gd name="connsiteY305" fmla="*/ 6142 h 10000"/>
                <a:gd name="connsiteX306" fmla="*/ 1267 w 10000"/>
                <a:gd name="connsiteY306" fmla="*/ 6333 h 10000"/>
                <a:gd name="connsiteX307" fmla="*/ 1324 w 10000"/>
                <a:gd name="connsiteY307" fmla="*/ 6392 h 10000"/>
                <a:gd name="connsiteX308" fmla="*/ 1272 w 10000"/>
                <a:gd name="connsiteY308" fmla="*/ 6492 h 10000"/>
                <a:gd name="connsiteX309" fmla="*/ 1167 w 10000"/>
                <a:gd name="connsiteY309" fmla="*/ 6561 h 10000"/>
                <a:gd name="connsiteX310" fmla="*/ 758 w 10000"/>
                <a:gd name="connsiteY310" fmla="*/ 6614 h 10000"/>
                <a:gd name="connsiteX311" fmla="*/ 732 w 10000"/>
                <a:gd name="connsiteY311" fmla="*/ 6706 h 10000"/>
                <a:gd name="connsiteX312" fmla="*/ 510 w 10000"/>
                <a:gd name="connsiteY312" fmla="*/ 6843 h 10000"/>
                <a:gd name="connsiteX313" fmla="*/ 540 w 10000"/>
                <a:gd name="connsiteY313" fmla="*/ 7040 h 10000"/>
                <a:gd name="connsiteX314" fmla="*/ 353 w 10000"/>
                <a:gd name="connsiteY314" fmla="*/ 7293 h 10000"/>
                <a:gd name="connsiteX315" fmla="*/ 226 w 10000"/>
                <a:gd name="connsiteY315" fmla="*/ 7323 h 10000"/>
                <a:gd name="connsiteX316" fmla="*/ 174 w 10000"/>
                <a:gd name="connsiteY316" fmla="*/ 7262 h 10000"/>
                <a:gd name="connsiteX317" fmla="*/ 109 w 10000"/>
                <a:gd name="connsiteY317" fmla="*/ 7354 h 10000"/>
                <a:gd name="connsiteX318" fmla="*/ 152 w 10000"/>
                <a:gd name="connsiteY318" fmla="*/ 7197 h 10000"/>
                <a:gd name="connsiteX319" fmla="*/ 126 w 10000"/>
                <a:gd name="connsiteY319"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815 w 10000"/>
                <a:gd name="connsiteY207" fmla="*/ 2548 h 10000"/>
                <a:gd name="connsiteX208" fmla="*/ 8789 w 10000"/>
                <a:gd name="connsiteY208" fmla="*/ 2457 h 10000"/>
                <a:gd name="connsiteX209" fmla="*/ 8855 w 10000"/>
                <a:gd name="connsiteY209" fmla="*/ 2341 h 10000"/>
                <a:gd name="connsiteX210" fmla="*/ 8898 w 10000"/>
                <a:gd name="connsiteY210" fmla="*/ 2332 h 10000"/>
                <a:gd name="connsiteX211" fmla="*/ 8946 w 10000"/>
                <a:gd name="connsiteY211" fmla="*/ 2330 h 10000"/>
                <a:gd name="connsiteX212" fmla="*/ 8946 w 10000"/>
                <a:gd name="connsiteY212" fmla="*/ 2361 h 10000"/>
                <a:gd name="connsiteX213" fmla="*/ 8994 w 10000"/>
                <a:gd name="connsiteY213" fmla="*/ 2389 h 10000"/>
                <a:gd name="connsiteX214" fmla="*/ 9051 w 10000"/>
                <a:gd name="connsiteY214" fmla="*/ 2400 h 10000"/>
                <a:gd name="connsiteX215" fmla="*/ 9094 w 10000"/>
                <a:gd name="connsiteY215" fmla="*/ 2324 h 10000"/>
                <a:gd name="connsiteX216" fmla="*/ 9164 w 10000"/>
                <a:gd name="connsiteY216" fmla="*/ 2347 h 10000"/>
                <a:gd name="connsiteX217" fmla="*/ 9247 w 10000"/>
                <a:gd name="connsiteY217" fmla="*/ 2402 h 10000"/>
                <a:gd name="connsiteX218" fmla="*/ 9286 w 10000"/>
                <a:gd name="connsiteY218" fmla="*/ 2400 h 10000"/>
                <a:gd name="connsiteX219" fmla="*/ 9355 w 10000"/>
                <a:gd name="connsiteY219" fmla="*/ 2428 h 10000"/>
                <a:gd name="connsiteX220" fmla="*/ 9408 w 10000"/>
                <a:gd name="connsiteY220" fmla="*/ 2359 h 10000"/>
                <a:gd name="connsiteX221" fmla="*/ 9717 w 10000"/>
                <a:gd name="connsiteY221" fmla="*/ 2343 h 10000"/>
                <a:gd name="connsiteX222" fmla="*/ 9830 w 10000"/>
                <a:gd name="connsiteY222" fmla="*/ 2369 h 10000"/>
                <a:gd name="connsiteX223" fmla="*/ 9909 w 10000"/>
                <a:gd name="connsiteY223" fmla="*/ 2410 h 10000"/>
                <a:gd name="connsiteX224" fmla="*/ 9948 w 10000"/>
                <a:gd name="connsiteY224" fmla="*/ 2365 h 10000"/>
                <a:gd name="connsiteX225" fmla="*/ 10000 w 10000"/>
                <a:gd name="connsiteY225" fmla="*/ 2349 h 10000"/>
                <a:gd name="connsiteX226" fmla="*/ 9704 w 10000"/>
                <a:gd name="connsiteY226" fmla="*/ 1992 h 10000"/>
                <a:gd name="connsiteX227" fmla="*/ 9743 w 10000"/>
                <a:gd name="connsiteY227" fmla="*/ 1897 h 10000"/>
                <a:gd name="connsiteX228" fmla="*/ 9830 w 10000"/>
                <a:gd name="connsiteY228" fmla="*/ 1819 h 10000"/>
                <a:gd name="connsiteX229" fmla="*/ 9830 w 10000"/>
                <a:gd name="connsiteY229" fmla="*/ 1699 h 10000"/>
                <a:gd name="connsiteX230" fmla="*/ 9556 w 10000"/>
                <a:gd name="connsiteY230" fmla="*/ 1465 h 10000"/>
                <a:gd name="connsiteX231" fmla="*/ 9512 w 10000"/>
                <a:gd name="connsiteY231" fmla="*/ 1379 h 10000"/>
                <a:gd name="connsiteX232" fmla="*/ 9573 w 10000"/>
                <a:gd name="connsiteY232" fmla="*/ 1271 h 10000"/>
                <a:gd name="connsiteX233" fmla="*/ 9543 w 10000"/>
                <a:gd name="connsiteY233" fmla="*/ 1194 h 10000"/>
                <a:gd name="connsiteX234" fmla="*/ 9486 w 10000"/>
                <a:gd name="connsiteY234" fmla="*/ 1159 h 10000"/>
                <a:gd name="connsiteX235" fmla="*/ 9438 w 10000"/>
                <a:gd name="connsiteY235" fmla="*/ 978 h 10000"/>
                <a:gd name="connsiteX236" fmla="*/ 9495 w 10000"/>
                <a:gd name="connsiteY236" fmla="*/ 831 h 10000"/>
                <a:gd name="connsiteX237" fmla="*/ 9077 w 10000"/>
                <a:gd name="connsiteY237" fmla="*/ 517 h 10000"/>
                <a:gd name="connsiteX238" fmla="*/ 8872 w 10000"/>
                <a:gd name="connsiteY238" fmla="*/ 440 h 10000"/>
                <a:gd name="connsiteX239" fmla="*/ 8493 w 10000"/>
                <a:gd name="connsiteY239" fmla="*/ 389 h 10000"/>
                <a:gd name="connsiteX240" fmla="*/ 7709 w 10000"/>
                <a:gd name="connsiteY240" fmla="*/ 26 h 10000"/>
                <a:gd name="connsiteX241" fmla="*/ 7683 w 10000"/>
                <a:gd name="connsiteY241" fmla="*/ 2 h 10000"/>
                <a:gd name="connsiteX242" fmla="*/ 7417 w 10000"/>
                <a:gd name="connsiteY242" fmla="*/ 0 h 10000"/>
                <a:gd name="connsiteX243" fmla="*/ 7356 w 10000"/>
                <a:gd name="connsiteY243" fmla="*/ 14 h 10000"/>
                <a:gd name="connsiteX244" fmla="*/ 7369 w 10000"/>
                <a:gd name="connsiteY244" fmla="*/ 61 h 10000"/>
                <a:gd name="connsiteX245" fmla="*/ 7422 w 10000"/>
                <a:gd name="connsiteY245" fmla="*/ 86 h 10000"/>
                <a:gd name="connsiteX246" fmla="*/ 7435 w 10000"/>
                <a:gd name="connsiteY246" fmla="*/ 139 h 10000"/>
                <a:gd name="connsiteX247" fmla="*/ 7417 w 10000"/>
                <a:gd name="connsiteY247" fmla="*/ 181 h 10000"/>
                <a:gd name="connsiteX248" fmla="*/ 7369 w 10000"/>
                <a:gd name="connsiteY248" fmla="*/ 208 h 10000"/>
                <a:gd name="connsiteX249" fmla="*/ 7334 w 10000"/>
                <a:gd name="connsiteY249" fmla="*/ 283 h 10000"/>
                <a:gd name="connsiteX250" fmla="*/ 7269 w 10000"/>
                <a:gd name="connsiteY250" fmla="*/ 336 h 10000"/>
                <a:gd name="connsiteX251" fmla="*/ 7282 w 10000"/>
                <a:gd name="connsiteY251" fmla="*/ 387 h 10000"/>
                <a:gd name="connsiteX252" fmla="*/ 7382 w 10000"/>
                <a:gd name="connsiteY252" fmla="*/ 434 h 10000"/>
                <a:gd name="connsiteX253" fmla="*/ 7317 w 10000"/>
                <a:gd name="connsiteY253" fmla="*/ 475 h 10000"/>
                <a:gd name="connsiteX254" fmla="*/ 7221 w 10000"/>
                <a:gd name="connsiteY254" fmla="*/ 485 h 10000"/>
                <a:gd name="connsiteX255" fmla="*/ 6420 w 10000"/>
                <a:gd name="connsiteY255" fmla="*/ 387 h 10000"/>
                <a:gd name="connsiteX256" fmla="*/ 6324 w 10000"/>
                <a:gd name="connsiteY256" fmla="*/ 395 h 10000"/>
                <a:gd name="connsiteX257" fmla="*/ 6267 w 10000"/>
                <a:gd name="connsiteY257" fmla="*/ 414 h 10000"/>
                <a:gd name="connsiteX258" fmla="*/ 6211 w 10000"/>
                <a:gd name="connsiteY258" fmla="*/ 462 h 10000"/>
                <a:gd name="connsiteX259" fmla="*/ 6220 w 10000"/>
                <a:gd name="connsiteY259" fmla="*/ 581 h 10000"/>
                <a:gd name="connsiteX260" fmla="*/ 6132 w 10000"/>
                <a:gd name="connsiteY260" fmla="*/ 735 h 10000"/>
                <a:gd name="connsiteX261" fmla="*/ 6024 w 10000"/>
                <a:gd name="connsiteY261" fmla="*/ 815 h 10000"/>
                <a:gd name="connsiteX262" fmla="*/ 5980 w 10000"/>
                <a:gd name="connsiteY262" fmla="*/ 805 h 10000"/>
                <a:gd name="connsiteX263" fmla="*/ 5880 w 10000"/>
                <a:gd name="connsiteY263" fmla="*/ 739 h 10000"/>
                <a:gd name="connsiteX264" fmla="*/ 5753 w 10000"/>
                <a:gd name="connsiteY264" fmla="*/ 705 h 10000"/>
                <a:gd name="connsiteX265" fmla="*/ 5618 w 10000"/>
                <a:gd name="connsiteY265" fmla="*/ 715 h 10000"/>
                <a:gd name="connsiteX266" fmla="*/ 5301 w 10000"/>
                <a:gd name="connsiteY266" fmla="*/ 866 h 10000"/>
                <a:gd name="connsiteX267" fmla="*/ 5218 w 10000"/>
                <a:gd name="connsiteY267" fmla="*/ 1017 h 10000"/>
                <a:gd name="connsiteX268" fmla="*/ 4978 w 10000"/>
                <a:gd name="connsiteY268" fmla="*/ 1153 h 10000"/>
                <a:gd name="connsiteX269" fmla="*/ 4935 w 10000"/>
                <a:gd name="connsiteY269" fmla="*/ 1222 h 10000"/>
                <a:gd name="connsiteX270" fmla="*/ 5061 w 10000"/>
                <a:gd name="connsiteY270" fmla="*/ 1344 h 10000"/>
                <a:gd name="connsiteX271" fmla="*/ 5074 w 10000"/>
                <a:gd name="connsiteY271" fmla="*/ 1412 h 10000"/>
                <a:gd name="connsiteX272" fmla="*/ 4421 w 10000"/>
                <a:gd name="connsiteY272" fmla="*/ 1813 h 10000"/>
                <a:gd name="connsiteX273" fmla="*/ 4220 w 10000"/>
                <a:gd name="connsiteY273" fmla="*/ 2070 h 10000"/>
                <a:gd name="connsiteX274" fmla="*/ 4003 w 10000"/>
                <a:gd name="connsiteY274" fmla="*/ 2135 h 10000"/>
                <a:gd name="connsiteX275" fmla="*/ 3868 w 10000"/>
                <a:gd name="connsiteY275" fmla="*/ 2131 h 10000"/>
                <a:gd name="connsiteX276" fmla="*/ 3785 w 10000"/>
                <a:gd name="connsiteY276" fmla="*/ 2153 h 10000"/>
                <a:gd name="connsiteX277" fmla="*/ 3558 w 10000"/>
                <a:gd name="connsiteY277" fmla="*/ 2793 h 10000"/>
                <a:gd name="connsiteX278" fmla="*/ 3036 w 10000"/>
                <a:gd name="connsiteY278" fmla="*/ 3166 h 10000"/>
                <a:gd name="connsiteX279" fmla="*/ 3040 w 10000"/>
                <a:gd name="connsiteY279" fmla="*/ 3225 h 10000"/>
                <a:gd name="connsiteX280" fmla="*/ 3271 w 10000"/>
                <a:gd name="connsiteY280" fmla="*/ 3392 h 10000"/>
                <a:gd name="connsiteX281" fmla="*/ 3197 w 10000"/>
                <a:gd name="connsiteY281" fmla="*/ 3573 h 10000"/>
                <a:gd name="connsiteX282" fmla="*/ 3062 w 10000"/>
                <a:gd name="connsiteY282" fmla="*/ 3640 h 10000"/>
                <a:gd name="connsiteX283" fmla="*/ 2657 w 10000"/>
                <a:gd name="connsiteY283" fmla="*/ 3595 h 10000"/>
                <a:gd name="connsiteX284" fmla="*/ 2378 w 10000"/>
                <a:gd name="connsiteY284" fmla="*/ 3620 h 10000"/>
                <a:gd name="connsiteX285" fmla="*/ 2152 w 10000"/>
                <a:gd name="connsiteY285" fmla="*/ 3673 h 10000"/>
                <a:gd name="connsiteX286" fmla="*/ 1790 w 10000"/>
                <a:gd name="connsiteY286" fmla="*/ 3840 h 10000"/>
                <a:gd name="connsiteX287" fmla="*/ 1598 w 10000"/>
                <a:gd name="connsiteY287" fmla="*/ 4042 h 10000"/>
                <a:gd name="connsiteX288" fmla="*/ 1616 w 10000"/>
                <a:gd name="connsiteY288" fmla="*/ 4154 h 10000"/>
                <a:gd name="connsiteX289" fmla="*/ 1681 w 10000"/>
                <a:gd name="connsiteY289" fmla="*/ 4241 h 10000"/>
                <a:gd name="connsiteX290" fmla="*/ 1733 w 10000"/>
                <a:gd name="connsiteY290" fmla="*/ 4276 h 10000"/>
                <a:gd name="connsiteX291" fmla="*/ 1638 w 10000"/>
                <a:gd name="connsiteY291" fmla="*/ 4331 h 10000"/>
                <a:gd name="connsiteX292" fmla="*/ 1433 w 10000"/>
                <a:gd name="connsiteY292" fmla="*/ 4710 h 10000"/>
                <a:gd name="connsiteX293" fmla="*/ 1472 w 10000"/>
                <a:gd name="connsiteY293" fmla="*/ 4732 h 10000"/>
                <a:gd name="connsiteX294" fmla="*/ 1503 w 10000"/>
                <a:gd name="connsiteY294" fmla="*/ 4828 h 10000"/>
                <a:gd name="connsiteX295" fmla="*/ 1407 w 10000"/>
                <a:gd name="connsiteY295" fmla="*/ 5227 h 10000"/>
                <a:gd name="connsiteX296" fmla="*/ 1503 w 10000"/>
                <a:gd name="connsiteY296" fmla="*/ 5329 h 10000"/>
                <a:gd name="connsiteX297" fmla="*/ 1764 w 10000"/>
                <a:gd name="connsiteY297" fmla="*/ 5441 h 10000"/>
                <a:gd name="connsiteX298" fmla="*/ 1777 w 10000"/>
                <a:gd name="connsiteY298" fmla="*/ 5578 h 10000"/>
                <a:gd name="connsiteX299" fmla="*/ 1664 w 10000"/>
                <a:gd name="connsiteY299" fmla="*/ 5690 h 10000"/>
                <a:gd name="connsiteX300" fmla="*/ 1503 w 10000"/>
                <a:gd name="connsiteY300" fmla="*/ 5759 h 10000"/>
                <a:gd name="connsiteX301" fmla="*/ 1289 w 10000"/>
                <a:gd name="connsiteY301" fmla="*/ 5787 h 10000"/>
                <a:gd name="connsiteX302" fmla="*/ 1233 w 10000"/>
                <a:gd name="connsiteY302" fmla="*/ 5826 h 10000"/>
                <a:gd name="connsiteX303" fmla="*/ 1359 w 10000"/>
                <a:gd name="connsiteY303" fmla="*/ 5920 h 10000"/>
                <a:gd name="connsiteX304" fmla="*/ 1429 w 10000"/>
                <a:gd name="connsiteY304" fmla="*/ 6142 h 10000"/>
                <a:gd name="connsiteX305" fmla="*/ 1267 w 10000"/>
                <a:gd name="connsiteY305" fmla="*/ 6333 h 10000"/>
                <a:gd name="connsiteX306" fmla="*/ 1324 w 10000"/>
                <a:gd name="connsiteY306" fmla="*/ 6392 h 10000"/>
                <a:gd name="connsiteX307" fmla="*/ 1272 w 10000"/>
                <a:gd name="connsiteY307" fmla="*/ 6492 h 10000"/>
                <a:gd name="connsiteX308" fmla="*/ 1167 w 10000"/>
                <a:gd name="connsiteY308" fmla="*/ 6561 h 10000"/>
                <a:gd name="connsiteX309" fmla="*/ 758 w 10000"/>
                <a:gd name="connsiteY309" fmla="*/ 6614 h 10000"/>
                <a:gd name="connsiteX310" fmla="*/ 732 w 10000"/>
                <a:gd name="connsiteY310" fmla="*/ 6706 h 10000"/>
                <a:gd name="connsiteX311" fmla="*/ 510 w 10000"/>
                <a:gd name="connsiteY311" fmla="*/ 6843 h 10000"/>
                <a:gd name="connsiteX312" fmla="*/ 540 w 10000"/>
                <a:gd name="connsiteY312" fmla="*/ 7040 h 10000"/>
                <a:gd name="connsiteX313" fmla="*/ 353 w 10000"/>
                <a:gd name="connsiteY313" fmla="*/ 7293 h 10000"/>
                <a:gd name="connsiteX314" fmla="*/ 226 w 10000"/>
                <a:gd name="connsiteY314" fmla="*/ 7323 h 10000"/>
                <a:gd name="connsiteX315" fmla="*/ 174 w 10000"/>
                <a:gd name="connsiteY315" fmla="*/ 7262 h 10000"/>
                <a:gd name="connsiteX316" fmla="*/ 109 w 10000"/>
                <a:gd name="connsiteY316" fmla="*/ 7354 h 10000"/>
                <a:gd name="connsiteX317" fmla="*/ 152 w 10000"/>
                <a:gd name="connsiteY317" fmla="*/ 7197 h 10000"/>
                <a:gd name="connsiteX318" fmla="*/ 126 w 10000"/>
                <a:gd name="connsiteY318"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815 w 10000"/>
                <a:gd name="connsiteY207" fmla="*/ 2548 h 10000"/>
                <a:gd name="connsiteX208" fmla="*/ 8855 w 10000"/>
                <a:gd name="connsiteY208" fmla="*/ 2341 h 10000"/>
                <a:gd name="connsiteX209" fmla="*/ 8898 w 10000"/>
                <a:gd name="connsiteY209" fmla="*/ 2332 h 10000"/>
                <a:gd name="connsiteX210" fmla="*/ 8946 w 10000"/>
                <a:gd name="connsiteY210" fmla="*/ 2330 h 10000"/>
                <a:gd name="connsiteX211" fmla="*/ 8946 w 10000"/>
                <a:gd name="connsiteY211" fmla="*/ 2361 h 10000"/>
                <a:gd name="connsiteX212" fmla="*/ 8994 w 10000"/>
                <a:gd name="connsiteY212" fmla="*/ 2389 h 10000"/>
                <a:gd name="connsiteX213" fmla="*/ 9051 w 10000"/>
                <a:gd name="connsiteY213" fmla="*/ 2400 h 10000"/>
                <a:gd name="connsiteX214" fmla="*/ 9094 w 10000"/>
                <a:gd name="connsiteY214" fmla="*/ 2324 h 10000"/>
                <a:gd name="connsiteX215" fmla="*/ 9164 w 10000"/>
                <a:gd name="connsiteY215" fmla="*/ 2347 h 10000"/>
                <a:gd name="connsiteX216" fmla="*/ 9247 w 10000"/>
                <a:gd name="connsiteY216" fmla="*/ 2402 h 10000"/>
                <a:gd name="connsiteX217" fmla="*/ 9286 w 10000"/>
                <a:gd name="connsiteY217" fmla="*/ 2400 h 10000"/>
                <a:gd name="connsiteX218" fmla="*/ 9355 w 10000"/>
                <a:gd name="connsiteY218" fmla="*/ 2428 h 10000"/>
                <a:gd name="connsiteX219" fmla="*/ 9408 w 10000"/>
                <a:gd name="connsiteY219" fmla="*/ 2359 h 10000"/>
                <a:gd name="connsiteX220" fmla="*/ 9717 w 10000"/>
                <a:gd name="connsiteY220" fmla="*/ 2343 h 10000"/>
                <a:gd name="connsiteX221" fmla="*/ 9830 w 10000"/>
                <a:gd name="connsiteY221" fmla="*/ 2369 h 10000"/>
                <a:gd name="connsiteX222" fmla="*/ 9909 w 10000"/>
                <a:gd name="connsiteY222" fmla="*/ 2410 h 10000"/>
                <a:gd name="connsiteX223" fmla="*/ 9948 w 10000"/>
                <a:gd name="connsiteY223" fmla="*/ 2365 h 10000"/>
                <a:gd name="connsiteX224" fmla="*/ 10000 w 10000"/>
                <a:gd name="connsiteY224" fmla="*/ 2349 h 10000"/>
                <a:gd name="connsiteX225" fmla="*/ 9704 w 10000"/>
                <a:gd name="connsiteY225" fmla="*/ 1992 h 10000"/>
                <a:gd name="connsiteX226" fmla="*/ 9743 w 10000"/>
                <a:gd name="connsiteY226" fmla="*/ 1897 h 10000"/>
                <a:gd name="connsiteX227" fmla="*/ 9830 w 10000"/>
                <a:gd name="connsiteY227" fmla="*/ 1819 h 10000"/>
                <a:gd name="connsiteX228" fmla="*/ 9830 w 10000"/>
                <a:gd name="connsiteY228" fmla="*/ 1699 h 10000"/>
                <a:gd name="connsiteX229" fmla="*/ 9556 w 10000"/>
                <a:gd name="connsiteY229" fmla="*/ 1465 h 10000"/>
                <a:gd name="connsiteX230" fmla="*/ 9512 w 10000"/>
                <a:gd name="connsiteY230" fmla="*/ 1379 h 10000"/>
                <a:gd name="connsiteX231" fmla="*/ 9573 w 10000"/>
                <a:gd name="connsiteY231" fmla="*/ 1271 h 10000"/>
                <a:gd name="connsiteX232" fmla="*/ 9543 w 10000"/>
                <a:gd name="connsiteY232" fmla="*/ 1194 h 10000"/>
                <a:gd name="connsiteX233" fmla="*/ 9486 w 10000"/>
                <a:gd name="connsiteY233" fmla="*/ 1159 h 10000"/>
                <a:gd name="connsiteX234" fmla="*/ 9438 w 10000"/>
                <a:gd name="connsiteY234" fmla="*/ 978 h 10000"/>
                <a:gd name="connsiteX235" fmla="*/ 9495 w 10000"/>
                <a:gd name="connsiteY235" fmla="*/ 831 h 10000"/>
                <a:gd name="connsiteX236" fmla="*/ 9077 w 10000"/>
                <a:gd name="connsiteY236" fmla="*/ 517 h 10000"/>
                <a:gd name="connsiteX237" fmla="*/ 8872 w 10000"/>
                <a:gd name="connsiteY237" fmla="*/ 440 h 10000"/>
                <a:gd name="connsiteX238" fmla="*/ 8493 w 10000"/>
                <a:gd name="connsiteY238" fmla="*/ 389 h 10000"/>
                <a:gd name="connsiteX239" fmla="*/ 7709 w 10000"/>
                <a:gd name="connsiteY239" fmla="*/ 26 h 10000"/>
                <a:gd name="connsiteX240" fmla="*/ 7683 w 10000"/>
                <a:gd name="connsiteY240" fmla="*/ 2 h 10000"/>
                <a:gd name="connsiteX241" fmla="*/ 7417 w 10000"/>
                <a:gd name="connsiteY241" fmla="*/ 0 h 10000"/>
                <a:gd name="connsiteX242" fmla="*/ 7356 w 10000"/>
                <a:gd name="connsiteY242" fmla="*/ 14 h 10000"/>
                <a:gd name="connsiteX243" fmla="*/ 7369 w 10000"/>
                <a:gd name="connsiteY243" fmla="*/ 61 h 10000"/>
                <a:gd name="connsiteX244" fmla="*/ 7422 w 10000"/>
                <a:gd name="connsiteY244" fmla="*/ 86 h 10000"/>
                <a:gd name="connsiteX245" fmla="*/ 7435 w 10000"/>
                <a:gd name="connsiteY245" fmla="*/ 139 h 10000"/>
                <a:gd name="connsiteX246" fmla="*/ 7417 w 10000"/>
                <a:gd name="connsiteY246" fmla="*/ 181 h 10000"/>
                <a:gd name="connsiteX247" fmla="*/ 7369 w 10000"/>
                <a:gd name="connsiteY247" fmla="*/ 208 h 10000"/>
                <a:gd name="connsiteX248" fmla="*/ 7334 w 10000"/>
                <a:gd name="connsiteY248" fmla="*/ 283 h 10000"/>
                <a:gd name="connsiteX249" fmla="*/ 7269 w 10000"/>
                <a:gd name="connsiteY249" fmla="*/ 336 h 10000"/>
                <a:gd name="connsiteX250" fmla="*/ 7282 w 10000"/>
                <a:gd name="connsiteY250" fmla="*/ 387 h 10000"/>
                <a:gd name="connsiteX251" fmla="*/ 7382 w 10000"/>
                <a:gd name="connsiteY251" fmla="*/ 434 h 10000"/>
                <a:gd name="connsiteX252" fmla="*/ 7317 w 10000"/>
                <a:gd name="connsiteY252" fmla="*/ 475 h 10000"/>
                <a:gd name="connsiteX253" fmla="*/ 7221 w 10000"/>
                <a:gd name="connsiteY253" fmla="*/ 485 h 10000"/>
                <a:gd name="connsiteX254" fmla="*/ 6420 w 10000"/>
                <a:gd name="connsiteY254" fmla="*/ 387 h 10000"/>
                <a:gd name="connsiteX255" fmla="*/ 6324 w 10000"/>
                <a:gd name="connsiteY255" fmla="*/ 395 h 10000"/>
                <a:gd name="connsiteX256" fmla="*/ 6267 w 10000"/>
                <a:gd name="connsiteY256" fmla="*/ 414 h 10000"/>
                <a:gd name="connsiteX257" fmla="*/ 6211 w 10000"/>
                <a:gd name="connsiteY257" fmla="*/ 462 h 10000"/>
                <a:gd name="connsiteX258" fmla="*/ 6220 w 10000"/>
                <a:gd name="connsiteY258" fmla="*/ 581 h 10000"/>
                <a:gd name="connsiteX259" fmla="*/ 6132 w 10000"/>
                <a:gd name="connsiteY259" fmla="*/ 735 h 10000"/>
                <a:gd name="connsiteX260" fmla="*/ 6024 w 10000"/>
                <a:gd name="connsiteY260" fmla="*/ 815 h 10000"/>
                <a:gd name="connsiteX261" fmla="*/ 5980 w 10000"/>
                <a:gd name="connsiteY261" fmla="*/ 805 h 10000"/>
                <a:gd name="connsiteX262" fmla="*/ 5880 w 10000"/>
                <a:gd name="connsiteY262" fmla="*/ 739 h 10000"/>
                <a:gd name="connsiteX263" fmla="*/ 5753 w 10000"/>
                <a:gd name="connsiteY263" fmla="*/ 705 h 10000"/>
                <a:gd name="connsiteX264" fmla="*/ 5618 w 10000"/>
                <a:gd name="connsiteY264" fmla="*/ 715 h 10000"/>
                <a:gd name="connsiteX265" fmla="*/ 5301 w 10000"/>
                <a:gd name="connsiteY265" fmla="*/ 866 h 10000"/>
                <a:gd name="connsiteX266" fmla="*/ 5218 w 10000"/>
                <a:gd name="connsiteY266" fmla="*/ 1017 h 10000"/>
                <a:gd name="connsiteX267" fmla="*/ 4978 w 10000"/>
                <a:gd name="connsiteY267" fmla="*/ 1153 h 10000"/>
                <a:gd name="connsiteX268" fmla="*/ 4935 w 10000"/>
                <a:gd name="connsiteY268" fmla="*/ 1222 h 10000"/>
                <a:gd name="connsiteX269" fmla="*/ 5061 w 10000"/>
                <a:gd name="connsiteY269" fmla="*/ 1344 h 10000"/>
                <a:gd name="connsiteX270" fmla="*/ 5074 w 10000"/>
                <a:gd name="connsiteY270" fmla="*/ 1412 h 10000"/>
                <a:gd name="connsiteX271" fmla="*/ 4421 w 10000"/>
                <a:gd name="connsiteY271" fmla="*/ 1813 h 10000"/>
                <a:gd name="connsiteX272" fmla="*/ 4220 w 10000"/>
                <a:gd name="connsiteY272" fmla="*/ 2070 h 10000"/>
                <a:gd name="connsiteX273" fmla="*/ 4003 w 10000"/>
                <a:gd name="connsiteY273" fmla="*/ 2135 h 10000"/>
                <a:gd name="connsiteX274" fmla="*/ 3868 w 10000"/>
                <a:gd name="connsiteY274" fmla="*/ 2131 h 10000"/>
                <a:gd name="connsiteX275" fmla="*/ 3785 w 10000"/>
                <a:gd name="connsiteY275" fmla="*/ 2153 h 10000"/>
                <a:gd name="connsiteX276" fmla="*/ 3558 w 10000"/>
                <a:gd name="connsiteY276" fmla="*/ 2793 h 10000"/>
                <a:gd name="connsiteX277" fmla="*/ 3036 w 10000"/>
                <a:gd name="connsiteY277" fmla="*/ 3166 h 10000"/>
                <a:gd name="connsiteX278" fmla="*/ 3040 w 10000"/>
                <a:gd name="connsiteY278" fmla="*/ 3225 h 10000"/>
                <a:gd name="connsiteX279" fmla="*/ 3271 w 10000"/>
                <a:gd name="connsiteY279" fmla="*/ 3392 h 10000"/>
                <a:gd name="connsiteX280" fmla="*/ 3197 w 10000"/>
                <a:gd name="connsiteY280" fmla="*/ 3573 h 10000"/>
                <a:gd name="connsiteX281" fmla="*/ 3062 w 10000"/>
                <a:gd name="connsiteY281" fmla="*/ 3640 h 10000"/>
                <a:gd name="connsiteX282" fmla="*/ 2657 w 10000"/>
                <a:gd name="connsiteY282" fmla="*/ 3595 h 10000"/>
                <a:gd name="connsiteX283" fmla="*/ 2378 w 10000"/>
                <a:gd name="connsiteY283" fmla="*/ 3620 h 10000"/>
                <a:gd name="connsiteX284" fmla="*/ 2152 w 10000"/>
                <a:gd name="connsiteY284" fmla="*/ 3673 h 10000"/>
                <a:gd name="connsiteX285" fmla="*/ 1790 w 10000"/>
                <a:gd name="connsiteY285" fmla="*/ 3840 h 10000"/>
                <a:gd name="connsiteX286" fmla="*/ 1598 w 10000"/>
                <a:gd name="connsiteY286" fmla="*/ 4042 h 10000"/>
                <a:gd name="connsiteX287" fmla="*/ 1616 w 10000"/>
                <a:gd name="connsiteY287" fmla="*/ 4154 h 10000"/>
                <a:gd name="connsiteX288" fmla="*/ 1681 w 10000"/>
                <a:gd name="connsiteY288" fmla="*/ 4241 h 10000"/>
                <a:gd name="connsiteX289" fmla="*/ 1733 w 10000"/>
                <a:gd name="connsiteY289" fmla="*/ 4276 h 10000"/>
                <a:gd name="connsiteX290" fmla="*/ 1638 w 10000"/>
                <a:gd name="connsiteY290" fmla="*/ 4331 h 10000"/>
                <a:gd name="connsiteX291" fmla="*/ 1433 w 10000"/>
                <a:gd name="connsiteY291" fmla="*/ 4710 h 10000"/>
                <a:gd name="connsiteX292" fmla="*/ 1472 w 10000"/>
                <a:gd name="connsiteY292" fmla="*/ 4732 h 10000"/>
                <a:gd name="connsiteX293" fmla="*/ 1503 w 10000"/>
                <a:gd name="connsiteY293" fmla="*/ 4828 h 10000"/>
                <a:gd name="connsiteX294" fmla="*/ 1407 w 10000"/>
                <a:gd name="connsiteY294" fmla="*/ 5227 h 10000"/>
                <a:gd name="connsiteX295" fmla="*/ 1503 w 10000"/>
                <a:gd name="connsiteY295" fmla="*/ 5329 h 10000"/>
                <a:gd name="connsiteX296" fmla="*/ 1764 w 10000"/>
                <a:gd name="connsiteY296" fmla="*/ 5441 h 10000"/>
                <a:gd name="connsiteX297" fmla="*/ 1777 w 10000"/>
                <a:gd name="connsiteY297" fmla="*/ 5578 h 10000"/>
                <a:gd name="connsiteX298" fmla="*/ 1664 w 10000"/>
                <a:gd name="connsiteY298" fmla="*/ 5690 h 10000"/>
                <a:gd name="connsiteX299" fmla="*/ 1503 w 10000"/>
                <a:gd name="connsiteY299" fmla="*/ 5759 h 10000"/>
                <a:gd name="connsiteX300" fmla="*/ 1289 w 10000"/>
                <a:gd name="connsiteY300" fmla="*/ 5787 h 10000"/>
                <a:gd name="connsiteX301" fmla="*/ 1233 w 10000"/>
                <a:gd name="connsiteY301" fmla="*/ 5826 h 10000"/>
                <a:gd name="connsiteX302" fmla="*/ 1359 w 10000"/>
                <a:gd name="connsiteY302" fmla="*/ 5920 h 10000"/>
                <a:gd name="connsiteX303" fmla="*/ 1429 w 10000"/>
                <a:gd name="connsiteY303" fmla="*/ 6142 h 10000"/>
                <a:gd name="connsiteX304" fmla="*/ 1267 w 10000"/>
                <a:gd name="connsiteY304" fmla="*/ 6333 h 10000"/>
                <a:gd name="connsiteX305" fmla="*/ 1324 w 10000"/>
                <a:gd name="connsiteY305" fmla="*/ 6392 h 10000"/>
                <a:gd name="connsiteX306" fmla="*/ 1272 w 10000"/>
                <a:gd name="connsiteY306" fmla="*/ 6492 h 10000"/>
                <a:gd name="connsiteX307" fmla="*/ 1167 w 10000"/>
                <a:gd name="connsiteY307" fmla="*/ 6561 h 10000"/>
                <a:gd name="connsiteX308" fmla="*/ 758 w 10000"/>
                <a:gd name="connsiteY308" fmla="*/ 6614 h 10000"/>
                <a:gd name="connsiteX309" fmla="*/ 732 w 10000"/>
                <a:gd name="connsiteY309" fmla="*/ 6706 h 10000"/>
                <a:gd name="connsiteX310" fmla="*/ 510 w 10000"/>
                <a:gd name="connsiteY310" fmla="*/ 6843 h 10000"/>
                <a:gd name="connsiteX311" fmla="*/ 540 w 10000"/>
                <a:gd name="connsiteY311" fmla="*/ 7040 h 10000"/>
                <a:gd name="connsiteX312" fmla="*/ 353 w 10000"/>
                <a:gd name="connsiteY312" fmla="*/ 7293 h 10000"/>
                <a:gd name="connsiteX313" fmla="*/ 226 w 10000"/>
                <a:gd name="connsiteY313" fmla="*/ 7323 h 10000"/>
                <a:gd name="connsiteX314" fmla="*/ 174 w 10000"/>
                <a:gd name="connsiteY314" fmla="*/ 7262 h 10000"/>
                <a:gd name="connsiteX315" fmla="*/ 109 w 10000"/>
                <a:gd name="connsiteY315" fmla="*/ 7354 h 10000"/>
                <a:gd name="connsiteX316" fmla="*/ 152 w 10000"/>
                <a:gd name="connsiteY316" fmla="*/ 7197 h 10000"/>
                <a:gd name="connsiteX317" fmla="*/ 126 w 10000"/>
                <a:gd name="connsiteY317"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855 w 10000"/>
                <a:gd name="connsiteY207" fmla="*/ 2341 h 10000"/>
                <a:gd name="connsiteX208" fmla="*/ 8898 w 10000"/>
                <a:gd name="connsiteY208" fmla="*/ 2332 h 10000"/>
                <a:gd name="connsiteX209" fmla="*/ 8946 w 10000"/>
                <a:gd name="connsiteY209" fmla="*/ 2330 h 10000"/>
                <a:gd name="connsiteX210" fmla="*/ 8946 w 10000"/>
                <a:gd name="connsiteY210" fmla="*/ 2361 h 10000"/>
                <a:gd name="connsiteX211" fmla="*/ 8994 w 10000"/>
                <a:gd name="connsiteY211" fmla="*/ 2389 h 10000"/>
                <a:gd name="connsiteX212" fmla="*/ 9051 w 10000"/>
                <a:gd name="connsiteY212" fmla="*/ 2400 h 10000"/>
                <a:gd name="connsiteX213" fmla="*/ 9094 w 10000"/>
                <a:gd name="connsiteY213" fmla="*/ 2324 h 10000"/>
                <a:gd name="connsiteX214" fmla="*/ 9164 w 10000"/>
                <a:gd name="connsiteY214" fmla="*/ 2347 h 10000"/>
                <a:gd name="connsiteX215" fmla="*/ 9247 w 10000"/>
                <a:gd name="connsiteY215" fmla="*/ 2402 h 10000"/>
                <a:gd name="connsiteX216" fmla="*/ 9286 w 10000"/>
                <a:gd name="connsiteY216" fmla="*/ 2400 h 10000"/>
                <a:gd name="connsiteX217" fmla="*/ 9355 w 10000"/>
                <a:gd name="connsiteY217" fmla="*/ 2428 h 10000"/>
                <a:gd name="connsiteX218" fmla="*/ 9408 w 10000"/>
                <a:gd name="connsiteY218" fmla="*/ 2359 h 10000"/>
                <a:gd name="connsiteX219" fmla="*/ 9717 w 10000"/>
                <a:gd name="connsiteY219" fmla="*/ 2343 h 10000"/>
                <a:gd name="connsiteX220" fmla="*/ 9830 w 10000"/>
                <a:gd name="connsiteY220" fmla="*/ 2369 h 10000"/>
                <a:gd name="connsiteX221" fmla="*/ 9909 w 10000"/>
                <a:gd name="connsiteY221" fmla="*/ 2410 h 10000"/>
                <a:gd name="connsiteX222" fmla="*/ 9948 w 10000"/>
                <a:gd name="connsiteY222" fmla="*/ 2365 h 10000"/>
                <a:gd name="connsiteX223" fmla="*/ 10000 w 10000"/>
                <a:gd name="connsiteY223" fmla="*/ 2349 h 10000"/>
                <a:gd name="connsiteX224" fmla="*/ 9704 w 10000"/>
                <a:gd name="connsiteY224" fmla="*/ 1992 h 10000"/>
                <a:gd name="connsiteX225" fmla="*/ 9743 w 10000"/>
                <a:gd name="connsiteY225" fmla="*/ 1897 h 10000"/>
                <a:gd name="connsiteX226" fmla="*/ 9830 w 10000"/>
                <a:gd name="connsiteY226" fmla="*/ 1819 h 10000"/>
                <a:gd name="connsiteX227" fmla="*/ 9830 w 10000"/>
                <a:gd name="connsiteY227" fmla="*/ 1699 h 10000"/>
                <a:gd name="connsiteX228" fmla="*/ 9556 w 10000"/>
                <a:gd name="connsiteY228" fmla="*/ 1465 h 10000"/>
                <a:gd name="connsiteX229" fmla="*/ 9512 w 10000"/>
                <a:gd name="connsiteY229" fmla="*/ 1379 h 10000"/>
                <a:gd name="connsiteX230" fmla="*/ 9573 w 10000"/>
                <a:gd name="connsiteY230" fmla="*/ 1271 h 10000"/>
                <a:gd name="connsiteX231" fmla="*/ 9543 w 10000"/>
                <a:gd name="connsiteY231" fmla="*/ 1194 h 10000"/>
                <a:gd name="connsiteX232" fmla="*/ 9486 w 10000"/>
                <a:gd name="connsiteY232" fmla="*/ 1159 h 10000"/>
                <a:gd name="connsiteX233" fmla="*/ 9438 w 10000"/>
                <a:gd name="connsiteY233" fmla="*/ 978 h 10000"/>
                <a:gd name="connsiteX234" fmla="*/ 9495 w 10000"/>
                <a:gd name="connsiteY234" fmla="*/ 831 h 10000"/>
                <a:gd name="connsiteX235" fmla="*/ 9077 w 10000"/>
                <a:gd name="connsiteY235" fmla="*/ 517 h 10000"/>
                <a:gd name="connsiteX236" fmla="*/ 8872 w 10000"/>
                <a:gd name="connsiteY236" fmla="*/ 440 h 10000"/>
                <a:gd name="connsiteX237" fmla="*/ 8493 w 10000"/>
                <a:gd name="connsiteY237" fmla="*/ 389 h 10000"/>
                <a:gd name="connsiteX238" fmla="*/ 7709 w 10000"/>
                <a:gd name="connsiteY238" fmla="*/ 26 h 10000"/>
                <a:gd name="connsiteX239" fmla="*/ 7683 w 10000"/>
                <a:gd name="connsiteY239" fmla="*/ 2 h 10000"/>
                <a:gd name="connsiteX240" fmla="*/ 7417 w 10000"/>
                <a:gd name="connsiteY240" fmla="*/ 0 h 10000"/>
                <a:gd name="connsiteX241" fmla="*/ 7356 w 10000"/>
                <a:gd name="connsiteY241" fmla="*/ 14 h 10000"/>
                <a:gd name="connsiteX242" fmla="*/ 7369 w 10000"/>
                <a:gd name="connsiteY242" fmla="*/ 61 h 10000"/>
                <a:gd name="connsiteX243" fmla="*/ 7422 w 10000"/>
                <a:gd name="connsiteY243" fmla="*/ 86 h 10000"/>
                <a:gd name="connsiteX244" fmla="*/ 7435 w 10000"/>
                <a:gd name="connsiteY244" fmla="*/ 139 h 10000"/>
                <a:gd name="connsiteX245" fmla="*/ 7417 w 10000"/>
                <a:gd name="connsiteY245" fmla="*/ 181 h 10000"/>
                <a:gd name="connsiteX246" fmla="*/ 7369 w 10000"/>
                <a:gd name="connsiteY246" fmla="*/ 208 h 10000"/>
                <a:gd name="connsiteX247" fmla="*/ 7334 w 10000"/>
                <a:gd name="connsiteY247" fmla="*/ 283 h 10000"/>
                <a:gd name="connsiteX248" fmla="*/ 7269 w 10000"/>
                <a:gd name="connsiteY248" fmla="*/ 336 h 10000"/>
                <a:gd name="connsiteX249" fmla="*/ 7282 w 10000"/>
                <a:gd name="connsiteY249" fmla="*/ 387 h 10000"/>
                <a:gd name="connsiteX250" fmla="*/ 7382 w 10000"/>
                <a:gd name="connsiteY250" fmla="*/ 434 h 10000"/>
                <a:gd name="connsiteX251" fmla="*/ 7317 w 10000"/>
                <a:gd name="connsiteY251" fmla="*/ 475 h 10000"/>
                <a:gd name="connsiteX252" fmla="*/ 7221 w 10000"/>
                <a:gd name="connsiteY252" fmla="*/ 485 h 10000"/>
                <a:gd name="connsiteX253" fmla="*/ 6420 w 10000"/>
                <a:gd name="connsiteY253" fmla="*/ 387 h 10000"/>
                <a:gd name="connsiteX254" fmla="*/ 6324 w 10000"/>
                <a:gd name="connsiteY254" fmla="*/ 395 h 10000"/>
                <a:gd name="connsiteX255" fmla="*/ 6267 w 10000"/>
                <a:gd name="connsiteY255" fmla="*/ 414 h 10000"/>
                <a:gd name="connsiteX256" fmla="*/ 6211 w 10000"/>
                <a:gd name="connsiteY256" fmla="*/ 462 h 10000"/>
                <a:gd name="connsiteX257" fmla="*/ 6220 w 10000"/>
                <a:gd name="connsiteY257" fmla="*/ 581 h 10000"/>
                <a:gd name="connsiteX258" fmla="*/ 6132 w 10000"/>
                <a:gd name="connsiteY258" fmla="*/ 735 h 10000"/>
                <a:gd name="connsiteX259" fmla="*/ 6024 w 10000"/>
                <a:gd name="connsiteY259" fmla="*/ 815 h 10000"/>
                <a:gd name="connsiteX260" fmla="*/ 5980 w 10000"/>
                <a:gd name="connsiteY260" fmla="*/ 805 h 10000"/>
                <a:gd name="connsiteX261" fmla="*/ 5880 w 10000"/>
                <a:gd name="connsiteY261" fmla="*/ 739 h 10000"/>
                <a:gd name="connsiteX262" fmla="*/ 5753 w 10000"/>
                <a:gd name="connsiteY262" fmla="*/ 705 h 10000"/>
                <a:gd name="connsiteX263" fmla="*/ 5618 w 10000"/>
                <a:gd name="connsiteY263" fmla="*/ 715 h 10000"/>
                <a:gd name="connsiteX264" fmla="*/ 5301 w 10000"/>
                <a:gd name="connsiteY264" fmla="*/ 866 h 10000"/>
                <a:gd name="connsiteX265" fmla="*/ 5218 w 10000"/>
                <a:gd name="connsiteY265" fmla="*/ 1017 h 10000"/>
                <a:gd name="connsiteX266" fmla="*/ 4978 w 10000"/>
                <a:gd name="connsiteY266" fmla="*/ 1153 h 10000"/>
                <a:gd name="connsiteX267" fmla="*/ 4935 w 10000"/>
                <a:gd name="connsiteY267" fmla="*/ 1222 h 10000"/>
                <a:gd name="connsiteX268" fmla="*/ 5061 w 10000"/>
                <a:gd name="connsiteY268" fmla="*/ 1344 h 10000"/>
                <a:gd name="connsiteX269" fmla="*/ 5074 w 10000"/>
                <a:gd name="connsiteY269" fmla="*/ 1412 h 10000"/>
                <a:gd name="connsiteX270" fmla="*/ 4421 w 10000"/>
                <a:gd name="connsiteY270" fmla="*/ 1813 h 10000"/>
                <a:gd name="connsiteX271" fmla="*/ 4220 w 10000"/>
                <a:gd name="connsiteY271" fmla="*/ 2070 h 10000"/>
                <a:gd name="connsiteX272" fmla="*/ 4003 w 10000"/>
                <a:gd name="connsiteY272" fmla="*/ 2135 h 10000"/>
                <a:gd name="connsiteX273" fmla="*/ 3868 w 10000"/>
                <a:gd name="connsiteY273" fmla="*/ 2131 h 10000"/>
                <a:gd name="connsiteX274" fmla="*/ 3785 w 10000"/>
                <a:gd name="connsiteY274" fmla="*/ 2153 h 10000"/>
                <a:gd name="connsiteX275" fmla="*/ 3558 w 10000"/>
                <a:gd name="connsiteY275" fmla="*/ 2793 h 10000"/>
                <a:gd name="connsiteX276" fmla="*/ 3036 w 10000"/>
                <a:gd name="connsiteY276" fmla="*/ 3166 h 10000"/>
                <a:gd name="connsiteX277" fmla="*/ 3040 w 10000"/>
                <a:gd name="connsiteY277" fmla="*/ 3225 h 10000"/>
                <a:gd name="connsiteX278" fmla="*/ 3271 w 10000"/>
                <a:gd name="connsiteY278" fmla="*/ 3392 h 10000"/>
                <a:gd name="connsiteX279" fmla="*/ 3197 w 10000"/>
                <a:gd name="connsiteY279" fmla="*/ 3573 h 10000"/>
                <a:gd name="connsiteX280" fmla="*/ 3062 w 10000"/>
                <a:gd name="connsiteY280" fmla="*/ 3640 h 10000"/>
                <a:gd name="connsiteX281" fmla="*/ 2657 w 10000"/>
                <a:gd name="connsiteY281" fmla="*/ 3595 h 10000"/>
                <a:gd name="connsiteX282" fmla="*/ 2378 w 10000"/>
                <a:gd name="connsiteY282" fmla="*/ 3620 h 10000"/>
                <a:gd name="connsiteX283" fmla="*/ 2152 w 10000"/>
                <a:gd name="connsiteY283" fmla="*/ 3673 h 10000"/>
                <a:gd name="connsiteX284" fmla="*/ 1790 w 10000"/>
                <a:gd name="connsiteY284" fmla="*/ 3840 h 10000"/>
                <a:gd name="connsiteX285" fmla="*/ 1598 w 10000"/>
                <a:gd name="connsiteY285" fmla="*/ 4042 h 10000"/>
                <a:gd name="connsiteX286" fmla="*/ 1616 w 10000"/>
                <a:gd name="connsiteY286" fmla="*/ 4154 h 10000"/>
                <a:gd name="connsiteX287" fmla="*/ 1681 w 10000"/>
                <a:gd name="connsiteY287" fmla="*/ 4241 h 10000"/>
                <a:gd name="connsiteX288" fmla="*/ 1733 w 10000"/>
                <a:gd name="connsiteY288" fmla="*/ 4276 h 10000"/>
                <a:gd name="connsiteX289" fmla="*/ 1638 w 10000"/>
                <a:gd name="connsiteY289" fmla="*/ 4331 h 10000"/>
                <a:gd name="connsiteX290" fmla="*/ 1433 w 10000"/>
                <a:gd name="connsiteY290" fmla="*/ 4710 h 10000"/>
                <a:gd name="connsiteX291" fmla="*/ 1472 w 10000"/>
                <a:gd name="connsiteY291" fmla="*/ 4732 h 10000"/>
                <a:gd name="connsiteX292" fmla="*/ 1503 w 10000"/>
                <a:gd name="connsiteY292" fmla="*/ 4828 h 10000"/>
                <a:gd name="connsiteX293" fmla="*/ 1407 w 10000"/>
                <a:gd name="connsiteY293" fmla="*/ 5227 h 10000"/>
                <a:gd name="connsiteX294" fmla="*/ 1503 w 10000"/>
                <a:gd name="connsiteY294" fmla="*/ 5329 h 10000"/>
                <a:gd name="connsiteX295" fmla="*/ 1764 w 10000"/>
                <a:gd name="connsiteY295" fmla="*/ 5441 h 10000"/>
                <a:gd name="connsiteX296" fmla="*/ 1777 w 10000"/>
                <a:gd name="connsiteY296" fmla="*/ 5578 h 10000"/>
                <a:gd name="connsiteX297" fmla="*/ 1664 w 10000"/>
                <a:gd name="connsiteY297" fmla="*/ 5690 h 10000"/>
                <a:gd name="connsiteX298" fmla="*/ 1503 w 10000"/>
                <a:gd name="connsiteY298" fmla="*/ 5759 h 10000"/>
                <a:gd name="connsiteX299" fmla="*/ 1289 w 10000"/>
                <a:gd name="connsiteY299" fmla="*/ 5787 h 10000"/>
                <a:gd name="connsiteX300" fmla="*/ 1233 w 10000"/>
                <a:gd name="connsiteY300" fmla="*/ 5826 h 10000"/>
                <a:gd name="connsiteX301" fmla="*/ 1359 w 10000"/>
                <a:gd name="connsiteY301" fmla="*/ 5920 h 10000"/>
                <a:gd name="connsiteX302" fmla="*/ 1429 w 10000"/>
                <a:gd name="connsiteY302" fmla="*/ 6142 h 10000"/>
                <a:gd name="connsiteX303" fmla="*/ 1267 w 10000"/>
                <a:gd name="connsiteY303" fmla="*/ 6333 h 10000"/>
                <a:gd name="connsiteX304" fmla="*/ 1324 w 10000"/>
                <a:gd name="connsiteY304" fmla="*/ 6392 h 10000"/>
                <a:gd name="connsiteX305" fmla="*/ 1272 w 10000"/>
                <a:gd name="connsiteY305" fmla="*/ 6492 h 10000"/>
                <a:gd name="connsiteX306" fmla="*/ 1167 w 10000"/>
                <a:gd name="connsiteY306" fmla="*/ 6561 h 10000"/>
                <a:gd name="connsiteX307" fmla="*/ 758 w 10000"/>
                <a:gd name="connsiteY307" fmla="*/ 6614 h 10000"/>
                <a:gd name="connsiteX308" fmla="*/ 732 w 10000"/>
                <a:gd name="connsiteY308" fmla="*/ 6706 h 10000"/>
                <a:gd name="connsiteX309" fmla="*/ 510 w 10000"/>
                <a:gd name="connsiteY309" fmla="*/ 6843 h 10000"/>
                <a:gd name="connsiteX310" fmla="*/ 540 w 10000"/>
                <a:gd name="connsiteY310" fmla="*/ 7040 h 10000"/>
                <a:gd name="connsiteX311" fmla="*/ 353 w 10000"/>
                <a:gd name="connsiteY311" fmla="*/ 7293 h 10000"/>
                <a:gd name="connsiteX312" fmla="*/ 226 w 10000"/>
                <a:gd name="connsiteY312" fmla="*/ 7323 h 10000"/>
                <a:gd name="connsiteX313" fmla="*/ 174 w 10000"/>
                <a:gd name="connsiteY313" fmla="*/ 7262 h 10000"/>
                <a:gd name="connsiteX314" fmla="*/ 109 w 10000"/>
                <a:gd name="connsiteY314" fmla="*/ 7354 h 10000"/>
                <a:gd name="connsiteX315" fmla="*/ 152 w 10000"/>
                <a:gd name="connsiteY315" fmla="*/ 7197 h 10000"/>
                <a:gd name="connsiteX316" fmla="*/ 126 w 10000"/>
                <a:gd name="connsiteY316"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855 w 10000"/>
                <a:gd name="connsiteY207" fmla="*/ 2341 h 10000"/>
                <a:gd name="connsiteX208" fmla="*/ 8898 w 10000"/>
                <a:gd name="connsiteY208" fmla="*/ 2332 h 10000"/>
                <a:gd name="connsiteX209" fmla="*/ 8946 w 10000"/>
                <a:gd name="connsiteY209" fmla="*/ 2330 h 10000"/>
                <a:gd name="connsiteX210" fmla="*/ 8946 w 10000"/>
                <a:gd name="connsiteY210" fmla="*/ 2361 h 10000"/>
                <a:gd name="connsiteX211" fmla="*/ 9051 w 10000"/>
                <a:gd name="connsiteY211" fmla="*/ 2400 h 10000"/>
                <a:gd name="connsiteX212" fmla="*/ 9094 w 10000"/>
                <a:gd name="connsiteY212" fmla="*/ 2324 h 10000"/>
                <a:gd name="connsiteX213" fmla="*/ 9164 w 10000"/>
                <a:gd name="connsiteY213" fmla="*/ 2347 h 10000"/>
                <a:gd name="connsiteX214" fmla="*/ 9247 w 10000"/>
                <a:gd name="connsiteY214" fmla="*/ 2402 h 10000"/>
                <a:gd name="connsiteX215" fmla="*/ 9286 w 10000"/>
                <a:gd name="connsiteY215" fmla="*/ 2400 h 10000"/>
                <a:gd name="connsiteX216" fmla="*/ 9355 w 10000"/>
                <a:gd name="connsiteY216" fmla="*/ 2428 h 10000"/>
                <a:gd name="connsiteX217" fmla="*/ 9408 w 10000"/>
                <a:gd name="connsiteY217" fmla="*/ 2359 h 10000"/>
                <a:gd name="connsiteX218" fmla="*/ 9717 w 10000"/>
                <a:gd name="connsiteY218" fmla="*/ 2343 h 10000"/>
                <a:gd name="connsiteX219" fmla="*/ 9830 w 10000"/>
                <a:gd name="connsiteY219" fmla="*/ 2369 h 10000"/>
                <a:gd name="connsiteX220" fmla="*/ 9909 w 10000"/>
                <a:gd name="connsiteY220" fmla="*/ 2410 h 10000"/>
                <a:gd name="connsiteX221" fmla="*/ 9948 w 10000"/>
                <a:gd name="connsiteY221" fmla="*/ 2365 h 10000"/>
                <a:gd name="connsiteX222" fmla="*/ 10000 w 10000"/>
                <a:gd name="connsiteY222" fmla="*/ 2349 h 10000"/>
                <a:gd name="connsiteX223" fmla="*/ 9704 w 10000"/>
                <a:gd name="connsiteY223" fmla="*/ 1992 h 10000"/>
                <a:gd name="connsiteX224" fmla="*/ 9743 w 10000"/>
                <a:gd name="connsiteY224" fmla="*/ 1897 h 10000"/>
                <a:gd name="connsiteX225" fmla="*/ 9830 w 10000"/>
                <a:gd name="connsiteY225" fmla="*/ 1819 h 10000"/>
                <a:gd name="connsiteX226" fmla="*/ 9830 w 10000"/>
                <a:gd name="connsiteY226" fmla="*/ 1699 h 10000"/>
                <a:gd name="connsiteX227" fmla="*/ 9556 w 10000"/>
                <a:gd name="connsiteY227" fmla="*/ 1465 h 10000"/>
                <a:gd name="connsiteX228" fmla="*/ 9512 w 10000"/>
                <a:gd name="connsiteY228" fmla="*/ 1379 h 10000"/>
                <a:gd name="connsiteX229" fmla="*/ 9573 w 10000"/>
                <a:gd name="connsiteY229" fmla="*/ 1271 h 10000"/>
                <a:gd name="connsiteX230" fmla="*/ 9543 w 10000"/>
                <a:gd name="connsiteY230" fmla="*/ 1194 h 10000"/>
                <a:gd name="connsiteX231" fmla="*/ 9486 w 10000"/>
                <a:gd name="connsiteY231" fmla="*/ 1159 h 10000"/>
                <a:gd name="connsiteX232" fmla="*/ 9438 w 10000"/>
                <a:gd name="connsiteY232" fmla="*/ 978 h 10000"/>
                <a:gd name="connsiteX233" fmla="*/ 9495 w 10000"/>
                <a:gd name="connsiteY233" fmla="*/ 831 h 10000"/>
                <a:gd name="connsiteX234" fmla="*/ 9077 w 10000"/>
                <a:gd name="connsiteY234" fmla="*/ 517 h 10000"/>
                <a:gd name="connsiteX235" fmla="*/ 8872 w 10000"/>
                <a:gd name="connsiteY235" fmla="*/ 440 h 10000"/>
                <a:gd name="connsiteX236" fmla="*/ 8493 w 10000"/>
                <a:gd name="connsiteY236" fmla="*/ 389 h 10000"/>
                <a:gd name="connsiteX237" fmla="*/ 7709 w 10000"/>
                <a:gd name="connsiteY237" fmla="*/ 26 h 10000"/>
                <a:gd name="connsiteX238" fmla="*/ 7683 w 10000"/>
                <a:gd name="connsiteY238" fmla="*/ 2 h 10000"/>
                <a:gd name="connsiteX239" fmla="*/ 7417 w 10000"/>
                <a:gd name="connsiteY239" fmla="*/ 0 h 10000"/>
                <a:gd name="connsiteX240" fmla="*/ 7356 w 10000"/>
                <a:gd name="connsiteY240" fmla="*/ 14 h 10000"/>
                <a:gd name="connsiteX241" fmla="*/ 7369 w 10000"/>
                <a:gd name="connsiteY241" fmla="*/ 61 h 10000"/>
                <a:gd name="connsiteX242" fmla="*/ 7422 w 10000"/>
                <a:gd name="connsiteY242" fmla="*/ 86 h 10000"/>
                <a:gd name="connsiteX243" fmla="*/ 7435 w 10000"/>
                <a:gd name="connsiteY243" fmla="*/ 139 h 10000"/>
                <a:gd name="connsiteX244" fmla="*/ 7417 w 10000"/>
                <a:gd name="connsiteY244" fmla="*/ 181 h 10000"/>
                <a:gd name="connsiteX245" fmla="*/ 7369 w 10000"/>
                <a:gd name="connsiteY245" fmla="*/ 208 h 10000"/>
                <a:gd name="connsiteX246" fmla="*/ 7334 w 10000"/>
                <a:gd name="connsiteY246" fmla="*/ 283 h 10000"/>
                <a:gd name="connsiteX247" fmla="*/ 7269 w 10000"/>
                <a:gd name="connsiteY247" fmla="*/ 336 h 10000"/>
                <a:gd name="connsiteX248" fmla="*/ 7282 w 10000"/>
                <a:gd name="connsiteY248" fmla="*/ 387 h 10000"/>
                <a:gd name="connsiteX249" fmla="*/ 7382 w 10000"/>
                <a:gd name="connsiteY249" fmla="*/ 434 h 10000"/>
                <a:gd name="connsiteX250" fmla="*/ 7317 w 10000"/>
                <a:gd name="connsiteY250" fmla="*/ 475 h 10000"/>
                <a:gd name="connsiteX251" fmla="*/ 7221 w 10000"/>
                <a:gd name="connsiteY251" fmla="*/ 485 h 10000"/>
                <a:gd name="connsiteX252" fmla="*/ 6420 w 10000"/>
                <a:gd name="connsiteY252" fmla="*/ 387 h 10000"/>
                <a:gd name="connsiteX253" fmla="*/ 6324 w 10000"/>
                <a:gd name="connsiteY253" fmla="*/ 395 h 10000"/>
                <a:gd name="connsiteX254" fmla="*/ 6267 w 10000"/>
                <a:gd name="connsiteY254" fmla="*/ 414 h 10000"/>
                <a:gd name="connsiteX255" fmla="*/ 6211 w 10000"/>
                <a:gd name="connsiteY255" fmla="*/ 462 h 10000"/>
                <a:gd name="connsiteX256" fmla="*/ 6220 w 10000"/>
                <a:gd name="connsiteY256" fmla="*/ 581 h 10000"/>
                <a:gd name="connsiteX257" fmla="*/ 6132 w 10000"/>
                <a:gd name="connsiteY257" fmla="*/ 735 h 10000"/>
                <a:gd name="connsiteX258" fmla="*/ 6024 w 10000"/>
                <a:gd name="connsiteY258" fmla="*/ 815 h 10000"/>
                <a:gd name="connsiteX259" fmla="*/ 5980 w 10000"/>
                <a:gd name="connsiteY259" fmla="*/ 805 h 10000"/>
                <a:gd name="connsiteX260" fmla="*/ 5880 w 10000"/>
                <a:gd name="connsiteY260" fmla="*/ 739 h 10000"/>
                <a:gd name="connsiteX261" fmla="*/ 5753 w 10000"/>
                <a:gd name="connsiteY261" fmla="*/ 705 h 10000"/>
                <a:gd name="connsiteX262" fmla="*/ 5618 w 10000"/>
                <a:gd name="connsiteY262" fmla="*/ 715 h 10000"/>
                <a:gd name="connsiteX263" fmla="*/ 5301 w 10000"/>
                <a:gd name="connsiteY263" fmla="*/ 866 h 10000"/>
                <a:gd name="connsiteX264" fmla="*/ 5218 w 10000"/>
                <a:gd name="connsiteY264" fmla="*/ 1017 h 10000"/>
                <a:gd name="connsiteX265" fmla="*/ 4978 w 10000"/>
                <a:gd name="connsiteY265" fmla="*/ 1153 h 10000"/>
                <a:gd name="connsiteX266" fmla="*/ 4935 w 10000"/>
                <a:gd name="connsiteY266" fmla="*/ 1222 h 10000"/>
                <a:gd name="connsiteX267" fmla="*/ 5061 w 10000"/>
                <a:gd name="connsiteY267" fmla="*/ 1344 h 10000"/>
                <a:gd name="connsiteX268" fmla="*/ 5074 w 10000"/>
                <a:gd name="connsiteY268" fmla="*/ 1412 h 10000"/>
                <a:gd name="connsiteX269" fmla="*/ 4421 w 10000"/>
                <a:gd name="connsiteY269" fmla="*/ 1813 h 10000"/>
                <a:gd name="connsiteX270" fmla="*/ 4220 w 10000"/>
                <a:gd name="connsiteY270" fmla="*/ 2070 h 10000"/>
                <a:gd name="connsiteX271" fmla="*/ 4003 w 10000"/>
                <a:gd name="connsiteY271" fmla="*/ 2135 h 10000"/>
                <a:gd name="connsiteX272" fmla="*/ 3868 w 10000"/>
                <a:gd name="connsiteY272" fmla="*/ 2131 h 10000"/>
                <a:gd name="connsiteX273" fmla="*/ 3785 w 10000"/>
                <a:gd name="connsiteY273" fmla="*/ 2153 h 10000"/>
                <a:gd name="connsiteX274" fmla="*/ 3558 w 10000"/>
                <a:gd name="connsiteY274" fmla="*/ 2793 h 10000"/>
                <a:gd name="connsiteX275" fmla="*/ 3036 w 10000"/>
                <a:gd name="connsiteY275" fmla="*/ 3166 h 10000"/>
                <a:gd name="connsiteX276" fmla="*/ 3040 w 10000"/>
                <a:gd name="connsiteY276" fmla="*/ 3225 h 10000"/>
                <a:gd name="connsiteX277" fmla="*/ 3271 w 10000"/>
                <a:gd name="connsiteY277" fmla="*/ 3392 h 10000"/>
                <a:gd name="connsiteX278" fmla="*/ 3197 w 10000"/>
                <a:gd name="connsiteY278" fmla="*/ 3573 h 10000"/>
                <a:gd name="connsiteX279" fmla="*/ 3062 w 10000"/>
                <a:gd name="connsiteY279" fmla="*/ 3640 h 10000"/>
                <a:gd name="connsiteX280" fmla="*/ 2657 w 10000"/>
                <a:gd name="connsiteY280" fmla="*/ 3595 h 10000"/>
                <a:gd name="connsiteX281" fmla="*/ 2378 w 10000"/>
                <a:gd name="connsiteY281" fmla="*/ 3620 h 10000"/>
                <a:gd name="connsiteX282" fmla="*/ 2152 w 10000"/>
                <a:gd name="connsiteY282" fmla="*/ 3673 h 10000"/>
                <a:gd name="connsiteX283" fmla="*/ 1790 w 10000"/>
                <a:gd name="connsiteY283" fmla="*/ 3840 h 10000"/>
                <a:gd name="connsiteX284" fmla="*/ 1598 w 10000"/>
                <a:gd name="connsiteY284" fmla="*/ 4042 h 10000"/>
                <a:gd name="connsiteX285" fmla="*/ 1616 w 10000"/>
                <a:gd name="connsiteY285" fmla="*/ 4154 h 10000"/>
                <a:gd name="connsiteX286" fmla="*/ 1681 w 10000"/>
                <a:gd name="connsiteY286" fmla="*/ 4241 h 10000"/>
                <a:gd name="connsiteX287" fmla="*/ 1733 w 10000"/>
                <a:gd name="connsiteY287" fmla="*/ 4276 h 10000"/>
                <a:gd name="connsiteX288" fmla="*/ 1638 w 10000"/>
                <a:gd name="connsiteY288" fmla="*/ 4331 h 10000"/>
                <a:gd name="connsiteX289" fmla="*/ 1433 w 10000"/>
                <a:gd name="connsiteY289" fmla="*/ 4710 h 10000"/>
                <a:gd name="connsiteX290" fmla="*/ 1472 w 10000"/>
                <a:gd name="connsiteY290" fmla="*/ 4732 h 10000"/>
                <a:gd name="connsiteX291" fmla="*/ 1503 w 10000"/>
                <a:gd name="connsiteY291" fmla="*/ 4828 h 10000"/>
                <a:gd name="connsiteX292" fmla="*/ 1407 w 10000"/>
                <a:gd name="connsiteY292" fmla="*/ 5227 h 10000"/>
                <a:gd name="connsiteX293" fmla="*/ 1503 w 10000"/>
                <a:gd name="connsiteY293" fmla="*/ 5329 h 10000"/>
                <a:gd name="connsiteX294" fmla="*/ 1764 w 10000"/>
                <a:gd name="connsiteY294" fmla="*/ 5441 h 10000"/>
                <a:gd name="connsiteX295" fmla="*/ 1777 w 10000"/>
                <a:gd name="connsiteY295" fmla="*/ 5578 h 10000"/>
                <a:gd name="connsiteX296" fmla="*/ 1664 w 10000"/>
                <a:gd name="connsiteY296" fmla="*/ 5690 h 10000"/>
                <a:gd name="connsiteX297" fmla="*/ 1503 w 10000"/>
                <a:gd name="connsiteY297" fmla="*/ 5759 h 10000"/>
                <a:gd name="connsiteX298" fmla="*/ 1289 w 10000"/>
                <a:gd name="connsiteY298" fmla="*/ 5787 h 10000"/>
                <a:gd name="connsiteX299" fmla="*/ 1233 w 10000"/>
                <a:gd name="connsiteY299" fmla="*/ 5826 h 10000"/>
                <a:gd name="connsiteX300" fmla="*/ 1359 w 10000"/>
                <a:gd name="connsiteY300" fmla="*/ 5920 h 10000"/>
                <a:gd name="connsiteX301" fmla="*/ 1429 w 10000"/>
                <a:gd name="connsiteY301" fmla="*/ 6142 h 10000"/>
                <a:gd name="connsiteX302" fmla="*/ 1267 w 10000"/>
                <a:gd name="connsiteY302" fmla="*/ 6333 h 10000"/>
                <a:gd name="connsiteX303" fmla="*/ 1324 w 10000"/>
                <a:gd name="connsiteY303" fmla="*/ 6392 h 10000"/>
                <a:gd name="connsiteX304" fmla="*/ 1272 w 10000"/>
                <a:gd name="connsiteY304" fmla="*/ 6492 h 10000"/>
                <a:gd name="connsiteX305" fmla="*/ 1167 w 10000"/>
                <a:gd name="connsiteY305" fmla="*/ 6561 h 10000"/>
                <a:gd name="connsiteX306" fmla="*/ 758 w 10000"/>
                <a:gd name="connsiteY306" fmla="*/ 6614 h 10000"/>
                <a:gd name="connsiteX307" fmla="*/ 732 w 10000"/>
                <a:gd name="connsiteY307" fmla="*/ 6706 h 10000"/>
                <a:gd name="connsiteX308" fmla="*/ 510 w 10000"/>
                <a:gd name="connsiteY308" fmla="*/ 6843 h 10000"/>
                <a:gd name="connsiteX309" fmla="*/ 540 w 10000"/>
                <a:gd name="connsiteY309" fmla="*/ 7040 h 10000"/>
                <a:gd name="connsiteX310" fmla="*/ 353 w 10000"/>
                <a:gd name="connsiteY310" fmla="*/ 7293 h 10000"/>
                <a:gd name="connsiteX311" fmla="*/ 226 w 10000"/>
                <a:gd name="connsiteY311" fmla="*/ 7323 h 10000"/>
                <a:gd name="connsiteX312" fmla="*/ 174 w 10000"/>
                <a:gd name="connsiteY312" fmla="*/ 7262 h 10000"/>
                <a:gd name="connsiteX313" fmla="*/ 109 w 10000"/>
                <a:gd name="connsiteY313" fmla="*/ 7354 h 10000"/>
                <a:gd name="connsiteX314" fmla="*/ 152 w 10000"/>
                <a:gd name="connsiteY314" fmla="*/ 7197 h 10000"/>
                <a:gd name="connsiteX315" fmla="*/ 126 w 10000"/>
                <a:gd name="connsiteY315"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855 w 10000"/>
                <a:gd name="connsiteY207" fmla="*/ 2341 h 10000"/>
                <a:gd name="connsiteX208" fmla="*/ 8898 w 10000"/>
                <a:gd name="connsiteY208" fmla="*/ 2332 h 10000"/>
                <a:gd name="connsiteX209" fmla="*/ 8946 w 10000"/>
                <a:gd name="connsiteY209" fmla="*/ 2330 h 10000"/>
                <a:gd name="connsiteX210" fmla="*/ 8946 w 10000"/>
                <a:gd name="connsiteY210" fmla="*/ 2361 h 10000"/>
                <a:gd name="connsiteX211" fmla="*/ 9094 w 10000"/>
                <a:gd name="connsiteY211" fmla="*/ 2324 h 10000"/>
                <a:gd name="connsiteX212" fmla="*/ 9164 w 10000"/>
                <a:gd name="connsiteY212" fmla="*/ 2347 h 10000"/>
                <a:gd name="connsiteX213" fmla="*/ 9247 w 10000"/>
                <a:gd name="connsiteY213" fmla="*/ 2402 h 10000"/>
                <a:gd name="connsiteX214" fmla="*/ 9286 w 10000"/>
                <a:gd name="connsiteY214" fmla="*/ 2400 h 10000"/>
                <a:gd name="connsiteX215" fmla="*/ 9355 w 10000"/>
                <a:gd name="connsiteY215" fmla="*/ 2428 h 10000"/>
                <a:gd name="connsiteX216" fmla="*/ 9408 w 10000"/>
                <a:gd name="connsiteY216" fmla="*/ 2359 h 10000"/>
                <a:gd name="connsiteX217" fmla="*/ 9717 w 10000"/>
                <a:gd name="connsiteY217" fmla="*/ 2343 h 10000"/>
                <a:gd name="connsiteX218" fmla="*/ 9830 w 10000"/>
                <a:gd name="connsiteY218" fmla="*/ 2369 h 10000"/>
                <a:gd name="connsiteX219" fmla="*/ 9909 w 10000"/>
                <a:gd name="connsiteY219" fmla="*/ 2410 h 10000"/>
                <a:gd name="connsiteX220" fmla="*/ 9948 w 10000"/>
                <a:gd name="connsiteY220" fmla="*/ 2365 h 10000"/>
                <a:gd name="connsiteX221" fmla="*/ 10000 w 10000"/>
                <a:gd name="connsiteY221" fmla="*/ 2349 h 10000"/>
                <a:gd name="connsiteX222" fmla="*/ 9704 w 10000"/>
                <a:gd name="connsiteY222" fmla="*/ 1992 h 10000"/>
                <a:gd name="connsiteX223" fmla="*/ 9743 w 10000"/>
                <a:gd name="connsiteY223" fmla="*/ 1897 h 10000"/>
                <a:gd name="connsiteX224" fmla="*/ 9830 w 10000"/>
                <a:gd name="connsiteY224" fmla="*/ 1819 h 10000"/>
                <a:gd name="connsiteX225" fmla="*/ 9830 w 10000"/>
                <a:gd name="connsiteY225" fmla="*/ 1699 h 10000"/>
                <a:gd name="connsiteX226" fmla="*/ 9556 w 10000"/>
                <a:gd name="connsiteY226" fmla="*/ 1465 h 10000"/>
                <a:gd name="connsiteX227" fmla="*/ 9512 w 10000"/>
                <a:gd name="connsiteY227" fmla="*/ 1379 h 10000"/>
                <a:gd name="connsiteX228" fmla="*/ 9573 w 10000"/>
                <a:gd name="connsiteY228" fmla="*/ 1271 h 10000"/>
                <a:gd name="connsiteX229" fmla="*/ 9543 w 10000"/>
                <a:gd name="connsiteY229" fmla="*/ 1194 h 10000"/>
                <a:gd name="connsiteX230" fmla="*/ 9486 w 10000"/>
                <a:gd name="connsiteY230" fmla="*/ 1159 h 10000"/>
                <a:gd name="connsiteX231" fmla="*/ 9438 w 10000"/>
                <a:gd name="connsiteY231" fmla="*/ 978 h 10000"/>
                <a:gd name="connsiteX232" fmla="*/ 9495 w 10000"/>
                <a:gd name="connsiteY232" fmla="*/ 831 h 10000"/>
                <a:gd name="connsiteX233" fmla="*/ 9077 w 10000"/>
                <a:gd name="connsiteY233" fmla="*/ 517 h 10000"/>
                <a:gd name="connsiteX234" fmla="*/ 8872 w 10000"/>
                <a:gd name="connsiteY234" fmla="*/ 440 h 10000"/>
                <a:gd name="connsiteX235" fmla="*/ 8493 w 10000"/>
                <a:gd name="connsiteY235" fmla="*/ 389 h 10000"/>
                <a:gd name="connsiteX236" fmla="*/ 7709 w 10000"/>
                <a:gd name="connsiteY236" fmla="*/ 26 h 10000"/>
                <a:gd name="connsiteX237" fmla="*/ 7683 w 10000"/>
                <a:gd name="connsiteY237" fmla="*/ 2 h 10000"/>
                <a:gd name="connsiteX238" fmla="*/ 7417 w 10000"/>
                <a:gd name="connsiteY238" fmla="*/ 0 h 10000"/>
                <a:gd name="connsiteX239" fmla="*/ 7356 w 10000"/>
                <a:gd name="connsiteY239" fmla="*/ 14 h 10000"/>
                <a:gd name="connsiteX240" fmla="*/ 7369 w 10000"/>
                <a:gd name="connsiteY240" fmla="*/ 61 h 10000"/>
                <a:gd name="connsiteX241" fmla="*/ 7422 w 10000"/>
                <a:gd name="connsiteY241" fmla="*/ 86 h 10000"/>
                <a:gd name="connsiteX242" fmla="*/ 7435 w 10000"/>
                <a:gd name="connsiteY242" fmla="*/ 139 h 10000"/>
                <a:gd name="connsiteX243" fmla="*/ 7417 w 10000"/>
                <a:gd name="connsiteY243" fmla="*/ 181 h 10000"/>
                <a:gd name="connsiteX244" fmla="*/ 7369 w 10000"/>
                <a:gd name="connsiteY244" fmla="*/ 208 h 10000"/>
                <a:gd name="connsiteX245" fmla="*/ 7334 w 10000"/>
                <a:gd name="connsiteY245" fmla="*/ 283 h 10000"/>
                <a:gd name="connsiteX246" fmla="*/ 7269 w 10000"/>
                <a:gd name="connsiteY246" fmla="*/ 336 h 10000"/>
                <a:gd name="connsiteX247" fmla="*/ 7282 w 10000"/>
                <a:gd name="connsiteY247" fmla="*/ 387 h 10000"/>
                <a:gd name="connsiteX248" fmla="*/ 7382 w 10000"/>
                <a:gd name="connsiteY248" fmla="*/ 434 h 10000"/>
                <a:gd name="connsiteX249" fmla="*/ 7317 w 10000"/>
                <a:gd name="connsiteY249" fmla="*/ 475 h 10000"/>
                <a:gd name="connsiteX250" fmla="*/ 7221 w 10000"/>
                <a:gd name="connsiteY250" fmla="*/ 485 h 10000"/>
                <a:gd name="connsiteX251" fmla="*/ 6420 w 10000"/>
                <a:gd name="connsiteY251" fmla="*/ 387 h 10000"/>
                <a:gd name="connsiteX252" fmla="*/ 6324 w 10000"/>
                <a:gd name="connsiteY252" fmla="*/ 395 h 10000"/>
                <a:gd name="connsiteX253" fmla="*/ 6267 w 10000"/>
                <a:gd name="connsiteY253" fmla="*/ 414 h 10000"/>
                <a:gd name="connsiteX254" fmla="*/ 6211 w 10000"/>
                <a:gd name="connsiteY254" fmla="*/ 462 h 10000"/>
                <a:gd name="connsiteX255" fmla="*/ 6220 w 10000"/>
                <a:gd name="connsiteY255" fmla="*/ 581 h 10000"/>
                <a:gd name="connsiteX256" fmla="*/ 6132 w 10000"/>
                <a:gd name="connsiteY256" fmla="*/ 735 h 10000"/>
                <a:gd name="connsiteX257" fmla="*/ 6024 w 10000"/>
                <a:gd name="connsiteY257" fmla="*/ 815 h 10000"/>
                <a:gd name="connsiteX258" fmla="*/ 5980 w 10000"/>
                <a:gd name="connsiteY258" fmla="*/ 805 h 10000"/>
                <a:gd name="connsiteX259" fmla="*/ 5880 w 10000"/>
                <a:gd name="connsiteY259" fmla="*/ 739 h 10000"/>
                <a:gd name="connsiteX260" fmla="*/ 5753 w 10000"/>
                <a:gd name="connsiteY260" fmla="*/ 705 h 10000"/>
                <a:gd name="connsiteX261" fmla="*/ 5618 w 10000"/>
                <a:gd name="connsiteY261" fmla="*/ 715 h 10000"/>
                <a:gd name="connsiteX262" fmla="*/ 5301 w 10000"/>
                <a:gd name="connsiteY262" fmla="*/ 866 h 10000"/>
                <a:gd name="connsiteX263" fmla="*/ 5218 w 10000"/>
                <a:gd name="connsiteY263" fmla="*/ 1017 h 10000"/>
                <a:gd name="connsiteX264" fmla="*/ 4978 w 10000"/>
                <a:gd name="connsiteY264" fmla="*/ 1153 h 10000"/>
                <a:gd name="connsiteX265" fmla="*/ 4935 w 10000"/>
                <a:gd name="connsiteY265" fmla="*/ 1222 h 10000"/>
                <a:gd name="connsiteX266" fmla="*/ 5061 w 10000"/>
                <a:gd name="connsiteY266" fmla="*/ 1344 h 10000"/>
                <a:gd name="connsiteX267" fmla="*/ 5074 w 10000"/>
                <a:gd name="connsiteY267" fmla="*/ 1412 h 10000"/>
                <a:gd name="connsiteX268" fmla="*/ 4421 w 10000"/>
                <a:gd name="connsiteY268" fmla="*/ 1813 h 10000"/>
                <a:gd name="connsiteX269" fmla="*/ 4220 w 10000"/>
                <a:gd name="connsiteY269" fmla="*/ 2070 h 10000"/>
                <a:gd name="connsiteX270" fmla="*/ 4003 w 10000"/>
                <a:gd name="connsiteY270" fmla="*/ 2135 h 10000"/>
                <a:gd name="connsiteX271" fmla="*/ 3868 w 10000"/>
                <a:gd name="connsiteY271" fmla="*/ 2131 h 10000"/>
                <a:gd name="connsiteX272" fmla="*/ 3785 w 10000"/>
                <a:gd name="connsiteY272" fmla="*/ 2153 h 10000"/>
                <a:gd name="connsiteX273" fmla="*/ 3558 w 10000"/>
                <a:gd name="connsiteY273" fmla="*/ 2793 h 10000"/>
                <a:gd name="connsiteX274" fmla="*/ 3036 w 10000"/>
                <a:gd name="connsiteY274" fmla="*/ 3166 h 10000"/>
                <a:gd name="connsiteX275" fmla="*/ 3040 w 10000"/>
                <a:gd name="connsiteY275" fmla="*/ 3225 h 10000"/>
                <a:gd name="connsiteX276" fmla="*/ 3271 w 10000"/>
                <a:gd name="connsiteY276" fmla="*/ 3392 h 10000"/>
                <a:gd name="connsiteX277" fmla="*/ 3197 w 10000"/>
                <a:gd name="connsiteY277" fmla="*/ 3573 h 10000"/>
                <a:gd name="connsiteX278" fmla="*/ 3062 w 10000"/>
                <a:gd name="connsiteY278" fmla="*/ 3640 h 10000"/>
                <a:gd name="connsiteX279" fmla="*/ 2657 w 10000"/>
                <a:gd name="connsiteY279" fmla="*/ 3595 h 10000"/>
                <a:gd name="connsiteX280" fmla="*/ 2378 w 10000"/>
                <a:gd name="connsiteY280" fmla="*/ 3620 h 10000"/>
                <a:gd name="connsiteX281" fmla="*/ 2152 w 10000"/>
                <a:gd name="connsiteY281" fmla="*/ 3673 h 10000"/>
                <a:gd name="connsiteX282" fmla="*/ 1790 w 10000"/>
                <a:gd name="connsiteY282" fmla="*/ 3840 h 10000"/>
                <a:gd name="connsiteX283" fmla="*/ 1598 w 10000"/>
                <a:gd name="connsiteY283" fmla="*/ 4042 h 10000"/>
                <a:gd name="connsiteX284" fmla="*/ 1616 w 10000"/>
                <a:gd name="connsiteY284" fmla="*/ 4154 h 10000"/>
                <a:gd name="connsiteX285" fmla="*/ 1681 w 10000"/>
                <a:gd name="connsiteY285" fmla="*/ 4241 h 10000"/>
                <a:gd name="connsiteX286" fmla="*/ 1733 w 10000"/>
                <a:gd name="connsiteY286" fmla="*/ 4276 h 10000"/>
                <a:gd name="connsiteX287" fmla="*/ 1638 w 10000"/>
                <a:gd name="connsiteY287" fmla="*/ 4331 h 10000"/>
                <a:gd name="connsiteX288" fmla="*/ 1433 w 10000"/>
                <a:gd name="connsiteY288" fmla="*/ 4710 h 10000"/>
                <a:gd name="connsiteX289" fmla="*/ 1472 w 10000"/>
                <a:gd name="connsiteY289" fmla="*/ 4732 h 10000"/>
                <a:gd name="connsiteX290" fmla="*/ 1503 w 10000"/>
                <a:gd name="connsiteY290" fmla="*/ 4828 h 10000"/>
                <a:gd name="connsiteX291" fmla="*/ 1407 w 10000"/>
                <a:gd name="connsiteY291" fmla="*/ 5227 h 10000"/>
                <a:gd name="connsiteX292" fmla="*/ 1503 w 10000"/>
                <a:gd name="connsiteY292" fmla="*/ 5329 h 10000"/>
                <a:gd name="connsiteX293" fmla="*/ 1764 w 10000"/>
                <a:gd name="connsiteY293" fmla="*/ 5441 h 10000"/>
                <a:gd name="connsiteX294" fmla="*/ 1777 w 10000"/>
                <a:gd name="connsiteY294" fmla="*/ 5578 h 10000"/>
                <a:gd name="connsiteX295" fmla="*/ 1664 w 10000"/>
                <a:gd name="connsiteY295" fmla="*/ 5690 h 10000"/>
                <a:gd name="connsiteX296" fmla="*/ 1503 w 10000"/>
                <a:gd name="connsiteY296" fmla="*/ 5759 h 10000"/>
                <a:gd name="connsiteX297" fmla="*/ 1289 w 10000"/>
                <a:gd name="connsiteY297" fmla="*/ 5787 h 10000"/>
                <a:gd name="connsiteX298" fmla="*/ 1233 w 10000"/>
                <a:gd name="connsiteY298" fmla="*/ 5826 h 10000"/>
                <a:gd name="connsiteX299" fmla="*/ 1359 w 10000"/>
                <a:gd name="connsiteY299" fmla="*/ 5920 h 10000"/>
                <a:gd name="connsiteX300" fmla="*/ 1429 w 10000"/>
                <a:gd name="connsiteY300" fmla="*/ 6142 h 10000"/>
                <a:gd name="connsiteX301" fmla="*/ 1267 w 10000"/>
                <a:gd name="connsiteY301" fmla="*/ 6333 h 10000"/>
                <a:gd name="connsiteX302" fmla="*/ 1324 w 10000"/>
                <a:gd name="connsiteY302" fmla="*/ 6392 h 10000"/>
                <a:gd name="connsiteX303" fmla="*/ 1272 w 10000"/>
                <a:gd name="connsiteY303" fmla="*/ 6492 h 10000"/>
                <a:gd name="connsiteX304" fmla="*/ 1167 w 10000"/>
                <a:gd name="connsiteY304" fmla="*/ 6561 h 10000"/>
                <a:gd name="connsiteX305" fmla="*/ 758 w 10000"/>
                <a:gd name="connsiteY305" fmla="*/ 6614 h 10000"/>
                <a:gd name="connsiteX306" fmla="*/ 732 w 10000"/>
                <a:gd name="connsiteY306" fmla="*/ 6706 h 10000"/>
                <a:gd name="connsiteX307" fmla="*/ 510 w 10000"/>
                <a:gd name="connsiteY307" fmla="*/ 6843 h 10000"/>
                <a:gd name="connsiteX308" fmla="*/ 540 w 10000"/>
                <a:gd name="connsiteY308" fmla="*/ 7040 h 10000"/>
                <a:gd name="connsiteX309" fmla="*/ 353 w 10000"/>
                <a:gd name="connsiteY309" fmla="*/ 7293 h 10000"/>
                <a:gd name="connsiteX310" fmla="*/ 226 w 10000"/>
                <a:gd name="connsiteY310" fmla="*/ 7323 h 10000"/>
                <a:gd name="connsiteX311" fmla="*/ 174 w 10000"/>
                <a:gd name="connsiteY311" fmla="*/ 7262 h 10000"/>
                <a:gd name="connsiteX312" fmla="*/ 109 w 10000"/>
                <a:gd name="connsiteY312" fmla="*/ 7354 h 10000"/>
                <a:gd name="connsiteX313" fmla="*/ 152 w 10000"/>
                <a:gd name="connsiteY313" fmla="*/ 7197 h 10000"/>
                <a:gd name="connsiteX314" fmla="*/ 126 w 10000"/>
                <a:gd name="connsiteY314"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855 w 10000"/>
                <a:gd name="connsiteY207" fmla="*/ 2341 h 10000"/>
                <a:gd name="connsiteX208" fmla="*/ 8898 w 10000"/>
                <a:gd name="connsiteY208" fmla="*/ 2332 h 10000"/>
                <a:gd name="connsiteX209" fmla="*/ 8946 w 10000"/>
                <a:gd name="connsiteY209" fmla="*/ 2330 h 10000"/>
                <a:gd name="connsiteX210" fmla="*/ 8946 w 10000"/>
                <a:gd name="connsiteY210" fmla="*/ 2361 h 10000"/>
                <a:gd name="connsiteX211" fmla="*/ 9094 w 10000"/>
                <a:gd name="connsiteY211" fmla="*/ 2324 h 10000"/>
                <a:gd name="connsiteX212" fmla="*/ 9164 w 10000"/>
                <a:gd name="connsiteY212" fmla="*/ 2347 h 10000"/>
                <a:gd name="connsiteX213" fmla="*/ 9286 w 10000"/>
                <a:gd name="connsiteY213" fmla="*/ 2400 h 10000"/>
                <a:gd name="connsiteX214" fmla="*/ 9355 w 10000"/>
                <a:gd name="connsiteY214" fmla="*/ 2428 h 10000"/>
                <a:gd name="connsiteX215" fmla="*/ 9408 w 10000"/>
                <a:gd name="connsiteY215" fmla="*/ 2359 h 10000"/>
                <a:gd name="connsiteX216" fmla="*/ 9717 w 10000"/>
                <a:gd name="connsiteY216" fmla="*/ 2343 h 10000"/>
                <a:gd name="connsiteX217" fmla="*/ 9830 w 10000"/>
                <a:gd name="connsiteY217" fmla="*/ 2369 h 10000"/>
                <a:gd name="connsiteX218" fmla="*/ 9909 w 10000"/>
                <a:gd name="connsiteY218" fmla="*/ 2410 h 10000"/>
                <a:gd name="connsiteX219" fmla="*/ 9948 w 10000"/>
                <a:gd name="connsiteY219" fmla="*/ 2365 h 10000"/>
                <a:gd name="connsiteX220" fmla="*/ 10000 w 10000"/>
                <a:gd name="connsiteY220" fmla="*/ 2349 h 10000"/>
                <a:gd name="connsiteX221" fmla="*/ 9704 w 10000"/>
                <a:gd name="connsiteY221" fmla="*/ 1992 h 10000"/>
                <a:gd name="connsiteX222" fmla="*/ 9743 w 10000"/>
                <a:gd name="connsiteY222" fmla="*/ 1897 h 10000"/>
                <a:gd name="connsiteX223" fmla="*/ 9830 w 10000"/>
                <a:gd name="connsiteY223" fmla="*/ 1819 h 10000"/>
                <a:gd name="connsiteX224" fmla="*/ 9830 w 10000"/>
                <a:gd name="connsiteY224" fmla="*/ 1699 h 10000"/>
                <a:gd name="connsiteX225" fmla="*/ 9556 w 10000"/>
                <a:gd name="connsiteY225" fmla="*/ 1465 h 10000"/>
                <a:gd name="connsiteX226" fmla="*/ 9512 w 10000"/>
                <a:gd name="connsiteY226" fmla="*/ 1379 h 10000"/>
                <a:gd name="connsiteX227" fmla="*/ 9573 w 10000"/>
                <a:gd name="connsiteY227" fmla="*/ 1271 h 10000"/>
                <a:gd name="connsiteX228" fmla="*/ 9543 w 10000"/>
                <a:gd name="connsiteY228" fmla="*/ 1194 h 10000"/>
                <a:gd name="connsiteX229" fmla="*/ 9486 w 10000"/>
                <a:gd name="connsiteY229" fmla="*/ 1159 h 10000"/>
                <a:gd name="connsiteX230" fmla="*/ 9438 w 10000"/>
                <a:gd name="connsiteY230" fmla="*/ 978 h 10000"/>
                <a:gd name="connsiteX231" fmla="*/ 9495 w 10000"/>
                <a:gd name="connsiteY231" fmla="*/ 831 h 10000"/>
                <a:gd name="connsiteX232" fmla="*/ 9077 w 10000"/>
                <a:gd name="connsiteY232" fmla="*/ 517 h 10000"/>
                <a:gd name="connsiteX233" fmla="*/ 8872 w 10000"/>
                <a:gd name="connsiteY233" fmla="*/ 440 h 10000"/>
                <a:gd name="connsiteX234" fmla="*/ 8493 w 10000"/>
                <a:gd name="connsiteY234" fmla="*/ 389 h 10000"/>
                <a:gd name="connsiteX235" fmla="*/ 7709 w 10000"/>
                <a:gd name="connsiteY235" fmla="*/ 26 h 10000"/>
                <a:gd name="connsiteX236" fmla="*/ 7683 w 10000"/>
                <a:gd name="connsiteY236" fmla="*/ 2 h 10000"/>
                <a:gd name="connsiteX237" fmla="*/ 7417 w 10000"/>
                <a:gd name="connsiteY237" fmla="*/ 0 h 10000"/>
                <a:gd name="connsiteX238" fmla="*/ 7356 w 10000"/>
                <a:gd name="connsiteY238" fmla="*/ 14 h 10000"/>
                <a:gd name="connsiteX239" fmla="*/ 7369 w 10000"/>
                <a:gd name="connsiteY239" fmla="*/ 61 h 10000"/>
                <a:gd name="connsiteX240" fmla="*/ 7422 w 10000"/>
                <a:gd name="connsiteY240" fmla="*/ 86 h 10000"/>
                <a:gd name="connsiteX241" fmla="*/ 7435 w 10000"/>
                <a:gd name="connsiteY241" fmla="*/ 139 h 10000"/>
                <a:gd name="connsiteX242" fmla="*/ 7417 w 10000"/>
                <a:gd name="connsiteY242" fmla="*/ 181 h 10000"/>
                <a:gd name="connsiteX243" fmla="*/ 7369 w 10000"/>
                <a:gd name="connsiteY243" fmla="*/ 208 h 10000"/>
                <a:gd name="connsiteX244" fmla="*/ 7334 w 10000"/>
                <a:gd name="connsiteY244" fmla="*/ 283 h 10000"/>
                <a:gd name="connsiteX245" fmla="*/ 7269 w 10000"/>
                <a:gd name="connsiteY245" fmla="*/ 336 h 10000"/>
                <a:gd name="connsiteX246" fmla="*/ 7282 w 10000"/>
                <a:gd name="connsiteY246" fmla="*/ 387 h 10000"/>
                <a:gd name="connsiteX247" fmla="*/ 7382 w 10000"/>
                <a:gd name="connsiteY247" fmla="*/ 434 h 10000"/>
                <a:gd name="connsiteX248" fmla="*/ 7317 w 10000"/>
                <a:gd name="connsiteY248" fmla="*/ 475 h 10000"/>
                <a:gd name="connsiteX249" fmla="*/ 7221 w 10000"/>
                <a:gd name="connsiteY249" fmla="*/ 485 h 10000"/>
                <a:gd name="connsiteX250" fmla="*/ 6420 w 10000"/>
                <a:gd name="connsiteY250" fmla="*/ 387 h 10000"/>
                <a:gd name="connsiteX251" fmla="*/ 6324 w 10000"/>
                <a:gd name="connsiteY251" fmla="*/ 395 h 10000"/>
                <a:gd name="connsiteX252" fmla="*/ 6267 w 10000"/>
                <a:gd name="connsiteY252" fmla="*/ 414 h 10000"/>
                <a:gd name="connsiteX253" fmla="*/ 6211 w 10000"/>
                <a:gd name="connsiteY253" fmla="*/ 462 h 10000"/>
                <a:gd name="connsiteX254" fmla="*/ 6220 w 10000"/>
                <a:gd name="connsiteY254" fmla="*/ 581 h 10000"/>
                <a:gd name="connsiteX255" fmla="*/ 6132 w 10000"/>
                <a:gd name="connsiteY255" fmla="*/ 735 h 10000"/>
                <a:gd name="connsiteX256" fmla="*/ 6024 w 10000"/>
                <a:gd name="connsiteY256" fmla="*/ 815 h 10000"/>
                <a:gd name="connsiteX257" fmla="*/ 5980 w 10000"/>
                <a:gd name="connsiteY257" fmla="*/ 805 h 10000"/>
                <a:gd name="connsiteX258" fmla="*/ 5880 w 10000"/>
                <a:gd name="connsiteY258" fmla="*/ 739 h 10000"/>
                <a:gd name="connsiteX259" fmla="*/ 5753 w 10000"/>
                <a:gd name="connsiteY259" fmla="*/ 705 h 10000"/>
                <a:gd name="connsiteX260" fmla="*/ 5618 w 10000"/>
                <a:gd name="connsiteY260" fmla="*/ 715 h 10000"/>
                <a:gd name="connsiteX261" fmla="*/ 5301 w 10000"/>
                <a:gd name="connsiteY261" fmla="*/ 866 h 10000"/>
                <a:gd name="connsiteX262" fmla="*/ 5218 w 10000"/>
                <a:gd name="connsiteY262" fmla="*/ 1017 h 10000"/>
                <a:gd name="connsiteX263" fmla="*/ 4978 w 10000"/>
                <a:gd name="connsiteY263" fmla="*/ 1153 h 10000"/>
                <a:gd name="connsiteX264" fmla="*/ 4935 w 10000"/>
                <a:gd name="connsiteY264" fmla="*/ 1222 h 10000"/>
                <a:gd name="connsiteX265" fmla="*/ 5061 w 10000"/>
                <a:gd name="connsiteY265" fmla="*/ 1344 h 10000"/>
                <a:gd name="connsiteX266" fmla="*/ 5074 w 10000"/>
                <a:gd name="connsiteY266" fmla="*/ 1412 h 10000"/>
                <a:gd name="connsiteX267" fmla="*/ 4421 w 10000"/>
                <a:gd name="connsiteY267" fmla="*/ 1813 h 10000"/>
                <a:gd name="connsiteX268" fmla="*/ 4220 w 10000"/>
                <a:gd name="connsiteY268" fmla="*/ 2070 h 10000"/>
                <a:gd name="connsiteX269" fmla="*/ 4003 w 10000"/>
                <a:gd name="connsiteY269" fmla="*/ 2135 h 10000"/>
                <a:gd name="connsiteX270" fmla="*/ 3868 w 10000"/>
                <a:gd name="connsiteY270" fmla="*/ 2131 h 10000"/>
                <a:gd name="connsiteX271" fmla="*/ 3785 w 10000"/>
                <a:gd name="connsiteY271" fmla="*/ 2153 h 10000"/>
                <a:gd name="connsiteX272" fmla="*/ 3558 w 10000"/>
                <a:gd name="connsiteY272" fmla="*/ 2793 h 10000"/>
                <a:gd name="connsiteX273" fmla="*/ 3036 w 10000"/>
                <a:gd name="connsiteY273" fmla="*/ 3166 h 10000"/>
                <a:gd name="connsiteX274" fmla="*/ 3040 w 10000"/>
                <a:gd name="connsiteY274" fmla="*/ 3225 h 10000"/>
                <a:gd name="connsiteX275" fmla="*/ 3271 w 10000"/>
                <a:gd name="connsiteY275" fmla="*/ 3392 h 10000"/>
                <a:gd name="connsiteX276" fmla="*/ 3197 w 10000"/>
                <a:gd name="connsiteY276" fmla="*/ 3573 h 10000"/>
                <a:gd name="connsiteX277" fmla="*/ 3062 w 10000"/>
                <a:gd name="connsiteY277" fmla="*/ 3640 h 10000"/>
                <a:gd name="connsiteX278" fmla="*/ 2657 w 10000"/>
                <a:gd name="connsiteY278" fmla="*/ 3595 h 10000"/>
                <a:gd name="connsiteX279" fmla="*/ 2378 w 10000"/>
                <a:gd name="connsiteY279" fmla="*/ 3620 h 10000"/>
                <a:gd name="connsiteX280" fmla="*/ 2152 w 10000"/>
                <a:gd name="connsiteY280" fmla="*/ 3673 h 10000"/>
                <a:gd name="connsiteX281" fmla="*/ 1790 w 10000"/>
                <a:gd name="connsiteY281" fmla="*/ 3840 h 10000"/>
                <a:gd name="connsiteX282" fmla="*/ 1598 w 10000"/>
                <a:gd name="connsiteY282" fmla="*/ 4042 h 10000"/>
                <a:gd name="connsiteX283" fmla="*/ 1616 w 10000"/>
                <a:gd name="connsiteY283" fmla="*/ 4154 h 10000"/>
                <a:gd name="connsiteX284" fmla="*/ 1681 w 10000"/>
                <a:gd name="connsiteY284" fmla="*/ 4241 h 10000"/>
                <a:gd name="connsiteX285" fmla="*/ 1733 w 10000"/>
                <a:gd name="connsiteY285" fmla="*/ 4276 h 10000"/>
                <a:gd name="connsiteX286" fmla="*/ 1638 w 10000"/>
                <a:gd name="connsiteY286" fmla="*/ 4331 h 10000"/>
                <a:gd name="connsiteX287" fmla="*/ 1433 w 10000"/>
                <a:gd name="connsiteY287" fmla="*/ 4710 h 10000"/>
                <a:gd name="connsiteX288" fmla="*/ 1472 w 10000"/>
                <a:gd name="connsiteY288" fmla="*/ 4732 h 10000"/>
                <a:gd name="connsiteX289" fmla="*/ 1503 w 10000"/>
                <a:gd name="connsiteY289" fmla="*/ 4828 h 10000"/>
                <a:gd name="connsiteX290" fmla="*/ 1407 w 10000"/>
                <a:gd name="connsiteY290" fmla="*/ 5227 h 10000"/>
                <a:gd name="connsiteX291" fmla="*/ 1503 w 10000"/>
                <a:gd name="connsiteY291" fmla="*/ 5329 h 10000"/>
                <a:gd name="connsiteX292" fmla="*/ 1764 w 10000"/>
                <a:gd name="connsiteY292" fmla="*/ 5441 h 10000"/>
                <a:gd name="connsiteX293" fmla="*/ 1777 w 10000"/>
                <a:gd name="connsiteY293" fmla="*/ 5578 h 10000"/>
                <a:gd name="connsiteX294" fmla="*/ 1664 w 10000"/>
                <a:gd name="connsiteY294" fmla="*/ 5690 h 10000"/>
                <a:gd name="connsiteX295" fmla="*/ 1503 w 10000"/>
                <a:gd name="connsiteY295" fmla="*/ 5759 h 10000"/>
                <a:gd name="connsiteX296" fmla="*/ 1289 w 10000"/>
                <a:gd name="connsiteY296" fmla="*/ 5787 h 10000"/>
                <a:gd name="connsiteX297" fmla="*/ 1233 w 10000"/>
                <a:gd name="connsiteY297" fmla="*/ 5826 h 10000"/>
                <a:gd name="connsiteX298" fmla="*/ 1359 w 10000"/>
                <a:gd name="connsiteY298" fmla="*/ 5920 h 10000"/>
                <a:gd name="connsiteX299" fmla="*/ 1429 w 10000"/>
                <a:gd name="connsiteY299" fmla="*/ 6142 h 10000"/>
                <a:gd name="connsiteX300" fmla="*/ 1267 w 10000"/>
                <a:gd name="connsiteY300" fmla="*/ 6333 h 10000"/>
                <a:gd name="connsiteX301" fmla="*/ 1324 w 10000"/>
                <a:gd name="connsiteY301" fmla="*/ 6392 h 10000"/>
                <a:gd name="connsiteX302" fmla="*/ 1272 w 10000"/>
                <a:gd name="connsiteY302" fmla="*/ 6492 h 10000"/>
                <a:gd name="connsiteX303" fmla="*/ 1167 w 10000"/>
                <a:gd name="connsiteY303" fmla="*/ 6561 h 10000"/>
                <a:gd name="connsiteX304" fmla="*/ 758 w 10000"/>
                <a:gd name="connsiteY304" fmla="*/ 6614 h 10000"/>
                <a:gd name="connsiteX305" fmla="*/ 732 w 10000"/>
                <a:gd name="connsiteY305" fmla="*/ 6706 h 10000"/>
                <a:gd name="connsiteX306" fmla="*/ 510 w 10000"/>
                <a:gd name="connsiteY306" fmla="*/ 6843 h 10000"/>
                <a:gd name="connsiteX307" fmla="*/ 540 w 10000"/>
                <a:gd name="connsiteY307" fmla="*/ 7040 h 10000"/>
                <a:gd name="connsiteX308" fmla="*/ 353 w 10000"/>
                <a:gd name="connsiteY308" fmla="*/ 7293 h 10000"/>
                <a:gd name="connsiteX309" fmla="*/ 226 w 10000"/>
                <a:gd name="connsiteY309" fmla="*/ 7323 h 10000"/>
                <a:gd name="connsiteX310" fmla="*/ 174 w 10000"/>
                <a:gd name="connsiteY310" fmla="*/ 7262 h 10000"/>
                <a:gd name="connsiteX311" fmla="*/ 109 w 10000"/>
                <a:gd name="connsiteY311" fmla="*/ 7354 h 10000"/>
                <a:gd name="connsiteX312" fmla="*/ 152 w 10000"/>
                <a:gd name="connsiteY312" fmla="*/ 7197 h 10000"/>
                <a:gd name="connsiteX313" fmla="*/ 126 w 10000"/>
                <a:gd name="connsiteY313"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855 w 10000"/>
                <a:gd name="connsiteY207" fmla="*/ 2341 h 10000"/>
                <a:gd name="connsiteX208" fmla="*/ 8898 w 10000"/>
                <a:gd name="connsiteY208" fmla="*/ 2332 h 10000"/>
                <a:gd name="connsiteX209" fmla="*/ 8946 w 10000"/>
                <a:gd name="connsiteY209" fmla="*/ 2330 h 10000"/>
                <a:gd name="connsiteX210" fmla="*/ 8946 w 10000"/>
                <a:gd name="connsiteY210" fmla="*/ 2361 h 10000"/>
                <a:gd name="connsiteX211" fmla="*/ 9094 w 10000"/>
                <a:gd name="connsiteY211" fmla="*/ 2324 h 10000"/>
                <a:gd name="connsiteX212" fmla="*/ 9164 w 10000"/>
                <a:gd name="connsiteY212" fmla="*/ 2347 h 10000"/>
                <a:gd name="connsiteX213" fmla="*/ 9355 w 10000"/>
                <a:gd name="connsiteY213" fmla="*/ 2428 h 10000"/>
                <a:gd name="connsiteX214" fmla="*/ 9408 w 10000"/>
                <a:gd name="connsiteY214" fmla="*/ 2359 h 10000"/>
                <a:gd name="connsiteX215" fmla="*/ 9717 w 10000"/>
                <a:gd name="connsiteY215" fmla="*/ 2343 h 10000"/>
                <a:gd name="connsiteX216" fmla="*/ 9830 w 10000"/>
                <a:gd name="connsiteY216" fmla="*/ 2369 h 10000"/>
                <a:gd name="connsiteX217" fmla="*/ 9909 w 10000"/>
                <a:gd name="connsiteY217" fmla="*/ 2410 h 10000"/>
                <a:gd name="connsiteX218" fmla="*/ 9948 w 10000"/>
                <a:gd name="connsiteY218" fmla="*/ 2365 h 10000"/>
                <a:gd name="connsiteX219" fmla="*/ 10000 w 10000"/>
                <a:gd name="connsiteY219" fmla="*/ 2349 h 10000"/>
                <a:gd name="connsiteX220" fmla="*/ 9704 w 10000"/>
                <a:gd name="connsiteY220" fmla="*/ 1992 h 10000"/>
                <a:gd name="connsiteX221" fmla="*/ 9743 w 10000"/>
                <a:gd name="connsiteY221" fmla="*/ 1897 h 10000"/>
                <a:gd name="connsiteX222" fmla="*/ 9830 w 10000"/>
                <a:gd name="connsiteY222" fmla="*/ 1819 h 10000"/>
                <a:gd name="connsiteX223" fmla="*/ 9830 w 10000"/>
                <a:gd name="connsiteY223" fmla="*/ 1699 h 10000"/>
                <a:gd name="connsiteX224" fmla="*/ 9556 w 10000"/>
                <a:gd name="connsiteY224" fmla="*/ 1465 h 10000"/>
                <a:gd name="connsiteX225" fmla="*/ 9512 w 10000"/>
                <a:gd name="connsiteY225" fmla="*/ 1379 h 10000"/>
                <a:gd name="connsiteX226" fmla="*/ 9573 w 10000"/>
                <a:gd name="connsiteY226" fmla="*/ 1271 h 10000"/>
                <a:gd name="connsiteX227" fmla="*/ 9543 w 10000"/>
                <a:gd name="connsiteY227" fmla="*/ 1194 h 10000"/>
                <a:gd name="connsiteX228" fmla="*/ 9486 w 10000"/>
                <a:gd name="connsiteY228" fmla="*/ 1159 h 10000"/>
                <a:gd name="connsiteX229" fmla="*/ 9438 w 10000"/>
                <a:gd name="connsiteY229" fmla="*/ 978 h 10000"/>
                <a:gd name="connsiteX230" fmla="*/ 9495 w 10000"/>
                <a:gd name="connsiteY230" fmla="*/ 831 h 10000"/>
                <a:gd name="connsiteX231" fmla="*/ 9077 w 10000"/>
                <a:gd name="connsiteY231" fmla="*/ 517 h 10000"/>
                <a:gd name="connsiteX232" fmla="*/ 8872 w 10000"/>
                <a:gd name="connsiteY232" fmla="*/ 440 h 10000"/>
                <a:gd name="connsiteX233" fmla="*/ 8493 w 10000"/>
                <a:gd name="connsiteY233" fmla="*/ 389 h 10000"/>
                <a:gd name="connsiteX234" fmla="*/ 7709 w 10000"/>
                <a:gd name="connsiteY234" fmla="*/ 26 h 10000"/>
                <a:gd name="connsiteX235" fmla="*/ 7683 w 10000"/>
                <a:gd name="connsiteY235" fmla="*/ 2 h 10000"/>
                <a:gd name="connsiteX236" fmla="*/ 7417 w 10000"/>
                <a:gd name="connsiteY236" fmla="*/ 0 h 10000"/>
                <a:gd name="connsiteX237" fmla="*/ 7356 w 10000"/>
                <a:gd name="connsiteY237" fmla="*/ 14 h 10000"/>
                <a:gd name="connsiteX238" fmla="*/ 7369 w 10000"/>
                <a:gd name="connsiteY238" fmla="*/ 61 h 10000"/>
                <a:gd name="connsiteX239" fmla="*/ 7422 w 10000"/>
                <a:gd name="connsiteY239" fmla="*/ 86 h 10000"/>
                <a:gd name="connsiteX240" fmla="*/ 7435 w 10000"/>
                <a:gd name="connsiteY240" fmla="*/ 139 h 10000"/>
                <a:gd name="connsiteX241" fmla="*/ 7417 w 10000"/>
                <a:gd name="connsiteY241" fmla="*/ 181 h 10000"/>
                <a:gd name="connsiteX242" fmla="*/ 7369 w 10000"/>
                <a:gd name="connsiteY242" fmla="*/ 208 h 10000"/>
                <a:gd name="connsiteX243" fmla="*/ 7334 w 10000"/>
                <a:gd name="connsiteY243" fmla="*/ 283 h 10000"/>
                <a:gd name="connsiteX244" fmla="*/ 7269 w 10000"/>
                <a:gd name="connsiteY244" fmla="*/ 336 h 10000"/>
                <a:gd name="connsiteX245" fmla="*/ 7282 w 10000"/>
                <a:gd name="connsiteY245" fmla="*/ 387 h 10000"/>
                <a:gd name="connsiteX246" fmla="*/ 7382 w 10000"/>
                <a:gd name="connsiteY246" fmla="*/ 434 h 10000"/>
                <a:gd name="connsiteX247" fmla="*/ 7317 w 10000"/>
                <a:gd name="connsiteY247" fmla="*/ 475 h 10000"/>
                <a:gd name="connsiteX248" fmla="*/ 7221 w 10000"/>
                <a:gd name="connsiteY248" fmla="*/ 485 h 10000"/>
                <a:gd name="connsiteX249" fmla="*/ 6420 w 10000"/>
                <a:gd name="connsiteY249" fmla="*/ 387 h 10000"/>
                <a:gd name="connsiteX250" fmla="*/ 6324 w 10000"/>
                <a:gd name="connsiteY250" fmla="*/ 395 h 10000"/>
                <a:gd name="connsiteX251" fmla="*/ 6267 w 10000"/>
                <a:gd name="connsiteY251" fmla="*/ 414 h 10000"/>
                <a:gd name="connsiteX252" fmla="*/ 6211 w 10000"/>
                <a:gd name="connsiteY252" fmla="*/ 462 h 10000"/>
                <a:gd name="connsiteX253" fmla="*/ 6220 w 10000"/>
                <a:gd name="connsiteY253" fmla="*/ 581 h 10000"/>
                <a:gd name="connsiteX254" fmla="*/ 6132 w 10000"/>
                <a:gd name="connsiteY254" fmla="*/ 735 h 10000"/>
                <a:gd name="connsiteX255" fmla="*/ 6024 w 10000"/>
                <a:gd name="connsiteY255" fmla="*/ 815 h 10000"/>
                <a:gd name="connsiteX256" fmla="*/ 5980 w 10000"/>
                <a:gd name="connsiteY256" fmla="*/ 805 h 10000"/>
                <a:gd name="connsiteX257" fmla="*/ 5880 w 10000"/>
                <a:gd name="connsiteY257" fmla="*/ 739 h 10000"/>
                <a:gd name="connsiteX258" fmla="*/ 5753 w 10000"/>
                <a:gd name="connsiteY258" fmla="*/ 705 h 10000"/>
                <a:gd name="connsiteX259" fmla="*/ 5618 w 10000"/>
                <a:gd name="connsiteY259" fmla="*/ 715 h 10000"/>
                <a:gd name="connsiteX260" fmla="*/ 5301 w 10000"/>
                <a:gd name="connsiteY260" fmla="*/ 866 h 10000"/>
                <a:gd name="connsiteX261" fmla="*/ 5218 w 10000"/>
                <a:gd name="connsiteY261" fmla="*/ 1017 h 10000"/>
                <a:gd name="connsiteX262" fmla="*/ 4978 w 10000"/>
                <a:gd name="connsiteY262" fmla="*/ 1153 h 10000"/>
                <a:gd name="connsiteX263" fmla="*/ 4935 w 10000"/>
                <a:gd name="connsiteY263" fmla="*/ 1222 h 10000"/>
                <a:gd name="connsiteX264" fmla="*/ 5061 w 10000"/>
                <a:gd name="connsiteY264" fmla="*/ 1344 h 10000"/>
                <a:gd name="connsiteX265" fmla="*/ 5074 w 10000"/>
                <a:gd name="connsiteY265" fmla="*/ 1412 h 10000"/>
                <a:gd name="connsiteX266" fmla="*/ 4421 w 10000"/>
                <a:gd name="connsiteY266" fmla="*/ 1813 h 10000"/>
                <a:gd name="connsiteX267" fmla="*/ 4220 w 10000"/>
                <a:gd name="connsiteY267" fmla="*/ 2070 h 10000"/>
                <a:gd name="connsiteX268" fmla="*/ 4003 w 10000"/>
                <a:gd name="connsiteY268" fmla="*/ 2135 h 10000"/>
                <a:gd name="connsiteX269" fmla="*/ 3868 w 10000"/>
                <a:gd name="connsiteY269" fmla="*/ 2131 h 10000"/>
                <a:gd name="connsiteX270" fmla="*/ 3785 w 10000"/>
                <a:gd name="connsiteY270" fmla="*/ 2153 h 10000"/>
                <a:gd name="connsiteX271" fmla="*/ 3558 w 10000"/>
                <a:gd name="connsiteY271" fmla="*/ 2793 h 10000"/>
                <a:gd name="connsiteX272" fmla="*/ 3036 w 10000"/>
                <a:gd name="connsiteY272" fmla="*/ 3166 h 10000"/>
                <a:gd name="connsiteX273" fmla="*/ 3040 w 10000"/>
                <a:gd name="connsiteY273" fmla="*/ 3225 h 10000"/>
                <a:gd name="connsiteX274" fmla="*/ 3271 w 10000"/>
                <a:gd name="connsiteY274" fmla="*/ 3392 h 10000"/>
                <a:gd name="connsiteX275" fmla="*/ 3197 w 10000"/>
                <a:gd name="connsiteY275" fmla="*/ 3573 h 10000"/>
                <a:gd name="connsiteX276" fmla="*/ 3062 w 10000"/>
                <a:gd name="connsiteY276" fmla="*/ 3640 h 10000"/>
                <a:gd name="connsiteX277" fmla="*/ 2657 w 10000"/>
                <a:gd name="connsiteY277" fmla="*/ 3595 h 10000"/>
                <a:gd name="connsiteX278" fmla="*/ 2378 w 10000"/>
                <a:gd name="connsiteY278" fmla="*/ 3620 h 10000"/>
                <a:gd name="connsiteX279" fmla="*/ 2152 w 10000"/>
                <a:gd name="connsiteY279" fmla="*/ 3673 h 10000"/>
                <a:gd name="connsiteX280" fmla="*/ 1790 w 10000"/>
                <a:gd name="connsiteY280" fmla="*/ 3840 h 10000"/>
                <a:gd name="connsiteX281" fmla="*/ 1598 w 10000"/>
                <a:gd name="connsiteY281" fmla="*/ 4042 h 10000"/>
                <a:gd name="connsiteX282" fmla="*/ 1616 w 10000"/>
                <a:gd name="connsiteY282" fmla="*/ 4154 h 10000"/>
                <a:gd name="connsiteX283" fmla="*/ 1681 w 10000"/>
                <a:gd name="connsiteY283" fmla="*/ 4241 h 10000"/>
                <a:gd name="connsiteX284" fmla="*/ 1733 w 10000"/>
                <a:gd name="connsiteY284" fmla="*/ 4276 h 10000"/>
                <a:gd name="connsiteX285" fmla="*/ 1638 w 10000"/>
                <a:gd name="connsiteY285" fmla="*/ 4331 h 10000"/>
                <a:gd name="connsiteX286" fmla="*/ 1433 w 10000"/>
                <a:gd name="connsiteY286" fmla="*/ 4710 h 10000"/>
                <a:gd name="connsiteX287" fmla="*/ 1472 w 10000"/>
                <a:gd name="connsiteY287" fmla="*/ 4732 h 10000"/>
                <a:gd name="connsiteX288" fmla="*/ 1503 w 10000"/>
                <a:gd name="connsiteY288" fmla="*/ 4828 h 10000"/>
                <a:gd name="connsiteX289" fmla="*/ 1407 w 10000"/>
                <a:gd name="connsiteY289" fmla="*/ 5227 h 10000"/>
                <a:gd name="connsiteX290" fmla="*/ 1503 w 10000"/>
                <a:gd name="connsiteY290" fmla="*/ 5329 h 10000"/>
                <a:gd name="connsiteX291" fmla="*/ 1764 w 10000"/>
                <a:gd name="connsiteY291" fmla="*/ 5441 h 10000"/>
                <a:gd name="connsiteX292" fmla="*/ 1777 w 10000"/>
                <a:gd name="connsiteY292" fmla="*/ 5578 h 10000"/>
                <a:gd name="connsiteX293" fmla="*/ 1664 w 10000"/>
                <a:gd name="connsiteY293" fmla="*/ 5690 h 10000"/>
                <a:gd name="connsiteX294" fmla="*/ 1503 w 10000"/>
                <a:gd name="connsiteY294" fmla="*/ 5759 h 10000"/>
                <a:gd name="connsiteX295" fmla="*/ 1289 w 10000"/>
                <a:gd name="connsiteY295" fmla="*/ 5787 h 10000"/>
                <a:gd name="connsiteX296" fmla="*/ 1233 w 10000"/>
                <a:gd name="connsiteY296" fmla="*/ 5826 h 10000"/>
                <a:gd name="connsiteX297" fmla="*/ 1359 w 10000"/>
                <a:gd name="connsiteY297" fmla="*/ 5920 h 10000"/>
                <a:gd name="connsiteX298" fmla="*/ 1429 w 10000"/>
                <a:gd name="connsiteY298" fmla="*/ 6142 h 10000"/>
                <a:gd name="connsiteX299" fmla="*/ 1267 w 10000"/>
                <a:gd name="connsiteY299" fmla="*/ 6333 h 10000"/>
                <a:gd name="connsiteX300" fmla="*/ 1324 w 10000"/>
                <a:gd name="connsiteY300" fmla="*/ 6392 h 10000"/>
                <a:gd name="connsiteX301" fmla="*/ 1272 w 10000"/>
                <a:gd name="connsiteY301" fmla="*/ 6492 h 10000"/>
                <a:gd name="connsiteX302" fmla="*/ 1167 w 10000"/>
                <a:gd name="connsiteY302" fmla="*/ 6561 h 10000"/>
                <a:gd name="connsiteX303" fmla="*/ 758 w 10000"/>
                <a:gd name="connsiteY303" fmla="*/ 6614 h 10000"/>
                <a:gd name="connsiteX304" fmla="*/ 732 w 10000"/>
                <a:gd name="connsiteY304" fmla="*/ 6706 h 10000"/>
                <a:gd name="connsiteX305" fmla="*/ 510 w 10000"/>
                <a:gd name="connsiteY305" fmla="*/ 6843 h 10000"/>
                <a:gd name="connsiteX306" fmla="*/ 540 w 10000"/>
                <a:gd name="connsiteY306" fmla="*/ 7040 h 10000"/>
                <a:gd name="connsiteX307" fmla="*/ 353 w 10000"/>
                <a:gd name="connsiteY307" fmla="*/ 7293 h 10000"/>
                <a:gd name="connsiteX308" fmla="*/ 226 w 10000"/>
                <a:gd name="connsiteY308" fmla="*/ 7323 h 10000"/>
                <a:gd name="connsiteX309" fmla="*/ 174 w 10000"/>
                <a:gd name="connsiteY309" fmla="*/ 7262 h 10000"/>
                <a:gd name="connsiteX310" fmla="*/ 109 w 10000"/>
                <a:gd name="connsiteY310" fmla="*/ 7354 h 10000"/>
                <a:gd name="connsiteX311" fmla="*/ 152 w 10000"/>
                <a:gd name="connsiteY311" fmla="*/ 7197 h 10000"/>
                <a:gd name="connsiteX312" fmla="*/ 126 w 10000"/>
                <a:gd name="connsiteY312"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855 w 10000"/>
                <a:gd name="connsiteY207" fmla="*/ 2341 h 10000"/>
                <a:gd name="connsiteX208" fmla="*/ 8898 w 10000"/>
                <a:gd name="connsiteY208" fmla="*/ 2332 h 10000"/>
                <a:gd name="connsiteX209" fmla="*/ 8946 w 10000"/>
                <a:gd name="connsiteY209" fmla="*/ 2330 h 10000"/>
                <a:gd name="connsiteX210" fmla="*/ 8946 w 10000"/>
                <a:gd name="connsiteY210" fmla="*/ 2361 h 10000"/>
                <a:gd name="connsiteX211" fmla="*/ 9094 w 10000"/>
                <a:gd name="connsiteY211" fmla="*/ 2324 h 10000"/>
                <a:gd name="connsiteX212" fmla="*/ 9355 w 10000"/>
                <a:gd name="connsiteY212" fmla="*/ 2428 h 10000"/>
                <a:gd name="connsiteX213" fmla="*/ 9408 w 10000"/>
                <a:gd name="connsiteY213" fmla="*/ 2359 h 10000"/>
                <a:gd name="connsiteX214" fmla="*/ 9717 w 10000"/>
                <a:gd name="connsiteY214" fmla="*/ 2343 h 10000"/>
                <a:gd name="connsiteX215" fmla="*/ 9830 w 10000"/>
                <a:gd name="connsiteY215" fmla="*/ 2369 h 10000"/>
                <a:gd name="connsiteX216" fmla="*/ 9909 w 10000"/>
                <a:gd name="connsiteY216" fmla="*/ 2410 h 10000"/>
                <a:gd name="connsiteX217" fmla="*/ 9948 w 10000"/>
                <a:gd name="connsiteY217" fmla="*/ 2365 h 10000"/>
                <a:gd name="connsiteX218" fmla="*/ 10000 w 10000"/>
                <a:gd name="connsiteY218" fmla="*/ 2349 h 10000"/>
                <a:gd name="connsiteX219" fmla="*/ 9704 w 10000"/>
                <a:gd name="connsiteY219" fmla="*/ 1992 h 10000"/>
                <a:gd name="connsiteX220" fmla="*/ 9743 w 10000"/>
                <a:gd name="connsiteY220" fmla="*/ 1897 h 10000"/>
                <a:gd name="connsiteX221" fmla="*/ 9830 w 10000"/>
                <a:gd name="connsiteY221" fmla="*/ 1819 h 10000"/>
                <a:gd name="connsiteX222" fmla="*/ 9830 w 10000"/>
                <a:gd name="connsiteY222" fmla="*/ 1699 h 10000"/>
                <a:gd name="connsiteX223" fmla="*/ 9556 w 10000"/>
                <a:gd name="connsiteY223" fmla="*/ 1465 h 10000"/>
                <a:gd name="connsiteX224" fmla="*/ 9512 w 10000"/>
                <a:gd name="connsiteY224" fmla="*/ 1379 h 10000"/>
                <a:gd name="connsiteX225" fmla="*/ 9573 w 10000"/>
                <a:gd name="connsiteY225" fmla="*/ 1271 h 10000"/>
                <a:gd name="connsiteX226" fmla="*/ 9543 w 10000"/>
                <a:gd name="connsiteY226" fmla="*/ 1194 h 10000"/>
                <a:gd name="connsiteX227" fmla="*/ 9486 w 10000"/>
                <a:gd name="connsiteY227" fmla="*/ 1159 h 10000"/>
                <a:gd name="connsiteX228" fmla="*/ 9438 w 10000"/>
                <a:gd name="connsiteY228" fmla="*/ 978 h 10000"/>
                <a:gd name="connsiteX229" fmla="*/ 9495 w 10000"/>
                <a:gd name="connsiteY229" fmla="*/ 831 h 10000"/>
                <a:gd name="connsiteX230" fmla="*/ 9077 w 10000"/>
                <a:gd name="connsiteY230" fmla="*/ 517 h 10000"/>
                <a:gd name="connsiteX231" fmla="*/ 8872 w 10000"/>
                <a:gd name="connsiteY231" fmla="*/ 440 h 10000"/>
                <a:gd name="connsiteX232" fmla="*/ 8493 w 10000"/>
                <a:gd name="connsiteY232" fmla="*/ 389 h 10000"/>
                <a:gd name="connsiteX233" fmla="*/ 7709 w 10000"/>
                <a:gd name="connsiteY233" fmla="*/ 26 h 10000"/>
                <a:gd name="connsiteX234" fmla="*/ 7683 w 10000"/>
                <a:gd name="connsiteY234" fmla="*/ 2 h 10000"/>
                <a:gd name="connsiteX235" fmla="*/ 7417 w 10000"/>
                <a:gd name="connsiteY235" fmla="*/ 0 h 10000"/>
                <a:gd name="connsiteX236" fmla="*/ 7356 w 10000"/>
                <a:gd name="connsiteY236" fmla="*/ 14 h 10000"/>
                <a:gd name="connsiteX237" fmla="*/ 7369 w 10000"/>
                <a:gd name="connsiteY237" fmla="*/ 61 h 10000"/>
                <a:gd name="connsiteX238" fmla="*/ 7422 w 10000"/>
                <a:gd name="connsiteY238" fmla="*/ 86 h 10000"/>
                <a:gd name="connsiteX239" fmla="*/ 7435 w 10000"/>
                <a:gd name="connsiteY239" fmla="*/ 139 h 10000"/>
                <a:gd name="connsiteX240" fmla="*/ 7417 w 10000"/>
                <a:gd name="connsiteY240" fmla="*/ 181 h 10000"/>
                <a:gd name="connsiteX241" fmla="*/ 7369 w 10000"/>
                <a:gd name="connsiteY241" fmla="*/ 208 h 10000"/>
                <a:gd name="connsiteX242" fmla="*/ 7334 w 10000"/>
                <a:gd name="connsiteY242" fmla="*/ 283 h 10000"/>
                <a:gd name="connsiteX243" fmla="*/ 7269 w 10000"/>
                <a:gd name="connsiteY243" fmla="*/ 336 h 10000"/>
                <a:gd name="connsiteX244" fmla="*/ 7282 w 10000"/>
                <a:gd name="connsiteY244" fmla="*/ 387 h 10000"/>
                <a:gd name="connsiteX245" fmla="*/ 7382 w 10000"/>
                <a:gd name="connsiteY245" fmla="*/ 434 h 10000"/>
                <a:gd name="connsiteX246" fmla="*/ 7317 w 10000"/>
                <a:gd name="connsiteY246" fmla="*/ 475 h 10000"/>
                <a:gd name="connsiteX247" fmla="*/ 7221 w 10000"/>
                <a:gd name="connsiteY247" fmla="*/ 485 h 10000"/>
                <a:gd name="connsiteX248" fmla="*/ 6420 w 10000"/>
                <a:gd name="connsiteY248" fmla="*/ 387 h 10000"/>
                <a:gd name="connsiteX249" fmla="*/ 6324 w 10000"/>
                <a:gd name="connsiteY249" fmla="*/ 395 h 10000"/>
                <a:gd name="connsiteX250" fmla="*/ 6267 w 10000"/>
                <a:gd name="connsiteY250" fmla="*/ 414 h 10000"/>
                <a:gd name="connsiteX251" fmla="*/ 6211 w 10000"/>
                <a:gd name="connsiteY251" fmla="*/ 462 h 10000"/>
                <a:gd name="connsiteX252" fmla="*/ 6220 w 10000"/>
                <a:gd name="connsiteY252" fmla="*/ 581 h 10000"/>
                <a:gd name="connsiteX253" fmla="*/ 6132 w 10000"/>
                <a:gd name="connsiteY253" fmla="*/ 735 h 10000"/>
                <a:gd name="connsiteX254" fmla="*/ 6024 w 10000"/>
                <a:gd name="connsiteY254" fmla="*/ 815 h 10000"/>
                <a:gd name="connsiteX255" fmla="*/ 5980 w 10000"/>
                <a:gd name="connsiteY255" fmla="*/ 805 h 10000"/>
                <a:gd name="connsiteX256" fmla="*/ 5880 w 10000"/>
                <a:gd name="connsiteY256" fmla="*/ 739 h 10000"/>
                <a:gd name="connsiteX257" fmla="*/ 5753 w 10000"/>
                <a:gd name="connsiteY257" fmla="*/ 705 h 10000"/>
                <a:gd name="connsiteX258" fmla="*/ 5618 w 10000"/>
                <a:gd name="connsiteY258" fmla="*/ 715 h 10000"/>
                <a:gd name="connsiteX259" fmla="*/ 5301 w 10000"/>
                <a:gd name="connsiteY259" fmla="*/ 866 h 10000"/>
                <a:gd name="connsiteX260" fmla="*/ 5218 w 10000"/>
                <a:gd name="connsiteY260" fmla="*/ 1017 h 10000"/>
                <a:gd name="connsiteX261" fmla="*/ 4978 w 10000"/>
                <a:gd name="connsiteY261" fmla="*/ 1153 h 10000"/>
                <a:gd name="connsiteX262" fmla="*/ 4935 w 10000"/>
                <a:gd name="connsiteY262" fmla="*/ 1222 h 10000"/>
                <a:gd name="connsiteX263" fmla="*/ 5061 w 10000"/>
                <a:gd name="connsiteY263" fmla="*/ 1344 h 10000"/>
                <a:gd name="connsiteX264" fmla="*/ 5074 w 10000"/>
                <a:gd name="connsiteY264" fmla="*/ 1412 h 10000"/>
                <a:gd name="connsiteX265" fmla="*/ 4421 w 10000"/>
                <a:gd name="connsiteY265" fmla="*/ 1813 h 10000"/>
                <a:gd name="connsiteX266" fmla="*/ 4220 w 10000"/>
                <a:gd name="connsiteY266" fmla="*/ 2070 h 10000"/>
                <a:gd name="connsiteX267" fmla="*/ 4003 w 10000"/>
                <a:gd name="connsiteY267" fmla="*/ 2135 h 10000"/>
                <a:gd name="connsiteX268" fmla="*/ 3868 w 10000"/>
                <a:gd name="connsiteY268" fmla="*/ 2131 h 10000"/>
                <a:gd name="connsiteX269" fmla="*/ 3785 w 10000"/>
                <a:gd name="connsiteY269" fmla="*/ 2153 h 10000"/>
                <a:gd name="connsiteX270" fmla="*/ 3558 w 10000"/>
                <a:gd name="connsiteY270" fmla="*/ 2793 h 10000"/>
                <a:gd name="connsiteX271" fmla="*/ 3036 w 10000"/>
                <a:gd name="connsiteY271" fmla="*/ 3166 h 10000"/>
                <a:gd name="connsiteX272" fmla="*/ 3040 w 10000"/>
                <a:gd name="connsiteY272" fmla="*/ 3225 h 10000"/>
                <a:gd name="connsiteX273" fmla="*/ 3271 w 10000"/>
                <a:gd name="connsiteY273" fmla="*/ 3392 h 10000"/>
                <a:gd name="connsiteX274" fmla="*/ 3197 w 10000"/>
                <a:gd name="connsiteY274" fmla="*/ 3573 h 10000"/>
                <a:gd name="connsiteX275" fmla="*/ 3062 w 10000"/>
                <a:gd name="connsiteY275" fmla="*/ 3640 h 10000"/>
                <a:gd name="connsiteX276" fmla="*/ 2657 w 10000"/>
                <a:gd name="connsiteY276" fmla="*/ 3595 h 10000"/>
                <a:gd name="connsiteX277" fmla="*/ 2378 w 10000"/>
                <a:gd name="connsiteY277" fmla="*/ 3620 h 10000"/>
                <a:gd name="connsiteX278" fmla="*/ 2152 w 10000"/>
                <a:gd name="connsiteY278" fmla="*/ 3673 h 10000"/>
                <a:gd name="connsiteX279" fmla="*/ 1790 w 10000"/>
                <a:gd name="connsiteY279" fmla="*/ 3840 h 10000"/>
                <a:gd name="connsiteX280" fmla="*/ 1598 w 10000"/>
                <a:gd name="connsiteY280" fmla="*/ 4042 h 10000"/>
                <a:gd name="connsiteX281" fmla="*/ 1616 w 10000"/>
                <a:gd name="connsiteY281" fmla="*/ 4154 h 10000"/>
                <a:gd name="connsiteX282" fmla="*/ 1681 w 10000"/>
                <a:gd name="connsiteY282" fmla="*/ 4241 h 10000"/>
                <a:gd name="connsiteX283" fmla="*/ 1733 w 10000"/>
                <a:gd name="connsiteY283" fmla="*/ 4276 h 10000"/>
                <a:gd name="connsiteX284" fmla="*/ 1638 w 10000"/>
                <a:gd name="connsiteY284" fmla="*/ 4331 h 10000"/>
                <a:gd name="connsiteX285" fmla="*/ 1433 w 10000"/>
                <a:gd name="connsiteY285" fmla="*/ 4710 h 10000"/>
                <a:gd name="connsiteX286" fmla="*/ 1472 w 10000"/>
                <a:gd name="connsiteY286" fmla="*/ 4732 h 10000"/>
                <a:gd name="connsiteX287" fmla="*/ 1503 w 10000"/>
                <a:gd name="connsiteY287" fmla="*/ 4828 h 10000"/>
                <a:gd name="connsiteX288" fmla="*/ 1407 w 10000"/>
                <a:gd name="connsiteY288" fmla="*/ 5227 h 10000"/>
                <a:gd name="connsiteX289" fmla="*/ 1503 w 10000"/>
                <a:gd name="connsiteY289" fmla="*/ 5329 h 10000"/>
                <a:gd name="connsiteX290" fmla="*/ 1764 w 10000"/>
                <a:gd name="connsiteY290" fmla="*/ 5441 h 10000"/>
                <a:gd name="connsiteX291" fmla="*/ 1777 w 10000"/>
                <a:gd name="connsiteY291" fmla="*/ 5578 h 10000"/>
                <a:gd name="connsiteX292" fmla="*/ 1664 w 10000"/>
                <a:gd name="connsiteY292" fmla="*/ 5690 h 10000"/>
                <a:gd name="connsiteX293" fmla="*/ 1503 w 10000"/>
                <a:gd name="connsiteY293" fmla="*/ 5759 h 10000"/>
                <a:gd name="connsiteX294" fmla="*/ 1289 w 10000"/>
                <a:gd name="connsiteY294" fmla="*/ 5787 h 10000"/>
                <a:gd name="connsiteX295" fmla="*/ 1233 w 10000"/>
                <a:gd name="connsiteY295" fmla="*/ 5826 h 10000"/>
                <a:gd name="connsiteX296" fmla="*/ 1359 w 10000"/>
                <a:gd name="connsiteY296" fmla="*/ 5920 h 10000"/>
                <a:gd name="connsiteX297" fmla="*/ 1429 w 10000"/>
                <a:gd name="connsiteY297" fmla="*/ 6142 h 10000"/>
                <a:gd name="connsiteX298" fmla="*/ 1267 w 10000"/>
                <a:gd name="connsiteY298" fmla="*/ 6333 h 10000"/>
                <a:gd name="connsiteX299" fmla="*/ 1324 w 10000"/>
                <a:gd name="connsiteY299" fmla="*/ 6392 h 10000"/>
                <a:gd name="connsiteX300" fmla="*/ 1272 w 10000"/>
                <a:gd name="connsiteY300" fmla="*/ 6492 h 10000"/>
                <a:gd name="connsiteX301" fmla="*/ 1167 w 10000"/>
                <a:gd name="connsiteY301" fmla="*/ 6561 h 10000"/>
                <a:gd name="connsiteX302" fmla="*/ 758 w 10000"/>
                <a:gd name="connsiteY302" fmla="*/ 6614 h 10000"/>
                <a:gd name="connsiteX303" fmla="*/ 732 w 10000"/>
                <a:gd name="connsiteY303" fmla="*/ 6706 h 10000"/>
                <a:gd name="connsiteX304" fmla="*/ 510 w 10000"/>
                <a:gd name="connsiteY304" fmla="*/ 6843 h 10000"/>
                <a:gd name="connsiteX305" fmla="*/ 540 w 10000"/>
                <a:gd name="connsiteY305" fmla="*/ 7040 h 10000"/>
                <a:gd name="connsiteX306" fmla="*/ 353 w 10000"/>
                <a:gd name="connsiteY306" fmla="*/ 7293 h 10000"/>
                <a:gd name="connsiteX307" fmla="*/ 226 w 10000"/>
                <a:gd name="connsiteY307" fmla="*/ 7323 h 10000"/>
                <a:gd name="connsiteX308" fmla="*/ 174 w 10000"/>
                <a:gd name="connsiteY308" fmla="*/ 7262 h 10000"/>
                <a:gd name="connsiteX309" fmla="*/ 109 w 10000"/>
                <a:gd name="connsiteY309" fmla="*/ 7354 h 10000"/>
                <a:gd name="connsiteX310" fmla="*/ 152 w 10000"/>
                <a:gd name="connsiteY310" fmla="*/ 7197 h 10000"/>
                <a:gd name="connsiteX311" fmla="*/ 126 w 10000"/>
                <a:gd name="connsiteY311"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855 w 10000"/>
                <a:gd name="connsiteY207" fmla="*/ 2341 h 10000"/>
                <a:gd name="connsiteX208" fmla="*/ 8898 w 10000"/>
                <a:gd name="connsiteY208" fmla="*/ 2332 h 10000"/>
                <a:gd name="connsiteX209" fmla="*/ 8946 w 10000"/>
                <a:gd name="connsiteY209" fmla="*/ 2330 h 10000"/>
                <a:gd name="connsiteX210" fmla="*/ 9094 w 10000"/>
                <a:gd name="connsiteY210" fmla="*/ 2324 h 10000"/>
                <a:gd name="connsiteX211" fmla="*/ 9355 w 10000"/>
                <a:gd name="connsiteY211" fmla="*/ 2428 h 10000"/>
                <a:gd name="connsiteX212" fmla="*/ 9408 w 10000"/>
                <a:gd name="connsiteY212" fmla="*/ 2359 h 10000"/>
                <a:gd name="connsiteX213" fmla="*/ 9717 w 10000"/>
                <a:gd name="connsiteY213" fmla="*/ 2343 h 10000"/>
                <a:gd name="connsiteX214" fmla="*/ 9830 w 10000"/>
                <a:gd name="connsiteY214" fmla="*/ 2369 h 10000"/>
                <a:gd name="connsiteX215" fmla="*/ 9909 w 10000"/>
                <a:gd name="connsiteY215" fmla="*/ 2410 h 10000"/>
                <a:gd name="connsiteX216" fmla="*/ 9948 w 10000"/>
                <a:gd name="connsiteY216" fmla="*/ 2365 h 10000"/>
                <a:gd name="connsiteX217" fmla="*/ 10000 w 10000"/>
                <a:gd name="connsiteY217" fmla="*/ 2349 h 10000"/>
                <a:gd name="connsiteX218" fmla="*/ 9704 w 10000"/>
                <a:gd name="connsiteY218" fmla="*/ 1992 h 10000"/>
                <a:gd name="connsiteX219" fmla="*/ 9743 w 10000"/>
                <a:gd name="connsiteY219" fmla="*/ 1897 h 10000"/>
                <a:gd name="connsiteX220" fmla="*/ 9830 w 10000"/>
                <a:gd name="connsiteY220" fmla="*/ 1819 h 10000"/>
                <a:gd name="connsiteX221" fmla="*/ 9830 w 10000"/>
                <a:gd name="connsiteY221" fmla="*/ 1699 h 10000"/>
                <a:gd name="connsiteX222" fmla="*/ 9556 w 10000"/>
                <a:gd name="connsiteY222" fmla="*/ 1465 h 10000"/>
                <a:gd name="connsiteX223" fmla="*/ 9512 w 10000"/>
                <a:gd name="connsiteY223" fmla="*/ 1379 h 10000"/>
                <a:gd name="connsiteX224" fmla="*/ 9573 w 10000"/>
                <a:gd name="connsiteY224" fmla="*/ 1271 h 10000"/>
                <a:gd name="connsiteX225" fmla="*/ 9543 w 10000"/>
                <a:gd name="connsiteY225" fmla="*/ 1194 h 10000"/>
                <a:gd name="connsiteX226" fmla="*/ 9486 w 10000"/>
                <a:gd name="connsiteY226" fmla="*/ 1159 h 10000"/>
                <a:gd name="connsiteX227" fmla="*/ 9438 w 10000"/>
                <a:gd name="connsiteY227" fmla="*/ 978 h 10000"/>
                <a:gd name="connsiteX228" fmla="*/ 9495 w 10000"/>
                <a:gd name="connsiteY228" fmla="*/ 831 h 10000"/>
                <a:gd name="connsiteX229" fmla="*/ 9077 w 10000"/>
                <a:gd name="connsiteY229" fmla="*/ 517 h 10000"/>
                <a:gd name="connsiteX230" fmla="*/ 8872 w 10000"/>
                <a:gd name="connsiteY230" fmla="*/ 440 h 10000"/>
                <a:gd name="connsiteX231" fmla="*/ 8493 w 10000"/>
                <a:gd name="connsiteY231" fmla="*/ 389 h 10000"/>
                <a:gd name="connsiteX232" fmla="*/ 7709 w 10000"/>
                <a:gd name="connsiteY232" fmla="*/ 26 h 10000"/>
                <a:gd name="connsiteX233" fmla="*/ 7683 w 10000"/>
                <a:gd name="connsiteY233" fmla="*/ 2 h 10000"/>
                <a:gd name="connsiteX234" fmla="*/ 7417 w 10000"/>
                <a:gd name="connsiteY234" fmla="*/ 0 h 10000"/>
                <a:gd name="connsiteX235" fmla="*/ 7356 w 10000"/>
                <a:gd name="connsiteY235" fmla="*/ 14 h 10000"/>
                <a:gd name="connsiteX236" fmla="*/ 7369 w 10000"/>
                <a:gd name="connsiteY236" fmla="*/ 61 h 10000"/>
                <a:gd name="connsiteX237" fmla="*/ 7422 w 10000"/>
                <a:gd name="connsiteY237" fmla="*/ 86 h 10000"/>
                <a:gd name="connsiteX238" fmla="*/ 7435 w 10000"/>
                <a:gd name="connsiteY238" fmla="*/ 139 h 10000"/>
                <a:gd name="connsiteX239" fmla="*/ 7417 w 10000"/>
                <a:gd name="connsiteY239" fmla="*/ 181 h 10000"/>
                <a:gd name="connsiteX240" fmla="*/ 7369 w 10000"/>
                <a:gd name="connsiteY240" fmla="*/ 208 h 10000"/>
                <a:gd name="connsiteX241" fmla="*/ 7334 w 10000"/>
                <a:gd name="connsiteY241" fmla="*/ 283 h 10000"/>
                <a:gd name="connsiteX242" fmla="*/ 7269 w 10000"/>
                <a:gd name="connsiteY242" fmla="*/ 336 h 10000"/>
                <a:gd name="connsiteX243" fmla="*/ 7282 w 10000"/>
                <a:gd name="connsiteY243" fmla="*/ 387 h 10000"/>
                <a:gd name="connsiteX244" fmla="*/ 7382 w 10000"/>
                <a:gd name="connsiteY244" fmla="*/ 434 h 10000"/>
                <a:gd name="connsiteX245" fmla="*/ 7317 w 10000"/>
                <a:gd name="connsiteY245" fmla="*/ 475 h 10000"/>
                <a:gd name="connsiteX246" fmla="*/ 7221 w 10000"/>
                <a:gd name="connsiteY246" fmla="*/ 485 h 10000"/>
                <a:gd name="connsiteX247" fmla="*/ 6420 w 10000"/>
                <a:gd name="connsiteY247" fmla="*/ 387 h 10000"/>
                <a:gd name="connsiteX248" fmla="*/ 6324 w 10000"/>
                <a:gd name="connsiteY248" fmla="*/ 395 h 10000"/>
                <a:gd name="connsiteX249" fmla="*/ 6267 w 10000"/>
                <a:gd name="connsiteY249" fmla="*/ 414 h 10000"/>
                <a:gd name="connsiteX250" fmla="*/ 6211 w 10000"/>
                <a:gd name="connsiteY250" fmla="*/ 462 h 10000"/>
                <a:gd name="connsiteX251" fmla="*/ 6220 w 10000"/>
                <a:gd name="connsiteY251" fmla="*/ 581 h 10000"/>
                <a:gd name="connsiteX252" fmla="*/ 6132 w 10000"/>
                <a:gd name="connsiteY252" fmla="*/ 735 h 10000"/>
                <a:gd name="connsiteX253" fmla="*/ 6024 w 10000"/>
                <a:gd name="connsiteY253" fmla="*/ 815 h 10000"/>
                <a:gd name="connsiteX254" fmla="*/ 5980 w 10000"/>
                <a:gd name="connsiteY254" fmla="*/ 805 h 10000"/>
                <a:gd name="connsiteX255" fmla="*/ 5880 w 10000"/>
                <a:gd name="connsiteY255" fmla="*/ 739 h 10000"/>
                <a:gd name="connsiteX256" fmla="*/ 5753 w 10000"/>
                <a:gd name="connsiteY256" fmla="*/ 705 h 10000"/>
                <a:gd name="connsiteX257" fmla="*/ 5618 w 10000"/>
                <a:gd name="connsiteY257" fmla="*/ 715 h 10000"/>
                <a:gd name="connsiteX258" fmla="*/ 5301 w 10000"/>
                <a:gd name="connsiteY258" fmla="*/ 866 h 10000"/>
                <a:gd name="connsiteX259" fmla="*/ 5218 w 10000"/>
                <a:gd name="connsiteY259" fmla="*/ 1017 h 10000"/>
                <a:gd name="connsiteX260" fmla="*/ 4978 w 10000"/>
                <a:gd name="connsiteY260" fmla="*/ 1153 h 10000"/>
                <a:gd name="connsiteX261" fmla="*/ 4935 w 10000"/>
                <a:gd name="connsiteY261" fmla="*/ 1222 h 10000"/>
                <a:gd name="connsiteX262" fmla="*/ 5061 w 10000"/>
                <a:gd name="connsiteY262" fmla="*/ 1344 h 10000"/>
                <a:gd name="connsiteX263" fmla="*/ 5074 w 10000"/>
                <a:gd name="connsiteY263" fmla="*/ 1412 h 10000"/>
                <a:gd name="connsiteX264" fmla="*/ 4421 w 10000"/>
                <a:gd name="connsiteY264" fmla="*/ 1813 h 10000"/>
                <a:gd name="connsiteX265" fmla="*/ 4220 w 10000"/>
                <a:gd name="connsiteY265" fmla="*/ 2070 h 10000"/>
                <a:gd name="connsiteX266" fmla="*/ 4003 w 10000"/>
                <a:gd name="connsiteY266" fmla="*/ 2135 h 10000"/>
                <a:gd name="connsiteX267" fmla="*/ 3868 w 10000"/>
                <a:gd name="connsiteY267" fmla="*/ 2131 h 10000"/>
                <a:gd name="connsiteX268" fmla="*/ 3785 w 10000"/>
                <a:gd name="connsiteY268" fmla="*/ 2153 h 10000"/>
                <a:gd name="connsiteX269" fmla="*/ 3558 w 10000"/>
                <a:gd name="connsiteY269" fmla="*/ 2793 h 10000"/>
                <a:gd name="connsiteX270" fmla="*/ 3036 w 10000"/>
                <a:gd name="connsiteY270" fmla="*/ 3166 h 10000"/>
                <a:gd name="connsiteX271" fmla="*/ 3040 w 10000"/>
                <a:gd name="connsiteY271" fmla="*/ 3225 h 10000"/>
                <a:gd name="connsiteX272" fmla="*/ 3271 w 10000"/>
                <a:gd name="connsiteY272" fmla="*/ 3392 h 10000"/>
                <a:gd name="connsiteX273" fmla="*/ 3197 w 10000"/>
                <a:gd name="connsiteY273" fmla="*/ 3573 h 10000"/>
                <a:gd name="connsiteX274" fmla="*/ 3062 w 10000"/>
                <a:gd name="connsiteY274" fmla="*/ 3640 h 10000"/>
                <a:gd name="connsiteX275" fmla="*/ 2657 w 10000"/>
                <a:gd name="connsiteY275" fmla="*/ 3595 h 10000"/>
                <a:gd name="connsiteX276" fmla="*/ 2378 w 10000"/>
                <a:gd name="connsiteY276" fmla="*/ 3620 h 10000"/>
                <a:gd name="connsiteX277" fmla="*/ 2152 w 10000"/>
                <a:gd name="connsiteY277" fmla="*/ 3673 h 10000"/>
                <a:gd name="connsiteX278" fmla="*/ 1790 w 10000"/>
                <a:gd name="connsiteY278" fmla="*/ 3840 h 10000"/>
                <a:gd name="connsiteX279" fmla="*/ 1598 w 10000"/>
                <a:gd name="connsiteY279" fmla="*/ 4042 h 10000"/>
                <a:gd name="connsiteX280" fmla="*/ 1616 w 10000"/>
                <a:gd name="connsiteY280" fmla="*/ 4154 h 10000"/>
                <a:gd name="connsiteX281" fmla="*/ 1681 w 10000"/>
                <a:gd name="connsiteY281" fmla="*/ 4241 h 10000"/>
                <a:gd name="connsiteX282" fmla="*/ 1733 w 10000"/>
                <a:gd name="connsiteY282" fmla="*/ 4276 h 10000"/>
                <a:gd name="connsiteX283" fmla="*/ 1638 w 10000"/>
                <a:gd name="connsiteY283" fmla="*/ 4331 h 10000"/>
                <a:gd name="connsiteX284" fmla="*/ 1433 w 10000"/>
                <a:gd name="connsiteY284" fmla="*/ 4710 h 10000"/>
                <a:gd name="connsiteX285" fmla="*/ 1472 w 10000"/>
                <a:gd name="connsiteY285" fmla="*/ 4732 h 10000"/>
                <a:gd name="connsiteX286" fmla="*/ 1503 w 10000"/>
                <a:gd name="connsiteY286" fmla="*/ 4828 h 10000"/>
                <a:gd name="connsiteX287" fmla="*/ 1407 w 10000"/>
                <a:gd name="connsiteY287" fmla="*/ 5227 h 10000"/>
                <a:gd name="connsiteX288" fmla="*/ 1503 w 10000"/>
                <a:gd name="connsiteY288" fmla="*/ 5329 h 10000"/>
                <a:gd name="connsiteX289" fmla="*/ 1764 w 10000"/>
                <a:gd name="connsiteY289" fmla="*/ 5441 h 10000"/>
                <a:gd name="connsiteX290" fmla="*/ 1777 w 10000"/>
                <a:gd name="connsiteY290" fmla="*/ 5578 h 10000"/>
                <a:gd name="connsiteX291" fmla="*/ 1664 w 10000"/>
                <a:gd name="connsiteY291" fmla="*/ 5690 h 10000"/>
                <a:gd name="connsiteX292" fmla="*/ 1503 w 10000"/>
                <a:gd name="connsiteY292" fmla="*/ 5759 h 10000"/>
                <a:gd name="connsiteX293" fmla="*/ 1289 w 10000"/>
                <a:gd name="connsiteY293" fmla="*/ 5787 h 10000"/>
                <a:gd name="connsiteX294" fmla="*/ 1233 w 10000"/>
                <a:gd name="connsiteY294" fmla="*/ 5826 h 10000"/>
                <a:gd name="connsiteX295" fmla="*/ 1359 w 10000"/>
                <a:gd name="connsiteY295" fmla="*/ 5920 h 10000"/>
                <a:gd name="connsiteX296" fmla="*/ 1429 w 10000"/>
                <a:gd name="connsiteY296" fmla="*/ 6142 h 10000"/>
                <a:gd name="connsiteX297" fmla="*/ 1267 w 10000"/>
                <a:gd name="connsiteY297" fmla="*/ 6333 h 10000"/>
                <a:gd name="connsiteX298" fmla="*/ 1324 w 10000"/>
                <a:gd name="connsiteY298" fmla="*/ 6392 h 10000"/>
                <a:gd name="connsiteX299" fmla="*/ 1272 w 10000"/>
                <a:gd name="connsiteY299" fmla="*/ 6492 h 10000"/>
                <a:gd name="connsiteX300" fmla="*/ 1167 w 10000"/>
                <a:gd name="connsiteY300" fmla="*/ 6561 h 10000"/>
                <a:gd name="connsiteX301" fmla="*/ 758 w 10000"/>
                <a:gd name="connsiteY301" fmla="*/ 6614 h 10000"/>
                <a:gd name="connsiteX302" fmla="*/ 732 w 10000"/>
                <a:gd name="connsiteY302" fmla="*/ 6706 h 10000"/>
                <a:gd name="connsiteX303" fmla="*/ 510 w 10000"/>
                <a:gd name="connsiteY303" fmla="*/ 6843 h 10000"/>
                <a:gd name="connsiteX304" fmla="*/ 540 w 10000"/>
                <a:gd name="connsiteY304" fmla="*/ 7040 h 10000"/>
                <a:gd name="connsiteX305" fmla="*/ 353 w 10000"/>
                <a:gd name="connsiteY305" fmla="*/ 7293 h 10000"/>
                <a:gd name="connsiteX306" fmla="*/ 226 w 10000"/>
                <a:gd name="connsiteY306" fmla="*/ 7323 h 10000"/>
                <a:gd name="connsiteX307" fmla="*/ 174 w 10000"/>
                <a:gd name="connsiteY307" fmla="*/ 7262 h 10000"/>
                <a:gd name="connsiteX308" fmla="*/ 109 w 10000"/>
                <a:gd name="connsiteY308" fmla="*/ 7354 h 10000"/>
                <a:gd name="connsiteX309" fmla="*/ 152 w 10000"/>
                <a:gd name="connsiteY309" fmla="*/ 7197 h 10000"/>
                <a:gd name="connsiteX310" fmla="*/ 126 w 10000"/>
                <a:gd name="connsiteY310"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855 w 10000"/>
                <a:gd name="connsiteY207" fmla="*/ 2341 h 10000"/>
                <a:gd name="connsiteX208" fmla="*/ 8898 w 10000"/>
                <a:gd name="connsiteY208" fmla="*/ 2332 h 10000"/>
                <a:gd name="connsiteX209" fmla="*/ 9094 w 10000"/>
                <a:gd name="connsiteY209" fmla="*/ 2324 h 10000"/>
                <a:gd name="connsiteX210" fmla="*/ 9355 w 10000"/>
                <a:gd name="connsiteY210" fmla="*/ 2428 h 10000"/>
                <a:gd name="connsiteX211" fmla="*/ 9408 w 10000"/>
                <a:gd name="connsiteY211" fmla="*/ 2359 h 10000"/>
                <a:gd name="connsiteX212" fmla="*/ 9717 w 10000"/>
                <a:gd name="connsiteY212" fmla="*/ 2343 h 10000"/>
                <a:gd name="connsiteX213" fmla="*/ 9830 w 10000"/>
                <a:gd name="connsiteY213" fmla="*/ 2369 h 10000"/>
                <a:gd name="connsiteX214" fmla="*/ 9909 w 10000"/>
                <a:gd name="connsiteY214" fmla="*/ 2410 h 10000"/>
                <a:gd name="connsiteX215" fmla="*/ 9948 w 10000"/>
                <a:gd name="connsiteY215" fmla="*/ 2365 h 10000"/>
                <a:gd name="connsiteX216" fmla="*/ 10000 w 10000"/>
                <a:gd name="connsiteY216" fmla="*/ 2349 h 10000"/>
                <a:gd name="connsiteX217" fmla="*/ 9704 w 10000"/>
                <a:gd name="connsiteY217" fmla="*/ 1992 h 10000"/>
                <a:gd name="connsiteX218" fmla="*/ 9743 w 10000"/>
                <a:gd name="connsiteY218" fmla="*/ 1897 h 10000"/>
                <a:gd name="connsiteX219" fmla="*/ 9830 w 10000"/>
                <a:gd name="connsiteY219" fmla="*/ 1819 h 10000"/>
                <a:gd name="connsiteX220" fmla="*/ 9830 w 10000"/>
                <a:gd name="connsiteY220" fmla="*/ 1699 h 10000"/>
                <a:gd name="connsiteX221" fmla="*/ 9556 w 10000"/>
                <a:gd name="connsiteY221" fmla="*/ 1465 h 10000"/>
                <a:gd name="connsiteX222" fmla="*/ 9512 w 10000"/>
                <a:gd name="connsiteY222" fmla="*/ 1379 h 10000"/>
                <a:gd name="connsiteX223" fmla="*/ 9573 w 10000"/>
                <a:gd name="connsiteY223" fmla="*/ 1271 h 10000"/>
                <a:gd name="connsiteX224" fmla="*/ 9543 w 10000"/>
                <a:gd name="connsiteY224" fmla="*/ 1194 h 10000"/>
                <a:gd name="connsiteX225" fmla="*/ 9486 w 10000"/>
                <a:gd name="connsiteY225" fmla="*/ 1159 h 10000"/>
                <a:gd name="connsiteX226" fmla="*/ 9438 w 10000"/>
                <a:gd name="connsiteY226" fmla="*/ 978 h 10000"/>
                <a:gd name="connsiteX227" fmla="*/ 9495 w 10000"/>
                <a:gd name="connsiteY227" fmla="*/ 831 h 10000"/>
                <a:gd name="connsiteX228" fmla="*/ 9077 w 10000"/>
                <a:gd name="connsiteY228" fmla="*/ 517 h 10000"/>
                <a:gd name="connsiteX229" fmla="*/ 8872 w 10000"/>
                <a:gd name="connsiteY229" fmla="*/ 440 h 10000"/>
                <a:gd name="connsiteX230" fmla="*/ 8493 w 10000"/>
                <a:gd name="connsiteY230" fmla="*/ 389 h 10000"/>
                <a:gd name="connsiteX231" fmla="*/ 7709 w 10000"/>
                <a:gd name="connsiteY231" fmla="*/ 26 h 10000"/>
                <a:gd name="connsiteX232" fmla="*/ 7683 w 10000"/>
                <a:gd name="connsiteY232" fmla="*/ 2 h 10000"/>
                <a:gd name="connsiteX233" fmla="*/ 7417 w 10000"/>
                <a:gd name="connsiteY233" fmla="*/ 0 h 10000"/>
                <a:gd name="connsiteX234" fmla="*/ 7356 w 10000"/>
                <a:gd name="connsiteY234" fmla="*/ 14 h 10000"/>
                <a:gd name="connsiteX235" fmla="*/ 7369 w 10000"/>
                <a:gd name="connsiteY235" fmla="*/ 61 h 10000"/>
                <a:gd name="connsiteX236" fmla="*/ 7422 w 10000"/>
                <a:gd name="connsiteY236" fmla="*/ 86 h 10000"/>
                <a:gd name="connsiteX237" fmla="*/ 7435 w 10000"/>
                <a:gd name="connsiteY237" fmla="*/ 139 h 10000"/>
                <a:gd name="connsiteX238" fmla="*/ 7417 w 10000"/>
                <a:gd name="connsiteY238" fmla="*/ 181 h 10000"/>
                <a:gd name="connsiteX239" fmla="*/ 7369 w 10000"/>
                <a:gd name="connsiteY239" fmla="*/ 208 h 10000"/>
                <a:gd name="connsiteX240" fmla="*/ 7334 w 10000"/>
                <a:gd name="connsiteY240" fmla="*/ 283 h 10000"/>
                <a:gd name="connsiteX241" fmla="*/ 7269 w 10000"/>
                <a:gd name="connsiteY241" fmla="*/ 336 h 10000"/>
                <a:gd name="connsiteX242" fmla="*/ 7282 w 10000"/>
                <a:gd name="connsiteY242" fmla="*/ 387 h 10000"/>
                <a:gd name="connsiteX243" fmla="*/ 7382 w 10000"/>
                <a:gd name="connsiteY243" fmla="*/ 434 h 10000"/>
                <a:gd name="connsiteX244" fmla="*/ 7317 w 10000"/>
                <a:gd name="connsiteY244" fmla="*/ 475 h 10000"/>
                <a:gd name="connsiteX245" fmla="*/ 7221 w 10000"/>
                <a:gd name="connsiteY245" fmla="*/ 485 h 10000"/>
                <a:gd name="connsiteX246" fmla="*/ 6420 w 10000"/>
                <a:gd name="connsiteY246" fmla="*/ 387 h 10000"/>
                <a:gd name="connsiteX247" fmla="*/ 6324 w 10000"/>
                <a:gd name="connsiteY247" fmla="*/ 395 h 10000"/>
                <a:gd name="connsiteX248" fmla="*/ 6267 w 10000"/>
                <a:gd name="connsiteY248" fmla="*/ 414 h 10000"/>
                <a:gd name="connsiteX249" fmla="*/ 6211 w 10000"/>
                <a:gd name="connsiteY249" fmla="*/ 462 h 10000"/>
                <a:gd name="connsiteX250" fmla="*/ 6220 w 10000"/>
                <a:gd name="connsiteY250" fmla="*/ 581 h 10000"/>
                <a:gd name="connsiteX251" fmla="*/ 6132 w 10000"/>
                <a:gd name="connsiteY251" fmla="*/ 735 h 10000"/>
                <a:gd name="connsiteX252" fmla="*/ 6024 w 10000"/>
                <a:gd name="connsiteY252" fmla="*/ 815 h 10000"/>
                <a:gd name="connsiteX253" fmla="*/ 5980 w 10000"/>
                <a:gd name="connsiteY253" fmla="*/ 805 h 10000"/>
                <a:gd name="connsiteX254" fmla="*/ 5880 w 10000"/>
                <a:gd name="connsiteY254" fmla="*/ 739 h 10000"/>
                <a:gd name="connsiteX255" fmla="*/ 5753 w 10000"/>
                <a:gd name="connsiteY255" fmla="*/ 705 h 10000"/>
                <a:gd name="connsiteX256" fmla="*/ 5618 w 10000"/>
                <a:gd name="connsiteY256" fmla="*/ 715 h 10000"/>
                <a:gd name="connsiteX257" fmla="*/ 5301 w 10000"/>
                <a:gd name="connsiteY257" fmla="*/ 866 h 10000"/>
                <a:gd name="connsiteX258" fmla="*/ 5218 w 10000"/>
                <a:gd name="connsiteY258" fmla="*/ 1017 h 10000"/>
                <a:gd name="connsiteX259" fmla="*/ 4978 w 10000"/>
                <a:gd name="connsiteY259" fmla="*/ 1153 h 10000"/>
                <a:gd name="connsiteX260" fmla="*/ 4935 w 10000"/>
                <a:gd name="connsiteY260" fmla="*/ 1222 h 10000"/>
                <a:gd name="connsiteX261" fmla="*/ 5061 w 10000"/>
                <a:gd name="connsiteY261" fmla="*/ 1344 h 10000"/>
                <a:gd name="connsiteX262" fmla="*/ 5074 w 10000"/>
                <a:gd name="connsiteY262" fmla="*/ 1412 h 10000"/>
                <a:gd name="connsiteX263" fmla="*/ 4421 w 10000"/>
                <a:gd name="connsiteY263" fmla="*/ 1813 h 10000"/>
                <a:gd name="connsiteX264" fmla="*/ 4220 w 10000"/>
                <a:gd name="connsiteY264" fmla="*/ 2070 h 10000"/>
                <a:gd name="connsiteX265" fmla="*/ 4003 w 10000"/>
                <a:gd name="connsiteY265" fmla="*/ 2135 h 10000"/>
                <a:gd name="connsiteX266" fmla="*/ 3868 w 10000"/>
                <a:gd name="connsiteY266" fmla="*/ 2131 h 10000"/>
                <a:gd name="connsiteX267" fmla="*/ 3785 w 10000"/>
                <a:gd name="connsiteY267" fmla="*/ 2153 h 10000"/>
                <a:gd name="connsiteX268" fmla="*/ 3558 w 10000"/>
                <a:gd name="connsiteY268" fmla="*/ 2793 h 10000"/>
                <a:gd name="connsiteX269" fmla="*/ 3036 w 10000"/>
                <a:gd name="connsiteY269" fmla="*/ 3166 h 10000"/>
                <a:gd name="connsiteX270" fmla="*/ 3040 w 10000"/>
                <a:gd name="connsiteY270" fmla="*/ 3225 h 10000"/>
                <a:gd name="connsiteX271" fmla="*/ 3271 w 10000"/>
                <a:gd name="connsiteY271" fmla="*/ 3392 h 10000"/>
                <a:gd name="connsiteX272" fmla="*/ 3197 w 10000"/>
                <a:gd name="connsiteY272" fmla="*/ 3573 h 10000"/>
                <a:gd name="connsiteX273" fmla="*/ 3062 w 10000"/>
                <a:gd name="connsiteY273" fmla="*/ 3640 h 10000"/>
                <a:gd name="connsiteX274" fmla="*/ 2657 w 10000"/>
                <a:gd name="connsiteY274" fmla="*/ 3595 h 10000"/>
                <a:gd name="connsiteX275" fmla="*/ 2378 w 10000"/>
                <a:gd name="connsiteY275" fmla="*/ 3620 h 10000"/>
                <a:gd name="connsiteX276" fmla="*/ 2152 w 10000"/>
                <a:gd name="connsiteY276" fmla="*/ 3673 h 10000"/>
                <a:gd name="connsiteX277" fmla="*/ 1790 w 10000"/>
                <a:gd name="connsiteY277" fmla="*/ 3840 h 10000"/>
                <a:gd name="connsiteX278" fmla="*/ 1598 w 10000"/>
                <a:gd name="connsiteY278" fmla="*/ 4042 h 10000"/>
                <a:gd name="connsiteX279" fmla="*/ 1616 w 10000"/>
                <a:gd name="connsiteY279" fmla="*/ 4154 h 10000"/>
                <a:gd name="connsiteX280" fmla="*/ 1681 w 10000"/>
                <a:gd name="connsiteY280" fmla="*/ 4241 h 10000"/>
                <a:gd name="connsiteX281" fmla="*/ 1733 w 10000"/>
                <a:gd name="connsiteY281" fmla="*/ 4276 h 10000"/>
                <a:gd name="connsiteX282" fmla="*/ 1638 w 10000"/>
                <a:gd name="connsiteY282" fmla="*/ 4331 h 10000"/>
                <a:gd name="connsiteX283" fmla="*/ 1433 w 10000"/>
                <a:gd name="connsiteY283" fmla="*/ 4710 h 10000"/>
                <a:gd name="connsiteX284" fmla="*/ 1472 w 10000"/>
                <a:gd name="connsiteY284" fmla="*/ 4732 h 10000"/>
                <a:gd name="connsiteX285" fmla="*/ 1503 w 10000"/>
                <a:gd name="connsiteY285" fmla="*/ 4828 h 10000"/>
                <a:gd name="connsiteX286" fmla="*/ 1407 w 10000"/>
                <a:gd name="connsiteY286" fmla="*/ 5227 h 10000"/>
                <a:gd name="connsiteX287" fmla="*/ 1503 w 10000"/>
                <a:gd name="connsiteY287" fmla="*/ 5329 h 10000"/>
                <a:gd name="connsiteX288" fmla="*/ 1764 w 10000"/>
                <a:gd name="connsiteY288" fmla="*/ 5441 h 10000"/>
                <a:gd name="connsiteX289" fmla="*/ 1777 w 10000"/>
                <a:gd name="connsiteY289" fmla="*/ 5578 h 10000"/>
                <a:gd name="connsiteX290" fmla="*/ 1664 w 10000"/>
                <a:gd name="connsiteY290" fmla="*/ 5690 h 10000"/>
                <a:gd name="connsiteX291" fmla="*/ 1503 w 10000"/>
                <a:gd name="connsiteY291" fmla="*/ 5759 h 10000"/>
                <a:gd name="connsiteX292" fmla="*/ 1289 w 10000"/>
                <a:gd name="connsiteY292" fmla="*/ 5787 h 10000"/>
                <a:gd name="connsiteX293" fmla="*/ 1233 w 10000"/>
                <a:gd name="connsiteY293" fmla="*/ 5826 h 10000"/>
                <a:gd name="connsiteX294" fmla="*/ 1359 w 10000"/>
                <a:gd name="connsiteY294" fmla="*/ 5920 h 10000"/>
                <a:gd name="connsiteX295" fmla="*/ 1429 w 10000"/>
                <a:gd name="connsiteY295" fmla="*/ 6142 h 10000"/>
                <a:gd name="connsiteX296" fmla="*/ 1267 w 10000"/>
                <a:gd name="connsiteY296" fmla="*/ 6333 h 10000"/>
                <a:gd name="connsiteX297" fmla="*/ 1324 w 10000"/>
                <a:gd name="connsiteY297" fmla="*/ 6392 h 10000"/>
                <a:gd name="connsiteX298" fmla="*/ 1272 w 10000"/>
                <a:gd name="connsiteY298" fmla="*/ 6492 h 10000"/>
                <a:gd name="connsiteX299" fmla="*/ 1167 w 10000"/>
                <a:gd name="connsiteY299" fmla="*/ 6561 h 10000"/>
                <a:gd name="connsiteX300" fmla="*/ 758 w 10000"/>
                <a:gd name="connsiteY300" fmla="*/ 6614 h 10000"/>
                <a:gd name="connsiteX301" fmla="*/ 732 w 10000"/>
                <a:gd name="connsiteY301" fmla="*/ 6706 h 10000"/>
                <a:gd name="connsiteX302" fmla="*/ 510 w 10000"/>
                <a:gd name="connsiteY302" fmla="*/ 6843 h 10000"/>
                <a:gd name="connsiteX303" fmla="*/ 540 w 10000"/>
                <a:gd name="connsiteY303" fmla="*/ 7040 h 10000"/>
                <a:gd name="connsiteX304" fmla="*/ 353 w 10000"/>
                <a:gd name="connsiteY304" fmla="*/ 7293 h 10000"/>
                <a:gd name="connsiteX305" fmla="*/ 226 w 10000"/>
                <a:gd name="connsiteY305" fmla="*/ 7323 h 10000"/>
                <a:gd name="connsiteX306" fmla="*/ 174 w 10000"/>
                <a:gd name="connsiteY306" fmla="*/ 7262 h 10000"/>
                <a:gd name="connsiteX307" fmla="*/ 109 w 10000"/>
                <a:gd name="connsiteY307" fmla="*/ 7354 h 10000"/>
                <a:gd name="connsiteX308" fmla="*/ 152 w 10000"/>
                <a:gd name="connsiteY308" fmla="*/ 7197 h 10000"/>
                <a:gd name="connsiteX309" fmla="*/ 126 w 10000"/>
                <a:gd name="connsiteY309"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855 w 10000"/>
                <a:gd name="connsiteY207" fmla="*/ 2341 h 10000"/>
                <a:gd name="connsiteX208" fmla="*/ 8898 w 10000"/>
                <a:gd name="connsiteY208" fmla="*/ 2332 h 10000"/>
                <a:gd name="connsiteX209" fmla="*/ 9355 w 10000"/>
                <a:gd name="connsiteY209" fmla="*/ 2428 h 10000"/>
                <a:gd name="connsiteX210" fmla="*/ 9408 w 10000"/>
                <a:gd name="connsiteY210" fmla="*/ 2359 h 10000"/>
                <a:gd name="connsiteX211" fmla="*/ 9717 w 10000"/>
                <a:gd name="connsiteY211" fmla="*/ 2343 h 10000"/>
                <a:gd name="connsiteX212" fmla="*/ 9830 w 10000"/>
                <a:gd name="connsiteY212" fmla="*/ 2369 h 10000"/>
                <a:gd name="connsiteX213" fmla="*/ 9909 w 10000"/>
                <a:gd name="connsiteY213" fmla="*/ 2410 h 10000"/>
                <a:gd name="connsiteX214" fmla="*/ 9948 w 10000"/>
                <a:gd name="connsiteY214" fmla="*/ 2365 h 10000"/>
                <a:gd name="connsiteX215" fmla="*/ 10000 w 10000"/>
                <a:gd name="connsiteY215" fmla="*/ 2349 h 10000"/>
                <a:gd name="connsiteX216" fmla="*/ 9704 w 10000"/>
                <a:gd name="connsiteY216" fmla="*/ 1992 h 10000"/>
                <a:gd name="connsiteX217" fmla="*/ 9743 w 10000"/>
                <a:gd name="connsiteY217" fmla="*/ 1897 h 10000"/>
                <a:gd name="connsiteX218" fmla="*/ 9830 w 10000"/>
                <a:gd name="connsiteY218" fmla="*/ 1819 h 10000"/>
                <a:gd name="connsiteX219" fmla="*/ 9830 w 10000"/>
                <a:gd name="connsiteY219" fmla="*/ 1699 h 10000"/>
                <a:gd name="connsiteX220" fmla="*/ 9556 w 10000"/>
                <a:gd name="connsiteY220" fmla="*/ 1465 h 10000"/>
                <a:gd name="connsiteX221" fmla="*/ 9512 w 10000"/>
                <a:gd name="connsiteY221" fmla="*/ 1379 h 10000"/>
                <a:gd name="connsiteX222" fmla="*/ 9573 w 10000"/>
                <a:gd name="connsiteY222" fmla="*/ 1271 h 10000"/>
                <a:gd name="connsiteX223" fmla="*/ 9543 w 10000"/>
                <a:gd name="connsiteY223" fmla="*/ 1194 h 10000"/>
                <a:gd name="connsiteX224" fmla="*/ 9486 w 10000"/>
                <a:gd name="connsiteY224" fmla="*/ 1159 h 10000"/>
                <a:gd name="connsiteX225" fmla="*/ 9438 w 10000"/>
                <a:gd name="connsiteY225" fmla="*/ 978 h 10000"/>
                <a:gd name="connsiteX226" fmla="*/ 9495 w 10000"/>
                <a:gd name="connsiteY226" fmla="*/ 831 h 10000"/>
                <a:gd name="connsiteX227" fmla="*/ 9077 w 10000"/>
                <a:gd name="connsiteY227" fmla="*/ 517 h 10000"/>
                <a:gd name="connsiteX228" fmla="*/ 8872 w 10000"/>
                <a:gd name="connsiteY228" fmla="*/ 440 h 10000"/>
                <a:gd name="connsiteX229" fmla="*/ 8493 w 10000"/>
                <a:gd name="connsiteY229" fmla="*/ 389 h 10000"/>
                <a:gd name="connsiteX230" fmla="*/ 7709 w 10000"/>
                <a:gd name="connsiteY230" fmla="*/ 26 h 10000"/>
                <a:gd name="connsiteX231" fmla="*/ 7683 w 10000"/>
                <a:gd name="connsiteY231" fmla="*/ 2 h 10000"/>
                <a:gd name="connsiteX232" fmla="*/ 7417 w 10000"/>
                <a:gd name="connsiteY232" fmla="*/ 0 h 10000"/>
                <a:gd name="connsiteX233" fmla="*/ 7356 w 10000"/>
                <a:gd name="connsiteY233" fmla="*/ 14 h 10000"/>
                <a:gd name="connsiteX234" fmla="*/ 7369 w 10000"/>
                <a:gd name="connsiteY234" fmla="*/ 61 h 10000"/>
                <a:gd name="connsiteX235" fmla="*/ 7422 w 10000"/>
                <a:gd name="connsiteY235" fmla="*/ 86 h 10000"/>
                <a:gd name="connsiteX236" fmla="*/ 7435 w 10000"/>
                <a:gd name="connsiteY236" fmla="*/ 139 h 10000"/>
                <a:gd name="connsiteX237" fmla="*/ 7417 w 10000"/>
                <a:gd name="connsiteY237" fmla="*/ 181 h 10000"/>
                <a:gd name="connsiteX238" fmla="*/ 7369 w 10000"/>
                <a:gd name="connsiteY238" fmla="*/ 208 h 10000"/>
                <a:gd name="connsiteX239" fmla="*/ 7334 w 10000"/>
                <a:gd name="connsiteY239" fmla="*/ 283 h 10000"/>
                <a:gd name="connsiteX240" fmla="*/ 7269 w 10000"/>
                <a:gd name="connsiteY240" fmla="*/ 336 h 10000"/>
                <a:gd name="connsiteX241" fmla="*/ 7282 w 10000"/>
                <a:gd name="connsiteY241" fmla="*/ 387 h 10000"/>
                <a:gd name="connsiteX242" fmla="*/ 7382 w 10000"/>
                <a:gd name="connsiteY242" fmla="*/ 434 h 10000"/>
                <a:gd name="connsiteX243" fmla="*/ 7317 w 10000"/>
                <a:gd name="connsiteY243" fmla="*/ 475 h 10000"/>
                <a:gd name="connsiteX244" fmla="*/ 7221 w 10000"/>
                <a:gd name="connsiteY244" fmla="*/ 485 h 10000"/>
                <a:gd name="connsiteX245" fmla="*/ 6420 w 10000"/>
                <a:gd name="connsiteY245" fmla="*/ 387 h 10000"/>
                <a:gd name="connsiteX246" fmla="*/ 6324 w 10000"/>
                <a:gd name="connsiteY246" fmla="*/ 395 h 10000"/>
                <a:gd name="connsiteX247" fmla="*/ 6267 w 10000"/>
                <a:gd name="connsiteY247" fmla="*/ 414 h 10000"/>
                <a:gd name="connsiteX248" fmla="*/ 6211 w 10000"/>
                <a:gd name="connsiteY248" fmla="*/ 462 h 10000"/>
                <a:gd name="connsiteX249" fmla="*/ 6220 w 10000"/>
                <a:gd name="connsiteY249" fmla="*/ 581 h 10000"/>
                <a:gd name="connsiteX250" fmla="*/ 6132 w 10000"/>
                <a:gd name="connsiteY250" fmla="*/ 735 h 10000"/>
                <a:gd name="connsiteX251" fmla="*/ 6024 w 10000"/>
                <a:gd name="connsiteY251" fmla="*/ 815 h 10000"/>
                <a:gd name="connsiteX252" fmla="*/ 5980 w 10000"/>
                <a:gd name="connsiteY252" fmla="*/ 805 h 10000"/>
                <a:gd name="connsiteX253" fmla="*/ 5880 w 10000"/>
                <a:gd name="connsiteY253" fmla="*/ 739 h 10000"/>
                <a:gd name="connsiteX254" fmla="*/ 5753 w 10000"/>
                <a:gd name="connsiteY254" fmla="*/ 705 h 10000"/>
                <a:gd name="connsiteX255" fmla="*/ 5618 w 10000"/>
                <a:gd name="connsiteY255" fmla="*/ 715 h 10000"/>
                <a:gd name="connsiteX256" fmla="*/ 5301 w 10000"/>
                <a:gd name="connsiteY256" fmla="*/ 866 h 10000"/>
                <a:gd name="connsiteX257" fmla="*/ 5218 w 10000"/>
                <a:gd name="connsiteY257" fmla="*/ 1017 h 10000"/>
                <a:gd name="connsiteX258" fmla="*/ 4978 w 10000"/>
                <a:gd name="connsiteY258" fmla="*/ 1153 h 10000"/>
                <a:gd name="connsiteX259" fmla="*/ 4935 w 10000"/>
                <a:gd name="connsiteY259" fmla="*/ 1222 h 10000"/>
                <a:gd name="connsiteX260" fmla="*/ 5061 w 10000"/>
                <a:gd name="connsiteY260" fmla="*/ 1344 h 10000"/>
                <a:gd name="connsiteX261" fmla="*/ 5074 w 10000"/>
                <a:gd name="connsiteY261" fmla="*/ 1412 h 10000"/>
                <a:gd name="connsiteX262" fmla="*/ 4421 w 10000"/>
                <a:gd name="connsiteY262" fmla="*/ 1813 h 10000"/>
                <a:gd name="connsiteX263" fmla="*/ 4220 w 10000"/>
                <a:gd name="connsiteY263" fmla="*/ 2070 h 10000"/>
                <a:gd name="connsiteX264" fmla="*/ 4003 w 10000"/>
                <a:gd name="connsiteY264" fmla="*/ 2135 h 10000"/>
                <a:gd name="connsiteX265" fmla="*/ 3868 w 10000"/>
                <a:gd name="connsiteY265" fmla="*/ 2131 h 10000"/>
                <a:gd name="connsiteX266" fmla="*/ 3785 w 10000"/>
                <a:gd name="connsiteY266" fmla="*/ 2153 h 10000"/>
                <a:gd name="connsiteX267" fmla="*/ 3558 w 10000"/>
                <a:gd name="connsiteY267" fmla="*/ 2793 h 10000"/>
                <a:gd name="connsiteX268" fmla="*/ 3036 w 10000"/>
                <a:gd name="connsiteY268" fmla="*/ 3166 h 10000"/>
                <a:gd name="connsiteX269" fmla="*/ 3040 w 10000"/>
                <a:gd name="connsiteY269" fmla="*/ 3225 h 10000"/>
                <a:gd name="connsiteX270" fmla="*/ 3271 w 10000"/>
                <a:gd name="connsiteY270" fmla="*/ 3392 h 10000"/>
                <a:gd name="connsiteX271" fmla="*/ 3197 w 10000"/>
                <a:gd name="connsiteY271" fmla="*/ 3573 h 10000"/>
                <a:gd name="connsiteX272" fmla="*/ 3062 w 10000"/>
                <a:gd name="connsiteY272" fmla="*/ 3640 h 10000"/>
                <a:gd name="connsiteX273" fmla="*/ 2657 w 10000"/>
                <a:gd name="connsiteY273" fmla="*/ 3595 h 10000"/>
                <a:gd name="connsiteX274" fmla="*/ 2378 w 10000"/>
                <a:gd name="connsiteY274" fmla="*/ 3620 h 10000"/>
                <a:gd name="connsiteX275" fmla="*/ 2152 w 10000"/>
                <a:gd name="connsiteY275" fmla="*/ 3673 h 10000"/>
                <a:gd name="connsiteX276" fmla="*/ 1790 w 10000"/>
                <a:gd name="connsiteY276" fmla="*/ 3840 h 10000"/>
                <a:gd name="connsiteX277" fmla="*/ 1598 w 10000"/>
                <a:gd name="connsiteY277" fmla="*/ 4042 h 10000"/>
                <a:gd name="connsiteX278" fmla="*/ 1616 w 10000"/>
                <a:gd name="connsiteY278" fmla="*/ 4154 h 10000"/>
                <a:gd name="connsiteX279" fmla="*/ 1681 w 10000"/>
                <a:gd name="connsiteY279" fmla="*/ 4241 h 10000"/>
                <a:gd name="connsiteX280" fmla="*/ 1733 w 10000"/>
                <a:gd name="connsiteY280" fmla="*/ 4276 h 10000"/>
                <a:gd name="connsiteX281" fmla="*/ 1638 w 10000"/>
                <a:gd name="connsiteY281" fmla="*/ 4331 h 10000"/>
                <a:gd name="connsiteX282" fmla="*/ 1433 w 10000"/>
                <a:gd name="connsiteY282" fmla="*/ 4710 h 10000"/>
                <a:gd name="connsiteX283" fmla="*/ 1472 w 10000"/>
                <a:gd name="connsiteY283" fmla="*/ 4732 h 10000"/>
                <a:gd name="connsiteX284" fmla="*/ 1503 w 10000"/>
                <a:gd name="connsiteY284" fmla="*/ 4828 h 10000"/>
                <a:gd name="connsiteX285" fmla="*/ 1407 w 10000"/>
                <a:gd name="connsiteY285" fmla="*/ 5227 h 10000"/>
                <a:gd name="connsiteX286" fmla="*/ 1503 w 10000"/>
                <a:gd name="connsiteY286" fmla="*/ 5329 h 10000"/>
                <a:gd name="connsiteX287" fmla="*/ 1764 w 10000"/>
                <a:gd name="connsiteY287" fmla="*/ 5441 h 10000"/>
                <a:gd name="connsiteX288" fmla="*/ 1777 w 10000"/>
                <a:gd name="connsiteY288" fmla="*/ 5578 h 10000"/>
                <a:gd name="connsiteX289" fmla="*/ 1664 w 10000"/>
                <a:gd name="connsiteY289" fmla="*/ 5690 h 10000"/>
                <a:gd name="connsiteX290" fmla="*/ 1503 w 10000"/>
                <a:gd name="connsiteY290" fmla="*/ 5759 h 10000"/>
                <a:gd name="connsiteX291" fmla="*/ 1289 w 10000"/>
                <a:gd name="connsiteY291" fmla="*/ 5787 h 10000"/>
                <a:gd name="connsiteX292" fmla="*/ 1233 w 10000"/>
                <a:gd name="connsiteY292" fmla="*/ 5826 h 10000"/>
                <a:gd name="connsiteX293" fmla="*/ 1359 w 10000"/>
                <a:gd name="connsiteY293" fmla="*/ 5920 h 10000"/>
                <a:gd name="connsiteX294" fmla="*/ 1429 w 10000"/>
                <a:gd name="connsiteY294" fmla="*/ 6142 h 10000"/>
                <a:gd name="connsiteX295" fmla="*/ 1267 w 10000"/>
                <a:gd name="connsiteY295" fmla="*/ 6333 h 10000"/>
                <a:gd name="connsiteX296" fmla="*/ 1324 w 10000"/>
                <a:gd name="connsiteY296" fmla="*/ 6392 h 10000"/>
                <a:gd name="connsiteX297" fmla="*/ 1272 w 10000"/>
                <a:gd name="connsiteY297" fmla="*/ 6492 h 10000"/>
                <a:gd name="connsiteX298" fmla="*/ 1167 w 10000"/>
                <a:gd name="connsiteY298" fmla="*/ 6561 h 10000"/>
                <a:gd name="connsiteX299" fmla="*/ 758 w 10000"/>
                <a:gd name="connsiteY299" fmla="*/ 6614 h 10000"/>
                <a:gd name="connsiteX300" fmla="*/ 732 w 10000"/>
                <a:gd name="connsiteY300" fmla="*/ 6706 h 10000"/>
                <a:gd name="connsiteX301" fmla="*/ 510 w 10000"/>
                <a:gd name="connsiteY301" fmla="*/ 6843 h 10000"/>
                <a:gd name="connsiteX302" fmla="*/ 540 w 10000"/>
                <a:gd name="connsiteY302" fmla="*/ 7040 h 10000"/>
                <a:gd name="connsiteX303" fmla="*/ 353 w 10000"/>
                <a:gd name="connsiteY303" fmla="*/ 7293 h 10000"/>
                <a:gd name="connsiteX304" fmla="*/ 226 w 10000"/>
                <a:gd name="connsiteY304" fmla="*/ 7323 h 10000"/>
                <a:gd name="connsiteX305" fmla="*/ 174 w 10000"/>
                <a:gd name="connsiteY305" fmla="*/ 7262 h 10000"/>
                <a:gd name="connsiteX306" fmla="*/ 109 w 10000"/>
                <a:gd name="connsiteY306" fmla="*/ 7354 h 10000"/>
                <a:gd name="connsiteX307" fmla="*/ 152 w 10000"/>
                <a:gd name="connsiteY307" fmla="*/ 7197 h 10000"/>
                <a:gd name="connsiteX308" fmla="*/ 126 w 10000"/>
                <a:gd name="connsiteY308"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855 w 10000"/>
                <a:gd name="connsiteY207" fmla="*/ 2341 h 10000"/>
                <a:gd name="connsiteX208" fmla="*/ 9355 w 10000"/>
                <a:gd name="connsiteY208" fmla="*/ 2428 h 10000"/>
                <a:gd name="connsiteX209" fmla="*/ 9408 w 10000"/>
                <a:gd name="connsiteY209" fmla="*/ 2359 h 10000"/>
                <a:gd name="connsiteX210" fmla="*/ 9717 w 10000"/>
                <a:gd name="connsiteY210" fmla="*/ 2343 h 10000"/>
                <a:gd name="connsiteX211" fmla="*/ 9830 w 10000"/>
                <a:gd name="connsiteY211" fmla="*/ 2369 h 10000"/>
                <a:gd name="connsiteX212" fmla="*/ 9909 w 10000"/>
                <a:gd name="connsiteY212" fmla="*/ 2410 h 10000"/>
                <a:gd name="connsiteX213" fmla="*/ 9948 w 10000"/>
                <a:gd name="connsiteY213" fmla="*/ 2365 h 10000"/>
                <a:gd name="connsiteX214" fmla="*/ 10000 w 10000"/>
                <a:gd name="connsiteY214" fmla="*/ 2349 h 10000"/>
                <a:gd name="connsiteX215" fmla="*/ 9704 w 10000"/>
                <a:gd name="connsiteY215" fmla="*/ 1992 h 10000"/>
                <a:gd name="connsiteX216" fmla="*/ 9743 w 10000"/>
                <a:gd name="connsiteY216" fmla="*/ 1897 h 10000"/>
                <a:gd name="connsiteX217" fmla="*/ 9830 w 10000"/>
                <a:gd name="connsiteY217" fmla="*/ 1819 h 10000"/>
                <a:gd name="connsiteX218" fmla="*/ 9830 w 10000"/>
                <a:gd name="connsiteY218" fmla="*/ 1699 h 10000"/>
                <a:gd name="connsiteX219" fmla="*/ 9556 w 10000"/>
                <a:gd name="connsiteY219" fmla="*/ 1465 h 10000"/>
                <a:gd name="connsiteX220" fmla="*/ 9512 w 10000"/>
                <a:gd name="connsiteY220" fmla="*/ 1379 h 10000"/>
                <a:gd name="connsiteX221" fmla="*/ 9573 w 10000"/>
                <a:gd name="connsiteY221" fmla="*/ 1271 h 10000"/>
                <a:gd name="connsiteX222" fmla="*/ 9543 w 10000"/>
                <a:gd name="connsiteY222" fmla="*/ 1194 h 10000"/>
                <a:gd name="connsiteX223" fmla="*/ 9486 w 10000"/>
                <a:gd name="connsiteY223" fmla="*/ 1159 h 10000"/>
                <a:gd name="connsiteX224" fmla="*/ 9438 w 10000"/>
                <a:gd name="connsiteY224" fmla="*/ 978 h 10000"/>
                <a:gd name="connsiteX225" fmla="*/ 9495 w 10000"/>
                <a:gd name="connsiteY225" fmla="*/ 831 h 10000"/>
                <a:gd name="connsiteX226" fmla="*/ 9077 w 10000"/>
                <a:gd name="connsiteY226" fmla="*/ 517 h 10000"/>
                <a:gd name="connsiteX227" fmla="*/ 8872 w 10000"/>
                <a:gd name="connsiteY227" fmla="*/ 440 h 10000"/>
                <a:gd name="connsiteX228" fmla="*/ 8493 w 10000"/>
                <a:gd name="connsiteY228" fmla="*/ 389 h 10000"/>
                <a:gd name="connsiteX229" fmla="*/ 7709 w 10000"/>
                <a:gd name="connsiteY229" fmla="*/ 26 h 10000"/>
                <a:gd name="connsiteX230" fmla="*/ 7683 w 10000"/>
                <a:gd name="connsiteY230" fmla="*/ 2 h 10000"/>
                <a:gd name="connsiteX231" fmla="*/ 7417 w 10000"/>
                <a:gd name="connsiteY231" fmla="*/ 0 h 10000"/>
                <a:gd name="connsiteX232" fmla="*/ 7356 w 10000"/>
                <a:gd name="connsiteY232" fmla="*/ 14 h 10000"/>
                <a:gd name="connsiteX233" fmla="*/ 7369 w 10000"/>
                <a:gd name="connsiteY233" fmla="*/ 61 h 10000"/>
                <a:gd name="connsiteX234" fmla="*/ 7422 w 10000"/>
                <a:gd name="connsiteY234" fmla="*/ 86 h 10000"/>
                <a:gd name="connsiteX235" fmla="*/ 7435 w 10000"/>
                <a:gd name="connsiteY235" fmla="*/ 139 h 10000"/>
                <a:gd name="connsiteX236" fmla="*/ 7417 w 10000"/>
                <a:gd name="connsiteY236" fmla="*/ 181 h 10000"/>
                <a:gd name="connsiteX237" fmla="*/ 7369 w 10000"/>
                <a:gd name="connsiteY237" fmla="*/ 208 h 10000"/>
                <a:gd name="connsiteX238" fmla="*/ 7334 w 10000"/>
                <a:gd name="connsiteY238" fmla="*/ 283 h 10000"/>
                <a:gd name="connsiteX239" fmla="*/ 7269 w 10000"/>
                <a:gd name="connsiteY239" fmla="*/ 336 h 10000"/>
                <a:gd name="connsiteX240" fmla="*/ 7282 w 10000"/>
                <a:gd name="connsiteY240" fmla="*/ 387 h 10000"/>
                <a:gd name="connsiteX241" fmla="*/ 7382 w 10000"/>
                <a:gd name="connsiteY241" fmla="*/ 434 h 10000"/>
                <a:gd name="connsiteX242" fmla="*/ 7317 w 10000"/>
                <a:gd name="connsiteY242" fmla="*/ 475 h 10000"/>
                <a:gd name="connsiteX243" fmla="*/ 7221 w 10000"/>
                <a:gd name="connsiteY243" fmla="*/ 485 h 10000"/>
                <a:gd name="connsiteX244" fmla="*/ 6420 w 10000"/>
                <a:gd name="connsiteY244" fmla="*/ 387 h 10000"/>
                <a:gd name="connsiteX245" fmla="*/ 6324 w 10000"/>
                <a:gd name="connsiteY245" fmla="*/ 395 h 10000"/>
                <a:gd name="connsiteX246" fmla="*/ 6267 w 10000"/>
                <a:gd name="connsiteY246" fmla="*/ 414 h 10000"/>
                <a:gd name="connsiteX247" fmla="*/ 6211 w 10000"/>
                <a:gd name="connsiteY247" fmla="*/ 462 h 10000"/>
                <a:gd name="connsiteX248" fmla="*/ 6220 w 10000"/>
                <a:gd name="connsiteY248" fmla="*/ 581 h 10000"/>
                <a:gd name="connsiteX249" fmla="*/ 6132 w 10000"/>
                <a:gd name="connsiteY249" fmla="*/ 735 h 10000"/>
                <a:gd name="connsiteX250" fmla="*/ 6024 w 10000"/>
                <a:gd name="connsiteY250" fmla="*/ 815 h 10000"/>
                <a:gd name="connsiteX251" fmla="*/ 5980 w 10000"/>
                <a:gd name="connsiteY251" fmla="*/ 805 h 10000"/>
                <a:gd name="connsiteX252" fmla="*/ 5880 w 10000"/>
                <a:gd name="connsiteY252" fmla="*/ 739 h 10000"/>
                <a:gd name="connsiteX253" fmla="*/ 5753 w 10000"/>
                <a:gd name="connsiteY253" fmla="*/ 705 h 10000"/>
                <a:gd name="connsiteX254" fmla="*/ 5618 w 10000"/>
                <a:gd name="connsiteY254" fmla="*/ 715 h 10000"/>
                <a:gd name="connsiteX255" fmla="*/ 5301 w 10000"/>
                <a:gd name="connsiteY255" fmla="*/ 866 h 10000"/>
                <a:gd name="connsiteX256" fmla="*/ 5218 w 10000"/>
                <a:gd name="connsiteY256" fmla="*/ 1017 h 10000"/>
                <a:gd name="connsiteX257" fmla="*/ 4978 w 10000"/>
                <a:gd name="connsiteY257" fmla="*/ 1153 h 10000"/>
                <a:gd name="connsiteX258" fmla="*/ 4935 w 10000"/>
                <a:gd name="connsiteY258" fmla="*/ 1222 h 10000"/>
                <a:gd name="connsiteX259" fmla="*/ 5061 w 10000"/>
                <a:gd name="connsiteY259" fmla="*/ 1344 h 10000"/>
                <a:gd name="connsiteX260" fmla="*/ 5074 w 10000"/>
                <a:gd name="connsiteY260" fmla="*/ 1412 h 10000"/>
                <a:gd name="connsiteX261" fmla="*/ 4421 w 10000"/>
                <a:gd name="connsiteY261" fmla="*/ 1813 h 10000"/>
                <a:gd name="connsiteX262" fmla="*/ 4220 w 10000"/>
                <a:gd name="connsiteY262" fmla="*/ 2070 h 10000"/>
                <a:gd name="connsiteX263" fmla="*/ 4003 w 10000"/>
                <a:gd name="connsiteY263" fmla="*/ 2135 h 10000"/>
                <a:gd name="connsiteX264" fmla="*/ 3868 w 10000"/>
                <a:gd name="connsiteY264" fmla="*/ 2131 h 10000"/>
                <a:gd name="connsiteX265" fmla="*/ 3785 w 10000"/>
                <a:gd name="connsiteY265" fmla="*/ 2153 h 10000"/>
                <a:gd name="connsiteX266" fmla="*/ 3558 w 10000"/>
                <a:gd name="connsiteY266" fmla="*/ 2793 h 10000"/>
                <a:gd name="connsiteX267" fmla="*/ 3036 w 10000"/>
                <a:gd name="connsiteY267" fmla="*/ 3166 h 10000"/>
                <a:gd name="connsiteX268" fmla="*/ 3040 w 10000"/>
                <a:gd name="connsiteY268" fmla="*/ 3225 h 10000"/>
                <a:gd name="connsiteX269" fmla="*/ 3271 w 10000"/>
                <a:gd name="connsiteY269" fmla="*/ 3392 h 10000"/>
                <a:gd name="connsiteX270" fmla="*/ 3197 w 10000"/>
                <a:gd name="connsiteY270" fmla="*/ 3573 h 10000"/>
                <a:gd name="connsiteX271" fmla="*/ 3062 w 10000"/>
                <a:gd name="connsiteY271" fmla="*/ 3640 h 10000"/>
                <a:gd name="connsiteX272" fmla="*/ 2657 w 10000"/>
                <a:gd name="connsiteY272" fmla="*/ 3595 h 10000"/>
                <a:gd name="connsiteX273" fmla="*/ 2378 w 10000"/>
                <a:gd name="connsiteY273" fmla="*/ 3620 h 10000"/>
                <a:gd name="connsiteX274" fmla="*/ 2152 w 10000"/>
                <a:gd name="connsiteY274" fmla="*/ 3673 h 10000"/>
                <a:gd name="connsiteX275" fmla="*/ 1790 w 10000"/>
                <a:gd name="connsiteY275" fmla="*/ 3840 h 10000"/>
                <a:gd name="connsiteX276" fmla="*/ 1598 w 10000"/>
                <a:gd name="connsiteY276" fmla="*/ 4042 h 10000"/>
                <a:gd name="connsiteX277" fmla="*/ 1616 w 10000"/>
                <a:gd name="connsiteY277" fmla="*/ 4154 h 10000"/>
                <a:gd name="connsiteX278" fmla="*/ 1681 w 10000"/>
                <a:gd name="connsiteY278" fmla="*/ 4241 h 10000"/>
                <a:gd name="connsiteX279" fmla="*/ 1733 w 10000"/>
                <a:gd name="connsiteY279" fmla="*/ 4276 h 10000"/>
                <a:gd name="connsiteX280" fmla="*/ 1638 w 10000"/>
                <a:gd name="connsiteY280" fmla="*/ 4331 h 10000"/>
                <a:gd name="connsiteX281" fmla="*/ 1433 w 10000"/>
                <a:gd name="connsiteY281" fmla="*/ 4710 h 10000"/>
                <a:gd name="connsiteX282" fmla="*/ 1472 w 10000"/>
                <a:gd name="connsiteY282" fmla="*/ 4732 h 10000"/>
                <a:gd name="connsiteX283" fmla="*/ 1503 w 10000"/>
                <a:gd name="connsiteY283" fmla="*/ 4828 h 10000"/>
                <a:gd name="connsiteX284" fmla="*/ 1407 w 10000"/>
                <a:gd name="connsiteY284" fmla="*/ 5227 h 10000"/>
                <a:gd name="connsiteX285" fmla="*/ 1503 w 10000"/>
                <a:gd name="connsiteY285" fmla="*/ 5329 h 10000"/>
                <a:gd name="connsiteX286" fmla="*/ 1764 w 10000"/>
                <a:gd name="connsiteY286" fmla="*/ 5441 h 10000"/>
                <a:gd name="connsiteX287" fmla="*/ 1777 w 10000"/>
                <a:gd name="connsiteY287" fmla="*/ 5578 h 10000"/>
                <a:gd name="connsiteX288" fmla="*/ 1664 w 10000"/>
                <a:gd name="connsiteY288" fmla="*/ 5690 h 10000"/>
                <a:gd name="connsiteX289" fmla="*/ 1503 w 10000"/>
                <a:gd name="connsiteY289" fmla="*/ 5759 h 10000"/>
                <a:gd name="connsiteX290" fmla="*/ 1289 w 10000"/>
                <a:gd name="connsiteY290" fmla="*/ 5787 h 10000"/>
                <a:gd name="connsiteX291" fmla="*/ 1233 w 10000"/>
                <a:gd name="connsiteY291" fmla="*/ 5826 h 10000"/>
                <a:gd name="connsiteX292" fmla="*/ 1359 w 10000"/>
                <a:gd name="connsiteY292" fmla="*/ 5920 h 10000"/>
                <a:gd name="connsiteX293" fmla="*/ 1429 w 10000"/>
                <a:gd name="connsiteY293" fmla="*/ 6142 h 10000"/>
                <a:gd name="connsiteX294" fmla="*/ 1267 w 10000"/>
                <a:gd name="connsiteY294" fmla="*/ 6333 h 10000"/>
                <a:gd name="connsiteX295" fmla="*/ 1324 w 10000"/>
                <a:gd name="connsiteY295" fmla="*/ 6392 h 10000"/>
                <a:gd name="connsiteX296" fmla="*/ 1272 w 10000"/>
                <a:gd name="connsiteY296" fmla="*/ 6492 h 10000"/>
                <a:gd name="connsiteX297" fmla="*/ 1167 w 10000"/>
                <a:gd name="connsiteY297" fmla="*/ 6561 h 10000"/>
                <a:gd name="connsiteX298" fmla="*/ 758 w 10000"/>
                <a:gd name="connsiteY298" fmla="*/ 6614 h 10000"/>
                <a:gd name="connsiteX299" fmla="*/ 732 w 10000"/>
                <a:gd name="connsiteY299" fmla="*/ 6706 h 10000"/>
                <a:gd name="connsiteX300" fmla="*/ 510 w 10000"/>
                <a:gd name="connsiteY300" fmla="*/ 6843 h 10000"/>
                <a:gd name="connsiteX301" fmla="*/ 540 w 10000"/>
                <a:gd name="connsiteY301" fmla="*/ 7040 h 10000"/>
                <a:gd name="connsiteX302" fmla="*/ 353 w 10000"/>
                <a:gd name="connsiteY302" fmla="*/ 7293 h 10000"/>
                <a:gd name="connsiteX303" fmla="*/ 226 w 10000"/>
                <a:gd name="connsiteY303" fmla="*/ 7323 h 10000"/>
                <a:gd name="connsiteX304" fmla="*/ 174 w 10000"/>
                <a:gd name="connsiteY304" fmla="*/ 7262 h 10000"/>
                <a:gd name="connsiteX305" fmla="*/ 109 w 10000"/>
                <a:gd name="connsiteY305" fmla="*/ 7354 h 10000"/>
                <a:gd name="connsiteX306" fmla="*/ 152 w 10000"/>
                <a:gd name="connsiteY306" fmla="*/ 7197 h 10000"/>
                <a:gd name="connsiteX307" fmla="*/ 126 w 10000"/>
                <a:gd name="connsiteY307"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9355 w 10000"/>
                <a:gd name="connsiteY207" fmla="*/ 2428 h 10000"/>
                <a:gd name="connsiteX208" fmla="*/ 9408 w 10000"/>
                <a:gd name="connsiteY208" fmla="*/ 2359 h 10000"/>
                <a:gd name="connsiteX209" fmla="*/ 9717 w 10000"/>
                <a:gd name="connsiteY209" fmla="*/ 2343 h 10000"/>
                <a:gd name="connsiteX210" fmla="*/ 9830 w 10000"/>
                <a:gd name="connsiteY210" fmla="*/ 2369 h 10000"/>
                <a:gd name="connsiteX211" fmla="*/ 9909 w 10000"/>
                <a:gd name="connsiteY211" fmla="*/ 2410 h 10000"/>
                <a:gd name="connsiteX212" fmla="*/ 9948 w 10000"/>
                <a:gd name="connsiteY212" fmla="*/ 2365 h 10000"/>
                <a:gd name="connsiteX213" fmla="*/ 10000 w 10000"/>
                <a:gd name="connsiteY213" fmla="*/ 2349 h 10000"/>
                <a:gd name="connsiteX214" fmla="*/ 9704 w 10000"/>
                <a:gd name="connsiteY214" fmla="*/ 1992 h 10000"/>
                <a:gd name="connsiteX215" fmla="*/ 9743 w 10000"/>
                <a:gd name="connsiteY215" fmla="*/ 1897 h 10000"/>
                <a:gd name="connsiteX216" fmla="*/ 9830 w 10000"/>
                <a:gd name="connsiteY216" fmla="*/ 1819 h 10000"/>
                <a:gd name="connsiteX217" fmla="*/ 9830 w 10000"/>
                <a:gd name="connsiteY217" fmla="*/ 1699 h 10000"/>
                <a:gd name="connsiteX218" fmla="*/ 9556 w 10000"/>
                <a:gd name="connsiteY218" fmla="*/ 1465 h 10000"/>
                <a:gd name="connsiteX219" fmla="*/ 9512 w 10000"/>
                <a:gd name="connsiteY219" fmla="*/ 1379 h 10000"/>
                <a:gd name="connsiteX220" fmla="*/ 9573 w 10000"/>
                <a:gd name="connsiteY220" fmla="*/ 1271 h 10000"/>
                <a:gd name="connsiteX221" fmla="*/ 9543 w 10000"/>
                <a:gd name="connsiteY221" fmla="*/ 1194 h 10000"/>
                <a:gd name="connsiteX222" fmla="*/ 9486 w 10000"/>
                <a:gd name="connsiteY222" fmla="*/ 1159 h 10000"/>
                <a:gd name="connsiteX223" fmla="*/ 9438 w 10000"/>
                <a:gd name="connsiteY223" fmla="*/ 978 h 10000"/>
                <a:gd name="connsiteX224" fmla="*/ 9495 w 10000"/>
                <a:gd name="connsiteY224" fmla="*/ 831 h 10000"/>
                <a:gd name="connsiteX225" fmla="*/ 9077 w 10000"/>
                <a:gd name="connsiteY225" fmla="*/ 517 h 10000"/>
                <a:gd name="connsiteX226" fmla="*/ 8872 w 10000"/>
                <a:gd name="connsiteY226" fmla="*/ 440 h 10000"/>
                <a:gd name="connsiteX227" fmla="*/ 8493 w 10000"/>
                <a:gd name="connsiteY227" fmla="*/ 389 h 10000"/>
                <a:gd name="connsiteX228" fmla="*/ 7709 w 10000"/>
                <a:gd name="connsiteY228" fmla="*/ 26 h 10000"/>
                <a:gd name="connsiteX229" fmla="*/ 7683 w 10000"/>
                <a:gd name="connsiteY229" fmla="*/ 2 h 10000"/>
                <a:gd name="connsiteX230" fmla="*/ 7417 w 10000"/>
                <a:gd name="connsiteY230" fmla="*/ 0 h 10000"/>
                <a:gd name="connsiteX231" fmla="*/ 7356 w 10000"/>
                <a:gd name="connsiteY231" fmla="*/ 14 h 10000"/>
                <a:gd name="connsiteX232" fmla="*/ 7369 w 10000"/>
                <a:gd name="connsiteY232" fmla="*/ 61 h 10000"/>
                <a:gd name="connsiteX233" fmla="*/ 7422 w 10000"/>
                <a:gd name="connsiteY233" fmla="*/ 86 h 10000"/>
                <a:gd name="connsiteX234" fmla="*/ 7435 w 10000"/>
                <a:gd name="connsiteY234" fmla="*/ 139 h 10000"/>
                <a:gd name="connsiteX235" fmla="*/ 7417 w 10000"/>
                <a:gd name="connsiteY235" fmla="*/ 181 h 10000"/>
                <a:gd name="connsiteX236" fmla="*/ 7369 w 10000"/>
                <a:gd name="connsiteY236" fmla="*/ 208 h 10000"/>
                <a:gd name="connsiteX237" fmla="*/ 7334 w 10000"/>
                <a:gd name="connsiteY237" fmla="*/ 283 h 10000"/>
                <a:gd name="connsiteX238" fmla="*/ 7269 w 10000"/>
                <a:gd name="connsiteY238" fmla="*/ 336 h 10000"/>
                <a:gd name="connsiteX239" fmla="*/ 7282 w 10000"/>
                <a:gd name="connsiteY239" fmla="*/ 387 h 10000"/>
                <a:gd name="connsiteX240" fmla="*/ 7382 w 10000"/>
                <a:gd name="connsiteY240" fmla="*/ 434 h 10000"/>
                <a:gd name="connsiteX241" fmla="*/ 7317 w 10000"/>
                <a:gd name="connsiteY241" fmla="*/ 475 h 10000"/>
                <a:gd name="connsiteX242" fmla="*/ 7221 w 10000"/>
                <a:gd name="connsiteY242" fmla="*/ 485 h 10000"/>
                <a:gd name="connsiteX243" fmla="*/ 6420 w 10000"/>
                <a:gd name="connsiteY243" fmla="*/ 387 h 10000"/>
                <a:gd name="connsiteX244" fmla="*/ 6324 w 10000"/>
                <a:gd name="connsiteY244" fmla="*/ 395 h 10000"/>
                <a:gd name="connsiteX245" fmla="*/ 6267 w 10000"/>
                <a:gd name="connsiteY245" fmla="*/ 414 h 10000"/>
                <a:gd name="connsiteX246" fmla="*/ 6211 w 10000"/>
                <a:gd name="connsiteY246" fmla="*/ 462 h 10000"/>
                <a:gd name="connsiteX247" fmla="*/ 6220 w 10000"/>
                <a:gd name="connsiteY247" fmla="*/ 581 h 10000"/>
                <a:gd name="connsiteX248" fmla="*/ 6132 w 10000"/>
                <a:gd name="connsiteY248" fmla="*/ 735 h 10000"/>
                <a:gd name="connsiteX249" fmla="*/ 6024 w 10000"/>
                <a:gd name="connsiteY249" fmla="*/ 815 h 10000"/>
                <a:gd name="connsiteX250" fmla="*/ 5980 w 10000"/>
                <a:gd name="connsiteY250" fmla="*/ 805 h 10000"/>
                <a:gd name="connsiteX251" fmla="*/ 5880 w 10000"/>
                <a:gd name="connsiteY251" fmla="*/ 739 h 10000"/>
                <a:gd name="connsiteX252" fmla="*/ 5753 w 10000"/>
                <a:gd name="connsiteY252" fmla="*/ 705 h 10000"/>
                <a:gd name="connsiteX253" fmla="*/ 5618 w 10000"/>
                <a:gd name="connsiteY253" fmla="*/ 715 h 10000"/>
                <a:gd name="connsiteX254" fmla="*/ 5301 w 10000"/>
                <a:gd name="connsiteY254" fmla="*/ 866 h 10000"/>
                <a:gd name="connsiteX255" fmla="*/ 5218 w 10000"/>
                <a:gd name="connsiteY255" fmla="*/ 1017 h 10000"/>
                <a:gd name="connsiteX256" fmla="*/ 4978 w 10000"/>
                <a:gd name="connsiteY256" fmla="*/ 1153 h 10000"/>
                <a:gd name="connsiteX257" fmla="*/ 4935 w 10000"/>
                <a:gd name="connsiteY257" fmla="*/ 1222 h 10000"/>
                <a:gd name="connsiteX258" fmla="*/ 5061 w 10000"/>
                <a:gd name="connsiteY258" fmla="*/ 1344 h 10000"/>
                <a:gd name="connsiteX259" fmla="*/ 5074 w 10000"/>
                <a:gd name="connsiteY259" fmla="*/ 1412 h 10000"/>
                <a:gd name="connsiteX260" fmla="*/ 4421 w 10000"/>
                <a:gd name="connsiteY260" fmla="*/ 1813 h 10000"/>
                <a:gd name="connsiteX261" fmla="*/ 4220 w 10000"/>
                <a:gd name="connsiteY261" fmla="*/ 2070 h 10000"/>
                <a:gd name="connsiteX262" fmla="*/ 4003 w 10000"/>
                <a:gd name="connsiteY262" fmla="*/ 2135 h 10000"/>
                <a:gd name="connsiteX263" fmla="*/ 3868 w 10000"/>
                <a:gd name="connsiteY263" fmla="*/ 2131 h 10000"/>
                <a:gd name="connsiteX264" fmla="*/ 3785 w 10000"/>
                <a:gd name="connsiteY264" fmla="*/ 2153 h 10000"/>
                <a:gd name="connsiteX265" fmla="*/ 3558 w 10000"/>
                <a:gd name="connsiteY265" fmla="*/ 2793 h 10000"/>
                <a:gd name="connsiteX266" fmla="*/ 3036 w 10000"/>
                <a:gd name="connsiteY266" fmla="*/ 3166 h 10000"/>
                <a:gd name="connsiteX267" fmla="*/ 3040 w 10000"/>
                <a:gd name="connsiteY267" fmla="*/ 3225 h 10000"/>
                <a:gd name="connsiteX268" fmla="*/ 3271 w 10000"/>
                <a:gd name="connsiteY268" fmla="*/ 3392 h 10000"/>
                <a:gd name="connsiteX269" fmla="*/ 3197 w 10000"/>
                <a:gd name="connsiteY269" fmla="*/ 3573 h 10000"/>
                <a:gd name="connsiteX270" fmla="*/ 3062 w 10000"/>
                <a:gd name="connsiteY270" fmla="*/ 3640 h 10000"/>
                <a:gd name="connsiteX271" fmla="*/ 2657 w 10000"/>
                <a:gd name="connsiteY271" fmla="*/ 3595 h 10000"/>
                <a:gd name="connsiteX272" fmla="*/ 2378 w 10000"/>
                <a:gd name="connsiteY272" fmla="*/ 3620 h 10000"/>
                <a:gd name="connsiteX273" fmla="*/ 2152 w 10000"/>
                <a:gd name="connsiteY273" fmla="*/ 3673 h 10000"/>
                <a:gd name="connsiteX274" fmla="*/ 1790 w 10000"/>
                <a:gd name="connsiteY274" fmla="*/ 3840 h 10000"/>
                <a:gd name="connsiteX275" fmla="*/ 1598 w 10000"/>
                <a:gd name="connsiteY275" fmla="*/ 4042 h 10000"/>
                <a:gd name="connsiteX276" fmla="*/ 1616 w 10000"/>
                <a:gd name="connsiteY276" fmla="*/ 4154 h 10000"/>
                <a:gd name="connsiteX277" fmla="*/ 1681 w 10000"/>
                <a:gd name="connsiteY277" fmla="*/ 4241 h 10000"/>
                <a:gd name="connsiteX278" fmla="*/ 1733 w 10000"/>
                <a:gd name="connsiteY278" fmla="*/ 4276 h 10000"/>
                <a:gd name="connsiteX279" fmla="*/ 1638 w 10000"/>
                <a:gd name="connsiteY279" fmla="*/ 4331 h 10000"/>
                <a:gd name="connsiteX280" fmla="*/ 1433 w 10000"/>
                <a:gd name="connsiteY280" fmla="*/ 4710 h 10000"/>
                <a:gd name="connsiteX281" fmla="*/ 1472 w 10000"/>
                <a:gd name="connsiteY281" fmla="*/ 4732 h 10000"/>
                <a:gd name="connsiteX282" fmla="*/ 1503 w 10000"/>
                <a:gd name="connsiteY282" fmla="*/ 4828 h 10000"/>
                <a:gd name="connsiteX283" fmla="*/ 1407 w 10000"/>
                <a:gd name="connsiteY283" fmla="*/ 5227 h 10000"/>
                <a:gd name="connsiteX284" fmla="*/ 1503 w 10000"/>
                <a:gd name="connsiteY284" fmla="*/ 5329 h 10000"/>
                <a:gd name="connsiteX285" fmla="*/ 1764 w 10000"/>
                <a:gd name="connsiteY285" fmla="*/ 5441 h 10000"/>
                <a:gd name="connsiteX286" fmla="*/ 1777 w 10000"/>
                <a:gd name="connsiteY286" fmla="*/ 5578 h 10000"/>
                <a:gd name="connsiteX287" fmla="*/ 1664 w 10000"/>
                <a:gd name="connsiteY287" fmla="*/ 5690 h 10000"/>
                <a:gd name="connsiteX288" fmla="*/ 1503 w 10000"/>
                <a:gd name="connsiteY288" fmla="*/ 5759 h 10000"/>
                <a:gd name="connsiteX289" fmla="*/ 1289 w 10000"/>
                <a:gd name="connsiteY289" fmla="*/ 5787 h 10000"/>
                <a:gd name="connsiteX290" fmla="*/ 1233 w 10000"/>
                <a:gd name="connsiteY290" fmla="*/ 5826 h 10000"/>
                <a:gd name="connsiteX291" fmla="*/ 1359 w 10000"/>
                <a:gd name="connsiteY291" fmla="*/ 5920 h 10000"/>
                <a:gd name="connsiteX292" fmla="*/ 1429 w 10000"/>
                <a:gd name="connsiteY292" fmla="*/ 6142 h 10000"/>
                <a:gd name="connsiteX293" fmla="*/ 1267 w 10000"/>
                <a:gd name="connsiteY293" fmla="*/ 6333 h 10000"/>
                <a:gd name="connsiteX294" fmla="*/ 1324 w 10000"/>
                <a:gd name="connsiteY294" fmla="*/ 6392 h 10000"/>
                <a:gd name="connsiteX295" fmla="*/ 1272 w 10000"/>
                <a:gd name="connsiteY295" fmla="*/ 6492 h 10000"/>
                <a:gd name="connsiteX296" fmla="*/ 1167 w 10000"/>
                <a:gd name="connsiteY296" fmla="*/ 6561 h 10000"/>
                <a:gd name="connsiteX297" fmla="*/ 758 w 10000"/>
                <a:gd name="connsiteY297" fmla="*/ 6614 h 10000"/>
                <a:gd name="connsiteX298" fmla="*/ 732 w 10000"/>
                <a:gd name="connsiteY298" fmla="*/ 6706 h 10000"/>
                <a:gd name="connsiteX299" fmla="*/ 510 w 10000"/>
                <a:gd name="connsiteY299" fmla="*/ 6843 h 10000"/>
                <a:gd name="connsiteX300" fmla="*/ 540 w 10000"/>
                <a:gd name="connsiteY300" fmla="*/ 7040 h 10000"/>
                <a:gd name="connsiteX301" fmla="*/ 353 w 10000"/>
                <a:gd name="connsiteY301" fmla="*/ 7293 h 10000"/>
                <a:gd name="connsiteX302" fmla="*/ 226 w 10000"/>
                <a:gd name="connsiteY302" fmla="*/ 7323 h 10000"/>
                <a:gd name="connsiteX303" fmla="*/ 174 w 10000"/>
                <a:gd name="connsiteY303" fmla="*/ 7262 h 10000"/>
                <a:gd name="connsiteX304" fmla="*/ 109 w 10000"/>
                <a:gd name="connsiteY304" fmla="*/ 7354 h 10000"/>
                <a:gd name="connsiteX305" fmla="*/ 152 w 10000"/>
                <a:gd name="connsiteY305" fmla="*/ 7197 h 10000"/>
                <a:gd name="connsiteX306" fmla="*/ 126 w 10000"/>
                <a:gd name="connsiteY306"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9355 w 10000"/>
                <a:gd name="connsiteY207" fmla="*/ 2428 h 10000"/>
                <a:gd name="connsiteX208" fmla="*/ 9717 w 10000"/>
                <a:gd name="connsiteY208" fmla="*/ 2343 h 10000"/>
                <a:gd name="connsiteX209" fmla="*/ 9830 w 10000"/>
                <a:gd name="connsiteY209" fmla="*/ 2369 h 10000"/>
                <a:gd name="connsiteX210" fmla="*/ 9909 w 10000"/>
                <a:gd name="connsiteY210" fmla="*/ 2410 h 10000"/>
                <a:gd name="connsiteX211" fmla="*/ 9948 w 10000"/>
                <a:gd name="connsiteY211" fmla="*/ 2365 h 10000"/>
                <a:gd name="connsiteX212" fmla="*/ 10000 w 10000"/>
                <a:gd name="connsiteY212" fmla="*/ 2349 h 10000"/>
                <a:gd name="connsiteX213" fmla="*/ 9704 w 10000"/>
                <a:gd name="connsiteY213" fmla="*/ 1992 h 10000"/>
                <a:gd name="connsiteX214" fmla="*/ 9743 w 10000"/>
                <a:gd name="connsiteY214" fmla="*/ 1897 h 10000"/>
                <a:gd name="connsiteX215" fmla="*/ 9830 w 10000"/>
                <a:gd name="connsiteY215" fmla="*/ 1819 h 10000"/>
                <a:gd name="connsiteX216" fmla="*/ 9830 w 10000"/>
                <a:gd name="connsiteY216" fmla="*/ 1699 h 10000"/>
                <a:gd name="connsiteX217" fmla="*/ 9556 w 10000"/>
                <a:gd name="connsiteY217" fmla="*/ 1465 h 10000"/>
                <a:gd name="connsiteX218" fmla="*/ 9512 w 10000"/>
                <a:gd name="connsiteY218" fmla="*/ 1379 h 10000"/>
                <a:gd name="connsiteX219" fmla="*/ 9573 w 10000"/>
                <a:gd name="connsiteY219" fmla="*/ 1271 h 10000"/>
                <a:gd name="connsiteX220" fmla="*/ 9543 w 10000"/>
                <a:gd name="connsiteY220" fmla="*/ 1194 h 10000"/>
                <a:gd name="connsiteX221" fmla="*/ 9486 w 10000"/>
                <a:gd name="connsiteY221" fmla="*/ 1159 h 10000"/>
                <a:gd name="connsiteX222" fmla="*/ 9438 w 10000"/>
                <a:gd name="connsiteY222" fmla="*/ 978 h 10000"/>
                <a:gd name="connsiteX223" fmla="*/ 9495 w 10000"/>
                <a:gd name="connsiteY223" fmla="*/ 831 h 10000"/>
                <a:gd name="connsiteX224" fmla="*/ 9077 w 10000"/>
                <a:gd name="connsiteY224" fmla="*/ 517 h 10000"/>
                <a:gd name="connsiteX225" fmla="*/ 8872 w 10000"/>
                <a:gd name="connsiteY225" fmla="*/ 440 h 10000"/>
                <a:gd name="connsiteX226" fmla="*/ 8493 w 10000"/>
                <a:gd name="connsiteY226" fmla="*/ 389 h 10000"/>
                <a:gd name="connsiteX227" fmla="*/ 7709 w 10000"/>
                <a:gd name="connsiteY227" fmla="*/ 26 h 10000"/>
                <a:gd name="connsiteX228" fmla="*/ 7683 w 10000"/>
                <a:gd name="connsiteY228" fmla="*/ 2 h 10000"/>
                <a:gd name="connsiteX229" fmla="*/ 7417 w 10000"/>
                <a:gd name="connsiteY229" fmla="*/ 0 h 10000"/>
                <a:gd name="connsiteX230" fmla="*/ 7356 w 10000"/>
                <a:gd name="connsiteY230" fmla="*/ 14 h 10000"/>
                <a:gd name="connsiteX231" fmla="*/ 7369 w 10000"/>
                <a:gd name="connsiteY231" fmla="*/ 61 h 10000"/>
                <a:gd name="connsiteX232" fmla="*/ 7422 w 10000"/>
                <a:gd name="connsiteY232" fmla="*/ 86 h 10000"/>
                <a:gd name="connsiteX233" fmla="*/ 7435 w 10000"/>
                <a:gd name="connsiteY233" fmla="*/ 139 h 10000"/>
                <a:gd name="connsiteX234" fmla="*/ 7417 w 10000"/>
                <a:gd name="connsiteY234" fmla="*/ 181 h 10000"/>
                <a:gd name="connsiteX235" fmla="*/ 7369 w 10000"/>
                <a:gd name="connsiteY235" fmla="*/ 208 h 10000"/>
                <a:gd name="connsiteX236" fmla="*/ 7334 w 10000"/>
                <a:gd name="connsiteY236" fmla="*/ 283 h 10000"/>
                <a:gd name="connsiteX237" fmla="*/ 7269 w 10000"/>
                <a:gd name="connsiteY237" fmla="*/ 336 h 10000"/>
                <a:gd name="connsiteX238" fmla="*/ 7282 w 10000"/>
                <a:gd name="connsiteY238" fmla="*/ 387 h 10000"/>
                <a:gd name="connsiteX239" fmla="*/ 7382 w 10000"/>
                <a:gd name="connsiteY239" fmla="*/ 434 h 10000"/>
                <a:gd name="connsiteX240" fmla="*/ 7317 w 10000"/>
                <a:gd name="connsiteY240" fmla="*/ 475 h 10000"/>
                <a:gd name="connsiteX241" fmla="*/ 7221 w 10000"/>
                <a:gd name="connsiteY241" fmla="*/ 485 h 10000"/>
                <a:gd name="connsiteX242" fmla="*/ 6420 w 10000"/>
                <a:gd name="connsiteY242" fmla="*/ 387 h 10000"/>
                <a:gd name="connsiteX243" fmla="*/ 6324 w 10000"/>
                <a:gd name="connsiteY243" fmla="*/ 395 h 10000"/>
                <a:gd name="connsiteX244" fmla="*/ 6267 w 10000"/>
                <a:gd name="connsiteY244" fmla="*/ 414 h 10000"/>
                <a:gd name="connsiteX245" fmla="*/ 6211 w 10000"/>
                <a:gd name="connsiteY245" fmla="*/ 462 h 10000"/>
                <a:gd name="connsiteX246" fmla="*/ 6220 w 10000"/>
                <a:gd name="connsiteY246" fmla="*/ 581 h 10000"/>
                <a:gd name="connsiteX247" fmla="*/ 6132 w 10000"/>
                <a:gd name="connsiteY247" fmla="*/ 735 h 10000"/>
                <a:gd name="connsiteX248" fmla="*/ 6024 w 10000"/>
                <a:gd name="connsiteY248" fmla="*/ 815 h 10000"/>
                <a:gd name="connsiteX249" fmla="*/ 5980 w 10000"/>
                <a:gd name="connsiteY249" fmla="*/ 805 h 10000"/>
                <a:gd name="connsiteX250" fmla="*/ 5880 w 10000"/>
                <a:gd name="connsiteY250" fmla="*/ 739 h 10000"/>
                <a:gd name="connsiteX251" fmla="*/ 5753 w 10000"/>
                <a:gd name="connsiteY251" fmla="*/ 705 h 10000"/>
                <a:gd name="connsiteX252" fmla="*/ 5618 w 10000"/>
                <a:gd name="connsiteY252" fmla="*/ 715 h 10000"/>
                <a:gd name="connsiteX253" fmla="*/ 5301 w 10000"/>
                <a:gd name="connsiteY253" fmla="*/ 866 h 10000"/>
                <a:gd name="connsiteX254" fmla="*/ 5218 w 10000"/>
                <a:gd name="connsiteY254" fmla="*/ 1017 h 10000"/>
                <a:gd name="connsiteX255" fmla="*/ 4978 w 10000"/>
                <a:gd name="connsiteY255" fmla="*/ 1153 h 10000"/>
                <a:gd name="connsiteX256" fmla="*/ 4935 w 10000"/>
                <a:gd name="connsiteY256" fmla="*/ 1222 h 10000"/>
                <a:gd name="connsiteX257" fmla="*/ 5061 w 10000"/>
                <a:gd name="connsiteY257" fmla="*/ 1344 h 10000"/>
                <a:gd name="connsiteX258" fmla="*/ 5074 w 10000"/>
                <a:gd name="connsiteY258" fmla="*/ 1412 h 10000"/>
                <a:gd name="connsiteX259" fmla="*/ 4421 w 10000"/>
                <a:gd name="connsiteY259" fmla="*/ 1813 h 10000"/>
                <a:gd name="connsiteX260" fmla="*/ 4220 w 10000"/>
                <a:gd name="connsiteY260" fmla="*/ 2070 h 10000"/>
                <a:gd name="connsiteX261" fmla="*/ 4003 w 10000"/>
                <a:gd name="connsiteY261" fmla="*/ 2135 h 10000"/>
                <a:gd name="connsiteX262" fmla="*/ 3868 w 10000"/>
                <a:gd name="connsiteY262" fmla="*/ 2131 h 10000"/>
                <a:gd name="connsiteX263" fmla="*/ 3785 w 10000"/>
                <a:gd name="connsiteY263" fmla="*/ 2153 h 10000"/>
                <a:gd name="connsiteX264" fmla="*/ 3558 w 10000"/>
                <a:gd name="connsiteY264" fmla="*/ 2793 h 10000"/>
                <a:gd name="connsiteX265" fmla="*/ 3036 w 10000"/>
                <a:gd name="connsiteY265" fmla="*/ 3166 h 10000"/>
                <a:gd name="connsiteX266" fmla="*/ 3040 w 10000"/>
                <a:gd name="connsiteY266" fmla="*/ 3225 h 10000"/>
                <a:gd name="connsiteX267" fmla="*/ 3271 w 10000"/>
                <a:gd name="connsiteY267" fmla="*/ 3392 h 10000"/>
                <a:gd name="connsiteX268" fmla="*/ 3197 w 10000"/>
                <a:gd name="connsiteY268" fmla="*/ 3573 h 10000"/>
                <a:gd name="connsiteX269" fmla="*/ 3062 w 10000"/>
                <a:gd name="connsiteY269" fmla="*/ 3640 h 10000"/>
                <a:gd name="connsiteX270" fmla="*/ 2657 w 10000"/>
                <a:gd name="connsiteY270" fmla="*/ 3595 h 10000"/>
                <a:gd name="connsiteX271" fmla="*/ 2378 w 10000"/>
                <a:gd name="connsiteY271" fmla="*/ 3620 h 10000"/>
                <a:gd name="connsiteX272" fmla="*/ 2152 w 10000"/>
                <a:gd name="connsiteY272" fmla="*/ 3673 h 10000"/>
                <a:gd name="connsiteX273" fmla="*/ 1790 w 10000"/>
                <a:gd name="connsiteY273" fmla="*/ 3840 h 10000"/>
                <a:gd name="connsiteX274" fmla="*/ 1598 w 10000"/>
                <a:gd name="connsiteY274" fmla="*/ 4042 h 10000"/>
                <a:gd name="connsiteX275" fmla="*/ 1616 w 10000"/>
                <a:gd name="connsiteY275" fmla="*/ 4154 h 10000"/>
                <a:gd name="connsiteX276" fmla="*/ 1681 w 10000"/>
                <a:gd name="connsiteY276" fmla="*/ 4241 h 10000"/>
                <a:gd name="connsiteX277" fmla="*/ 1733 w 10000"/>
                <a:gd name="connsiteY277" fmla="*/ 4276 h 10000"/>
                <a:gd name="connsiteX278" fmla="*/ 1638 w 10000"/>
                <a:gd name="connsiteY278" fmla="*/ 4331 h 10000"/>
                <a:gd name="connsiteX279" fmla="*/ 1433 w 10000"/>
                <a:gd name="connsiteY279" fmla="*/ 4710 h 10000"/>
                <a:gd name="connsiteX280" fmla="*/ 1472 w 10000"/>
                <a:gd name="connsiteY280" fmla="*/ 4732 h 10000"/>
                <a:gd name="connsiteX281" fmla="*/ 1503 w 10000"/>
                <a:gd name="connsiteY281" fmla="*/ 4828 h 10000"/>
                <a:gd name="connsiteX282" fmla="*/ 1407 w 10000"/>
                <a:gd name="connsiteY282" fmla="*/ 5227 h 10000"/>
                <a:gd name="connsiteX283" fmla="*/ 1503 w 10000"/>
                <a:gd name="connsiteY283" fmla="*/ 5329 h 10000"/>
                <a:gd name="connsiteX284" fmla="*/ 1764 w 10000"/>
                <a:gd name="connsiteY284" fmla="*/ 5441 h 10000"/>
                <a:gd name="connsiteX285" fmla="*/ 1777 w 10000"/>
                <a:gd name="connsiteY285" fmla="*/ 5578 h 10000"/>
                <a:gd name="connsiteX286" fmla="*/ 1664 w 10000"/>
                <a:gd name="connsiteY286" fmla="*/ 5690 h 10000"/>
                <a:gd name="connsiteX287" fmla="*/ 1503 w 10000"/>
                <a:gd name="connsiteY287" fmla="*/ 5759 h 10000"/>
                <a:gd name="connsiteX288" fmla="*/ 1289 w 10000"/>
                <a:gd name="connsiteY288" fmla="*/ 5787 h 10000"/>
                <a:gd name="connsiteX289" fmla="*/ 1233 w 10000"/>
                <a:gd name="connsiteY289" fmla="*/ 5826 h 10000"/>
                <a:gd name="connsiteX290" fmla="*/ 1359 w 10000"/>
                <a:gd name="connsiteY290" fmla="*/ 5920 h 10000"/>
                <a:gd name="connsiteX291" fmla="*/ 1429 w 10000"/>
                <a:gd name="connsiteY291" fmla="*/ 6142 h 10000"/>
                <a:gd name="connsiteX292" fmla="*/ 1267 w 10000"/>
                <a:gd name="connsiteY292" fmla="*/ 6333 h 10000"/>
                <a:gd name="connsiteX293" fmla="*/ 1324 w 10000"/>
                <a:gd name="connsiteY293" fmla="*/ 6392 h 10000"/>
                <a:gd name="connsiteX294" fmla="*/ 1272 w 10000"/>
                <a:gd name="connsiteY294" fmla="*/ 6492 h 10000"/>
                <a:gd name="connsiteX295" fmla="*/ 1167 w 10000"/>
                <a:gd name="connsiteY295" fmla="*/ 6561 h 10000"/>
                <a:gd name="connsiteX296" fmla="*/ 758 w 10000"/>
                <a:gd name="connsiteY296" fmla="*/ 6614 h 10000"/>
                <a:gd name="connsiteX297" fmla="*/ 732 w 10000"/>
                <a:gd name="connsiteY297" fmla="*/ 6706 h 10000"/>
                <a:gd name="connsiteX298" fmla="*/ 510 w 10000"/>
                <a:gd name="connsiteY298" fmla="*/ 6843 h 10000"/>
                <a:gd name="connsiteX299" fmla="*/ 540 w 10000"/>
                <a:gd name="connsiteY299" fmla="*/ 7040 h 10000"/>
                <a:gd name="connsiteX300" fmla="*/ 353 w 10000"/>
                <a:gd name="connsiteY300" fmla="*/ 7293 h 10000"/>
                <a:gd name="connsiteX301" fmla="*/ 226 w 10000"/>
                <a:gd name="connsiteY301" fmla="*/ 7323 h 10000"/>
                <a:gd name="connsiteX302" fmla="*/ 174 w 10000"/>
                <a:gd name="connsiteY302" fmla="*/ 7262 h 10000"/>
                <a:gd name="connsiteX303" fmla="*/ 109 w 10000"/>
                <a:gd name="connsiteY303" fmla="*/ 7354 h 10000"/>
                <a:gd name="connsiteX304" fmla="*/ 152 w 10000"/>
                <a:gd name="connsiteY304" fmla="*/ 7197 h 10000"/>
                <a:gd name="connsiteX305" fmla="*/ 126 w 10000"/>
                <a:gd name="connsiteY305"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9717 w 10000"/>
                <a:gd name="connsiteY207" fmla="*/ 2343 h 10000"/>
                <a:gd name="connsiteX208" fmla="*/ 9830 w 10000"/>
                <a:gd name="connsiteY208" fmla="*/ 2369 h 10000"/>
                <a:gd name="connsiteX209" fmla="*/ 9909 w 10000"/>
                <a:gd name="connsiteY209" fmla="*/ 2410 h 10000"/>
                <a:gd name="connsiteX210" fmla="*/ 9948 w 10000"/>
                <a:gd name="connsiteY210" fmla="*/ 2365 h 10000"/>
                <a:gd name="connsiteX211" fmla="*/ 10000 w 10000"/>
                <a:gd name="connsiteY211" fmla="*/ 2349 h 10000"/>
                <a:gd name="connsiteX212" fmla="*/ 9704 w 10000"/>
                <a:gd name="connsiteY212" fmla="*/ 1992 h 10000"/>
                <a:gd name="connsiteX213" fmla="*/ 9743 w 10000"/>
                <a:gd name="connsiteY213" fmla="*/ 1897 h 10000"/>
                <a:gd name="connsiteX214" fmla="*/ 9830 w 10000"/>
                <a:gd name="connsiteY214" fmla="*/ 1819 h 10000"/>
                <a:gd name="connsiteX215" fmla="*/ 9830 w 10000"/>
                <a:gd name="connsiteY215" fmla="*/ 1699 h 10000"/>
                <a:gd name="connsiteX216" fmla="*/ 9556 w 10000"/>
                <a:gd name="connsiteY216" fmla="*/ 1465 h 10000"/>
                <a:gd name="connsiteX217" fmla="*/ 9512 w 10000"/>
                <a:gd name="connsiteY217" fmla="*/ 1379 h 10000"/>
                <a:gd name="connsiteX218" fmla="*/ 9573 w 10000"/>
                <a:gd name="connsiteY218" fmla="*/ 1271 h 10000"/>
                <a:gd name="connsiteX219" fmla="*/ 9543 w 10000"/>
                <a:gd name="connsiteY219" fmla="*/ 1194 h 10000"/>
                <a:gd name="connsiteX220" fmla="*/ 9486 w 10000"/>
                <a:gd name="connsiteY220" fmla="*/ 1159 h 10000"/>
                <a:gd name="connsiteX221" fmla="*/ 9438 w 10000"/>
                <a:gd name="connsiteY221" fmla="*/ 978 h 10000"/>
                <a:gd name="connsiteX222" fmla="*/ 9495 w 10000"/>
                <a:gd name="connsiteY222" fmla="*/ 831 h 10000"/>
                <a:gd name="connsiteX223" fmla="*/ 9077 w 10000"/>
                <a:gd name="connsiteY223" fmla="*/ 517 h 10000"/>
                <a:gd name="connsiteX224" fmla="*/ 8872 w 10000"/>
                <a:gd name="connsiteY224" fmla="*/ 440 h 10000"/>
                <a:gd name="connsiteX225" fmla="*/ 8493 w 10000"/>
                <a:gd name="connsiteY225" fmla="*/ 389 h 10000"/>
                <a:gd name="connsiteX226" fmla="*/ 7709 w 10000"/>
                <a:gd name="connsiteY226" fmla="*/ 26 h 10000"/>
                <a:gd name="connsiteX227" fmla="*/ 7683 w 10000"/>
                <a:gd name="connsiteY227" fmla="*/ 2 h 10000"/>
                <a:gd name="connsiteX228" fmla="*/ 7417 w 10000"/>
                <a:gd name="connsiteY228" fmla="*/ 0 h 10000"/>
                <a:gd name="connsiteX229" fmla="*/ 7356 w 10000"/>
                <a:gd name="connsiteY229" fmla="*/ 14 h 10000"/>
                <a:gd name="connsiteX230" fmla="*/ 7369 w 10000"/>
                <a:gd name="connsiteY230" fmla="*/ 61 h 10000"/>
                <a:gd name="connsiteX231" fmla="*/ 7422 w 10000"/>
                <a:gd name="connsiteY231" fmla="*/ 86 h 10000"/>
                <a:gd name="connsiteX232" fmla="*/ 7435 w 10000"/>
                <a:gd name="connsiteY232" fmla="*/ 139 h 10000"/>
                <a:gd name="connsiteX233" fmla="*/ 7417 w 10000"/>
                <a:gd name="connsiteY233" fmla="*/ 181 h 10000"/>
                <a:gd name="connsiteX234" fmla="*/ 7369 w 10000"/>
                <a:gd name="connsiteY234" fmla="*/ 208 h 10000"/>
                <a:gd name="connsiteX235" fmla="*/ 7334 w 10000"/>
                <a:gd name="connsiteY235" fmla="*/ 283 h 10000"/>
                <a:gd name="connsiteX236" fmla="*/ 7269 w 10000"/>
                <a:gd name="connsiteY236" fmla="*/ 336 h 10000"/>
                <a:gd name="connsiteX237" fmla="*/ 7282 w 10000"/>
                <a:gd name="connsiteY237" fmla="*/ 387 h 10000"/>
                <a:gd name="connsiteX238" fmla="*/ 7382 w 10000"/>
                <a:gd name="connsiteY238" fmla="*/ 434 h 10000"/>
                <a:gd name="connsiteX239" fmla="*/ 7317 w 10000"/>
                <a:gd name="connsiteY239" fmla="*/ 475 h 10000"/>
                <a:gd name="connsiteX240" fmla="*/ 7221 w 10000"/>
                <a:gd name="connsiteY240" fmla="*/ 485 h 10000"/>
                <a:gd name="connsiteX241" fmla="*/ 6420 w 10000"/>
                <a:gd name="connsiteY241" fmla="*/ 387 h 10000"/>
                <a:gd name="connsiteX242" fmla="*/ 6324 w 10000"/>
                <a:gd name="connsiteY242" fmla="*/ 395 h 10000"/>
                <a:gd name="connsiteX243" fmla="*/ 6267 w 10000"/>
                <a:gd name="connsiteY243" fmla="*/ 414 h 10000"/>
                <a:gd name="connsiteX244" fmla="*/ 6211 w 10000"/>
                <a:gd name="connsiteY244" fmla="*/ 462 h 10000"/>
                <a:gd name="connsiteX245" fmla="*/ 6220 w 10000"/>
                <a:gd name="connsiteY245" fmla="*/ 581 h 10000"/>
                <a:gd name="connsiteX246" fmla="*/ 6132 w 10000"/>
                <a:gd name="connsiteY246" fmla="*/ 735 h 10000"/>
                <a:gd name="connsiteX247" fmla="*/ 6024 w 10000"/>
                <a:gd name="connsiteY247" fmla="*/ 815 h 10000"/>
                <a:gd name="connsiteX248" fmla="*/ 5980 w 10000"/>
                <a:gd name="connsiteY248" fmla="*/ 805 h 10000"/>
                <a:gd name="connsiteX249" fmla="*/ 5880 w 10000"/>
                <a:gd name="connsiteY249" fmla="*/ 739 h 10000"/>
                <a:gd name="connsiteX250" fmla="*/ 5753 w 10000"/>
                <a:gd name="connsiteY250" fmla="*/ 705 h 10000"/>
                <a:gd name="connsiteX251" fmla="*/ 5618 w 10000"/>
                <a:gd name="connsiteY251" fmla="*/ 715 h 10000"/>
                <a:gd name="connsiteX252" fmla="*/ 5301 w 10000"/>
                <a:gd name="connsiteY252" fmla="*/ 866 h 10000"/>
                <a:gd name="connsiteX253" fmla="*/ 5218 w 10000"/>
                <a:gd name="connsiteY253" fmla="*/ 1017 h 10000"/>
                <a:gd name="connsiteX254" fmla="*/ 4978 w 10000"/>
                <a:gd name="connsiteY254" fmla="*/ 1153 h 10000"/>
                <a:gd name="connsiteX255" fmla="*/ 4935 w 10000"/>
                <a:gd name="connsiteY255" fmla="*/ 1222 h 10000"/>
                <a:gd name="connsiteX256" fmla="*/ 5061 w 10000"/>
                <a:gd name="connsiteY256" fmla="*/ 1344 h 10000"/>
                <a:gd name="connsiteX257" fmla="*/ 5074 w 10000"/>
                <a:gd name="connsiteY257" fmla="*/ 1412 h 10000"/>
                <a:gd name="connsiteX258" fmla="*/ 4421 w 10000"/>
                <a:gd name="connsiteY258" fmla="*/ 1813 h 10000"/>
                <a:gd name="connsiteX259" fmla="*/ 4220 w 10000"/>
                <a:gd name="connsiteY259" fmla="*/ 2070 h 10000"/>
                <a:gd name="connsiteX260" fmla="*/ 4003 w 10000"/>
                <a:gd name="connsiteY260" fmla="*/ 2135 h 10000"/>
                <a:gd name="connsiteX261" fmla="*/ 3868 w 10000"/>
                <a:gd name="connsiteY261" fmla="*/ 2131 h 10000"/>
                <a:gd name="connsiteX262" fmla="*/ 3785 w 10000"/>
                <a:gd name="connsiteY262" fmla="*/ 2153 h 10000"/>
                <a:gd name="connsiteX263" fmla="*/ 3558 w 10000"/>
                <a:gd name="connsiteY263" fmla="*/ 2793 h 10000"/>
                <a:gd name="connsiteX264" fmla="*/ 3036 w 10000"/>
                <a:gd name="connsiteY264" fmla="*/ 3166 h 10000"/>
                <a:gd name="connsiteX265" fmla="*/ 3040 w 10000"/>
                <a:gd name="connsiteY265" fmla="*/ 3225 h 10000"/>
                <a:gd name="connsiteX266" fmla="*/ 3271 w 10000"/>
                <a:gd name="connsiteY266" fmla="*/ 3392 h 10000"/>
                <a:gd name="connsiteX267" fmla="*/ 3197 w 10000"/>
                <a:gd name="connsiteY267" fmla="*/ 3573 h 10000"/>
                <a:gd name="connsiteX268" fmla="*/ 3062 w 10000"/>
                <a:gd name="connsiteY268" fmla="*/ 3640 h 10000"/>
                <a:gd name="connsiteX269" fmla="*/ 2657 w 10000"/>
                <a:gd name="connsiteY269" fmla="*/ 3595 h 10000"/>
                <a:gd name="connsiteX270" fmla="*/ 2378 w 10000"/>
                <a:gd name="connsiteY270" fmla="*/ 3620 h 10000"/>
                <a:gd name="connsiteX271" fmla="*/ 2152 w 10000"/>
                <a:gd name="connsiteY271" fmla="*/ 3673 h 10000"/>
                <a:gd name="connsiteX272" fmla="*/ 1790 w 10000"/>
                <a:gd name="connsiteY272" fmla="*/ 3840 h 10000"/>
                <a:gd name="connsiteX273" fmla="*/ 1598 w 10000"/>
                <a:gd name="connsiteY273" fmla="*/ 4042 h 10000"/>
                <a:gd name="connsiteX274" fmla="*/ 1616 w 10000"/>
                <a:gd name="connsiteY274" fmla="*/ 4154 h 10000"/>
                <a:gd name="connsiteX275" fmla="*/ 1681 w 10000"/>
                <a:gd name="connsiteY275" fmla="*/ 4241 h 10000"/>
                <a:gd name="connsiteX276" fmla="*/ 1733 w 10000"/>
                <a:gd name="connsiteY276" fmla="*/ 4276 h 10000"/>
                <a:gd name="connsiteX277" fmla="*/ 1638 w 10000"/>
                <a:gd name="connsiteY277" fmla="*/ 4331 h 10000"/>
                <a:gd name="connsiteX278" fmla="*/ 1433 w 10000"/>
                <a:gd name="connsiteY278" fmla="*/ 4710 h 10000"/>
                <a:gd name="connsiteX279" fmla="*/ 1472 w 10000"/>
                <a:gd name="connsiteY279" fmla="*/ 4732 h 10000"/>
                <a:gd name="connsiteX280" fmla="*/ 1503 w 10000"/>
                <a:gd name="connsiteY280" fmla="*/ 4828 h 10000"/>
                <a:gd name="connsiteX281" fmla="*/ 1407 w 10000"/>
                <a:gd name="connsiteY281" fmla="*/ 5227 h 10000"/>
                <a:gd name="connsiteX282" fmla="*/ 1503 w 10000"/>
                <a:gd name="connsiteY282" fmla="*/ 5329 h 10000"/>
                <a:gd name="connsiteX283" fmla="*/ 1764 w 10000"/>
                <a:gd name="connsiteY283" fmla="*/ 5441 h 10000"/>
                <a:gd name="connsiteX284" fmla="*/ 1777 w 10000"/>
                <a:gd name="connsiteY284" fmla="*/ 5578 h 10000"/>
                <a:gd name="connsiteX285" fmla="*/ 1664 w 10000"/>
                <a:gd name="connsiteY285" fmla="*/ 5690 h 10000"/>
                <a:gd name="connsiteX286" fmla="*/ 1503 w 10000"/>
                <a:gd name="connsiteY286" fmla="*/ 5759 h 10000"/>
                <a:gd name="connsiteX287" fmla="*/ 1289 w 10000"/>
                <a:gd name="connsiteY287" fmla="*/ 5787 h 10000"/>
                <a:gd name="connsiteX288" fmla="*/ 1233 w 10000"/>
                <a:gd name="connsiteY288" fmla="*/ 5826 h 10000"/>
                <a:gd name="connsiteX289" fmla="*/ 1359 w 10000"/>
                <a:gd name="connsiteY289" fmla="*/ 5920 h 10000"/>
                <a:gd name="connsiteX290" fmla="*/ 1429 w 10000"/>
                <a:gd name="connsiteY290" fmla="*/ 6142 h 10000"/>
                <a:gd name="connsiteX291" fmla="*/ 1267 w 10000"/>
                <a:gd name="connsiteY291" fmla="*/ 6333 h 10000"/>
                <a:gd name="connsiteX292" fmla="*/ 1324 w 10000"/>
                <a:gd name="connsiteY292" fmla="*/ 6392 h 10000"/>
                <a:gd name="connsiteX293" fmla="*/ 1272 w 10000"/>
                <a:gd name="connsiteY293" fmla="*/ 6492 h 10000"/>
                <a:gd name="connsiteX294" fmla="*/ 1167 w 10000"/>
                <a:gd name="connsiteY294" fmla="*/ 6561 h 10000"/>
                <a:gd name="connsiteX295" fmla="*/ 758 w 10000"/>
                <a:gd name="connsiteY295" fmla="*/ 6614 h 10000"/>
                <a:gd name="connsiteX296" fmla="*/ 732 w 10000"/>
                <a:gd name="connsiteY296" fmla="*/ 6706 h 10000"/>
                <a:gd name="connsiteX297" fmla="*/ 510 w 10000"/>
                <a:gd name="connsiteY297" fmla="*/ 6843 h 10000"/>
                <a:gd name="connsiteX298" fmla="*/ 540 w 10000"/>
                <a:gd name="connsiteY298" fmla="*/ 7040 h 10000"/>
                <a:gd name="connsiteX299" fmla="*/ 353 w 10000"/>
                <a:gd name="connsiteY299" fmla="*/ 7293 h 10000"/>
                <a:gd name="connsiteX300" fmla="*/ 226 w 10000"/>
                <a:gd name="connsiteY300" fmla="*/ 7323 h 10000"/>
                <a:gd name="connsiteX301" fmla="*/ 174 w 10000"/>
                <a:gd name="connsiteY301" fmla="*/ 7262 h 10000"/>
                <a:gd name="connsiteX302" fmla="*/ 109 w 10000"/>
                <a:gd name="connsiteY302" fmla="*/ 7354 h 10000"/>
                <a:gd name="connsiteX303" fmla="*/ 152 w 10000"/>
                <a:gd name="connsiteY303" fmla="*/ 7197 h 10000"/>
                <a:gd name="connsiteX304" fmla="*/ 126 w 10000"/>
                <a:gd name="connsiteY304" fmla="*/ 7166 h 10000"/>
                <a:gd name="connsiteX0" fmla="*/ 126 w 9948"/>
                <a:gd name="connsiteY0" fmla="*/ 7166 h 10000"/>
                <a:gd name="connsiteX1" fmla="*/ 0 w 9948"/>
                <a:gd name="connsiteY1" fmla="*/ 7248 h 10000"/>
                <a:gd name="connsiteX2" fmla="*/ 0 w 9948"/>
                <a:gd name="connsiteY2" fmla="*/ 7651 h 10000"/>
                <a:gd name="connsiteX3" fmla="*/ 70 w 9948"/>
                <a:gd name="connsiteY3" fmla="*/ 7663 h 10000"/>
                <a:gd name="connsiteX4" fmla="*/ 87 w 9948"/>
                <a:gd name="connsiteY4" fmla="*/ 7694 h 10000"/>
                <a:gd name="connsiteX5" fmla="*/ 83 w 9948"/>
                <a:gd name="connsiteY5" fmla="*/ 7749 h 10000"/>
                <a:gd name="connsiteX6" fmla="*/ 57 w 9948"/>
                <a:gd name="connsiteY6" fmla="*/ 7773 h 10000"/>
                <a:gd name="connsiteX7" fmla="*/ 161 w 9948"/>
                <a:gd name="connsiteY7" fmla="*/ 7727 h 10000"/>
                <a:gd name="connsiteX8" fmla="*/ 205 w 9948"/>
                <a:gd name="connsiteY8" fmla="*/ 7680 h 10000"/>
                <a:gd name="connsiteX9" fmla="*/ 261 w 9948"/>
                <a:gd name="connsiteY9" fmla="*/ 7712 h 10000"/>
                <a:gd name="connsiteX10" fmla="*/ 200 w 9948"/>
                <a:gd name="connsiteY10" fmla="*/ 7778 h 10000"/>
                <a:gd name="connsiteX11" fmla="*/ 266 w 9948"/>
                <a:gd name="connsiteY11" fmla="*/ 7780 h 10000"/>
                <a:gd name="connsiteX12" fmla="*/ 296 w 9948"/>
                <a:gd name="connsiteY12" fmla="*/ 7796 h 10000"/>
                <a:gd name="connsiteX13" fmla="*/ 213 w 9948"/>
                <a:gd name="connsiteY13" fmla="*/ 7818 h 10000"/>
                <a:gd name="connsiteX14" fmla="*/ 83 w 9948"/>
                <a:gd name="connsiteY14" fmla="*/ 7886 h 10000"/>
                <a:gd name="connsiteX15" fmla="*/ 314 w 9948"/>
                <a:gd name="connsiteY15" fmla="*/ 7938 h 10000"/>
                <a:gd name="connsiteX16" fmla="*/ 344 w 9948"/>
                <a:gd name="connsiteY16" fmla="*/ 8014 h 10000"/>
                <a:gd name="connsiteX17" fmla="*/ 266 w 9948"/>
                <a:gd name="connsiteY17" fmla="*/ 8126 h 10000"/>
                <a:gd name="connsiteX18" fmla="*/ 436 w 9948"/>
                <a:gd name="connsiteY18" fmla="*/ 8118 h 10000"/>
                <a:gd name="connsiteX19" fmla="*/ 449 w 9948"/>
                <a:gd name="connsiteY19" fmla="*/ 8203 h 10000"/>
                <a:gd name="connsiteX20" fmla="*/ 335 w 9948"/>
                <a:gd name="connsiteY20" fmla="*/ 8260 h 10000"/>
                <a:gd name="connsiteX21" fmla="*/ 353 w 9948"/>
                <a:gd name="connsiteY21" fmla="*/ 8370 h 10000"/>
                <a:gd name="connsiteX22" fmla="*/ 309 w 9948"/>
                <a:gd name="connsiteY22" fmla="*/ 8456 h 10000"/>
                <a:gd name="connsiteX23" fmla="*/ 444 w 9948"/>
                <a:gd name="connsiteY23" fmla="*/ 8464 h 10000"/>
                <a:gd name="connsiteX24" fmla="*/ 575 w 9948"/>
                <a:gd name="connsiteY24" fmla="*/ 8792 h 10000"/>
                <a:gd name="connsiteX25" fmla="*/ 727 w 9948"/>
                <a:gd name="connsiteY25" fmla="*/ 8876 h 10000"/>
                <a:gd name="connsiteX26" fmla="*/ 793 w 9948"/>
                <a:gd name="connsiteY26" fmla="*/ 8965 h 10000"/>
                <a:gd name="connsiteX27" fmla="*/ 958 w 9948"/>
                <a:gd name="connsiteY27" fmla="*/ 9030 h 10000"/>
                <a:gd name="connsiteX28" fmla="*/ 1063 w 9948"/>
                <a:gd name="connsiteY28" fmla="*/ 9112 h 10000"/>
                <a:gd name="connsiteX29" fmla="*/ 1050 w 9948"/>
                <a:gd name="connsiteY29" fmla="*/ 9171 h 10000"/>
                <a:gd name="connsiteX30" fmla="*/ 945 w 9948"/>
                <a:gd name="connsiteY30" fmla="*/ 9193 h 10000"/>
                <a:gd name="connsiteX31" fmla="*/ 832 w 9948"/>
                <a:gd name="connsiteY31" fmla="*/ 9179 h 10000"/>
                <a:gd name="connsiteX32" fmla="*/ 797 w 9948"/>
                <a:gd name="connsiteY32" fmla="*/ 9204 h 10000"/>
                <a:gd name="connsiteX33" fmla="*/ 884 w 9948"/>
                <a:gd name="connsiteY33" fmla="*/ 9332 h 10000"/>
                <a:gd name="connsiteX34" fmla="*/ 762 w 9948"/>
                <a:gd name="connsiteY34" fmla="*/ 9322 h 10000"/>
                <a:gd name="connsiteX35" fmla="*/ 658 w 9948"/>
                <a:gd name="connsiteY35" fmla="*/ 9291 h 10000"/>
                <a:gd name="connsiteX36" fmla="*/ 640 w 9948"/>
                <a:gd name="connsiteY36" fmla="*/ 9338 h 10000"/>
                <a:gd name="connsiteX37" fmla="*/ 984 w 9948"/>
                <a:gd name="connsiteY37" fmla="*/ 9776 h 10000"/>
                <a:gd name="connsiteX38" fmla="*/ 928 w 9948"/>
                <a:gd name="connsiteY38" fmla="*/ 9817 h 10000"/>
                <a:gd name="connsiteX39" fmla="*/ 889 w 9948"/>
                <a:gd name="connsiteY39" fmla="*/ 9902 h 10000"/>
                <a:gd name="connsiteX40" fmla="*/ 841 w 9948"/>
                <a:gd name="connsiteY40" fmla="*/ 9908 h 10000"/>
                <a:gd name="connsiteX41" fmla="*/ 810 w 9948"/>
                <a:gd name="connsiteY41" fmla="*/ 9945 h 10000"/>
                <a:gd name="connsiteX42" fmla="*/ 1019 w 9948"/>
                <a:gd name="connsiteY42" fmla="*/ 9949 h 10000"/>
                <a:gd name="connsiteX43" fmla="*/ 1202 w 9948"/>
                <a:gd name="connsiteY43" fmla="*/ 9986 h 10000"/>
                <a:gd name="connsiteX44" fmla="*/ 1507 w 9948"/>
                <a:gd name="connsiteY44" fmla="*/ 9947 h 10000"/>
                <a:gd name="connsiteX45" fmla="*/ 1781 w 9948"/>
                <a:gd name="connsiteY45" fmla="*/ 9953 h 10000"/>
                <a:gd name="connsiteX46" fmla="*/ 1943 w 9948"/>
                <a:gd name="connsiteY46" fmla="*/ 10000 h 10000"/>
                <a:gd name="connsiteX47" fmla="*/ 2030 w 9948"/>
                <a:gd name="connsiteY47" fmla="*/ 9969 h 10000"/>
                <a:gd name="connsiteX48" fmla="*/ 2117 w 9948"/>
                <a:gd name="connsiteY48" fmla="*/ 9868 h 10000"/>
                <a:gd name="connsiteX49" fmla="*/ 2095 w 9948"/>
                <a:gd name="connsiteY49" fmla="*/ 9703 h 10000"/>
                <a:gd name="connsiteX50" fmla="*/ 2304 w 9948"/>
                <a:gd name="connsiteY50" fmla="*/ 9517 h 10000"/>
                <a:gd name="connsiteX51" fmla="*/ 2456 w 9948"/>
                <a:gd name="connsiteY51" fmla="*/ 9546 h 10000"/>
                <a:gd name="connsiteX52" fmla="*/ 2544 w 9948"/>
                <a:gd name="connsiteY52" fmla="*/ 9472 h 10000"/>
                <a:gd name="connsiteX53" fmla="*/ 2713 w 9948"/>
                <a:gd name="connsiteY53" fmla="*/ 9430 h 10000"/>
                <a:gd name="connsiteX54" fmla="*/ 2944 w 9948"/>
                <a:gd name="connsiteY54" fmla="*/ 9440 h 10000"/>
                <a:gd name="connsiteX55" fmla="*/ 3084 w 9948"/>
                <a:gd name="connsiteY55" fmla="*/ 9470 h 10000"/>
                <a:gd name="connsiteX56" fmla="*/ 3267 w 9948"/>
                <a:gd name="connsiteY56" fmla="*/ 9456 h 10000"/>
                <a:gd name="connsiteX57" fmla="*/ 3454 w 9948"/>
                <a:gd name="connsiteY57" fmla="*/ 9489 h 10000"/>
                <a:gd name="connsiteX58" fmla="*/ 3641 w 9948"/>
                <a:gd name="connsiteY58" fmla="*/ 9493 h 10000"/>
                <a:gd name="connsiteX59" fmla="*/ 4059 w 9948"/>
                <a:gd name="connsiteY59" fmla="*/ 9061 h 10000"/>
                <a:gd name="connsiteX60" fmla="*/ 4164 w 9948"/>
                <a:gd name="connsiteY60" fmla="*/ 8711 h 10000"/>
                <a:gd name="connsiteX61" fmla="*/ 4334 w 9948"/>
                <a:gd name="connsiteY61" fmla="*/ 8554 h 10000"/>
                <a:gd name="connsiteX62" fmla="*/ 4334 w 9948"/>
                <a:gd name="connsiteY62" fmla="*/ 8472 h 10000"/>
                <a:gd name="connsiteX63" fmla="*/ 4273 w 9948"/>
                <a:gd name="connsiteY63" fmla="*/ 8425 h 10000"/>
                <a:gd name="connsiteX64" fmla="*/ 4373 w 9948"/>
                <a:gd name="connsiteY64" fmla="*/ 8352 h 10000"/>
                <a:gd name="connsiteX65" fmla="*/ 4355 w 9948"/>
                <a:gd name="connsiteY65" fmla="*/ 8289 h 10000"/>
                <a:gd name="connsiteX66" fmla="*/ 4286 w 9948"/>
                <a:gd name="connsiteY66" fmla="*/ 8236 h 10000"/>
                <a:gd name="connsiteX67" fmla="*/ 4273 w 9948"/>
                <a:gd name="connsiteY67" fmla="*/ 8199 h 10000"/>
                <a:gd name="connsiteX68" fmla="*/ 4290 w 9948"/>
                <a:gd name="connsiteY68" fmla="*/ 8169 h 10000"/>
                <a:gd name="connsiteX69" fmla="*/ 4382 w 9948"/>
                <a:gd name="connsiteY69" fmla="*/ 8193 h 10000"/>
                <a:gd name="connsiteX70" fmla="*/ 4456 w 9948"/>
                <a:gd name="connsiteY70" fmla="*/ 8191 h 10000"/>
                <a:gd name="connsiteX71" fmla="*/ 4416 w 9948"/>
                <a:gd name="connsiteY71" fmla="*/ 8140 h 10000"/>
                <a:gd name="connsiteX72" fmla="*/ 4429 w 9948"/>
                <a:gd name="connsiteY72" fmla="*/ 8112 h 10000"/>
                <a:gd name="connsiteX73" fmla="*/ 4482 w 9948"/>
                <a:gd name="connsiteY73" fmla="*/ 8069 h 10000"/>
                <a:gd name="connsiteX74" fmla="*/ 4473 w 9948"/>
                <a:gd name="connsiteY74" fmla="*/ 8034 h 10000"/>
                <a:gd name="connsiteX75" fmla="*/ 4521 w 9948"/>
                <a:gd name="connsiteY75" fmla="*/ 7916 h 10000"/>
                <a:gd name="connsiteX76" fmla="*/ 4508 w 9948"/>
                <a:gd name="connsiteY76" fmla="*/ 7881 h 10000"/>
                <a:gd name="connsiteX77" fmla="*/ 4255 w 9948"/>
                <a:gd name="connsiteY77" fmla="*/ 7792 h 10000"/>
                <a:gd name="connsiteX78" fmla="*/ 4290 w 9948"/>
                <a:gd name="connsiteY78" fmla="*/ 7788 h 10000"/>
                <a:gd name="connsiteX79" fmla="*/ 4425 w 9948"/>
                <a:gd name="connsiteY79" fmla="*/ 7812 h 10000"/>
                <a:gd name="connsiteX80" fmla="*/ 4569 w 9948"/>
                <a:gd name="connsiteY80" fmla="*/ 7804 h 10000"/>
                <a:gd name="connsiteX81" fmla="*/ 4612 w 9948"/>
                <a:gd name="connsiteY81" fmla="*/ 7771 h 10000"/>
                <a:gd name="connsiteX82" fmla="*/ 4473 w 9948"/>
                <a:gd name="connsiteY82" fmla="*/ 7710 h 10000"/>
                <a:gd name="connsiteX83" fmla="*/ 4055 w 9948"/>
                <a:gd name="connsiteY83" fmla="*/ 7670 h 10000"/>
                <a:gd name="connsiteX84" fmla="*/ 4085 w 9948"/>
                <a:gd name="connsiteY84" fmla="*/ 7651 h 10000"/>
                <a:gd name="connsiteX85" fmla="*/ 4425 w 9948"/>
                <a:gd name="connsiteY85" fmla="*/ 7639 h 10000"/>
                <a:gd name="connsiteX86" fmla="*/ 4612 w 9948"/>
                <a:gd name="connsiteY86" fmla="*/ 7676 h 10000"/>
                <a:gd name="connsiteX87" fmla="*/ 4721 w 9948"/>
                <a:gd name="connsiteY87" fmla="*/ 7651 h 10000"/>
                <a:gd name="connsiteX88" fmla="*/ 4760 w 9948"/>
                <a:gd name="connsiteY88" fmla="*/ 7588 h 10000"/>
                <a:gd name="connsiteX89" fmla="*/ 4956 w 9948"/>
                <a:gd name="connsiteY89" fmla="*/ 7588 h 10000"/>
                <a:gd name="connsiteX90" fmla="*/ 5222 w 9948"/>
                <a:gd name="connsiteY90" fmla="*/ 7462 h 10000"/>
                <a:gd name="connsiteX91" fmla="*/ 5231 w 9948"/>
                <a:gd name="connsiteY91" fmla="*/ 7378 h 10000"/>
                <a:gd name="connsiteX92" fmla="*/ 5344 w 9948"/>
                <a:gd name="connsiteY92" fmla="*/ 7397 h 10000"/>
                <a:gd name="connsiteX93" fmla="*/ 5340 w 9948"/>
                <a:gd name="connsiteY93" fmla="*/ 7482 h 10000"/>
                <a:gd name="connsiteX94" fmla="*/ 5518 w 9948"/>
                <a:gd name="connsiteY94" fmla="*/ 7476 h 10000"/>
                <a:gd name="connsiteX95" fmla="*/ 5636 w 9948"/>
                <a:gd name="connsiteY95" fmla="*/ 7388 h 10000"/>
                <a:gd name="connsiteX96" fmla="*/ 5854 w 9948"/>
                <a:gd name="connsiteY96" fmla="*/ 7309 h 10000"/>
                <a:gd name="connsiteX97" fmla="*/ 5819 w 9948"/>
                <a:gd name="connsiteY97" fmla="*/ 7219 h 10000"/>
                <a:gd name="connsiteX98" fmla="*/ 5884 w 9948"/>
                <a:gd name="connsiteY98" fmla="*/ 7254 h 10000"/>
                <a:gd name="connsiteX99" fmla="*/ 5984 w 9948"/>
                <a:gd name="connsiteY99" fmla="*/ 7254 h 10000"/>
                <a:gd name="connsiteX100" fmla="*/ 5984 w 9948"/>
                <a:gd name="connsiteY100" fmla="*/ 7213 h 10000"/>
                <a:gd name="connsiteX101" fmla="*/ 6076 w 9948"/>
                <a:gd name="connsiteY101" fmla="*/ 7181 h 10000"/>
                <a:gd name="connsiteX102" fmla="*/ 6063 w 9948"/>
                <a:gd name="connsiteY102" fmla="*/ 7148 h 10000"/>
                <a:gd name="connsiteX103" fmla="*/ 5279 w 9948"/>
                <a:gd name="connsiteY103" fmla="*/ 7215 h 10000"/>
                <a:gd name="connsiteX104" fmla="*/ 5096 w 9948"/>
                <a:gd name="connsiteY104" fmla="*/ 7195 h 10000"/>
                <a:gd name="connsiteX105" fmla="*/ 5022 w 9948"/>
                <a:gd name="connsiteY105" fmla="*/ 7219 h 10000"/>
                <a:gd name="connsiteX106" fmla="*/ 4996 w 9948"/>
                <a:gd name="connsiteY106" fmla="*/ 7173 h 10000"/>
                <a:gd name="connsiteX107" fmla="*/ 4909 w 9948"/>
                <a:gd name="connsiteY107" fmla="*/ 7132 h 10000"/>
                <a:gd name="connsiteX108" fmla="*/ 4560 w 9948"/>
                <a:gd name="connsiteY108" fmla="*/ 7052 h 10000"/>
                <a:gd name="connsiteX109" fmla="*/ 4355 w 9948"/>
                <a:gd name="connsiteY109" fmla="*/ 7065 h 10000"/>
                <a:gd name="connsiteX110" fmla="*/ 4273 w 9948"/>
                <a:gd name="connsiteY110" fmla="*/ 7042 h 10000"/>
                <a:gd name="connsiteX111" fmla="*/ 4360 w 9948"/>
                <a:gd name="connsiteY111" fmla="*/ 7022 h 10000"/>
                <a:gd name="connsiteX112" fmla="*/ 4425 w 9948"/>
                <a:gd name="connsiteY112" fmla="*/ 6979 h 10000"/>
                <a:gd name="connsiteX113" fmla="*/ 4521 w 9948"/>
                <a:gd name="connsiteY113" fmla="*/ 6993 h 10000"/>
                <a:gd name="connsiteX114" fmla="*/ 4639 w 9948"/>
                <a:gd name="connsiteY114" fmla="*/ 6981 h 10000"/>
                <a:gd name="connsiteX115" fmla="*/ 4813 w 9948"/>
                <a:gd name="connsiteY115" fmla="*/ 6995 h 10000"/>
                <a:gd name="connsiteX116" fmla="*/ 4834 w 9948"/>
                <a:gd name="connsiteY116" fmla="*/ 6989 h 10000"/>
                <a:gd name="connsiteX117" fmla="*/ 4970 w 9948"/>
                <a:gd name="connsiteY117" fmla="*/ 7056 h 10000"/>
                <a:gd name="connsiteX118" fmla="*/ 5070 w 9948"/>
                <a:gd name="connsiteY118" fmla="*/ 7032 h 10000"/>
                <a:gd name="connsiteX119" fmla="*/ 5078 w 9948"/>
                <a:gd name="connsiteY119" fmla="*/ 7010 h 10000"/>
                <a:gd name="connsiteX120" fmla="*/ 5170 w 9948"/>
                <a:gd name="connsiteY120" fmla="*/ 7048 h 10000"/>
                <a:gd name="connsiteX121" fmla="*/ 5292 w 9948"/>
                <a:gd name="connsiteY121" fmla="*/ 7069 h 10000"/>
                <a:gd name="connsiteX122" fmla="*/ 5340 w 9948"/>
                <a:gd name="connsiteY122" fmla="*/ 7030 h 10000"/>
                <a:gd name="connsiteX123" fmla="*/ 5379 w 9948"/>
                <a:gd name="connsiteY123" fmla="*/ 7052 h 10000"/>
                <a:gd name="connsiteX124" fmla="*/ 5436 w 9948"/>
                <a:gd name="connsiteY124" fmla="*/ 7126 h 10000"/>
                <a:gd name="connsiteX125" fmla="*/ 5553 w 9948"/>
                <a:gd name="connsiteY125" fmla="*/ 7144 h 10000"/>
                <a:gd name="connsiteX126" fmla="*/ 6032 w 9948"/>
                <a:gd name="connsiteY126" fmla="*/ 7034 h 10000"/>
                <a:gd name="connsiteX127" fmla="*/ 6267 w 9948"/>
                <a:gd name="connsiteY127" fmla="*/ 6879 h 10000"/>
                <a:gd name="connsiteX128" fmla="*/ 6324 w 9948"/>
                <a:gd name="connsiteY128" fmla="*/ 6765 h 10000"/>
                <a:gd name="connsiteX129" fmla="*/ 6237 w 9948"/>
                <a:gd name="connsiteY129" fmla="*/ 6663 h 10000"/>
                <a:gd name="connsiteX130" fmla="*/ 6058 w 9948"/>
                <a:gd name="connsiteY130" fmla="*/ 6602 h 10000"/>
                <a:gd name="connsiteX131" fmla="*/ 5932 w 9948"/>
                <a:gd name="connsiteY131" fmla="*/ 6502 h 10000"/>
                <a:gd name="connsiteX132" fmla="*/ 6050 w 9948"/>
                <a:gd name="connsiteY132" fmla="*/ 6498 h 10000"/>
                <a:gd name="connsiteX133" fmla="*/ 6041 w 9948"/>
                <a:gd name="connsiteY133" fmla="*/ 6474 h 10000"/>
                <a:gd name="connsiteX134" fmla="*/ 5732 w 9948"/>
                <a:gd name="connsiteY134" fmla="*/ 6403 h 10000"/>
                <a:gd name="connsiteX135" fmla="*/ 5719 w 9948"/>
                <a:gd name="connsiteY135" fmla="*/ 6339 h 10000"/>
                <a:gd name="connsiteX136" fmla="*/ 5662 w 9948"/>
                <a:gd name="connsiteY136" fmla="*/ 6272 h 10000"/>
                <a:gd name="connsiteX137" fmla="*/ 5418 w 9948"/>
                <a:gd name="connsiteY137" fmla="*/ 6284 h 10000"/>
                <a:gd name="connsiteX138" fmla="*/ 5331 w 9948"/>
                <a:gd name="connsiteY138" fmla="*/ 6213 h 10000"/>
                <a:gd name="connsiteX139" fmla="*/ 5279 w 9948"/>
                <a:gd name="connsiteY139" fmla="*/ 6209 h 10000"/>
                <a:gd name="connsiteX140" fmla="*/ 5279 w 9948"/>
                <a:gd name="connsiteY140" fmla="*/ 6238 h 10000"/>
                <a:gd name="connsiteX141" fmla="*/ 5170 w 9948"/>
                <a:gd name="connsiteY141" fmla="*/ 6358 h 10000"/>
                <a:gd name="connsiteX142" fmla="*/ 5052 w 9948"/>
                <a:gd name="connsiteY142" fmla="*/ 6429 h 10000"/>
                <a:gd name="connsiteX143" fmla="*/ 4682 w 9948"/>
                <a:gd name="connsiteY143" fmla="*/ 6551 h 10000"/>
                <a:gd name="connsiteX144" fmla="*/ 4551 w 9948"/>
                <a:gd name="connsiteY144" fmla="*/ 6547 h 10000"/>
                <a:gd name="connsiteX145" fmla="*/ 4373 w 9948"/>
                <a:gd name="connsiteY145" fmla="*/ 6565 h 10000"/>
                <a:gd name="connsiteX146" fmla="*/ 4273 w 9948"/>
                <a:gd name="connsiteY146" fmla="*/ 6547 h 10000"/>
                <a:gd name="connsiteX147" fmla="*/ 4403 w 9948"/>
                <a:gd name="connsiteY147" fmla="*/ 6513 h 10000"/>
                <a:gd name="connsiteX148" fmla="*/ 4573 w 9948"/>
                <a:gd name="connsiteY148" fmla="*/ 6498 h 10000"/>
                <a:gd name="connsiteX149" fmla="*/ 4713 w 9948"/>
                <a:gd name="connsiteY149" fmla="*/ 6441 h 10000"/>
                <a:gd name="connsiteX150" fmla="*/ 4852 w 9948"/>
                <a:gd name="connsiteY150" fmla="*/ 6415 h 10000"/>
                <a:gd name="connsiteX151" fmla="*/ 5109 w 9948"/>
                <a:gd name="connsiteY151" fmla="*/ 6317 h 10000"/>
                <a:gd name="connsiteX152" fmla="*/ 5157 w 9948"/>
                <a:gd name="connsiteY152" fmla="*/ 6252 h 10000"/>
                <a:gd name="connsiteX153" fmla="*/ 5161 w 9948"/>
                <a:gd name="connsiteY153" fmla="*/ 6168 h 10000"/>
                <a:gd name="connsiteX154" fmla="*/ 5044 w 9948"/>
                <a:gd name="connsiteY154" fmla="*/ 6154 h 10000"/>
                <a:gd name="connsiteX155" fmla="*/ 5096 w 9948"/>
                <a:gd name="connsiteY155" fmla="*/ 6103 h 10000"/>
                <a:gd name="connsiteX156" fmla="*/ 5113 w 9948"/>
                <a:gd name="connsiteY156" fmla="*/ 6038 h 10000"/>
                <a:gd name="connsiteX157" fmla="*/ 5065 w 9948"/>
                <a:gd name="connsiteY157" fmla="*/ 5977 h 10000"/>
                <a:gd name="connsiteX158" fmla="*/ 5035 w 9948"/>
                <a:gd name="connsiteY158" fmla="*/ 5533 h 10000"/>
                <a:gd name="connsiteX159" fmla="*/ 5105 w 9948"/>
                <a:gd name="connsiteY159" fmla="*/ 5437 h 10000"/>
                <a:gd name="connsiteX160" fmla="*/ 5087 w 9948"/>
                <a:gd name="connsiteY160" fmla="*/ 5398 h 10000"/>
                <a:gd name="connsiteX161" fmla="*/ 5292 w 9948"/>
                <a:gd name="connsiteY161" fmla="*/ 5455 h 10000"/>
                <a:gd name="connsiteX162" fmla="*/ 5305 w 9948"/>
                <a:gd name="connsiteY162" fmla="*/ 5402 h 10000"/>
                <a:gd name="connsiteX163" fmla="*/ 5261 w 9948"/>
                <a:gd name="connsiteY163" fmla="*/ 5264 h 10000"/>
                <a:gd name="connsiteX164" fmla="*/ 5409 w 9948"/>
                <a:gd name="connsiteY164" fmla="*/ 5019 h 10000"/>
                <a:gd name="connsiteX165" fmla="*/ 5318 w 9948"/>
                <a:gd name="connsiteY165" fmla="*/ 4960 h 10000"/>
                <a:gd name="connsiteX166" fmla="*/ 5283 w 9948"/>
                <a:gd name="connsiteY166" fmla="*/ 4905 h 10000"/>
                <a:gd name="connsiteX167" fmla="*/ 5296 w 9948"/>
                <a:gd name="connsiteY167" fmla="*/ 4816 h 10000"/>
                <a:gd name="connsiteX168" fmla="*/ 5510 w 9948"/>
                <a:gd name="connsiteY168" fmla="*/ 4875 h 10000"/>
                <a:gd name="connsiteX169" fmla="*/ 5518 w 9948"/>
                <a:gd name="connsiteY169" fmla="*/ 4858 h 10000"/>
                <a:gd name="connsiteX170" fmla="*/ 5579 w 9948"/>
                <a:gd name="connsiteY170" fmla="*/ 4842 h 10000"/>
                <a:gd name="connsiteX171" fmla="*/ 5662 w 9948"/>
                <a:gd name="connsiteY171" fmla="*/ 4785 h 10000"/>
                <a:gd name="connsiteX172" fmla="*/ 5675 w 9948"/>
                <a:gd name="connsiteY172" fmla="*/ 4769 h 10000"/>
                <a:gd name="connsiteX173" fmla="*/ 5658 w 9948"/>
                <a:gd name="connsiteY173" fmla="*/ 4748 h 10000"/>
                <a:gd name="connsiteX174" fmla="*/ 5701 w 9948"/>
                <a:gd name="connsiteY174" fmla="*/ 4647 h 10000"/>
                <a:gd name="connsiteX175" fmla="*/ 5649 w 9948"/>
                <a:gd name="connsiteY175" fmla="*/ 4581 h 10000"/>
                <a:gd name="connsiteX176" fmla="*/ 5658 w 9948"/>
                <a:gd name="connsiteY176" fmla="*/ 4528 h 10000"/>
                <a:gd name="connsiteX177" fmla="*/ 5688 w 9948"/>
                <a:gd name="connsiteY177" fmla="*/ 4590 h 10000"/>
                <a:gd name="connsiteX178" fmla="*/ 5806 w 9948"/>
                <a:gd name="connsiteY178" fmla="*/ 4636 h 10000"/>
                <a:gd name="connsiteX179" fmla="*/ 5854 w 9948"/>
                <a:gd name="connsiteY179" fmla="*/ 4630 h 10000"/>
                <a:gd name="connsiteX180" fmla="*/ 5932 w 9948"/>
                <a:gd name="connsiteY180" fmla="*/ 4569 h 10000"/>
                <a:gd name="connsiteX181" fmla="*/ 6015 w 9948"/>
                <a:gd name="connsiteY181" fmla="*/ 4594 h 10000"/>
                <a:gd name="connsiteX182" fmla="*/ 6037 w 9948"/>
                <a:gd name="connsiteY182" fmla="*/ 4545 h 10000"/>
                <a:gd name="connsiteX183" fmla="*/ 6093 w 9948"/>
                <a:gd name="connsiteY183" fmla="*/ 4512 h 10000"/>
                <a:gd name="connsiteX184" fmla="*/ 5941 w 9948"/>
                <a:gd name="connsiteY184" fmla="*/ 4477 h 10000"/>
                <a:gd name="connsiteX185" fmla="*/ 6050 w 9948"/>
                <a:gd name="connsiteY185" fmla="*/ 4484 h 10000"/>
                <a:gd name="connsiteX186" fmla="*/ 6163 w 9948"/>
                <a:gd name="connsiteY186" fmla="*/ 4447 h 10000"/>
                <a:gd name="connsiteX187" fmla="*/ 6159 w 9948"/>
                <a:gd name="connsiteY187" fmla="*/ 4422 h 10000"/>
                <a:gd name="connsiteX188" fmla="*/ 6263 w 9948"/>
                <a:gd name="connsiteY188" fmla="*/ 4398 h 10000"/>
                <a:gd name="connsiteX189" fmla="*/ 6272 w 9948"/>
                <a:gd name="connsiteY189" fmla="*/ 4337 h 10000"/>
                <a:gd name="connsiteX190" fmla="*/ 6355 w 9948"/>
                <a:gd name="connsiteY190" fmla="*/ 4325 h 10000"/>
                <a:gd name="connsiteX191" fmla="*/ 6363 w 9948"/>
                <a:gd name="connsiteY191" fmla="*/ 4253 h 10000"/>
                <a:gd name="connsiteX192" fmla="*/ 6450 w 9948"/>
                <a:gd name="connsiteY192" fmla="*/ 4245 h 10000"/>
                <a:gd name="connsiteX193" fmla="*/ 6585 w 9948"/>
                <a:gd name="connsiteY193" fmla="*/ 4260 h 10000"/>
                <a:gd name="connsiteX194" fmla="*/ 6733 w 9948"/>
                <a:gd name="connsiteY194" fmla="*/ 4202 h 10000"/>
                <a:gd name="connsiteX195" fmla="*/ 6786 w 9948"/>
                <a:gd name="connsiteY195" fmla="*/ 4137 h 10000"/>
                <a:gd name="connsiteX196" fmla="*/ 6969 w 9948"/>
                <a:gd name="connsiteY196" fmla="*/ 4070 h 10000"/>
                <a:gd name="connsiteX197" fmla="*/ 7060 w 9948"/>
                <a:gd name="connsiteY197" fmla="*/ 4111 h 10000"/>
                <a:gd name="connsiteX198" fmla="*/ 7199 w 9948"/>
                <a:gd name="connsiteY198" fmla="*/ 4066 h 10000"/>
                <a:gd name="connsiteX199" fmla="*/ 7234 w 9948"/>
                <a:gd name="connsiteY199" fmla="*/ 4009 h 10000"/>
                <a:gd name="connsiteX200" fmla="*/ 7339 w 9948"/>
                <a:gd name="connsiteY200" fmla="*/ 3970 h 10000"/>
                <a:gd name="connsiteX201" fmla="*/ 7430 w 9948"/>
                <a:gd name="connsiteY201" fmla="*/ 3987 h 10000"/>
                <a:gd name="connsiteX202" fmla="*/ 7487 w 9948"/>
                <a:gd name="connsiteY202" fmla="*/ 3958 h 10000"/>
                <a:gd name="connsiteX203" fmla="*/ 7644 w 9948"/>
                <a:gd name="connsiteY203" fmla="*/ 3917 h 10000"/>
                <a:gd name="connsiteX204" fmla="*/ 7709 w 9948"/>
                <a:gd name="connsiteY204" fmla="*/ 3864 h 10000"/>
                <a:gd name="connsiteX205" fmla="*/ 7796 w 9948"/>
                <a:gd name="connsiteY205" fmla="*/ 3842 h 10000"/>
                <a:gd name="connsiteX206" fmla="*/ 8280 w 9948"/>
                <a:gd name="connsiteY206" fmla="*/ 3522 h 10000"/>
                <a:gd name="connsiteX207" fmla="*/ 9717 w 9948"/>
                <a:gd name="connsiteY207" fmla="*/ 2343 h 10000"/>
                <a:gd name="connsiteX208" fmla="*/ 9830 w 9948"/>
                <a:gd name="connsiteY208" fmla="*/ 2369 h 10000"/>
                <a:gd name="connsiteX209" fmla="*/ 9909 w 9948"/>
                <a:gd name="connsiteY209" fmla="*/ 2410 h 10000"/>
                <a:gd name="connsiteX210" fmla="*/ 9948 w 9948"/>
                <a:gd name="connsiteY210" fmla="*/ 2365 h 10000"/>
                <a:gd name="connsiteX211" fmla="*/ 9704 w 9948"/>
                <a:gd name="connsiteY211" fmla="*/ 1992 h 10000"/>
                <a:gd name="connsiteX212" fmla="*/ 9743 w 9948"/>
                <a:gd name="connsiteY212" fmla="*/ 1897 h 10000"/>
                <a:gd name="connsiteX213" fmla="*/ 9830 w 9948"/>
                <a:gd name="connsiteY213" fmla="*/ 1819 h 10000"/>
                <a:gd name="connsiteX214" fmla="*/ 9830 w 9948"/>
                <a:gd name="connsiteY214" fmla="*/ 1699 h 10000"/>
                <a:gd name="connsiteX215" fmla="*/ 9556 w 9948"/>
                <a:gd name="connsiteY215" fmla="*/ 1465 h 10000"/>
                <a:gd name="connsiteX216" fmla="*/ 9512 w 9948"/>
                <a:gd name="connsiteY216" fmla="*/ 1379 h 10000"/>
                <a:gd name="connsiteX217" fmla="*/ 9573 w 9948"/>
                <a:gd name="connsiteY217" fmla="*/ 1271 h 10000"/>
                <a:gd name="connsiteX218" fmla="*/ 9543 w 9948"/>
                <a:gd name="connsiteY218" fmla="*/ 1194 h 10000"/>
                <a:gd name="connsiteX219" fmla="*/ 9486 w 9948"/>
                <a:gd name="connsiteY219" fmla="*/ 1159 h 10000"/>
                <a:gd name="connsiteX220" fmla="*/ 9438 w 9948"/>
                <a:gd name="connsiteY220" fmla="*/ 978 h 10000"/>
                <a:gd name="connsiteX221" fmla="*/ 9495 w 9948"/>
                <a:gd name="connsiteY221" fmla="*/ 831 h 10000"/>
                <a:gd name="connsiteX222" fmla="*/ 9077 w 9948"/>
                <a:gd name="connsiteY222" fmla="*/ 517 h 10000"/>
                <a:gd name="connsiteX223" fmla="*/ 8872 w 9948"/>
                <a:gd name="connsiteY223" fmla="*/ 440 h 10000"/>
                <a:gd name="connsiteX224" fmla="*/ 8493 w 9948"/>
                <a:gd name="connsiteY224" fmla="*/ 389 h 10000"/>
                <a:gd name="connsiteX225" fmla="*/ 7709 w 9948"/>
                <a:gd name="connsiteY225" fmla="*/ 26 h 10000"/>
                <a:gd name="connsiteX226" fmla="*/ 7683 w 9948"/>
                <a:gd name="connsiteY226" fmla="*/ 2 h 10000"/>
                <a:gd name="connsiteX227" fmla="*/ 7417 w 9948"/>
                <a:gd name="connsiteY227" fmla="*/ 0 h 10000"/>
                <a:gd name="connsiteX228" fmla="*/ 7356 w 9948"/>
                <a:gd name="connsiteY228" fmla="*/ 14 h 10000"/>
                <a:gd name="connsiteX229" fmla="*/ 7369 w 9948"/>
                <a:gd name="connsiteY229" fmla="*/ 61 h 10000"/>
                <a:gd name="connsiteX230" fmla="*/ 7422 w 9948"/>
                <a:gd name="connsiteY230" fmla="*/ 86 h 10000"/>
                <a:gd name="connsiteX231" fmla="*/ 7435 w 9948"/>
                <a:gd name="connsiteY231" fmla="*/ 139 h 10000"/>
                <a:gd name="connsiteX232" fmla="*/ 7417 w 9948"/>
                <a:gd name="connsiteY232" fmla="*/ 181 h 10000"/>
                <a:gd name="connsiteX233" fmla="*/ 7369 w 9948"/>
                <a:gd name="connsiteY233" fmla="*/ 208 h 10000"/>
                <a:gd name="connsiteX234" fmla="*/ 7334 w 9948"/>
                <a:gd name="connsiteY234" fmla="*/ 283 h 10000"/>
                <a:gd name="connsiteX235" fmla="*/ 7269 w 9948"/>
                <a:gd name="connsiteY235" fmla="*/ 336 h 10000"/>
                <a:gd name="connsiteX236" fmla="*/ 7282 w 9948"/>
                <a:gd name="connsiteY236" fmla="*/ 387 h 10000"/>
                <a:gd name="connsiteX237" fmla="*/ 7382 w 9948"/>
                <a:gd name="connsiteY237" fmla="*/ 434 h 10000"/>
                <a:gd name="connsiteX238" fmla="*/ 7317 w 9948"/>
                <a:gd name="connsiteY238" fmla="*/ 475 h 10000"/>
                <a:gd name="connsiteX239" fmla="*/ 7221 w 9948"/>
                <a:gd name="connsiteY239" fmla="*/ 485 h 10000"/>
                <a:gd name="connsiteX240" fmla="*/ 6420 w 9948"/>
                <a:gd name="connsiteY240" fmla="*/ 387 h 10000"/>
                <a:gd name="connsiteX241" fmla="*/ 6324 w 9948"/>
                <a:gd name="connsiteY241" fmla="*/ 395 h 10000"/>
                <a:gd name="connsiteX242" fmla="*/ 6267 w 9948"/>
                <a:gd name="connsiteY242" fmla="*/ 414 h 10000"/>
                <a:gd name="connsiteX243" fmla="*/ 6211 w 9948"/>
                <a:gd name="connsiteY243" fmla="*/ 462 h 10000"/>
                <a:gd name="connsiteX244" fmla="*/ 6220 w 9948"/>
                <a:gd name="connsiteY244" fmla="*/ 581 h 10000"/>
                <a:gd name="connsiteX245" fmla="*/ 6132 w 9948"/>
                <a:gd name="connsiteY245" fmla="*/ 735 h 10000"/>
                <a:gd name="connsiteX246" fmla="*/ 6024 w 9948"/>
                <a:gd name="connsiteY246" fmla="*/ 815 h 10000"/>
                <a:gd name="connsiteX247" fmla="*/ 5980 w 9948"/>
                <a:gd name="connsiteY247" fmla="*/ 805 h 10000"/>
                <a:gd name="connsiteX248" fmla="*/ 5880 w 9948"/>
                <a:gd name="connsiteY248" fmla="*/ 739 h 10000"/>
                <a:gd name="connsiteX249" fmla="*/ 5753 w 9948"/>
                <a:gd name="connsiteY249" fmla="*/ 705 h 10000"/>
                <a:gd name="connsiteX250" fmla="*/ 5618 w 9948"/>
                <a:gd name="connsiteY250" fmla="*/ 715 h 10000"/>
                <a:gd name="connsiteX251" fmla="*/ 5301 w 9948"/>
                <a:gd name="connsiteY251" fmla="*/ 866 h 10000"/>
                <a:gd name="connsiteX252" fmla="*/ 5218 w 9948"/>
                <a:gd name="connsiteY252" fmla="*/ 1017 h 10000"/>
                <a:gd name="connsiteX253" fmla="*/ 4978 w 9948"/>
                <a:gd name="connsiteY253" fmla="*/ 1153 h 10000"/>
                <a:gd name="connsiteX254" fmla="*/ 4935 w 9948"/>
                <a:gd name="connsiteY254" fmla="*/ 1222 h 10000"/>
                <a:gd name="connsiteX255" fmla="*/ 5061 w 9948"/>
                <a:gd name="connsiteY255" fmla="*/ 1344 h 10000"/>
                <a:gd name="connsiteX256" fmla="*/ 5074 w 9948"/>
                <a:gd name="connsiteY256" fmla="*/ 1412 h 10000"/>
                <a:gd name="connsiteX257" fmla="*/ 4421 w 9948"/>
                <a:gd name="connsiteY257" fmla="*/ 1813 h 10000"/>
                <a:gd name="connsiteX258" fmla="*/ 4220 w 9948"/>
                <a:gd name="connsiteY258" fmla="*/ 2070 h 10000"/>
                <a:gd name="connsiteX259" fmla="*/ 4003 w 9948"/>
                <a:gd name="connsiteY259" fmla="*/ 2135 h 10000"/>
                <a:gd name="connsiteX260" fmla="*/ 3868 w 9948"/>
                <a:gd name="connsiteY260" fmla="*/ 2131 h 10000"/>
                <a:gd name="connsiteX261" fmla="*/ 3785 w 9948"/>
                <a:gd name="connsiteY261" fmla="*/ 2153 h 10000"/>
                <a:gd name="connsiteX262" fmla="*/ 3558 w 9948"/>
                <a:gd name="connsiteY262" fmla="*/ 2793 h 10000"/>
                <a:gd name="connsiteX263" fmla="*/ 3036 w 9948"/>
                <a:gd name="connsiteY263" fmla="*/ 3166 h 10000"/>
                <a:gd name="connsiteX264" fmla="*/ 3040 w 9948"/>
                <a:gd name="connsiteY264" fmla="*/ 3225 h 10000"/>
                <a:gd name="connsiteX265" fmla="*/ 3271 w 9948"/>
                <a:gd name="connsiteY265" fmla="*/ 3392 h 10000"/>
                <a:gd name="connsiteX266" fmla="*/ 3197 w 9948"/>
                <a:gd name="connsiteY266" fmla="*/ 3573 h 10000"/>
                <a:gd name="connsiteX267" fmla="*/ 3062 w 9948"/>
                <a:gd name="connsiteY267" fmla="*/ 3640 h 10000"/>
                <a:gd name="connsiteX268" fmla="*/ 2657 w 9948"/>
                <a:gd name="connsiteY268" fmla="*/ 3595 h 10000"/>
                <a:gd name="connsiteX269" fmla="*/ 2378 w 9948"/>
                <a:gd name="connsiteY269" fmla="*/ 3620 h 10000"/>
                <a:gd name="connsiteX270" fmla="*/ 2152 w 9948"/>
                <a:gd name="connsiteY270" fmla="*/ 3673 h 10000"/>
                <a:gd name="connsiteX271" fmla="*/ 1790 w 9948"/>
                <a:gd name="connsiteY271" fmla="*/ 3840 h 10000"/>
                <a:gd name="connsiteX272" fmla="*/ 1598 w 9948"/>
                <a:gd name="connsiteY272" fmla="*/ 4042 h 10000"/>
                <a:gd name="connsiteX273" fmla="*/ 1616 w 9948"/>
                <a:gd name="connsiteY273" fmla="*/ 4154 h 10000"/>
                <a:gd name="connsiteX274" fmla="*/ 1681 w 9948"/>
                <a:gd name="connsiteY274" fmla="*/ 4241 h 10000"/>
                <a:gd name="connsiteX275" fmla="*/ 1733 w 9948"/>
                <a:gd name="connsiteY275" fmla="*/ 4276 h 10000"/>
                <a:gd name="connsiteX276" fmla="*/ 1638 w 9948"/>
                <a:gd name="connsiteY276" fmla="*/ 4331 h 10000"/>
                <a:gd name="connsiteX277" fmla="*/ 1433 w 9948"/>
                <a:gd name="connsiteY277" fmla="*/ 4710 h 10000"/>
                <a:gd name="connsiteX278" fmla="*/ 1472 w 9948"/>
                <a:gd name="connsiteY278" fmla="*/ 4732 h 10000"/>
                <a:gd name="connsiteX279" fmla="*/ 1503 w 9948"/>
                <a:gd name="connsiteY279" fmla="*/ 4828 h 10000"/>
                <a:gd name="connsiteX280" fmla="*/ 1407 w 9948"/>
                <a:gd name="connsiteY280" fmla="*/ 5227 h 10000"/>
                <a:gd name="connsiteX281" fmla="*/ 1503 w 9948"/>
                <a:gd name="connsiteY281" fmla="*/ 5329 h 10000"/>
                <a:gd name="connsiteX282" fmla="*/ 1764 w 9948"/>
                <a:gd name="connsiteY282" fmla="*/ 5441 h 10000"/>
                <a:gd name="connsiteX283" fmla="*/ 1777 w 9948"/>
                <a:gd name="connsiteY283" fmla="*/ 5578 h 10000"/>
                <a:gd name="connsiteX284" fmla="*/ 1664 w 9948"/>
                <a:gd name="connsiteY284" fmla="*/ 5690 h 10000"/>
                <a:gd name="connsiteX285" fmla="*/ 1503 w 9948"/>
                <a:gd name="connsiteY285" fmla="*/ 5759 h 10000"/>
                <a:gd name="connsiteX286" fmla="*/ 1289 w 9948"/>
                <a:gd name="connsiteY286" fmla="*/ 5787 h 10000"/>
                <a:gd name="connsiteX287" fmla="*/ 1233 w 9948"/>
                <a:gd name="connsiteY287" fmla="*/ 5826 h 10000"/>
                <a:gd name="connsiteX288" fmla="*/ 1359 w 9948"/>
                <a:gd name="connsiteY288" fmla="*/ 5920 h 10000"/>
                <a:gd name="connsiteX289" fmla="*/ 1429 w 9948"/>
                <a:gd name="connsiteY289" fmla="*/ 6142 h 10000"/>
                <a:gd name="connsiteX290" fmla="*/ 1267 w 9948"/>
                <a:gd name="connsiteY290" fmla="*/ 6333 h 10000"/>
                <a:gd name="connsiteX291" fmla="*/ 1324 w 9948"/>
                <a:gd name="connsiteY291" fmla="*/ 6392 h 10000"/>
                <a:gd name="connsiteX292" fmla="*/ 1272 w 9948"/>
                <a:gd name="connsiteY292" fmla="*/ 6492 h 10000"/>
                <a:gd name="connsiteX293" fmla="*/ 1167 w 9948"/>
                <a:gd name="connsiteY293" fmla="*/ 6561 h 10000"/>
                <a:gd name="connsiteX294" fmla="*/ 758 w 9948"/>
                <a:gd name="connsiteY294" fmla="*/ 6614 h 10000"/>
                <a:gd name="connsiteX295" fmla="*/ 732 w 9948"/>
                <a:gd name="connsiteY295" fmla="*/ 6706 h 10000"/>
                <a:gd name="connsiteX296" fmla="*/ 510 w 9948"/>
                <a:gd name="connsiteY296" fmla="*/ 6843 h 10000"/>
                <a:gd name="connsiteX297" fmla="*/ 540 w 9948"/>
                <a:gd name="connsiteY297" fmla="*/ 7040 h 10000"/>
                <a:gd name="connsiteX298" fmla="*/ 353 w 9948"/>
                <a:gd name="connsiteY298" fmla="*/ 7293 h 10000"/>
                <a:gd name="connsiteX299" fmla="*/ 226 w 9948"/>
                <a:gd name="connsiteY299" fmla="*/ 7323 h 10000"/>
                <a:gd name="connsiteX300" fmla="*/ 174 w 9948"/>
                <a:gd name="connsiteY300" fmla="*/ 7262 h 10000"/>
                <a:gd name="connsiteX301" fmla="*/ 109 w 9948"/>
                <a:gd name="connsiteY301" fmla="*/ 7354 h 10000"/>
                <a:gd name="connsiteX302" fmla="*/ 152 w 9948"/>
                <a:gd name="connsiteY302" fmla="*/ 7197 h 10000"/>
                <a:gd name="connsiteX303" fmla="*/ 126 w 9948"/>
                <a:gd name="connsiteY303" fmla="*/ 7166 h 10000"/>
                <a:gd name="connsiteX0" fmla="*/ 127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2 w 10000"/>
                <a:gd name="connsiteY7" fmla="*/ 7727 h 10000"/>
                <a:gd name="connsiteX8" fmla="*/ 206 w 10000"/>
                <a:gd name="connsiteY8" fmla="*/ 7680 h 10000"/>
                <a:gd name="connsiteX9" fmla="*/ 262 w 10000"/>
                <a:gd name="connsiteY9" fmla="*/ 7712 h 10000"/>
                <a:gd name="connsiteX10" fmla="*/ 201 w 10000"/>
                <a:gd name="connsiteY10" fmla="*/ 7778 h 10000"/>
                <a:gd name="connsiteX11" fmla="*/ 267 w 10000"/>
                <a:gd name="connsiteY11" fmla="*/ 7780 h 10000"/>
                <a:gd name="connsiteX12" fmla="*/ 298 w 10000"/>
                <a:gd name="connsiteY12" fmla="*/ 7796 h 10000"/>
                <a:gd name="connsiteX13" fmla="*/ 214 w 10000"/>
                <a:gd name="connsiteY13" fmla="*/ 7818 h 10000"/>
                <a:gd name="connsiteX14" fmla="*/ 83 w 10000"/>
                <a:gd name="connsiteY14" fmla="*/ 7886 h 10000"/>
                <a:gd name="connsiteX15" fmla="*/ 316 w 10000"/>
                <a:gd name="connsiteY15" fmla="*/ 7938 h 10000"/>
                <a:gd name="connsiteX16" fmla="*/ 346 w 10000"/>
                <a:gd name="connsiteY16" fmla="*/ 8014 h 10000"/>
                <a:gd name="connsiteX17" fmla="*/ 267 w 10000"/>
                <a:gd name="connsiteY17" fmla="*/ 8126 h 10000"/>
                <a:gd name="connsiteX18" fmla="*/ 438 w 10000"/>
                <a:gd name="connsiteY18" fmla="*/ 8118 h 10000"/>
                <a:gd name="connsiteX19" fmla="*/ 451 w 10000"/>
                <a:gd name="connsiteY19" fmla="*/ 8203 h 10000"/>
                <a:gd name="connsiteX20" fmla="*/ 337 w 10000"/>
                <a:gd name="connsiteY20" fmla="*/ 8260 h 10000"/>
                <a:gd name="connsiteX21" fmla="*/ 355 w 10000"/>
                <a:gd name="connsiteY21" fmla="*/ 8370 h 10000"/>
                <a:gd name="connsiteX22" fmla="*/ 311 w 10000"/>
                <a:gd name="connsiteY22" fmla="*/ 8456 h 10000"/>
                <a:gd name="connsiteX23" fmla="*/ 446 w 10000"/>
                <a:gd name="connsiteY23" fmla="*/ 8464 h 10000"/>
                <a:gd name="connsiteX24" fmla="*/ 578 w 10000"/>
                <a:gd name="connsiteY24" fmla="*/ 8792 h 10000"/>
                <a:gd name="connsiteX25" fmla="*/ 731 w 10000"/>
                <a:gd name="connsiteY25" fmla="*/ 8876 h 10000"/>
                <a:gd name="connsiteX26" fmla="*/ 797 w 10000"/>
                <a:gd name="connsiteY26" fmla="*/ 8965 h 10000"/>
                <a:gd name="connsiteX27" fmla="*/ 963 w 10000"/>
                <a:gd name="connsiteY27" fmla="*/ 9030 h 10000"/>
                <a:gd name="connsiteX28" fmla="*/ 1069 w 10000"/>
                <a:gd name="connsiteY28" fmla="*/ 9112 h 10000"/>
                <a:gd name="connsiteX29" fmla="*/ 1055 w 10000"/>
                <a:gd name="connsiteY29" fmla="*/ 9171 h 10000"/>
                <a:gd name="connsiteX30" fmla="*/ 950 w 10000"/>
                <a:gd name="connsiteY30" fmla="*/ 9193 h 10000"/>
                <a:gd name="connsiteX31" fmla="*/ 836 w 10000"/>
                <a:gd name="connsiteY31" fmla="*/ 9179 h 10000"/>
                <a:gd name="connsiteX32" fmla="*/ 801 w 10000"/>
                <a:gd name="connsiteY32" fmla="*/ 9204 h 10000"/>
                <a:gd name="connsiteX33" fmla="*/ 889 w 10000"/>
                <a:gd name="connsiteY33" fmla="*/ 9332 h 10000"/>
                <a:gd name="connsiteX34" fmla="*/ 766 w 10000"/>
                <a:gd name="connsiteY34" fmla="*/ 9322 h 10000"/>
                <a:gd name="connsiteX35" fmla="*/ 661 w 10000"/>
                <a:gd name="connsiteY35" fmla="*/ 9291 h 10000"/>
                <a:gd name="connsiteX36" fmla="*/ 643 w 10000"/>
                <a:gd name="connsiteY36" fmla="*/ 9338 h 10000"/>
                <a:gd name="connsiteX37" fmla="*/ 989 w 10000"/>
                <a:gd name="connsiteY37" fmla="*/ 9776 h 10000"/>
                <a:gd name="connsiteX38" fmla="*/ 933 w 10000"/>
                <a:gd name="connsiteY38" fmla="*/ 9817 h 10000"/>
                <a:gd name="connsiteX39" fmla="*/ 894 w 10000"/>
                <a:gd name="connsiteY39" fmla="*/ 9902 h 10000"/>
                <a:gd name="connsiteX40" fmla="*/ 845 w 10000"/>
                <a:gd name="connsiteY40" fmla="*/ 9908 h 10000"/>
                <a:gd name="connsiteX41" fmla="*/ 814 w 10000"/>
                <a:gd name="connsiteY41" fmla="*/ 9945 h 10000"/>
                <a:gd name="connsiteX42" fmla="*/ 1024 w 10000"/>
                <a:gd name="connsiteY42" fmla="*/ 9949 h 10000"/>
                <a:gd name="connsiteX43" fmla="*/ 1208 w 10000"/>
                <a:gd name="connsiteY43" fmla="*/ 9986 h 10000"/>
                <a:gd name="connsiteX44" fmla="*/ 1515 w 10000"/>
                <a:gd name="connsiteY44" fmla="*/ 9947 h 10000"/>
                <a:gd name="connsiteX45" fmla="*/ 1790 w 10000"/>
                <a:gd name="connsiteY45" fmla="*/ 9953 h 10000"/>
                <a:gd name="connsiteX46" fmla="*/ 1953 w 10000"/>
                <a:gd name="connsiteY46" fmla="*/ 10000 h 10000"/>
                <a:gd name="connsiteX47" fmla="*/ 2041 w 10000"/>
                <a:gd name="connsiteY47" fmla="*/ 9969 h 10000"/>
                <a:gd name="connsiteX48" fmla="*/ 2128 w 10000"/>
                <a:gd name="connsiteY48" fmla="*/ 9868 h 10000"/>
                <a:gd name="connsiteX49" fmla="*/ 2106 w 10000"/>
                <a:gd name="connsiteY49" fmla="*/ 9703 h 10000"/>
                <a:gd name="connsiteX50" fmla="*/ 2316 w 10000"/>
                <a:gd name="connsiteY50" fmla="*/ 9517 h 10000"/>
                <a:gd name="connsiteX51" fmla="*/ 2469 w 10000"/>
                <a:gd name="connsiteY51" fmla="*/ 9546 h 10000"/>
                <a:gd name="connsiteX52" fmla="*/ 2557 w 10000"/>
                <a:gd name="connsiteY52" fmla="*/ 9472 h 10000"/>
                <a:gd name="connsiteX53" fmla="*/ 2727 w 10000"/>
                <a:gd name="connsiteY53" fmla="*/ 9430 h 10000"/>
                <a:gd name="connsiteX54" fmla="*/ 2959 w 10000"/>
                <a:gd name="connsiteY54" fmla="*/ 9440 h 10000"/>
                <a:gd name="connsiteX55" fmla="*/ 3100 w 10000"/>
                <a:gd name="connsiteY55" fmla="*/ 9470 h 10000"/>
                <a:gd name="connsiteX56" fmla="*/ 3284 w 10000"/>
                <a:gd name="connsiteY56" fmla="*/ 9456 h 10000"/>
                <a:gd name="connsiteX57" fmla="*/ 3472 w 10000"/>
                <a:gd name="connsiteY57" fmla="*/ 9489 h 10000"/>
                <a:gd name="connsiteX58" fmla="*/ 3660 w 10000"/>
                <a:gd name="connsiteY58" fmla="*/ 9493 h 10000"/>
                <a:gd name="connsiteX59" fmla="*/ 4080 w 10000"/>
                <a:gd name="connsiteY59" fmla="*/ 9061 h 10000"/>
                <a:gd name="connsiteX60" fmla="*/ 4186 w 10000"/>
                <a:gd name="connsiteY60" fmla="*/ 8711 h 10000"/>
                <a:gd name="connsiteX61" fmla="*/ 4357 w 10000"/>
                <a:gd name="connsiteY61" fmla="*/ 8554 h 10000"/>
                <a:gd name="connsiteX62" fmla="*/ 4357 w 10000"/>
                <a:gd name="connsiteY62" fmla="*/ 8472 h 10000"/>
                <a:gd name="connsiteX63" fmla="*/ 4295 w 10000"/>
                <a:gd name="connsiteY63" fmla="*/ 8425 h 10000"/>
                <a:gd name="connsiteX64" fmla="*/ 4396 w 10000"/>
                <a:gd name="connsiteY64" fmla="*/ 8352 h 10000"/>
                <a:gd name="connsiteX65" fmla="*/ 4378 w 10000"/>
                <a:gd name="connsiteY65" fmla="*/ 8289 h 10000"/>
                <a:gd name="connsiteX66" fmla="*/ 4308 w 10000"/>
                <a:gd name="connsiteY66" fmla="*/ 8236 h 10000"/>
                <a:gd name="connsiteX67" fmla="*/ 4295 w 10000"/>
                <a:gd name="connsiteY67" fmla="*/ 8199 h 10000"/>
                <a:gd name="connsiteX68" fmla="*/ 4312 w 10000"/>
                <a:gd name="connsiteY68" fmla="*/ 8169 h 10000"/>
                <a:gd name="connsiteX69" fmla="*/ 4405 w 10000"/>
                <a:gd name="connsiteY69" fmla="*/ 8193 h 10000"/>
                <a:gd name="connsiteX70" fmla="*/ 4479 w 10000"/>
                <a:gd name="connsiteY70" fmla="*/ 8191 h 10000"/>
                <a:gd name="connsiteX71" fmla="*/ 4439 w 10000"/>
                <a:gd name="connsiteY71" fmla="*/ 8140 h 10000"/>
                <a:gd name="connsiteX72" fmla="*/ 4452 w 10000"/>
                <a:gd name="connsiteY72" fmla="*/ 8112 h 10000"/>
                <a:gd name="connsiteX73" fmla="*/ 4505 w 10000"/>
                <a:gd name="connsiteY73" fmla="*/ 8069 h 10000"/>
                <a:gd name="connsiteX74" fmla="*/ 4496 w 10000"/>
                <a:gd name="connsiteY74" fmla="*/ 8034 h 10000"/>
                <a:gd name="connsiteX75" fmla="*/ 4545 w 10000"/>
                <a:gd name="connsiteY75" fmla="*/ 7916 h 10000"/>
                <a:gd name="connsiteX76" fmla="*/ 4532 w 10000"/>
                <a:gd name="connsiteY76" fmla="*/ 7881 h 10000"/>
                <a:gd name="connsiteX77" fmla="*/ 4277 w 10000"/>
                <a:gd name="connsiteY77" fmla="*/ 7792 h 10000"/>
                <a:gd name="connsiteX78" fmla="*/ 4312 w 10000"/>
                <a:gd name="connsiteY78" fmla="*/ 7788 h 10000"/>
                <a:gd name="connsiteX79" fmla="*/ 4448 w 10000"/>
                <a:gd name="connsiteY79" fmla="*/ 7812 h 10000"/>
                <a:gd name="connsiteX80" fmla="*/ 4593 w 10000"/>
                <a:gd name="connsiteY80" fmla="*/ 7804 h 10000"/>
                <a:gd name="connsiteX81" fmla="*/ 4636 w 10000"/>
                <a:gd name="connsiteY81" fmla="*/ 7771 h 10000"/>
                <a:gd name="connsiteX82" fmla="*/ 4496 w 10000"/>
                <a:gd name="connsiteY82" fmla="*/ 7710 h 10000"/>
                <a:gd name="connsiteX83" fmla="*/ 4076 w 10000"/>
                <a:gd name="connsiteY83" fmla="*/ 7670 h 10000"/>
                <a:gd name="connsiteX84" fmla="*/ 4106 w 10000"/>
                <a:gd name="connsiteY84" fmla="*/ 7651 h 10000"/>
                <a:gd name="connsiteX85" fmla="*/ 4448 w 10000"/>
                <a:gd name="connsiteY85" fmla="*/ 7639 h 10000"/>
                <a:gd name="connsiteX86" fmla="*/ 4636 w 10000"/>
                <a:gd name="connsiteY86" fmla="*/ 7676 h 10000"/>
                <a:gd name="connsiteX87" fmla="*/ 4746 w 10000"/>
                <a:gd name="connsiteY87" fmla="*/ 7651 h 10000"/>
                <a:gd name="connsiteX88" fmla="*/ 4785 w 10000"/>
                <a:gd name="connsiteY88" fmla="*/ 7588 h 10000"/>
                <a:gd name="connsiteX89" fmla="*/ 4982 w 10000"/>
                <a:gd name="connsiteY89" fmla="*/ 7588 h 10000"/>
                <a:gd name="connsiteX90" fmla="*/ 5249 w 10000"/>
                <a:gd name="connsiteY90" fmla="*/ 7462 h 10000"/>
                <a:gd name="connsiteX91" fmla="*/ 5258 w 10000"/>
                <a:gd name="connsiteY91" fmla="*/ 7378 h 10000"/>
                <a:gd name="connsiteX92" fmla="*/ 5372 w 10000"/>
                <a:gd name="connsiteY92" fmla="*/ 7397 h 10000"/>
                <a:gd name="connsiteX93" fmla="*/ 5368 w 10000"/>
                <a:gd name="connsiteY93" fmla="*/ 7482 h 10000"/>
                <a:gd name="connsiteX94" fmla="*/ 5547 w 10000"/>
                <a:gd name="connsiteY94" fmla="*/ 7476 h 10000"/>
                <a:gd name="connsiteX95" fmla="*/ 5665 w 10000"/>
                <a:gd name="connsiteY95" fmla="*/ 7388 h 10000"/>
                <a:gd name="connsiteX96" fmla="*/ 5885 w 10000"/>
                <a:gd name="connsiteY96" fmla="*/ 7309 h 10000"/>
                <a:gd name="connsiteX97" fmla="*/ 5849 w 10000"/>
                <a:gd name="connsiteY97" fmla="*/ 7219 h 10000"/>
                <a:gd name="connsiteX98" fmla="*/ 5915 w 10000"/>
                <a:gd name="connsiteY98" fmla="*/ 7254 h 10000"/>
                <a:gd name="connsiteX99" fmla="*/ 6015 w 10000"/>
                <a:gd name="connsiteY99" fmla="*/ 7254 h 10000"/>
                <a:gd name="connsiteX100" fmla="*/ 6015 w 10000"/>
                <a:gd name="connsiteY100" fmla="*/ 7213 h 10000"/>
                <a:gd name="connsiteX101" fmla="*/ 6108 w 10000"/>
                <a:gd name="connsiteY101" fmla="*/ 7181 h 10000"/>
                <a:gd name="connsiteX102" fmla="*/ 6095 w 10000"/>
                <a:gd name="connsiteY102" fmla="*/ 7148 h 10000"/>
                <a:gd name="connsiteX103" fmla="*/ 5307 w 10000"/>
                <a:gd name="connsiteY103" fmla="*/ 7215 h 10000"/>
                <a:gd name="connsiteX104" fmla="*/ 5123 w 10000"/>
                <a:gd name="connsiteY104" fmla="*/ 7195 h 10000"/>
                <a:gd name="connsiteX105" fmla="*/ 5048 w 10000"/>
                <a:gd name="connsiteY105" fmla="*/ 7219 h 10000"/>
                <a:gd name="connsiteX106" fmla="*/ 5022 w 10000"/>
                <a:gd name="connsiteY106" fmla="*/ 7173 h 10000"/>
                <a:gd name="connsiteX107" fmla="*/ 4935 w 10000"/>
                <a:gd name="connsiteY107" fmla="*/ 7132 h 10000"/>
                <a:gd name="connsiteX108" fmla="*/ 4584 w 10000"/>
                <a:gd name="connsiteY108" fmla="*/ 7052 h 10000"/>
                <a:gd name="connsiteX109" fmla="*/ 4378 w 10000"/>
                <a:gd name="connsiteY109" fmla="*/ 7065 h 10000"/>
                <a:gd name="connsiteX110" fmla="*/ 4295 w 10000"/>
                <a:gd name="connsiteY110" fmla="*/ 7042 h 10000"/>
                <a:gd name="connsiteX111" fmla="*/ 4383 w 10000"/>
                <a:gd name="connsiteY111" fmla="*/ 7022 h 10000"/>
                <a:gd name="connsiteX112" fmla="*/ 4448 w 10000"/>
                <a:gd name="connsiteY112" fmla="*/ 6979 h 10000"/>
                <a:gd name="connsiteX113" fmla="*/ 4545 w 10000"/>
                <a:gd name="connsiteY113" fmla="*/ 6993 h 10000"/>
                <a:gd name="connsiteX114" fmla="*/ 4663 w 10000"/>
                <a:gd name="connsiteY114" fmla="*/ 6981 h 10000"/>
                <a:gd name="connsiteX115" fmla="*/ 4838 w 10000"/>
                <a:gd name="connsiteY115" fmla="*/ 6995 h 10000"/>
                <a:gd name="connsiteX116" fmla="*/ 4859 w 10000"/>
                <a:gd name="connsiteY116" fmla="*/ 6989 h 10000"/>
                <a:gd name="connsiteX117" fmla="*/ 4996 w 10000"/>
                <a:gd name="connsiteY117" fmla="*/ 7056 h 10000"/>
                <a:gd name="connsiteX118" fmla="*/ 5097 w 10000"/>
                <a:gd name="connsiteY118" fmla="*/ 7032 h 10000"/>
                <a:gd name="connsiteX119" fmla="*/ 5105 w 10000"/>
                <a:gd name="connsiteY119" fmla="*/ 7010 h 10000"/>
                <a:gd name="connsiteX120" fmla="*/ 5197 w 10000"/>
                <a:gd name="connsiteY120" fmla="*/ 7048 h 10000"/>
                <a:gd name="connsiteX121" fmla="*/ 5320 w 10000"/>
                <a:gd name="connsiteY121" fmla="*/ 7069 h 10000"/>
                <a:gd name="connsiteX122" fmla="*/ 5368 w 10000"/>
                <a:gd name="connsiteY122" fmla="*/ 7030 h 10000"/>
                <a:gd name="connsiteX123" fmla="*/ 5407 w 10000"/>
                <a:gd name="connsiteY123" fmla="*/ 7052 h 10000"/>
                <a:gd name="connsiteX124" fmla="*/ 5464 w 10000"/>
                <a:gd name="connsiteY124" fmla="*/ 7126 h 10000"/>
                <a:gd name="connsiteX125" fmla="*/ 5582 w 10000"/>
                <a:gd name="connsiteY125" fmla="*/ 7144 h 10000"/>
                <a:gd name="connsiteX126" fmla="*/ 6064 w 10000"/>
                <a:gd name="connsiteY126" fmla="*/ 7034 h 10000"/>
                <a:gd name="connsiteX127" fmla="*/ 6300 w 10000"/>
                <a:gd name="connsiteY127" fmla="*/ 6879 h 10000"/>
                <a:gd name="connsiteX128" fmla="*/ 6357 w 10000"/>
                <a:gd name="connsiteY128" fmla="*/ 6765 h 10000"/>
                <a:gd name="connsiteX129" fmla="*/ 6270 w 10000"/>
                <a:gd name="connsiteY129" fmla="*/ 6663 h 10000"/>
                <a:gd name="connsiteX130" fmla="*/ 6090 w 10000"/>
                <a:gd name="connsiteY130" fmla="*/ 6602 h 10000"/>
                <a:gd name="connsiteX131" fmla="*/ 5963 w 10000"/>
                <a:gd name="connsiteY131" fmla="*/ 6502 h 10000"/>
                <a:gd name="connsiteX132" fmla="*/ 6082 w 10000"/>
                <a:gd name="connsiteY132" fmla="*/ 6498 h 10000"/>
                <a:gd name="connsiteX133" fmla="*/ 6073 w 10000"/>
                <a:gd name="connsiteY133" fmla="*/ 6474 h 10000"/>
                <a:gd name="connsiteX134" fmla="*/ 5762 w 10000"/>
                <a:gd name="connsiteY134" fmla="*/ 6403 h 10000"/>
                <a:gd name="connsiteX135" fmla="*/ 5749 w 10000"/>
                <a:gd name="connsiteY135" fmla="*/ 6339 h 10000"/>
                <a:gd name="connsiteX136" fmla="*/ 5692 w 10000"/>
                <a:gd name="connsiteY136" fmla="*/ 6272 h 10000"/>
                <a:gd name="connsiteX137" fmla="*/ 5446 w 10000"/>
                <a:gd name="connsiteY137" fmla="*/ 6284 h 10000"/>
                <a:gd name="connsiteX138" fmla="*/ 5359 w 10000"/>
                <a:gd name="connsiteY138" fmla="*/ 6213 h 10000"/>
                <a:gd name="connsiteX139" fmla="*/ 5307 w 10000"/>
                <a:gd name="connsiteY139" fmla="*/ 6209 h 10000"/>
                <a:gd name="connsiteX140" fmla="*/ 5307 w 10000"/>
                <a:gd name="connsiteY140" fmla="*/ 6238 h 10000"/>
                <a:gd name="connsiteX141" fmla="*/ 5197 w 10000"/>
                <a:gd name="connsiteY141" fmla="*/ 6358 h 10000"/>
                <a:gd name="connsiteX142" fmla="*/ 5078 w 10000"/>
                <a:gd name="connsiteY142" fmla="*/ 6429 h 10000"/>
                <a:gd name="connsiteX143" fmla="*/ 4706 w 10000"/>
                <a:gd name="connsiteY143" fmla="*/ 6551 h 10000"/>
                <a:gd name="connsiteX144" fmla="*/ 4575 w 10000"/>
                <a:gd name="connsiteY144" fmla="*/ 6547 h 10000"/>
                <a:gd name="connsiteX145" fmla="*/ 4396 w 10000"/>
                <a:gd name="connsiteY145" fmla="*/ 6565 h 10000"/>
                <a:gd name="connsiteX146" fmla="*/ 4295 w 10000"/>
                <a:gd name="connsiteY146" fmla="*/ 6547 h 10000"/>
                <a:gd name="connsiteX147" fmla="*/ 4426 w 10000"/>
                <a:gd name="connsiteY147" fmla="*/ 6513 h 10000"/>
                <a:gd name="connsiteX148" fmla="*/ 4597 w 10000"/>
                <a:gd name="connsiteY148" fmla="*/ 6498 h 10000"/>
                <a:gd name="connsiteX149" fmla="*/ 4738 w 10000"/>
                <a:gd name="connsiteY149" fmla="*/ 6441 h 10000"/>
                <a:gd name="connsiteX150" fmla="*/ 4877 w 10000"/>
                <a:gd name="connsiteY150" fmla="*/ 6415 h 10000"/>
                <a:gd name="connsiteX151" fmla="*/ 5136 w 10000"/>
                <a:gd name="connsiteY151" fmla="*/ 6317 h 10000"/>
                <a:gd name="connsiteX152" fmla="*/ 5184 w 10000"/>
                <a:gd name="connsiteY152" fmla="*/ 6252 h 10000"/>
                <a:gd name="connsiteX153" fmla="*/ 5188 w 10000"/>
                <a:gd name="connsiteY153" fmla="*/ 6168 h 10000"/>
                <a:gd name="connsiteX154" fmla="*/ 5070 w 10000"/>
                <a:gd name="connsiteY154" fmla="*/ 6154 h 10000"/>
                <a:gd name="connsiteX155" fmla="*/ 5123 w 10000"/>
                <a:gd name="connsiteY155" fmla="*/ 6103 h 10000"/>
                <a:gd name="connsiteX156" fmla="*/ 5140 w 10000"/>
                <a:gd name="connsiteY156" fmla="*/ 6038 h 10000"/>
                <a:gd name="connsiteX157" fmla="*/ 5091 w 10000"/>
                <a:gd name="connsiteY157" fmla="*/ 5977 h 10000"/>
                <a:gd name="connsiteX158" fmla="*/ 5061 w 10000"/>
                <a:gd name="connsiteY158" fmla="*/ 5533 h 10000"/>
                <a:gd name="connsiteX159" fmla="*/ 5132 w 10000"/>
                <a:gd name="connsiteY159" fmla="*/ 5437 h 10000"/>
                <a:gd name="connsiteX160" fmla="*/ 5114 w 10000"/>
                <a:gd name="connsiteY160" fmla="*/ 5398 h 10000"/>
                <a:gd name="connsiteX161" fmla="*/ 5320 w 10000"/>
                <a:gd name="connsiteY161" fmla="*/ 5455 h 10000"/>
                <a:gd name="connsiteX162" fmla="*/ 5333 w 10000"/>
                <a:gd name="connsiteY162" fmla="*/ 5402 h 10000"/>
                <a:gd name="connsiteX163" fmla="*/ 5289 w 10000"/>
                <a:gd name="connsiteY163" fmla="*/ 5264 h 10000"/>
                <a:gd name="connsiteX164" fmla="*/ 5437 w 10000"/>
                <a:gd name="connsiteY164" fmla="*/ 5019 h 10000"/>
                <a:gd name="connsiteX165" fmla="*/ 5346 w 10000"/>
                <a:gd name="connsiteY165" fmla="*/ 4960 h 10000"/>
                <a:gd name="connsiteX166" fmla="*/ 5311 w 10000"/>
                <a:gd name="connsiteY166" fmla="*/ 4905 h 10000"/>
                <a:gd name="connsiteX167" fmla="*/ 5324 w 10000"/>
                <a:gd name="connsiteY167" fmla="*/ 4816 h 10000"/>
                <a:gd name="connsiteX168" fmla="*/ 5539 w 10000"/>
                <a:gd name="connsiteY168" fmla="*/ 4875 h 10000"/>
                <a:gd name="connsiteX169" fmla="*/ 5547 w 10000"/>
                <a:gd name="connsiteY169" fmla="*/ 4858 h 10000"/>
                <a:gd name="connsiteX170" fmla="*/ 5608 w 10000"/>
                <a:gd name="connsiteY170" fmla="*/ 4842 h 10000"/>
                <a:gd name="connsiteX171" fmla="*/ 5692 w 10000"/>
                <a:gd name="connsiteY171" fmla="*/ 4785 h 10000"/>
                <a:gd name="connsiteX172" fmla="*/ 5705 w 10000"/>
                <a:gd name="connsiteY172" fmla="*/ 4769 h 10000"/>
                <a:gd name="connsiteX173" fmla="*/ 5688 w 10000"/>
                <a:gd name="connsiteY173" fmla="*/ 4748 h 10000"/>
                <a:gd name="connsiteX174" fmla="*/ 5731 w 10000"/>
                <a:gd name="connsiteY174" fmla="*/ 4647 h 10000"/>
                <a:gd name="connsiteX175" fmla="*/ 5679 w 10000"/>
                <a:gd name="connsiteY175" fmla="*/ 4581 h 10000"/>
                <a:gd name="connsiteX176" fmla="*/ 5688 w 10000"/>
                <a:gd name="connsiteY176" fmla="*/ 4528 h 10000"/>
                <a:gd name="connsiteX177" fmla="*/ 5718 w 10000"/>
                <a:gd name="connsiteY177" fmla="*/ 4590 h 10000"/>
                <a:gd name="connsiteX178" fmla="*/ 5836 w 10000"/>
                <a:gd name="connsiteY178" fmla="*/ 4636 h 10000"/>
                <a:gd name="connsiteX179" fmla="*/ 5885 w 10000"/>
                <a:gd name="connsiteY179" fmla="*/ 4630 h 10000"/>
                <a:gd name="connsiteX180" fmla="*/ 5963 w 10000"/>
                <a:gd name="connsiteY180" fmla="*/ 4569 h 10000"/>
                <a:gd name="connsiteX181" fmla="*/ 6046 w 10000"/>
                <a:gd name="connsiteY181" fmla="*/ 4594 h 10000"/>
                <a:gd name="connsiteX182" fmla="*/ 6069 w 10000"/>
                <a:gd name="connsiteY182" fmla="*/ 4545 h 10000"/>
                <a:gd name="connsiteX183" fmla="*/ 6125 w 10000"/>
                <a:gd name="connsiteY183" fmla="*/ 4512 h 10000"/>
                <a:gd name="connsiteX184" fmla="*/ 5972 w 10000"/>
                <a:gd name="connsiteY184" fmla="*/ 4477 h 10000"/>
                <a:gd name="connsiteX185" fmla="*/ 6082 w 10000"/>
                <a:gd name="connsiteY185" fmla="*/ 4484 h 10000"/>
                <a:gd name="connsiteX186" fmla="*/ 6195 w 10000"/>
                <a:gd name="connsiteY186" fmla="*/ 4447 h 10000"/>
                <a:gd name="connsiteX187" fmla="*/ 6191 w 10000"/>
                <a:gd name="connsiteY187" fmla="*/ 4422 h 10000"/>
                <a:gd name="connsiteX188" fmla="*/ 6296 w 10000"/>
                <a:gd name="connsiteY188" fmla="*/ 4398 h 10000"/>
                <a:gd name="connsiteX189" fmla="*/ 6305 w 10000"/>
                <a:gd name="connsiteY189" fmla="*/ 4337 h 10000"/>
                <a:gd name="connsiteX190" fmla="*/ 6388 w 10000"/>
                <a:gd name="connsiteY190" fmla="*/ 4325 h 10000"/>
                <a:gd name="connsiteX191" fmla="*/ 6396 w 10000"/>
                <a:gd name="connsiteY191" fmla="*/ 4253 h 10000"/>
                <a:gd name="connsiteX192" fmla="*/ 6484 w 10000"/>
                <a:gd name="connsiteY192" fmla="*/ 4245 h 10000"/>
                <a:gd name="connsiteX193" fmla="*/ 6619 w 10000"/>
                <a:gd name="connsiteY193" fmla="*/ 4260 h 10000"/>
                <a:gd name="connsiteX194" fmla="*/ 6768 w 10000"/>
                <a:gd name="connsiteY194" fmla="*/ 4202 h 10000"/>
                <a:gd name="connsiteX195" fmla="*/ 6821 w 10000"/>
                <a:gd name="connsiteY195" fmla="*/ 4137 h 10000"/>
                <a:gd name="connsiteX196" fmla="*/ 7005 w 10000"/>
                <a:gd name="connsiteY196" fmla="*/ 4070 h 10000"/>
                <a:gd name="connsiteX197" fmla="*/ 7097 w 10000"/>
                <a:gd name="connsiteY197" fmla="*/ 4111 h 10000"/>
                <a:gd name="connsiteX198" fmla="*/ 7237 w 10000"/>
                <a:gd name="connsiteY198" fmla="*/ 4066 h 10000"/>
                <a:gd name="connsiteX199" fmla="*/ 7272 w 10000"/>
                <a:gd name="connsiteY199" fmla="*/ 4009 h 10000"/>
                <a:gd name="connsiteX200" fmla="*/ 7377 w 10000"/>
                <a:gd name="connsiteY200" fmla="*/ 3970 h 10000"/>
                <a:gd name="connsiteX201" fmla="*/ 7469 w 10000"/>
                <a:gd name="connsiteY201" fmla="*/ 3987 h 10000"/>
                <a:gd name="connsiteX202" fmla="*/ 7526 w 10000"/>
                <a:gd name="connsiteY202" fmla="*/ 3958 h 10000"/>
                <a:gd name="connsiteX203" fmla="*/ 7684 w 10000"/>
                <a:gd name="connsiteY203" fmla="*/ 3917 h 10000"/>
                <a:gd name="connsiteX204" fmla="*/ 7749 w 10000"/>
                <a:gd name="connsiteY204" fmla="*/ 3864 h 10000"/>
                <a:gd name="connsiteX205" fmla="*/ 7837 w 10000"/>
                <a:gd name="connsiteY205" fmla="*/ 3842 h 10000"/>
                <a:gd name="connsiteX206" fmla="*/ 8323 w 10000"/>
                <a:gd name="connsiteY206" fmla="*/ 3522 h 10000"/>
                <a:gd name="connsiteX207" fmla="*/ 9768 w 10000"/>
                <a:gd name="connsiteY207" fmla="*/ 2343 h 10000"/>
                <a:gd name="connsiteX208" fmla="*/ 9961 w 10000"/>
                <a:gd name="connsiteY208" fmla="*/ 2410 h 10000"/>
                <a:gd name="connsiteX209" fmla="*/ 10000 w 10000"/>
                <a:gd name="connsiteY209" fmla="*/ 2365 h 10000"/>
                <a:gd name="connsiteX210" fmla="*/ 9755 w 10000"/>
                <a:gd name="connsiteY210" fmla="*/ 1992 h 10000"/>
                <a:gd name="connsiteX211" fmla="*/ 9794 w 10000"/>
                <a:gd name="connsiteY211" fmla="*/ 1897 h 10000"/>
                <a:gd name="connsiteX212" fmla="*/ 9881 w 10000"/>
                <a:gd name="connsiteY212" fmla="*/ 1819 h 10000"/>
                <a:gd name="connsiteX213" fmla="*/ 9881 w 10000"/>
                <a:gd name="connsiteY213" fmla="*/ 1699 h 10000"/>
                <a:gd name="connsiteX214" fmla="*/ 9606 w 10000"/>
                <a:gd name="connsiteY214" fmla="*/ 1465 h 10000"/>
                <a:gd name="connsiteX215" fmla="*/ 9562 w 10000"/>
                <a:gd name="connsiteY215" fmla="*/ 1379 h 10000"/>
                <a:gd name="connsiteX216" fmla="*/ 9623 w 10000"/>
                <a:gd name="connsiteY216" fmla="*/ 1271 h 10000"/>
                <a:gd name="connsiteX217" fmla="*/ 9593 w 10000"/>
                <a:gd name="connsiteY217" fmla="*/ 1194 h 10000"/>
                <a:gd name="connsiteX218" fmla="*/ 9536 w 10000"/>
                <a:gd name="connsiteY218" fmla="*/ 1159 h 10000"/>
                <a:gd name="connsiteX219" fmla="*/ 9487 w 10000"/>
                <a:gd name="connsiteY219" fmla="*/ 978 h 10000"/>
                <a:gd name="connsiteX220" fmla="*/ 9545 w 10000"/>
                <a:gd name="connsiteY220" fmla="*/ 831 h 10000"/>
                <a:gd name="connsiteX221" fmla="*/ 9124 w 10000"/>
                <a:gd name="connsiteY221" fmla="*/ 517 h 10000"/>
                <a:gd name="connsiteX222" fmla="*/ 8918 w 10000"/>
                <a:gd name="connsiteY222" fmla="*/ 440 h 10000"/>
                <a:gd name="connsiteX223" fmla="*/ 8537 w 10000"/>
                <a:gd name="connsiteY223" fmla="*/ 389 h 10000"/>
                <a:gd name="connsiteX224" fmla="*/ 7749 w 10000"/>
                <a:gd name="connsiteY224" fmla="*/ 26 h 10000"/>
                <a:gd name="connsiteX225" fmla="*/ 7723 w 10000"/>
                <a:gd name="connsiteY225" fmla="*/ 2 h 10000"/>
                <a:gd name="connsiteX226" fmla="*/ 7456 w 10000"/>
                <a:gd name="connsiteY226" fmla="*/ 0 h 10000"/>
                <a:gd name="connsiteX227" fmla="*/ 7394 w 10000"/>
                <a:gd name="connsiteY227" fmla="*/ 14 h 10000"/>
                <a:gd name="connsiteX228" fmla="*/ 7408 w 10000"/>
                <a:gd name="connsiteY228" fmla="*/ 61 h 10000"/>
                <a:gd name="connsiteX229" fmla="*/ 7461 w 10000"/>
                <a:gd name="connsiteY229" fmla="*/ 86 h 10000"/>
                <a:gd name="connsiteX230" fmla="*/ 7474 w 10000"/>
                <a:gd name="connsiteY230" fmla="*/ 139 h 10000"/>
                <a:gd name="connsiteX231" fmla="*/ 7456 w 10000"/>
                <a:gd name="connsiteY231" fmla="*/ 181 h 10000"/>
                <a:gd name="connsiteX232" fmla="*/ 7408 w 10000"/>
                <a:gd name="connsiteY232" fmla="*/ 208 h 10000"/>
                <a:gd name="connsiteX233" fmla="*/ 7372 w 10000"/>
                <a:gd name="connsiteY233" fmla="*/ 283 h 10000"/>
                <a:gd name="connsiteX234" fmla="*/ 7307 w 10000"/>
                <a:gd name="connsiteY234" fmla="*/ 336 h 10000"/>
                <a:gd name="connsiteX235" fmla="*/ 7320 w 10000"/>
                <a:gd name="connsiteY235" fmla="*/ 387 h 10000"/>
                <a:gd name="connsiteX236" fmla="*/ 7421 w 10000"/>
                <a:gd name="connsiteY236" fmla="*/ 434 h 10000"/>
                <a:gd name="connsiteX237" fmla="*/ 7355 w 10000"/>
                <a:gd name="connsiteY237" fmla="*/ 475 h 10000"/>
                <a:gd name="connsiteX238" fmla="*/ 7259 w 10000"/>
                <a:gd name="connsiteY238" fmla="*/ 485 h 10000"/>
                <a:gd name="connsiteX239" fmla="*/ 6454 w 10000"/>
                <a:gd name="connsiteY239" fmla="*/ 387 h 10000"/>
                <a:gd name="connsiteX240" fmla="*/ 6357 w 10000"/>
                <a:gd name="connsiteY240" fmla="*/ 395 h 10000"/>
                <a:gd name="connsiteX241" fmla="*/ 6300 w 10000"/>
                <a:gd name="connsiteY241" fmla="*/ 414 h 10000"/>
                <a:gd name="connsiteX242" fmla="*/ 6243 w 10000"/>
                <a:gd name="connsiteY242" fmla="*/ 462 h 10000"/>
                <a:gd name="connsiteX243" fmla="*/ 6253 w 10000"/>
                <a:gd name="connsiteY243" fmla="*/ 581 h 10000"/>
                <a:gd name="connsiteX244" fmla="*/ 6164 w 10000"/>
                <a:gd name="connsiteY244" fmla="*/ 735 h 10000"/>
                <a:gd name="connsiteX245" fmla="*/ 6055 w 10000"/>
                <a:gd name="connsiteY245" fmla="*/ 815 h 10000"/>
                <a:gd name="connsiteX246" fmla="*/ 6011 w 10000"/>
                <a:gd name="connsiteY246" fmla="*/ 805 h 10000"/>
                <a:gd name="connsiteX247" fmla="*/ 5911 w 10000"/>
                <a:gd name="connsiteY247" fmla="*/ 739 h 10000"/>
                <a:gd name="connsiteX248" fmla="*/ 5783 w 10000"/>
                <a:gd name="connsiteY248" fmla="*/ 705 h 10000"/>
                <a:gd name="connsiteX249" fmla="*/ 5647 w 10000"/>
                <a:gd name="connsiteY249" fmla="*/ 715 h 10000"/>
                <a:gd name="connsiteX250" fmla="*/ 5329 w 10000"/>
                <a:gd name="connsiteY250" fmla="*/ 866 h 10000"/>
                <a:gd name="connsiteX251" fmla="*/ 5245 w 10000"/>
                <a:gd name="connsiteY251" fmla="*/ 1017 h 10000"/>
                <a:gd name="connsiteX252" fmla="*/ 5004 w 10000"/>
                <a:gd name="connsiteY252" fmla="*/ 1153 h 10000"/>
                <a:gd name="connsiteX253" fmla="*/ 4961 w 10000"/>
                <a:gd name="connsiteY253" fmla="*/ 1222 h 10000"/>
                <a:gd name="connsiteX254" fmla="*/ 5087 w 10000"/>
                <a:gd name="connsiteY254" fmla="*/ 1344 h 10000"/>
                <a:gd name="connsiteX255" fmla="*/ 5101 w 10000"/>
                <a:gd name="connsiteY255" fmla="*/ 1412 h 10000"/>
                <a:gd name="connsiteX256" fmla="*/ 4444 w 10000"/>
                <a:gd name="connsiteY256" fmla="*/ 1813 h 10000"/>
                <a:gd name="connsiteX257" fmla="*/ 4242 w 10000"/>
                <a:gd name="connsiteY257" fmla="*/ 2070 h 10000"/>
                <a:gd name="connsiteX258" fmla="*/ 4024 w 10000"/>
                <a:gd name="connsiteY258" fmla="*/ 2135 h 10000"/>
                <a:gd name="connsiteX259" fmla="*/ 3888 w 10000"/>
                <a:gd name="connsiteY259" fmla="*/ 2131 h 10000"/>
                <a:gd name="connsiteX260" fmla="*/ 3805 w 10000"/>
                <a:gd name="connsiteY260" fmla="*/ 2153 h 10000"/>
                <a:gd name="connsiteX261" fmla="*/ 3577 w 10000"/>
                <a:gd name="connsiteY261" fmla="*/ 2793 h 10000"/>
                <a:gd name="connsiteX262" fmla="*/ 3052 w 10000"/>
                <a:gd name="connsiteY262" fmla="*/ 3166 h 10000"/>
                <a:gd name="connsiteX263" fmla="*/ 3056 w 10000"/>
                <a:gd name="connsiteY263" fmla="*/ 3225 h 10000"/>
                <a:gd name="connsiteX264" fmla="*/ 3288 w 10000"/>
                <a:gd name="connsiteY264" fmla="*/ 3392 h 10000"/>
                <a:gd name="connsiteX265" fmla="*/ 3214 w 10000"/>
                <a:gd name="connsiteY265" fmla="*/ 3573 h 10000"/>
                <a:gd name="connsiteX266" fmla="*/ 3078 w 10000"/>
                <a:gd name="connsiteY266" fmla="*/ 3640 h 10000"/>
                <a:gd name="connsiteX267" fmla="*/ 2671 w 10000"/>
                <a:gd name="connsiteY267" fmla="*/ 3595 h 10000"/>
                <a:gd name="connsiteX268" fmla="*/ 2390 w 10000"/>
                <a:gd name="connsiteY268" fmla="*/ 3620 h 10000"/>
                <a:gd name="connsiteX269" fmla="*/ 2163 w 10000"/>
                <a:gd name="connsiteY269" fmla="*/ 3673 h 10000"/>
                <a:gd name="connsiteX270" fmla="*/ 1799 w 10000"/>
                <a:gd name="connsiteY270" fmla="*/ 3840 h 10000"/>
                <a:gd name="connsiteX271" fmla="*/ 1606 w 10000"/>
                <a:gd name="connsiteY271" fmla="*/ 4042 h 10000"/>
                <a:gd name="connsiteX272" fmla="*/ 1624 w 10000"/>
                <a:gd name="connsiteY272" fmla="*/ 4154 h 10000"/>
                <a:gd name="connsiteX273" fmla="*/ 1690 w 10000"/>
                <a:gd name="connsiteY273" fmla="*/ 4241 h 10000"/>
                <a:gd name="connsiteX274" fmla="*/ 1742 w 10000"/>
                <a:gd name="connsiteY274" fmla="*/ 4276 h 10000"/>
                <a:gd name="connsiteX275" fmla="*/ 1647 w 10000"/>
                <a:gd name="connsiteY275" fmla="*/ 4331 h 10000"/>
                <a:gd name="connsiteX276" fmla="*/ 1440 w 10000"/>
                <a:gd name="connsiteY276" fmla="*/ 4710 h 10000"/>
                <a:gd name="connsiteX277" fmla="*/ 1480 w 10000"/>
                <a:gd name="connsiteY277" fmla="*/ 4732 h 10000"/>
                <a:gd name="connsiteX278" fmla="*/ 1511 w 10000"/>
                <a:gd name="connsiteY278" fmla="*/ 4828 h 10000"/>
                <a:gd name="connsiteX279" fmla="*/ 1414 w 10000"/>
                <a:gd name="connsiteY279" fmla="*/ 5227 h 10000"/>
                <a:gd name="connsiteX280" fmla="*/ 1511 w 10000"/>
                <a:gd name="connsiteY280" fmla="*/ 5329 h 10000"/>
                <a:gd name="connsiteX281" fmla="*/ 1773 w 10000"/>
                <a:gd name="connsiteY281" fmla="*/ 5441 h 10000"/>
                <a:gd name="connsiteX282" fmla="*/ 1786 w 10000"/>
                <a:gd name="connsiteY282" fmla="*/ 5578 h 10000"/>
                <a:gd name="connsiteX283" fmla="*/ 1673 w 10000"/>
                <a:gd name="connsiteY283" fmla="*/ 5690 h 10000"/>
                <a:gd name="connsiteX284" fmla="*/ 1511 w 10000"/>
                <a:gd name="connsiteY284" fmla="*/ 5759 h 10000"/>
                <a:gd name="connsiteX285" fmla="*/ 1296 w 10000"/>
                <a:gd name="connsiteY285" fmla="*/ 5787 h 10000"/>
                <a:gd name="connsiteX286" fmla="*/ 1239 w 10000"/>
                <a:gd name="connsiteY286" fmla="*/ 5826 h 10000"/>
                <a:gd name="connsiteX287" fmla="*/ 1366 w 10000"/>
                <a:gd name="connsiteY287" fmla="*/ 5920 h 10000"/>
                <a:gd name="connsiteX288" fmla="*/ 1436 w 10000"/>
                <a:gd name="connsiteY288" fmla="*/ 6142 h 10000"/>
                <a:gd name="connsiteX289" fmla="*/ 1274 w 10000"/>
                <a:gd name="connsiteY289" fmla="*/ 6333 h 10000"/>
                <a:gd name="connsiteX290" fmla="*/ 1331 w 10000"/>
                <a:gd name="connsiteY290" fmla="*/ 6392 h 10000"/>
                <a:gd name="connsiteX291" fmla="*/ 1279 w 10000"/>
                <a:gd name="connsiteY291" fmla="*/ 6492 h 10000"/>
                <a:gd name="connsiteX292" fmla="*/ 1173 w 10000"/>
                <a:gd name="connsiteY292" fmla="*/ 6561 h 10000"/>
                <a:gd name="connsiteX293" fmla="*/ 762 w 10000"/>
                <a:gd name="connsiteY293" fmla="*/ 6614 h 10000"/>
                <a:gd name="connsiteX294" fmla="*/ 736 w 10000"/>
                <a:gd name="connsiteY294" fmla="*/ 6706 h 10000"/>
                <a:gd name="connsiteX295" fmla="*/ 513 w 10000"/>
                <a:gd name="connsiteY295" fmla="*/ 6843 h 10000"/>
                <a:gd name="connsiteX296" fmla="*/ 543 w 10000"/>
                <a:gd name="connsiteY296" fmla="*/ 7040 h 10000"/>
                <a:gd name="connsiteX297" fmla="*/ 355 w 10000"/>
                <a:gd name="connsiteY297" fmla="*/ 7293 h 10000"/>
                <a:gd name="connsiteX298" fmla="*/ 227 w 10000"/>
                <a:gd name="connsiteY298" fmla="*/ 7323 h 10000"/>
                <a:gd name="connsiteX299" fmla="*/ 175 w 10000"/>
                <a:gd name="connsiteY299" fmla="*/ 7262 h 10000"/>
                <a:gd name="connsiteX300" fmla="*/ 110 w 10000"/>
                <a:gd name="connsiteY300" fmla="*/ 7354 h 10000"/>
                <a:gd name="connsiteX301" fmla="*/ 153 w 10000"/>
                <a:gd name="connsiteY301" fmla="*/ 7197 h 10000"/>
                <a:gd name="connsiteX302" fmla="*/ 127 w 10000"/>
                <a:gd name="connsiteY302" fmla="*/ 7166 h 10000"/>
                <a:gd name="connsiteX0" fmla="*/ 127 w 9961"/>
                <a:gd name="connsiteY0" fmla="*/ 7166 h 10000"/>
                <a:gd name="connsiteX1" fmla="*/ 0 w 9961"/>
                <a:gd name="connsiteY1" fmla="*/ 7248 h 10000"/>
                <a:gd name="connsiteX2" fmla="*/ 0 w 9961"/>
                <a:gd name="connsiteY2" fmla="*/ 7651 h 10000"/>
                <a:gd name="connsiteX3" fmla="*/ 70 w 9961"/>
                <a:gd name="connsiteY3" fmla="*/ 7663 h 10000"/>
                <a:gd name="connsiteX4" fmla="*/ 87 w 9961"/>
                <a:gd name="connsiteY4" fmla="*/ 7694 h 10000"/>
                <a:gd name="connsiteX5" fmla="*/ 83 w 9961"/>
                <a:gd name="connsiteY5" fmla="*/ 7749 h 10000"/>
                <a:gd name="connsiteX6" fmla="*/ 57 w 9961"/>
                <a:gd name="connsiteY6" fmla="*/ 7773 h 10000"/>
                <a:gd name="connsiteX7" fmla="*/ 162 w 9961"/>
                <a:gd name="connsiteY7" fmla="*/ 7727 h 10000"/>
                <a:gd name="connsiteX8" fmla="*/ 206 w 9961"/>
                <a:gd name="connsiteY8" fmla="*/ 7680 h 10000"/>
                <a:gd name="connsiteX9" fmla="*/ 262 w 9961"/>
                <a:gd name="connsiteY9" fmla="*/ 7712 h 10000"/>
                <a:gd name="connsiteX10" fmla="*/ 201 w 9961"/>
                <a:gd name="connsiteY10" fmla="*/ 7778 h 10000"/>
                <a:gd name="connsiteX11" fmla="*/ 267 w 9961"/>
                <a:gd name="connsiteY11" fmla="*/ 7780 h 10000"/>
                <a:gd name="connsiteX12" fmla="*/ 298 w 9961"/>
                <a:gd name="connsiteY12" fmla="*/ 7796 h 10000"/>
                <a:gd name="connsiteX13" fmla="*/ 214 w 9961"/>
                <a:gd name="connsiteY13" fmla="*/ 7818 h 10000"/>
                <a:gd name="connsiteX14" fmla="*/ 83 w 9961"/>
                <a:gd name="connsiteY14" fmla="*/ 7886 h 10000"/>
                <a:gd name="connsiteX15" fmla="*/ 316 w 9961"/>
                <a:gd name="connsiteY15" fmla="*/ 7938 h 10000"/>
                <a:gd name="connsiteX16" fmla="*/ 346 w 9961"/>
                <a:gd name="connsiteY16" fmla="*/ 8014 h 10000"/>
                <a:gd name="connsiteX17" fmla="*/ 267 w 9961"/>
                <a:gd name="connsiteY17" fmla="*/ 8126 h 10000"/>
                <a:gd name="connsiteX18" fmla="*/ 438 w 9961"/>
                <a:gd name="connsiteY18" fmla="*/ 8118 h 10000"/>
                <a:gd name="connsiteX19" fmla="*/ 451 w 9961"/>
                <a:gd name="connsiteY19" fmla="*/ 8203 h 10000"/>
                <a:gd name="connsiteX20" fmla="*/ 337 w 9961"/>
                <a:gd name="connsiteY20" fmla="*/ 8260 h 10000"/>
                <a:gd name="connsiteX21" fmla="*/ 355 w 9961"/>
                <a:gd name="connsiteY21" fmla="*/ 8370 h 10000"/>
                <a:gd name="connsiteX22" fmla="*/ 311 w 9961"/>
                <a:gd name="connsiteY22" fmla="*/ 8456 h 10000"/>
                <a:gd name="connsiteX23" fmla="*/ 446 w 9961"/>
                <a:gd name="connsiteY23" fmla="*/ 8464 h 10000"/>
                <a:gd name="connsiteX24" fmla="*/ 578 w 9961"/>
                <a:gd name="connsiteY24" fmla="*/ 8792 h 10000"/>
                <a:gd name="connsiteX25" fmla="*/ 731 w 9961"/>
                <a:gd name="connsiteY25" fmla="*/ 8876 h 10000"/>
                <a:gd name="connsiteX26" fmla="*/ 797 w 9961"/>
                <a:gd name="connsiteY26" fmla="*/ 8965 h 10000"/>
                <a:gd name="connsiteX27" fmla="*/ 963 w 9961"/>
                <a:gd name="connsiteY27" fmla="*/ 9030 h 10000"/>
                <a:gd name="connsiteX28" fmla="*/ 1069 w 9961"/>
                <a:gd name="connsiteY28" fmla="*/ 9112 h 10000"/>
                <a:gd name="connsiteX29" fmla="*/ 1055 w 9961"/>
                <a:gd name="connsiteY29" fmla="*/ 9171 h 10000"/>
                <a:gd name="connsiteX30" fmla="*/ 950 w 9961"/>
                <a:gd name="connsiteY30" fmla="*/ 9193 h 10000"/>
                <a:gd name="connsiteX31" fmla="*/ 836 w 9961"/>
                <a:gd name="connsiteY31" fmla="*/ 9179 h 10000"/>
                <a:gd name="connsiteX32" fmla="*/ 801 w 9961"/>
                <a:gd name="connsiteY32" fmla="*/ 9204 h 10000"/>
                <a:gd name="connsiteX33" fmla="*/ 889 w 9961"/>
                <a:gd name="connsiteY33" fmla="*/ 9332 h 10000"/>
                <a:gd name="connsiteX34" fmla="*/ 766 w 9961"/>
                <a:gd name="connsiteY34" fmla="*/ 9322 h 10000"/>
                <a:gd name="connsiteX35" fmla="*/ 661 w 9961"/>
                <a:gd name="connsiteY35" fmla="*/ 9291 h 10000"/>
                <a:gd name="connsiteX36" fmla="*/ 643 w 9961"/>
                <a:gd name="connsiteY36" fmla="*/ 9338 h 10000"/>
                <a:gd name="connsiteX37" fmla="*/ 989 w 9961"/>
                <a:gd name="connsiteY37" fmla="*/ 9776 h 10000"/>
                <a:gd name="connsiteX38" fmla="*/ 933 w 9961"/>
                <a:gd name="connsiteY38" fmla="*/ 9817 h 10000"/>
                <a:gd name="connsiteX39" fmla="*/ 894 w 9961"/>
                <a:gd name="connsiteY39" fmla="*/ 9902 h 10000"/>
                <a:gd name="connsiteX40" fmla="*/ 845 w 9961"/>
                <a:gd name="connsiteY40" fmla="*/ 9908 h 10000"/>
                <a:gd name="connsiteX41" fmla="*/ 814 w 9961"/>
                <a:gd name="connsiteY41" fmla="*/ 9945 h 10000"/>
                <a:gd name="connsiteX42" fmla="*/ 1024 w 9961"/>
                <a:gd name="connsiteY42" fmla="*/ 9949 h 10000"/>
                <a:gd name="connsiteX43" fmla="*/ 1208 w 9961"/>
                <a:gd name="connsiteY43" fmla="*/ 9986 h 10000"/>
                <a:gd name="connsiteX44" fmla="*/ 1515 w 9961"/>
                <a:gd name="connsiteY44" fmla="*/ 9947 h 10000"/>
                <a:gd name="connsiteX45" fmla="*/ 1790 w 9961"/>
                <a:gd name="connsiteY45" fmla="*/ 9953 h 10000"/>
                <a:gd name="connsiteX46" fmla="*/ 1953 w 9961"/>
                <a:gd name="connsiteY46" fmla="*/ 10000 h 10000"/>
                <a:gd name="connsiteX47" fmla="*/ 2041 w 9961"/>
                <a:gd name="connsiteY47" fmla="*/ 9969 h 10000"/>
                <a:gd name="connsiteX48" fmla="*/ 2128 w 9961"/>
                <a:gd name="connsiteY48" fmla="*/ 9868 h 10000"/>
                <a:gd name="connsiteX49" fmla="*/ 2106 w 9961"/>
                <a:gd name="connsiteY49" fmla="*/ 9703 h 10000"/>
                <a:gd name="connsiteX50" fmla="*/ 2316 w 9961"/>
                <a:gd name="connsiteY50" fmla="*/ 9517 h 10000"/>
                <a:gd name="connsiteX51" fmla="*/ 2469 w 9961"/>
                <a:gd name="connsiteY51" fmla="*/ 9546 h 10000"/>
                <a:gd name="connsiteX52" fmla="*/ 2557 w 9961"/>
                <a:gd name="connsiteY52" fmla="*/ 9472 h 10000"/>
                <a:gd name="connsiteX53" fmla="*/ 2727 w 9961"/>
                <a:gd name="connsiteY53" fmla="*/ 9430 h 10000"/>
                <a:gd name="connsiteX54" fmla="*/ 2959 w 9961"/>
                <a:gd name="connsiteY54" fmla="*/ 9440 h 10000"/>
                <a:gd name="connsiteX55" fmla="*/ 3100 w 9961"/>
                <a:gd name="connsiteY55" fmla="*/ 9470 h 10000"/>
                <a:gd name="connsiteX56" fmla="*/ 3284 w 9961"/>
                <a:gd name="connsiteY56" fmla="*/ 9456 h 10000"/>
                <a:gd name="connsiteX57" fmla="*/ 3472 w 9961"/>
                <a:gd name="connsiteY57" fmla="*/ 9489 h 10000"/>
                <a:gd name="connsiteX58" fmla="*/ 3660 w 9961"/>
                <a:gd name="connsiteY58" fmla="*/ 9493 h 10000"/>
                <a:gd name="connsiteX59" fmla="*/ 4080 w 9961"/>
                <a:gd name="connsiteY59" fmla="*/ 9061 h 10000"/>
                <a:gd name="connsiteX60" fmla="*/ 4186 w 9961"/>
                <a:gd name="connsiteY60" fmla="*/ 8711 h 10000"/>
                <a:gd name="connsiteX61" fmla="*/ 4357 w 9961"/>
                <a:gd name="connsiteY61" fmla="*/ 8554 h 10000"/>
                <a:gd name="connsiteX62" fmla="*/ 4357 w 9961"/>
                <a:gd name="connsiteY62" fmla="*/ 8472 h 10000"/>
                <a:gd name="connsiteX63" fmla="*/ 4295 w 9961"/>
                <a:gd name="connsiteY63" fmla="*/ 8425 h 10000"/>
                <a:gd name="connsiteX64" fmla="*/ 4396 w 9961"/>
                <a:gd name="connsiteY64" fmla="*/ 8352 h 10000"/>
                <a:gd name="connsiteX65" fmla="*/ 4378 w 9961"/>
                <a:gd name="connsiteY65" fmla="*/ 8289 h 10000"/>
                <a:gd name="connsiteX66" fmla="*/ 4308 w 9961"/>
                <a:gd name="connsiteY66" fmla="*/ 8236 h 10000"/>
                <a:gd name="connsiteX67" fmla="*/ 4295 w 9961"/>
                <a:gd name="connsiteY67" fmla="*/ 8199 h 10000"/>
                <a:gd name="connsiteX68" fmla="*/ 4312 w 9961"/>
                <a:gd name="connsiteY68" fmla="*/ 8169 h 10000"/>
                <a:gd name="connsiteX69" fmla="*/ 4405 w 9961"/>
                <a:gd name="connsiteY69" fmla="*/ 8193 h 10000"/>
                <a:gd name="connsiteX70" fmla="*/ 4479 w 9961"/>
                <a:gd name="connsiteY70" fmla="*/ 8191 h 10000"/>
                <a:gd name="connsiteX71" fmla="*/ 4439 w 9961"/>
                <a:gd name="connsiteY71" fmla="*/ 8140 h 10000"/>
                <a:gd name="connsiteX72" fmla="*/ 4452 w 9961"/>
                <a:gd name="connsiteY72" fmla="*/ 8112 h 10000"/>
                <a:gd name="connsiteX73" fmla="*/ 4505 w 9961"/>
                <a:gd name="connsiteY73" fmla="*/ 8069 h 10000"/>
                <a:gd name="connsiteX74" fmla="*/ 4496 w 9961"/>
                <a:gd name="connsiteY74" fmla="*/ 8034 h 10000"/>
                <a:gd name="connsiteX75" fmla="*/ 4545 w 9961"/>
                <a:gd name="connsiteY75" fmla="*/ 7916 h 10000"/>
                <a:gd name="connsiteX76" fmla="*/ 4532 w 9961"/>
                <a:gd name="connsiteY76" fmla="*/ 7881 h 10000"/>
                <a:gd name="connsiteX77" fmla="*/ 4277 w 9961"/>
                <a:gd name="connsiteY77" fmla="*/ 7792 h 10000"/>
                <a:gd name="connsiteX78" fmla="*/ 4312 w 9961"/>
                <a:gd name="connsiteY78" fmla="*/ 7788 h 10000"/>
                <a:gd name="connsiteX79" fmla="*/ 4448 w 9961"/>
                <a:gd name="connsiteY79" fmla="*/ 7812 h 10000"/>
                <a:gd name="connsiteX80" fmla="*/ 4593 w 9961"/>
                <a:gd name="connsiteY80" fmla="*/ 7804 h 10000"/>
                <a:gd name="connsiteX81" fmla="*/ 4636 w 9961"/>
                <a:gd name="connsiteY81" fmla="*/ 7771 h 10000"/>
                <a:gd name="connsiteX82" fmla="*/ 4496 w 9961"/>
                <a:gd name="connsiteY82" fmla="*/ 7710 h 10000"/>
                <a:gd name="connsiteX83" fmla="*/ 4076 w 9961"/>
                <a:gd name="connsiteY83" fmla="*/ 7670 h 10000"/>
                <a:gd name="connsiteX84" fmla="*/ 4106 w 9961"/>
                <a:gd name="connsiteY84" fmla="*/ 7651 h 10000"/>
                <a:gd name="connsiteX85" fmla="*/ 4448 w 9961"/>
                <a:gd name="connsiteY85" fmla="*/ 7639 h 10000"/>
                <a:gd name="connsiteX86" fmla="*/ 4636 w 9961"/>
                <a:gd name="connsiteY86" fmla="*/ 7676 h 10000"/>
                <a:gd name="connsiteX87" fmla="*/ 4746 w 9961"/>
                <a:gd name="connsiteY87" fmla="*/ 7651 h 10000"/>
                <a:gd name="connsiteX88" fmla="*/ 4785 w 9961"/>
                <a:gd name="connsiteY88" fmla="*/ 7588 h 10000"/>
                <a:gd name="connsiteX89" fmla="*/ 4982 w 9961"/>
                <a:gd name="connsiteY89" fmla="*/ 7588 h 10000"/>
                <a:gd name="connsiteX90" fmla="*/ 5249 w 9961"/>
                <a:gd name="connsiteY90" fmla="*/ 7462 h 10000"/>
                <a:gd name="connsiteX91" fmla="*/ 5258 w 9961"/>
                <a:gd name="connsiteY91" fmla="*/ 7378 h 10000"/>
                <a:gd name="connsiteX92" fmla="*/ 5372 w 9961"/>
                <a:gd name="connsiteY92" fmla="*/ 7397 h 10000"/>
                <a:gd name="connsiteX93" fmla="*/ 5368 w 9961"/>
                <a:gd name="connsiteY93" fmla="*/ 7482 h 10000"/>
                <a:gd name="connsiteX94" fmla="*/ 5547 w 9961"/>
                <a:gd name="connsiteY94" fmla="*/ 7476 h 10000"/>
                <a:gd name="connsiteX95" fmla="*/ 5665 w 9961"/>
                <a:gd name="connsiteY95" fmla="*/ 7388 h 10000"/>
                <a:gd name="connsiteX96" fmla="*/ 5885 w 9961"/>
                <a:gd name="connsiteY96" fmla="*/ 7309 h 10000"/>
                <a:gd name="connsiteX97" fmla="*/ 5849 w 9961"/>
                <a:gd name="connsiteY97" fmla="*/ 7219 h 10000"/>
                <a:gd name="connsiteX98" fmla="*/ 5915 w 9961"/>
                <a:gd name="connsiteY98" fmla="*/ 7254 h 10000"/>
                <a:gd name="connsiteX99" fmla="*/ 6015 w 9961"/>
                <a:gd name="connsiteY99" fmla="*/ 7254 h 10000"/>
                <a:gd name="connsiteX100" fmla="*/ 6015 w 9961"/>
                <a:gd name="connsiteY100" fmla="*/ 7213 h 10000"/>
                <a:gd name="connsiteX101" fmla="*/ 6108 w 9961"/>
                <a:gd name="connsiteY101" fmla="*/ 7181 h 10000"/>
                <a:gd name="connsiteX102" fmla="*/ 6095 w 9961"/>
                <a:gd name="connsiteY102" fmla="*/ 7148 h 10000"/>
                <a:gd name="connsiteX103" fmla="*/ 5307 w 9961"/>
                <a:gd name="connsiteY103" fmla="*/ 7215 h 10000"/>
                <a:gd name="connsiteX104" fmla="*/ 5123 w 9961"/>
                <a:gd name="connsiteY104" fmla="*/ 7195 h 10000"/>
                <a:gd name="connsiteX105" fmla="*/ 5048 w 9961"/>
                <a:gd name="connsiteY105" fmla="*/ 7219 h 10000"/>
                <a:gd name="connsiteX106" fmla="*/ 5022 w 9961"/>
                <a:gd name="connsiteY106" fmla="*/ 7173 h 10000"/>
                <a:gd name="connsiteX107" fmla="*/ 4935 w 9961"/>
                <a:gd name="connsiteY107" fmla="*/ 7132 h 10000"/>
                <a:gd name="connsiteX108" fmla="*/ 4584 w 9961"/>
                <a:gd name="connsiteY108" fmla="*/ 7052 h 10000"/>
                <a:gd name="connsiteX109" fmla="*/ 4378 w 9961"/>
                <a:gd name="connsiteY109" fmla="*/ 7065 h 10000"/>
                <a:gd name="connsiteX110" fmla="*/ 4295 w 9961"/>
                <a:gd name="connsiteY110" fmla="*/ 7042 h 10000"/>
                <a:gd name="connsiteX111" fmla="*/ 4383 w 9961"/>
                <a:gd name="connsiteY111" fmla="*/ 7022 h 10000"/>
                <a:gd name="connsiteX112" fmla="*/ 4448 w 9961"/>
                <a:gd name="connsiteY112" fmla="*/ 6979 h 10000"/>
                <a:gd name="connsiteX113" fmla="*/ 4545 w 9961"/>
                <a:gd name="connsiteY113" fmla="*/ 6993 h 10000"/>
                <a:gd name="connsiteX114" fmla="*/ 4663 w 9961"/>
                <a:gd name="connsiteY114" fmla="*/ 6981 h 10000"/>
                <a:gd name="connsiteX115" fmla="*/ 4838 w 9961"/>
                <a:gd name="connsiteY115" fmla="*/ 6995 h 10000"/>
                <a:gd name="connsiteX116" fmla="*/ 4859 w 9961"/>
                <a:gd name="connsiteY116" fmla="*/ 6989 h 10000"/>
                <a:gd name="connsiteX117" fmla="*/ 4996 w 9961"/>
                <a:gd name="connsiteY117" fmla="*/ 7056 h 10000"/>
                <a:gd name="connsiteX118" fmla="*/ 5097 w 9961"/>
                <a:gd name="connsiteY118" fmla="*/ 7032 h 10000"/>
                <a:gd name="connsiteX119" fmla="*/ 5105 w 9961"/>
                <a:gd name="connsiteY119" fmla="*/ 7010 h 10000"/>
                <a:gd name="connsiteX120" fmla="*/ 5197 w 9961"/>
                <a:gd name="connsiteY120" fmla="*/ 7048 h 10000"/>
                <a:gd name="connsiteX121" fmla="*/ 5320 w 9961"/>
                <a:gd name="connsiteY121" fmla="*/ 7069 h 10000"/>
                <a:gd name="connsiteX122" fmla="*/ 5368 w 9961"/>
                <a:gd name="connsiteY122" fmla="*/ 7030 h 10000"/>
                <a:gd name="connsiteX123" fmla="*/ 5407 w 9961"/>
                <a:gd name="connsiteY123" fmla="*/ 7052 h 10000"/>
                <a:gd name="connsiteX124" fmla="*/ 5464 w 9961"/>
                <a:gd name="connsiteY124" fmla="*/ 7126 h 10000"/>
                <a:gd name="connsiteX125" fmla="*/ 5582 w 9961"/>
                <a:gd name="connsiteY125" fmla="*/ 7144 h 10000"/>
                <a:gd name="connsiteX126" fmla="*/ 6064 w 9961"/>
                <a:gd name="connsiteY126" fmla="*/ 7034 h 10000"/>
                <a:gd name="connsiteX127" fmla="*/ 6300 w 9961"/>
                <a:gd name="connsiteY127" fmla="*/ 6879 h 10000"/>
                <a:gd name="connsiteX128" fmla="*/ 6357 w 9961"/>
                <a:gd name="connsiteY128" fmla="*/ 6765 h 10000"/>
                <a:gd name="connsiteX129" fmla="*/ 6270 w 9961"/>
                <a:gd name="connsiteY129" fmla="*/ 6663 h 10000"/>
                <a:gd name="connsiteX130" fmla="*/ 6090 w 9961"/>
                <a:gd name="connsiteY130" fmla="*/ 6602 h 10000"/>
                <a:gd name="connsiteX131" fmla="*/ 5963 w 9961"/>
                <a:gd name="connsiteY131" fmla="*/ 6502 h 10000"/>
                <a:gd name="connsiteX132" fmla="*/ 6082 w 9961"/>
                <a:gd name="connsiteY132" fmla="*/ 6498 h 10000"/>
                <a:gd name="connsiteX133" fmla="*/ 6073 w 9961"/>
                <a:gd name="connsiteY133" fmla="*/ 6474 h 10000"/>
                <a:gd name="connsiteX134" fmla="*/ 5762 w 9961"/>
                <a:gd name="connsiteY134" fmla="*/ 6403 h 10000"/>
                <a:gd name="connsiteX135" fmla="*/ 5749 w 9961"/>
                <a:gd name="connsiteY135" fmla="*/ 6339 h 10000"/>
                <a:gd name="connsiteX136" fmla="*/ 5692 w 9961"/>
                <a:gd name="connsiteY136" fmla="*/ 6272 h 10000"/>
                <a:gd name="connsiteX137" fmla="*/ 5446 w 9961"/>
                <a:gd name="connsiteY137" fmla="*/ 6284 h 10000"/>
                <a:gd name="connsiteX138" fmla="*/ 5359 w 9961"/>
                <a:gd name="connsiteY138" fmla="*/ 6213 h 10000"/>
                <a:gd name="connsiteX139" fmla="*/ 5307 w 9961"/>
                <a:gd name="connsiteY139" fmla="*/ 6209 h 10000"/>
                <a:gd name="connsiteX140" fmla="*/ 5307 w 9961"/>
                <a:gd name="connsiteY140" fmla="*/ 6238 h 10000"/>
                <a:gd name="connsiteX141" fmla="*/ 5197 w 9961"/>
                <a:gd name="connsiteY141" fmla="*/ 6358 h 10000"/>
                <a:gd name="connsiteX142" fmla="*/ 5078 w 9961"/>
                <a:gd name="connsiteY142" fmla="*/ 6429 h 10000"/>
                <a:gd name="connsiteX143" fmla="*/ 4706 w 9961"/>
                <a:gd name="connsiteY143" fmla="*/ 6551 h 10000"/>
                <a:gd name="connsiteX144" fmla="*/ 4575 w 9961"/>
                <a:gd name="connsiteY144" fmla="*/ 6547 h 10000"/>
                <a:gd name="connsiteX145" fmla="*/ 4396 w 9961"/>
                <a:gd name="connsiteY145" fmla="*/ 6565 h 10000"/>
                <a:gd name="connsiteX146" fmla="*/ 4295 w 9961"/>
                <a:gd name="connsiteY146" fmla="*/ 6547 h 10000"/>
                <a:gd name="connsiteX147" fmla="*/ 4426 w 9961"/>
                <a:gd name="connsiteY147" fmla="*/ 6513 h 10000"/>
                <a:gd name="connsiteX148" fmla="*/ 4597 w 9961"/>
                <a:gd name="connsiteY148" fmla="*/ 6498 h 10000"/>
                <a:gd name="connsiteX149" fmla="*/ 4738 w 9961"/>
                <a:gd name="connsiteY149" fmla="*/ 6441 h 10000"/>
                <a:gd name="connsiteX150" fmla="*/ 4877 w 9961"/>
                <a:gd name="connsiteY150" fmla="*/ 6415 h 10000"/>
                <a:gd name="connsiteX151" fmla="*/ 5136 w 9961"/>
                <a:gd name="connsiteY151" fmla="*/ 6317 h 10000"/>
                <a:gd name="connsiteX152" fmla="*/ 5184 w 9961"/>
                <a:gd name="connsiteY152" fmla="*/ 6252 h 10000"/>
                <a:gd name="connsiteX153" fmla="*/ 5188 w 9961"/>
                <a:gd name="connsiteY153" fmla="*/ 6168 h 10000"/>
                <a:gd name="connsiteX154" fmla="*/ 5070 w 9961"/>
                <a:gd name="connsiteY154" fmla="*/ 6154 h 10000"/>
                <a:gd name="connsiteX155" fmla="*/ 5123 w 9961"/>
                <a:gd name="connsiteY155" fmla="*/ 6103 h 10000"/>
                <a:gd name="connsiteX156" fmla="*/ 5140 w 9961"/>
                <a:gd name="connsiteY156" fmla="*/ 6038 h 10000"/>
                <a:gd name="connsiteX157" fmla="*/ 5091 w 9961"/>
                <a:gd name="connsiteY157" fmla="*/ 5977 h 10000"/>
                <a:gd name="connsiteX158" fmla="*/ 5061 w 9961"/>
                <a:gd name="connsiteY158" fmla="*/ 5533 h 10000"/>
                <a:gd name="connsiteX159" fmla="*/ 5132 w 9961"/>
                <a:gd name="connsiteY159" fmla="*/ 5437 h 10000"/>
                <a:gd name="connsiteX160" fmla="*/ 5114 w 9961"/>
                <a:gd name="connsiteY160" fmla="*/ 5398 h 10000"/>
                <a:gd name="connsiteX161" fmla="*/ 5320 w 9961"/>
                <a:gd name="connsiteY161" fmla="*/ 5455 h 10000"/>
                <a:gd name="connsiteX162" fmla="*/ 5333 w 9961"/>
                <a:gd name="connsiteY162" fmla="*/ 5402 h 10000"/>
                <a:gd name="connsiteX163" fmla="*/ 5289 w 9961"/>
                <a:gd name="connsiteY163" fmla="*/ 5264 h 10000"/>
                <a:gd name="connsiteX164" fmla="*/ 5437 w 9961"/>
                <a:gd name="connsiteY164" fmla="*/ 5019 h 10000"/>
                <a:gd name="connsiteX165" fmla="*/ 5346 w 9961"/>
                <a:gd name="connsiteY165" fmla="*/ 4960 h 10000"/>
                <a:gd name="connsiteX166" fmla="*/ 5311 w 9961"/>
                <a:gd name="connsiteY166" fmla="*/ 4905 h 10000"/>
                <a:gd name="connsiteX167" fmla="*/ 5324 w 9961"/>
                <a:gd name="connsiteY167" fmla="*/ 4816 h 10000"/>
                <a:gd name="connsiteX168" fmla="*/ 5539 w 9961"/>
                <a:gd name="connsiteY168" fmla="*/ 4875 h 10000"/>
                <a:gd name="connsiteX169" fmla="*/ 5547 w 9961"/>
                <a:gd name="connsiteY169" fmla="*/ 4858 h 10000"/>
                <a:gd name="connsiteX170" fmla="*/ 5608 w 9961"/>
                <a:gd name="connsiteY170" fmla="*/ 4842 h 10000"/>
                <a:gd name="connsiteX171" fmla="*/ 5692 w 9961"/>
                <a:gd name="connsiteY171" fmla="*/ 4785 h 10000"/>
                <a:gd name="connsiteX172" fmla="*/ 5705 w 9961"/>
                <a:gd name="connsiteY172" fmla="*/ 4769 h 10000"/>
                <a:gd name="connsiteX173" fmla="*/ 5688 w 9961"/>
                <a:gd name="connsiteY173" fmla="*/ 4748 h 10000"/>
                <a:gd name="connsiteX174" fmla="*/ 5731 w 9961"/>
                <a:gd name="connsiteY174" fmla="*/ 4647 h 10000"/>
                <a:gd name="connsiteX175" fmla="*/ 5679 w 9961"/>
                <a:gd name="connsiteY175" fmla="*/ 4581 h 10000"/>
                <a:gd name="connsiteX176" fmla="*/ 5688 w 9961"/>
                <a:gd name="connsiteY176" fmla="*/ 4528 h 10000"/>
                <a:gd name="connsiteX177" fmla="*/ 5718 w 9961"/>
                <a:gd name="connsiteY177" fmla="*/ 4590 h 10000"/>
                <a:gd name="connsiteX178" fmla="*/ 5836 w 9961"/>
                <a:gd name="connsiteY178" fmla="*/ 4636 h 10000"/>
                <a:gd name="connsiteX179" fmla="*/ 5885 w 9961"/>
                <a:gd name="connsiteY179" fmla="*/ 4630 h 10000"/>
                <a:gd name="connsiteX180" fmla="*/ 5963 w 9961"/>
                <a:gd name="connsiteY180" fmla="*/ 4569 h 10000"/>
                <a:gd name="connsiteX181" fmla="*/ 6046 w 9961"/>
                <a:gd name="connsiteY181" fmla="*/ 4594 h 10000"/>
                <a:gd name="connsiteX182" fmla="*/ 6069 w 9961"/>
                <a:gd name="connsiteY182" fmla="*/ 4545 h 10000"/>
                <a:gd name="connsiteX183" fmla="*/ 6125 w 9961"/>
                <a:gd name="connsiteY183" fmla="*/ 4512 h 10000"/>
                <a:gd name="connsiteX184" fmla="*/ 5972 w 9961"/>
                <a:gd name="connsiteY184" fmla="*/ 4477 h 10000"/>
                <a:gd name="connsiteX185" fmla="*/ 6082 w 9961"/>
                <a:gd name="connsiteY185" fmla="*/ 4484 h 10000"/>
                <a:gd name="connsiteX186" fmla="*/ 6195 w 9961"/>
                <a:gd name="connsiteY186" fmla="*/ 4447 h 10000"/>
                <a:gd name="connsiteX187" fmla="*/ 6191 w 9961"/>
                <a:gd name="connsiteY187" fmla="*/ 4422 h 10000"/>
                <a:gd name="connsiteX188" fmla="*/ 6296 w 9961"/>
                <a:gd name="connsiteY188" fmla="*/ 4398 h 10000"/>
                <a:gd name="connsiteX189" fmla="*/ 6305 w 9961"/>
                <a:gd name="connsiteY189" fmla="*/ 4337 h 10000"/>
                <a:gd name="connsiteX190" fmla="*/ 6388 w 9961"/>
                <a:gd name="connsiteY190" fmla="*/ 4325 h 10000"/>
                <a:gd name="connsiteX191" fmla="*/ 6396 w 9961"/>
                <a:gd name="connsiteY191" fmla="*/ 4253 h 10000"/>
                <a:gd name="connsiteX192" fmla="*/ 6484 w 9961"/>
                <a:gd name="connsiteY192" fmla="*/ 4245 h 10000"/>
                <a:gd name="connsiteX193" fmla="*/ 6619 w 9961"/>
                <a:gd name="connsiteY193" fmla="*/ 4260 h 10000"/>
                <a:gd name="connsiteX194" fmla="*/ 6768 w 9961"/>
                <a:gd name="connsiteY194" fmla="*/ 4202 h 10000"/>
                <a:gd name="connsiteX195" fmla="*/ 6821 w 9961"/>
                <a:gd name="connsiteY195" fmla="*/ 4137 h 10000"/>
                <a:gd name="connsiteX196" fmla="*/ 7005 w 9961"/>
                <a:gd name="connsiteY196" fmla="*/ 4070 h 10000"/>
                <a:gd name="connsiteX197" fmla="*/ 7097 w 9961"/>
                <a:gd name="connsiteY197" fmla="*/ 4111 h 10000"/>
                <a:gd name="connsiteX198" fmla="*/ 7237 w 9961"/>
                <a:gd name="connsiteY198" fmla="*/ 4066 h 10000"/>
                <a:gd name="connsiteX199" fmla="*/ 7272 w 9961"/>
                <a:gd name="connsiteY199" fmla="*/ 4009 h 10000"/>
                <a:gd name="connsiteX200" fmla="*/ 7377 w 9961"/>
                <a:gd name="connsiteY200" fmla="*/ 3970 h 10000"/>
                <a:gd name="connsiteX201" fmla="*/ 7469 w 9961"/>
                <a:gd name="connsiteY201" fmla="*/ 3987 h 10000"/>
                <a:gd name="connsiteX202" fmla="*/ 7526 w 9961"/>
                <a:gd name="connsiteY202" fmla="*/ 3958 h 10000"/>
                <a:gd name="connsiteX203" fmla="*/ 7684 w 9961"/>
                <a:gd name="connsiteY203" fmla="*/ 3917 h 10000"/>
                <a:gd name="connsiteX204" fmla="*/ 7749 w 9961"/>
                <a:gd name="connsiteY204" fmla="*/ 3864 h 10000"/>
                <a:gd name="connsiteX205" fmla="*/ 7837 w 9961"/>
                <a:gd name="connsiteY205" fmla="*/ 3842 h 10000"/>
                <a:gd name="connsiteX206" fmla="*/ 8323 w 9961"/>
                <a:gd name="connsiteY206" fmla="*/ 3522 h 10000"/>
                <a:gd name="connsiteX207" fmla="*/ 9768 w 9961"/>
                <a:gd name="connsiteY207" fmla="*/ 2343 h 10000"/>
                <a:gd name="connsiteX208" fmla="*/ 9961 w 9961"/>
                <a:gd name="connsiteY208" fmla="*/ 2410 h 10000"/>
                <a:gd name="connsiteX209" fmla="*/ 9755 w 9961"/>
                <a:gd name="connsiteY209" fmla="*/ 1992 h 10000"/>
                <a:gd name="connsiteX210" fmla="*/ 9794 w 9961"/>
                <a:gd name="connsiteY210" fmla="*/ 1897 h 10000"/>
                <a:gd name="connsiteX211" fmla="*/ 9881 w 9961"/>
                <a:gd name="connsiteY211" fmla="*/ 1819 h 10000"/>
                <a:gd name="connsiteX212" fmla="*/ 9881 w 9961"/>
                <a:gd name="connsiteY212" fmla="*/ 1699 h 10000"/>
                <a:gd name="connsiteX213" fmla="*/ 9606 w 9961"/>
                <a:gd name="connsiteY213" fmla="*/ 1465 h 10000"/>
                <a:gd name="connsiteX214" fmla="*/ 9562 w 9961"/>
                <a:gd name="connsiteY214" fmla="*/ 1379 h 10000"/>
                <a:gd name="connsiteX215" fmla="*/ 9623 w 9961"/>
                <a:gd name="connsiteY215" fmla="*/ 1271 h 10000"/>
                <a:gd name="connsiteX216" fmla="*/ 9593 w 9961"/>
                <a:gd name="connsiteY216" fmla="*/ 1194 h 10000"/>
                <a:gd name="connsiteX217" fmla="*/ 9536 w 9961"/>
                <a:gd name="connsiteY217" fmla="*/ 1159 h 10000"/>
                <a:gd name="connsiteX218" fmla="*/ 9487 w 9961"/>
                <a:gd name="connsiteY218" fmla="*/ 978 h 10000"/>
                <a:gd name="connsiteX219" fmla="*/ 9545 w 9961"/>
                <a:gd name="connsiteY219" fmla="*/ 831 h 10000"/>
                <a:gd name="connsiteX220" fmla="*/ 9124 w 9961"/>
                <a:gd name="connsiteY220" fmla="*/ 517 h 10000"/>
                <a:gd name="connsiteX221" fmla="*/ 8918 w 9961"/>
                <a:gd name="connsiteY221" fmla="*/ 440 h 10000"/>
                <a:gd name="connsiteX222" fmla="*/ 8537 w 9961"/>
                <a:gd name="connsiteY222" fmla="*/ 389 h 10000"/>
                <a:gd name="connsiteX223" fmla="*/ 7749 w 9961"/>
                <a:gd name="connsiteY223" fmla="*/ 26 h 10000"/>
                <a:gd name="connsiteX224" fmla="*/ 7723 w 9961"/>
                <a:gd name="connsiteY224" fmla="*/ 2 h 10000"/>
                <a:gd name="connsiteX225" fmla="*/ 7456 w 9961"/>
                <a:gd name="connsiteY225" fmla="*/ 0 h 10000"/>
                <a:gd name="connsiteX226" fmla="*/ 7394 w 9961"/>
                <a:gd name="connsiteY226" fmla="*/ 14 h 10000"/>
                <a:gd name="connsiteX227" fmla="*/ 7408 w 9961"/>
                <a:gd name="connsiteY227" fmla="*/ 61 h 10000"/>
                <a:gd name="connsiteX228" fmla="*/ 7461 w 9961"/>
                <a:gd name="connsiteY228" fmla="*/ 86 h 10000"/>
                <a:gd name="connsiteX229" fmla="*/ 7474 w 9961"/>
                <a:gd name="connsiteY229" fmla="*/ 139 h 10000"/>
                <a:gd name="connsiteX230" fmla="*/ 7456 w 9961"/>
                <a:gd name="connsiteY230" fmla="*/ 181 h 10000"/>
                <a:gd name="connsiteX231" fmla="*/ 7408 w 9961"/>
                <a:gd name="connsiteY231" fmla="*/ 208 h 10000"/>
                <a:gd name="connsiteX232" fmla="*/ 7372 w 9961"/>
                <a:gd name="connsiteY232" fmla="*/ 283 h 10000"/>
                <a:gd name="connsiteX233" fmla="*/ 7307 w 9961"/>
                <a:gd name="connsiteY233" fmla="*/ 336 h 10000"/>
                <a:gd name="connsiteX234" fmla="*/ 7320 w 9961"/>
                <a:gd name="connsiteY234" fmla="*/ 387 h 10000"/>
                <a:gd name="connsiteX235" fmla="*/ 7421 w 9961"/>
                <a:gd name="connsiteY235" fmla="*/ 434 h 10000"/>
                <a:gd name="connsiteX236" fmla="*/ 7355 w 9961"/>
                <a:gd name="connsiteY236" fmla="*/ 475 h 10000"/>
                <a:gd name="connsiteX237" fmla="*/ 7259 w 9961"/>
                <a:gd name="connsiteY237" fmla="*/ 485 h 10000"/>
                <a:gd name="connsiteX238" fmla="*/ 6454 w 9961"/>
                <a:gd name="connsiteY238" fmla="*/ 387 h 10000"/>
                <a:gd name="connsiteX239" fmla="*/ 6357 w 9961"/>
                <a:gd name="connsiteY239" fmla="*/ 395 h 10000"/>
                <a:gd name="connsiteX240" fmla="*/ 6300 w 9961"/>
                <a:gd name="connsiteY240" fmla="*/ 414 h 10000"/>
                <a:gd name="connsiteX241" fmla="*/ 6243 w 9961"/>
                <a:gd name="connsiteY241" fmla="*/ 462 h 10000"/>
                <a:gd name="connsiteX242" fmla="*/ 6253 w 9961"/>
                <a:gd name="connsiteY242" fmla="*/ 581 h 10000"/>
                <a:gd name="connsiteX243" fmla="*/ 6164 w 9961"/>
                <a:gd name="connsiteY243" fmla="*/ 735 h 10000"/>
                <a:gd name="connsiteX244" fmla="*/ 6055 w 9961"/>
                <a:gd name="connsiteY244" fmla="*/ 815 h 10000"/>
                <a:gd name="connsiteX245" fmla="*/ 6011 w 9961"/>
                <a:gd name="connsiteY245" fmla="*/ 805 h 10000"/>
                <a:gd name="connsiteX246" fmla="*/ 5911 w 9961"/>
                <a:gd name="connsiteY246" fmla="*/ 739 h 10000"/>
                <a:gd name="connsiteX247" fmla="*/ 5783 w 9961"/>
                <a:gd name="connsiteY247" fmla="*/ 705 h 10000"/>
                <a:gd name="connsiteX248" fmla="*/ 5647 w 9961"/>
                <a:gd name="connsiteY248" fmla="*/ 715 h 10000"/>
                <a:gd name="connsiteX249" fmla="*/ 5329 w 9961"/>
                <a:gd name="connsiteY249" fmla="*/ 866 h 10000"/>
                <a:gd name="connsiteX250" fmla="*/ 5245 w 9961"/>
                <a:gd name="connsiteY250" fmla="*/ 1017 h 10000"/>
                <a:gd name="connsiteX251" fmla="*/ 5004 w 9961"/>
                <a:gd name="connsiteY251" fmla="*/ 1153 h 10000"/>
                <a:gd name="connsiteX252" fmla="*/ 4961 w 9961"/>
                <a:gd name="connsiteY252" fmla="*/ 1222 h 10000"/>
                <a:gd name="connsiteX253" fmla="*/ 5087 w 9961"/>
                <a:gd name="connsiteY253" fmla="*/ 1344 h 10000"/>
                <a:gd name="connsiteX254" fmla="*/ 5101 w 9961"/>
                <a:gd name="connsiteY254" fmla="*/ 1412 h 10000"/>
                <a:gd name="connsiteX255" fmla="*/ 4444 w 9961"/>
                <a:gd name="connsiteY255" fmla="*/ 1813 h 10000"/>
                <a:gd name="connsiteX256" fmla="*/ 4242 w 9961"/>
                <a:gd name="connsiteY256" fmla="*/ 2070 h 10000"/>
                <a:gd name="connsiteX257" fmla="*/ 4024 w 9961"/>
                <a:gd name="connsiteY257" fmla="*/ 2135 h 10000"/>
                <a:gd name="connsiteX258" fmla="*/ 3888 w 9961"/>
                <a:gd name="connsiteY258" fmla="*/ 2131 h 10000"/>
                <a:gd name="connsiteX259" fmla="*/ 3805 w 9961"/>
                <a:gd name="connsiteY259" fmla="*/ 2153 h 10000"/>
                <a:gd name="connsiteX260" fmla="*/ 3577 w 9961"/>
                <a:gd name="connsiteY260" fmla="*/ 2793 h 10000"/>
                <a:gd name="connsiteX261" fmla="*/ 3052 w 9961"/>
                <a:gd name="connsiteY261" fmla="*/ 3166 h 10000"/>
                <a:gd name="connsiteX262" fmla="*/ 3056 w 9961"/>
                <a:gd name="connsiteY262" fmla="*/ 3225 h 10000"/>
                <a:gd name="connsiteX263" fmla="*/ 3288 w 9961"/>
                <a:gd name="connsiteY263" fmla="*/ 3392 h 10000"/>
                <a:gd name="connsiteX264" fmla="*/ 3214 w 9961"/>
                <a:gd name="connsiteY264" fmla="*/ 3573 h 10000"/>
                <a:gd name="connsiteX265" fmla="*/ 3078 w 9961"/>
                <a:gd name="connsiteY265" fmla="*/ 3640 h 10000"/>
                <a:gd name="connsiteX266" fmla="*/ 2671 w 9961"/>
                <a:gd name="connsiteY266" fmla="*/ 3595 h 10000"/>
                <a:gd name="connsiteX267" fmla="*/ 2390 w 9961"/>
                <a:gd name="connsiteY267" fmla="*/ 3620 h 10000"/>
                <a:gd name="connsiteX268" fmla="*/ 2163 w 9961"/>
                <a:gd name="connsiteY268" fmla="*/ 3673 h 10000"/>
                <a:gd name="connsiteX269" fmla="*/ 1799 w 9961"/>
                <a:gd name="connsiteY269" fmla="*/ 3840 h 10000"/>
                <a:gd name="connsiteX270" fmla="*/ 1606 w 9961"/>
                <a:gd name="connsiteY270" fmla="*/ 4042 h 10000"/>
                <a:gd name="connsiteX271" fmla="*/ 1624 w 9961"/>
                <a:gd name="connsiteY271" fmla="*/ 4154 h 10000"/>
                <a:gd name="connsiteX272" fmla="*/ 1690 w 9961"/>
                <a:gd name="connsiteY272" fmla="*/ 4241 h 10000"/>
                <a:gd name="connsiteX273" fmla="*/ 1742 w 9961"/>
                <a:gd name="connsiteY273" fmla="*/ 4276 h 10000"/>
                <a:gd name="connsiteX274" fmla="*/ 1647 w 9961"/>
                <a:gd name="connsiteY274" fmla="*/ 4331 h 10000"/>
                <a:gd name="connsiteX275" fmla="*/ 1440 w 9961"/>
                <a:gd name="connsiteY275" fmla="*/ 4710 h 10000"/>
                <a:gd name="connsiteX276" fmla="*/ 1480 w 9961"/>
                <a:gd name="connsiteY276" fmla="*/ 4732 h 10000"/>
                <a:gd name="connsiteX277" fmla="*/ 1511 w 9961"/>
                <a:gd name="connsiteY277" fmla="*/ 4828 h 10000"/>
                <a:gd name="connsiteX278" fmla="*/ 1414 w 9961"/>
                <a:gd name="connsiteY278" fmla="*/ 5227 h 10000"/>
                <a:gd name="connsiteX279" fmla="*/ 1511 w 9961"/>
                <a:gd name="connsiteY279" fmla="*/ 5329 h 10000"/>
                <a:gd name="connsiteX280" fmla="*/ 1773 w 9961"/>
                <a:gd name="connsiteY280" fmla="*/ 5441 h 10000"/>
                <a:gd name="connsiteX281" fmla="*/ 1786 w 9961"/>
                <a:gd name="connsiteY281" fmla="*/ 5578 h 10000"/>
                <a:gd name="connsiteX282" fmla="*/ 1673 w 9961"/>
                <a:gd name="connsiteY282" fmla="*/ 5690 h 10000"/>
                <a:gd name="connsiteX283" fmla="*/ 1511 w 9961"/>
                <a:gd name="connsiteY283" fmla="*/ 5759 h 10000"/>
                <a:gd name="connsiteX284" fmla="*/ 1296 w 9961"/>
                <a:gd name="connsiteY284" fmla="*/ 5787 h 10000"/>
                <a:gd name="connsiteX285" fmla="*/ 1239 w 9961"/>
                <a:gd name="connsiteY285" fmla="*/ 5826 h 10000"/>
                <a:gd name="connsiteX286" fmla="*/ 1366 w 9961"/>
                <a:gd name="connsiteY286" fmla="*/ 5920 h 10000"/>
                <a:gd name="connsiteX287" fmla="*/ 1436 w 9961"/>
                <a:gd name="connsiteY287" fmla="*/ 6142 h 10000"/>
                <a:gd name="connsiteX288" fmla="*/ 1274 w 9961"/>
                <a:gd name="connsiteY288" fmla="*/ 6333 h 10000"/>
                <a:gd name="connsiteX289" fmla="*/ 1331 w 9961"/>
                <a:gd name="connsiteY289" fmla="*/ 6392 h 10000"/>
                <a:gd name="connsiteX290" fmla="*/ 1279 w 9961"/>
                <a:gd name="connsiteY290" fmla="*/ 6492 h 10000"/>
                <a:gd name="connsiteX291" fmla="*/ 1173 w 9961"/>
                <a:gd name="connsiteY291" fmla="*/ 6561 h 10000"/>
                <a:gd name="connsiteX292" fmla="*/ 762 w 9961"/>
                <a:gd name="connsiteY292" fmla="*/ 6614 h 10000"/>
                <a:gd name="connsiteX293" fmla="*/ 736 w 9961"/>
                <a:gd name="connsiteY293" fmla="*/ 6706 h 10000"/>
                <a:gd name="connsiteX294" fmla="*/ 513 w 9961"/>
                <a:gd name="connsiteY294" fmla="*/ 6843 h 10000"/>
                <a:gd name="connsiteX295" fmla="*/ 543 w 9961"/>
                <a:gd name="connsiteY295" fmla="*/ 7040 h 10000"/>
                <a:gd name="connsiteX296" fmla="*/ 355 w 9961"/>
                <a:gd name="connsiteY296" fmla="*/ 7293 h 10000"/>
                <a:gd name="connsiteX297" fmla="*/ 227 w 9961"/>
                <a:gd name="connsiteY297" fmla="*/ 7323 h 10000"/>
                <a:gd name="connsiteX298" fmla="*/ 175 w 9961"/>
                <a:gd name="connsiteY298" fmla="*/ 7262 h 10000"/>
                <a:gd name="connsiteX299" fmla="*/ 110 w 9961"/>
                <a:gd name="connsiteY299" fmla="*/ 7354 h 10000"/>
                <a:gd name="connsiteX300" fmla="*/ 153 w 9961"/>
                <a:gd name="connsiteY300" fmla="*/ 7197 h 10000"/>
                <a:gd name="connsiteX301" fmla="*/ 127 w 9961"/>
                <a:gd name="connsiteY301" fmla="*/ 7166 h 10000"/>
                <a:gd name="connsiteX0" fmla="*/ 127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3 w 10000"/>
                <a:gd name="connsiteY7" fmla="*/ 7727 h 10000"/>
                <a:gd name="connsiteX8" fmla="*/ 207 w 10000"/>
                <a:gd name="connsiteY8" fmla="*/ 7680 h 10000"/>
                <a:gd name="connsiteX9" fmla="*/ 263 w 10000"/>
                <a:gd name="connsiteY9" fmla="*/ 7712 h 10000"/>
                <a:gd name="connsiteX10" fmla="*/ 202 w 10000"/>
                <a:gd name="connsiteY10" fmla="*/ 7778 h 10000"/>
                <a:gd name="connsiteX11" fmla="*/ 268 w 10000"/>
                <a:gd name="connsiteY11" fmla="*/ 7780 h 10000"/>
                <a:gd name="connsiteX12" fmla="*/ 299 w 10000"/>
                <a:gd name="connsiteY12" fmla="*/ 7796 h 10000"/>
                <a:gd name="connsiteX13" fmla="*/ 215 w 10000"/>
                <a:gd name="connsiteY13" fmla="*/ 7818 h 10000"/>
                <a:gd name="connsiteX14" fmla="*/ 83 w 10000"/>
                <a:gd name="connsiteY14" fmla="*/ 7886 h 10000"/>
                <a:gd name="connsiteX15" fmla="*/ 317 w 10000"/>
                <a:gd name="connsiteY15" fmla="*/ 7938 h 10000"/>
                <a:gd name="connsiteX16" fmla="*/ 347 w 10000"/>
                <a:gd name="connsiteY16" fmla="*/ 8014 h 10000"/>
                <a:gd name="connsiteX17" fmla="*/ 268 w 10000"/>
                <a:gd name="connsiteY17" fmla="*/ 8126 h 10000"/>
                <a:gd name="connsiteX18" fmla="*/ 440 w 10000"/>
                <a:gd name="connsiteY18" fmla="*/ 8118 h 10000"/>
                <a:gd name="connsiteX19" fmla="*/ 453 w 10000"/>
                <a:gd name="connsiteY19" fmla="*/ 8203 h 10000"/>
                <a:gd name="connsiteX20" fmla="*/ 338 w 10000"/>
                <a:gd name="connsiteY20" fmla="*/ 8260 h 10000"/>
                <a:gd name="connsiteX21" fmla="*/ 356 w 10000"/>
                <a:gd name="connsiteY21" fmla="*/ 8370 h 10000"/>
                <a:gd name="connsiteX22" fmla="*/ 312 w 10000"/>
                <a:gd name="connsiteY22" fmla="*/ 8456 h 10000"/>
                <a:gd name="connsiteX23" fmla="*/ 448 w 10000"/>
                <a:gd name="connsiteY23" fmla="*/ 8464 h 10000"/>
                <a:gd name="connsiteX24" fmla="*/ 580 w 10000"/>
                <a:gd name="connsiteY24" fmla="*/ 8792 h 10000"/>
                <a:gd name="connsiteX25" fmla="*/ 734 w 10000"/>
                <a:gd name="connsiteY25" fmla="*/ 8876 h 10000"/>
                <a:gd name="connsiteX26" fmla="*/ 800 w 10000"/>
                <a:gd name="connsiteY26" fmla="*/ 8965 h 10000"/>
                <a:gd name="connsiteX27" fmla="*/ 967 w 10000"/>
                <a:gd name="connsiteY27" fmla="*/ 9030 h 10000"/>
                <a:gd name="connsiteX28" fmla="*/ 1073 w 10000"/>
                <a:gd name="connsiteY28" fmla="*/ 9112 h 10000"/>
                <a:gd name="connsiteX29" fmla="*/ 1059 w 10000"/>
                <a:gd name="connsiteY29" fmla="*/ 9171 h 10000"/>
                <a:gd name="connsiteX30" fmla="*/ 954 w 10000"/>
                <a:gd name="connsiteY30" fmla="*/ 9193 h 10000"/>
                <a:gd name="connsiteX31" fmla="*/ 839 w 10000"/>
                <a:gd name="connsiteY31" fmla="*/ 9179 h 10000"/>
                <a:gd name="connsiteX32" fmla="*/ 804 w 10000"/>
                <a:gd name="connsiteY32" fmla="*/ 9204 h 10000"/>
                <a:gd name="connsiteX33" fmla="*/ 892 w 10000"/>
                <a:gd name="connsiteY33" fmla="*/ 9332 h 10000"/>
                <a:gd name="connsiteX34" fmla="*/ 769 w 10000"/>
                <a:gd name="connsiteY34" fmla="*/ 9322 h 10000"/>
                <a:gd name="connsiteX35" fmla="*/ 664 w 10000"/>
                <a:gd name="connsiteY35" fmla="*/ 9291 h 10000"/>
                <a:gd name="connsiteX36" fmla="*/ 646 w 10000"/>
                <a:gd name="connsiteY36" fmla="*/ 9338 h 10000"/>
                <a:gd name="connsiteX37" fmla="*/ 993 w 10000"/>
                <a:gd name="connsiteY37" fmla="*/ 9776 h 10000"/>
                <a:gd name="connsiteX38" fmla="*/ 937 w 10000"/>
                <a:gd name="connsiteY38" fmla="*/ 9817 h 10000"/>
                <a:gd name="connsiteX39" fmla="*/ 898 w 10000"/>
                <a:gd name="connsiteY39" fmla="*/ 9902 h 10000"/>
                <a:gd name="connsiteX40" fmla="*/ 848 w 10000"/>
                <a:gd name="connsiteY40" fmla="*/ 9908 h 10000"/>
                <a:gd name="connsiteX41" fmla="*/ 817 w 10000"/>
                <a:gd name="connsiteY41" fmla="*/ 9945 h 10000"/>
                <a:gd name="connsiteX42" fmla="*/ 1028 w 10000"/>
                <a:gd name="connsiteY42" fmla="*/ 9949 h 10000"/>
                <a:gd name="connsiteX43" fmla="*/ 1213 w 10000"/>
                <a:gd name="connsiteY43" fmla="*/ 9986 h 10000"/>
                <a:gd name="connsiteX44" fmla="*/ 1521 w 10000"/>
                <a:gd name="connsiteY44" fmla="*/ 9947 h 10000"/>
                <a:gd name="connsiteX45" fmla="*/ 1797 w 10000"/>
                <a:gd name="connsiteY45" fmla="*/ 9953 h 10000"/>
                <a:gd name="connsiteX46" fmla="*/ 1961 w 10000"/>
                <a:gd name="connsiteY46" fmla="*/ 10000 h 10000"/>
                <a:gd name="connsiteX47" fmla="*/ 2049 w 10000"/>
                <a:gd name="connsiteY47" fmla="*/ 9969 h 10000"/>
                <a:gd name="connsiteX48" fmla="*/ 2136 w 10000"/>
                <a:gd name="connsiteY48" fmla="*/ 9868 h 10000"/>
                <a:gd name="connsiteX49" fmla="*/ 2114 w 10000"/>
                <a:gd name="connsiteY49" fmla="*/ 9703 h 10000"/>
                <a:gd name="connsiteX50" fmla="*/ 2325 w 10000"/>
                <a:gd name="connsiteY50" fmla="*/ 9517 h 10000"/>
                <a:gd name="connsiteX51" fmla="*/ 2479 w 10000"/>
                <a:gd name="connsiteY51" fmla="*/ 9546 h 10000"/>
                <a:gd name="connsiteX52" fmla="*/ 2567 w 10000"/>
                <a:gd name="connsiteY52" fmla="*/ 9472 h 10000"/>
                <a:gd name="connsiteX53" fmla="*/ 2738 w 10000"/>
                <a:gd name="connsiteY53" fmla="*/ 9430 h 10000"/>
                <a:gd name="connsiteX54" fmla="*/ 2971 w 10000"/>
                <a:gd name="connsiteY54" fmla="*/ 9440 h 10000"/>
                <a:gd name="connsiteX55" fmla="*/ 3112 w 10000"/>
                <a:gd name="connsiteY55" fmla="*/ 9470 h 10000"/>
                <a:gd name="connsiteX56" fmla="*/ 3297 w 10000"/>
                <a:gd name="connsiteY56" fmla="*/ 9456 h 10000"/>
                <a:gd name="connsiteX57" fmla="*/ 3486 w 10000"/>
                <a:gd name="connsiteY57" fmla="*/ 9489 h 10000"/>
                <a:gd name="connsiteX58" fmla="*/ 3674 w 10000"/>
                <a:gd name="connsiteY58" fmla="*/ 9493 h 10000"/>
                <a:gd name="connsiteX59" fmla="*/ 4096 w 10000"/>
                <a:gd name="connsiteY59" fmla="*/ 9061 h 10000"/>
                <a:gd name="connsiteX60" fmla="*/ 4202 w 10000"/>
                <a:gd name="connsiteY60" fmla="*/ 8711 h 10000"/>
                <a:gd name="connsiteX61" fmla="*/ 4374 w 10000"/>
                <a:gd name="connsiteY61" fmla="*/ 8554 h 10000"/>
                <a:gd name="connsiteX62" fmla="*/ 4374 w 10000"/>
                <a:gd name="connsiteY62" fmla="*/ 8472 h 10000"/>
                <a:gd name="connsiteX63" fmla="*/ 4312 w 10000"/>
                <a:gd name="connsiteY63" fmla="*/ 8425 h 10000"/>
                <a:gd name="connsiteX64" fmla="*/ 4413 w 10000"/>
                <a:gd name="connsiteY64" fmla="*/ 8352 h 10000"/>
                <a:gd name="connsiteX65" fmla="*/ 4395 w 10000"/>
                <a:gd name="connsiteY65" fmla="*/ 8289 h 10000"/>
                <a:gd name="connsiteX66" fmla="*/ 4325 w 10000"/>
                <a:gd name="connsiteY66" fmla="*/ 8236 h 10000"/>
                <a:gd name="connsiteX67" fmla="*/ 4312 w 10000"/>
                <a:gd name="connsiteY67" fmla="*/ 8199 h 10000"/>
                <a:gd name="connsiteX68" fmla="*/ 4329 w 10000"/>
                <a:gd name="connsiteY68" fmla="*/ 8169 h 10000"/>
                <a:gd name="connsiteX69" fmla="*/ 4422 w 10000"/>
                <a:gd name="connsiteY69" fmla="*/ 8193 h 10000"/>
                <a:gd name="connsiteX70" fmla="*/ 4497 w 10000"/>
                <a:gd name="connsiteY70" fmla="*/ 8191 h 10000"/>
                <a:gd name="connsiteX71" fmla="*/ 4456 w 10000"/>
                <a:gd name="connsiteY71" fmla="*/ 8140 h 10000"/>
                <a:gd name="connsiteX72" fmla="*/ 4469 w 10000"/>
                <a:gd name="connsiteY72" fmla="*/ 8112 h 10000"/>
                <a:gd name="connsiteX73" fmla="*/ 4523 w 10000"/>
                <a:gd name="connsiteY73" fmla="*/ 8069 h 10000"/>
                <a:gd name="connsiteX74" fmla="*/ 4514 w 10000"/>
                <a:gd name="connsiteY74" fmla="*/ 8034 h 10000"/>
                <a:gd name="connsiteX75" fmla="*/ 4563 w 10000"/>
                <a:gd name="connsiteY75" fmla="*/ 7916 h 10000"/>
                <a:gd name="connsiteX76" fmla="*/ 4550 w 10000"/>
                <a:gd name="connsiteY76" fmla="*/ 7881 h 10000"/>
                <a:gd name="connsiteX77" fmla="*/ 4294 w 10000"/>
                <a:gd name="connsiteY77" fmla="*/ 7792 h 10000"/>
                <a:gd name="connsiteX78" fmla="*/ 4329 w 10000"/>
                <a:gd name="connsiteY78" fmla="*/ 7788 h 10000"/>
                <a:gd name="connsiteX79" fmla="*/ 4465 w 10000"/>
                <a:gd name="connsiteY79" fmla="*/ 7812 h 10000"/>
                <a:gd name="connsiteX80" fmla="*/ 4611 w 10000"/>
                <a:gd name="connsiteY80" fmla="*/ 7804 h 10000"/>
                <a:gd name="connsiteX81" fmla="*/ 4654 w 10000"/>
                <a:gd name="connsiteY81" fmla="*/ 7771 h 10000"/>
                <a:gd name="connsiteX82" fmla="*/ 4514 w 10000"/>
                <a:gd name="connsiteY82" fmla="*/ 7710 h 10000"/>
                <a:gd name="connsiteX83" fmla="*/ 4092 w 10000"/>
                <a:gd name="connsiteY83" fmla="*/ 7670 h 10000"/>
                <a:gd name="connsiteX84" fmla="*/ 4122 w 10000"/>
                <a:gd name="connsiteY84" fmla="*/ 7651 h 10000"/>
                <a:gd name="connsiteX85" fmla="*/ 4465 w 10000"/>
                <a:gd name="connsiteY85" fmla="*/ 7639 h 10000"/>
                <a:gd name="connsiteX86" fmla="*/ 4654 w 10000"/>
                <a:gd name="connsiteY86" fmla="*/ 7676 h 10000"/>
                <a:gd name="connsiteX87" fmla="*/ 4765 w 10000"/>
                <a:gd name="connsiteY87" fmla="*/ 7651 h 10000"/>
                <a:gd name="connsiteX88" fmla="*/ 4804 w 10000"/>
                <a:gd name="connsiteY88" fmla="*/ 7588 h 10000"/>
                <a:gd name="connsiteX89" fmla="*/ 5002 w 10000"/>
                <a:gd name="connsiteY89" fmla="*/ 7588 h 10000"/>
                <a:gd name="connsiteX90" fmla="*/ 5270 w 10000"/>
                <a:gd name="connsiteY90" fmla="*/ 7462 h 10000"/>
                <a:gd name="connsiteX91" fmla="*/ 5279 w 10000"/>
                <a:gd name="connsiteY91" fmla="*/ 7378 h 10000"/>
                <a:gd name="connsiteX92" fmla="*/ 5393 w 10000"/>
                <a:gd name="connsiteY92" fmla="*/ 7397 h 10000"/>
                <a:gd name="connsiteX93" fmla="*/ 5389 w 10000"/>
                <a:gd name="connsiteY93" fmla="*/ 7482 h 10000"/>
                <a:gd name="connsiteX94" fmla="*/ 5569 w 10000"/>
                <a:gd name="connsiteY94" fmla="*/ 7476 h 10000"/>
                <a:gd name="connsiteX95" fmla="*/ 5687 w 10000"/>
                <a:gd name="connsiteY95" fmla="*/ 7388 h 10000"/>
                <a:gd name="connsiteX96" fmla="*/ 5908 w 10000"/>
                <a:gd name="connsiteY96" fmla="*/ 7309 h 10000"/>
                <a:gd name="connsiteX97" fmla="*/ 5872 w 10000"/>
                <a:gd name="connsiteY97" fmla="*/ 7219 h 10000"/>
                <a:gd name="connsiteX98" fmla="*/ 5938 w 10000"/>
                <a:gd name="connsiteY98" fmla="*/ 7254 h 10000"/>
                <a:gd name="connsiteX99" fmla="*/ 6039 w 10000"/>
                <a:gd name="connsiteY99" fmla="*/ 7254 h 10000"/>
                <a:gd name="connsiteX100" fmla="*/ 6039 w 10000"/>
                <a:gd name="connsiteY100" fmla="*/ 7213 h 10000"/>
                <a:gd name="connsiteX101" fmla="*/ 6132 w 10000"/>
                <a:gd name="connsiteY101" fmla="*/ 7181 h 10000"/>
                <a:gd name="connsiteX102" fmla="*/ 6119 w 10000"/>
                <a:gd name="connsiteY102" fmla="*/ 7148 h 10000"/>
                <a:gd name="connsiteX103" fmla="*/ 5328 w 10000"/>
                <a:gd name="connsiteY103" fmla="*/ 7215 h 10000"/>
                <a:gd name="connsiteX104" fmla="*/ 5143 w 10000"/>
                <a:gd name="connsiteY104" fmla="*/ 7195 h 10000"/>
                <a:gd name="connsiteX105" fmla="*/ 5068 w 10000"/>
                <a:gd name="connsiteY105" fmla="*/ 7219 h 10000"/>
                <a:gd name="connsiteX106" fmla="*/ 5042 w 10000"/>
                <a:gd name="connsiteY106" fmla="*/ 7173 h 10000"/>
                <a:gd name="connsiteX107" fmla="*/ 4954 w 10000"/>
                <a:gd name="connsiteY107" fmla="*/ 7132 h 10000"/>
                <a:gd name="connsiteX108" fmla="*/ 4602 w 10000"/>
                <a:gd name="connsiteY108" fmla="*/ 7052 h 10000"/>
                <a:gd name="connsiteX109" fmla="*/ 4395 w 10000"/>
                <a:gd name="connsiteY109" fmla="*/ 7065 h 10000"/>
                <a:gd name="connsiteX110" fmla="*/ 4312 w 10000"/>
                <a:gd name="connsiteY110" fmla="*/ 7042 h 10000"/>
                <a:gd name="connsiteX111" fmla="*/ 4400 w 10000"/>
                <a:gd name="connsiteY111" fmla="*/ 7022 h 10000"/>
                <a:gd name="connsiteX112" fmla="*/ 4465 w 10000"/>
                <a:gd name="connsiteY112" fmla="*/ 6979 h 10000"/>
                <a:gd name="connsiteX113" fmla="*/ 4563 w 10000"/>
                <a:gd name="connsiteY113" fmla="*/ 6993 h 10000"/>
                <a:gd name="connsiteX114" fmla="*/ 4681 w 10000"/>
                <a:gd name="connsiteY114" fmla="*/ 6981 h 10000"/>
                <a:gd name="connsiteX115" fmla="*/ 4857 w 10000"/>
                <a:gd name="connsiteY115" fmla="*/ 6995 h 10000"/>
                <a:gd name="connsiteX116" fmla="*/ 4878 w 10000"/>
                <a:gd name="connsiteY116" fmla="*/ 6989 h 10000"/>
                <a:gd name="connsiteX117" fmla="*/ 5016 w 10000"/>
                <a:gd name="connsiteY117" fmla="*/ 7056 h 10000"/>
                <a:gd name="connsiteX118" fmla="*/ 5117 w 10000"/>
                <a:gd name="connsiteY118" fmla="*/ 7032 h 10000"/>
                <a:gd name="connsiteX119" fmla="*/ 5125 w 10000"/>
                <a:gd name="connsiteY119" fmla="*/ 7010 h 10000"/>
                <a:gd name="connsiteX120" fmla="*/ 5217 w 10000"/>
                <a:gd name="connsiteY120" fmla="*/ 7048 h 10000"/>
                <a:gd name="connsiteX121" fmla="*/ 5341 w 10000"/>
                <a:gd name="connsiteY121" fmla="*/ 7069 h 10000"/>
                <a:gd name="connsiteX122" fmla="*/ 5389 w 10000"/>
                <a:gd name="connsiteY122" fmla="*/ 7030 h 10000"/>
                <a:gd name="connsiteX123" fmla="*/ 5428 w 10000"/>
                <a:gd name="connsiteY123" fmla="*/ 7052 h 10000"/>
                <a:gd name="connsiteX124" fmla="*/ 5485 w 10000"/>
                <a:gd name="connsiteY124" fmla="*/ 7126 h 10000"/>
                <a:gd name="connsiteX125" fmla="*/ 5604 w 10000"/>
                <a:gd name="connsiteY125" fmla="*/ 7144 h 10000"/>
                <a:gd name="connsiteX126" fmla="*/ 6088 w 10000"/>
                <a:gd name="connsiteY126" fmla="*/ 7034 h 10000"/>
                <a:gd name="connsiteX127" fmla="*/ 6325 w 10000"/>
                <a:gd name="connsiteY127" fmla="*/ 6879 h 10000"/>
                <a:gd name="connsiteX128" fmla="*/ 6382 w 10000"/>
                <a:gd name="connsiteY128" fmla="*/ 6765 h 10000"/>
                <a:gd name="connsiteX129" fmla="*/ 6295 w 10000"/>
                <a:gd name="connsiteY129" fmla="*/ 6663 h 10000"/>
                <a:gd name="connsiteX130" fmla="*/ 6114 w 10000"/>
                <a:gd name="connsiteY130" fmla="*/ 6602 h 10000"/>
                <a:gd name="connsiteX131" fmla="*/ 5986 w 10000"/>
                <a:gd name="connsiteY131" fmla="*/ 6502 h 10000"/>
                <a:gd name="connsiteX132" fmla="*/ 6106 w 10000"/>
                <a:gd name="connsiteY132" fmla="*/ 6498 h 10000"/>
                <a:gd name="connsiteX133" fmla="*/ 6097 w 10000"/>
                <a:gd name="connsiteY133" fmla="*/ 6474 h 10000"/>
                <a:gd name="connsiteX134" fmla="*/ 5785 w 10000"/>
                <a:gd name="connsiteY134" fmla="*/ 6403 h 10000"/>
                <a:gd name="connsiteX135" fmla="*/ 5772 w 10000"/>
                <a:gd name="connsiteY135" fmla="*/ 6339 h 10000"/>
                <a:gd name="connsiteX136" fmla="*/ 5714 w 10000"/>
                <a:gd name="connsiteY136" fmla="*/ 6272 h 10000"/>
                <a:gd name="connsiteX137" fmla="*/ 5467 w 10000"/>
                <a:gd name="connsiteY137" fmla="*/ 6284 h 10000"/>
                <a:gd name="connsiteX138" fmla="*/ 5380 w 10000"/>
                <a:gd name="connsiteY138" fmla="*/ 6213 h 10000"/>
                <a:gd name="connsiteX139" fmla="*/ 5328 w 10000"/>
                <a:gd name="connsiteY139" fmla="*/ 6209 h 10000"/>
                <a:gd name="connsiteX140" fmla="*/ 5328 w 10000"/>
                <a:gd name="connsiteY140" fmla="*/ 6238 h 10000"/>
                <a:gd name="connsiteX141" fmla="*/ 5217 w 10000"/>
                <a:gd name="connsiteY141" fmla="*/ 6358 h 10000"/>
                <a:gd name="connsiteX142" fmla="*/ 5098 w 10000"/>
                <a:gd name="connsiteY142" fmla="*/ 6429 h 10000"/>
                <a:gd name="connsiteX143" fmla="*/ 4724 w 10000"/>
                <a:gd name="connsiteY143" fmla="*/ 6551 h 10000"/>
                <a:gd name="connsiteX144" fmla="*/ 4593 w 10000"/>
                <a:gd name="connsiteY144" fmla="*/ 6547 h 10000"/>
                <a:gd name="connsiteX145" fmla="*/ 4413 w 10000"/>
                <a:gd name="connsiteY145" fmla="*/ 6565 h 10000"/>
                <a:gd name="connsiteX146" fmla="*/ 4312 w 10000"/>
                <a:gd name="connsiteY146" fmla="*/ 6547 h 10000"/>
                <a:gd name="connsiteX147" fmla="*/ 4443 w 10000"/>
                <a:gd name="connsiteY147" fmla="*/ 6513 h 10000"/>
                <a:gd name="connsiteX148" fmla="*/ 4615 w 10000"/>
                <a:gd name="connsiteY148" fmla="*/ 6498 h 10000"/>
                <a:gd name="connsiteX149" fmla="*/ 4757 w 10000"/>
                <a:gd name="connsiteY149" fmla="*/ 6441 h 10000"/>
                <a:gd name="connsiteX150" fmla="*/ 4896 w 10000"/>
                <a:gd name="connsiteY150" fmla="*/ 6415 h 10000"/>
                <a:gd name="connsiteX151" fmla="*/ 5156 w 10000"/>
                <a:gd name="connsiteY151" fmla="*/ 6317 h 10000"/>
                <a:gd name="connsiteX152" fmla="*/ 5204 w 10000"/>
                <a:gd name="connsiteY152" fmla="*/ 6252 h 10000"/>
                <a:gd name="connsiteX153" fmla="*/ 5208 w 10000"/>
                <a:gd name="connsiteY153" fmla="*/ 6168 h 10000"/>
                <a:gd name="connsiteX154" fmla="*/ 5090 w 10000"/>
                <a:gd name="connsiteY154" fmla="*/ 6154 h 10000"/>
                <a:gd name="connsiteX155" fmla="*/ 5143 w 10000"/>
                <a:gd name="connsiteY155" fmla="*/ 6103 h 10000"/>
                <a:gd name="connsiteX156" fmla="*/ 5160 w 10000"/>
                <a:gd name="connsiteY156" fmla="*/ 6038 h 10000"/>
                <a:gd name="connsiteX157" fmla="*/ 5111 w 10000"/>
                <a:gd name="connsiteY157" fmla="*/ 5977 h 10000"/>
                <a:gd name="connsiteX158" fmla="*/ 5081 w 10000"/>
                <a:gd name="connsiteY158" fmla="*/ 5533 h 10000"/>
                <a:gd name="connsiteX159" fmla="*/ 5152 w 10000"/>
                <a:gd name="connsiteY159" fmla="*/ 5437 h 10000"/>
                <a:gd name="connsiteX160" fmla="*/ 5134 w 10000"/>
                <a:gd name="connsiteY160" fmla="*/ 5398 h 10000"/>
                <a:gd name="connsiteX161" fmla="*/ 5341 w 10000"/>
                <a:gd name="connsiteY161" fmla="*/ 5455 h 10000"/>
                <a:gd name="connsiteX162" fmla="*/ 5354 w 10000"/>
                <a:gd name="connsiteY162" fmla="*/ 5402 h 10000"/>
                <a:gd name="connsiteX163" fmla="*/ 5310 w 10000"/>
                <a:gd name="connsiteY163" fmla="*/ 5264 h 10000"/>
                <a:gd name="connsiteX164" fmla="*/ 5458 w 10000"/>
                <a:gd name="connsiteY164" fmla="*/ 5019 h 10000"/>
                <a:gd name="connsiteX165" fmla="*/ 5367 w 10000"/>
                <a:gd name="connsiteY165" fmla="*/ 4960 h 10000"/>
                <a:gd name="connsiteX166" fmla="*/ 5332 w 10000"/>
                <a:gd name="connsiteY166" fmla="*/ 4905 h 10000"/>
                <a:gd name="connsiteX167" fmla="*/ 5345 w 10000"/>
                <a:gd name="connsiteY167" fmla="*/ 4816 h 10000"/>
                <a:gd name="connsiteX168" fmla="*/ 5561 w 10000"/>
                <a:gd name="connsiteY168" fmla="*/ 4875 h 10000"/>
                <a:gd name="connsiteX169" fmla="*/ 5569 w 10000"/>
                <a:gd name="connsiteY169" fmla="*/ 4858 h 10000"/>
                <a:gd name="connsiteX170" fmla="*/ 5630 w 10000"/>
                <a:gd name="connsiteY170" fmla="*/ 4842 h 10000"/>
                <a:gd name="connsiteX171" fmla="*/ 5714 w 10000"/>
                <a:gd name="connsiteY171" fmla="*/ 4785 h 10000"/>
                <a:gd name="connsiteX172" fmla="*/ 5727 w 10000"/>
                <a:gd name="connsiteY172" fmla="*/ 4769 h 10000"/>
                <a:gd name="connsiteX173" fmla="*/ 5710 w 10000"/>
                <a:gd name="connsiteY173" fmla="*/ 4748 h 10000"/>
                <a:gd name="connsiteX174" fmla="*/ 5753 w 10000"/>
                <a:gd name="connsiteY174" fmla="*/ 4647 h 10000"/>
                <a:gd name="connsiteX175" fmla="*/ 5701 w 10000"/>
                <a:gd name="connsiteY175" fmla="*/ 4581 h 10000"/>
                <a:gd name="connsiteX176" fmla="*/ 5710 w 10000"/>
                <a:gd name="connsiteY176" fmla="*/ 4528 h 10000"/>
                <a:gd name="connsiteX177" fmla="*/ 5740 w 10000"/>
                <a:gd name="connsiteY177" fmla="*/ 4590 h 10000"/>
                <a:gd name="connsiteX178" fmla="*/ 5859 w 10000"/>
                <a:gd name="connsiteY178" fmla="*/ 4636 h 10000"/>
                <a:gd name="connsiteX179" fmla="*/ 5908 w 10000"/>
                <a:gd name="connsiteY179" fmla="*/ 4630 h 10000"/>
                <a:gd name="connsiteX180" fmla="*/ 5986 w 10000"/>
                <a:gd name="connsiteY180" fmla="*/ 4569 h 10000"/>
                <a:gd name="connsiteX181" fmla="*/ 6070 w 10000"/>
                <a:gd name="connsiteY181" fmla="*/ 4594 h 10000"/>
                <a:gd name="connsiteX182" fmla="*/ 6093 w 10000"/>
                <a:gd name="connsiteY182" fmla="*/ 4545 h 10000"/>
                <a:gd name="connsiteX183" fmla="*/ 6149 w 10000"/>
                <a:gd name="connsiteY183" fmla="*/ 4512 h 10000"/>
                <a:gd name="connsiteX184" fmla="*/ 5995 w 10000"/>
                <a:gd name="connsiteY184" fmla="*/ 4477 h 10000"/>
                <a:gd name="connsiteX185" fmla="*/ 6106 w 10000"/>
                <a:gd name="connsiteY185" fmla="*/ 4484 h 10000"/>
                <a:gd name="connsiteX186" fmla="*/ 6219 w 10000"/>
                <a:gd name="connsiteY186" fmla="*/ 4447 h 10000"/>
                <a:gd name="connsiteX187" fmla="*/ 6215 w 10000"/>
                <a:gd name="connsiteY187" fmla="*/ 4422 h 10000"/>
                <a:gd name="connsiteX188" fmla="*/ 6321 w 10000"/>
                <a:gd name="connsiteY188" fmla="*/ 4398 h 10000"/>
                <a:gd name="connsiteX189" fmla="*/ 6330 w 10000"/>
                <a:gd name="connsiteY189" fmla="*/ 4337 h 10000"/>
                <a:gd name="connsiteX190" fmla="*/ 6413 w 10000"/>
                <a:gd name="connsiteY190" fmla="*/ 4325 h 10000"/>
                <a:gd name="connsiteX191" fmla="*/ 6421 w 10000"/>
                <a:gd name="connsiteY191" fmla="*/ 4253 h 10000"/>
                <a:gd name="connsiteX192" fmla="*/ 6509 w 10000"/>
                <a:gd name="connsiteY192" fmla="*/ 4245 h 10000"/>
                <a:gd name="connsiteX193" fmla="*/ 6645 w 10000"/>
                <a:gd name="connsiteY193" fmla="*/ 4260 h 10000"/>
                <a:gd name="connsiteX194" fmla="*/ 6794 w 10000"/>
                <a:gd name="connsiteY194" fmla="*/ 4202 h 10000"/>
                <a:gd name="connsiteX195" fmla="*/ 6848 w 10000"/>
                <a:gd name="connsiteY195" fmla="*/ 4137 h 10000"/>
                <a:gd name="connsiteX196" fmla="*/ 7032 w 10000"/>
                <a:gd name="connsiteY196" fmla="*/ 4070 h 10000"/>
                <a:gd name="connsiteX197" fmla="*/ 7125 w 10000"/>
                <a:gd name="connsiteY197" fmla="*/ 4111 h 10000"/>
                <a:gd name="connsiteX198" fmla="*/ 7265 w 10000"/>
                <a:gd name="connsiteY198" fmla="*/ 4066 h 10000"/>
                <a:gd name="connsiteX199" fmla="*/ 7300 w 10000"/>
                <a:gd name="connsiteY199" fmla="*/ 4009 h 10000"/>
                <a:gd name="connsiteX200" fmla="*/ 7406 w 10000"/>
                <a:gd name="connsiteY200" fmla="*/ 3970 h 10000"/>
                <a:gd name="connsiteX201" fmla="*/ 7498 w 10000"/>
                <a:gd name="connsiteY201" fmla="*/ 3987 h 10000"/>
                <a:gd name="connsiteX202" fmla="*/ 7555 w 10000"/>
                <a:gd name="connsiteY202" fmla="*/ 3958 h 10000"/>
                <a:gd name="connsiteX203" fmla="*/ 7714 w 10000"/>
                <a:gd name="connsiteY203" fmla="*/ 3917 h 10000"/>
                <a:gd name="connsiteX204" fmla="*/ 7779 w 10000"/>
                <a:gd name="connsiteY204" fmla="*/ 3864 h 10000"/>
                <a:gd name="connsiteX205" fmla="*/ 7868 w 10000"/>
                <a:gd name="connsiteY205" fmla="*/ 3842 h 10000"/>
                <a:gd name="connsiteX206" fmla="*/ 8356 w 10000"/>
                <a:gd name="connsiteY206" fmla="*/ 3522 h 10000"/>
                <a:gd name="connsiteX207" fmla="*/ 10000 w 10000"/>
                <a:gd name="connsiteY207" fmla="*/ 2410 h 10000"/>
                <a:gd name="connsiteX208" fmla="*/ 9793 w 10000"/>
                <a:gd name="connsiteY208" fmla="*/ 1992 h 10000"/>
                <a:gd name="connsiteX209" fmla="*/ 9832 w 10000"/>
                <a:gd name="connsiteY209" fmla="*/ 1897 h 10000"/>
                <a:gd name="connsiteX210" fmla="*/ 9920 w 10000"/>
                <a:gd name="connsiteY210" fmla="*/ 1819 h 10000"/>
                <a:gd name="connsiteX211" fmla="*/ 9920 w 10000"/>
                <a:gd name="connsiteY211" fmla="*/ 1699 h 10000"/>
                <a:gd name="connsiteX212" fmla="*/ 9644 w 10000"/>
                <a:gd name="connsiteY212" fmla="*/ 1465 h 10000"/>
                <a:gd name="connsiteX213" fmla="*/ 9599 w 10000"/>
                <a:gd name="connsiteY213" fmla="*/ 1379 h 10000"/>
                <a:gd name="connsiteX214" fmla="*/ 9661 w 10000"/>
                <a:gd name="connsiteY214" fmla="*/ 1271 h 10000"/>
                <a:gd name="connsiteX215" fmla="*/ 9631 w 10000"/>
                <a:gd name="connsiteY215" fmla="*/ 1194 h 10000"/>
                <a:gd name="connsiteX216" fmla="*/ 9573 w 10000"/>
                <a:gd name="connsiteY216" fmla="*/ 1159 h 10000"/>
                <a:gd name="connsiteX217" fmla="*/ 9524 w 10000"/>
                <a:gd name="connsiteY217" fmla="*/ 978 h 10000"/>
                <a:gd name="connsiteX218" fmla="*/ 9582 w 10000"/>
                <a:gd name="connsiteY218" fmla="*/ 831 h 10000"/>
                <a:gd name="connsiteX219" fmla="*/ 9160 w 10000"/>
                <a:gd name="connsiteY219" fmla="*/ 517 h 10000"/>
                <a:gd name="connsiteX220" fmla="*/ 8953 w 10000"/>
                <a:gd name="connsiteY220" fmla="*/ 440 h 10000"/>
                <a:gd name="connsiteX221" fmla="*/ 8570 w 10000"/>
                <a:gd name="connsiteY221" fmla="*/ 389 h 10000"/>
                <a:gd name="connsiteX222" fmla="*/ 7779 w 10000"/>
                <a:gd name="connsiteY222" fmla="*/ 26 h 10000"/>
                <a:gd name="connsiteX223" fmla="*/ 7753 w 10000"/>
                <a:gd name="connsiteY223" fmla="*/ 2 h 10000"/>
                <a:gd name="connsiteX224" fmla="*/ 7485 w 10000"/>
                <a:gd name="connsiteY224" fmla="*/ 0 h 10000"/>
                <a:gd name="connsiteX225" fmla="*/ 7423 w 10000"/>
                <a:gd name="connsiteY225" fmla="*/ 14 h 10000"/>
                <a:gd name="connsiteX226" fmla="*/ 7437 w 10000"/>
                <a:gd name="connsiteY226" fmla="*/ 61 h 10000"/>
                <a:gd name="connsiteX227" fmla="*/ 7490 w 10000"/>
                <a:gd name="connsiteY227" fmla="*/ 86 h 10000"/>
                <a:gd name="connsiteX228" fmla="*/ 7503 w 10000"/>
                <a:gd name="connsiteY228" fmla="*/ 139 h 10000"/>
                <a:gd name="connsiteX229" fmla="*/ 7485 w 10000"/>
                <a:gd name="connsiteY229" fmla="*/ 181 h 10000"/>
                <a:gd name="connsiteX230" fmla="*/ 7437 w 10000"/>
                <a:gd name="connsiteY230" fmla="*/ 208 h 10000"/>
                <a:gd name="connsiteX231" fmla="*/ 7401 w 10000"/>
                <a:gd name="connsiteY231" fmla="*/ 283 h 10000"/>
                <a:gd name="connsiteX232" fmla="*/ 7336 w 10000"/>
                <a:gd name="connsiteY232" fmla="*/ 336 h 10000"/>
                <a:gd name="connsiteX233" fmla="*/ 7349 w 10000"/>
                <a:gd name="connsiteY233" fmla="*/ 387 h 10000"/>
                <a:gd name="connsiteX234" fmla="*/ 7450 w 10000"/>
                <a:gd name="connsiteY234" fmla="*/ 434 h 10000"/>
                <a:gd name="connsiteX235" fmla="*/ 7384 w 10000"/>
                <a:gd name="connsiteY235" fmla="*/ 475 h 10000"/>
                <a:gd name="connsiteX236" fmla="*/ 7287 w 10000"/>
                <a:gd name="connsiteY236" fmla="*/ 485 h 10000"/>
                <a:gd name="connsiteX237" fmla="*/ 6479 w 10000"/>
                <a:gd name="connsiteY237" fmla="*/ 387 h 10000"/>
                <a:gd name="connsiteX238" fmla="*/ 6382 w 10000"/>
                <a:gd name="connsiteY238" fmla="*/ 395 h 10000"/>
                <a:gd name="connsiteX239" fmla="*/ 6325 w 10000"/>
                <a:gd name="connsiteY239" fmla="*/ 414 h 10000"/>
                <a:gd name="connsiteX240" fmla="*/ 6267 w 10000"/>
                <a:gd name="connsiteY240" fmla="*/ 462 h 10000"/>
                <a:gd name="connsiteX241" fmla="*/ 6277 w 10000"/>
                <a:gd name="connsiteY241" fmla="*/ 581 h 10000"/>
                <a:gd name="connsiteX242" fmla="*/ 6188 w 10000"/>
                <a:gd name="connsiteY242" fmla="*/ 735 h 10000"/>
                <a:gd name="connsiteX243" fmla="*/ 6079 w 10000"/>
                <a:gd name="connsiteY243" fmla="*/ 815 h 10000"/>
                <a:gd name="connsiteX244" fmla="*/ 6035 w 10000"/>
                <a:gd name="connsiteY244" fmla="*/ 805 h 10000"/>
                <a:gd name="connsiteX245" fmla="*/ 5934 w 10000"/>
                <a:gd name="connsiteY245" fmla="*/ 739 h 10000"/>
                <a:gd name="connsiteX246" fmla="*/ 5806 w 10000"/>
                <a:gd name="connsiteY246" fmla="*/ 705 h 10000"/>
                <a:gd name="connsiteX247" fmla="*/ 5669 w 10000"/>
                <a:gd name="connsiteY247" fmla="*/ 715 h 10000"/>
                <a:gd name="connsiteX248" fmla="*/ 5350 w 10000"/>
                <a:gd name="connsiteY248" fmla="*/ 866 h 10000"/>
                <a:gd name="connsiteX249" fmla="*/ 5266 w 10000"/>
                <a:gd name="connsiteY249" fmla="*/ 1017 h 10000"/>
                <a:gd name="connsiteX250" fmla="*/ 5024 w 10000"/>
                <a:gd name="connsiteY250" fmla="*/ 1153 h 10000"/>
                <a:gd name="connsiteX251" fmla="*/ 4980 w 10000"/>
                <a:gd name="connsiteY251" fmla="*/ 1222 h 10000"/>
                <a:gd name="connsiteX252" fmla="*/ 5107 w 10000"/>
                <a:gd name="connsiteY252" fmla="*/ 1344 h 10000"/>
                <a:gd name="connsiteX253" fmla="*/ 5121 w 10000"/>
                <a:gd name="connsiteY253" fmla="*/ 1412 h 10000"/>
                <a:gd name="connsiteX254" fmla="*/ 4461 w 10000"/>
                <a:gd name="connsiteY254" fmla="*/ 1813 h 10000"/>
                <a:gd name="connsiteX255" fmla="*/ 4259 w 10000"/>
                <a:gd name="connsiteY255" fmla="*/ 2070 h 10000"/>
                <a:gd name="connsiteX256" fmla="*/ 4040 w 10000"/>
                <a:gd name="connsiteY256" fmla="*/ 2135 h 10000"/>
                <a:gd name="connsiteX257" fmla="*/ 3903 w 10000"/>
                <a:gd name="connsiteY257" fmla="*/ 2131 h 10000"/>
                <a:gd name="connsiteX258" fmla="*/ 3820 w 10000"/>
                <a:gd name="connsiteY258" fmla="*/ 2153 h 10000"/>
                <a:gd name="connsiteX259" fmla="*/ 3591 w 10000"/>
                <a:gd name="connsiteY259" fmla="*/ 2793 h 10000"/>
                <a:gd name="connsiteX260" fmla="*/ 3064 w 10000"/>
                <a:gd name="connsiteY260" fmla="*/ 3166 h 10000"/>
                <a:gd name="connsiteX261" fmla="*/ 3068 w 10000"/>
                <a:gd name="connsiteY261" fmla="*/ 3225 h 10000"/>
                <a:gd name="connsiteX262" fmla="*/ 3301 w 10000"/>
                <a:gd name="connsiteY262" fmla="*/ 3392 h 10000"/>
                <a:gd name="connsiteX263" fmla="*/ 3227 w 10000"/>
                <a:gd name="connsiteY263" fmla="*/ 3573 h 10000"/>
                <a:gd name="connsiteX264" fmla="*/ 3090 w 10000"/>
                <a:gd name="connsiteY264" fmla="*/ 3640 h 10000"/>
                <a:gd name="connsiteX265" fmla="*/ 2681 w 10000"/>
                <a:gd name="connsiteY265" fmla="*/ 3595 h 10000"/>
                <a:gd name="connsiteX266" fmla="*/ 2399 w 10000"/>
                <a:gd name="connsiteY266" fmla="*/ 3620 h 10000"/>
                <a:gd name="connsiteX267" fmla="*/ 2171 w 10000"/>
                <a:gd name="connsiteY267" fmla="*/ 3673 h 10000"/>
                <a:gd name="connsiteX268" fmla="*/ 1806 w 10000"/>
                <a:gd name="connsiteY268" fmla="*/ 3840 h 10000"/>
                <a:gd name="connsiteX269" fmla="*/ 1612 w 10000"/>
                <a:gd name="connsiteY269" fmla="*/ 4042 h 10000"/>
                <a:gd name="connsiteX270" fmla="*/ 1630 w 10000"/>
                <a:gd name="connsiteY270" fmla="*/ 4154 h 10000"/>
                <a:gd name="connsiteX271" fmla="*/ 1697 w 10000"/>
                <a:gd name="connsiteY271" fmla="*/ 4241 h 10000"/>
                <a:gd name="connsiteX272" fmla="*/ 1749 w 10000"/>
                <a:gd name="connsiteY272" fmla="*/ 4276 h 10000"/>
                <a:gd name="connsiteX273" fmla="*/ 1653 w 10000"/>
                <a:gd name="connsiteY273" fmla="*/ 4331 h 10000"/>
                <a:gd name="connsiteX274" fmla="*/ 1446 w 10000"/>
                <a:gd name="connsiteY274" fmla="*/ 4710 h 10000"/>
                <a:gd name="connsiteX275" fmla="*/ 1486 w 10000"/>
                <a:gd name="connsiteY275" fmla="*/ 4732 h 10000"/>
                <a:gd name="connsiteX276" fmla="*/ 1517 w 10000"/>
                <a:gd name="connsiteY276" fmla="*/ 4828 h 10000"/>
                <a:gd name="connsiteX277" fmla="*/ 1420 w 10000"/>
                <a:gd name="connsiteY277" fmla="*/ 5227 h 10000"/>
                <a:gd name="connsiteX278" fmla="*/ 1517 w 10000"/>
                <a:gd name="connsiteY278" fmla="*/ 5329 h 10000"/>
                <a:gd name="connsiteX279" fmla="*/ 1780 w 10000"/>
                <a:gd name="connsiteY279" fmla="*/ 5441 h 10000"/>
                <a:gd name="connsiteX280" fmla="*/ 1793 w 10000"/>
                <a:gd name="connsiteY280" fmla="*/ 5578 h 10000"/>
                <a:gd name="connsiteX281" fmla="*/ 1680 w 10000"/>
                <a:gd name="connsiteY281" fmla="*/ 5690 h 10000"/>
                <a:gd name="connsiteX282" fmla="*/ 1517 w 10000"/>
                <a:gd name="connsiteY282" fmla="*/ 5759 h 10000"/>
                <a:gd name="connsiteX283" fmla="*/ 1301 w 10000"/>
                <a:gd name="connsiteY283" fmla="*/ 5787 h 10000"/>
                <a:gd name="connsiteX284" fmla="*/ 1244 w 10000"/>
                <a:gd name="connsiteY284" fmla="*/ 5826 h 10000"/>
                <a:gd name="connsiteX285" fmla="*/ 1371 w 10000"/>
                <a:gd name="connsiteY285" fmla="*/ 5920 h 10000"/>
                <a:gd name="connsiteX286" fmla="*/ 1442 w 10000"/>
                <a:gd name="connsiteY286" fmla="*/ 6142 h 10000"/>
                <a:gd name="connsiteX287" fmla="*/ 1279 w 10000"/>
                <a:gd name="connsiteY287" fmla="*/ 6333 h 10000"/>
                <a:gd name="connsiteX288" fmla="*/ 1336 w 10000"/>
                <a:gd name="connsiteY288" fmla="*/ 6392 h 10000"/>
                <a:gd name="connsiteX289" fmla="*/ 1284 w 10000"/>
                <a:gd name="connsiteY289" fmla="*/ 6492 h 10000"/>
                <a:gd name="connsiteX290" fmla="*/ 1178 w 10000"/>
                <a:gd name="connsiteY290" fmla="*/ 6561 h 10000"/>
                <a:gd name="connsiteX291" fmla="*/ 765 w 10000"/>
                <a:gd name="connsiteY291" fmla="*/ 6614 h 10000"/>
                <a:gd name="connsiteX292" fmla="*/ 739 w 10000"/>
                <a:gd name="connsiteY292" fmla="*/ 6706 h 10000"/>
                <a:gd name="connsiteX293" fmla="*/ 515 w 10000"/>
                <a:gd name="connsiteY293" fmla="*/ 6843 h 10000"/>
                <a:gd name="connsiteX294" fmla="*/ 545 w 10000"/>
                <a:gd name="connsiteY294" fmla="*/ 7040 h 10000"/>
                <a:gd name="connsiteX295" fmla="*/ 356 w 10000"/>
                <a:gd name="connsiteY295" fmla="*/ 7293 h 10000"/>
                <a:gd name="connsiteX296" fmla="*/ 228 w 10000"/>
                <a:gd name="connsiteY296" fmla="*/ 7323 h 10000"/>
                <a:gd name="connsiteX297" fmla="*/ 176 w 10000"/>
                <a:gd name="connsiteY297" fmla="*/ 7262 h 10000"/>
                <a:gd name="connsiteX298" fmla="*/ 110 w 10000"/>
                <a:gd name="connsiteY298" fmla="*/ 7354 h 10000"/>
                <a:gd name="connsiteX299" fmla="*/ 154 w 10000"/>
                <a:gd name="connsiteY299" fmla="*/ 7197 h 10000"/>
                <a:gd name="connsiteX300" fmla="*/ 127 w 10000"/>
                <a:gd name="connsiteY300" fmla="*/ 7166 h 10000"/>
                <a:gd name="connsiteX0" fmla="*/ 127 w 9920"/>
                <a:gd name="connsiteY0" fmla="*/ 7166 h 10000"/>
                <a:gd name="connsiteX1" fmla="*/ 0 w 9920"/>
                <a:gd name="connsiteY1" fmla="*/ 7248 h 10000"/>
                <a:gd name="connsiteX2" fmla="*/ 0 w 9920"/>
                <a:gd name="connsiteY2" fmla="*/ 7651 h 10000"/>
                <a:gd name="connsiteX3" fmla="*/ 70 w 9920"/>
                <a:gd name="connsiteY3" fmla="*/ 7663 h 10000"/>
                <a:gd name="connsiteX4" fmla="*/ 87 w 9920"/>
                <a:gd name="connsiteY4" fmla="*/ 7694 h 10000"/>
                <a:gd name="connsiteX5" fmla="*/ 83 w 9920"/>
                <a:gd name="connsiteY5" fmla="*/ 7749 h 10000"/>
                <a:gd name="connsiteX6" fmla="*/ 57 w 9920"/>
                <a:gd name="connsiteY6" fmla="*/ 7773 h 10000"/>
                <a:gd name="connsiteX7" fmla="*/ 163 w 9920"/>
                <a:gd name="connsiteY7" fmla="*/ 7727 h 10000"/>
                <a:gd name="connsiteX8" fmla="*/ 207 w 9920"/>
                <a:gd name="connsiteY8" fmla="*/ 7680 h 10000"/>
                <a:gd name="connsiteX9" fmla="*/ 263 w 9920"/>
                <a:gd name="connsiteY9" fmla="*/ 7712 h 10000"/>
                <a:gd name="connsiteX10" fmla="*/ 202 w 9920"/>
                <a:gd name="connsiteY10" fmla="*/ 7778 h 10000"/>
                <a:gd name="connsiteX11" fmla="*/ 268 w 9920"/>
                <a:gd name="connsiteY11" fmla="*/ 7780 h 10000"/>
                <a:gd name="connsiteX12" fmla="*/ 299 w 9920"/>
                <a:gd name="connsiteY12" fmla="*/ 7796 h 10000"/>
                <a:gd name="connsiteX13" fmla="*/ 215 w 9920"/>
                <a:gd name="connsiteY13" fmla="*/ 7818 h 10000"/>
                <a:gd name="connsiteX14" fmla="*/ 83 w 9920"/>
                <a:gd name="connsiteY14" fmla="*/ 7886 h 10000"/>
                <a:gd name="connsiteX15" fmla="*/ 317 w 9920"/>
                <a:gd name="connsiteY15" fmla="*/ 7938 h 10000"/>
                <a:gd name="connsiteX16" fmla="*/ 347 w 9920"/>
                <a:gd name="connsiteY16" fmla="*/ 8014 h 10000"/>
                <a:gd name="connsiteX17" fmla="*/ 268 w 9920"/>
                <a:gd name="connsiteY17" fmla="*/ 8126 h 10000"/>
                <a:gd name="connsiteX18" fmla="*/ 440 w 9920"/>
                <a:gd name="connsiteY18" fmla="*/ 8118 h 10000"/>
                <a:gd name="connsiteX19" fmla="*/ 453 w 9920"/>
                <a:gd name="connsiteY19" fmla="*/ 8203 h 10000"/>
                <a:gd name="connsiteX20" fmla="*/ 338 w 9920"/>
                <a:gd name="connsiteY20" fmla="*/ 8260 h 10000"/>
                <a:gd name="connsiteX21" fmla="*/ 356 w 9920"/>
                <a:gd name="connsiteY21" fmla="*/ 8370 h 10000"/>
                <a:gd name="connsiteX22" fmla="*/ 312 w 9920"/>
                <a:gd name="connsiteY22" fmla="*/ 8456 h 10000"/>
                <a:gd name="connsiteX23" fmla="*/ 448 w 9920"/>
                <a:gd name="connsiteY23" fmla="*/ 8464 h 10000"/>
                <a:gd name="connsiteX24" fmla="*/ 580 w 9920"/>
                <a:gd name="connsiteY24" fmla="*/ 8792 h 10000"/>
                <a:gd name="connsiteX25" fmla="*/ 734 w 9920"/>
                <a:gd name="connsiteY25" fmla="*/ 8876 h 10000"/>
                <a:gd name="connsiteX26" fmla="*/ 800 w 9920"/>
                <a:gd name="connsiteY26" fmla="*/ 8965 h 10000"/>
                <a:gd name="connsiteX27" fmla="*/ 967 w 9920"/>
                <a:gd name="connsiteY27" fmla="*/ 9030 h 10000"/>
                <a:gd name="connsiteX28" fmla="*/ 1073 w 9920"/>
                <a:gd name="connsiteY28" fmla="*/ 9112 h 10000"/>
                <a:gd name="connsiteX29" fmla="*/ 1059 w 9920"/>
                <a:gd name="connsiteY29" fmla="*/ 9171 h 10000"/>
                <a:gd name="connsiteX30" fmla="*/ 954 w 9920"/>
                <a:gd name="connsiteY30" fmla="*/ 9193 h 10000"/>
                <a:gd name="connsiteX31" fmla="*/ 839 w 9920"/>
                <a:gd name="connsiteY31" fmla="*/ 9179 h 10000"/>
                <a:gd name="connsiteX32" fmla="*/ 804 w 9920"/>
                <a:gd name="connsiteY32" fmla="*/ 9204 h 10000"/>
                <a:gd name="connsiteX33" fmla="*/ 892 w 9920"/>
                <a:gd name="connsiteY33" fmla="*/ 9332 h 10000"/>
                <a:gd name="connsiteX34" fmla="*/ 769 w 9920"/>
                <a:gd name="connsiteY34" fmla="*/ 9322 h 10000"/>
                <a:gd name="connsiteX35" fmla="*/ 664 w 9920"/>
                <a:gd name="connsiteY35" fmla="*/ 9291 h 10000"/>
                <a:gd name="connsiteX36" fmla="*/ 646 w 9920"/>
                <a:gd name="connsiteY36" fmla="*/ 9338 h 10000"/>
                <a:gd name="connsiteX37" fmla="*/ 993 w 9920"/>
                <a:gd name="connsiteY37" fmla="*/ 9776 h 10000"/>
                <a:gd name="connsiteX38" fmla="*/ 937 w 9920"/>
                <a:gd name="connsiteY38" fmla="*/ 9817 h 10000"/>
                <a:gd name="connsiteX39" fmla="*/ 898 w 9920"/>
                <a:gd name="connsiteY39" fmla="*/ 9902 h 10000"/>
                <a:gd name="connsiteX40" fmla="*/ 848 w 9920"/>
                <a:gd name="connsiteY40" fmla="*/ 9908 h 10000"/>
                <a:gd name="connsiteX41" fmla="*/ 817 w 9920"/>
                <a:gd name="connsiteY41" fmla="*/ 9945 h 10000"/>
                <a:gd name="connsiteX42" fmla="*/ 1028 w 9920"/>
                <a:gd name="connsiteY42" fmla="*/ 9949 h 10000"/>
                <a:gd name="connsiteX43" fmla="*/ 1213 w 9920"/>
                <a:gd name="connsiteY43" fmla="*/ 9986 h 10000"/>
                <a:gd name="connsiteX44" fmla="*/ 1521 w 9920"/>
                <a:gd name="connsiteY44" fmla="*/ 9947 h 10000"/>
                <a:gd name="connsiteX45" fmla="*/ 1797 w 9920"/>
                <a:gd name="connsiteY45" fmla="*/ 9953 h 10000"/>
                <a:gd name="connsiteX46" fmla="*/ 1961 w 9920"/>
                <a:gd name="connsiteY46" fmla="*/ 10000 h 10000"/>
                <a:gd name="connsiteX47" fmla="*/ 2049 w 9920"/>
                <a:gd name="connsiteY47" fmla="*/ 9969 h 10000"/>
                <a:gd name="connsiteX48" fmla="*/ 2136 w 9920"/>
                <a:gd name="connsiteY48" fmla="*/ 9868 h 10000"/>
                <a:gd name="connsiteX49" fmla="*/ 2114 w 9920"/>
                <a:gd name="connsiteY49" fmla="*/ 9703 h 10000"/>
                <a:gd name="connsiteX50" fmla="*/ 2325 w 9920"/>
                <a:gd name="connsiteY50" fmla="*/ 9517 h 10000"/>
                <a:gd name="connsiteX51" fmla="*/ 2479 w 9920"/>
                <a:gd name="connsiteY51" fmla="*/ 9546 h 10000"/>
                <a:gd name="connsiteX52" fmla="*/ 2567 w 9920"/>
                <a:gd name="connsiteY52" fmla="*/ 9472 h 10000"/>
                <a:gd name="connsiteX53" fmla="*/ 2738 w 9920"/>
                <a:gd name="connsiteY53" fmla="*/ 9430 h 10000"/>
                <a:gd name="connsiteX54" fmla="*/ 2971 w 9920"/>
                <a:gd name="connsiteY54" fmla="*/ 9440 h 10000"/>
                <a:gd name="connsiteX55" fmla="*/ 3112 w 9920"/>
                <a:gd name="connsiteY55" fmla="*/ 9470 h 10000"/>
                <a:gd name="connsiteX56" fmla="*/ 3297 w 9920"/>
                <a:gd name="connsiteY56" fmla="*/ 9456 h 10000"/>
                <a:gd name="connsiteX57" fmla="*/ 3486 w 9920"/>
                <a:gd name="connsiteY57" fmla="*/ 9489 h 10000"/>
                <a:gd name="connsiteX58" fmla="*/ 3674 w 9920"/>
                <a:gd name="connsiteY58" fmla="*/ 9493 h 10000"/>
                <a:gd name="connsiteX59" fmla="*/ 4096 w 9920"/>
                <a:gd name="connsiteY59" fmla="*/ 9061 h 10000"/>
                <a:gd name="connsiteX60" fmla="*/ 4202 w 9920"/>
                <a:gd name="connsiteY60" fmla="*/ 8711 h 10000"/>
                <a:gd name="connsiteX61" fmla="*/ 4374 w 9920"/>
                <a:gd name="connsiteY61" fmla="*/ 8554 h 10000"/>
                <a:gd name="connsiteX62" fmla="*/ 4374 w 9920"/>
                <a:gd name="connsiteY62" fmla="*/ 8472 h 10000"/>
                <a:gd name="connsiteX63" fmla="*/ 4312 w 9920"/>
                <a:gd name="connsiteY63" fmla="*/ 8425 h 10000"/>
                <a:gd name="connsiteX64" fmla="*/ 4413 w 9920"/>
                <a:gd name="connsiteY64" fmla="*/ 8352 h 10000"/>
                <a:gd name="connsiteX65" fmla="*/ 4395 w 9920"/>
                <a:gd name="connsiteY65" fmla="*/ 8289 h 10000"/>
                <a:gd name="connsiteX66" fmla="*/ 4325 w 9920"/>
                <a:gd name="connsiteY66" fmla="*/ 8236 h 10000"/>
                <a:gd name="connsiteX67" fmla="*/ 4312 w 9920"/>
                <a:gd name="connsiteY67" fmla="*/ 8199 h 10000"/>
                <a:gd name="connsiteX68" fmla="*/ 4329 w 9920"/>
                <a:gd name="connsiteY68" fmla="*/ 8169 h 10000"/>
                <a:gd name="connsiteX69" fmla="*/ 4422 w 9920"/>
                <a:gd name="connsiteY69" fmla="*/ 8193 h 10000"/>
                <a:gd name="connsiteX70" fmla="*/ 4497 w 9920"/>
                <a:gd name="connsiteY70" fmla="*/ 8191 h 10000"/>
                <a:gd name="connsiteX71" fmla="*/ 4456 w 9920"/>
                <a:gd name="connsiteY71" fmla="*/ 8140 h 10000"/>
                <a:gd name="connsiteX72" fmla="*/ 4469 w 9920"/>
                <a:gd name="connsiteY72" fmla="*/ 8112 h 10000"/>
                <a:gd name="connsiteX73" fmla="*/ 4523 w 9920"/>
                <a:gd name="connsiteY73" fmla="*/ 8069 h 10000"/>
                <a:gd name="connsiteX74" fmla="*/ 4514 w 9920"/>
                <a:gd name="connsiteY74" fmla="*/ 8034 h 10000"/>
                <a:gd name="connsiteX75" fmla="*/ 4563 w 9920"/>
                <a:gd name="connsiteY75" fmla="*/ 7916 h 10000"/>
                <a:gd name="connsiteX76" fmla="*/ 4550 w 9920"/>
                <a:gd name="connsiteY76" fmla="*/ 7881 h 10000"/>
                <a:gd name="connsiteX77" fmla="*/ 4294 w 9920"/>
                <a:gd name="connsiteY77" fmla="*/ 7792 h 10000"/>
                <a:gd name="connsiteX78" fmla="*/ 4329 w 9920"/>
                <a:gd name="connsiteY78" fmla="*/ 7788 h 10000"/>
                <a:gd name="connsiteX79" fmla="*/ 4465 w 9920"/>
                <a:gd name="connsiteY79" fmla="*/ 7812 h 10000"/>
                <a:gd name="connsiteX80" fmla="*/ 4611 w 9920"/>
                <a:gd name="connsiteY80" fmla="*/ 7804 h 10000"/>
                <a:gd name="connsiteX81" fmla="*/ 4654 w 9920"/>
                <a:gd name="connsiteY81" fmla="*/ 7771 h 10000"/>
                <a:gd name="connsiteX82" fmla="*/ 4514 w 9920"/>
                <a:gd name="connsiteY82" fmla="*/ 7710 h 10000"/>
                <a:gd name="connsiteX83" fmla="*/ 4092 w 9920"/>
                <a:gd name="connsiteY83" fmla="*/ 7670 h 10000"/>
                <a:gd name="connsiteX84" fmla="*/ 4122 w 9920"/>
                <a:gd name="connsiteY84" fmla="*/ 7651 h 10000"/>
                <a:gd name="connsiteX85" fmla="*/ 4465 w 9920"/>
                <a:gd name="connsiteY85" fmla="*/ 7639 h 10000"/>
                <a:gd name="connsiteX86" fmla="*/ 4654 w 9920"/>
                <a:gd name="connsiteY86" fmla="*/ 7676 h 10000"/>
                <a:gd name="connsiteX87" fmla="*/ 4765 w 9920"/>
                <a:gd name="connsiteY87" fmla="*/ 7651 h 10000"/>
                <a:gd name="connsiteX88" fmla="*/ 4804 w 9920"/>
                <a:gd name="connsiteY88" fmla="*/ 7588 h 10000"/>
                <a:gd name="connsiteX89" fmla="*/ 5002 w 9920"/>
                <a:gd name="connsiteY89" fmla="*/ 7588 h 10000"/>
                <a:gd name="connsiteX90" fmla="*/ 5270 w 9920"/>
                <a:gd name="connsiteY90" fmla="*/ 7462 h 10000"/>
                <a:gd name="connsiteX91" fmla="*/ 5279 w 9920"/>
                <a:gd name="connsiteY91" fmla="*/ 7378 h 10000"/>
                <a:gd name="connsiteX92" fmla="*/ 5393 w 9920"/>
                <a:gd name="connsiteY92" fmla="*/ 7397 h 10000"/>
                <a:gd name="connsiteX93" fmla="*/ 5389 w 9920"/>
                <a:gd name="connsiteY93" fmla="*/ 7482 h 10000"/>
                <a:gd name="connsiteX94" fmla="*/ 5569 w 9920"/>
                <a:gd name="connsiteY94" fmla="*/ 7476 h 10000"/>
                <a:gd name="connsiteX95" fmla="*/ 5687 w 9920"/>
                <a:gd name="connsiteY95" fmla="*/ 7388 h 10000"/>
                <a:gd name="connsiteX96" fmla="*/ 5908 w 9920"/>
                <a:gd name="connsiteY96" fmla="*/ 7309 h 10000"/>
                <a:gd name="connsiteX97" fmla="*/ 5872 w 9920"/>
                <a:gd name="connsiteY97" fmla="*/ 7219 h 10000"/>
                <a:gd name="connsiteX98" fmla="*/ 5938 w 9920"/>
                <a:gd name="connsiteY98" fmla="*/ 7254 h 10000"/>
                <a:gd name="connsiteX99" fmla="*/ 6039 w 9920"/>
                <a:gd name="connsiteY99" fmla="*/ 7254 h 10000"/>
                <a:gd name="connsiteX100" fmla="*/ 6039 w 9920"/>
                <a:gd name="connsiteY100" fmla="*/ 7213 h 10000"/>
                <a:gd name="connsiteX101" fmla="*/ 6132 w 9920"/>
                <a:gd name="connsiteY101" fmla="*/ 7181 h 10000"/>
                <a:gd name="connsiteX102" fmla="*/ 6119 w 9920"/>
                <a:gd name="connsiteY102" fmla="*/ 7148 h 10000"/>
                <a:gd name="connsiteX103" fmla="*/ 5328 w 9920"/>
                <a:gd name="connsiteY103" fmla="*/ 7215 h 10000"/>
                <a:gd name="connsiteX104" fmla="*/ 5143 w 9920"/>
                <a:gd name="connsiteY104" fmla="*/ 7195 h 10000"/>
                <a:gd name="connsiteX105" fmla="*/ 5068 w 9920"/>
                <a:gd name="connsiteY105" fmla="*/ 7219 h 10000"/>
                <a:gd name="connsiteX106" fmla="*/ 5042 w 9920"/>
                <a:gd name="connsiteY106" fmla="*/ 7173 h 10000"/>
                <a:gd name="connsiteX107" fmla="*/ 4954 w 9920"/>
                <a:gd name="connsiteY107" fmla="*/ 7132 h 10000"/>
                <a:gd name="connsiteX108" fmla="*/ 4602 w 9920"/>
                <a:gd name="connsiteY108" fmla="*/ 7052 h 10000"/>
                <a:gd name="connsiteX109" fmla="*/ 4395 w 9920"/>
                <a:gd name="connsiteY109" fmla="*/ 7065 h 10000"/>
                <a:gd name="connsiteX110" fmla="*/ 4312 w 9920"/>
                <a:gd name="connsiteY110" fmla="*/ 7042 h 10000"/>
                <a:gd name="connsiteX111" fmla="*/ 4400 w 9920"/>
                <a:gd name="connsiteY111" fmla="*/ 7022 h 10000"/>
                <a:gd name="connsiteX112" fmla="*/ 4465 w 9920"/>
                <a:gd name="connsiteY112" fmla="*/ 6979 h 10000"/>
                <a:gd name="connsiteX113" fmla="*/ 4563 w 9920"/>
                <a:gd name="connsiteY113" fmla="*/ 6993 h 10000"/>
                <a:gd name="connsiteX114" fmla="*/ 4681 w 9920"/>
                <a:gd name="connsiteY114" fmla="*/ 6981 h 10000"/>
                <a:gd name="connsiteX115" fmla="*/ 4857 w 9920"/>
                <a:gd name="connsiteY115" fmla="*/ 6995 h 10000"/>
                <a:gd name="connsiteX116" fmla="*/ 4878 w 9920"/>
                <a:gd name="connsiteY116" fmla="*/ 6989 h 10000"/>
                <a:gd name="connsiteX117" fmla="*/ 5016 w 9920"/>
                <a:gd name="connsiteY117" fmla="*/ 7056 h 10000"/>
                <a:gd name="connsiteX118" fmla="*/ 5117 w 9920"/>
                <a:gd name="connsiteY118" fmla="*/ 7032 h 10000"/>
                <a:gd name="connsiteX119" fmla="*/ 5125 w 9920"/>
                <a:gd name="connsiteY119" fmla="*/ 7010 h 10000"/>
                <a:gd name="connsiteX120" fmla="*/ 5217 w 9920"/>
                <a:gd name="connsiteY120" fmla="*/ 7048 h 10000"/>
                <a:gd name="connsiteX121" fmla="*/ 5341 w 9920"/>
                <a:gd name="connsiteY121" fmla="*/ 7069 h 10000"/>
                <a:gd name="connsiteX122" fmla="*/ 5389 w 9920"/>
                <a:gd name="connsiteY122" fmla="*/ 7030 h 10000"/>
                <a:gd name="connsiteX123" fmla="*/ 5428 w 9920"/>
                <a:gd name="connsiteY123" fmla="*/ 7052 h 10000"/>
                <a:gd name="connsiteX124" fmla="*/ 5485 w 9920"/>
                <a:gd name="connsiteY124" fmla="*/ 7126 h 10000"/>
                <a:gd name="connsiteX125" fmla="*/ 5604 w 9920"/>
                <a:gd name="connsiteY125" fmla="*/ 7144 h 10000"/>
                <a:gd name="connsiteX126" fmla="*/ 6088 w 9920"/>
                <a:gd name="connsiteY126" fmla="*/ 7034 h 10000"/>
                <a:gd name="connsiteX127" fmla="*/ 6325 w 9920"/>
                <a:gd name="connsiteY127" fmla="*/ 6879 h 10000"/>
                <a:gd name="connsiteX128" fmla="*/ 6382 w 9920"/>
                <a:gd name="connsiteY128" fmla="*/ 6765 h 10000"/>
                <a:gd name="connsiteX129" fmla="*/ 6295 w 9920"/>
                <a:gd name="connsiteY129" fmla="*/ 6663 h 10000"/>
                <a:gd name="connsiteX130" fmla="*/ 6114 w 9920"/>
                <a:gd name="connsiteY130" fmla="*/ 6602 h 10000"/>
                <a:gd name="connsiteX131" fmla="*/ 5986 w 9920"/>
                <a:gd name="connsiteY131" fmla="*/ 6502 h 10000"/>
                <a:gd name="connsiteX132" fmla="*/ 6106 w 9920"/>
                <a:gd name="connsiteY132" fmla="*/ 6498 h 10000"/>
                <a:gd name="connsiteX133" fmla="*/ 6097 w 9920"/>
                <a:gd name="connsiteY133" fmla="*/ 6474 h 10000"/>
                <a:gd name="connsiteX134" fmla="*/ 5785 w 9920"/>
                <a:gd name="connsiteY134" fmla="*/ 6403 h 10000"/>
                <a:gd name="connsiteX135" fmla="*/ 5772 w 9920"/>
                <a:gd name="connsiteY135" fmla="*/ 6339 h 10000"/>
                <a:gd name="connsiteX136" fmla="*/ 5714 w 9920"/>
                <a:gd name="connsiteY136" fmla="*/ 6272 h 10000"/>
                <a:gd name="connsiteX137" fmla="*/ 5467 w 9920"/>
                <a:gd name="connsiteY137" fmla="*/ 6284 h 10000"/>
                <a:gd name="connsiteX138" fmla="*/ 5380 w 9920"/>
                <a:gd name="connsiteY138" fmla="*/ 6213 h 10000"/>
                <a:gd name="connsiteX139" fmla="*/ 5328 w 9920"/>
                <a:gd name="connsiteY139" fmla="*/ 6209 h 10000"/>
                <a:gd name="connsiteX140" fmla="*/ 5328 w 9920"/>
                <a:gd name="connsiteY140" fmla="*/ 6238 h 10000"/>
                <a:gd name="connsiteX141" fmla="*/ 5217 w 9920"/>
                <a:gd name="connsiteY141" fmla="*/ 6358 h 10000"/>
                <a:gd name="connsiteX142" fmla="*/ 5098 w 9920"/>
                <a:gd name="connsiteY142" fmla="*/ 6429 h 10000"/>
                <a:gd name="connsiteX143" fmla="*/ 4724 w 9920"/>
                <a:gd name="connsiteY143" fmla="*/ 6551 h 10000"/>
                <a:gd name="connsiteX144" fmla="*/ 4593 w 9920"/>
                <a:gd name="connsiteY144" fmla="*/ 6547 h 10000"/>
                <a:gd name="connsiteX145" fmla="*/ 4413 w 9920"/>
                <a:gd name="connsiteY145" fmla="*/ 6565 h 10000"/>
                <a:gd name="connsiteX146" fmla="*/ 4312 w 9920"/>
                <a:gd name="connsiteY146" fmla="*/ 6547 h 10000"/>
                <a:gd name="connsiteX147" fmla="*/ 4443 w 9920"/>
                <a:gd name="connsiteY147" fmla="*/ 6513 h 10000"/>
                <a:gd name="connsiteX148" fmla="*/ 4615 w 9920"/>
                <a:gd name="connsiteY148" fmla="*/ 6498 h 10000"/>
                <a:gd name="connsiteX149" fmla="*/ 4757 w 9920"/>
                <a:gd name="connsiteY149" fmla="*/ 6441 h 10000"/>
                <a:gd name="connsiteX150" fmla="*/ 4896 w 9920"/>
                <a:gd name="connsiteY150" fmla="*/ 6415 h 10000"/>
                <a:gd name="connsiteX151" fmla="*/ 5156 w 9920"/>
                <a:gd name="connsiteY151" fmla="*/ 6317 h 10000"/>
                <a:gd name="connsiteX152" fmla="*/ 5204 w 9920"/>
                <a:gd name="connsiteY152" fmla="*/ 6252 h 10000"/>
                <a:gd name="connsiteX153" fmla="*/ 5208 w 9920"/>
                <a:gd name="connsiteY153" fmla="*/ 6168 h 10000"/>
                <a:gd name="connsiteX154" fmla="*/ 5090 w 9920"/>
                <a:gd name="connsiteY154" fmla="*/ 6154 h 10000"/>
                <a:gd name="connsiteX155" fmla="*/ 5143 w 9920"/>
                <a:gd name="connsiteY155" fmla="*/ 6103 h 10000"/>
                <a:gd name="connsiteX156" fmla="*/ 5160 w 9920"/>
                <a:gd name="connsiteY156" fmla="*/ 6038 h 10000"/>
                <a:gd name="connsiteX157" fmla="*/ 5111 w 9920"/>
                <a:gd name="connsiteY157" fmla="*/ 5977 h 10000"/>
                <a:gd name="connsiteX158" fmla="*/ 5081 w 9920"/>
                <a:gd name="connsiteY158" fmla="*/ 5533 h 10000"/>
                <a:gd name="connsiteX159" fmla="*/ 5152 w 9920"/>
                <a:gd name="connsiteY159" fmla="*/ 5437 h 10000"/>
                <a:gd name="connsiteX160" fmla="*/ 5134 w 9920"/>
                <a:gd name="connsiteY160" fmla="*/ 5398 h 10000"/>
                <a:gd name="connsiteX161" fmla="*/ 5341 w 9920"/>
                <a:gd name="connsiteY161" fmla="*/ 5455 h 10000"/>
                <a:gd name="connsiteX162" fmla="*/ 5354 w 9920"/>
                <a:gd name="connsiteY162" fmla="*/ 5402 h 10000"/>
                <a:gd name="connsiteX163" fmla="*/ 5310 w 9920"/>
                <a:gd name="connsiteY163" fmla="*/ 5264 h 10000"/>
                <a:gd name="connsiteX164" fmla="*/ 5458 w 9920"/>
                <a:gd name="connsiteY164" fmla="*/ 5019 h 10000"/>
                <a:gd name="connsiteX165" fmla="*/ 5367 w 9920"/>
                <a:gd name="connsiteY165" fmla="*/ 4960 h 10000"/>
                <a:gd name="connsiteX166" fmla="*/ 5332 w 9920"/>
                <a:gd name="connsiteY166" fmla="*/ 4905 h 10000"/>
                <a:gd name="connsiteX167" fmla="*/ 5345 w 9920"/>
                <a:gd name="connsiteY167" fmla="*/ 4816 h 10000"/>
                <a:gd name="connsiteX168" fmla="*/ 5561 w 9920"/>
                <a:gd name="connsiteY168" fmla="*/ 4875 h 10000"/>
                <a:gd name="connsiteX169" fmla="*/ 5569 w 9920"/>
                <a:gd name="connsiteY169" fmla="*/ 4858 h 10000"/>
                <a:gd name="connsiteX170" fmla="*/ 5630 w 9920"/>
                <a:gd name="connsiteY170" fmla="*/ 4842 h 10000"/>
                <a:gd name="connsiteX171" fmla="*/ 5714 w 9920"/>
                <a:gd name="connsiteY171" fmla="*/ 4785 h 10000"/>
                <a:gd name="connsiteX172" fmla="*/ 5727 w 9920"/>
                <a:gd name="connsiteY172" fmla="*/ 4769 h 10000"/>
                <a:gd name="connsiteX173" fmla="*/ 5710 w 9920"/>
                <a:gd name="connsiteY173" fmla="*/ 4748 h 10000"/>
                <a:gd name="connsiteX174" fmla="*/ 5753 w 9920"/>
                <a:gd name="connsiteY174" fmla="*/ 4647 h 10000"/>
                <a:gd name="connsiteX175" fmla="*/ 5701 w 9920"/>
                <a:gd name="connsiteY175" fmla="*/ 4581 h 10000"/>
                <a:gd name="connsiteX176" fmla="*/ 5710 w 9920"/>
                <a:gd name="connsiteY176" fmla="*/ 4528 h 10000"/>
                <a:gd name="connsiteX177" fmla="*/ 5740 w 9920"/>
                <a:gd name="connsiteY177" fmla="*/ 4590 h 10000"/>
                <a:gd name="connsiteX178" fmla="*/ 5859 w 9920"/>
                <a:gd name="connsiteY178" fmla="*/ 4636 h 10000"/>
                <a:gd name="connsiteX179" fmla="*/ 5908 w 9920"/>
                <a:gd name="connsiteY179" fmla="*/ 4630 h 10000"/>
                <a:gd name="connsiteX180" fmla="*/ 5986 w 9920"/>
                <a:gd name="connsiteY180" fmla="*/ 4569 h 10000"/>
                <a:gd name="connsiteX181" fmla="*/ 6070 w 9920"/>
                <a:gd name="connsiteY181" fmla="*/ 4594 h 10000"/>
                <a:gd name="connsiteX182" fmla="*/ 6093 w 9920"/>
                <a:gd name="connsiteY182" fmla="*/ 4545 h 10000"/>
                <a:gd name="connsiteX183" fmla="*/ 6149 w 9920"/>
                <a:gd name="connsiteY183" fmla="*/ 4512 h 10000"/>
                <a:gd name="connsiteX184" fmla="*/ 5995 w 9920"/>
                <a:gd name="connsiteY184" fmla="*/ 4477 h 10000"/>
                <a:gd name="connsiteX185" fmla="*/ 6106 w 9920"/>
                <a:gd name="connsiteY185" fmla="*/ 4484 h 10000"/>
                <a:gd name="connsiteX186" fmla="*/ 6219 w 9920"/>
                <a:gd name="connsiteY186" fmla="*/ 4447 h 10000"/>
                <a:gd name="connsiteX187" fmla="*/ 6215 w 9920"/>
                <a:gd name="connsiteY187" fmla="*/ 4422 h 10000"/>
                <a:gd name="connsiteX188" fmla="*/ 6321 w 9920"/>
                <a:gd name="connsiteY188" fmla="*/ 4398 h 10000"/>
                <a:gd name="connsiteX189" fmla="*/ 6330 w 9920"/>
                <a:gd name="connsiteY189" fmla="*/ 4337 h 10000"/>
                <a:gd name="connsiteX190" fmla="*/ 6413 w 9920"/>
                <a:gd name="connsiteY190" fmla="*/ 4325 h 10000"/>
                <a:gd name="connsiteX191" fmla="*/ 6421 w 9920"/>
                <a:gd name="connsiteY191" fmla="*/ 4253 h 10000"/>
                <a:gd name="connsiteX192" fmla="*/ 6509 w 9920"/>
                <a:gd name="connsiteY192" fmla="*/ 4245 h 10000"/>
                <a:gd name="connsiteX193" fmla="*/ 6645 w 9920"/>
                <a:gd name="connsiteY193" fmla="*/ 4260 h 10000"/>
                <a:gd name="connsiteX194" fmla="*/ 6794 w 9920"/>
                <a:gd name="connsiteY194" fmla="*/ 4202 h 10000"/>
                <a:gd name="connsiteX195" fmla="*/ 6848 w 9920"/>
                <a:gd name="connsiteY195" fmla="*/ 4137 h 10000"/>
                <a:gd name="connsiteX196" fmla="*/ 7032 w 9920"/>
                <a:gd name="connsiteY196" fmla="*/ 4070 h 10000"/>
                <a:gd name="connsiteX197" fmla="*/ 7125 w 9920"/>
                <a:gd name="connsiteY197" fmla="*/ 4111 h 10000"/>
                <a:gd name="connsiteX198" fmla="*/ 7265 w 9920"/>
                <a:gd name="connsiteY198" fmla="*/ 4066 h 10000"/>
                <a:gd name="connsiteX199" fmla="*/ 7300 w 9920"/>
                <a:gd name="connsiteY199" fmla="*/ 4009 h 10000"/>
                <a:gd name="connsiteX200" fmla="*/ 7406 w 9920"/>
                <a:gd name="connsiteY200" fmla="*/ 3970 h 10000"/>
                <a:gd name="connsiteX201" fmla="*/ 7498 w 9920"/>
                <a:gd name="connsiteY201" fmla="*/ 3987 h 10000"/>
                <a:gd name="connsiteX202" fmla="*/ 7555 w 9920"/>
                <a:gd name="connsiteY202" fmla="*/ 3958 h 10000"/>
                <a:gd name="connsiteX203" fmla="*/ 7714 w 9920"/>
                <a:gd name="connsiteY203" fmla="*/ 3917 h 10000"/>
                <a:gd name="connsiteX204" fmla="*/ 7779 w 9920"/>
                <a:gd name="connsiteY204" fmla="*/ 3864 h 10000"/>
                <a:gd name="connsiteX205" fmla="*/ 7868 w 9920"/>
                <a:gd name="connsiteY205" fmla="*/ 3842 h 10000"/>
                <a:gd name="connsiteX206" fmla="*/ 8356 w 9920"/>
                <a:gd name="connsiteY206" fmla="*/ 3522 h 10000"/>
                <a:gd name="connsiteX207" fmla="*/ 9793 w 9920"/>
                <a:gd name="connsiteY207" fmla="*/ 1992 h 10000"/>
                <a:gd name="connsiteX208" fmla="*/ 9832 w 9920"/>
                <a:gd name="connsiteY208" fmla="*/ 1897 h 10000"/>
                <a:gd name="connsiteX209" fmla="*/ 9920 w 9920"/>
                <a:gd name="connsiteY209" fmla="*/ 1819 h 10000"/>
                <a:gd name="connsiteX210" fmla="*/ 9920 w 9920"/>
                <a:gd name="connsiteY210" fmla="*/ 1699 h 10000"/>
                <a:gd name="connsiteX211" fmla="*/ 9644 w 9920"/>
                <a:gd name="connsiteY211" fmla="*/ 1465 h 10000"/>
                <a:gd name="connsiteX212" fmla="*/ 9599 w 9920"/>
                <a:gd name="connsiteY212" fmla="*/ 1379 h 10000"/>
                <a:gd name="connsiteX213" fmla="*/ 9661 w 9920"/>
                <a:gd name="connsiteY213" fmla="*/ 1271 h 10000"/>
                <a:gd name="connsiteX214" fmla="*/ 9631 w 9920"/>
                <a:gd name="connsiteY214" fmla="*/ 1194 h 10000"/>
                <a:gd name="connsiteX215" fmla="*/ 9573 w 9920"/>
                <a:gd name="connsiteY215" fmla="*/ 1159 h 10000"/>
                <a:gd name="connsiteX216" fmla="*/ 9524 w 9920"/>
                <a:gd name="connsiteY216" fmla="*/ 978 h 10000"/>
                <a:gd name="connsiteX217" fmla="*/ 9582 w 9920"/>
                <a:gd name="connsiteY217" fmla="*/ 831 h 10000"/>
                <a:gd name="connsiteX218" fmla="*/ 9160 w 9920"/>
                <a:gd name="connsiteY218" fmla="*/ 517 h 10000"/>
                <a:gd name="connsiteX219" fmla="*/ 8953 w 9920"/>
                <a:gd name="connsiteY219" fmla="*/ 440 h 10000"/>
                <a:gd name="connsiteX220" fmla="*/ 8570 w 9920"/>
                <a:gd name="connsiteY220" fmla="*/ 389 h 10000"/>
                <a:gd name="connsiteX221" fmla="*/ 7779 w 9920"/>
                <a:gd name="connsiteY221" fmla="*/ 26 h 10000"/>
                <a:gd name="connsiteX222" fmla="*/ 7753 w 9920"/>
                <a:gd name="connsiteY222" fmla="*/ 2 h 10000"/>
                <a:gd name="connsiteX223" fmla="*/ 7485 w 9920"/>
                <a:gd name="connsiteY223" fmla="*/ 0 h 10000"/>
                <a:gd name="connsiteX224" fmla="*/ 7423 w 9920"/>
                <a:gd name="connsiteY224" fmla="*/ 14 h 10000"/>
                <a:gd name="connsiteX225" fmla="*/ 7437 w 9920"/>
                <a:gd name="connsiteY225" fmla="*/ 61 h 10000"/>
                <a:gd name="connsiteX226" fmla="*/ 7490 w 9920"/>
                <a:gd name="connsiteY226" fmla="*/ 86 h 10000"/>
                <a:gd name="connsiteX227" fmla="*/ 7503 w 9920"/>
                <a:gd name="connsiteY227" fmla="*/ 139 h 10000"/>
                <a:gd name="connsiteX228" fmla="*/ 7485 w 9920"/>
                <a:gd name="connsiteY228" fmla="*/ 181 h 10000"/>
                <a:gd name="connsiteX229" fmla="*/ 7437 w 9920"/>
                <a:gd name="connsiteY229" fmla="*/ 208 h 10000"/>
                <a:gd name="connsiteX230" fmla="*/ 7401 w 9920"/>
                <a:gd name="connsiteY230" fmla="*/ 283 h 10000"/>
                <a:gd name="connsiteX231" fmla="*/ 7336 w 9920"/>
                <a:gd name="connsiteY231" fmla="*/ 336 h 10000"/>
                <a:gd name="connsiteX232" fmla="*/ 7349 w 9920"/>
                <a:gd name="connsiteY232" fmla="*/ 387 h 10000"/>
                <a:gd name="connsiteX233" fmla="*/ 7450 w 9920"/>
                <a:gd name="connsiteY233" fmla="*/ 434 h 10000"/>
                <a:gd name="connsiteX234" fmla="*/ 7384 w 9920"/>
                <a:gd name="connsiteY234" fmla="*/ 475 h 10000"/>
                <a:gd name="connsiteX235" fmla="*/ 7287 w 9920"/>
                <a:gd name="connsiteY235" fmla="*/ 485 h 10000"/>
                <a:gd name="connsiteX236" fmla="*/ 6479 w 9920"/>
                <a:gd name="connsiteY236" fmla="*/ 387 h 10000"/>
                <a:gd name="connsiteX237" fmla="*/ 6382 w 9920"/>
                <a:gd name="connsiteY237" fmla="*/ 395 h 10000"/>
                <a:gd name="connsiteX238" fmla="*/ 6325 w 9920"/>
                <a:gd name="connsiteY238" fmla="*/ 414 h 10000"/>
                <a:gd name="connsiteX239" fmla="*/ 6267 w 9920"/>
                <a:gd name="connsiteY239" fmla="*/ 462 h 10000"/>
                <a:gd name="connsiteX240" fmla="*/ 6277 w 9920"/>
                <a:gd name="connsiteY240" fmla="*/ 581 h 10000"/>
                <a:gd name="connsiteX241" fmla="*/ 6188 w 9920"/>
                <a:gd name="connsiteY241" fmla="*/ 735 h 10000"/>
                <a:gd name="connsiteX242" fmla="*/ 6079 w 9920"/>
                <a:gd name="connsiteY242" fmla="*/ 815 h 10000"/>
                <a:gd name="connsiteX243" fmla="*/ 6035 w 9920"/>
                <a:gd name="connsiteY243" fmla="*/ 805 h 10000"/>
                <a:gd name="connsiteX244" fmla="*/ 5934 w 9920"/>
                <a:gd name="connsiteY244" fmla="*/ 739 h 10000"/>
                <a:gd name="connsiteX245" fmla="*/ 5806 w 9920"/>
                <a:gd name="connsiteY245" fmla="*/ 705 h 10000"/>
                <a:gd name="connsiteX246" fmla="*/ 5669 w 9920"/>
                <a:gd name="connsiteY246" fmla="*/ 715 h 10000"/>
                <a:gd name="connsiteX247" fmla="*/ 5350 w 9920"/>
                <a:gd name="connsiteY247" fmla="*/ 866 h 10000"/>
                <a:gd name="connsiteX248" fmla="*/ 5266 w 9920"/>
                <a:gd name="connsiteY248" fmla="*/ 1017 h 10000"/>
                <a:gd name="connsiteX249" fmla="*/ 5024 w 9920"/>
                <a:gd name="connsiteY249" fmla="*/ 1153 h 10000"/>
                <a:gd name="connsiteX250" fmla="*/ 4980 w 9920"/>
                <a:gd name="connsiteY250" fmla="*/ 1222 h 10000"/>
                <a:gd name="connsiteX251" fmla="*/ 5107 w 9920"/>
                <a:gd name="connsiteY251" fmla="*/ 1344 h 10000"/>
                <a:gd name="connsiteX252" fmla="*/ 5121 w 9920"/>
                <a:gd name="connsiteY252" fmla="*/ 1412 h 10000"/>
                <a:gd name="connsiteX253" fmla="*/ 4461 w 9920"/>
                <a:gd name="connsiteY253" fmla="*/ 1813 h 10000"/>
                <a:gd name="connsiteX254" fmla="*/ 4259 w 9920"/>
                <a:gd name="connsiteY254" fmla="*/ 2070 h 10000"/>
                <a:gd name="connsiteX255" fmla="*/ 4040 w 9920"/>
                <a:gd name="connsiteY255" fmla="*/ 2135 h 10000"/>
                <a:gd name="connsiteX256" fmla="*/ 3903 w 9920"/>
                <a:gd name="connsiteY256" fmla="*/ 2131 h 10000"/>
                <a:gd name="connsiteX257" fmla="*/ 3820 w 9920"/>
                <a:gd name="connsiteY257" fmla="*/ 2153 h 10000"/>
                <a:gd name="connsiteX258" fmla="*/ 3591 w 9920"/>
                <a:gd name="connsiteY258" fmla="*/ 2793 h 10000"/>
                <a:gd name="connsiteX259" fmla="*/ 3064 w 9920"/>
                <a:gd name="connsiteY259" fmla="*/ 3166 h 10000"/>
                <a:gd name="connsiteX260" fmla="*/ 3068 w 9920"/>
                <a:gd name="connsiteY260" fmla="*/ 3225 h 10000"/>
                <a:gd name="connsiteX261" fmla="*/ 3301 w 9920"/>
                <a:gd name="connsiteY261" fmla="*/ 3392 h 10000"/>
                <a:gd name="connsiteX262" fmla="*/ 3227 w 9920"/>
                <a:gd name="connsiteY262" fmla="*/ 3573 h 10000"/>
                <a:gd name="connsiteX263" fmla="*/ 3090 w 9920"/>
                <a:gd name="connsiteY263" fmla="*/ 3640 h 10000"/>
                <a:gd name="connsiteX264" fmla="*/ 2681 w 9920"/>
                <a:gd name="connsiteY264" fmla="*/ 3595 h 10000"/>
                <a:gd name="connsiteX265" fmla="*/ 2399 w 9920"/>
                <a:gd name="connsiteY265" fmla="*/ 3620 h 10000"/>
                <a:gd name="connsiteX266" fmla="*/ 2171 w 9920"/>
                <a:gd name="connsiteY266" fmla="*/ 3673 h 10000"/>
                <a:gd name="connsiteX267" fmla="*/ 1806 w 9920"/>
                <a:gd name="connsiteY267" fmla="*/ 3840 h 10000"/>
                <a:gd name="connsiteX268" fmla="*/ 1612 w 9920"/>
                <a:gd name="connsiteY268" fmla="*/ 4042 h 10000"/>
                <a:gd name="connsiteX269" fmla="*/ 1630 w 9920"/>
                <a:gd name="connsiteY269" fmla="*/ 4154 h 10000"/>
                <a:gd name="connsiteX270" fmla="*/ 1697 w 9920"/>
                <a:gd name="connsiteY270" fmla="*/ 4241 h 10000"/>
                <a:gd name="connsiteX271" fmla="*/ 1749 w 9920"/>
                <a:gd name="connsiteY271" fmla="*/ 4276 h 10000"/>
                <a:gd name="connsiteX272" fmla="*/ 1653 w 9920"/>
                <a:gd name="connsiteY272" fmla="*/ 4331 h 10000"/>
                <a:gd name="connsiteX273" fmla="*/ 1446 w 9920"/>
                <a:gd name="connsiteY273" fmla="*/ 4710 h 10000"/>
                <a:gd name="connsiteX274" fmla="*/ 1486 w 9920"/>
                <a:gd name="connsiteY274" fmla="*/ 4732 h 10000"/>
                <a:gd name="connsiteX275" fmla="*/ 1517 w 9920"/>
                <a:gd name="connsiteY275" fmla="*/ 4828 h 10000"/>
                <a:gd name="connsiteX276" fmla="*/ 1420 w 9920"/>
                <a:gd name="connsiteY276" fmla="*/ 5227 h 10000"/>
                <a:gd name="connsiteX277" fmla="*/ 1517 w 9920"/>
                <a:gd name="connsiteY277" fmla="*/ 5329 h 10000"/>
                <a:gd name="connsiteX278" fmla="*/ 1780 w 9920"/>
                <a:gd name="connsiteY278" fmla="*/ 5441 h 10000"/>
                <a:gd name="connsiteX279" fmla="*/ 1793 w 9920"/>
                <a:gd name="connsiteY279" fmla="*/ 5578 h 10000"/>
                <a:gd name="connsiteX280" fmla="*/ 1680 w 9920"/>
                <a:gd name="connsiteY280" fmla="*/ 5690 h 10000"/>
                <a:gd name="connsiteX281" fmla="*/ 1517 w 9920"/>
                <a:gd name="connsiteY281" fmla="*/ 5759 h 10000"/>
                <a:gd name="connsiteX282" fmla="*/ 1301 w 9920"/>
                <a:gd name="connsiteY282" fmla="*/ 5787 h 10000"/>
                <a:gd name="connsiteX283" fmla="*/ 1244 w 9920"/>
                <a:gd name="connsiteY283" fmla="*/ 5826 h 10000"/>
                <a:gd name="connsiteX284" fmla="*/ 1371 w 9920"/>
                <a:gd name="connsiteY284" fmla="*/ 5920 h 10000"/>
                <a:gd name="connsiteX285" fmla="*/ 1442 w 9920"/>
                <a:gd name="connsiteY285" fmla="*/ 6142 h 10000"/>
                <a:gd name="connsiteX286" fmla="*/ 1279 w 9920"/>
                <a:gd name="connsiteY286" fmla="*/ 6333 h 10000"/>
                <a:gd name="connsiteX287" fmla="*/ 1336 w 9920"/>
                <a:gd name="connsiteY287" fmla="*/ 6392 h 10000"/>
                <a:gd name="connsiteX288" fmla="*/ 1284 w 9920"/>
                <a:gd name="connsiteY288" fmla="*/ 6492 h 10000"/>
                <a:gd name="connsiteX289" fmla="*/ 1178 w 9920"/>
                <a:gd name="connsiteY289" fmla="*/ 6561 h 10000"/>
                <a:gd name="connsiteX290" fmla="*/ 765 w 9920"/>
                <a:gd name="connsiteY290" fmla="*/ 6614 h 10000"/>
                <a:gd name="connsiteX291" fmla="*/ 739 w 9920"/>
                <a:gd name="connsiteY291" fmla="*/ 6706 h 10000"/>
                <a:gd name="connsiteX292" fmla="*/ 515 w 9920"/>
                <a:gd name="connsiteY292" fmla="*/ 6843 h 10000"/>
                <a:gd name="connsiteX293" fmla="*/ 545 w 9920"/>
                <a:gd name="connsiteY293" fmla="*/ 7040 h 10000"/>
                <a:gd name="connsiteX294" fmla="*/ 356 w 9920"/>
                <a:gd name="connsiteY294" fmla="*/ 7293 h 10000"/>
                <a:gd name="connsiteX295" fmla="*/ 228 w 9920"/>
                <a:gd name="connsiteY295" fmla="*/ 7323 h 10000"/>
                <a:gd name="connsiteX296" fmla="*/ 176 w 9920"/>
                <a:gd name="connsiteY296" fmla="*/ 7262 h 10000"/>
                <a:gd name="connsiteX297" fmla="*/ 110 w 9920"/>
                <a:gd name="connsiteY297" fmla="*/ 7354 h 10000"/>
                <a:gd name="connsiteX298" fmla="*/ 154 w 9920"/>
                <a:gd name="connsiteY298" fmla="*/ 7197 h 10000"/>
                <a:gd name="connsiteX299" fmla="*/ 127 w 9920"/>
                <a:gd name="connsiteY299" fmla="*/ 7166 h 10000"/>
                <a:gd name="connsiteX0" fmla="*/ 128 w 10000"/>
                <a:gd name="connsiteY0" fmla="*/ 7166 h 10000"/>
                <a:gd name="connsiteX1" fmla="*/ 0 w 10000"/>
                <a:gd name="connsiteY1" fmla="*/ 7248 h 10000"/>
                <a:gd name="connsiteX2" fmla="*/ 0 w 10000"/>
                <a:gd name="connsiteY2" fmla="*/ 7651 h 10000"/>
                <a:gd name="connsiteX3" fmla="*/ 71 w 10000"/>
                <a:gd name="connsiteY3" fmla="*/ 7663 h 10000"/>
                <a:gd name="connsiteX4" fmla="*/ 88 w 10000"/>
                <a:gd name="connsiteY4" fmla="*/ 7694 h 10000"/>
                <a:gd name="connsiteX5" fmla="*/ 84 w 10000"/>
                <a:gd name="connsiteY5" fmla="*/ 7749 h 10000"/>
                <a:gd name="connsiteX6" fmla="*/ 57 w 10000"/>
                <a:gd name="connsiteY6" fmla="*/ 7773 h 10000"/>
                <a:gd name="connsiteX7" fmla="*/ 164 w 10000"/>
                <a:gd name="connsiteY7" fmla="*/ 7727 h 10000"/>
                <a:gd name="connsiteX8" fmla="*/ 209 w 10000"/>
                <a:gd name="connsiteY8" fmla="*/ 7680 h 10000"/>
                <a:gd name="connsiteX9" fmla="*/ 265 w 10000"/>
                <a:gd name="connsiteY9" fmla="*/ 7712 h 10000"/>
                <a:gd name="connsiteX10" fmla="*/ 204 w 10000"/>
                <a:gd name="connsiteY10" fmla="*/ 7778 h 10000"/>
                <a:gd name="connsiteX11" fmla="*/ 270 w 10000"/>
                <a:gd name="connsiteY11" fmla="*/ 7780 h 10000"/>
                <a:gd name="connsiteX12" fmla="*/ 301 w 10000"/>
                <a:gd name="connsiteY12" fmla="*/ 7796 h 10000"/>
                <a:gd name="connsiteX13" fmla="*/ 217 w 10000"/>
                <a:gd name="connsiteY13" fmla="*/ 7818 h 10000"/>
                <a:gd name="connsiteX14" fmla="*/ 84 w 10000"/>
                <a:gd name="connsiteY14" fmla="*/ 7886 h 10000"/>
                <a:gd name="connsiteX15" fmla="*/ 320 w 10000"/>
                <a:gd name="connsiteY15" fmla="*/ 7938 h 10000"/>
                <a:gd name="connsiteX16" fmla="*/ 350 w 10000"/>
                <a:gd name="connsiteY16" fmla="*/ 8014 h 10000"/>
                <a:gd name="connsiteX17" fmla="*/ 270 w 10000"/>
                <a:gd name="connsiteY17" fmla="*/ 8126 h 10000"/>
                <a:gd name="connsiteX18" fmla="*/ 444 w 10000"/>
                <a:gd name="connsiteY18" fmla="*/ 8118 h 10000"/>
                <a:gd name="connsiteX19" fmla="*/ 457 w 10000"/>
                <a:gd name="connsiteY19" fmla="*/ 8203 h 10000"/>
                <a:gd name="connsiteX20" fmla="*/ 341 w 10000"/>
                <a:gd name="connsiteY20" fmla="*/ 8260 h 10000"/>
                <a:gd name="connsiteX21" fmla="*/ 359 w 10000"/>
                <a:gd name="connsiteY21" fmla="*/ 8370 h 10000"/>
                <a:gd name="connsiteX22" fmla="*/ 315 w 10000"/>
                <a:gd name="connsiteY22" fmla="*/ 8456 h 10000"/>
                <a:gd name="connsiteX23" fmla="*/ 452 w 10000"/>
                <a:gd name="connsiteY23" fmla="*/ 8464 h 10000"/>
                <a:gd name="connsiteX24" fmla="*/ 585 w 10000"/>
                <a:gd name="connsiteY24" fmla="*/ 8792 h 10000"/>
                <a:gd name="connsiteX25" fmla="*/ 740 w 10000"/>
                <a:gd name="connsiteY25" fmla="*/ 8876 h 10000"/>
                <a:gd name="connsiteX26" fmla="*/ 806 w 10000"/>
                <a:gd name="connsiteY26" fmla="*/ 8965 h 10000"/>
                <a:gd name="connsiteX27" fmla="*/ 975 w 10000"/>
                <a:gd name="connsiteY27" fmla="*/ 9030 h 10000"/>
                <a:gd name="connsiteX28" fmla="*/ 1082 w 10000"/>
                <a:gd name="connsiteY28" fmla="*/ 9112 h 10000"/>
                <a:gd name="connsiteX29" fmla="*/ 1068 w 10000"/>
                <a:gd name="connsiteY29" fmla="*/ 9171 h 10000"/>
                <a:gd name="connsiteX30" fmla="*/ 962 w 10000"/>
                <a:gd name="connsiteY30" fmla="*/ 9193 h 10000"/>
                <a:gd name="connsiteX31" fmla="*/ 846 w 10000"/>
                <a:gd name="connsiteY31" fmla="*/ 9179 h 10000"/>
                <a:gd name="connsiteX32" fmla="*/ 810 w 10000"/>
                <a:gd name="connsiteY32" fmla="*/ 9204 h 10000"/>
                <a:gd name="connsiteX33" fmla="*/ 899 w 10000"/>
                <a:gd name="connsiteY33" fmla="*/ 9332 h 10000"/>
                <a:gd name="connsiteX34" fmla="*/ 775 w 10000"/>
                <a:gd name="connsiteY34" fmla="*/ 9322 h 10000"/>
                <a:gd name="connsiteX35" fmla="*/ 669 w 10000"/>
                <a:gd name="connsiteY35" fmla="*/ 9291 h 10000"/>
                <a:gd name="connsiteX36" fmla="*/ 651 w 10000"/>
                <a:gd name="connsiteY36" fmla="*/ 9338 h 10000"/>
                <a:gd name="connsiteX37" fmla="*/ 1001 w 10000"/>
                <a:gd name="connsiteY37" fmla="*/ 9776 h 10000"/>
                <a:gd name="connsiteX38" fmla="*/ 945 w 10000"/>
                <a:gd name="connsiteY38" fmla="*/ 9817 h 10000"/>
                <a:gd name="connsiteX39" fmla="*/ 905 w 10000"/>
                <a:gd name="connsiteY39" fmla="*/ 9902 h 10000"/>
                <a:gd name="connsiteX40" fmla="*/ 855 w 10000"/>
                <a:gd name="connsiteY40" fmla="*/ 9908 h 10000"/>
                <a:gd name="connsiteX41" fmla="*/ 824 w 10000"/>
                <a:gd name="connsiteY41" fmla="*/ 9945 h 10000"/>
                <a:gd name="connsiteX42" fmla="*/ 1036 w 10000"/>
                <a:gd name="connsiteY42" fmla="*/ 9949 h 10000"/>
                <a:gd name="connsiteX43" fmla="*/ 1223 w 10000"/>
                <a:gd name="connsiteY43" fmla="*/ 9986 h 10000"/>
                <a:gd name="connsiteX44" fmla="*/ 1533 w 10000"/>
                <a:gd name="connsiteY44" fmla="*/ 9947 h 10000"/>
                <a:gd name="connsiteX45" fmla="*/ 1811 w 10000"/>
                <a:gd name="connsiteY45" fmla="*/ 9953 h 10000"/>
                <a:gd name="connsiteX46" fmla="*/ 1977 w 10000"/>
                <a:gd name="connsiteY46" fmla="*/ 10000 h 10000"/>
                <a:gd name="connsiteX47" fmla="*/ 2066 w 10000"/>
                <a:gd name="connsiteY47" fmla="*/ 9969 h 10000"/>
                <a:gd name="connsiteX48" fmla="*/ 2153 w 10000"/>
                <a:gd name="connsiteY48" fmla="*/ 9868 h 10000"/>
                <a:gd name="connsiteX49" fmla="*/ 2131 w 10000"/>
                <a:gd name="connsiteY49" fmla="*/ 9703 h 10000"/>
                <a:gd name="connsiteX50" fmla="*/ 2344 w 10000"/>
                <a:gd name="connsiteY50" fmla="*/ 9517 h 10000"/>
                <a:gd name="connsiteX51" fmla="*/ 2499 w 10000"/>
                <a:gd name="connsiteY51" fmla="*/ 9546 h 10000"/>
                <a:gd name="connsiteX52" fmla="*/ 2588 w 10000"/>
                <a:gd name="connsiteY52" fmla="*/ 9472 h 10000"/>
                <a:gd name="connsiteX53" fmla="*/ 2760 w 10000"/>
                <a:gd name="connsiteY53" fmla="*/ 9430 h 10000"/>
                <a:gd name="connsiteX54" fmla="*/ 2995 w 10000"/>
                <a:gd name="connsiteY54" fmla="*/ 9440 h 10000"/>
                <a:gd name="connsiteX55" fmla="*/ 3137 w 10000"/>
                <a:gd name="connsiteY55" fmla="*/ 9470 h 10000"/>
                <a:gd name="connsiteX56" fmla="*/ 3324 w 10000"/>
                <a:gd name="connsiteY56" fmla="*/ 9456 h 10000"/>
                <a:gd name="connsiteX57" fmla="*/ 3514 w 10000"/>
                <a:gd name="connsiteY57" fmla="*/ 9489 h 10000"/>
                <a:gd name="connsiteX58" fmla="*/ 3704 w 10000"/>
                <a:gd name="connsiteY58" fmla="*/ 9493 h 10000"/>
                <a:gd name="connsiteX59" fmla="*/ 4129 w 10000"/>
                <a:gd name="connsiteY59" fmla="*/ 9061 h 10000"/>
                <a:gd name="connsiteX60" fmla="*/ 4236 w 10000"/>
                <a:gd name="connsiteY60" fmla="*/ 8711 h 10000"/>
                <a:gd name="connsiteX61" fmla="*/ 4409 w 10000"/>
                <a:gd name="connsiteY61" fmla="*/ 8554 h 10000"/>
                <a:gd name="connsiteX62" fmla="*/ 4409 w 10000"/>
                <a:gd name="connsiteY62" fmla="*/ 8472 h 10000"/>
                <a:gd name="connsiteX63" fmla="*/ 4347 w 10000"/>
                <a:gd name="connsiteY63" fmla="*/ 8425 h 10000"/>
                <a:gd name="connsiteX64" fmla="*/ 4449 w 10000"/>
                <a:gd name="connsiteY64" fmla="*/ 8352 h 10000"/>
                <a:gd name="connsiteX65" fmla="*/ 4430 w 10000"/>
                <a:gd name="connsiteY65" fmla="*/ 8289 h 10000"/>
                <a:gd name="connsiteX66" fmla="*/ 4360 w 10000"/>
                <a:gd name="connsiteY66" fmla="*/ 8236 h 10000"/>
                <a:gd name="connsiteX67" fmla="*/ 4347 w 10000"/>
                <a:gd name="connsiteY67" fmla="*/ 8199 h 10000"/>
                <a:gd name="connsiteX68" fmla="*/ 4364 w 10000"/>
                <a:gd name="connsiteY68" fmla="*/ 8169 h 10000"/>
                <a:gd name="connsiteX69" fmla="*/ 4458 w 10000"/>
                <a:gd name="connsiteY69" fmla="*/ 8193 h 10000"/>
                <a:gd name="connsiteX70" fmla="*/ 4533 w 10000"/>
                <a:gd name="connsiteY70" fmla="*/ 8191 h 10000"/>
                <a:gd name="connsiteX71" fmla="*/ 4492 w 10000"/>
                <a:gd name="connsiteY71" fmla="*/ 8140 h 10000"/>
                <a:gd name="connsiteX72" fmla="*/ 4505 w 10000"/>
                <a:gd name="connsiteY72" fmla="*/ 8112 h 10000"/>
                <a:gd name="connsiteX73" fmla="*/ 4559 w 10000"/>
                <a:gd name="connsiteY73" fmla="*/ 8069 h 10000"/>
                <a:gd name="connsiteX74" fmla="*/ 4550 w 10000"/>
                <a:gd name="connsiteY74" fmla="*/ 8034 h 10000"/>
                <a:gd name="connsiteX75" fmla="*/ 4600 w 10000"/>
                <a:gd name="connsiteY75" fmla="*/ 7916 h 10000"/>
                <a:gd name="connsiteX76" fmla="*/ 4587 w 10000"/>
                <a:gd name="connsiteY76" fmla="*/ 7881 h 10000"/>
                <a:gd name="connsiteX77" fmla="*/ 4329 w 10000"/>
                <a:gd name="connsiteY77" fmla="*/ 7792 h 10000"/>
                <a:gd name="connsiteX78" fmla="*/ 4364 w 10000"/>
                <a:gd name="connsiteY78" fmla="*/ 7788 h 10000"/>
                <a:gd name="connsiteX79" fmla="*/ 4501 w 10000"/>
                <a:gd name="connsiteY79" fmla="*/ 7812 h 10000"/>
                <a:gd name="connsiteX80" fmla="*/ 4648 w 10000"/>
                <a:gd name="connsiteY80" fmla="*/ 7804 h 10000"/>
                <a:gd name="connsiteX81" fmla="*/ 4692 w 10000"/>
                <a:gd name="connsiteY81" fmla="*/ 7771 h 10000"/>
                <a:gd name="connsiteX82" fmla="*/ 4550 w 10000"/>
                <a:gd name="connsiteY82" fmla="*/ 7710 h 10000"/>
                <a:gd name="connsiteX83" fmla="*/ 4125 w 10000"/>
                <a:gd name="connsiteY83" fmla="*/ 7670 h 10000"/>
                <a:gd name="connsiteX84" fmla="*/ 4155 w 10000"/>
                <a:gd name="connsiteY84" fmla="*/ 7651 h 10000"/>
                <a:gd name="connsiteX85" fmla="*/ 4501 w 10000"/>
                <a:gd name="connsiteY85" fmla="*/ 7639 h 10000"/>
                <a:gd name="connsiteX86" fmla="*/ 4692 w 10000"/>
                <a:gd name="connsiteY86" fmla="*/ 7676 h 10000"/>
                <a:gd name="connsiteX87" fmla="*/ 4803 w 10000"/>
                <a:gd name="connsiteY87" fmla="*/ 7651 h 10000"/>
                <a:gd name="connsiteX88" fmla="*/ 4843 w 10000"/>
                <a:gd name="connsiteY88" fmla="*/ 7588 h 10000"/>
                <a:gd name="connsiteX89" fmla="*/ 5042 w 10000"/>
                <a:gd name="connsiteY89" fmla="*/ 7588 h 10000"/>
                <a:gd name="connsiteX90" fmla="*/ 5313 w 10000"/>
                <a:gd name="connsiteY90" fmla="*/ 7462 h 10000"/>
                <a:gd name="connsiteX91" fmla="*/ 5322 w 10000"/>
                <a:gd name="connsiteY91" fmla="*/ 7378 h 10000"/>
                <a:gd name="connsiteX92" fmla="*/ 5436 w 10000"/>
                <a:gd name="connsiteY92" fmla="*/ 7397 h 10000"/>
                <a:gd name="connsiteX93" fmla="*/ 5432 w 10000"/>
                <a:gd name="connsiteY93" fmla="*/ 7482 h 10000"/>
                <a:gd name="connsiteX94" fmla="*/ 5614 w 10000"/>
                <a:gd name="connsiteY94" fmla="*/ 7476 h 10000"/>
                <a:gd name="connsiteX95" fmla="*/ 5733 w 10000"/>
                <a:gd name="connsiteY95" fmla="*/ 7388 h 10000"/>
                <a:gd name="connsiteX96" fmla="*/ 5956 w 10000"/>
                <a:gd name="connsiteY96" fmla="*/ 7309 h 10000"/>
                <a:gd name="connsiteX97" fmla="*/ 5919 w 10000"/>
                <a:gd name="connsiteY97" fmla="*/ 7219 h 10000"/>
                <a:gd name="connsiteX98" fmla="*/ 5986 w 10000"/>
                <a:gd name="connsiteY98" fmla="*/ 7254 h 10000"/>
                <a:gd name="connsiteX99" fmla="*/ 6088 w 10000"/>
                <a:gd name="connsiteY99" fmla="*/ 7254 h 10000"/>
                <a:gd name="connsiteX100" fmla="*/ 6088 w 10000"/>
                <a:gd name="connsiteY100" fmla="*/ 7213 h 10000"/>
                <a:gd name="connsiteX101" fmla="*/ 6181 w 10000"/>
                <a:gd name="connsiteY101" fmla="*/ 7181 h 10000"/>
                <a:gd name="connsiteX102" fmla="*/ 6168 w 10000"/>
                <a:gd name="connsiteY102" fmla="*/ 7148 h 10000"/>
                <a:gd name="connsiteX103" fmla="*/ 5371 w 10000"/>
                <a:gd name="connsiteY103" fmla="*/ 7215 h 10000"/>
                <a:gd name="connsiteX104" fmla="*/ 5184 w 10000"/>
                <a:gd name="connsiteY104" fmla="*/ 7195 h 10000"/>
                <a:gd name="connsiteX105" fmla="*/ 5109 w 10000"/>
                <a:gd name="connsiteY105" fmla="*/ 7219 h 10000"/>
                <a:gd name="connsiteX106" fmla="*/ 5083 w 10000"/>
                <a:gd name="connsiteY106" fmla="*/ 7173 h 10000"/>
                <a:gd name="connsiteX107" fmla="*/ 4994 w 10000"/>
                <a:gd name="connsiteY107" fmla="*/ 7132 h 10000"/>
                <a:gd name="connsiteX108" fmla="*/ 4639 w 10000"/>
                <a:gd name="connsiteY108" fmla="*/ 7052 h 10000"/>
                <a:gd name="connsiteX109" fmla="*/ 4430 w 10000"/>
                <a:gd name="connsiteY109" fmla="*/ 7065 h 10000"/>
                <a:gd name="connsiteX110" fmla="*/ 4347 w 10000"/>
                <a:gd name="connsiteY110" fmla="*/ 7042 h 10000"/>
                <a:gd name="connsiteX111" fmla="*/ 4435 w 10000"/>
                <a:gd name="connsiteY111" fmla="*/ 7022 h 10000"/>
                <a:gd name="connsiteX112" fmla="*/ 4501 w 10000"/>
                <a:gd name="connsiteY112" fmla="*/ 6979 h 10000"/>
                <a:gd name="connsiteX113" fmla="*/ 4600 w 10000"/>
                <a:gd name="connsiteY113" fmla="*/ 6993 h 10000"/>
                <a:gd name="connsiteX114" fmla="*/ 4719 w 10000"/>
                <a:gd name="connsiteY114" fmla="*/ 6981 h 10000"/>
                <a:gd name="connsiteX115" fmla="*/ 4896 w 10000"/>
                <a:gd name="connsiteY115" fmla="*/ 6995 h 10000"/>
                <a:gd name="connsiteX116" fmla="*/ 4917 w 10000"/>
                <a:gd name="connsiteY116" fmla="*/ 6989 h 10000"/>
                <a:gd name="connsiteX117" fmla="*/ 5056 w 10000"/>
                <a:gd name="connsiteY117" fmla="*/ 7056 h 10000"/>
                <a:gd name="connsiteX118" fmla="*/ 5158 w 10000"/>
                <a:gd name="connsiteY118" fmla="*/ 7032 h 10000"/>
                <a:gd name="connsiteX119" fmla="*/ 5166 w 10000"/>
                <a:gd name="connsiteY119" fmla="*/ 7010 h 10000"/>
                <a:gd name="connsiteX120" fmla="*/ 5259 w 10000"/>
                <a:gd name="connsiteY120" fmla="*/ 7048 h 10000"/>
                <a:gd name="connsiteX121" fmla="*/ 5384 w 10000"/>
                <a:gd name="connsiteY121" fmla="*/ 7069 h 10000"/>
                <a:gd name="connsiteX122" fmla="*/ 5432 w 10000"/>
                <a:gd name="connsiteY122" fmla="*/ 7030 h 10000"/>
                <a:gd name="connsiteX123" fmla="*/ 5472 w 10000"/>
                <a:gd name="connsiteY123" fmla="*/ 7052 h 10000"/>
                <a:gd name="connsiteX124" fmla="*/ 5529 w 10000"/>
                <a:gd name="connsiteY124" fmla="*/ 7126 h 10000"/>
                <a:gd name="connsiteX125" fmla="*/ 5649 w 10000"/>
                <a:gd name="connsiteY125" fmla="*/ 7144 h 10000"/>
                <a:gd name="connsiteX126" fmla="*/ 6137 w 10000"/>
                <a:gd name="connsiteY126" fmla="*/ 7034 h 10000"/>
                <a:gd name="connsiteX127" fmla="*/ 6376 w 10000"/>
                <a:gd name="connsiteY127" fmla="*/ 6879 h 10000"/>
                <a:gd name="connsiteX128" fmla="*/ 6433 w 10000"/>
                <a:gd name="connsiteY128" fmla="*/ 6765 h 10000"/>
                <a:gd name="connsiteX129" fmla="*/ 6346 w 10000"/>
                <a:gd name="connsiteY129" fmla="*/ 6663 h 10000"/>
                <a:gd name="connsiteX130" fmla="*/ 6163 w 10000"/>
                <a:gd name="connsiteY130" fmla="*/ 6602 h 10000"/>
                <a:gd name="connsiteX131" fmla="*/ 6034 w 10000"/>
                <a:gd name="connsiteY131" fmla="*/ 6502 h 10000"/>
                <a:gd name="connsiteX132" fmla="*/ 6155 w 10000"/>
                <a:gd name="connsiteY132" fmla="*/ 6498 h 10000"/>
                <a:gd name="connsiteX133" fmla="*/ 6146 w 10000"/>
                <a:gd name="connsiteY133" fmla="*/ 6474 h 10000"/>
                <a:gd name="connsiteX134" fmla="*/ 5832 w 10000"/>
                <a:gd name="connsiteY134" fmla="*/ 6403 h 10000"/>
                <a:gd name="connsiteX135" fmla="*/ 5819 w 10000"/>
                <a:gd name="connsiteY135" fmla="*/ 6339 h 10000"/>
                <a:gd name="connsiteX136" fmla="*/ 5760 w 10000"/>
                <a:gd name="connsiteY136" fmla="*/ 6272 h 10000"/>
                <a:gd name="connsiteX137" fmla="*/ 5511 w 10000"/>
                <a:gd name="connsiteY137" fmla="*/ 6284 h 10000"/>
                <a:gd name="connsiteX138" fmla="*/ 5423 w 10000"/>
                <a:gd name="connsiteY138" fmla="*/ 6213 h 10000"/>
                <a:gd name="connsiteX139" fmla="*/ 5371 w 10000"/>
                <a:gd name="connsiteY139" fmla="*/ 6209 h 10000"/>
                <a:gd name="connsiteX140" fmla="*/ 5371 w 10000"/>
                <a:gd name="connsiteY140" fmla="*/ 6238 h 10000"/>
                <a:gd name="connsiteX141" fmla="*/ 5259 w 10000"/>
                <a:gd name="connsiteY141" fmla="*/ 6358 h 10000"/>
                <a:gd name="connsiteX142" fmla="*/ 5139 w 10000"/>
                <a:gd name="connsiteY142" fmla="*/ 6429 h 10000"/>
                <a:gd name="connsiteX143" fmla="*/ 4762 w 10000"/>
                <a:gd name="connsiteY143" fmla="*/ 6551 h 10000"/>
                <a:gd name="connsiteX144" fmla="*/ 4630 w 10000"/>
                <a:gd name="connsiteY144" fmla="*/ 6547 h 10000"/>
                <a:gd name="connsiteX145" fmla="*/ 4449 w 10000"/>
                <a:gd name="connsiteY145" fmla="*/ 6565 h 10000"/>
                <a:gd name="connsiteX146" fmla="*/ 4347 w 10000"/>
                <a:gd name="connsiteY146" fmla="*/ 6547 h 10000"/>
                <a:gd name="connsiteX147" fmla="*/ 4479 w 10000"/>
                <a:gd name="connsiteY147" fmla="*/ 6513 h 10000"/>
                <a:gd name="connsiteX148" fmla="*/ 4652 w 10000"/>
                <a:gd name="connsiteY148" fmla="*/ 6498 h 10000"/>
                <a:gd name="connsiteX149" fmla="*/ 4795 w 10000"/>
                <a:gd name="connsiteY149" fmla="*/ 6441 h 10000"/>
                <a:gd name="connsiteX150" fmla="*/ 4935 w 10000"/>
                <a:gd name="connsiteY150" fmla="*/ 6415 h 10000"/>
                <a:gd name="connsiteX151" fmla="*/ 5198 w 10000"/>
                <a:gd name="connsiteY151" fmla="*/ 6317 h 10000"/>
                <a:gd name="connsiteX152" fmla="*/ 5246 w 10000"/>
                <a:gd name="connsiteY152" fmla="*/ 6252 h 10000"/>
                <a:gd name="connsiteX153" fmla="*/ 5250 w 10000"/>
                <a:gd name="connsiteY153" fmla="*/ 6168 h 10000"/>
                <a:gd name="connsiteX154" fmla="*/ 5131 w 10000"/>
                <a:gd name="connsiteY154" fmla="*/ 6154 h 10000"/>
                <a:gd name="connsiteX155" fmla="*/ 5184 w 10000"/>
                <a:gd name="connsiteY155" fmla="*/ 6103 h 10000"/>
                <a:gd name="connsiteX156" fmla="*/ 5202 w 10000"/>
                <a:gd name="connsiteY156" fmla="*/ 6038 h 10000"/>
                <a:gd name="connsiteX157" fmla="*/ 5152 w 10000"/>
                <a:gd name="connsiteY157" fmla="*/ 5977 h 10000"/>
                <a:gd name="connsiteX158" fmla="*/ 5122 w 10000"/>
                <a:gd name="connsiteY158" fmla="*/ 5533 h 10000"/>
                <a:gd name="connsiteX159" fmla="*/ 5194 w 10000"/>
                <a:gd name="connsiteY159" fmla="*/ 5437 h 10000"/>
                <a:gd name="connsiteX160" fmla="*/ 5175 w 10000"/>
                <a:gd name="connsiteY160" fmla="*/ 5398 h 10000"/>
                <a:gd name="connsiteX161" fmla="*/ 5384 w 10000"/>
                <a:gd name="connsiteY161" fmla="*/ 5455 h 10000"/>
                <a:gd name="connsiteX162" fmla="*/ 5397 w 10000"/>
                <a:gd name="connsiteY162" fmla="*/ 5402 h 10000"/>
                <a:gd name="connsiteX163" fmla="*/ 5353 w 10000"/>
                <a:gd name="connsiteY163" fmla="*/ 5264 h 10000"/>
                <a:gd name="connsiteX164" fmla="*/ 5502 w 10000"/>
                <a:gd name="connsiteY164" fmla="*/ 5019 h 10000"/>
                <a:gd name="connsiteX165" fmla="*/ 5410 w 10000"/>
                <a:gd name="connsiteY165" fmla="*/ 4960 h 10000"/>
                <a:gd name="connsiteX166" fmla="*/ 5375 w 10000"/>
                <a:gd name="connsiteY166" fmla="*/ 4905 h 10000"/>
                <a:gd name="connsiteX167" fmla="*/ 5388 w 10000"/>
                <a:gd name="connsiteY167" fmla="*/ 4816 h 10000"/>
                <a:gd name="connsiteX168" fmla="*/ 5606 w 10000"/>
                <a:gd name="connsiteY168" fmla="*/ 4875 h 10000"/>
                <a:gd name="connsiteX169" fmla="*/ 5614 w 10000"/>
                <a:gd name="connsiteY169" fmla="*/ 4858 h 10000"/>
                <a:gd name="connsiteX170" fmla="*/ 5675 w 10000"/>
                <a:gd name="connsiteY170" fmla="*/ 4842 h 10000"/>
                <a:gd name="connsiteX171" fmla="*/ 5760 w 10000"/>
                <a:gd name="connsiteY171" fmla="*/ 4785 h 10000"/>
                <a:gd name="connsiteX172" fmla="*/ 5773 w 10000"/>
                <a:gd name="connsiteY172" fmla="*/ 4769 h 10000"/>
                <a:gd name="connsiteX173" fmla="*/ 5756 w 10000"/>
                <a:gd name="connsiteY173" fmla="*/ 4748 h 10000"/>
                <a:gd name="connsiteX174" fmla="*/ 5799 w 10000"/>
                <a:gd name="connsiteY174" fmla="*/ 4647 h 10000"/>
                <a:gd name="connsiteX175" fmla="*/ 5747 w 10000"/>
                <a:gd name="connsiteY175" fmla="*/ 4581 h 10000"/>
                <a:gd name="connsiteX176" fmla="*/ 5756 w 10000"/>
                <a:gd name="connsiteY176" fmla="*/ 4528 h 10000"/>
                <a:gd name="connsiteX177" fmla="*/ 5786 w 10000"/>
                <a:gd name="connsiteY177" fmla="*/ 4590 h 10000"/>
                <a:gd name="connsiteX178" fmla="*/ 5906 w 10000"/>
                <a:gd name="connsiteY178" fmla="*/ 4636 h 10000"/>
                <a:gd name="connsiteX179" fmla="*/ 5956 w 10000"/>
                <a:gd name="connsiteY179" fmla="*/ 4630 h 10000"/>
                <a:gd name="connsiteX180" fmla="*/ 6034 w 10000"/>
                <a:gd name="connsiteY180" fmla="*/ 4569 h 10000"/>
                <a:gd name="connsiteX181" fmla="*/ 6119 w 10000"/>
                <a:gd name="connsiteY181" fmla="*/ 4594 h 10000"/>
                <a:gd name="connsiteX182" fmla="*/ 6142 w 10000"/>
                <a:gd name="connsiteY182" fmla="*/ 4545 h 10000"/>
                <a:gd name="connsiteX183" fmla="*/ 6199 w 10000"/>
                <a:gd name="connsiteY183" fmla="*/ 4512 h 10000"/>
                <a:gd name="connsiteX184" fmla="*/ 6043 w 10000"/>
                <a:gd name="connsiteY184" fmla="*/ 4477 h 10000"/>
                <a:gd name="connsiteX185" fmla="*/ 6155 w 10000"/>
                <a:gd name="connsiteY185" fmla="*/ 4484 h 10000"/>
                <a:gd name="connsiteX186" fmla="*/ 6269 w 10000"/>
                <a:gd name="connsiteY186" fmla="*/ 4447 h 10000"/>
                <a:gd name="connsiteX187" fmla="*/ 6265 w 10000"/>
                <a:gd name="connsiteY187" fmla="*/ 4422 h 10000"/>
                <a:gd name="connsiteX188" fmla="*/ 6372 w 10000"/>
                <a:gd name="connsiteY188" fmla="*/ 4398 h 10000"/>
                <a:gd name="connsiteX189" fmla="*/ 6381 w 10000"/>
                <a:gd name="connsiteY189" fmla="*/ 4337 h 10000"/>
                <a:gd name="connsiteX190" fmla="*/ 6465 w 10000"/>
                <a:gd name="connsiteY190" fmla="*/ 4325 h 10000"/>
                <a:gd name="connsiteX191" fmla="*/ 6473 w 10000"/>
                <a:gd name="connsiteY191" fmla="*/ 4253 h 10000"/>
                <a:gd name="connsiteX192" fmla="*/ 6561 w 10000"/>
                <a:gd name="connsiteY192" fmla="*/ 4245 h 10000"/>
                <a:gd name="connsiteX193" fmla="*/ 6699 w 10000"/>
                <a:gd name="connsiteY193" fmla="*/ 4260 h 10000"/>
                <a:gd name="connsiteX194" fmla="*/ 6849 w 10000"/>
                <a:gd name="connsiteY194" fmla="*/ 4202 h 10000"/>
                <a:gd name="connsiteX195" fmla="*/ 6903 w 10000"/>
                <a:gd name="connsiteY195" fmla="*/ 4137 h 10000"/>
                <a:gd name="connsiteX196" fmla="*/ 7089 w 10000"/>
                <a:gd name="connsiteY196" fmla="*/ 4070 h 10000"/>
                <a:gd name="connsiteX197" fmla="*/ 7182 w 10000"/>
                <a:gd name="connsiteY197" fmla="*/ 4111 h 10000"/>
                <a:gd name="connsiteX198" fmla="*/ 7324 w 10000"/>
                <a:gd name="connsiteY198" fmla="*/ 4066 h 10000"/>
                <a:gd name="connsiteX199" fmla="*/ 7359 w 10000"/>
                <a:gd name="connsiteY199" fmla="*/ 4009 h 10000"/>
                <a:gd name="connsiteX200" fmla="*/ 7466 w 10000"/>
                <a:gd name="connsiteY200" fmla="*/ 3970 h 10000"/>
                <a:gd name="connsiteX201" fmla="*/ 7558 w 10000"/>
                <a:gd name="connsiteY201" fmla="*/ 3987 h 10000"/>
                <a:gd name="connsiteX202" fmla="*/ 7616 w 10000"/>
                <a:gd name="connsiteY202" fmla="*/ 3958 h 10000"/>
                <a:gd name="connsiteX203" fmla="*/ 7776 w 10000"/>
                <a:gd name="connsiteY203" fmla="*/ 3917 h 10000"/>
                <a:gd name="connsiteX204" fmla="*/ 7842 w 10000"/>
                <a:gd name="connsiteY204" fmla="*/ 3864 h 10000"/>
                <a:gd name="connsiteX205" fmla="*/ 7931 w 10000"/>
                <a:gd name="connsiteY205" fmla="*/ 3842 h 10000"/>
                <a:gd name="connsiteX206" fmla="*/ 8423 w 10000"/>
                <a:gd name="connsiteY206" fmla="*/ 3522 h 10000"/>
                <a:gd name="connsiteX207" fmla="*/ 9911 w 10000"/>
                <a:gd name="connsiteY207" fmla="*/ 1897 h 10000"/>
                <a:gd name="connsiteX208" fmla="*/ 10000 w 10000"/>
                <a:gd name="connsiteY208" fmla="*/ 1819 h 10000"/>
                <a:gd name="connsiteX209" fmla="*/ 10000 w 10000"/>
                <a:gd name="connsiteY209" fmla="*/ 1699 h 10000"/>
                <a:gd name="connsiteX210" fmla="*/ 9722 w 10000"/>
                <a:gd name="connsiteY210" fmla="*/ 1465 h 10000"/>
                <a:gd name="connsiteX211" fmla="*/ 9676 w 10000"/>
                <a:gd name="connsiteY211" fmla="*/ 1379 h 10000"/>
                <a:gd name="connsiteX212" fmla="*/ 9739 w 10000"/>
                <a:gd name="connsiteY212" fmla="*/ 1271 h 10000"/>
                <a:gd name="connsiteX213" fmla="*/ 9709 w 10000"/>
                <a:gd name="connsiteY213" fmla="*/ 1194 h 10000"/>
                <a:gd name="connsiteX214" fmla="*/ 9650 w 10000"/>
                <a:gd name="connsiteY214" fmla="*/ 1159 h 10000"/>
                <a:gd name="connsiteX215" fmla="*/ 9601 w 10000"/>
                <a:gd name="connsiteY215" fmla="*/ 978 h 10000"/>
                <a:gd name="connsiteX216" fmla="*/ 9659 w 10000"/>
                <a:gd name="connsiteY216" fmla="*/ 831 h 10000"/>
                <a:gd name="connsiteX217" fmla="*/ 9234 w 10000"/>
                <a:gd name="connsiteY217" fmla="*/ 517 h 10000"/>
                <a:gd name="connsiteX218" fmla="*/ 9025 w 10000"/>
                <a:gd name="connsiteY218" fmla="*/ 440 h 10000"/>
                <a:gd name="connsiteX219" fmla="*/ 8639 w 10000"/>
                <a:gd name="connsiteY219" fmla="*/ 389 h 10000"/>
                <a:gd name="connsiteX220" fmla="*/ 7842 w 10000"/>
                <a:gd name="connsiteY220" fmla="*/ 26 h 10000"/>
                <a:gd name="connsiteX221" fmla="*/ 7816 w 10000"/>
                <a:gd name="connsiteY221" fmla="*/ 2 h 10000"/>
                <a:gd name="connsiteX222" fmla="*/ 7545 w 10000"/>
                <a:gd name="connsiteY222" fmla="*/ 0 h 10000"/>
                <a:gd name="connsiteX223" fmla="*/ 7483 w 10000"/>
                <a:gd name="connsiteY223" fmla="*/ 14 h 10000"/>
                <a:gd name="connsiteX224" fmla="*/ 7497 w 10000"/>
                <a:gd name="connsiteY224" fmla="*/ 61 h 10000"/>
                <a:gd name="connsiteX225" fmla="*/ 7550 w 10000"/>
                <a:gd name="connsiteY225" fmla="*/ 86 h 10000"/>
                <a:gd name="connsiteX226" fmla="*/ 7564 w 10000"/>
                <a:gd name="connsiteY226" fmla="*/ 139 h 10000"/>
                <a:gd name="connsiteX227" fmla="*/ 7545 w 10000"/>
                <a:gd name="connsiteY227" fmla="*/ 181 h 10000"/>
                <a:gd name="connsiteX228" fmla="*/ 7497 w 10000"/>
                <a:gd name="connsiteY228" fmla="*/ 208 h 10000"/>
                <a:gd name="connsiteX229" fmla="*/ 7461 w 10000"/>
                <a:gd name="connsiteY229" fmla="*/ 283 h 10000"/>
                <a:gd name="connsiteX230" fmla="*/ 7395 w 10000"/>
                <a:gd name="connsiteY230" fmla="*/ 336 h 10000"/>
                <a:gd name="connsiteX231" fmla="*/ 7408 w 10000"/>
                <a:gd name="connsiteY231" fmla="*/ 387 h 10000"/>
                <a:gd name="connsiteX232" fmla="*/ 7510 w 10000"/>
                <a:gd name="connsiteY232" fmla="*/ 434 h 10000"/>
                <a:gd name="connsiteX233" fmla="*/ 7444 w 10000"/>
                <a:gd name="connsiteY233" fmla="*/ 475 h 10000"/>
                <a:gd name="connsiteX234" fmla="*/ 7346 w 10000"/>
                <a:gd name="connsiteY234" fmla="*/ 485 h 10000"/>
                <a:gd name="connsiteX235" fmla="*/ 6531 w 10000"/>
                <a:gd name="connsiteY235" fmla="*/ 387 h 10000"/>
                <a:gd name="connsiteX236" fmla="*/ 6433 w 10000"/>
                <a:gd name="connsiteY236" fmla="*/ 395 h 10000"/>
                <a:gd name="connsiteX237" fmla="*/ 6376 w 10000"/>
                <a:gd name="connsiteY237" fmla="*/ 414 h 10000"/>
                <a:gd name="connsiteX238" fmla="*/ 6318 w 10000"/>
                <a:gd name="connsiteY238" fmla="*/ 462 h 10000"/>
                <a:gd name="connsiteX239" fmla="*/ 6328 w 10000"/>
                <a:gd name="connsiteY239" fmla="*/ 581 h 10000"/>
                <a:gd name="connsiteX240" fmla="*/ 6238 w 10000"/>
                <a:gd name="connsiteY240" fmla="*/ 735 h 10000"/>
                <a:gd name="connsiteX241" fmla="*/ 6128 w 10000"/>
                <a:gd name="connsiteY241" fmla="*/ 815 h 10000"/>
                <a:gd name="connsiteX242" fmla="*/ 6084 w 10000"/>
                <a:gd name="connsiteY242" fmla="*/ 805 h 10000"/>
                <a:gd name="connsiteX243" fmla="*/ 5982 w 10000"/>
                <a:gd name="connsiteY243" fmla="*/ 739 h 10000"/>
                <a:gd name="connsiteX244" fmla="*/ 5853 w 10000"/>
                <a:gd name="connsiteY244" fmla="*/ 705 h 10000"/>
                <a:gd name="connsiteX245" fmla="*/ 5715 w 10000"/>
                <a:gd name="connsiteY245" fmla="*/ 715 h 10000"/>
                <a:gd name="connsiteX246" fmla="*/ 5393 w 10000"/>
                <a:gd name="connsiteY246" fmla="*/ 866 h 10000"/>
                <a:gd name="connsiteX247" fmla="*/ 5308 w 10000"/>
                <a:gd name="connsiteY247" fmla="*/ 1017 h 10000"/>
                <a:gd name="connsiteX248" fmla="*/ 5065 w 10000"/>
                <a:gd name="connsiteY248" fmla="*/ 1153 h 10000"/>
                <a:gd name="connsiteX249" fmla="*/ 5020 w 10000"/>
                <a:gd name="connsiteY249" fmla="*/ 1222 h 10000"/>
                <a:gd name="connsiteX250" fmla="*/ 5148 w 10000"/>
                <a:gd name="connsiteY250" fmla="*/ 1344 h 10000"/>
                <a:gd name="connsiteX251" fmla="*/ 5162 w 10000"/>
                <a:gd name="connsiteY251" fmla="*/ 1412 h 10000"/>
                <a:gd name="connsiteX252" fmla="*/ 4497 w 10000"/>
                <a:gd name="connsiteY252" fmla="*/ 1813 h 10000"/>
                <a:gd name="connsiteX253" fmla="*/ 4293 w 10000"/>
                <a:gd name="connsiteY253" fmla="*/ 2070 h 10000"/>
                <a:gd name="connsiteX254" fmla="*/ 4073 w 10000"/>
                <a:gd name="connsiteY254" fmla="*/ 2135 h 10000"/>
                <a:gd name="connsiteX255" fmla="*/ 3934 w 10000"/>
                <a:gd name="connsiteY255" fmla="*/ 2131 h 10000"/>
                <a:gd name="connsiteX256" fmla="*/ 3851 w 10000"/>
                <a:gd name="connsiteY256" fmla="*/ 2153 h 10000"/>
                <a:gd name="connsiteX257" fmla="*/ 3620 w 10000"/>
                <a:gd name="connsiteY257" fmla="*/ 2793 h 10000"/>
                <a:gd name="connsiteX258" fmla="*/ 3089 w 10000"/>
                <a:gd name="connsiteY258" fmla="*/ 3166 h 10000"/>
                <a:gd name="connsiteX259" fmla="*/ 3093 w 10000"/>
                <a:gd name="connsiteY259" fmla="*/ 3225 h 10000"/>
                <a:gd name="connsiteX260" fmla="*/ 3328 w 10000"/>
                <a:gd name="connsiteY260" fmla="*/ 3392 h 10000"/>
                <a:gd name="connsiteX261" fmla="*/ 3253 w 10000"/>
                <a:gd name="connsiteY261" fmla="*/ 3573 h 10000"/>
                <a:gd name="connsiteX262" fmla="*/ 3115 w 10000"/>
                <a:gd name="connsiteY262" fmla="*/ 3640 h 10000"/>
                <a:gd name="connsiteX263" fmla="*/ 2703 w 10000"/>
                <a:gd name="connsiteY263" fmla="*/ 3595 h 10000"/>
                <a:gd name="connsiteX264" fmla="*/ 2418 w 10000"/>
                <a:gd name="connsiteY264" fmla="*/ 3620 h 10000"/>
                <a:gd name="connsiteX265" fmla="*/ 2189 w 10000"/>
                <a:gd name="connsiteY265" fmla="*/ 3673 h 10000"/>
                <a:gd name="connsiteX266" fmla="*/ 1821 w 10000"/>
                <a:gd name="connsiteY266" fmla="*/ 3840 h 10000"/>
                <a:gd name="connsiteX267" fmla="*/ 1625 w 10000"/>
                <a:gd name="connsiteY267" fmla="*/ 4042 h 10000"/>
                <a:gd name="connsiteX268" fmla="*/ 1643 w 10000"/>
                <a:gd name="connsiteY268" fmla="*/ 4154 h 10000"/>
                <a:gd name="connsiteX269" fmla="*/ 1711 w 10000"/>
                <a:gd name="connsiteY269" fmla="*/ 4241 h 10000"/>
                <a:gd name="connsiteX270" fmla="*/ 1763 w 10000"/>
                <a:gd name="connsiteY270" fmla="*/ 4276 h 10000"/>
                <a:gd name="connsiteX271" fmla="*/ 1666 w 10000"/>
                <a:gd name="connsiteY271" fmla="*/ 4331 h 10000"/>
                <a:gd name="connsiteX272" fmla="*/ 1458 w 10000"/>
                <a:gd name="connsiteY272" fmla="*/ 4710 h 10000"/>
                <a:gd name="connsiteX273" fmla="*/ 1498 w 10000"/>
                <a:gd name="connsiteY273" fmla="*/ 4732 h 10000"/>
                <a:gd name="connsiteX274" fmla="*/ 1529 w 10000"/>
                <a:gd name="connsiteY274" fmla="*/ 4828 h 10000"/>
                <a:gd name="connsiteX275" fmla="*/ 1431 w 10000"/>
                <a:gd name="connsiteY275" fmla="*/ 5227 h 10000"/>
                <a:gd name="connsiteX276" fmla="*/ 1529 w 10000"/>
                <a:gd name="connsiteY276" fmla="*/ 5329 h 10000"/>
                <a:gd name="connsiteX277" fmla="*/ 1794 w 10000"/>
                <a:gd name="connsiteY277" fmla="*/ 5441 h 10000"/>
                <a:gd name="connsiteX278" fmla="*/ 1807 w 10000"/>
                <a:gd name="connsiteY278" fmla="*/ 5578 h 10000"/>
                <a:gd name="connsiteX279" fmla="*/ 1694 w 10000"/>
                <a:gd name="connsiteY279" fmla="*/ 5690 h 10000"/>
                <a:gd name="connsiteX280" fmla="*/ 1529 w 10000"/>
                <a:gd name="connsiteY280" fmla="*/ 5759 h 10000"/>
                <a:gd name="connsiteX281" fmla="*/ 1311 w 10000"/>
                <a:gd name="connsiteY281" fmla="*/ 5787 h 10000"/>
                <a:gd name="connsiteX282" fmla="*/ 1254 w 10000"/>
                <a:gd name="connsiteY282" fmla="*/ 5826 h 10000"/>
                <a:gd name="connsiteX283" fmla="*/ 1382 w 10000"/>
                <a:gd name="connsiteY283" fmla="*/ 5920 h 10000"/>
                <a:gd name="connsiteX284" fmla="*/ 1454 w 10000"/>
                <a:gd name="connsiteY284" fmla="*/ 6142 h 10000"/>
                <a:gd name="connsiteX285" fmla="*/ 1289 w 10000"/>
                <a:gd name="connsiteY285" fmla="*/ 6333 h 10000"/>
                <a:gd name="connsiteX286" fmla="*/ 1347 w 10000"/>
                <a:gd name="connsiteY286" fmla="*/ 6392 h 10000"/>
                <a:gd name="connsiteX287" fmla="*/ 1294 w 10000"/>
                <a:gd name="connsiteY287" fmla="*/ 6492 h 10000"/>
                <a:gd name="connsiteX288" fmla="*/ 1188 w 10000"/>
                <a:gd name="connsiteY288" fmla="*/ 6561 h 10000"/>
                <a:gd name="connsiteX289" fmla="*/ 771 w 10000"/>
                <a:gd name="connsiteY289" fmla="*/ 6614 h 10000"/>
                <a:gd name="connsiteX290" fmla="*/ 745 w 10000"/>
                <a:gd name="connsiteY290" fmla="*/ 6706 h 10000"/>
                <a:gd name="connsiteX291" fmla="*/ 519 w 10000"/>
                <a:gd name="connsiteY291" fmla="*/ 6843 h 10000"/>
                <a:gd name="connsiteX292" fmla="*/ 549 w 10000"/>
                <a:gd name="connsiteY292" fmla="*/ 7040 h 10000"/>
                <a:gd name="connsiteX293" fmla="*/ 359 w 10000"/>
                <a:gd name="connsiteY293" fmla="*/ 7293 h 10000"/>
                <a:gd name="connsiteX294" fmla="*/ 230 w 10000"/>
                <a:gd name="connsiteY294" fmla="*/ 7323 h 10000"/>
                <a:gd name="connsiteX295" fmla="*/ 177 w 10000"/>
                <a:gd name="connsiteY295" fmla="*/ 7262 h 10000"/>
                <a:gd name="connsiteX296" fmla="*/ 111 w 10000"/>
                <a:gd name="connsiteY296" fmla="*/ 7354 h 10000"/>
                <a:gd name="connsiteX297" fmla="*/ 155 w 10000"/>
                <a:gd name="connsiteY297" fmla="*/ 7197 h 10000"/>
                <a:gd name="connsiteX298" fmla="*/ 128 w 10000"/>
                <a:gd name="connsiteY298" fmla="*/ 7166 h 10000"/>
                <a:gd name="connsiteX0" fmla="*/ 128 w 10000"/>
                <a:gd name="connsiteY0" fmla="*/ 7166 h 10000"/>
                <a:gd name="connsiteX1" fmla="*/ 0 w 10000"/>
                <a:gd name="connsiteY1" fmla="*/ 7248 h 10000"/>
                <a:gd name="connsiteX2" fmla="*/ 0 w 10000"/>
                <a:gd name="connsiteY2" fmla="*/ 7651 h 10000"/>
                <a:gd name="connsiteX3" fmla="*/ 71 w 10000"/>
                <a:gd name="connsiteY3" fmla="*/ 7663 h 10000"/>
                <a:gd name="connsiteX4" fmla="*/ 88 w 10000"/>
                <a:gd name="connsiteY4" fmla="*/ 7694 h 10000"/>
                <a:gd name="connsiteX5" fmla="*/ 84 w 10000"/>
                <a:gd name="connsiteY5" fmla="*/ 7749 h 10000"/>
                <a:gd name="connsiteX6" fmla="*/ 57 w 10000"/>
                <a:gd name="connsiteY6" fmla="*/ 7773 h 10000"/>
                <a:gd name="connsiteX7" fmla="*/ 164 w 10000"/>
                <a:gd name="connsiteY7" fmla="*/ 7727 h 10000"/>
                <a:gd name="connsiteX8" fmla="*/ 209 w 10000"/>
                <a:gd name="connsiteY8" fmla="*/ 7680 h 10000"/>
                <a:gd name="connsiteX9" fmla="*/ 265 w 10000"/>
                <a:gd name="connsiteY9" fmla="*/ 7712 h 10000"/>
                <a:gd name="connsiteX10" fmla="*/ 204 w 10000"/>
                <a:gd name="connsiteY10" fmla="*/ 7778 h 10000"/>
                <a:gd name="connsiteX11" fmla="*/ 270 w 10000"/>
                <a:gd name="connsiteY11" fmla="*/ 7780 h 10000"/>
                <a:gd name="connsiteX12" fmla="*/ 301 w 10000"/>
                <a:gd name="connsiteY12" fmla="*/ 7796 h 10000"/>
                <a:gd name="connsiteX13" fmla="*/ 217 w 10000"/>
                <a:gd name="connsiteY13" fmla="*/ 7818 h 10000"/>
                <a:gd name="connsiteX14" fmla="*/ 84 w 10000"/>
                <a:gd name="connsiteY14" fmla="*/ 7886 h 10000"/>
                <a:gd name="connsiteX15" fmla="*/ 320 w 10000"/>
                <a:gd name="connsiteY15" fmla="*/ 7938 h 10000"/>
                <a:gd name="connsiteX16" fmla="*/ 350 w 10000"/>
                <a:gd name="connsiteY16" fmla="*/ 8014 h 10000"/>
                <a:gd name="connsiteX17" fmla="*/ 270 w 10000"/>
                <a:gd name="connsiteY17" fmla="*/ 8126 h 10000"/>
                <a:gd name="connsiteX18" fmla="*/ 444 w 10000"/>
                <a:gd name="connsiteY18" fmla="*/ 8118 h 10000"/>
                <a:gd name="connsiteX19" fmla="*/ 457 w 10000"/>
                <a:gd name="connsiteY19" fmla="*/ 8203 h 10000"/>
                <a:gd name="connsiteX20" fmla="*/ 341 w 10000"/>
                <a:gd name="connsiteY20" fmla="*/ 8260 h 10000"/>
                <a:gd name="connsiteX21" fmla="*/ 359 w 10000"/>
                <a:gd name="connsiteY21" fmla="*/ 8370 h 10000"/>
                <a:gd name="connsiteX22" fmla="*/ 315 w 10000"/>
                <a:gd name="connsiteY22" fmla="*/ 8456 h 10000"/>
                <a:gd name="connsiteX23" fmla="*/ 452 w 10000"/>
                <a:gd name="connsiteY23" fmla="*/ 8464 h 10000"/>
                <a:gd name="connsiteX24" fmla="*/ 585 w 10000"/>
                <a:gd name="connsiteY24" fmla="*/ 8792 h 10000"/>
                <a:gd name="connsiteX25" fmla="*/ 740 w 10000"/>
                <a:gd name="connsiteY25" fmla="*/ 8876 h 10000"/>
                <a:gd name="connsiteX26" fmla="*/ 806 w 10000"/>
                <a:gd name="connsiteY26" fmla="*/ 8965 h 10000"/>
                <a:gd name="connsiteX27" fmla="*/ 975 w 10000"/>
                <a:gd name="connsiteY27" fmla="*/ 9030 h 10000"/>
                <a:gd name="connsiteX28" fmla="*/ 1082 w 10000"/>
                <a:gd name="connsiteY28" fmla="*/ 9112 h 10000"/>
                <a:gd name="connsiteX29" fmla="*/ 1068 w 10000"/>
                <a:gd name="connsiteY29" fmla="*/ 9171 h 10000"/>
                <a:gd name="connsiteX30" fmla="*/ 962 w 10000"/>
                <a:gd name="connsiteY30" fmla="*/ 9193 h 10000"/>
                <a:gd name="connsiteX31" fmla="*/ 846 w 10000"/>
                <a:gd name="connsiteY31" fmla="*/ 9179 h 10000"/>
                <a:gd name="connsiteX32" fmla="*/ 810 w 10000"/>
                <a:gd name="connsiteY32" fmla="*/ 9204 h 10000"/>
                <a:gd name="connsiteX33" fmla="*/ 899 w 10000"/>
                <a:gd name="connsiteY33" fmla="*/ 9332 h 10000"/>
                <a:gd name="connsiteX34" fmla="*/ 775 w 10000"/>
                <a:gd name="connsiteY34" fmla="*/ 9322 h 10000"/>
                <a:gd name="connsiteX35" fmla="*/ 669 w 10000"/>
                <a:gd name="connsiteY35" fmla="*/ 9291 h 10000"/>
                <a:gd name="connsiteX36" fmla="*/ 651 w 10000"/>
                <a:gd name="connsiteY36" fmla="*/ 9338 h 10000"/>
                <a:gd name="connsiteX37" fmla="*/ 1001 w 10000"/>
                <a:gd name="connsiteY37" fmla="*/ 9776 h 10000"/>
                <a:gd name="connsiteX38" fmla="*/ 945 w 10000"/>
                <a:gd name="connsiteY38" fmla="*/ 9817 h 10000"/>
                <a:gd name="connsiteX39" fmla="*/ 905 w 10000"/>
                <a:gd name="connsiteY39" fmla="*/ 9902 h 10000"/>
                <a:gd name="connsiteX40" fmla="*/ 855 w 10000"/>
                <a:gd name="connsiteY40" fmla="*/ 9908 h 10000"/>
                <a:gd name="connsiteX41" fmla="*/ 824 w 10000"/>
                <a:gd name="connsiteY41" fmla="*/ 9945 h 10000"/>
                <a:gd name="connsiteX42" fmla="*/ 1036 w 10000"/>
                <a:gd name="connsiteY42" fmla="*/ 9949 h 10000"/>
                <a:gd name="connsiteX43" fmla="*/ 1223 w 10000"/>
                <a:gd name="connsiteY43" fmla="*/ 9986 h 10000"/>
                <a:gd name="connsiteX44" fmla="*/ 1533 w 10000"/>
                <a:gd name="connsiteY44" fmla="*/ 9947 h 10000"/>
                <a:gd name="connsiteX45" fmla="*/ 1811 w 10000"/>
                <a:gd name="connsiteY45" fmla="*/ 9953 h 10000"/>
                <a:gd name="connsiteX46" fmla="*/ 1977 w 10000"/>
                <a:gd name="connsiteY46" fmla="*/ 10000 h 10000"/>
                <a:gd name="connsiteX47" fmla="*/ 2066 w 10000"/>
                <a:gd name="connsiteY47" fmla="*/ 9969 h 10000"/>
                <a:gd name="connsiteX48" fmla="*/ 2153 w 10000"/>
                <a:gd name="connsiteY48" fmla="*/ 9868 h 10000"/>
                <a:gd name="connsiteX49" fmla="*/ 2131 w 10000"/>
                <a:gd name="connsiteY49" fmla="*/ 9703 h 10000"/>
                <a:gd name="connsiteX50" fmla="*/ 2344 w 10000"/>
                <a:gd name="connsiteY50" fmla="*/ 9517 h 10000"/>
                <a:gd name="connsiteX51" fmla="*/ 2499 w 10000"/>
                <a:gd name="connsiteY51" fmla="*/ 9546 h 10000"/>
                <a:gd name="connsiteX52" fmla="*/ 2588 w 10000"/>
                <a:gd name="connsiteY52" fmla="*/ 9472 h 10000"/>
                <a:gd name="connsiteX53" fmla="*/ 2760 w 10000"/>
                <a:gd name="connsiteY53" fmla="*/ 9430 h 10000"/>
                <a:gd name="connsiteX54" fmla="*/ 2995 w 10000"/>
                <a:gd name="connsiteY54" fmla="*/ 9440 h 10000"/>
                <a:gd name="connsiteX55" fmla="*/ 3137 w 10000"/>
                <a:gd name="connsiteY55" fmla="*/ 9470 h 10000"/>
                <a:gd name="connsiteX56" fmla="*/ 3324 w 10000"/>
                <a:gd name="connsiteY56" fmla="*/ 9456 h 10000"/>
                <a:gd name="connsiteX57" fmla="*/ 3514 w 10000"/>
                <a:gd name="connsiteY57" fmla="*/ 9489 h 10000"/>
                <a:gd name="connsiteX58" fmla="*/ 3704 w 10000"/>
                <a:gd name="connsiteY58" fmla="*/ 9493 h 10000"/>
                <a:gd name="connsiteX59" fmla="*/ 4129 w 10000"/>
                <a:gd name="connsiteY59" fmla="*/ 9061 h 10000"/>
                <a:gd name="connsiteX60" fmla="*/ 4236 w 10000"/>
                <a:gd name="connsiteY60" fmla="*/ 8711 h 10000"/>
                <a:gd name="connsiteX61" fmla="*/ 4409 w 10000"/>
                <a:gd name="connsiteY61" fmla="*/ 8554 h 10000"/>
                <a:gd name="connsiteX62" fmla="*/ 4409 w 10000"/>
                <a:gd name="connsiteY62" fmla="*/ 8472 h 10000"/>
                <a:gd name="connsiteX63" fmla="*/ 4347 w 10000"/>
                <a:gd name="connsiteY63" fmla="*/ 8425 h 10000"/>
                <a:gd name="connsiteX64" fmla="*/ 4449 w 10000"/>
                <a:gd name="connsiteY64" fmla="*/ 8352 h 10000"/>
                <a:gd name="connsiteX65" fmla="*/ 4430 w 10000"/>
                <a:gd name="connsiteY65" fmla="*/ 8289 h 10000"/>
                <a:gd name="connsiteX66" fmla="*/ 4360 w 10000"/>
                <a:gd name="connsiteY66" fmla="*/ 8236 h 10000"/>
                <a:gd name="connsiteX67" fmla="*/ 4347 w 10000"/>
                <a:gd name="connsiteY67" fmla="*/ 8199 h 10000"/>
                <a:gd name="connsiteX68" fmla="*/ 4364 w 10000"/>
                <a:gd name="connsiteY68" fmla="*/ 8169 h 10000"/>
                <a:gd name="connsiteX69" fmla="*/ 4458 w 10000"/>
                <a:gd name="connsiteY69" fmla="*/ 8193 h 10000"/>
                <a:gd name="connsiteX70" fmla="*/ 4533 w 10000"/>
                <a:gd name="connsiteY70" fmla="*/ 8191 h 10000"/>
                <a:gd name="connsiteX71" fmla="*/ 4492 w 10000"/>
                <a:gd name="connsiteY71" fmla="*/ 8140 h 10000"/>
                <a:gd name="connsiteX72" fmla="*/ 4505 w 10000"/>
                <a:gd name="connsiteY72" fmla="*/ 8112 h 10000"/>
                <a:gd name="connsiteX73" fmla="*/ 4559 w 10000"/>
                <a:gd name="connsiteY73" fmla="*/ 8069 h 10000"/>
                <a:gd name="connsiteX74" fmla="*/ 4550 w 10000"/>
                <a:gd name="connsiteY74" fmla="*/ 8034 h 10000"/>
                <a:gd name="connsiteX75" fmla="*/ 4600 w 10000"/>
                <a:gd name="connsiteY75" fmla="*/ 7916 h 10000"/>
                <a:gd name="connsiteX76" fmla="*/ 4587 w 10000"/>
                <a:gd name="connsiteY76" fmla="*/ 7881 h 10000"/>
                <a:gd name="connsiteX77" fmla="*/ 4329 w 10000"/>
                <a:gd name="connsiteY77" fmla="*/ 7792 h 10000"/>
                <a:gd name="connsiteX78" fmla="*/ 4364 w 10000"/>
                <a:gd name="connsiteY78" fmla="*/ 7788 h 10000"/>
                <a:gd name="connsiteX79" fmla="*/ 4501 w 10000"/>
                <a:gd name="connsiteY79" fmla="*/ 7812 h 10000"/>
                <a:gd name="connsiteX80" fmla="*/ 4648 w 10000"/>
                <a:gd name="connsiteY80" fmla="*/ 7804 h 10000"/>
                <a:gd name="connsiteX81" fmla="*/ 4692 w 10000"/>
                <a:gd name="connsiteY81" fmla="*/ 7771 h 10000"/>
                <a:gd name="connsiteX82" fmla="*/ 4550 w 10000"/>
                <a:gd name="connsiteY82" fmla="*/ 7710 h 10000"/>
                <a:gd name="connsiteX83" fmla="*/ 4125 w 10000"/>
                <a:gd name="connsiteY83" fmla="*/ 7670 h 10000"/>
                <a:gd name="connsiteX84" fmla="*/ 4155 w 10000"/>
                <a:gd name="connsiteY84" fmla="*/ 7651 h 10000"/>
                <a:gd name="connsiteX85" fmla="*/ 4501 w 10000"/>
                <a:gd name="connsiteY85" fmla="*/ 7639 h 10000"/>
                <a:gd name="connsiteX86" fmla="*/ 4692 w 10000"/>
                <a:gd name="connsiteY86" fmla="*/ 7676 h 10000"/>
                <a:gd name="connsiteX87" fmla="*/ 4803 w 10000"/>
                <a:gd name="connsiteY87" fmla="*/ 7651 h 10000"/>
                <a:gd name="connsiteX88" fmla="*/ 4843 w 10000"/>
                <a:gd name="connsiteY88" fmla="*/ 7588 h 10000"/>
                <a:gd name="connsiteX89" fmla="*/ 5042 w 10000"/>
                <a:gd name="connsiteY89" fmla="*/ 7588 h 10000"/>
                <a:gd name="connsiteX90" fmla="*/ 5313 w 10000"/>
                <a:gd name="connsiteY90" fmla="*/ 7462 h 10000"/>
                <a:gd name="connsiteX91" fmla="*/ 5322 w 10000"/>
                <a:gd name="connsiteY91" fmla="*/ 7378 h 10000"/>
                <a:gd name="connsiteX92" fmla="*/ 5436 w 10000"/>
                <a:gd name="connsiteY92" fmla="*/ 7397 h 10000"/>
                <a:gd name="connsiteX93" fmla="*/ 5432 w 10000"/>
                <a:gd name="connsiteY93" fmla="*/ 7482 h 10000"/>
                <a:gd name="connsiteX94" fmla="*/ 5614 w 10000"/>
                <a:gd name="connsiteY94" fmla="*/ 7476 h 10000"/>
                <a:gd name="connsiteX95" fmla="*/ 5733 w 10000"/>
                <a:gd name="connsiteY95" fmla="*/ 7388 h 10000"/>
                <a:gd name="connsiteX96" fmla="*/ 5956 w 10000"/>
                <a:gd name="connsiteY96" fmla="*/ 7309 h 10000"/>
                <a:gd name="connsiteX97" fmla="*/ 5919 w 10000"/>
                <a:gd name="connsiteY97" fmla="*/ 7219 h 10000"/>
                <a:gd name="connsiteX98" fmla="*/ 5986 w 10000"/>
                <a:gd name="connsiteY98" fmla="*/ 7254 h 10000"/>
                <a:gd name="connsiteX99" fmla="*/ 6088 w 10000"/>
                <a:gd name="connsiteY99" fmla="*/ 7254 h 10000"/>
                <a:gd name="connsiteX100" fmla="*/ 6088 w 10000"/>
                <a:gd name="connsiteY100" fmla="*/ 7213 h 10000"/>
                <a:gd name="connsiteX101" fmla="*/ 6181 w 10000"/>
                <a:gd name="connsiteY101" fmla="*/ 7181 h 10000"/>
                <a:gd name="connsiteX102" fmla="*/ 6168 w 10000"/>
                <a:gd name="connsiteY102" fmla="*/ 7148 h 10000"/>
                <a:gd name="connsiteX103" fmla="*/ 5371 w 10000"/>
                <a:gd name="connsiteY103" fmla="*/ 7215 h 10000"/>
                <a:gd name="connsiteX104" fmla="*/ 5184 w 10000"/>
                <a:gd name="connsiteY104" fmla="*/ 7195 h 10000"/>
                <a:gd name="connsiteX105" fmla="*/ 5109 w 10000"/>
                <a:gd name="connsiteY105" fmla="*/ 7219 h 10000"/>
                <a:gd name="connsiteX106" fmla="*/ 5083 w 10000"/>
                <a:gd name="connsiteY106" fmla="*/ 7173 h 10000"/>
                <a:gd name="connsiteX107" fmla="*/ 4994 w 10000"/>
                <a:gd name="connsiteY107" fmla="*/ 7132 h 10000"/>
                <a:gd name="connsiteX108" fmla="*/ 4639 w 10000"/>
                <a:gd name="connsiteY108" fmla="*/ 7052 h 10000"/>
                <a:gd name="connsiteX109" fmla="*/ 4430 w 10000"/>
                <a:gd name="connsiteY109" fmla="*/ 7065 h 10000"/>
                <a:gd name="connsiteX110" fmla="*/ 4347 w 10000"/>
                <a:gd name="connsiteY110" fmla="*/ 7042 h 10000"/>
                <a:gd name="connsiteX111" fmla="*/ 4435 w 10000"/>
                <a:gd name="connsiteY111" fmla="*/ 7022 h 10000"/>
                <a:gd name="connsiteX112" fmla="*/ 4501 w 10000"/>
                <a:gd name="connsiteY112" fmla="*/ 6979 h 10000"/>
                <a:gd name="connsiteX113" fmla="*/ 4600 w 10000"/>
                <a:gd name="connsiteY113" fmla="*/ 6993 h 10000"/>
                <a:gd name="connsiteX114" fmla="*/ 4719 w 10000"/>
                <a:gd name="connsiteY114" fmla="*/ 6981 h 10000"/>
                <a:gd name="connsiteX115" fmla="*/ 4896 w 10000"/>
                <a:gd name="connsiteY115" fmla="*/ 6995 h 10000"/>
                <a:gd name="connsiteX116" fmla="*/ 4917 w 10000"/>
                <a:gd name="connsiteY116" fmla="*/ 6989 h 10000"/>
                <a:gd name="connsiteX117" fmla="*/ 5056 w 10000"/>
                <a:gd name="connsiteY117" fmla="*/ 7056 h 10000"/>
                <a:gd name="connsiteX118" fmla="*/ 5158 w 10000"/>
                <a:gd name="connsiteY118" fmla="*/ 7032 h 10000"/>
                <a:gd name="connsiteX119" fmla="*/ 5166 w 10000"/>
                <a:gd name="connsiteY119" fmla="*/ 7010 h 10000"/>
                <a:gd name="connsiteX120" fmla="*/ 5259 w 10000"/>
                <a:gd name="connsiteY120" fmla="*/ 7048 h 10000"/>
                <a:gd name="connsiteX121" fmla="*/ 5384 w 10000"/>
                <a:gd name="connsiteY121" fmla="*/ 7069 h 10000"/>
                <a:gd name="connsiteX122" fmla="*/ 5432 w 10000"/>
                <a:gd name="connsiteY122" fmla="*/ 7030 h 10000"/>
                <a:gd name="connsiteX123" fmla="*/ 5472 w 10000"/>
                <a:gd name="connsiteY123" fmla="*/ 7052 h 10000"/>
                <a:gd name="connsiteX124" fmla="*/ 5529 w 10000"/>
                <a:gd name="connsiteY124" fmla="*/ 7126 h 10000"/>
                <a:gd name="connsiteX125" fmla="*/ 5649 w 10000"/>
                <a:gd name="connsiteY125" fmla="*/ 7144 h 10000"/>
                <a:gd name="connsiteX126" fmla="*/ 6137 w 10000"/>
                <a:gd name="connsiteY126" fmla="*/ 7034 h 10000"/>
                <a:gd name="connsiteX127" fmla="*/ 6376 w 10000"/>
                <a:gd name="connsiteY127" fmla="*/ 6879 h 10000"/>
                <a:gd name="connsiteX128" fmla="*/ 6433 w 10000"/>
                <a:gd name="connsiteY128" fmla="*/ 6765 h 10000"/>
                <a:gd name="connsiteX129" fmla="*/ 6346 w 10000"/>
                <a:gd name="connsiteY129" fmla="*/ 6663 h 10000"/>
                <a:gd name="connsiteX130" fmla="*/ 6163 w 10000"/>
                <a:gd name="connsiteY130" fmla="*/ 6602 h 10000"/>
                <a:gd name="connsiteX131" fmla="*/ 6034 w 10000"/>
                <a:gd name="connsiteY131" fmla="*/ 6502 h 10000"/>
                <a:gd name="connsiteX132" fmla="*/ 6155 w 10000"/>
                <a:gd name="connsiteY132" fmla="*/ 6498 h 10000"/>
                <a:gd name="connsiteX133" fmla="*/ 6146 w 10000"/>
                <a:gd name="connsiteY133" fmla="*/ 6474 h 10000"/>
                <a:gd name="connsiteX134" fmla="*/ 5832 w 10000"/>
                <a:gd name="connsiteY134" fmla="*/ 6403 h 10000"/>
                <a:gd name="connsiteX135" fmla="*/ 5819 w 10000"/>
                <a:gd name="connsiteY135" fmla="*/ 6339 h 10000"/>
                <a:gd name="connsiteX136" fmla="*/ 5760 w 10000"/>
                <a:gd name="connsiteY136" fmla="*/ 6272 h 10000"/>
                <a:gd name="connsiteX137" fmla="*/ 5511 w 10000"/>
                <a:gd name="connsiteY137" fmla="*/ 6284 h 10000"/>
                <a:gd name="connsiteX138" fmla="*/ 5423 w 10000"/>
                <a:gd name="connsiteY138" fmla="*/ 6213 h 10000"/>
                <a:gd name="connsiteX139" fmla="*/ 5371 w 10000"/>
                <a:gd name="connsiteY139" fmla="*/ 6209 h 10000"/>
                <a:gd name="connsiteX140" fmla="*/ 5371 w 10000"/>
                <a:gd name="connsiteY140" fmla="*/ 6238 h 10000"/>
                <a:gd name="connsiteX141" fmla="*/ 5259 w 10000"/>
                <a:gd name="connsiteY141" fmla="*/ 6358 h 10000"/>
                <a:gd name="connsiteX142" fmla="*/ 5139 w 10000"/>
                <a:gd name="connsiteY142" fmla="*/ 6429 h 10000"/>
                <a:gd name="connsiteX143" fmla="*/ 4762 w 10000"/>
                <a:gd name="connsiteY143" fmla="*/ 6551 h 10000"/>
                <a:gd name="connsiteX144" fmla="*/ 4630 w 10000"/>
                <a:gd name="connsiteY144" fmla="*/ 6547 h 10000"/>
                <a:gd name="connsiteX145" fmla="*/ 4449 w 10000"/>
                <a:gd name="connsiteY145" fmla="*/ 6565 h 10000"/>
                <a:gd name="connsiteX146" fmla="*/ 4347 w 10000"/>
                <a:gd name="connsiteY146" fmla="*/ 6547 h 10000"/>
                <a:gd name="connsiteX147" fmla="*/ 4479 w 10000"/>
                <a:gd name="connsiteY147" fmla="*/ 6513 h 10000"/>
                <a:gd name="connsiteX148" fmla="*/ 4652 w 10000"/>
                <a:gd name="connsiteY148" fmla="*/ 6498 h 10000"/>
                <a:gd name="connsiteX149" fmla="*/ 4795 w 10000"/>
                <a:gd name="connsiteY149" fmla="*/ 6441 h 10000"/>
                <a:gd name="connsiteX150" fmla="*/ 4935 w 10000"/>
                <a:gd name="connsiteY150" fmla="*/ 6415 h 10000"/>
                <a:gd name="connsiteX151" fmla="*/ 5198 w 10000"/>
                <a:gd name="connsiteY151" fmla="*/ 6317 h 10000"/>
                <a:gd name="connsiteX152" fmla="*/ 5246 w 10000"/>
                <a:gd name="connsiteY152" fmla="*/ 6252 h 10000"/>
                <a:gd name="connsiteX153" fmla="*/ 5250 w 10000"/>
                <a:gd name="connsiteY153" fmla="*/ 6168 h 10000"/>
                <a:gd name="connsiteX154" fmla="*/ 5131 w 10000"/>
                <a:gd name="connsiteY154" fmla="*/ 6154 h 10000"/>
                <a:gd name="connsiteX155" fmla="*/ 5184 w 10000"/>
                <a:gd name="connsiteY155" fmla="*/ 6103 h 10000"/>
                <a:gd name="connsiteX156" fmla="*/ 5202 w 10000"/>
                <a:gd name="connsiteY156" fmla="*/ 6038 h 10000"/>
                <a:gd name="connsiteX157" fmla="*/ 5152 w 10000"/>
                <a:gd name="connsiteY157" fmla="*/ 5977 h 10000"/>
                <a:gd name="connsiteX158" fmla="*/ 5122 w 10000"/>
                <a:gd name="connsiteY158" fmla="*/ 5533 h 10000"/>
                <a:gd name="connsiteX159" fmla="*/ 5194 w 10000"/>
                <a:gd name="connsiteY159" fmla="*/ 5437 h 10000"/>
                <a:gd name="connsiteX160" fmla="*/ 5175 w 10000"/>
                <a:gd name="connsiteY160" fmla="*/ 5398 h 10000"/>
                <a:gd name="connsiteX161" fmla="*/ 5384 w 10000"/>
                <a:gd name="connsiteY161" fmla="*/ 5455 h 10000"/>
                <a:gd name="connsiteX162" fmla="*/ 5397 w 10000"/>
                <a:gd name="connsiteY162" fmla="*/ 5402 h 10000"/>
                <a:gd name="connsiteX163" fmla="*/ 5353 w 10000"/>
                <a:gd name="connsiteY163" fmla="*/ 5264 h 10000"/>
                <a:gd name="connsiteX164" fmla="*/ 5502 w 10000"/>
                <a:gd name="connsiteY164" fmla="*/ 5019 h 10000"/>
                <a:gd name="connsiteX165" fmla="*/ 5410 w 10000"/>
                <a:gd name="connsiteY165" fmla="*/ 4960 h 10000"/>
                <a:gd name="connsiteX166" fmla="*/ 5375 w 10000"/>
                <a:gd name="connsiteY166" fmla="*/ 4905 h 10000"/>
                <a:gd name="connsiteX167" fmla="*/ 5388 w 10000"/>
                <a:gd name="connsiteY167" fmla="*/ 4816 h 10000"/>
                <a:gd name="connsiteX168" fmla="*/ 5606 w 10000"/>
                <a:gd name="connsiteY168" fmla="*/ 4875 h 10000"/>
                <a:gd name="connsiteX169" fmla="*/ 5614 w 10000"/>
                <a:gd name="connsiteY169" fmla="*/ 4858 h 10000"/>
                <a:gd name="connsiteX170" fmla="*/ 5675 w 10000"/>
                <a:gd name="connsiteY170" fmla="*/ 4842 h 10000"/>
                <a:gd name="connsiteX171" fmla="*/ 5760 w 10000"/>
                <a:gd name="connsiteY171" fmla="*/ 4785 h 10000"/>
                <a:gd name="connsiteX172" fmla="*/ 5773 w 10000"/>
                <a:gd name="connsiteY172" fmla="*/ 4769 h 10000"/>
                <a:gd name="connsiteX173" fmla="*/ 5756 w 10000"/>
                <a:gd name="connsiteY173" fmla="*/ 4748 h 10000"/>
                <a:gd name="connsiteX174" fmla="*/ 5799 w 10000"/>
                <a:gd name="connsiteY174" fmla="*/ 4647 h 10000"/>
                <a:gd name="connsiteX175" fmla="*/ 5747 w 10000"/>
                <a:gd name="connsiteY175" fmla="*/ 4581 h 10000"/>
                <a:gd name="connsiteX176" fmla="*/ 5756 w 10000"/>
                <a:gd name="connsiteY176" fmla="*/ 4528 h 10000"/>
                <a:gd name="connsiteX177" fmla="*/ 5786 w 10000"/>
                <a:gd name="connsiteY177" fmla="*/ 4590 h 10000"/>
                <a:gd name="connsiteX178" fmla="*/ 5906 w 10000"/>
                <a:gd name="connsiteY178" fmla="*/ 4636 h 10000"/>
                <a:gd name="connsiteX179" fmla="*/ 5956 w 10000"/>
                <a:gd name="connsiteY179" fmla="*/ 4630 h 10000"/>
                <a:gd name="connsiteX180" fmla="*/ 6034 w 10000"/>
                <a:gd name="connsiteY180" fmla="*/ 4569 h 10000"/>
                <a:gd name="connsiteX181" fmla="*/ 6119 w 10000"/>
                <a:gd name="connsiteY181" fmla="*/ 4594 h 10000"/>
                <a:gd name="connsiteX182" fmla="*/ 6142 w 10000"/>
                <a:gd name="connsiteY182" fmla="*/ 4545 h 10000"/>
                <a:gd name="connsiteX183" fmla="*/ 6199 w 10000"/>
                <a:gd name="connsiteY183" fmla="*/ 4512 h 10000"/>
                <a:gd name="connsiteX184" fmla="*/ 6043 w 10000"/>
                <a:gd name="connsiteY184" fmla="*/ 4477 h 10000"/>
                <a:gd name="connsiteX185" fmla="*/ 6155 w 10000"/>
                <a:gd name="connsiteY185" fmla="*/ 4484 h 10000"/>
                <a:gd name="connsiteX186" fmla="*/ 6269 w 10000"/>
                <a:gd name="connsiteY186" fmla="*/ 4447 h 10000"/>
                <a:gd name="connsiteX187" fmla="*/ 6265 w 10000"/>
                <a:gd name="connsiteY187" fmla="*/ 4422 h 10000"/>
                <a:gd name="connsiteX188" fmla="*/ 6372 w 10000"/>
                <a:gd name="connsiteY188" fmla="*/ 4398 h 10000"/>
                <a:gd name="connsiteX189" fmla="*/ 6381 w 10000"/>
                <a:gd name="connsiteY189" fmla="*/ 4337 h 10000"/>
                <a:gd name="connsiteX190" fmla="*/ 6465 w 10000"/>
                <a:gd name="connsiteY190" fmla="*/ 4325 h 10000"/>
                <a:gd name="connsiteX191" fmla="*/ 6473 w 10000"/>
                <a:gd name="connsiteY191" fmla="*/ 4253 h 10000"/>
                <a:gd name="connsiteX192" fmla="*/ 6561 w 10000"/>
                <a:gd name="connsiteY192" fmla="*/ 4245 h 10000"/>
                <a:gd name="connsiteX193" fmla="*/ 6699 w 10000"/>
                <a:gd name="connsiteY193" fmla="*/ 4260 h 10000"/>
                <a:gd name="connsiteX194" fmla="*/ 6849 w 10000"/>
                <a:gd name="connsiteY194" fmla="*/ 4202 h 10000"/>
                <a:gd name="connsiteX195" fmla="*/ 6903 w 10000"/>
                <a:gd name="connsiteY195" fmla="*/ 4137 h 10000"/>
                <a:gd name="connsiteX196" fmla="*/ 7089 w 10000"/>
                <a:gd name="connsiteY196" fmla="*/ 4070 h 10000"/>
                <a:gd name="connsiteX197" fmla="*/ 7182 w 10000"/>
                <a:gd name="connsiteY197" fmla="*/ 4111 h 10000"/>
                <a:gd name="connsiteX198" fmla="*/ 7324 w 10000"/>
                <a:gd name="connsiteY198" fmla="*/ 4066 h 10000"/>
                <a:gd name="connsiteX199" fmla="*/ 7359 w 10000"/>
                <a:gd name="connsiteY199" fmla="*/ 4009 h 10000"/>
                <a:gd name="connsiteX200" fmla="*/ 7466 w 10000"/>
                <a:gd name="connsiteY200" fmla="*/ 3970 h 10000"/>
                <a:gd name="connsiteX201" fmla="*/ 7558 w 10000"/>
                <a:gd name="connsiteY201" fmla="*/ 3987 h 10000"/>
                <a:gd name="connsiteX202" fmla="*/ 7616 w 10000"/>
                <a:gd name="connsiteY202" fmla="*/ 3958 h 10000"/>
                <a:gd name="connsiteX203" fmla="*/ 7776 w 10000"/>
                <a:gd name="connsiteY203" fmla="*/ 3917 h 10000"/>
                <a:gd name="connsiteX204" fmla="*/ 7842 w 10000"/>
                <a:gd name="connsiteY204" fmla="*/ 3864 h 10000"/>
                <a:gd name="connsiteX205" fmla="*/ 7931 w 10000"/>
                <a:gd name="connsiteY205" fmla="*/ 3842 h 10000"/>
                <a:gd name="connsiteX206" fmla="*/ 8423 w 10000"/>
                <a:gd name="connsiteY206" fmla="*/ 3522 h 10000"/>
                <a:gd name="connsiteX207" fmla="*/ 9911 w 10000"/>
                <a:gd name="connsiteY207" fmla="*/ 1897 h 10000"/>
                <a:gd name="connsiteX208" fmla="*/ 10000 w 10000"/>
                <a:gd name="connsiteY208" fmla="*/ 1699 h 10000"/>
                <a:gd name="connsiteX209" fmla="*/ 9722 w 10000"/>
                <a:gd name="connsiteY209" fmla="*/ 1465 h 10000"/>
                <a:gd name="connsiteX210" fmla="*/ 9676 w 10000"/>
                <a:gd name="connsiteY210" fmla="*/ 1379 h 10000"/>
                <a:gd name="connsiteX211" fmla="*/ 9739 w 10000"/>
                <a:gd name="connsiteY211" fmla="*/ 1271 h 10000"/>
                <a:gd name="connsiteX212" fmla="*/ 9709 w 10000"/>
                <a:gd name="connsiteY212" fmla="*/ 1194 h 10000"/>
                <a:gd name="connsiteX213" fmla="*/ 9650 w 10000"/>
                <a:gd name="connsiteY213" fmla="*/ 1159 h 10000"/>
                <a:gd name="connsiteX214" fmla="*/ 9601 w 10000"/>
                <a:gd name="connsiteY214" fmla="*/ 978 h 10000"/>
                <a:gd name="connsiteX215" fmla="*/ 9659 w 10000"/>
                <a:gd name="connsiteY215" fmla="*/ 831 h 10000"/>
                <a:gd name="connsiteX216" fmla="*/ 9234 w 10000"/>
                <a:gd name="connsiteY216" fmla="*/ 517 h 10000"/>
                <a:gd name="connsiteX217" fmla="*/ 9025 w 10000"/>
                <a:gd name="connsiteY217" fmla="*/ 440 h 10000"/>
                <a:gd name="connsiteX218" fmla="*/ 8639 w 10000"/>
                <a:gd name="connsiteY218" fmla="*/ 389 h 10000"/>
                <a:gd name="connsiteX219" fmla="*/ 7842 w 10000"/>
                <a:gd name="connsiteY219" fmla="*/ 26 h 10000"/>
                <a:gd name="connsiteX220" fmla="*/ 7816 w 10000"/>
                <a:gd name="connsiteY220" fmla="*/ 2 h 10000"/>
                <a:gd name="connsiteX221" fmla="*/ 7545 w 10000"/>
                <a:gd name="connsiteY221" fmla="*/ 0 h 10000"/>
                <a:gd name="connsiteX222" fmla="*/ 7483 w 10000"/>
                <a:gd name="connsiteY222" fmla="*/ 14 h 10000"/>
                <a:gd name="connsiteX223" fmla="*/ 7497 w 10000"/>
                <a:gd name="connsiteY223" fmla="*/ 61 h 10000"/>
                <a:gd name="connsiteX224" fmla="*/ 7550 w 10000"/>
                <a:gd name="connsiteY224" fmla="*/ 86 h 10000"/>
                <a:gd name="connsiteX225" fmla="*/ 7564 w 10000"/>
                <a:gd name="connsiteY225" fmla="*/ 139 h 10000"/>
                <a:gd name="connsiteX226" fmla="*/ 7545 w 10000"/>
                <a:gd name="connsiteY226" fmla="*/ 181 h 10000"/>
                <a:gd name="connsiteX227" fmla="*/ 7497 w 10000"/>
                <a:gd name="connsiteY227" fmla="*/ 208 h 10000"/>
                <a:gd name="connsiteX228" fmla="*/ 7461 w 10000"/>
                <a:gd name="connsiteY228" fmla="*/ 283 h 10000"/>
                <a:gd name="connsiteX229" fmla="*/ 7395 w 10000"/>
                <a:gd name="connsiteY229" fmla="*/ 336 h 10000"/>
                <a:gd name="connsiteX230" fmla="*/ 7408 w 10000"/>
                <a:gd name="connsiteY230" fmla="*/ 387 h 10000"/>
                <a:gd name="connsiteX231" fmla="*/ 7510 w 10000"/>
                <a:gd name="connsiteY231" fmla="*/ 434 h 10000"/>
                <a:gd name="connsiteX232" fmla="*/ 7444 w 10000"/>
                <a:gd name="connsiteY232" fmla="*/ 475 h 10000"/>
                <a:gd name="connsiteX233" fmla="*/ 7346 w 10000"/>
                <a:gd name="connsiteY233" fmla="*/ 485 h 10000"/>
                <a:gd name="connsiteX234" fmla="*/ 6531 w 10000"/>
                <a:gd name="connsiteY234" fmla="*/ 387 h 10000"/>
                <a:gd name="connsiteX235" fmla="*/ 6433 w 10000"/>
                <a:gd name="connsiteY235" fmla="*/ 395 h 10000"/>
                <a:gd name="connsiteX236" fmla="*/ 6376 w 10000"/>
                <a:gd name="connsiteY236" fmla="*/ 414 h 10000"/>
                <a:gd name="connsiteX237" fmla="*/ 6318 w 10000"/>
                <a:gd name="connsiteY237" fmla="*/ 462 h 10000"/>
                <a:gd name="connsiteX238" fmla="*/ 6328 w 10000"/>
                <a:gd name="connsiteY238" fmla="*/ 581 h 10000"/>
                <a:gd name="connsiteX239" fmla="*/ 6238 w 10000"/>
                <a:gd name="connsiteY239" fmla="*/ 735 h 10000"/>
                <a:gd name="connsiteX240" fmla="*/ 6128 w 10000"/>
                <a:gd name="connsiteY240" fmla="*/ 815 h 10000"/>
                <a:gd name="connsiteX241" fmla="*/ 6084 w 10000"/>
                <a:gd name="connsiteY241" fmla="*/ 805 h 10000"/>
                <a:gd name="connsiteX242" fmla="*/ 5982 w 10000"/>
                <a:gd name="connsiteY242" fmla="*/ 739 h 10000"/>
                <a:gd name="connsiteX243" fmla="*/ 5853 w 10000"/>
                <a:gd name="connsiteY243" fmla="*/ 705 h 10000"/>
                <a:gd name="connsiteX244" fmla="*/ 5715 w 10000"/>
                <a:gd name="connsiteY244" fmla="*/ 715 h 10000"/>
                <a:gd name="connsiteX245" fmla="*/ 5393 w 10000"/>
                <a:gd name="connsiteY245" fmla="*/ 866 h 10000"/>
                <a:gd name="connsiteX246" fmla="*/ 5308 w 10000"/>
                <a:gd name="connsiteY246" fmla="*/ 1017 h 10000"/>
                <a:gd name="connsiteX247" fmla="*/ 5065 w 10000"/>
                <a:gd name="connsiteY247" fmla="*/ 1153 h 10000"/>
                <a:gd name="connsiteX248" fmla="*/ 5020 w 10000"/>
                <a:gd name="connsiteY248" fmla="*/ 1222 h 10000"/>
                <a:gd name="connsiteX249" fmla="*/ 5148 w 10000"/>
                <a:gd name="connsiteY249" fmla="*/ 1344 h 10000"/>
                <a:gd name="connsiteX250" fmla="*/ 5162 w 10000"/>
                <a:gd name="connsiteY250" fmla="*/ 1412 h 10000"/>
                <a:gd name="connsiteX251" fmla="*/ 4497 w 10000"/>
                <a:gd name="connsiteY251" fmla="*/ 1813 h 10000"/>
                <a:gd name="connsiteX252" fmla="*/ 4293 w 10000"/>
                <a:gd name="connsiteY252" fmla="*/ 2070 h 10000"/>
                <a:gd name="connsiteX253" fmla="*/ 4073 w 10000"/>
                <a:gd name="connsiteY253" fmla="*/ 2135 h 10000"/>
                <a:gd name="connsiteX254" fmla="*/ 3934 w 10000"/>
                <a:gd name="connsiteY254" fmla="*/ 2131 h 10000"/>
                <a:gd name="connsiteX255" fmla="*/ 3851 w 10000"/>
                <a:gd name="connsiteY255" fmla="*/ 2153 h 10000"/>
                <a:gd name="connsiteX256" fmla="*/ 3620 w 10000"/>
                <a:gd name="connsiteY256" fmla="*/ 2793 h 10000"/>
                <a:gd name="connsiteX257" fmla="*/ 3089 w 10000"/>
                <a:gd name="connsiteY257" fmla="*/ 3166 h 10000"/>
                <a:gd name="connsiteX258" fmla="*/ 3093 w 10000"/>
                <a:gd name="connsiteY258" fmla="*/ 3225 h 10000"/>
                <a:gd name="connsiteX259" fmla="*/ 3328 w 10000"/>
                <a:gd name="connsiteY259" fmla="*/ 3392 h 10000"/>
                <a:gd name="connsiteX260" fmla="*/ 3253 w 10000"/>
                <a:gd name="connsiteY260" fmla="*/ 3573 h 10000"/>
                <a:gd name="connsiteX261" fmla="*/ 3115 w 10000"/>
                <a:gd name="connsiteY261" fmla="*/ 3640 h 10000"/>
                <a:gd name="connsiteX262" fmla="*/ 2703 w 10000"/>
                <a:gd name="connsiteY262" fmla="*/ 3595 h 10000"/>
                <a:gd name="connsiteX263" fmla="*/ 2418 w 10000"/>
                <a:gd name="connsiteY263" fmla="*/ 3620 h 10000"/>
                <a:gd name="connsiteX264" fmla="*/ 2189 w 10000"/>
                <a:gd name="connsiteY264" fmla="*/ 3673 h 10000"/>
                <a:gd name="connsiteX265" fmla="*/ 1821 w 10000"/>
                <a:gd name="connsiteY265" fmla="*/ 3840 h 10000"/>
                <a:gd name="connsiteX266" fmla="*/ 1625 w 10000"/>
                <a:gd name="connsiteY266" fmla="*/ 4042 h 10000"/>
                <a:gd name="connsiteX267" fmla="*/ 1643 w 10000"/>
                <a:gd name="connsiteY267" fmla="*/ 4154 h 10000"/>
                <a:gd name="connsiteX268" fmla="*/ 1711 w 10000"/>
                <a:gd name="connsiteY268" fmla="*/ 4241 h 10000"/>
                <a:gd name="connsiteX269" fmla="*/ 1763 w 10000"/>
                <a:gd name="connsiteY269" fmla="*/ 4276 h 10000"/>
                <a:gd name="connsiteX270" fmla="*/ 1666 w 10000"/>
                <a:gd name="connsiteY270" fmla="*/ 4331 h 10000"/>
                <a:gd name="connsiteX271" fmla="*/ 1458 w 10000"/>
                <a:gd name="connsiteY271" fmla="*/ 4710 h 10000"/>
                <a:gd name="connsiteX272" fmla="*/ 1498 w 10000"/>
                <a:gd name="connsiteY272" fmla="*/ 4732 h 10000"/>
                <a:gd name="connsiteX273" fmla="*/ 1529 w 10000"/>
                <a:gd name="connsiteY273" fmla="*/ 4828 h 10000"/>
                <a:gd name="connsiteX274" fmla="*/ 1431 w 10000"/>
                <a:gd name="connsiteY274" fmla="*/ 5227 h 10000"/>
                <a:gd name="connsiteX275" fmla="*/ 1529 w 10000"/>
                <a:gd name="connsiteY275" fmla="*/ 5329 h 10000"/>
                <a:gd name="connsiteX276" fmla="*/ 1794 w 10000"/>
                <a:gd name="connsiteY276" fmla="*/ 5441 h 10000"/>
                <a:gd name="connsiteX277" fmla="*/ 1807 w 10000"/>
                <a:gd name="connsiteY277" fmla="*/ 5578 h 10000"/>
                <a:gd name="connsiteX278" fmla="*/ 1694 w 10000"/>
                <a:gd name="connsiteY278" fmla="*/ 5690 h 10000"/>
                <a:gd name="connsiteX279" fmla="*/ 1529 w 10000"/>
                <a:gd name="connsiteY279" fmla="*/ 5759 h 10000"/>
                <a:gd name="connsiteX280" fmla="*/ 1311 w 10000"/>
                <a:gd name="connsiteY280" fmla="*/ 5787 h 10000"/>
                <a:gd name="connsiteX281" fmla="*/ 1254 w 10000"/>
                <a:gd name="connsiteY281" fmla="*/ 5826 h 10000"/>
                <a:gd name="connsiteX282" fmla="*/ 1382 w 10000"/>
                <a:gd name="connsiteY282" fmla="*/ 5920 h 10000"/>
                <a:gd name="connsiteX283" fmla="*/ 1454 w 10000"/>
                <a:gd name="connsiteY283" fmla="*/ 6142 h 10000"/>
                <a:gd name="connsiteX284" fmla="*/ 1289 w 10000"/>
                <a:gd name="connsiteY284" fmla="*/ 6333 h 10000"/>
                <a:gd name="connsiteX285" fmla="*/ 1347 w 10000"/>
                <a:gd name="connsiteY285" fmla="*/ 6392 h 10000"/>
                <a:gd name="connsiteX286" fmla="*/ 1294 w 10000"/>
                <a:gd name="connsiteY286" fmla="*/ 6492 h 10000"/>
                <a:gd name="connsiteX287" fmla="*/ 1188 w 10000"/>
                <a:gd name="connsiteY287" fmla="*/ 6561 h 10000"/>
                <a:gd name="connsiteX288" fmla="*/ 771 w 10000"/>
                <a:gd name="connsiteY288" fmla="*/ 6614 h 10000"/>
                <a:gd name="connsiteX289" fmla="*/ 745 w 10000"/>
                <a:gd name="connsiteY289" fmla="*/ 6706 h 10000"/>
                <a:gd name="connsiteX290" fmla="*/ 519 w 10000"/>
                <a:gd name="connsiteY290" fmla="*/ 6843 h 10000"/>
                <a:gd name="connsiteX291" fmla="*/ 549 w 10000"/>
                <a:gd name="connsiteY291" fmla="*/ 7040 h 10000"/>
                <a:gd name="connsiteX292" fmla="*/ 359 w 10000"/>
                <a:gd name="connsiteY292" fmla="*/ 7293 h 10000"/>
                <a:gd name="connsiteX293" fmla="*/ 230 w 10000"/>
                <a:gd name="connsiteY293" fmla="*/ 7323 h 10000"/>
                <a:gd name="connsiteX294" fmla="*/ 177 w 10000"/>
                <a:gd name="connsiteY294" fmla="*/ 7262 h 10000"/>
                <a:gd name="connsiteX295" fmla="*/ 111 w 10000"/>
                <a:gd name="connsiteY295" fmla="*/ 7354 h 10000"/>
                <a:gd name="connsiteX296" fmla="*/ 155 w 10000"/>
                <a:gd name="connsiteY296" fmla="*/ 7197 h 10000"/>
                <a:gd name="connsiteX297" fmla="*/ 128 w 10000"/>
                <a:gd name="connsiteY297" fmla="*/ 7166 h 10000"/>
                <a:gd name="connsiteX0" fmla="*/ 128 w 10000"/>
                <a:gd name="connsiteY0" fmla="*/ 7166 h 10000"/>
                <a:gd name="connsiteX1" fmla="*/ 0 w 10000"/>
                <a:gd name="connsiteY1" fmla="*/ 7248 h 10000"/>
                <a:gd name="connsiteX2" fmla="*/ 0 w 10000"/>
                <a:gd name="connsiteY2" fmla="*/ 7651 h 10000"/>
                <a:gd name="connsiteX3" fmla="*/ 71 w 10000"/>
                <a:gd name="connsiteY3" fmla="*/ 7663 h 10000"/>
                <a:gd name="connsiteX4" fmla="*/ 88 w 10000"/>
                <a:gd name="connsiteY4" fmla="*/ 7694 h 10000"/>
                <a:gd name="connsiteX5" fmla="*/ 84 w 10000"/>
                <a:gd name="connsiteY5" fmla="*/ 7749 h 10000"/>
                <a:gd name="connsiteX6" fmla="*/ 57 w 10000"/>
                <a:gd name="connsiteY6" fmla="*/ 7773 h 10000"/>
                <a:gd name="connsiteX7" fmla="*/ 164 w 10000"/>
                <a:gd name="connsiteY7" fmla="*/ 7727 h 10000"/>
                <a:gd name="connsiteX8" fmla="*/ 209 w 10000"/>
                <a:gd name="connsiteY8" fmla="*/ 7680 h 10000"/>
                <a:gd name="connsiteX9" fmla="*/ 265 w 10000"/>
                <a:gd name="connsiteY9" fmla="*/ 7712 h 10000"/>
                <a:gd name="connsiteX10" fmla="*/ 204 w 10000"/>
                <a:gd name="connsiteY10" fmla="*/ 7778 h 10000"/>
                <a:gd name="connsiteX11" fmla="*/ 270 w 10000"/>
                <a:gd name="connsiteY11" fmla="*/ 7780 h 10000"/>
                <a:gd name="connsiteX12" fmla="*/ 301 w 10000"/>
                <a:gd name="connsiteY12" fmla="*/ 7796 h 10000"/>
                <a:gd name="connsiteX13" fmla="*/ 217 w 10000"/>
                <a:gd name="connsiteY13" fmla="*/ 7818 h 10000"/>
                <a:gd name="connsiteX14" fmla="*/ 84 w 10000"/>
                <a:gd name="connsiteY14" fmla="*/ 7886 h 10000"/>
                <a:gd name="connsiteX15" fmla="*/ 320 w 10000"/>
                <a:gd name="connsiteY15" fmla="*/ 7938 h 10000"/>
                <a:gd name="connsiteX16" fmla="*/ 350 w 10000"/>
                <a:gd name="connsiteY16" fmla="*/ 8014 h 10000"/>
                <a:gd name="connsiteX17" fmla="*/ 270 w 10000"/>
                <a:gd name="connsiteY17" fmla="*/ 8126 h 10000"/>
                <a:gd name="connsiteX18" fmla="*/ 444 w 10000"/>
                <a:gd name="connsiteY18" fmla="*/ 8118 h 10000"/>
                <a:gd name="connsiteX19" fmla="*/ 457 w 10000"/>
                <a:gd name="connsiteY19" fmla="*/ 8203 h 10000"/>
                <a:gd name="connsiteX20" fmla="*/ 341 w 10000"/>
                <a:gd name="connsiteY20" fmla="*/ 8260 h 10000"/>
                <a:gd name="connsiteX21" fmla="*/ 359 w 10000"/>
                <a:gd name="connsiteY21" fmla="*/ 8370 h 10000"/>
                <a:gd name="connsiteX22" fmla="*/ 315 w 10000"/>
                <a:gd name="connsiteY22" fmla="*/ 8456 h 10000"/>
                <a:gd name="connsiteX23" fmla="*/ 452 w 10000"/>
                <a:gd name="connsiteY23" fmla="*/ 8464 h 10000"/>
                <a:gd name="connsiteX24" fmla="*/ 585 w 10000"/>
                <a:gd name="connsiteY24" fmla="*/ 8792 h 10000"/>
                <a:gd name="connsiteX25" fmla="*/ 740 w 10000"/>
                <a:gd name="connsiteY25" fmla="*/ 8876 h 10000"/>
                <a:gd name="connsiteX26" fmla="*/ 806 w 10000"/>
                <a:gd name="connsiteY26" fmla="*/ 8965 h 10000"/>
                <a:gd name="connsiteX27" fmla="*/ 975 w 10000"/>
                <a:gd name="connsiteY27" fmla="*/ 9030 h 10000"/>
                <a:gd name="connsiteX28" fmla="*/ 1082 w 10000"/>
                <a:gd name="connsiteY28" fmla="*/ 9112 h 10000"/>
                <a:gd name="connsiteX29" fmla="*/ 1068 w 10000"/>
                <a:gd name="connsiteY29" fmla="*/ 9171 h 10000"/>
                <a:gd name="connsiteX30" fmla="*/ 962 w 10000"/>
                <a:gd name="connsiteY30" fmla="*/ 9193 h 10000"/>
                <a:gd name="connsiteX31" fmla="*/ 846 w 10000"/>
                <a:gd name="connsiteY31" fmla="*/ 9179 h 10000"/>
                <a:gd name="connsiteX32" fmla="*/ 810 w 10000"/>
                <a:gd name="connsiteY32" fmla="*/ 9204 h 10000"/>
                <a:gd name="connsiteX33" fmla="*/ 899 w 10000"/>
                <a:gd name="connsiteY33" fmla="*/ 9332 h 10000"/>
                <a:gd name="connsiteX34" fmla="*/ 775 w 10000"/>
                <a:gd name="connsiteY34" fmla="*/ 9322 h 10000"/>
                <a:gd name="connsiteX35" fmla="*/ 669 w 10000"/>
                <a:gd name="connsiteY35" fmla="*/ 9291 h 10000"/>
                <a:gd name="connsiteX36" fmla="*/ 651 w 10000"/>
                <a:gd name="connsiteY36" fmla="*/ 9338 h 10000"/>
                <a:gd name="connsiteX37" fmla="*/ 1001 w 10000"/>
                <a:gd name="connsiteY37" fmla="*/ 9776 h 10000"/>
                <a:gd name="connsiteX38" fmla="*/ 945 w 10000"/>
                <a:gd name="connsiteY38" fmla="*/ 9817 h 10000"/>
                <a:gd name="connsiteX39" fmla="*/ 905 w 10000"/>
                <a:gd name="connsiteY39" fmla="*/ 9902 h 10000"/>
                <a:gd name="connsiteX40" fmla="*/ 855 w 10000"/>
                <a:gd name="connsiteY40" fmla="*/ 9908 h 10000"/>
                <a:gd name="connsiteX41" fmla="*/ 824 w 10000"/>
                <a:gd name="connsiteY41" fmla="*/ 9945 h 10000"/>
                <a:gd name="connsiteX42" fmla="*/ 1036 w 10000"/>
                <a:gd name="connsiteY42" fmla="*/ 9949 h 10000"/>
                <a:gd name="connsiteX43" fmla="*/ 1223 w 10000"/>
                <a:gd name="connsiteY43" fmla="*/ 9986 h 10000"/>
                <a:gd name="connsiteX44" fmla="*/ 1533 w 10000"/>
                <a:gd name="connsiteY44" fmla="*/ 9947 h 10000"/>
                <a:gd name="connsiteX45" fmla="*/ 1811 w 10000"/>
                <a:gd name="connsiteY45" fmla="*/ 9953 h 10000"/>
                <a:gd name="connsiteX46" fmla="*/ 1977 w 10000"/>
                <a:gd name="connsiteY46" fmla="*/ 10000 h 10000"/>
                <a:gd name="connsiteX47" fmla="*/ 2066 w 10000"/>
                <a:gd name="connsiteY47" fmla="*/ 9969 h 10000"/>
                <a:gd name="connsiteX48" fmla="*/ 2153 w 10000"/>
                <a:gd name="connsiteY48" fmla="*/ 9868 h 10000"/>
                <a:gd name="connsiteX49" fmla="*/ 2131 w 10000"/>
                <a:gd name="connsiteY49" fmla="*/ 9703 h 10000"/>
                <a:gd name="connsiteX50" fmla="*/ 2344 w 10000"/>
                <a:gd name="connsiteY50" fmla="*/ 9517 h 10000"/>
                <a:gd name="connsiteX51" fmla="*/ 2499 w 10000"/>
                <a:gd name="connsiteY51" fmla="*/ 9546 h 10000"/>
                <a:gd name="connsiteX52" fmla="*/ 2588 w 10000"/>
                <a:gd name="connsiteY52" fmla="*/ 9472 h 10000"/>
                <a:gd name="connsiteX53" fmla="*/ 2760 w 10000"/>
                <a:gd name="connsiteY53" fmla="*/ 9430 h 10000"/>
                <a:gd name="connsiteX54" fmla="*/ 2995 w 10000"/>
                <a:gd name="connsiteY54" fmla="*/ 9440 h 10000"/>
                <a:gd name="connsiteX55" fmla="*/ 3137 w 10000"/>
                <a:gd name="connsiteY55" fmla="*/ 9470 h 10000"/>
                <a:gd name="connsiteX56" fmla="*/ 3324 w 10000"/>
                <a:gd name="connsiteY56" fmla="*/ 9456 h 10000"/>
                <a:gd name="connsiteX57" fmla="*/ 3514 w 10000"/>
                <a:gd name="connsiteY57" fmla="*/ 9489 h 10000"/>
                <a:gd name="connsiteX58" fmla="*/ 3704 w 10000"/>
                <a:gd name="connsiteY58" fmla="*/ 9493 h 10000"/>
                <a:gd name="connsiteX59" fmla="*/ 4129 w 10000"/>
                <a:gd name="connsiteY59" fmla="*/ 9061 h 10000"/>
                <a:gd name="connsiteX60" fmla="*/ 4236 w 10000"/>
                <a:gd name="connsiteY60" fmla="*/ 8711 h 10000"/>
                <a:gd name="connsiteX61" fmla="*/ 4409 w 10000"/>
                <a:gd name="connsiteY61" fmla="*/ 8554 h 10000"/>
                <a:gd name="connsiteX62" fmla="*/ 4409 w 10000"/>
                <a:gd name="connsiteY62" fmla="*/ 8472 h 10000"/>
                <a:gd name="connsiteX63" fmla="*/ 4347 w 10000"/>
                <a:gd name="connsiteY63" fmla="*/ 8425 h 10000"/>
                <a:gd name="connsiteX64" fmla="*/ 4449 w 10000"/>
                <a:gd name="connsiteY64" fmla="*/ 8352 h 10000"/>
                <a:gd name="connsiteX65" fmla="*/ 4430 w 10000"/>
                <a:gd name="connsiteY65" fmla="*/ 8289 h 10000"/>
                <a:gd name="connsiteX66" fmla="*/ 4360 w 10000"/>
                <a:gd name="connsiteY66" fmla="*/ 8236 h 10000"/>
                <a:gd name="connsiteX67" fmla="*/ 4347 w 10000"/>
                <a:gd name="connsiteY67" fmla="*/ 8199 h 10000"/>
                <a:gd name="connsiteX68" fmla="*/ 4364 w 10000"/>
                <a:gd name="connsiteY68" fmla="*/ 8169 h 10000"/>
                <a:gd name="connsiteX69" fmla="*/ 4458 w 10000"/>
                <a:gd name="connsiteY69" fmla="*/ 8193 h 10000"/>
                <a:gd name="connsiteX70" fmla="*/ 4533 w 10000"/>
                <a:gd name="connsiteY70" fmla="*/ 8191 h 10000"/>
                <a:gd name="connsiteX71" fmla="*/ 4492 w 10000"/>
                <a:gd name="connsiteY71" fmla="*/ 8140 h 10000"/>
                <a:gd name="connsiteX72" fmla="*/ 4505 w 10000"/>
                <a:gd name="connsiteY72" fmla="*/ 8112 h 10000"/>
                <a:gd name="connsiteX73" fmla="*/ 4559 w 10000"/>
                <a:gd name="connsiteY73" fmla="*/ 8069 h 10000"/>
                <a:gd name="connsiteX74" fmla="*/ 4550 w 10000"/>
                <a:gd name="connsiteY74" fmla="*/ 8034 h 10000"/>
                <a:gd name="connsiteX75" fmla="*/ 4600 w 10000"/>
                <a:gd name="connsiteY75" fmla="*/ 7916 h 10000"/>
                <a:gd name="connsiteX76" fmla="*/ 4587 w 10000"/>
                <a:gd name="connsiteY76" fmla="*/ 7881 h 10000"/>
                <a:gd name="connsiteX77" fmla="*/ 4329 w 10000"/>
                <a:gd name="connsiteY77" fmla="*/ 7792 h 10000"/>
                <a:gd name="connsiteX78" fmla="*/ 4364 w 10000"/>
                <a:gd name="connsiteY78" fmla="*/ 7788 h 10000"/>
                <a:gd name="connsiteX79" fmla="*/ 4501 w 10000"/>
                <a:gd name="connsiteY79" fmla="*/ 7812 h 10000"/>
                <a:gd name="connsiteX80" fmla="*/ 4648 w 10000"/>
                <a:gd name="connsiteY80" fmla="*/ 7804 h 10000"/>
                <a:gd name="connsiteX81" fmla="*/ 4692 w 10000"/>
                <a:gd name="connsiteY81" fmla="*/ 7771 h 10000"/>
                <a:gd name="connsiteX82" fmla="*/ 4550 w 10000"/>
                <a:gd name="connsiteY82" fmla="*/ 7710 h 10000"/>
                <a:gd name="connsiteX83" fmla="*/ 4125 w 10000"/>
                <a:gd name="connsiteY83" fmla="*/ 7670 h 10000"/>
                <a:gd name="connsiteX84" fmla="*/ 4155 w 10000"/>
                <a:gd name="connsiteY84" fmla="*/ 7651 h 10000"/>
                <a:gd name="connsiteX85" fmla="*/ 4501 w 10000"/>
                <a:gd name="connsiteY85" fmla="*/ 7639 h 10000"/>
                <a:gd name="connsiteX86" fmla="*/ 4692 w 10000"/>
                <a:gd name="connsiteY86" fmla="*/ 7676 h 10000"/>
                <a:gd name="connsiteX87" fmla="*/ 4803 w 10000"/>
                <a:gd name="connsiteY87" fmla="*/ 7651 h 10000"/>
                <a:gd name="connsiteX88" fmla="*/ 4843 w 10000"/>
                <a:gd name="connsiteY88" fmla="*/ 7588 h 10000"/>
                <a:gd name="connsiteX89" fmla="*/ 5042 w 10000"/>
                <a:gd name="connsiteY89" fmla="*/ 7588 h 10000"/>
                <a:gd name="connsiteX90" fmla="*/ 5313 w 10000"/>
                <a:gd name="connsiteY90" fmla="*/ 7462 h 10000"/>
                <a:gd name="connsiteX91" fmla="*/ 5322 w 10000"/>
                <a:gd name="connsiteY91" fmla="*/ 7378 h 10000"/>
                <a:gd name="connsiteX92" fmla="*/ 5436 w 10000"/>
                <a:gd name="connsiteY92" fmla="*/ 7397 h 10000"/>
                <a:gd name="connsiteX93" fmla="*/ 5432 w 10000"/>
                <a:gd name="connsiteY93" fmla="*/ 7482 h 10000"/>
                <a:gd name="connsiteX94" fmla="*/ 5614 w 10000"/>
                <a:gd name="connsiteY94" fmla="*/ 7476 h 10000"/>
                <a:gd name="connsiteX95" fmla="*/ 5733 w 10000"/>
                <a:gd name="connsiteY95" fmla="*/ 7388 h 10000"/>
                <a:gd name="connsiteX96" fmla="*/ 5956 w 10000"/>
                <a:gd name="connsiteY96" fmla="*/ 7309 h 10000"/>
                <a:gd name="connsiteX97" fmla="*/ 5919 w 10000"/>
                <a:gd name="connsiteY97" fmla="*/ 7219 h 10000"/>
                <a:gd name="connsiteX98" fmla="*/ 5986 w 10000"/>
                <a:gd name="connsiteY98" fmla="*/ 7254 h 10000"/>
                <a:gd name="connsiteX99" fmla="*/ 6088 w 10000"/>
                <a:gd name="connsiteY99" fmla="*/ 7254 h 10000"/>
                <a:gd name="connsiteX100" fmla="*/ 6088 w 10000"/>
                <a:gd name="connsiteY100" fmla="*/ 7213 h 10000"/>
                <a:gd name="connsiteX101" fmla="*/ 6181 w 10000"/>
                <a:gd name="connsiteY101" fmla="*/ 7181 h 10000"/>
                <a:gd name="connsiteX102" fmla="*/ 6168 w 10000"/>
                <a:gd name="connsiteY102" fmla="*/ 7148 h 10000"/>
                <a:gd name="connsiteX103" fmla="*/ 5371 w 10000"/>
                <a:gd name="connsiteY103" fmla="*/ 7215 h 10000"/>
                <a:gd name="connsiteX104" fmla="*/ 5184 w 10000"/>
                <a:gd name="connsiteY104" fmla="*/ 7195 h 10000"/>
                <a:gd name="connsiteX105" fmla="*/ 5109 w 10000"/>
                <a:gd name="connsiteY105" fmla="*/ 7219 h 10000"/>
                <a:gd name="connsiteX106" fmla="*/ 5083 w 10000"/>
                <a:gd name="connsiteY106" fmla="*/ 7173 h 10000"/>
                <a:gd name="connsiteX107" fmla="*/ 4994 w 10000"/>
                <a:gd name="connsiteY107" fmla="*/ 7132 h 10000"/>
                <a:gd name="connsiteX108" fmla="*/ 4639 w 10000"/>
                <a:gd name="connsiteY108" fmla="*/ 7052 h 10000"/>
                <a:gd name="connsiteX109" fmla="*/ 4430 w 10000"/>
                <a:gd name="connsiteY109" fmla="*/ 7065 h 10000"/>
                <a:gd name="connsiteX110" fmla="*/ 4347 w 10000"/>
                <a:gd name="connsiteY110" fmla="*/ 7042 h 10000"/>
                <a:gd name="connsiteX111" fmla="*/ 4435 w 10000"/>
                <a:gd name="connsiteY111" fmla="*/ 7022 h 10000"/>
                <a:gd name="connsiteX112" fmla="*/ 4501 w 10000"/>
                <a:gd name="connsiteY112" fmla="*/ 6979 h 10000"/>
                <a:gd name="connsiteX113" fmla="*/ 4600 w 10000"/>
                <a:gd name="connsiteY113" fmla="*/ 6993 h 10000"/>
                <a:gd name="connsiteX114" fmla="*/ 4719 w 10000"/>
                <a:gd name="connsiteY114" fmla="*/ 6981 h 10000"/>
                <a:gd name="connsiteX115" fmla="*/ 4896 w 10000"/>
                <a:gd name="connsiteY115" fmla="*/ 6995 h 10000"/>
                <a:gd name="connsiteX116" fmla="*/ 4917 w 10000"/>
                <a:gd name="connsiteY116" fmla="*/ 6989 h 10000"/>
                <a:gd name="connsiteX117" fmla="*/ 5056 w 10000"/>
                <a:gd name="connsiteY117" fmla="*/ 7056 h 10000"/>
                <a:gd name="connsiteX118" fmla="*/ 5158 w 10000"/>
                <a:gd name="connsiteY118" fmla="*/ 7032 h 10000"/>
                <a:gd name="connsiteX119" fmla="*/ 5166 w 10000"/>
                <a:gd name="connsiteY119" fmla="*/ 7010 h 10000"/>
                <a:gd name="connsiteX120" fmla="*/ 5259 w 10000"/>
                <a:gd name="connsiteY120" fmla="*/ 7048 h 10000"/>
                <a:gd name="connsiteX121" fmla="*/ 5384 w 10000"/>
                <a:gd name="connsiteY121" fmla="*/ 7069 h 10000"/>
                <a:gd name="connsiteX122" fmla="*/ 5432 w 10000"/>
                <a:gd name="connsiteY122" fmla="*/ 7030 h 10000"/>
                <a:gd name="connsiteX123" fmla="*/ 5472 w 10000"/>
                <a:gd name="connsiteY123" fmla="*/ 7052 h 10000"/>
                <a:gd name="connsiteX124" fmla="*/ 5529 w 10000"/>
                <a:gd name="connsiteY124" fmla="*/ 7126 h 10000"/>
                <a:gd name="connsiteX125" fmla="*/ 5649 w 10000"/>
                <a:gd name="connsiteY125" fmla="*/ 7144 h 10000"/>
                <a:gd name="connsiteX126" fmla="*/ 6137 w 10000"/>
                <a:gd name="connsiteY126" fmla="*/ 7034 h 10000"/>
                <a:gd name="connsiteX127" fmla="*/ 6376 w 10000"/>
                <a:gd name="connsiteY127" fmla="*/ 6879 h 10000"/>
                <a:gd name="connsiteX128" fmla="*/ 6433 w 10000"/>
                <a:gd name="connsiteY128" fmla="*/ 6765 h 10000"/>
                <a:gd name="connsiteX129" fmla="*/ 6346 w 10000"/>
                <a:gd name="connsiteY129" fmla="*/ 6663 h 10000"/>
                <a:gd name="connsiteX130" fmla="*/ 6163 w 10000"/>
                <a:gd name="connsiteY130" fmla="*/ 6602 h 10000"/>
                <a:gd name="connsiteX131" fmla="*/ 6034 w 10000"/>
                <a:gd name="connsiteY131" fmla="*/ 6502 h 10000"/>
                <a:gd name="connsiteX132" fmla="*/ 6155 w 10000"/>
                <a:gd name="connsiteY132" fmla="*/ 6498 h 10000"/>
                <a:gd name="connsiteX133" fmla="*/ 6146 w 10000"/>
                <a:gd name="connsiteY133" fmla="*/ 6474 h 10000"/>
                <a:gd name="connsiteX134" fmla="*/ 5832 w 10000"/>
                <a:gd name="connsiteY134" fmla="*/ 6403 h 10000"/>
                <a:gd name="connsiteX135" fmla="*/ 5819 w 10000"/>
                <a:gd name="connsiteY135" fmla="*/ 6339 h 10000"/>
                <a:gd name="connsiteX136" fmla="*/ 5760 w 10000"/>
                <a:gd name="connsiteY136" fmla="*/ 6272 h 10000"/>
                <a:gd name="connsiteX137" fmla="*/ 5511 w 10000"/>
                <a:gd name="connsiteY137" fmla="*/ 6284 h 10000"/>
                <a:gd name="connsiteX138" fmla="*/ 5423 w 10000"/>
                <a:gd name="connsiteY138" fmla="*/ 6213 h 10000"/>
                <a:gd name="connsiteX139" fmla="*/ 5371 w 10000"/>
                <a:gd name="connsiteY139" fmla="*/ 6209 h 10000"/>
                <a:gd name="connsiteX140" fmla="*/ 5371 w 10000"/>
                <a:gd name="connsiteY140" fmla="*/ 6238 h 10000"/>
                <a:gd name="connsiteX141" fmla="*/ 5259 w 10000"/>
                <a:gd name="connsiteY141" fmla="*/ 6358 h 10000"/>
                <a:gd name="connsiteX142" fmla="*/ 5139 w 10000"/>
                <a:gd name="connsiteY142" fmla="*/ 6429 h 10000"/>
                <a:gd name="connsiteX143" fmla="*/ 4762 w 10000"/>
                <a:gd name="connsiteY143" fmla="*/ 6551 h 10000"/>
                <a:gd name="connsiteX144" fmla="*/ 4630 w 10000"/>
                <a:gd name="connsiteY144" fmla="*/ 6547 h 10000"/>
                <a:gd name="connsiteX145" fmla="*/ 4449 w 10000"/>
                <a:gd name="connsiteY145" fmla="*/ 6565 h 10000"/>
                <a:gd name="connsiteX146" fmla="*/ 4347 w 10000"/>
                <a:gd name="connsiteY146" fmla="*/ 6547 h 10000"/>
                <a:gd name="connsiteX147" fmla="*/ 4479 w 10000"/>
                <a:gd name="connsiteY147" fmla="*/ 6513 h 10000"/>
                <a:gd name="connsiteX148" fmla="*/ 4652 w 10000"/>
                <a:gd name="connsiteY148" fmla="*/ 6498 h 10000"/>
                <a:gd name="connsiteX149" fmla="*/ 4795 w 10000"/>
                <a:gd name="connsiteY149" fmla="*/ 6441 h 10000"/>
                <a:gd name="connsiteX150" fmla="*/ 4935 w 10000"/>
                <a:gd name="connsiteY150" fmla="*/ 6415 h 10000"/>
                <a:gd name="connsiteX151" fmla="*/ 5198 w 10000"/>
                <a:gd name="connsiteY151" fmla="*/ 6317 h 10000"/>
                <a:gd name="connsiteX152" fmla="*/ 5246 w 10000"/>
                <a:gd name="connsiteY152" fmla="*/ 6252 h 10000"/>
                <a:gd name="connsiteX153" fmla="*/ 5250 w 10000"/>
                <a:gd name="connsiteY153" fmla="*/ 6168 h 10000"/>
                <a:gd name="connsiteX154" fmla="*/ 5131 w 10000"/>
                <a:gd name="connsiteY154" fmla="*/ 6154 h 10000"/>
                <a:gd name="connsiteX155" fmla="*/ 5184 w 10000"/>
                <a:gd name="connsiteY155" fmla="*/ 6103 h 10000"/>
                <a:gd name="connsiteX156" fmla="*/ 5202 w 10000"/>
                <a:gd name="connsiteY156" fmla="*/ 6038 h 10000"/>
                <a:gd name="connsiteX157" fmla="*/ 5152 w 10000"/>
                <a:gd name="connsiteY157" fmla="*/ 5977 h 10000"/>
                <a:gd name="connsiteX158" fmla="*/ 5122 w 10000"/>
                <a:gd name="connsiteY158" fmla="*/ 5533 h 10000"/>
                <a:gd name="connsiteX159" fmla="*/ 5194 w 10000"/>
                <a:gd name="connsiteY159" fmla="*/ 5437 h 10000"/>
                <a:gd name="connsiteX160" fmla="*/ 5175 w 10000"/>
                <a:gd name="connsiteY160" fmla="*/ 5398 h 10000"/>
                <a:gd name="connsiteX161" fmla="*/ 5384 w 10000"/>
                <a:gd name="connsiteY161" fmla="*/ 5455 h 10000"/>
                <a:gd name="connsiteX162" fmla="*/ 5397 w 10000"/>
                <a:gd name="connsiteY162" fmla="*/ 5402 h 10000"/>
                <a:gd name="connsiteX163" fmla="*/ 5353 w 10000"/>
                <a:gd name="connsiteY163" fmla="*/ 5264 h 10000"/>
                <a:gd name="connsiteX164" fmla="*/ 5502 w 10000"/>
                <a:gd name="connsiteY164" fmla="*/ 5019 h 10000"/>
                <a:gd name="connsiteX165" fmla="*/ 5410 w 10000"/>
                <a:gd name="connsiteY165" fmla="*/ 4960 h 10000"/>
                <a:gd name="connsiteX166" fmla="*/ 5375 w 10000"/>
                <a:gd name="connsiteY166" fmla="*/ 4905 h 10000"/>
                <a:gd name="connsiteX167" fmla="*/ 5388 w 10000"/>
                <a:gd name="connsiteY167" fmla="*/ 4816 h 10000"/>
                <a:gd name="connsiteX168" fmla="*/ 5606 w 10000"/>
                <a:gd name="connsiteY168" fmla="*/ 4875 h 10000"/>
                <a:gd name="connsiteX169" fmla="*/ 5614 w 10000"/>
                <a:gd name="connsiteY169" fmla="*/ 4858 h 10000"/>
                <a:gd name="connsiteX170" fmla="*/ 5675 w 10000"/>
                <a:gd name="connsiteY170" fmla="*/ 4842 h 10000"/>
                <a:gd name="connsiteX171" fmla="*/ 5760 w 10000"/>
                <a:gd name="connsiteY171" fmla="*/ 4785 h 10000"/>
                <a:gd name="connsiteX172" fmla="*/ 5773 w 10000"/>
                <a:gd name="connsiteY172" fmla="*/ 4769 h 10000"/>
                <a:gd name="connsiteX173" fmla="*/ 5756 w 10000"/>
                <a:gd name="connsiteY173" fmla="*/ 4748 h 10000"/>
                <a:gd name="connsiteX174" fmla="*/ 5799 w 10000"/>
                <a:gd name="connsiteY174" fmla="*/ 4647 h 10000"/>
                <a:gd name="connsiteX175" fmla="*/ 5747 w 10000"/>
                <a:gd name="connsiteY175" fmla="*/ 4581 h 10000"/>
                <a:gd name="connsiteX176" fmla="*/ 5756 w 10000"/>
                <a:gd name="connsiteY176" fmla="*/ 4528 h 10000"/>
                <a:gd name="connsiteX177" fmla="*/ 5786 w 10000"/>
                <a:gd name="connsiteY177" fmla="*/ 4590 h 10000"/>
                <a:gd name="connsiteX178" fmla="*/ 5906 w 10000"/>
                <a:gd name="connsiteY178" fmla="*/ 4636 h 10000"/>
                <a:gd name="connsiteX179" fmla="*/ 5956 w 10000"/>
                <a:gd name="connsiteY179" fmla="*/ 4630 h 10000"/>
                <a:gd name="connsiteX180" fmla="*/ 6034 w 10000"/>
                <a:gd name="connsiteY180" fmla="*/ 4569 h 10000"/>
                <a:gd name="connsiteX181" fmla="*/ 6119 w 10000"/>
                <a:gd name="connsiteY181" fmla="*/ 4594 h 10000"/>
                <a:gd name="connsiteX182" fmla="*/ 6142 w 10000"/>
                <a:gd name="connsiteY182" fmla="*/ 4545 h 10000"/>
                <a:gd name="connsiteX183" fmla="*/ 6199 w 10000"/>
                <a:gd name="connsiteY183" fmla="*/ 4512 h 10000"/>
                <a:gd name="connsiteX184" fmla="*/ 6043 w 10000"/>
                <a:gd name="connsiteY184" fmla="*/ 4477 h 10000"/>
                <a:gd name="connsiteX185" fmla="*/ 6155 w 10000"/>
                <a:gd name="connsiteY185" fmla="*/ 4484 h 10000"/>
                <a:gd name="connsiteX186" fmla="*/ 6269 w 10000"/>
                <a:gd name="connsiteY186" fmla="*/ 4447 h 10000"/>
                <a:gd name="connsiteX187" fmla="*/ 6265 w 10000"/>
                <a:gd name="connsiteY187" fmla="*/ 4422 h 10000"/>
                <a:gd name="connsiteX188" fmla="*/ 6372 w 10000"/>
                <a:gd name="connsiteY188" fmla="*/ 4398 h 10000"/>
                <a:gd name="connsiteX189" fmla="*/ 6381 w 10000"/>
                <a:gd name="connsiteY189" fmla="*/ 4337 h 10000"/>
                <a:gd name="connsiteX190" fmla="*/ 6465 w 10000"/>
                <a:gd name="connsiteY190" fmla="*/ 4325 h 10000"/>
                <a:gd name="connsiteX191" fmla="*/ 6473 w 10000"/>
                <a:gd name="connsiteY191" fmla="*/ 4253 h 10000"/>
                <a:gd name="connsiteX192" fmla="*/ 6561 w 10000"/>
                <a:gd name="connsiteY192" fmla="*/ 4245 h 10000"/>
                <a:gd name="connsiteX193" fmla="*/ 6699 w 10000"/>
                <a:gd name="connsiteY193" fmla="*/ 4260 h 10000"/>
                <a:gd name="connsiteX194" fmla="*/ 6849 w 10000"/>
                <a:gd name="connsiteY194" fmla="*/ 4202 h 10000"/>
                <a:gd name="connsiteX195" fmla="*/ 6903 w 10000"/>
                <a:gd name="connsiteY195" fmla="*/ 4137 h 10000"/>
                <a:gd name="connsiteX196" fmla="*/ 7089 w 10000"/>
                <a:gd name="connsiteY196" fmla="*/ 4070 h 10000"/>
                <a:gd name="connsiteX197" fmla="*/ 7182 w 10000"/>
                <a:gd name="connsiteY197" fmla="*/ 4111 h 10000"/>
                <a:gd name="connsiteX198" fmla="*/ 7324 w 10000"/>
                <a:gd name="connsiteY198" fmla="*/ 4066 h 10000"/>
                <a:gd name="connsiteX199" fmla="*/ 7359 w 10000"/>
                <a:gd name="connsiteY199" fmla="*/ 4009 h 10000"/>
                <a:gd name="connsiteX200" fmla="*/ 7466 w 10000"/>
                <a:gd name="connsiteY200" fmla="*/ 3970 h 10000"/>
                <a:gd name="connsiteX201" fmla="*/ 7558 w 10000"/>
                <a:gd name="connsiteY201" fmla="*/ 3987 h 10000"/>
                <a:gd name="connsiteX202" fmla="*/ 7616 w 10000"/>
                <a:gd name="connsiteY202" fmla="*/ 3958 h 10000"/>
                <a:gd name="connsiteX203" fmla="*/ 7776 w 10000"/>
                <a:gd name="connsiteY203" fmla="*/ 3917 h 10000"/>
                <a:gd name="connsiteX204" fmla="*/ 7842 w 10000"/>
                <a:gd name="connsiteY204" fmla="*/ 3864 h 10000"/>
                <a:gd name="connsiteX205" fmla="*/ 7931 w 10000"/>
                <a:gd name="connsiteY205" fmla="*/ 3842 h 10000"/>
                <a:gd name="connsiteX206" fmla="*/ 8423 w 10000"/>
                <a:gd name="connsiteY206" fmla="*/ 3522 h 10000"/>
                <a:gd name="connsiteX207" fmla="*/ 10000 w 10000"/>
                <a:gd name="connsiteY207" fmla="*/ 1699 h 10000"/>
                <a:gd name="connsiteX208" fmla="*/ 9722 w 10000"/>
                <a:gd name="connsiteY208" fmla="*/ 1465 h 10000"/>
                <a:gd name="connsiteX209" fmla="*/ 9676 w 10000"/>
                <a:gd name="connsiteY209" fmla="*/ 1379 h 10000"/>
                <a:gd name="connsiteX210" fmla="*/ 9739 w 10000"/>
                <a:gd name="connsiteY210" fmla="*/ 1271 h 10000"/>
                <a:gd name="connsiteX211" fmla="*/ 9709 w 10000"/>
                <a:gd name="connsiteY211" fmla="*/ 1194 h 10000"/>
                <a:gd name="connsiteX212" fmla="*/ 9650 w 10000"/>
                <a:gd name="connsiteY212" fmla="*/ 1159 h 10000"/>
                <a:gd name="connsiteX213" fmla="*/ 9601 w 10000"/>
                <a:gd name="connsiteY213" fmla="*/ 978 h 10000"/>
                <a:gd name="connsiteX214" fmla="*/ 9659 w 10000"/>
                <a:gd name="connsiteY214" fmla="*/ 831 h 10000"/>
                <a:gd name="connsiteX215" fmla="*/ 9234 w 10000"/>
                <a:gd name="connsiteY215" fmla="*/ 517 h 10000"/>
                <a:gd name="connsiteX216" fmla="*/ 9025 w 10000"/>
                <a:gd name="connsiteY216" fmla="*/ 440 h 10000"/>
                <a:gd name="connsiteX217" fmla="*/ 8639 w 10000"/>
                <a:gd name="connsiteY217" fmla="*/ 389 h 10000"/>
                <a:gd name="connsiteX218" fmla="*/ 7842 w 10000"/>
                <a:gd name="connsiteY218" fmla="*/ 26 h 10000"/>
                <a:gd name="connsiteX219" fmla="*/ 7816 w 10000"/>
                <a:gd name="connsiteY219" fmla="*/ 2 h 10000"/>
                <a:gd name="connsiteX220" fmla="*/ 7545 w 10000"/>
                <a:gd name="connsiteY220" fmla="*/ 0 h 10000"/>
                <a:gd name="connsiteX221" fmla="*/ 7483 w 10000"/>
                <a:gd name="connsiteY221" fmla="*/ 14 h 10000"/>
                <a:gd name="connsiteX222" fmla="*/ 7497 w 10000"/>
                <a:gd name="connsiteY222" fmla="*/ 61 h 10000"/>
                <a:gd name="connsiteX223" fmla="*/ 7550 w 10000"/>
                <a:gd name="connsiteY223" fmla="*/ 86 h 10000"/>
                <a:gd name="connsiteX224" fmla="*/ 7564 w 10000"/>
                <a:gd name="connsiteY224" fmla="*/ 139 h 10000"/>
                <a:gd name="connsiteX225" fmla="*/ 7545 w 10000"/>
                <a:gd name="connsiteY225" fmla="*/ 181 h 10000"/>
                <a:gd name="connsiteX226" fmla="*/ 7497 w 10000"/>
                <a:gd name="connsiteY226" fmla="*/ 208 h 10000"/>
                <a:gd name="connsiteX227" fmla="*/ 7461 w 10000"/>
                <a:gd name="connsiteY227" fmla="*/ 283 h 10000"/>
                <a:gd name="connsiteX228" fmla="*/ 7395 w 10000"/>
                <a:gd name="connsiteY228" fmla="*/ 336 h 10000"/>
                <a:gd name="connsiteX229" fmla="*/ 7408 w 10000"/>
                <a:gd name="connsiteY229" fmla="*/ 387 h 10000"/>
                <a:gd name="connsiteX230" fmla="*/ 7510 w 10000"/>
                <a:gd name="connsiteY230" fmla="*/ 434 h 10000"/>
                <a:gd name="connsiteX231" fmla="*/ 7444 w 10000"/>
                <a:gd name="connsiteY231" fmla="*/ 475 h 10000"/>
                <a:gd name="connsiteX232" fmla="*/ 7346 w 10000"/>
                <a:gd name="connsiteY232" fmla="*/ 485 h 10000"/>
                <a:gd name="connsiteX233" fmla="*/ 6531 w 10000"/>
                <a:gd name="connsiteY233" fmla="*/ 387 h 10000"/>
                <a:gd name="connsiteX234" fmla="*/ 6433 w 10000"/>
                <a:gd name="connsiteY234" fmla="*/ 395 h 10000"/>
                <a:gd name="connsiteX235" fmla="*/ 6376 w 10000"/>
                <a:gd name="connsiteY235" fmla="*/ 414 h 10000"/>
                <a:gd name="connsiteX236" fmla="*/ 6318 w 10000"/>
                <a:gd name="connsiteY236" fmla="*/ 462 h 10000"/>
                <a:gd name="connsiteX237" fmla="*/ 6328 w 10000"/>
                <a:gd name="connsiteY237" fmla="*/ 581 h 10000"/>
                <a:gd name="connsiteX238" fmla="*/ 6238 w 10000"/>
                <a:gd name="connsiteY238" fmla="*/ 735 h 10000"/>
                <a:gd name="connsiteX239" fmla="*/ 6128 w 10000"/>
                <a:gd name="connsiteY239" fmla="*/ 815 h 10000"/>
                <a:gd name="connsiteX240" fmla="*/ 6084 w 10000"/>
                <a:gd name="connsiteY240" fmla="*/ 805 h 10000"/>
                <a:gd name="connsiteX241" fmla="*/ 5982 w 10000"/>
                <a:gd name="connsiteY241" fmla="*/ 739 h 10000"/>
                <a:gd name="connsiteX242" fmla="*/ 5853 w 10000"/>
                <a:gd name="connsiteY242" fmla="*/ 705 h 10000"/>
                <a:gd name="connsiteX243" fmla="*/ 5715 w 10000"/>
                <a:gd name="connsiteY243" fmla="*/ 715 h 10000"/>
                <a:gd name="connsiteX244" fmla="*/ 5393 w 10000"/>
                <a:gd name="connsiteY244" fmla="*/ 866 h 10000"/>
                <a:gd name="connsiteX245" fmla="*/ 5308 w 10000"/>
                <a:gd name="connsiteY245" fmla="*/ 1017 h 10000"/>
                <a:gd name="connsiteX246" fmla="*/ 5065 w 10000"/>
                <a:gd name="connsiteY246" fmla="*/ 1153 h 10000"/>
                <a:gd name="connsiteX247" fmla="*/ 5020 w 10000"/>
                <a:gd name="connsiteY247" fmla="*/ 1222 h 10000"/>
                <a:gd name="connsiteX248" fmla="*/ 5148 w 10000"/>
                <a:gd name="connsiteY248" fmla="*/ 1344 h 10000"/>
                <a:gd name="connsiteX249" fmla="*/ 5162 w 10000"/>
                <a:gd name="connsiteY249" fmla="*/ 1412 h 10000"/>
                <a:gd name="connsiteX250" fmla="*/ 4497 w 10000"/>
                <a:gd name="connsiteY250" fmla="*/ 1813 h 10000"/>
                <a:gd name="connsiteX251" fmla="*/ 4293 w 10000"/>
                <a:gd name="connsiteY251" fmla="*/ 2070 h 10000"/>
                <a:gd name="connsiteX252" fmla="*/ 4073 w 10000"/>
                <a:gd name="connsiteY252" fmla="*/ 2135 h 10000"/>
                <a:gd name="connsiteX253" fmla="*/ 3934 w 10000"/>
                <a:gd name="connsiteY253" fmla="*/ 2131 h 10000"/>
                <a:gd name="connsiteX254" fmla="*/ 3851 w 10000"/>
                <a:gd name="connsiteY254" fmla="*/ 2153 h 10000"/>
                <a:gd name="connsiteX255" fmla="*/ 3620 w 10000"/>
                <a:gd name="connsiteY255" fmla="*/ 2793 h 10000"/>
                <a:gd name="connsiteX256" fmla="*/ 3089 w 10000"/>
                <a:gd name="connsiteY256" fmla="*/ 3166 h 10000"/>
                <a:gd name="connsiteX257" fmla="*/ 3093 w 10000"/>
                <a:gd name="connsiteY257" fmla="*/ 3225 h 10000"/>
                <a:gd name="connsiteX258" fmla="*/ 3328 w 10000"/>
                <a:gd name="connsiteY258" fmla="*/ 3392 h 10000"/>
                <a:gd name="connsiteX259" fmla="*/ 3253 w 10000"/>
                <a:gd name="connsiteY259" fmla="*/ 3573 h 10000"/>
                <a:gd name="connsiteX260" fmla="*/ 3115 w 10000"/>
                <a:gd name="connsiteY260" fmla="*/ 3640 h 10000"/>
                <a:gd name="connsiteX261" fmla="*/ 2703 w 10000"/>
                <a:gd name="connsiteY261" fmla="*/ 3595 h 10000"/>
                <a:gd name="connsiteX262" fmla="*/ 2418 w 10000"/>
                <a:gd name="connsiteY262" fmla="*/ 3620 h 10000"/>
                <a:gd name="connsiteX263" fmla="*/ 2189 w 10000"/>
                <a:gd name="connsiteY263" fmla="*/ 3673 h 10000"/>
                <a:gd name="connsiteX264" fmla="*/ 1821 w 10000"/>
                <a:gd name="connsiteY264" fmla="*/ 3840 h 10000"/>
                <a:gd name="connsiteX265" fmla="*/ 1625 w 10000"/>
                <a:gd name="connsiteY265" fmla="*/ 4042 h 10000"/>
                <a:gd name="connsiteX266" fmla="*/ 1643 w 10000"/>
                <a:gd name="connsiteY266" fmla="*/ 4154 h 10000"/>
                <a:gd name="connsiteX267" fmla="*/ 1711 w 10000"/>
                <a:gd name="connsiteY267" fmla="*/ 4241 h 10000"/>
                <a:gd name="connsiteX268" fmla="*/ 1763 w 10000"/>
                <a:gd name="connsiteY268" fmla="*/ 4276 h 10000"/>
                <a:gd name="connsiteX269" fmla="*/ 1666 w 10000"/>
                <a:gd name="connsiteY269" fmla="*/ 4331 h 10000"/>
                <a:gd name="connsiteX270" fmla="*/ 1458 w 10000"/>
                <a:gd name="connsiteY270" fmla="*/ 4710 h 10000"/>
                <a:gd name="connsiteX271" fmla="*/ 1498 w 10000"/>
                <a:gd name="connsiteY271" fmla="*/ 4732 h 10000"/>
                <a:gd name="connsiteX272" fmla="*/ 1529 w 10000"/>
                <a:gd name="connsiteY272" fmla="*/ 4828 h 10000"/>
                <a:gd name="connsiteX273" fmla="*/ 1431 w 10000"/>
                <a:gd name="connsiteY273" fmla="*/ 5227 h 10000"/>
                <a:gd name="connsiteX274" fmla="*/ 1529 w 10000"/>
                <a:gd name="connsiteY274" fmla="*/ 5329 h 10000"/>
                <a:gd name="connsiteX275" fmla="*/ 1794 w 10000"/>
                <a:gd name="connsiteY275" fmla="*/ 5441 h 10000"/>
                <a:gd name="connsiteX276" fmla="*/ 1807 w 10000"/>
                <a:gd name="connsiteY276" fmla="*/ 5578 h 10000"/>
                <a:gd name="connsiteX277" fmla="*/ 1694 w 10000"/>
                <a:gd name="connsiteY277" fmla="*/ 5690 h 10000"/>
                <a:gd name="connsiteX278" fmla="*/ 1529 w 10000"/>
                <a:gd name="connsiteY278" fmla="*/ 5759 h 10000"/>
                <a:gd name="connsiteX279" fmla="*/ 1311 w 10000"/>
                <a:gd name="connsiteY279" fmla="*/ 5787 h 10000"/>
                <a:gd name="connsiteX280" fmla="*/ 1254 w 10000"/>
                <a:gd name="connsiteY280" fmla="*/ 5826 h 10000"/>
                <a:gd name="connsiteX281" fmla="*/ 1382 w 10000"/>
                <a:gd name="connsiteY281" fmla="*/ 5920 h 10000"/>
                <a:gd name="connsiteX282" fmla="*/ 1454 w 10000"/>
                <a:gd name="connsiteY282" fmla="*/ 6142 h 10000"/>
                <a:gd name="connsiteX283" fmla="*/ 1289 w 10000"/>
                <a:gd name="connsiteY283" fmla="*/ 6333 h 10000"/>
                <a:gd name="connsiteX284" fmla="*/ 1347 w 10000"/>
                <a:gd name="connsiteY284" fmla="*/ 6392 h 10000"/>
                <a:gd name="connsiteX285" fmla="*/ 1294 w 10000"/>
                <a:gd name="connsiteY285" fmla="*/ 6492 h 10000"/>
                <a:gd name="connsiteX286" fmla="*/ 1188 w 10000"/>
                <a:gd name="connsiteY286" fmla="*/ 6561 h 10000"/>
                <a:gd name="connsiteX287" fmla="*/ 771 w 10000"/>
                <a:gd name="connsiteY287" fmla="*/ 6614 h 10000"/>
                <a:gd name="connsiteX288" fmla="*/ 745 w 10000"/>
                <a:gd name="connsiteY288" fmla="*/ 6706 h 10000"/>
                <a:gd name="connsiteX289" fmla="*/ 519 w 10000"/>
                <a:gd name="connsiteY289" fmla="*/ 6843 h 10000"/>
                <a:gd name="connsiteX290" fmla="*/ 549 w 10000"/>
                <a:gd name="connsiteY290" fmla="*/ 7040 h 10000"/>
                <a:gd name="connsiteX291" fmla="*/ 359 w 10000"/>
                <a:gd name="connsiteY291" fmla="*/ 7293 h 10000"/>
                <a:gd name="connsiteX292" fmla="*/ 230 w 10000"/>
                <a:gd name="connsiteY292" fmla="*/ 7323 h 10000"/>
                <a:gd name="connsiteX293" fmla="*/ 177 w 10000"/>
                <a:gd name="connsiteY293" fmla="*/ 7262 h 10000"/>
                <a:gd name="connsiteX294" fmla="*/ 111 w 10000"/>
                <a:gd name="connsiteY294" fmla="*/ 7354 h 10000"/>
                <a:gd name="connsiteX295" fmla="*/ 155 w 10000"/>
                <a:gd name="connsiteY295" fmla="*/ 7197 h 10000"/>
                <a:gd name="connsiteX296" fmla="*/ 128 w 10000"/>
                <a:gd name="connsiteY296" fmla="*/ 7166 h 10000"/>
                <a:gd name="connsiteX0" fmla="*/ 128 w 9739"/>
                <a:gd name="connsiteY0" fmla="*/ 7166 h 10000"/>
                <a:gd name="connsiteX1" fmla="*/ 0 w 9739"/>
                <a:gd name="connsiteY1" fmla="*/ 7248 h 10000"/>
                <a:gd name="connsiteX2" fmla="*/ 0 w 9739"/>
                <a:gd name="connsiteY2" fmla="*/ 7651 h 10000"/>
                <a:gd name="connsiteX3" fmla="*/ 71 w 9739"/>
                <a:gd name="connsiteY3" fmla="*/ 7663 h 10000"/>
                <a:gd name="connsiteX4" fmla="*/ 88 w 9739"/>
                <a:gd name="connsiteY4" fmla="*/ 7694 h 10000"/>
                <a:gd name="connsiteX5" fmla="*/ 84 w 9739"/>
                <a:gd name="connsiteY5" fmla="*/ 7749 h 10000"/>
                <a:gd name="connsiteX6" fmla="*/ 57 w 9739"/>
                <a:gd name="connsiteY6" fmla="*/ 7773 h 10000"/>
                <a:gd name="connsiteX7" fmla="*/ 164 w 9739"/>
                <a:gd name="connsiteY7" fmla="*/ 7727 h 10000"/>
                <a:gd name="connsiteX8" fmla="*/ 209 w 9739"/>
                <a:gd name="connsiteY8" fmla="*/ 7680 h 10000"/>
                <a:gd name="connsiteX9" fmla="*/ 265 w 9739"/>
                <a:gd name="connsiteY9" fmla="*/ 7712 h 10000"/>
                <a:gd name="connsiteX10" fmla="*/ 204 w 9739"/>
                <a:gd name="connsiteY10" fmla="*/ 7778 h 10000"/>
                <a:gd name="connsiteX11" fmla="*/ 270 w 9739"/>
                <a:gd name="connsiteY11" fmla="*/ 7780 h 10000"/>
                <a:gd name="connsiteX12" fmla="*/ 301 w 9739"/>
                <a:gd name="connsiteY12" fmla="*/ 7796 h 10000"/>
                <a:gd name="connsiteX13" fmla="*/ 217 w 9739"/>
                <a:gd name="connsiteY13" fmla="*/ 7818 h 10000"/>
                <a:gd name="connsiteX14" fmla="*/ 84 w 9739"/>
                <a:gd name="connsiteY14" fmla="*/ 7886 h 10000"/>
                <a:gd name="connsiteX15" fmla="*/ 320 w 9739"/>
                <a:gd name="connsiteY15" fmla="*/ 7938 h 10000"/>
                <a:gd name="connsiteX16" fmla="*/ 350 w 9739"/>
                <a:gd name="connsiteY16" fmla="*/ 8014 h 10000"/>
                <a:gd name="connsiteX17" fmla="*/ 270 w 9739"/>
                <a:gd name="connsiteY17" fmla="*/ 8126 h 10000"/>
                <a:gd name="connsiteX18" fmla="*/ 444 w 9739"/>
                <a:gd name="connsiteY18" fmla="*/ 8118 h 10000"/>
                <a:gd name="connsiteX19" fmla="*/ 457 w 9739"/>
                <a:gd name="connsiteY19" fmla="*/ 8203 h 10000"/>
                <a:gd name="connsiteX20" fmla="*/ 341 w 9739"/>
                <a:gd name="connsiteY20" fmla="*/ 8260 h 10000"/>
                <a:gd name="connsiteX21" fmla="*/ 359 w 9739"/>
                <a:gd name="connsiteY21" fmla="*/ 8370 h 10000"/>
                <a:gd name="connsiteX22" fmla="*/ 315 w 9739"/>
                <a:gd name="connsiteY22" fmla="*/ 8456 h 10000"/>
                <a:gd name="connsiteX23" fmla="*/ 452 w 9739"/>
                <a:gd name="connsiteY23" fmla="*/ 8464 h 10000"/>
                <a:gd name="connsiteX24" fmla="*/ 585 w 9739"/>
                <a:gd name="connsiteY24" fmla="*/ 8792 h 10000"/>
                <a:gd name="connsiteX25" fmla="*/ 740 w 9739"/>
                <a:gd name="connsiteY25" fmla="*/ 8876 h 10000"/>
                <a:gd name="connsiteX26" fmla="*/ 806 w 9739"/>
                <a:gd name="connsiteY26" fmla="*/ 8965 h 10000"/>
                <a:gd name="connsiteX27" fmla="*/ 975 w 9739"/>
                <a:gd name="connsiteY27" fmla="*/ 9030 h 10000"/>
                <a:gd name="connsiteX28" fmla="*/ 1082 w 9739"/>
                <a:gd name="connsiteY28" fmla="*/ 9112 h 10000"/>
                <a:gd name="connsiteX29" fmla="*/ 1068 w 9739"/>
                <a:gd name="connsiteY29" fmla="*/ 9171 h 10000"/>
                <a:gd name="connsiteX30" fmla="*/ 962 w 9739"/>
                <a:gd name="connsiteY30" fmla="*/ 9193 h 10000"/>
                <a:gd name="connsiteX31" fmla="*/ 846 w 9739"/>
                <a:gd name="connsiteY31" fmla="*/ 9179 h 10000"/>
                <a:gd name="connsiteX32" fmla="*/ 810 w 9739"/>
                <a:gd name="connsiteY32" fmla="*/ 9204 h 10000"/>
                <a:gd name="connsiteX33" fmla="*/ 899 w 9739"/>
                <a:gd name="connsiteY33" fmla="*/ 9332 h 10000"/>
                <a:gd name="connsiteX34" fmla="*/ 775 w 9739"/>
                <a:gd name="connsiteY34" fmla="*/ 9322 h 10000"/>
                <a:gd name="connsiteX35" fmla="*/ 669 w 9739"/>
                <a:gd name="connsiteY35" fmla="*/ 9291 h 10000"/>
                <a:gd name="connsiteX36" fmla="*/ 651 w 9739"/>
                <a:gd name="connsiteY36" fmla="*/ 9338 h 10000"/>
                <a:gd name="connsiteX37" fmla="*/ 1001 w 9739"/>
                <a:gd name="connsiteY37" fmla="*/ 9776 h 10000"/>
                <a:gd name="connsiteX38" fmla="*/ 945 w 9739"/>
                <a:gd name="connsiteY38" fmla="*/ 9817 h 10000"/>
                <a:gd name="connsiteX39" fmla="*/ 905 w 9739"/>
                <a:gd name="connsiteY39" fmla="*/ 9902 h 10000"/>
                <a:gd name="connsiteX40" fmla="*/ 855 w 9739"/>
                <a:gd name="connsiteY40" fmla="*/ 9908 h 10000"/>
                <a:gd name="connsiteX41" fmla="*/ 824 w 9739"/>
                <a:gd name="connsiteY41" fmla="*/ 9945 h 10000"/>
                <a:gd name="connsiteX42" fmla="*/ 1036 w 9739"/>
                <a:gd name="connsiteY42" fmla="*/ 9949 h 10000"/>
                <a:gd name="connsiteX43" fmla="*/ 1223 w 9739"/>
                <a:gd name="connsiteY43" fmla="*/ 9986 h 10000"/>
                <a:gd name="connsiteX44" fmla="*/ 1533 w 9739"/>
                <a:gd name="connsiteY44" fmla="*/ 9947 h 10000"/>
                <a:gd name="connsiteX45" fmla="*/ 1811 w 9739"/>
                <a:gd name="connsiteY45" fmla="*/ 9953 h 10000"/>
                <a:gd name="connsiteX46" fmla="*/ 1977 w 9739"/>
                <a:gd name="connsiteY46" fmla="*/ 10000 h 10000"/>
                <a:gd name="connsiteX47" fmla="*/ 2066 w 9739"/>
                <a:gd name="connsiteY47" fmla="*/ 9969 h 10000"/>
                <a:gd name="connsiteX48" fmla="*/ 2153 w 9739"/>
                <a:gd name="connsiteY48" fmla="*/ 9868 h 10000"/>
                <a:gd name="connsiteX49" fmla="*/ 2131 w 9739"/>
                <a:gd name="connsiteY49" fmla="*/ 9703 h 10000"/>
                <a:gd name="connsiteX50" fmla="*/ 2344 w 9739"/>
                <a:gd name="connsiteY50" fmla="*/ 9517 h 10000"/>
                <a:gd name="connsiteX51" fmla="*/ 2499 w 9739"/>
                <a:gd name="connsiteY51" fmla="*/ 9546 h 10000"/>
                <a:gd name="connsiteX52" fmla="*/ 2588 w 9739"/>
                <a:gd name="connsiteY52" fmla="*/ 9472 h 10000"/>
                <a:gd name="connsiteX53" fmla="*/ 2760 w 9739"/>
                <a:gd name="connsiteY53" fmla="*/ 9430 h 10000"/>
                <a:gd name="connsiteX54" fmla="*/ 2995 w 9739"/>
                <a:gd name="connsiteY54" fmla="*/ 9440 h 10000"/>
                <a:gd name="connsiteX55" fmla="*/ 3137 w 9739"/>
                <a:gd name="connsiteY55" fmla="*/ 9470 h 10000"/>
                <a:gd name="connsiteX56" fmla="*/ 3324 w 9739"/>
                <a:gd name="connsiteY56" fmla="*/ 9456 h 10000"/>
                <a:gd name="connsiteX57" fmla="*/ 3514 w 9739"/>
                <a:gd name="connsiteY57" fmla="*/ 9489 h 10000"/>
                <a:gd name="connsiteX58" fmla="*/ 3704 w 9739"/>
                <a:gd name="connsiteY58" fmla="*/ 9493 h 10000"/>
                <a:gd name="connsiteX59" fmla="*/ 4129 w 9739"/>
                <a:gd name="connsiteY59" fmla="*/ 9061 h 10000"/>
                <a:gd name="connsiteX60" fmla="*/ 4236 w 9739"/>
                <a:gd name="connsiteY60" fmla="*/ 8711 h 10000"/>
                <a:gd name="connsiteX61" fmla="*/ 4409 w 9739"/>
                <a:gd name="connsiteY61" fmla="*/ 8554 h 10000"/>
                <a:gd name="connsiteX62" fmla="*/ 4409 w 9739"/>
                <a:gd name="connsiteY62" fmla="*/ 8472 h 10000"/>
                <a:gd name="connsiteX63" fmla="*/ 4347 w 9739"/>
                <a:gd name="connsiteY63" fmla="*/ 8425 h 10000"/>
                <a:gd name="connsiteX64" fmla="*/ 4449 w 9739"/>
                <a:gd name="connsiteY64" fmla="*/ 8352 h 10000"/>
                <a:gd name="connsiteX65" fmla="*/ 4430 w 9739"/>
                <a:gd name="connsiteY65" fmla="*/ 8289 h 10000"/>
                <a:gd name="connsiteX66" fmla="*/ 4360 w 9739"/>
                <a:gd name="connsiteY66" fmla="*/ 8236 h 10000"/>
                <a:gd name="connsiteX67" fmla="*/ 4347 w 9739"/>
                <a:gd name="connsiteY67" fmla="*/ 8199 h 10000"/>
                <a:gd name="connsiteX68" fmla="*/ 4364 w 9739"/>
                <a:gd name="connsiteY68" fmla="*/ 8169 h 10000"/>
                <a:gd name="connsiteX69" fmla="*/ 4458 w 9739"/>
                <a:gd name="connsiteY69" fmla="*/ 8193 h 10000"/>
                <a:gd name="connsiteX70" fmla="*/ 4533 w 9739"/>
                <a:gd name="connsiteY70" fmla="*/ 8191 h 10000"/>
                <a:gd name="connsiteX71" fmla="*/ 4492 w 9739"/>
                <a:gd name="connsiteY71" fmla="*/ 8140 h 10000"/>
                <a:gd name="connsiteX72" fmla="*/ 4505 w 9739"/>
                <a:gd name="connsiteY72" fmla="*/ 8112 h 10000"/>
                <a:gd name="connsiteX73" fmla="*/ 4559 w 9739"/>
                <a:gd name="connsiteY73" fmla="*/ 8069 h 10000"/>
                <a:gd name="connsiteX74" fmla="*/ 4550 w 9739"/>
                <a:gd name="connsiteY74" fmla="*/ 8034 h 10000"/>
                <a:gd name="connsiteX75" fmla="*/ 4600 w 9739"/>
                <a:gd name="connsiteY75" fmla="*/ 7916 h 10000"/>
                <a:gd name="connsiteX76" fmla="*/ 4587 w 9739"/>
                <a:gd name="connsiteY76" fmla="*/ 7881 h 10000"/>
                <a:gd name="connsiteX77" fmla="*/ 4329 w 9739"/>
                <a:gd name="connsiteY77" fmla="*/ 7792 h 10000"/>
                <a:gd name="connsiteX78" fmla="*/ 4364 w 9739"/>
                <a:gd name="connsiteY78" fmla="*/ 7788 h 10000"/>
                <a:gd name="connsiteX79" fmla="*/ 4501 w 9739"/>
                <a:gd name="connsiteY79" fmla="*/ 7812 h 10000"/>
                <a:gd name="connsiteX80" fmla="*/ 4648 w 9739"/>
                <a:gd name="connsiteY80" fmla="*/ 7804 h 10000"/>
                <a:gd name="connsiteX81" fmla="*/ 4692 w 9739"/>
                <a:gd name="connsiteY81" fmla="*/ 7771 h 10000"/>
                <a:gd name="connsiteX82" fmla="*/ 4550 w 9739"/>
                <a:gd name="connsiteY82" fmla="*/ 7710 h 10000"/>
                <a:gd name="connsiteX83" fmla="*/ 4125 w 9739"/>
                <a:gd name="connsiteY83" fmla="*/ 7670 h 10000"/>
                <a:gd name="connsiteX84" fmla="*/ 4155 w 9739"/>
                <a:gd name="connsiteY84" fmla="*/ 7651 h 10000"/>
                <a:gd name="connsiteX85" fmla="*/ 4501 w 9739"/>
                <a:gd name="connsiteY85" fmla="*/ 7639 h 10000"/>
                <a:gd name="connsiteX86" fmla="*/ 4692 w 9739"/>
                <a:gd name="connsiteY86" fmla="*/ 7676 h 10000"/>
                <a:gd name="connsiteX87" fmla="*/ 4803 w 9739"/>
                <a:gd name="connsiteY87" fmla="*/ 7651 h 10000"/>
                <a:gd name="connsiteX88" fmla="*/ 4843 w 9739"/>
                <a:gd name="connsiteY88" fmla="*/ 7588 h 10000"/>
                <a:gd name="connsiteX89" fmla="*/ 5042 w 9739"/>
                <a:gd name="connsiteY89" fmla="*/ 7588 h 10000"/>
                <a:gd name="connsiteX90" fmla="*/ 5313 w 9739"/>
                <a:gd name="connsiteY90" fmla="*/ 7462 h 10000"/>
                <a:gd name="connsiteX91" fmla="*/ 5322 w 9739"/>
                <a:gd name="connsiteY91" fmla="*/ 7378 h 10000"/>
                <a:gd name="connsiteX92" fmla="*/ 5436 w 9739"/>
                <a:gd name="connsiteY92" fmla="*/ 7397 h 10000"/>
                <a:gd name="connsiteX93" fmla="*/ 5432 w 9739"/>
                <a:gd name="connsiteY93" fmla="*/ 7482 h 10000"/>
                <a:gd name="connsiteX94" fmla="*/ 5614 w 9739"/>
                <a:gd name="connsiteY94" fmla="*/ 7476 h 10000"/>
                <a:gd name="connsiteX95" fmla="*/ 5733 w 9739"/>
                <a:gd name="connsiteY95" fmla="*/ 7388 h 10000"/>
                <a:gd name="connsiteX96" fmla="*/ 5956 w 9739"/>
                <a:gd name="connsiteY96" fmla="*/ 7309 h 10000"/>
                <a:gd name="connsiteX97" fmla="*/ 5919 w 9739"/>
                <a:gd name="connsiteY97" fmla="*/ 7219 h 10000"/>
                <a:gd name="connsiteX98" fmla="*/ 5986 w 9739"/>
                <a:gd name="connsiteY98" fmla="*/ 7254 h 10000"/>
                <a:gd name="connsiteX99" fmla="*/ 6088 w 9739"/>
                <a:gd name="connsiteY99" fmla="*/ 7254 h 10000"/>
                <a:gd name="connsiteX100" fmla="*/ 6088 w 9739"/>
                <a:gd name="connsiteY100" fmla="*/ 7213 h 10000"/>
                <a:gd name="connsiteX101" fmla="*/ 6181 w 9739"/>
                <a:gd name="connsiteY101" fmla="*/ 7181 h 10000"/>
                <a:gd name="connsiteX102" fmla="*/ 6168 w 9739"/>
                <a:gd name="connsiteY102" fmla="*/ 7148 h 10000"/>
                <a:gd name="connsiteX103" fmla="*/ 5371 w 9739"/>
                <a:gd name="connsiteY103" fmla="*/ 7215 h 10000"/>
                <a:gd name="connsiteX104" fmla="*/ 5184 w 9739"/>
                <a:gd name="connsiteY104" fmla="*/ 7195 h 10000"/>
                <a:gd name="connsiteX105" fmla="*/ 5109 w 9739"/>
                <a:gd name="connsiteY105" fmla="*/ 7219 h 10000"/>
                <a:gd name="connsiteX106" fmla="*/ 5083 w 9739"/>
                <a:gd name="connsiteY106" fmla="*/ 7173 h 10000"/>
                <a:gd name="connsiteX107" fmla="*/ 4994 w 9739"/>
                <a:gd name="connsiteY107" fmla="*/ 7132 h 10000"/>
                <a:gd name="connsiteX108" fmla="*/ 4639 w 9739"/>
                <a:gd name="connsiteY108" fmla="*/ 7052 h 10000"/>
                <a:gd name="connsiteX109" fmla="*/ 4430 w 9739"/>
                <a:gd name="connsiteY109" fmla="*/ 7065 h 10000"/>
                <a:gd name="connsiteX110" fmla="*/ 4347 w 9739"/>
                <a:gd name="connsiteY110" fmla="*/ 7042 h 10000"/>
                <a:gd name="connsiteX111" fmla="*/ 4435 w 9739"/>
                <a:gd name="connsiteY111" fmla="*/ 7022 h 10000"/>
                <a:gd name="connsiteX112" fmla="*/ 4501 w 9739"/>
                <a:gd name="connsiteY112" fmla="*/ 6979 h 10000"/>
                <a:gd name="connsiteX113" fmla="*/ 4600 w 9739"/>
                <a:gd name="connsiteY113" fmla="*/ 6993 h 10000"/>
                <a:gd name="connsiteX114" fmla="*/ 4719 w 9739"/>
                <a:gd name="connsiteY114" fmla="*/ 6981 h 10000"/>
                <a:gd name="connsiteX115" fmla="*/ 4896 w 9739"/>
                <a:gd name="connsiteY115" fmla="*/ 6995 h 10000"/>
                <a:gd name="connsiteX116" fmla="*/ 4917 w 9739"/>
                <a:gd name="connsiteY116" fmla="*/ 6989 h 10000"/>
                <a:gd name="connsiteX117" fmla="*/ 5056 w 9739"/>
                <a:gd name="connsiteY117" fmla="*/ 7056 h 10000"/>
                <a:gd name="connsiteX118" fmla="*/ 5158 w 9739"/>
                <a:gd name="connsiteY118" fmla="*/ 7032 h 10000"/>
                <a:gd name="connsiteX119" fmla="*/ 5166 w 9739"/>
                <a:gd name="connsiteY119" fmla="*/ 7010 h 10000"/>
                <a:gd name="connsiteX120" fmla="*/ 5259 w 9739"/>
                <a:gd name="connsiteY120" fmla="*/ 7048 h 10000"/>
                <a:gd name="connsiteX121" fmla="*/ 5384 w 9739"/>
                <a:gd name="connsiteY121" fmla="*/ 7069 h 10000"/>
                <a:gd name="connsiteX122" fmla="*/ 5432 w 9739"/>
                <a:gd name="connsiteY122" fmla="*/ 7030 h 10000"/>
                <a:gd name="connsiteX123" fmla="*/ 5472 w 9739"/>
                <a:gd name="connsiteY123" fmla="*/ 7052 h 10000"/>
                <a:gd name="connsiteX124" fmla="*/ 5529 w 9739"/>
                <a:gd name="connsiteY124" fmla="*/ 7126 h 10000"/>
                <a:gd name="connsiteX125" fmla="*/ 5649 w 9739"/>
                <a:gd name="connsiteY125" fmla="*/ 7144 h 10000"/>
                <a:gd name="connsiteX126" fmla="*/ 6137 w 9739"/>
                <a:gd name="connsiteY126" fmla="*/ 7034 h 10000"/>
                <a:gd name="connsiteX127" fmla="*/ 6376 w 9739"/>
                <a:gd name="connsiteY127" fmla="*/ 6879 h 10000"/>
                <a:gd name="connsiteX128" fmla="*/ 6433 w 9739"/>
                <a:gd name="connsiteY128" fmla="*/ 6765 h 10000"/>
                <a:gd name="connsiteX129" fmla="*/ 6346 w 9739"/>
                <a:gd name="connsiteY129" fmla="*/ 6663 h 10000"/>
                <a:gd name="connsiteX130" fmla="*/ 6163 w 9739"/>
                <a:gd name="connsiteY130" fmla="*/ 6602 h 10000"/>
                <a:gd name="connsiteX131" fmla="*/ 6034 w 9739"/>
                <a:gd name="connsiteY131" fmla="*/ 6502 h 10000"/>
                <a:gd name="connsiteX132" fmla="*/ 6155 w 9739"/>
                <a:gd name="connsiteY132" fmla="*/ 6498 h 10000"/>
                <a:gd name="connsiteX133" fmla="*/ 6146 w 9739"/>
                <a:gd name="connsiteY133" fmla="*/ 6474 h 10000"/>
                <a:gd name="connsiteX134" fmla="*/ 5832 w 9739"/>
                <a:gd name="connsiteY134" fmla="*/ 6403 h 10000"/>
                <a:gd name="connsiteX135" fmla="*/ 5819 w 9739"/>
                <a:gd name="connsiteY135" fmla="*/ 6339 h 10000"/>
                <a:gd name="connsiteX136" fmla="*/ 5760 w 9739"/>
                <a:gd name="connsiteY136" fmla="*/ 6272 h 10000"/>
                <a:gd name="connsiteX137" fmla="*/ 5511 w 9739"/>
                <a:gd name="connsiteY137" fmla="*/ 6284 h 10000"/>
                <a:gd name="connsiteX138" fmla="*/ 5423 w 9739"/>
                <a:gd name="connsiteY138" fmla="*/ 6213 h 10000"/>
                <a:gd name="connsiteX139" fmla="*/ 5371 w 9739"/>
                <a:gd name="connsiteY139" fmla="*/ 6209 h 10000"/>
                <a:gd name="connsiteX140" fmla="*/ 5371 w 9739"/>
                <a:gd name="connsiteY140" fmla="*/ 6238 h 10000"/>
                <a:gd name="connsiteX141" fmla="*/ 5259 w 9739"/>
                <a:gd name="connsiteY141" fmla="*/ 6358 h 10000"/>
                <a:gd name="connsiteX142" fmla="*/ 5139 w 9739"/>
                <a:gd name="connsiteY142" fmla="*/ 6429 h 10000"/>
                <a:gd name="connsiteX143" fmla="*/ 4762 w 9739"/>
                <a:gd name="connsiteY143" fmla="*/ 6551 h 10000"/>
                <a:gd name="connsiteX144" fmla="*/ 4630 w 9739"/>
                <a:gd name="connsiteY144" fmla="*/ 6547 h 10000"/>
                <a:gd name="connsiteX145" fmla="*/ 4449 w 9739"/>
                <a:gd name="connsiteY145" fmla="*/ 6565 h 10000"/>
                <a:gd name="connsiteX146" fmla="*/ 4347 w 9739"/>
                <a:gd name="connsiteY146" fmla="*/ 6547 h 10000"/>
                <a:gd name="connsiteX147" fmla="*/ 4479 w 9739"/>
                <a:gd name="connsiteY147" fmla="*/ 6513 h 10000"/>
                <a:gd name="connsiteX148" fmla="*/ 4652 w 9739"/>
                <a:gd name="connsiteY148" fmla="*/ 6498 h 10000"/>
                <a:gd name="connsiteX149" fmla="*/ 4795 w 9739"/>
                <a:gd name="connsiteY149" fmla="*/ 6441 h 10000"/>
                <a:gd name="connsiteX150" fmla="*/ 4935 w 9739"/>
                <a:gd name="connsiteY150" fmla="*/ 6415 h 10000"/>
                <a:gd name="connsiteX151" fmla="*/ 5198 w 9739"/>
                <a:gd name="connsiteY151" fmla="*/ 6317 h 10000"/>
                <a:gd name="connsiteX152" fmla="*/ 5246 w 9739"/>
                <a:gd name="connsiteY152" fmla="*/ 6252 h 10000"/>
                <a:gd name="connsiteX153" fmla="*/ 5250 w 9739"/>
                <a:gd name="connsiteY153" fmla="*/ 6168 h 10000"/>
                <a:gd name="connsiteX154" fmla="*/ 5131 w 9739"/>
                <a:gd name="connsiteY154" fmla="*/ 6154 h 10000"/>
                <a:gd name="connsiteX155" fmla="*/ 5184 w 9739"/>
                <a:gd name="connsiteY155" fmla="*/ 6103 h 10000"/>
                <a:gd name="connsiteX156" fmla="*/ 5202 w 9739"/>
                <a:gd name="connsiteY156" fmla="*/ 6038 h 10000"/>
                <a:gd name="connsiteX157" fmla="*/ 5152 w 9739"/>
                <a:gd name="connsiteY157" fmla="*/ 5977 h 10000"/>
                <a:gd name="connsiteX158" fmla="*/ 5122 w 9739"/>
                <a:gd name="connsiteY158" fmla="*/ 5533 h 10000"/>
                <a:gd name="connsiteX159" fmla="*/ 5194 w 9739"/>
                <a:gd name="connsiteY159" fmla="*/ 5437 h 10000"/>
                <a:gd name="connsiteX160" fmla="*/ 5175 w 9739"/>
                <a:gd name="connsiteY160" fmla="*/ 5398 h 10000"/>
                <a:gd name="connsiteX161" fmla="*/ 5384 w 9739"/>
                <a:gd name="connsiteY161" fmla="*/ 5455 h 10000"/>
                <a:gd name="connsiteX162" fmla="*/ 5397 w 9739"/>
                <a:gd name="connsiteY162" fmla="*/ 5402 h 10000"/>
                <a:gd name="connsiteX163" fmla="*/ 5353 w 9739"/>
                <a:gd name="connsiteY163" fmla="*/ 5264 h 10000"/>
                <a:gd name="connsiteX164" fmla="*/ 5502 w 9739"/>
                <a:gd name="connsiteY164" fmla="*/ 5019 h 10000"/>
                <a:gd name="connsiteX165" fmla="*/ 5410 w 9739"/>
                <a:gd name="connsiteY165" fmla="*/ 4960 h 10000"/>
                <a:gd name="connsiteX166" fmla="*/ 5375 w 9739"/>
                <a:gd name="connsiteY166" fmla="*/ 4905 h 10000"/>
                <a:gd name="connsiteX167" fmla="*/ 5388 w 9739"/>
                <a:gd name="connsiteY167" fmla="*/ 4816 h 10000"/>
                <a:gd name="connsiteX168" fmla="*/ 5606 w 9739"/>
                <a:gd name="connsiteY168" fmla="*/ 4875 h 10000"/>
                <a:gd name="connsiteX169" fmla="*/ 5614 w 9739"/>
                <a:gd name="connsiteY169" fmla="*/ 4858 h 10000"/>
                <a:gd name="connsiteX170" fmla="*/ 5675 w 9739"/>
                <a:gd name="connsiteY170" fmla="*/ 4842 h 10000"/>
                <a:gd name="connsiteX171" fmla="*/ 5760 w 9739"/>
                <a:gd name="connsiteY171" fmla="*/ 4785 h 10000"/>
                <a:gd name="connsiteX172" fmla="*/ 5773 w 9739"/>
                <a:gd name="connsiteY172" fmla="*/ 4769 h 10000"/>
                <a:gd name="connsiteX173" fmla="*/ 5756 w 9739"/>
                <a:gd name="connsiteY173" fmla="*/ 4748 h 10000"/>
                <a:gd name="connsiteX174" fmla="*/ 5799 w 9739"/>
                <a:gd name="connsiteY174" fmla="*/ 4647 h 10000"/>
                <a:gd name="connsiteX175" fmla="*/ 5747 w 9739"/>
                <a:gd name="connsiteY175" fmla="*/ 4581 h 10000"/>
                <a:gd name="connsiteX176" fmla="*/ 5756 w 9739"/>
                <a:gd name="connsiteY176" fmla="*/ 4528 h 10000"/>
                <a:gd name="connsiteX177" fmla="*/ 5786 w 9739"/>
                <a:gd name="connsiteY177" fmla="*/ 4590 h 10000"/>
                <a:gd name="connsiteX178" fmla="*/ 5906 w 9739"/>
                <a:gd name="connsiteY178" fmla="*/ 4636 h 10000"/>
                <a:gd name="connsiteX179" fmla="*/ 5956 w 9739"/>
                <a:gd name="connsiteY179" fmla="*/ 4630 h 10000"/>
                <a:gd name="connsiteX180" fmla="*/ 6034 w 9739"/>
                <a:gd name="connsiteY180" fmla="*/ 4569 h 10000"/>
                <a:gd name="connsiteX181" fmla="*/ 6119 w 9739"/>
                <a:gd name="connsiteY181" fmla="*/ 4594 h 10000"/>
                <a:gd name="connsiteX182" fmla="*/ 6142 w 9739"/>
                <a:gd name="connsiteY182" fmla="*/ 4545 h 10000"/>
                <a:gd name="connsiteX183" fmla="*/ 6199 w 9739"/>
                <a:gd name="connsiteY183" fmla="*/ 4512 h 10000"/>
                <a:gd name="connsiteX184" fmla="*/ 6043 w 9739"/>
                <a:gd name="connsiteY184" fmla="*/ 4477 h 10000"/>
                <a:gd name="connsiteX185" fmla="*/ 6155 w 9739"/>
                <a:gd name="connsiteY185" fmla="*/ 4484 h 10000"/>
                <a:gd name="connsiteX186" fmla="*/ 6269 w 9739"/>
                <a:gd name="connsiteY186" fmla="*/ 4447 h 10000"/>
                <a:gd name="connsiteX187" fmla="*/ 6265 w 9739"/>
                <a:gd name="connsiteY187" fmla="*/ 4422 h 10000"/>
                <a:gd name="connsiteX188" fmla="*/ 6372 w 9739"/>
                <a:gd name="connsiteY188" fmla="*/ 4398 h 10000"/>
                <a:gd name="connsiteX189" fmla="*/ 6381 w 9739"/>
                <a:gd name="connsiteY189" fmla="*/ 4337 h 10000"/>
                <a:gd name="connsiteX190" fmla="*/ 6465 w 9739"/>
                <a:gd name="connsiteY190" fmla="*/ 4325 h 10000"/>
                <a:gd name="connsiteX191" fmla="*/ 6473 w 9739"/>
                <a:gd name="connsiteY191" fmla="*/ 4253 h 10000"/>
                <a:gd name="connsiteX192" fmla="*/ 6561 w 9739"/>
                <a:gd name="connsiteY192" fmla="*/ 4245 h 10000"/>
                <a:gd name="connsiteX193" fmla="*/ 6699 w 9739"/>
                <a:gd name="connsiteY193" fmla="*/ 4260 h 10000"/>
                <a:gd name="connsiteX194" fmla="*/ 6849 w 9739"/>
                <a:gd name="connsiteY194" fmla="*/ 4202 h 10000"/>
                <a:gd name="connsiteX195" fmla="*/ 6903 w 9739"/>
                <a:gd name="connsiteY195" fmla="*/ 4137 h 10000"/>
                <a:gd name="connsiteX196" fmla="*/ 7089 w 9739"/>
                <a:gd name="connsiteY196" fmla="*/ 4070 h 10000"/>
                <a:gd name="connsiteX197" fmla="*/ 7182 w 9739"/>
                <a:gd name="connsiteY197" fmla="*/ 4111 h 10000"/>
                <a:gd name="connsiteX198" fmla="*/ 7324 w 9739"/>
                <a:gd name="connsiteY198" fmla="*/ 4066 h 10000"/>
                <a:gd name="connsiteX199" fmla="*/ 7359 w 9739"/>
                <a:gd name="connsiteY199" fmla="*/ 4009 h 10000"/>
                <a:gd name="connsiteX200" fmla="*/ 7466 w 9739"/>
                <a:gd name="connsiteY200" fmla="*/ 3970 h 10000"/>
                <a:gd name="connsiteX201" fmla="*/ 7558 w 9739"/>
                <a:gd name="connsiteY201" fmla="*/ 3987 h 10000"/>
                <a:gd name="connsiteX202" fmla="*/ 7616 w 9739"/>
                <a:gd name="connsiteY202" fmla="*/ 3958 h 10000"/>
                <a:gd name="connsiteX203" fmla="*/ 7776 w 9739"/>
                <a:gd name="connsiteY203" fmla="*/ 3917 h 10000"/>
                <a:gd name="connsiteX204" fmla="*/ 7842 w 9739"/>
                <a:gd name="connsiteY204" fmla="*/ 3864 h 10000"/>
                <a:gd name="connsiteX205" fmla="*/ 7931 w 9739"/>
                <a:gd name="connsiteY205" fmla="*/ 3842 h 10000"/>
                <a:gd name="connsiteX206" fmla="*/ 8423 w 9739"/>
                <a:gd name="connsiteY206" fmla="*/ 3522 h 10000"/>
                <a:gd name="connsiteX207" fmla="*/ 9722 w 9739"/>
                <a:gd name="connsiteY207" fmla="*/ 1465 h 10000"/>
                <a:gd name="connsiteX208" fmla="*/ 9676 w 9739"/>
                <a:gd name="connsiteY208" fmla="*/ 1379 h 10000"/>
                <a:gd name="connsiteX209" fmla="*/ 9739 w 9739"/>
                <a:gd name="connsiteY209" fmla="*/ 1271 h 10000"/>
                <a:gd name="connsiteX210" fmla="*/ 9709 w 9739"/>
                <a:gd name="connsiteY210" fmla="*/ 1194 h 10000"/>
                <a:gd name="connsiteX211" fmla="*/ 9650 w 9739"/>
                <a:gd name="connsiteY211" fmla="*/ 1159 h 10000"/>
                <a:gd name="connsiteX212" fmla="*/ 9601 w 9739"/>
                <a:gd name="connsiteY212" fmla="*/ 978 h 10000"/>
                <a:gd name="connsiteX213" fmla="*/ 9659 w 9739"/>
                <a:gd name="connsiteY213" fmla="*/ 831 h 10000"/>
                <a:gd name="connsiteX214" fmla="*/ 9234 w 9739"/>
                <a:gd name="connsiteY214" fmla="*/ 517 h 10000"/>
                <a:gd name="connsiteX215" fmla="*/ 9025 w 9739"/>
                <a:gd name="connsiteY215" fmla="*/ 440 h 10000"/>
                <a:gd name="connsiteX216" fmla="*/ 8639 w 9739"/>
                <a:gd name="connsiteY216" fmla="*/ 389 h 10000"/>
                <a:gd name="connsiteX217" fmla="*/ 7842 w 9739"/>
                <a:gd name="connsiteY217" fmla="*/ 26 h 10000"/>
                <a:gd name="connsiteX218" fmla="*/ 7816 w 9739"/>
                <a:gd name="connsiteY218" fmla="*/ 2 h 10000"/>
                <a:gd name="connsiteX219" fmla="*/ 7545 w 9739"/>
                <a:gd name="connsiteY219" fmla="*/ 0 h 10000"/>
                <a:gd name="connsiteX220" fmla="*/ 7483 w 9739"/>
                <a:gd name="connsiteY220" fmla="*/ 14 h 10000"/>
                <a:gd name="connsiteX221" fmla="*/ 7497 w 9739"/>
                <a:gd name="connsiteY221" fmla="*/ 61 h 10000"/>
                <a:gd name="connsiteX222" fmla="*/ 7550 w 9739"/>
                <a:gd name="connsiteY222" fmla="*/ 86 h 10000"/>
                <a:gd name="connsiteX223" fmla="*/ 7564 w 9739"/>
                <a:gd name="connsiteY223" fmla="*/ 139 h 10000"/>
                <a:gd name="connsiteX224" fmla="*/ 7545 w 9739"/>
                <a:gd name="connsiteY224" fmla="*/ 181 h 10000"/>
                <a:gd name="connsiteX225" fmla="*/ 7497 w 9739"/>
                <a:gd name="connsiteY225" fmla="*/ 208 h 10000"/>
                <a:gd name="connsiteX226" fmla="*/ 7461 w 9739"/>
                <a:gd name="connsiteY226" fmla="*/ 283 h 10000"/>
                <a:gd name="connsiteX227" fmla="*/ 7395 w 9739"/>
                <a:gd name="connsiteY227" fmla="*/ 336 h 10000"/>
                <a:gd name="connsiteX228" fmla="*/ 7408 w 9739"/>
                <a:gd name="connsiteY228" fmla="*/ 387 h 10000"/>
                <a:gd name="connsiteX229" fmla="*/ 7510 w 9739"/>
                <a:gd name="connsiteY229" fmla="*/ 434 h 10000"/>
                <a:gd name="connsiteX230" fmla="*/ 7444 w 9739"/>
                <a:gd name="connsiteY230" fmla="*/ 475 h 10000"/>
                <a:gd name="connsiteX231" fmla="*/ 7346 w 9739"/>
                <a:gd name="connsiteY231" fmla="*/ 485 h 10000"/>
                <a:gd name="connsiteX232" fmla="*/ 6531 w 9739"/>
                <a:gd name="connsiteY232" fmla="*/ 387 h 10000"/>
                <a:gd name="connsiteX233" fmla="*/ 6433 w 9739"/>
                <a:gd name="connsiteY233" fmla="*/ 395 h 10000"/>
                <a:gd name="connsiteX234" fmla="*/ 6376 w 9739"/>
                <a:gd name="connsiteY234" fmla="*/ 414 h 10000"/>
                <a:gd name="connsiteX235" fmla="*/ 6318 w 9739"/>
                <a:gd name="connsiteY235" fmla="*/ 462 h 10000"/>
                <a:gd name="connsiteX236" fmla="*/ 6328 w 9739"/>
                <a:gd name="connsiteY236" fmla="*/ 581 h 10000"/>
                <a:gd name="connsiteX237" fmla="*/ 6238 w 9739"/>
                <a:gd name="connsiteY237" fmla="*/ 735 h 10000"/>
                <a:gd name="connsiteX238" fmla="*/ 6128 w 9739"/>
                <a:gd name="connsiteY238" fmla="*/ 815 h 10000"/>
                <a:gd name="connsiteX239" fmla="*/ 6084 w 9739"/>
                <a:gd name="connsiteY239" fmla="*/ 805 h 10000"/>
                <a:gd name="connsiteX240" fmla="*/ 5982 w 9739"/>
                <a:gd name="connsiteY240" fmla="*/ 739 h 10000"/>
                <a:gd name="connsiteX241" fmla="*/ 5853 w 9739"/>
                <a:gd name="connsiteY241" fmla="*/ 705 h 10000"/>
                <a:gd name="connsiteX242" fmla="*/ 5715 w 9739"/>
                <a:gd name="connsiteY242" fmla="*/ 715 h 10000"/>
                <a:gd name="connsiteX243" fmla="*/ 5393 w 9739"/>
                <a:gd name="connsiteY243" fmla="*/ 866 h 10000"/>
                <a:gd name="connsiteX244" fmla="*/ 5308 w 9739"/>
                <a:gd name="connsiteY244" fmla="*/ 1017 h 10000"/>
                <a:gd name="connsiteX245" fmla="*/ 5065 w 9739"/>
                <a:gd name="connsiteY245" fmla="*/ 1153 h 10000"/>
                <a:gd name="connsiteX246" fmla="*/ 5020 w 9739"/>
                <a:gd name="connsiteY246" fmla="*/ 1222 h 10000"/>
                <a:gd name="connsiteX247" fmla="*/ 5148 w 9739"/>
                <a:gd name="connsiteY247" fmla="*/ 1344 h 10000"/>
                <a:gd name="connsiteX248" fmla="*/ 5162 w 9739"/>
                <a:gd name="connsiteY248" fmla="*/ 1412 h 10000"/>
                <a:gd name="connsiteX249" fmla="*/ 4497 w 9739"/>
                <a:gd name="connsiteY249" fmla="*/ 1813 h 10000"/>
                <a:gd name="connsiteX250" fmla="*/ 4293 w 9739"/>
                <a:gd name="connsiteY250" fmla="*/ 2070 h 10000"/>
                <a:gd name="connsiteX251" fmla="*/ 4073 w 9739"/>
                <a:gd name="connsiteY251" fmla="*/ 2135 h 10000"/>
                <a:gd name="connsiteX252" fmla="*/ 3934 w 9739"/>
                <a:gd name="connsiteY252" fmla="*/ 2131 h 10000"/>
                <a:gd name="connsiteX253" fmla="*/ 3851 w 9739"/>
                <a:gd name="connsiteY253" fmla="*/ 2153 h 10000"/>
                <a:gd name="connsiteX254" fmla="*/ 3620 w 9739"/>
                <a:gd name="connsiteY254" fmla="*/ 2793 h 10000"/>
                <a:gd name="connsiteX255" fmla="*/ 3089 w 9739"/>
                <a:gd name="connsiteY255" fmla="*/ 3166 h 10000"/>
                <a:gd name="connsiteX256" fmla="*/ 3093 w 9739"/>
                <a:gd name="connsiteY256" fmla="*/ 3225 h 10000"/>
                <a:gd name="connsiteX257" fmla="*/ 3328 w 9739"/>
                <a:gd name="connsiteY257" fmla="*/ 3392 h 10000"/>
                <a:gd name="connsiteX258" fmla="*/ 3253 w 9739"/>
                <a:gd name="connsiteY258" fmla="*/ 3573 h 10000"/>
                <a:gd name="connsiteX259" fmla="*/ 3115 w 9739"/>
                <a:gd name="connsiteY259" fmla="*/ 3640 h 10000"/>
                <a:gd name="connsiteX260" fmla="*/ 2703 w 9739"/>
                <a:gd name="connsiteY260" fmla="*/ 3595 h 10000"/>
                <a:gd name="connsiteX261" fmla="*/ 2418 w 9739"/>
                <a:gd name="connsiteY261" fmla="*/ 3620 h 10000"/>
                <a:gd name="connsiteX262" fmla="*/ 2189 w 9739"/>
                <a:gd name="connsiteY262" fmla="*/ 3673 h 10000"/>
                <a:gd name="connsiteX263" fmla="*/ 1821 w 9739"/>
                <a:gd name="connsiteY263" fmla="*/ 3840 h 10000"/>
                <a:gd name="connsiteX264" fmla="*/ 1625 w 9739"/>
                <a:gd name="connsiteY264" fmla="*/ 4042 h 10000"/>
                <a:gd name="connsiteX265" fmla="*/ 1643 w 9739"/>
                <a:gd name="connsiteY265" fmla="*/ 4154 h 10000"/>
                <a:gd name="connsiteX266" fmla="*/ 1711 w 9739"/>
                <a:gd name="connsiteY266" fmla="*/ 4241 h 10000"/>
                <a:gd name="connsiteX267" fmla="*/ 1763 w 9739"/>
                <a:gd name="connsiteY267" fmla="*/ 4276 h 10000"/>
                <a:gd name="connsiteX268" fmla="*/ 1666 w 9739"/>
                <a:gd name="connsiteY268" fmla="*/ 4331 h 10000"/>
                <a:gd name="connsiteX269" fmla="*/ 1458 w 9739"/>
                <a:gd name="connsiteY269" fmla="*/ 4710 h 10000"/>
                <a:gd name="connsiteX270" fmla="*/ 1498 w 9739"/>
                <a:gd name="connsiteY270" fmla="*/ 4732 h 10000"/>
                <a:gd name="connsiteX271" fmla="*/ 1529 w 9739"/>
                <a:gd name="connsiteY271" fmla="*/ 4828 h 10000"/>
                <a:gd name="connsiteX272" fmla="*/ 1431 w 9739"/>
                <a:gd name="connsiteY272" fmla="*/ 5227 h 10000"/>
                <a:gd name="connsiteX273" fmla="*/ 1529 w 9739"/>
                <a:gd name="connsiteY273" fmla="*/ 5329 h 10000"/>
                <a:gd name="connsiteX274" fmla="*/ 1794 w 9739"/>
                <a:gd name="connsiteY274" fmla="*/ 5441 h 10000"/>
                <a:gd name="connsiteX275" fmla="*/ 1807 w 9739"/>
                <a:gd name="connsiteY275" fmla="*/ 5578 h 10000"/>
                <a:gd name="connsiteX276" fmla="*/ 1694 w 9739"/>
                <a:gd name="connsiteY276" fmla="*/ 5690 h 10000"/>
                <a:gd name="connsiteX277" fmla="*/ 1529 w 9739"/>
                <a:gd name="connsiteY277" fmla="*/ 5759 h 10000"/>
                <a:gd name="connsiteX278" fmla="*/ 1311 w 9739"/>
                <a:gd name="connsiteY278" fmla="*/ 5787 h 10000"/>
                <a:gd name="connsiteX279" fmla="*/ 1254 w 9739"/>
                <a:gd name="connsiteY279" fmla="*/ 5826 h 10000"/>
                <a:gd name="connsiteX280" fmla="*/ 1382 w 9739"/>
                <a:gd name="connsiteY280" fmla="*/ 5920 h 10000"/>
                <a:gd name="connsiteX281" fmla="*/ 1454 w 9739"/>
                <a:gd name="connsiteY281" fmla="*/ 6142 h 10000"/>
                <a:gd name="connsiteX282" fmla="*/ 1289 w 9739"/>
                <a:gd name="connsiteY282" fmla="*/ 6333 h 10000"/>
                <a:gd name="connsiteX283" fmla="*/ 1347 w 9739"/>
                <a:gd name="connsiteY283" fmla="*/ 6392 h 10000"/>
                <a:gd name="connsiteX284" fmla="*/ 1294 w 9739"/>
                <a:gd name="connsiteY284" fmla="*/ 6492 h 10000"/>
                <a:gd name="connsiteX285" fmla="*/ 1188 w 9739"/>
                <a:gd name="connsiteY285" fmla="*/ 6561 h 10000"/>
                <a:gd name="connsiteX286" fmla="*/ 771 w 9739"/>
                <a:gd name="connsiteY286" fmla="*/ 6614 h 10000"/>
                <a:gd name="connsiteX287" fmla="*/ 745 w 9739"/>
                <a:gd name="connsiteY287" fmla="*/ 6706 h 10000"/>
                <a:gd name="connsiteX288" fmla="*/ 519 w 9739"/>
                <a:gd name="connsiteY288" fmla="*/ 6843 h 10000"/>
                <a:gd name="connsiteX289" fmla="*/ 549 w 9739"/>
                <a:gd name="connsiteY289" fmla="*/ 7040 h 10000"/>
                <a:gd name="connsiteX290" fmla="*/ 359 w 9739"/>
                <a:gd name="connsiteY290" fmla="*/ 7293 h 10000"/>
                <a:gd name="connsiteX291" fmla="*/ 230 w 9739"/>
                <a:gd name="connsiteY291" fmla="*/ 7323 h 10000"/>
                <a:gd name="connsiteX292" fmla="*/ 177 w 9739"/>
                <a:gd name="connsiteY292" fmla="*/ 7262 h 10000"/>
                <a:gd name="connsiteX293" fmla="*/ 111 w 9739"/>
                <a:gd name="connsiteY293" fmla="*/ 7354 h 10000"/>
                <a:gd name="connsiteX294" fmla="*/ 155 w 9739"/>
                <a:gd name="connsiteY294" fmla="*/ 7197 h 10000"/>
                <a:gd name="connsiteX295" fmla="*/ 128 w 9739"/>
                <a:gd name="connsiteY295" fmla="*/ 7166 h 10000"/>
                <a:gd name="connsiteX0" fmla="*/ 131 w 10088"/>
                <a:gd name="connsiteY0" fmla="*/ 7166 h 10000"/>
                <a:gd name="connsiteX1" fmla="*/ 0 w 10088"/>
                <a:gd name="connsiteY1" fmla="*/ 7248 h 10000"/>
                <a:gd name="connsiteX2" fmla="*/ 0 w 10088"/>
                <a:gd name="connsiteY2" fmla="*/ 7651 h 10000"/>
                <a:gd name="connsiteX3" fmla="*/ 73 w 10088"/>
                <a:gd name="connsiteY3" fmla="*/ 7663 h 10000"/>
                <a:gd name="connsiteX4" fmla="*/ 90 w 10088"/>
                <a:gd name="connsiteY4" fmla="*/ 7694 h 10000"/>
                <a:gd name="connsiteX5" fmla="*/ 86 w 10088"/>
                <a:gd name="connsiteY5" fmla="*/ 7749 h 10000"/>
                <a:gd name="connsiteX6" fmla="*/ 59 w 10088"/>
                <a:gd name="connsiteY6" fmla="*/ 7773 h 10000"/>
                <a:gd name="connsiteX7" fmla="*/ 168 w 10088"/>
                <a:gd name="connsiteY7" fmla="*/ 7727 h 10000"/>
                <a:gd name="connsiteX8" fmla="*/ 215 w 10088"/>
                <a:gd name="connsiteY8" fmla="*/ 7680 h 10000"/>
                <a:gd name="connsiteX9" fmla="*/ 272 w 10088"/>
                <a:gd name="connsiteY9" fmla="*/ 7712 h 10000"/>
                <a:gd name="connsiteX10" fmla="*/ 209 w 10088"/>
                <a:gd name="connsiteY10" fmla="*/ 7778 h 10000"/>
                <a:gd name="connsiteX11" fmla="*/ 277 w 10088"/>
                <a:gd name="connsiteY11" fmla="*/ 7780 h 10000"/>
                <a:gd name="connsiteX12" fmla="*/ 309 w 10088"/>
                <a:gd name="connsiteY12" fmla="*/ 7796 h 10000"/>
                <a:gd name="connsiteX13" fmla="*/ 223 w 10088"/>
                <a:gd name="connsiteY13" fmla="*/ 7818 h 10000"/>
                <a:gd name="connsiteX14" fmla="*/ 86 w 10088"/>
                <a:gd name="connsiteY14" fmla="*/ 7886 h 10000"/>
                <a:gd name="connsiteX15" fmla="*/ 329 w 10088"/>
                <a:gd name="connsiteY15" fmla="*/ 7938 h 10000"/>
                <a:gd name="connsiteX16" fmla="*/ 359 w 10088"/>
                <a:gd name="connsiteY16" fmla="*/ 8014 h 10000"/>
                <a:gd name="connsiteX17" fmla="*/ 277 w 10088"/>
                <a:gd name="connsiteY17" fmla="*/ 8126 h 10000"/>
                <a:gd name="connsiteX18" fmla="*/ 456 w 10088"/>
                <a:gd name="connsiteY18" fmla="*/ 8118 h 10000"/>
                <a:gd name="connsiteX19" fmla="*/ 469 w 10088"/>
                <a:gd name="connsiteY19" fmla="*/ 8203 h 10000"/>
                <a:gd name="connsiteX20" fmla="*/ 350 w 10088"/>
                <a:gd name="connsiteY20" fmla="*/ 8260 h 10000"/>
                <a:gd name="connsiteX21" fmla="*/ 369 w 10088"/>
                <a:gd name="connsiteY21" fmla="*/ 8370 h 10000"/>
                <a:gd name="connsiteX22" fmla="*/ 323 w 10088"/>
                <a:gd name="connsiteY22" fmla="*/ 8456 h 10000"/>
                <a:gd name="connsiteX23" fmla="*/ 464 w 10088"/>
                <a:gd name="connsiteY23" fmla="*/ 8464 h 10000"/>
                <a:gd name="connsiteX24" fmla="*/ 601 w 10088"/>
                <a:gd name="connsiteY24" fmla="*/ 8792 h 10000"/>
                <a:gd name="connsiteX25" fmla="*/ 760 w 10088"/>
                <a:gd name="connsiteY25" fmla="*/ 8876 h 10000"/>
                <a:gd name="connsiteX26" fmla="*/ 828 w 10088"/>
                <a:gd name="connsiteY26" fmla="*/ 8965 h 10000"/>
                <a:gd name="connsiteX27" fmla="*/ 1001 w 10088"/>
                <a:gd name="connsiteY27" fmla="*/ 9030 h 10000"/>
                <a:gd name="connsiteX28" fmla="*/ 1111 w 10088"/>
                <a:gd name="connsiteY28" fmla="*/ 9112 h 10000"/>
                <a:gd name="connsiteX29" fmla="*/ 1097 w 10088"/>
                <a:gd name="connsiteY29" fmla="*/ 9171 h 10000"/>
                <a:gd name="connsiteX30" fmla="*/ 988 w 10088"/>
                <a:gd name="connsiteY30" fmla="*/ 9193 h 10000"/>
                <a:gd name="connsiteX31" fmla="*/ 869 w 10088"/>
                <a:gd name="connsiteY31" fmla="*/ 9179 h 10000"/>
                <a:gd name="connsiteX32" fmla="*/ 832 w 10088"/>
                <a:gd name="connsiteY32" fmla="*/ 9204 h 10000"/>
                <a:gd name="connsiteX33" fmla="*/ 923 w 10088"/>
                <a:gd name="connsiteY33" fmla="*/ 9332 h 10000"/>
                <a:gd name="connsiteX34" fmla="*/ 796 w 10088"/>
                <a:gd name="connsiteY34" fmla="*/ 9322 h 10000"/>
                <a:gd name="connsiteX35" fmla="*/ 687 w 10088"/>
                <a:gd name="connsiteY35" fmla="*/ 9291 h 10000"/>
                <a:gd name="connsiteX36" fmla="*/ 668 w 10088"/>
                <a:gd name="connsiteY36" fmla="*/ 9338 h 10000"/>
                <a:gd name="connsiteX37" fmla="*/ 1028 w 10088"/>
                <a:gd name="connsiteY37" fmla="*/ 9776 h 10000"/>
                <a:gd name="connsiteX38" fmla="*/ 970 w 10088"/>
                <a:gd name="connsiteY38" fmla="*/ 9817 h 10000"/>
                <a:gd name="connsiteX39" fmla="*/ 929 w 10088"/>
                <a:gd name="connsiteY39" fmla="*/ 9902 h 10000"/>
                <a:gd name="connsiteX40" fmla="*/ 878 w 10088"/>
                <a:gd name="connsiteY40" fmla="*/ 9908 h 10000"/>
                <a:gd name="connsiteX41" fmla="*/ 846 w 10088"/>
                <a:gd name="connsiteY41" fmla="*/ 9945 h 10000"/>
                <a:gd name="connsiteX42" fmla="*/ 1064 w 10088"/>
                <a:gd name="connsiteY42" fmla="*/ 9949 h 10000"/>
                <a:gd name="connsiteX43" fmla="*/ 1256 w 10088"/>
                <a:gd name="connsiteY43" fmla="*/ 9986 h 10000"/>
                <a:gd name="connsiteX44" fmla="*/ 1574 w 10088"/>
                <a:gd name="connsiteY44" fmla="*/ 9947 h 10000"/>
                <a:gd name="connsiteX45" fmla="*/ 1860 w 10088"/>
                <a:gd name="connsiteY45" fmla="*/ 9953 h 10000"/>
                <a:gd name="connsiteX46" fmla="*/ 2030 w 10088"/>
                <a:gd name="connsiteY46" fmla="*/ 10000 h 10000"/>
                <a:gd name="connsiteX47" fmla="*/ 2121 w 10088"/>
                <a:gd name="connsiteY47" fmla="*/ 9969 h 10000"/>
                <a:gd name="connsiteX48" fmla="*/ 2211 w 10088"/>
                <a:gd name="connsiteY48" fmla="*/ 9868 h 10000"/>
                <a:gd name="connsiteX49" fmla="*/ 2188 w 10088"/>
                <a:gd name="connsiteY49" fmla="*/ 9703 h 10000"/>
                <a:gd name="connsiteX50" fmla="*/ 2407 w 10088"/>
                <a:gd name="connsiteY50" fmla="*/ 9517 h 10000"/>
                <a:gd name="connsiteX51" fmla="*/ 2566 w 10088"/>
                <a:gd name="connsiteY51" fmla="*/ 9546 h 10000"/>
                <a:gd name="connsiteX52" fmla="*/ 2657 w 10088"/>
                <a:gd name="connsiteY52" fmla="*/ 9472 h 10000"/>
                <a:gd name="connsiteX53" fmla="*/ 2834 w 10088"/>
                <a:gd name="connsiteY53" fmla="*/ 9430 h 10000"/>
                <a:gd name="connsiteX54" fmla="*/ 3075 w 10088"/>
                <a:gd name="connsiteY54" fmla="*/ 9440 h 10000"/>
                <a:gd name="connsiteX55" fmla="*/ 3221 w 10088"/>
                <a:gd name="connsiteY55" fmla="*/ 9470 h 10000"/>
                <a:gd name="connsiteX56" fmla="*/ 3413 w 10088"/>
                <a:gd name="connsiteY56" fmla="*/ 9456 h 10000"/>
                <a:gd name="connsiteX57" fmla="*/ 3608 w 10088"/>
                <a:gd name="connsiteY57" fmla="*/ 9489 h 10000"/>
                <a:gd name="connsiteX58" fmla="*/ 3803 w 10088"/>
                <a:gd name="connsiteY58" fmla="*/ 9493 h 10000"/>
                <a:gd name="connsiteX59" fmla="*/ 4240 w 10088"/>
                <a:gd name="connsiteY59" fmla="*/ 9061 h 10000"/>
                <a:gd name="connsiteX60" fmla="*/ 4350 w 10088"/>
                <a:gd name="connsiteY60" fmla="*/ 8711 h 10000"/>
                <a:gd name="connsiteX61" fmla="*/ 4527 w 10088"/>
                <a:gd name="connsiteY61" fmla="*/ 8554 h 10000"/>
                <a:gd name="connsiteX62" fmla="*/ 4527 w 10088"/>
                <a:gd name="connsiteY62" fmla="*/ 8472 h 10000"/>
                <a:gd name="connsiteX63" fmla="*/ 4463 w 10088"/>
                <a:gd name="connsiteY63" fmla="*/ 8425 h 10000"/>
                <a:gd name="connsiteX64" fmla="*/ 4568 w 10088"/>
                <a:gd name="connsiteY64" fmla="*/ 8352 h 10000"/>
                <a:gd name="connsiteX65" fmla="*/ 4549 w 10088"/>
                <a:gd name="connsiteY65" fmla="*/ 8289 h 10000"/>
                <a:gd name="connsiteX66" fmla="*/ 4477 w 10088"/>
                <a:gd name="connsiteY66" fmla="*/ 8236 h 10000"/>
                <a:gd name="connsiteX67" fmla="*/ 4463 w 10088"/>
                <a:gd name="connsiteY67" fmla="*/ 8199 h 10000"/>
                <a:gd name="connsiteX68" fmla="*/ 4481 w 10088"/>
                <a:gd name="connsiteY68" fmla="*/ 8169 h 10000"/>
                <a:gd name="connsiteX69" fmla="*/ 4577 w 10088"/>
                <a:gd name="connsiteY69" fmla="*/ 8193 h 10000"/>
                <a:gd name="connsiteX70" fmla="*/ 4654 w 10088"/>
                <a:gd name="connsiteY70" fmla="*/ 8191 h 10000"/>
                <a:gd name="connsiteX71" fmla="*/ 4612 w 10088"/>
                <a:gd name="connsiteY71" fmla="*/ 8140 h 10000"/>
                <a:gd name="connsiteX72" fmla="*/ 4626 w 10088"/>
                <a:gd name="connsiteY72" fmla="*/ 8112 h 10000"/>
                <a:gd name="connsiteX73" fmla="*/ 4681 w 10088"/>
                <a:gd name="connsiteY73" fmla="*/ 8069 h 10000"/>
                <a:gd name="connsiteX74" fmla="*/ 4672 w 10088"/>
                <a:gd name="connsiteY74" fmla="*/ 8034 h 10000"/>
                <a:gd name="connsiteX75" fmla="*/ 4723 w 10088"/>
                <a:gd name="connsiteY75" fmla="*/ 7916 h 10000"/>
                <a:gd name="connsiteX76" fmla="*/ 4710 w 10088"/>
                <a:gd name="connsiteY76" fmla="*/ 7881 h 10000"/>
                <a:gd name="connsiteX77" fmla="*/ 4445 w 10088"/>
                <a:gd name="connsiteY77" fmla="*/ 7792 h 10000"/>
                <a:gd name="connsiteX78" fmla="*/ 4481 w 10088"/>
                <a:gd name="connsiteY78" fmla="*/ 7788 h 10000"/>
                <a:gd name="connsiteX79" fmla="*/ 4622 w 10088"/>
                <a:gd name="connsiteY79" fmla="*/ 7812 h 10000"/>
                <a:gd name="connsiteX80" fmla="*/ 4773 w 10088"/>
                <a:gd name="connsiteY80" fmla="*/ 7804 h 10000"/>
                <a:gd name="connsiteX81" fmla="*/ 4818 w 10088"/>
                <a:gd name="connsiteY81" fmla="*/ 7771 h 10000"/>
                <a:gd name="connsiteX82" fmla="*/ 4672 w 10088"/>
                <a:gd name="connsiteY82" fmla="*/ 7710 h 10000"/>
                <a:gd name="connsiteX83" fmla="*/ 4236 w 10088"/>
                <a:gd name="connsiteY83" fmla="*/ 7670 h 10000"/>
                <a:gd name="connsiteX84" fmla="*/ 4266 w 10088"/>
                <a:gd name="connsiteY84" fmla="*/ 7651 h 10000"/>
                <a:gd name="connsiteX85" fmla="*/ 4622 w 10088"/>
                <a:gd name="connsiteY85" fmla="*/ 7639 h 10000"/>
                <a:gd name="connsiteX86" fmla="*/ 4818 w 10088"/>
                <a:gd name="connsiteY86" fmla="*/ 7676 h 10000"/>
                <a:gd name="connsiteX87" fmla="*/ 4932 w 10088"/>
                <a:gd name="connsiteY87" fmla="*/ 7651 h 10000"/>
                <a:gd name="connsiteX88" fmla="*/ 4973 w 10088"/>
                <a:gd name="connsiteY88" fmla="*/ 7588 h 10000"/>
                <a:gd name="connsiteX89" fmla="*/ 5177 w 10088"/>
                <a:gd name="connsiteY89" fmla="*/ 7588 h 10000"/>
                <a:gd name="connsiteX90" fmla="*/ 5455 w 10088"/>
                <a:gd name="connsiteY90" fmla="*/ 7462 h 10000"/>
                <a:gd name="connsiteX91" fmla="*/ 5465 w 10088"/>
                <a:gd name="connsiteY91" fmla="*/ 7378 h 10000"/>
                <a:gd name="connsiteX92" fmla="*/ 5582 w 10088"/>
                <a:gd name="connsiteY92" fmla="*/ 7397 h 10000"/>
                <a:gd name="connsiteX93" fmla="*/ 5578 w 10088"/>
                <a:gd name="connsiteY93" fmla="*/ 7482 h 10000"/>
                <a:gd name="connsiteX94" fmla="*/ 5764 w 10088"/>
                <a:gd name="connsiteY94" fmla="*/ 7476 h 10000"/>
                <a:gd name="connsiteX95" fmla="*/ 5887 w 10088"/>
                <a:gd name="connsiteY95" fmla="*/ 7388 h 10000"/>
                <a:gd name="connsiteX96" fmla="*/ 6116 w 10088"/>
                <a:gd name="connsiteY96" fmla="*/ 7309 h 10000"/>
                <a:gd name="connsiteX97" fmla="*/ 6078 w 10088"/>
                <a:gd name="connsiteY97" fmla="*/ 7219 h 10000"/>
                <a:gd name="connsiteX98" fmla="*/ 6146 w 10088"/>
                <a:gd name="connsiteY98" fmla="*/ 7254 h 10000"/>
                <a:gd name="connsiteX99" fmla="*/ 6251 w 10088"/>
                <a:gd name="connsiteY99" fmla="*/ 7254 h 10000"/>
                <a:gd name="connsiteX100" fmla="*/ 6251 w 10088"/>
                <a:gd name="connsiteY100" fmla="*/ 7213 h 10000"/>
                <a:gd name="connsiteX101" fmla="*/ 6347 w 10088"/>
                <a:gd name="connsiteY101" fmla="*/ 7181 h 10000"/>
                <a:gd name="connsiteX102" fmla="*/ 6333 w 10088"/>
                <a:gd name="connsiteY102" fmla="*/ 7148 h 10000"/>
                <a:gd name="connsiteX103" fmla="*/ 5515 w 10088"/>
                <a:gd name="connsiteY103" fmla="*/ 7215 h 10000"/>
                <a:gd name="connsiteX104" fmla="*/ 5323 w 10088"/>
                <a:gd name="connsiteY104" fmla="*/ 7195 h 10000"/>
                <a:gd name="connsiteX105" fmla="*/ 5246 w 10088"/>
                <a:gd name="connsiteY105" fmla="*/ 7219 h 10000"/>
                <a:gd name="connsiteX106" fmla="*/ 5219 w 10088"/>
                <a:gd name="connsiteY106" fmla="*/ 7173 h 10000"/>
                <a:gd name="connsiteX107" fmla="*/ 5128 w 10088"/>
                <a:gd name="connsiteY107" fmla="*/ 7132 h 10000"/>
                <a:gd name="connsiteX108" fmla="*/ 4763 w 10088"/>
                <a:gd name="connsiteY108" fmla="*/ 7052 h 10000"/>
                <a:gd name="connsiteX109" fmla="*/ 4549 w 10088"/>
                <a:gd name="connsiteY109" fmla="*/ 7065 h 10000"/>
                <a:gd name="connsiteX110" fmla="*/ 4463 w 10088"/>
                <a:gd name="connsiteY110" fmla="*/ 7042 h 10000"/>
                <a:gd name="connsiteX111" fmla="*/ 4554 w 10088"/>
                <a:gd name="connsiteY111" fmla="*/ 7022 h 10000"/>
                <a:gd name="connsiteX112" fmla="*/ 4622 w 10088"/>
                <a:gd name="connsiteY112" fmla="*/ 6979 h 10000"/>
                <a:gd name="connsiteX113" fmla="*/ 4723 w 10088"/>
                <a:gd name="connsiteY113" fmla="*/ 6993 h 10000"/>
                <a:gd name="connsiteX114" fmla="*/ 4845 w 10088"/>
                <a:gd name="connsiteY114" fmla="*/ 6981 h 10000"/>
                <a:gd name="connsiteX115" fmla="*/ 5027 w 10088"/>
                <a:gd name="connsiteY115" fmla="*/ 6995 h 10000"/>
                <a:gd name="connsiteX116" fmla="*/ 5049 w 10088"/>
                <a:gd name="connsiteY116" fmla="*/ 6989 h 10000"/>
                <a:gd name="connsiteX117" fmla="*/ 5191 w 10088"/>
                <a:gd name="connsiteY117" fmla="*/ 7056 h 10000"/>
                <a:gd name="connsiteX118" fmla="*/ 5296 w 10088"/>
                <a:gd name="connsiteY118" fmla="*/ 7032 h 10000"/>
                <a:gd name="connsiteX119" fmla="*/ 5304 w 10088"/>
                <a:gd name="connsiteY119" fmla="*/ 7010 h 10000"/>
                <a:gd name="connsiteX120" fmla="*/ 5400 w 10088"/>
                <a:gd name="connsiteY120" fmla="*/ 7048 h 10000"/>
                <a:gd name="connsiteX121" fmla="*/ 5528 w 10088"/>
                <a:gd name="connsiteY121" fmla="*/ 7069 h 10000"/>
                <a:gd name="connsiteX122" fmla="*/ 5578 w 10088"/>
                <a:gd name="connsiteY122" fmla="*/ 7030 h 10000"/>
                <a:gd name="connsiteX123" fmla="*/ 5619 w 10088"/>
                <a:gd name="connsiteY123" fmla="*/ 7052 h 10000"/>
                <a:gd name="connsiteX124" fmla="*/ 5677 w 10088"/>
                <a:gd name="connsiteY124" fmla="*/ 7126 h 10000"/>
                <a:gd name="connsiteX125" fmla="*/ 5800 w 10088"/>
                <a:gd name="connsiteY125" fmla="*/ 7144 h 10000"/>
                <a:gd name="connsiteX126" fmla="*/ 6301 w 10088"/>
                <a:gd name="connsiteY126" fmla="*/ 7034 h 10000"/>
                <a:gd name="connsiteX127" fmla="*/ 6547 w 10088"/>
                <a:gd name="connsiteY127" fmla="*/ 6879 h 10000"/>
                <a:gd name="connsiteX128" fmla="*/ 6605 w 10088"/>
                <a:gd name="connsiteY128" fmla="*/ 6765 h 10000"/>
                <a:gd name="connsiteX129" fmla="*/ 6516 w 10088"/>
                <a:gd name="connsiteY129" fmla="*/ 6663 h 10000"/>
                <a:gd name="connsiteX130" fmla="*/ 6328 w 10088"/>
                <a:gd name="connsiteY130" fmla="*/ 6602 h 10000"/>
                <a:gd name="connsiteX131" fmla="*/ 6196 w 10088"/>
                <a:gd name="connsiteY131" fmla="*/ 6502 h 10000"/>
                <a:gd name="connsiteX132" fmla="*/ 6320 w 10088"/>
                <a:gd name="connsiteY132" fmla="*/ 6498 h 10000"/>
                <a:gd name="connsiteX133" fmla="*/ 6311 w 10088"/>
                <a:gd name="connsiteY133" fmla="*/ 6474 h 10000"/>
                <a:gd name="connsiteX134" fmla="*/ 5988 w 10088"/>
                <a:gd name="connsiteY134" fmla="*/ 6403 h 10000"/>
                <a:gd name="connsiteX135" fmla="*/ 5975 w 10088"/>
                <a:gd name="connsiteY135" fmla="*/ 6339 h 10000"/>
                <a:gd name="connsiteX136" fmla="*/ 5914 w 10088"/>
                <a:gd name="connsiteY136" fmla="*/ 6272 h 10000"/>
                <a:gd name="connsiteX137" fmla="*/ 5659 w 10088"/>
                <a:gd name="connsiteY137" fmla="*/ 6284 h 10000"/>
                <a:gd name="connsiteX138" fmla="*/ 5568 w 10088"/>
                <a:gd name="connsiteY138" fmla="*/ 6213 h 10000"/>
                <a:gd name="connsiteX139" fmla="*/ 5515 w 10088"/>
                <a:gd name="connsiteY139" fmla="*/ 6209 h 10000"/>
                <a:gd name="connsiteX140" fmla="*/ 5515 w 10088"/>
                <a:gd name="connsiteY140" fmla="*/ 6238 h 10000"/>
                <a:gd name="connsiteX141" fmla="*/ 5400 w 10088"/>
                <a:gd name="connsiteY141" fmla="*/ 6358 h 10000"/>
                <a:gd name="connsiteX142" fmla="*/ 5277 w 10088"/>
                <a:gd name="connsiteY142" fmla="*/ 6429 h 10000"/>
                <a:gd name="connsiteX143" fmla="*/ 4890 w 10088"/>
                <a:gd name="connsiteY143" fmla="*/ 6551 h 10000"/>
                <a:gd name="connsiteX144" fmla="*/ 4754 w 10088"/>
                <a:gd name="connsiteY144" fmla="*/ 6547 h 10000"/>
                <a:gd name="connsiteX145" fmla="*/ 4568 w 10088"/>
                <a:gd name="connsiteY145" fmla="*/ 6565 h 10000"/>
                <a:gd name="connsiteX146" fmla="*/ 4463 w 10088"/>
                <a:gd name="connsiteY146" fmla="*/ 6547 h 10000"/>
                <a:gd name="connsiteX147" fmla="*/ 4599 w 10088"/>
                <a:gd name="connsiteY147" fmla="*/ 6513 h 10000"/>
                <a:gd name="connsiteX148" fmla="*/ 4777 w 10088"/>
                <a:gd name="connsiteY148" fmla="*/ 6498 h 10000"/>
                <a:gd name="connsiteX149" fmla="*/ 4924 w 10088"/>
                <a:gd name="connsiteY149" fmla="*/ 6441 h 10000"/>
                <a:gd name="connsiteX150" fmla="*/ 5067 w 10088"/>
                <a:gd name="connsiteY150" fmla="*/ 6415 h 10000"/>
                <a:gd name="connsiteX151" fmla="*/ 5337 w 10088"/>
                <a:gd name="connsiteY151" fmla="*/ 6317 h 10000"/>
                <a:gd name="connsiteX152" fmla="*/ 5387 w 10088"/>
                <a:gd name="connsiteY152" fmla="*/ 6252 h 10000"/>
                <a:gd name="connsiteX153" fmla="*/ 5391 w 10088"/>
                <a:gd name="connsiteY153" fmla="*/ 6168 h 10000"/>
                <a:gd name="connsiteX154" fmla="*/ 5269 w 10088"/>
                <a:gd name="connsiteY154" fmla="*/ 6154 h 10000"/>
                <a:gd name="connsiteX155" fmla="*/ 5323 w 10088"/>
                <a:gd name="connsiteY155" fmla="*/ 6103 h 10000"/>
                <a:gd name="connsiteX156" fmla="*/ 5341 w 10088"/>
                <a:gd name="connsiteY156" fmla="*/ 6038 h 10000"/>
                <a:gd name="connsiteX157" fmla="*/ 5290 w 10088"/>
                <a:gd name="connsiteY157" fmla="*/ 5977 h 10000"/>
                <a:gd name="connsiteX158" fmla="*/ 5259 w 10088"/>
                <a:gd name="connsiteY158" fmla="*/ 5533 h 10000"/>
                <a:gd name="connsiteX159" fmla="*/ 5333 w 10088"/>
                <a:gd name="connsiteY159" fmla="*/ 5437 h 10000"/>
                <a:gd name="connsiteX160" fmla="*/ 5314 w 10088"/>
                <a:gd name="connsiteY160" fmla="*/ 5398 h 10000"/>
                <a:gd name="connsiteX161" fmla="*/ 5528 w 10088"/>
                <a:gd name="connsiteY161" fmla="*/ 5455 h 10000"/>
                <a:gd name="connsiteX162" fmla="*/ 5542 w 10088"/>
                <a:gd name="connsiteY162" fmla="*/ 5402 h 10000"/>
                <a:gd name="connsiteX163" fmla="*/ 5496 w 10088"/>
                <a:gd name="connsiteY163" fmla="*/ 5264 h 10000"/>
                <a:gd name="connsiteX164" fmla="*/ 5649 w 10088"/>
                <a:gd name="connsiteY164" fmla="*/ 5019 h 10000"/>
                <a:gd name="connsiteX165" fmla="*/ 5555 w 10088"/>
                <a:gd name="connsiteY165" fmla="*/ 4960 h 10000"/>
                <a:gd name="connsiteX166" fmla="*/ 5519 w 10088"/>
                <a:gd name="connsiteY166" fmla="*/ 4905 h 10000"/>
                <a:gd name="connsiteX167" fmla="*/ 5532 w 10088"/>
                <a:gd name="connsiteY167" fmla="*/ 4816 h 10000"/>
                <a:gd name="connsiteX168" fmla="*/ 5756 w 10088"/>
                <a:gd name="connsiteY168" fmla="*/ 4875 h 10000"/>
                <a:gd name="connsiteX169" fmla="*/ 5764 w 10088"/>
                <a:gd name="connsiteY169" fmla="*/ 4858 h 10000"/>
                <a:gd name="connsiteX170" fmla="*/ 5827 w 10088"/>
                <a:gd name="connsiteY170" fmla="*/ 4842 h 10000"/>
                <a:gd name="connsiteX171" fmla="*/ 5914 w 10088"/>
                <a:gd name="connsiteY171" fmla="*/ 4785 h 10000"/>
                <a:gd name="connsiteX172" fmla="*/ 5928 w 10088"/>
                <a:gd name="connsiteY172" fmla="*/ 4769 h 10000"/>
                <a:gd name="connsiteX173" fmla="*/ 5910 w 10088"/>
                <a:gd name="connsiteY173" fmla="*/ 4748 h 10000"/>
                <a:gd name="connsiteX174" fmla="*/ 5954 w 10088"/>
                <a:gd name="connsiteY174" fmla="*/ 4647 h 10000"/>
                <a:gd name="connsiteX175" fmla="*/ 5901 w 10088"/>
                <a:gd name="connsiteY175" fmla="*/ 4581 h 10000"/>
                <a:gd name="connsiteX176" fmla="*/ 5910 w 10088"/>
                <a:gd name="connsiteY176" fmla="*/ 4528 h 10000"/>
                <a:gd name="connsiteX177" fmla="*/ 5941 w 10088"/>
                <a:gd name="connsiteY177" fmla="*/ 4590 h 10000"/>
                <a:gd name="connsiteX178" fmla="*/ 6064 w 10088"/>
                <a:gd name="connsiteY178" fmla="*/ 4636 h 10000"/>
                <a:gd name="connsiteX179" fmla="*/ 6116 w 10088"/>
                <a:gd name="connsiteY179" fmla="*/ 4630 h 10000"/>
                <a:gd name="connsiteX180" fmla="*/ 6196 w 10088"/>
                <a:gd name="connsiteY180" fmla="*/ 4569 h 10000"/>
                <a:gd name="connsiteX181" fmla="*/ 6283 w 10088"/>
                <a:gd name="connsiteY181" fmla="*/ 4594 h 10000"/>
                <a:gd name="connsiteX182" fmla="*/ 6307 w 10088"/>
                <a:gd name="connsiteY182" fmla="*/ 4545 h 10000"/>
                <a:gd name="connsiteX183" fmla="*/ 6365 w 10088"/>
                <a:gd name="connsiteY183" fmla="*/ 4512 h 10000"/>
                <a:gd name="connsiteX184" fmla="*/ 6205 w 10088"/>
                <a:gd name="connsiteY184" fmla="*/ 4477 h 10000"/>
                <a:gd name="connsiteX185" fmla="*/ 6320 w 10088"/>
                <a:gd name="connsiteY185" fmla="*/ 4484 h 10000"/>
                <a:gd name="connsiteX186" fmla="*/ 6437 w 10088"/>
                <a:gd name="connsiteY186" fmla="*/ 4447 h 10000"/>
                <a:gd name="connsiteX187" fmla="*/ 6433 w 10088"/>
                <a:gd name="connsiteY187" fmla="*/ 4422 h 10000"/>
                <a:gd name="connsiteX188" fmla="*/ 6543 w 10088"/>
                <a:gd name="connsiteY188" fmla="*/ 4398 h 10000"/>
                <a:gd name="connsiteX189" fmla="*/ 6552 w 10088"/>
                <a:gd name="connsiteY189" fmla="*/ 4337 h 10000"/>
                <a:gd name="connsiteX190" fmla="*/ 6638 w 10088"/>
                <a:gd name="connsiteY190" fmla="*/ 4325 h 10000"/>
                <a:gd name="connsiteX191" fmla="*/ 6646 w 10088"/>
                <a:gd name="connsiteY191" fmla="*/ 4253 h 10000"/>
                <a:gd name="connsiteX192" fmla="*/ 6737 w 10088"/>
                <a:gd name="connsiteY192" fmla="*/ 4245 h 10000"/>
                <a:gd name="connsiteX193" fmla="*/ 6879 w 10088"/>
                <a:gd name="connsiteY193" fmla="*/ 4260 h 10000"/>
                <a:gd name="connsiteX194" fmla="*/ 7033 w 10088"/>
                <a:gd name="connsiteY194" fmla="*/ 4202 h 10000"/>
                <a:gd name="connsiteX195" fmla="*/ 7088 w 10088"/>
                <a:gd name="connsiteY195" fmla="*/ 4137 h 10000"/>
                <a:gd name="connsiteX196" fmla="*/ 7279 w 10088"/>
                <a:gd name="connsiteY196" fmla="*/ 4070 h 10000"/>
                <a:gd name="connsiteX197" fmla="*/ 7374 w 10088"/>
                <a:gd name="connsiteY197" fmla="*/ 4111 h 10000"/>
                <a:gd name="connsiteX198" fmla="*/ 7520 w 10088"/>
                <a:gd name="connsiteY198" fmla="*/ 4066 h 10000"/>
                <a:gd name="connsiteX199" fmla="*/ 7556 w 10088"/>
                <a:gd name="connsiteY199" fmla="*/ 4009 h 10000"/>
                <a:gd name="connsiteX200" fmla="*/ 7666 w 10088"/>
                <a:gd name="connsiteY200" fmla="*/ 3970 h 10000"/>
                <a:gd name="connsiteX201" fmla="*/ 7761 w 10088"/>
                <a:gd name="connsiteY201" fmla="*/ 3987 h 10000"/>
                <a:gd name="connsiteX202" fmla="*/ 7820 w 10088"/>
                <a:gd name="connsiteY202" fmla="*/ 3958 h 10000"/>
                <a:gd name="connsiteX203" fmla="*/ 7984 w 10088"/>
                <a:gd name="connsiteY203" fmla="*/ 3917 h 10000"/>
                <a:gd name="connsiteX204" fmla="*/ 8052 w 10088"/>
                <a:gd name="connsiteY204" fmla="*/ 3864 h 10000"/>
                <a:gd name="connsiteX205" fmla="*/ 8144 w 10088"/>
                <a:gd name="connsiteY205" fmla="*/ 3842 h 10000"/>
                <a:gd name="connsiteX206" fmla="*/ 8649 w 10088"/>
                <a:gd name="connsiteY206" fmla="*/ 3522 h 10000"/>
                <a:gd name="connsiteX207" fmla="*/ 9983 w 10088"/>
                <a:gd name="connsiteY207" fmla="*/ 1465 h 10000"/>
                <a:gd name="connsiteX208" fmla="*/ 10000 w 10088"/>
                <a:gd name="connsiteY208" fmla="*/ 1271 h 10000"/>
                <a:gd name="connsiteX209" fmla="*/ 9969 w 10088"/>
                <a:gd name="connsiteY209" fmla="*/ 1194 h 10000"/>
                <a:gd name="connsiteX210" fmla="*/ 9909 w 10088"/>
                <a:gd name="connsiteY210" fmla="*/ 1159 h 10000"/>
                <a:gd name="connsiteX211" fmla="*/ 9858 w 10088"/>
                <a:gd name="connsiteY211" fmla="*/ 978 h 10000"/>
                <a:gd name="connsiteX212" fmla="*/ 9918 w 10088"/>
                <a:gd name="connsiteY212" fmla="*/ 831 h 10000"/>
                <a:gd name="connsiteX213" fmla="*/ 9481 w 10088"/>
                <a:gd name="connsiteY213" fmla="*/ 517 h 10000"/>
                <a:gd name="connsiteX214" fmla="*/ 9267 w 10088"/>
                <a:gd name="connsiteY214" fmla="*/ 440 h 10000"/>
                <a:gd name="connsiteX215" fmla="*/ 8871 w 10088"/>
                <a:gd name="connsiteY215" fmla="*/ 389 h 10000"/>
                <a:gd name="connsiteX216" fmla="*/ 8052 w 10088"/>
                <a:gd name="connsiteY216" fmla="*/ 26 h 10000"/>
                <a:gd name="connsiteX217" fmla="*/ 8025 w 10088"/>
                <a:gd name="connsiteY217" fmla="*/ 2 h 10000"/>
                <a:gd name="connsiteX218" fmla="*/ 7747 w 10088"/>
                <a:gd name="connsiteY218" fmla="*/ 0 h 10000"/>
                <a:gd name="connsiteX219" fmla="*/ 7684 w 10088"/>
                <a:gd name="connsiteY219" fmla="*/ 14 h 10000"/>
                <a:gd name="connsiteX220" fmla="*/ 7698 w 10088"/>
                <a:gd name="connsiteY220" fmla="*/ 61 h 10000"/>
                <a:gd name="connsiteX221" fmla="*/ 7752 w 10088"/>
                <a:gd name="connsiteY221" fmla="*/ 86 h 10000"/>
                <a:gd name="connsiteX222" fmla="*/ 7767 w 10088"/>
                <a:gd name="connsiteY222" fmla="*/ 139 h 10000"/>
                <a:gd name="connsiteX223" fmla="*/ 7747 w 10088"/>
                <a:gd name="connsiteY223" fmla="*/ 181 h 10000"/>
                <a:gd name="connsiteX224" fmla="*/ 7698 w 10088"/>
                <a:gd name="connsiteY224" fmla="*/ 208 h 10000"/>
                <a:gd name="connsiteX225" fmla="*/ 7661 w 10088"/>
                <a:gd name="connsiteY225" fmla="*/ 283 h 10000"/>
                <a:gd name="connsiteX226" fmla="*/ 7593 w 10088"/>
                <a:gd name="connsiteY226" fmla="*/ 336 h 10000"/>
                <a:gd name="connsiteX227" fmla="*/ 7607 w 10088"/>
                <a:gd name="connsiteY227" fmla="*/ 387 h 10000"/>
                <a:gd name="connsiteX228" fmla="*/ 7711 w 10088"/>
                <a:gd name="connsiteY228" fmla="*/ 434 h 10000"/>
                <a:gd name="connsiteX229" fmla="*/ 7643 w 10088"/>
                <a:gd name="connsiteY229" fmla="*/ 475 h 10000"/>
                <a:gd name="connsiteX230" fmla="*/ 7543 w 10088"/>
                <a:gd name="connsiteY230" fmla="*/ 485 h 10000"/>
                <a:gd name="connsiteX231" fmla="*/ 6706 w 10088"/>
                <a:gd name="connsiteY231" fmla="*/ 387 h 10000"/>
                <a:gd name="connsiteX232" fmla="*/ 6605 w 10088"/>
                <a:gd name="connsiteY232" fmla="*/ 395 h 10000"/>
                <a:gd name="connsiteX233" fmla="*/ 6547 w 10088"/>
                <a:gd name="connsiteY233" fmla="*/ 414 h 10000"/>
                <a:gd name="connsiteX234" fmla="*/ 6487 w 10088"/>
                <a:gd name="connsiteY234" fmla="*/ 462 h 10000"/>
                <a:gd name="connsiteX235" fmla="*/ 6498 w 10088"/>
                <a:gd name="connsiteY235" fmla="*/ 581 h 10000"/>
                <a:gd name="connsiteX236" fmla="*/ 6405 w 10088"/>
                <a:gd name="connsiteY236" fmla="*/ 735 h 10000"/>
                <a:gd name="connsiteX237" fmla="*/ 6292 w 10088"/>
                <a:gd name="connsiteY237" fmla="*/ 815 h 10000"/>
                <a:gd name="connsiteX238" fmla="*/ 6247 w 10088"/>
                <a:gd name="connsiteY238" fmla="*/ 805 h 10000"/>
                <a:gd name="connsiteX239" fmla="*/ 6142 w 10088"/>
                <a:gd name="connsiteY239" fmla="*/ 739 h 10000"/>
                <a:gd name="connsiteX240" fmla="*/ 6010 w 10088"/>
                <a:gd name="connsiteY240" fmla="*/ 705 h 10000"/>
                <a:gd name="connsiteX241" fmla="*/ 5868 w 10088"/>
                <a:gd name="connsiteY241" fmla="*/ 715 h 10000"/>
                <a:gd name="connsiteX242" fmla="*/ 5538 w 10088"/>
                <a:gd name="connsiteY242" fmla="*/ 866 h 10000"/>
                <a:gd name="connsiteX243" fmla="*/ 5450 w 10088"/>
                <a:gd name="connsiteY243" fmla="*/ 1017 h 10000"/>
                <a:gd name="connsiteX244" fmla="*/ 5201 w 10088"/>
                <a:gd name="connsiteY244" fmla="*/ 1153 h 10000"/>
                <a:gd name="connsiteX245" fmla="*/ 5155 w 10088"/>
                <a:gd name="connsiteY245" fmla="*/ 1222 h 10000"/>
                <a:gd name="connsiteX246" fmla="*/ 5286 w 10088"/>
                <a:gd name="connsiteY246" fmla="*/ 1344 h 10000"/>
                <a:gd name="connsiteX247" fmla="*/ 5300 w 10088"/>
                <a:gd name="connsiteY247" fmla="*/ 1412 h 10000"/>
                <a:gd name="connsiteX248" fmla="*/ 4618 w 10088"/>
                <a:gd name="connsiteY248" fmla="*/ 1813 h 10000"/>
                <a:gd name="connsiteX249" fmla="*/ 4408 w 10088"/>
                <a:gd name="connsiteY249" fmla="*/ 2070 h 10000"/>
                <a:gd name="connsiteX250" fmla="*/ 4182 w 10088"/>
                <a:gd name="connsiteY250" fmla="*/ 2135 h 10000"/>
                <a:gd name="connsiteX251" fmla="*/ 4039 w 10088"/>
                <a:gd name="connsiteY251" fmla="*/ 2131 h 10000"/>
                <a:gd name="connsiteX252" fmla="*/ 3954 w 10088"/>
                <a:gd name="connsiteY252" fmla="*/ 2153 h 10000"/>
                <a:gd name="connsiteX253" fmla="*/ 3717 w 10088"/>
                <a:gd name="connsiteY253" fmla="*/ 2793 h 10000"/>
                <a:gd name="connsiteX254" fmla="*/ 3172 w 10088"/>
                <a:gd name="connsiteY254" fmla="*/ 3166 h 10000"/>
                <a:gd name="connsiteX255" fmla="*/ 3176 w 10088"/>
                <a:gd name="connsiteY255" fmla="*/ 3225 h 10000"/>
                <a:gd name="connsiteX256" fmla="*/ 3417 w 10088"/>
                <a:gd name="connsiteY256" fmla="*/ 3392 h 10000"/>
                <a:gd name="connsiteX257" fmla="*/ 3340 w 10088"/>
                <a:gd name="connsiteY257" fmla="*/ 3573 h 10000"/>
                <a:gd name="connsiteX258" fmla="*/ 3198 w 10088"/>
                <a:gd name="connsiteY258" fmla="*/ 3640 h 10000"/>
                <a:gd name="connsiteX259" fmla="*/ 2775 w 10088"/>
                <a:gd name="connsiteY259" fmla="*/ 3595 h 10000"/>
                <a:gd name="connsiteX260" fmla="*/ 2483 w 10088"/>
                <a:gd name="connsiteY260" fmla="*/ 3620 h 10000"/>
                <a:gd name="connsiteX261" fmla="*/ 2248 w 10088"/>
                <a:gd name="connsiteY261" fmla="*/ 3673 h 10000"/>
                <a:gd name="connsiteX262" fmla="*/ 1870 w 10088"/>
                <a:gd name="connsiteY262" fmla="*/ 3840 h 10000"/>
                <a:gd name="connsiteX263" fmla="*/ 1669 w 10088"/>
                <a:gd name="connsiteY263" fmla="*/ 4042 h 10000"/>
                <a:gd name="connsiteX264" fmla="*/ 1687 w 10088"/>
                <a:gd name="connsiteY264" fmla="*/ 4154 h 10000"/>
                <a:gd name="connsiteX265" fmla="*/ 1757 w 10088"/>
                <a:gd name="connsiteY265" fmla="*/ 4241 h 10000"/>
                <a:gd name="connsiteX266" fmla="*/ 1810 w 10088"/>
                <a:gd name="connsiteY266" fmla="*/ 4276 h 10000"/>
                <a:gd name="connsiteX267" fmla="*/ 1711 w 10088"/>
                <a:gd name="connsiteY267" fmla="*/ 4331 h 10000"/>
                <a:gd name="connsiteX268" fmla="*/ 1497 w 10088"/>
                <a:gd name="connsiteY268" fmla="*/ 4710 h 10000"/>
                <a:gd name="connsiteX269" fmla="*/ 1538 w 10088"/>
                <a:gd name="connsiteY269" fmla="*/ 4732 h 10000"/>
                <a:gd name="connsiteX270" fmla="*/ 1570 w 10088"/>
                <a:gd name="connsiteY270" fmla="*/ 4828 h 10000"/>
                <a:gd name="connsiteX271" fmla="*/ 1469 w 10088"/>
                <a:gd name="connsiteY271" fmla="*/ 5227 h 10000"/>
                <a:gd name="connsiteX272" fmla="*/ 1570 w 10088"/>
                <a:gd name="connsiteY272" fmla="*/ 5329 h 10000"/>
                <a:gd name="connsiteX273" fmla="*/ 1842 w 10088"/>
                <a:gd name="connsiteY273" fmla="*/ 5441 h 10000"/>
                <a:gd name="connsiteX274" fmla="*/ 1855 w 10088"/>
                <a:gd name="connsiteY274" fmla="*/ 5578 h 10000"/>
                <a:gd name="connsiteX275" fmla="*/ 1739 w 10088"/>
                <a:gd name="connsiteY275" fmla="*/ 5690 h 10000"/>
                <a:gd name="connsiteX276" fmla="*/ 1570 w 10088"/>
                <a:gd name="connsiteY276" fmla="*/ 5759 h 10000"/>
                <a:gd name="connsiteX277" fmla="*/ 1346 w 10088"/>
                <a:gd name="connsiteY277" fmla="*/ 5787 h 10000"/>
                <a:gd name="connsiteX278" fmla="*/ 1288 w 10088"/>
                <a:gd name="connsiteY278" fmla="*/ 5826 h 10000"/>
                <a:gd name="connsiteX279" fmla="*/ 1419 w 10088"/>
                <a:gd name="connsiteY279" fmla="*/ 5920 h 10000"/>
                <a:gd name="connsiteX280" fmla="*/ 1493 w 10088"/>
                <a:gd name="connsiteY280" fmla="*/ 6142 h 10000"/>
                <a:gd name="connsiteX281" fmla="*/ 1324 w 10088"/>
                <a:gd name="connsiteY281" fmla="*/ 6333 h 10000"/>
                <a:gd name="connsiteX282" fmla="*/ 1383 w 10088"/>
                <a:gd name="connsiteY282" fmla="*/ 6392 h 10000"/>
                <a:gd name="connsiteX283" fmla="*/ 1329 w 10088"/>
                <a:gd name="connsiteY283" fmla="*/ 6492 h 10000"/>
                <a:gd name="connsiteX284" fmla="*/ 1220 w 10088"/>
                <a:gd name="connsiteY284" fmla="*/ 6561 h 10000"/>
                <a:gd name="connsiteX285" fmla="*/ 792 w 10088"/>
                <a:gd name="connsiteY285" fmla="*/ 6614 h 10000"/>
                <a:gd name="connsiteX286" fmla="*/ 765 w 10088"/>
                <a:gd name="connsiteY286" fmla="*/ 6706 h 10000"/>
                <a:gd name="connsiteX287" fmla="*/ 533 w 10088"/>
                <a:gd name="connsiteY287" fmla="*/ 6843 h 10000"/>
                <a:gd name="connsiteX288" fmla="*/ 564 w 10088"/>
                <a:gd name="connsiteY288" fmla="*/ 7040 h 10000"/>
                <a:gd name="connsiteX289" fmla="*/ 369 w 10088"/>
                <a:gd name="connsiteY289" fmla="*/ 7293 h 10000"/>
                <a:gd name="connsiteX290" fmla="*/ 236 w 10088"/>
                <a:gd name="connsiteY290" fmla="*/ 7323 h 10000"/>
                <a:gd name="connsiteX291" fmla="*/ 182 w 10088"/>
                <a:gd name="connsiteY291" fmla="*/ 7262 h 10000"/>
                <a:gd name="connsiteX292" fmla="*/ 114 w 10088"/>
                <a:gd name="connsiteY292" fmla="*/ 7354 h 10000"/>
                <a:gd name="connsiteX293" fmla="*/ 159 w 10088"/>
                <a:gd name="connsiteY293" fmla="*/ 7197 h 10000"/>
                <a:gd name="connsiteX294" fmla="*/ 131 w 10088"/>
                <a:gd name="connsiteY294" fmla="*/ 7166 h 10000"/>
                <a:gd name="connsiteX0" fmla="*/ 131 w 10000"/>
                <a:gd name="connsiteY0" fmla="*/ 7166 h 10000"/>
                <a:gd name="connsiteX1" fmla="*/ 0 w 10000"/>
                <a:gd name="connsiteY1" fmla="*/ 7248 h 10000"/>
                <a:gd name="connsiteX2" fmla="*/ 0 w 10000"/>
                <a:gd name="connsiteY2" fmla="*/ 7651 h 10000"/>
                <a:gd name="connsiteX3" fmla="*/ 73 w 10000"/>
                <a:gd name="connsiteY3" fmla="*/ 7663 h 10000"/>
                <a:gd name="connsiteX4" fmla="*/ 90 w 10000"/>
                <a:gd name="connsiteY4" fmla="*/ 7694 h 10000"/>
                <a:gd name="connsiteX5" fmla="*/ 86 w 10000"/>
                <a:gd name="connsiteY5" fmla="*/ 7749 h 10000"/>
                <a:gd name="connsiteX6" fmla="*/ 59 w 10000"/>
                <a:gd name="connsiteY6" fmla="*/ 7773 h 10000"/>
                <a:gd name="connsiteX7" fmla="*/ 168 w 10000"/>
                <a:gd name="connsiteY7" fmla="*/ 7727 h 10000"/>
                <a:gd name="connsiteX8" fmla="*/ 215 w 10000"/>
                <a:gd name="connsiteY8" fmla="*/ 7680 h 10000"/>
                <a:gd name="connsiteX9" fmla="*/ 272 w 10000"/>
                <a:gd name="connsiteY9" fmla="*/ 7712 h 10000"/>
                <a:gd name="connsiteX10" fmla="*/ 209 w 10000"/>
                <a:gd name="connsiteY10" fmla="*/ 7778 h 10000"/>
                <a:gd name="connsiteX11" fmla="*/ 277 w 10000"/>
                <a:gd name="connsiteY11" fmla="*/ 7780 h 10000"/>
                <a:gd name="connsiteX12" fmla="*/ 309 w 10000"/>
                <a:gd name="connsiteY12" fmla="*/ 7796 h 10000"/>
                <a:gd name="connsiteX13" fmla="*/ 223 w 10000"/>
                <a:gd name="connsiteY13" fmla="*/ 7818 h 10000"/>
                <a:gd name="connsiteX14" fmla="*/ 86 w 10000"/>
                <a:gd name="connsiteY14" fmla="*/ 7886 h 10000"/>
                <a:gd name="connsiteX15" fmla="*/ 329 w 10000"/>
                <a:gd name="connsiteY15" fmla="*/ 7938 h 10000"/>
                <a:gd name="connsiteX16" fmla="*/ 359 w 10000"/>
                <a:gd name="connsiteY16" fmla="*/ 8014 h 10000"/>
                <a:gd name="connsiteX17" fmla="*/ 277 w 10000"/>
                <a:gd name="connsiteY17" fmla="*/ 8126 h 10000"/>
                <a:gd name="connsiteX18" fmla="*/ 456 w 10000"/>
                <a:gd name="connsiteY18" fmla="*/ 8118 h 10000"/>
                <a:gd name="connsiteX19" fmla="*/ 469 w 10000"/>
                <a:gd name="connsiteY19" fmla="*/ 8203 h 10000"/>
                <a:gd name="connsiteX20" fmla="*/ 350 w 10000"/>
                <a:gd name="connsiteY20" fmla="*/ 8260 h 10000"/>
                <a:gd name="connsiteX21" fmla="*/ 369 w 10000"/>
                <a:gd name="connsiteY21" fmla="*/ 8370 h 10000"/>
                <a:gd name="connsiteX22" fmla="*/ 323 w 10000"/>
                <a:gd name="connsiteY22" fmla="*/ 8456 h 10000"/>
                <a:gd name="connsiteX23" fmla="*/ 464 w 10000"/>
                <a:gd name="connsiteY23" fmla="*/ 8464 h 10000"/>
                <a:gd name="connsiteX24" fmla="*/ 601 w 10000"/>
                <a:gd name="connsiteY24" fmla="*/ 8792 h 10000"/>
                <a:gd name="connsiteX25" fmla="*/ 760 w 10000"/>
                <a:gd name="connsiteY25" fmla="*/ 8876 h 10000"/>
                <a:gd name="connsiteX26" fmla="*/ 828 w 10000"/>
                <a:gd name="connsiteY26" fmla="*/ 8965 h 10000"/>
                <a:gd name="connsiteX27" fmla="*/ 1001 w 10000"/>
                <a:gd name="connsiteY27" fmla="*/ 9030 h 10000"/>
                <a:gd name="connsiteX28" fmla="*/ 1111 w 10000"/>
                <a:gd name="connsiteY28" fmla="*/ 9112 h 10000"/>
                <a:gd name="connsiteX29" fmla="*/ 1097 w 10000"/>
                <a:gd name="connsiteY29" fmla="*/ 9171 h 10000"/>
                <a:gd name="connsiteX30" fmla="*/ 988 w 10000"/>
                <a:gd name="connsiteY30" fmla="*/ 9193 h 10000"/>
                <a:gd name="connsiteX31" fmla="*/ 869 w 10000"/>
                <a:gd name="connsiteY31" fmla="*/ 9179 h 10000"/>
                <a:gd name="connsiteX32" fmla="*/ 832 w 10000"/>
                <a:gd name="connsiteY32" fmla="*/ 9204 h 10000"/>
                <a:gd name="connsiteX33" fmla="*/ 923 w 10000"/>
                <a:gd name="connsiteY33" fmla="*/ 9332 h 10000"/>
                <a:gd name="connsiteX34" fmla="*/ 796 w 10000"/>
                <a:gd name="connsiteY34" fmla="*/ 9322 h 10000"/>
                <a:gd name="connsiteX35" fmla="*/ 687 w 10000"/>
                <a:gd name="connsiteY35" fmla="*/ 9291 h 10000"/>
                <a:gd name="connsiteX36" fmla="*/ 668 w 10000"/>
                <a:gd name="connsiteY36" fmla="*/ 9338 h 10000"/>
                <a:gd name="connsiteX37" fmla="*/ 1028 w 10000"/>
                <a:gd name="connsiteY37" fmla="*/ 9776 h 10000"/>
                <a:gd name="connsiteX38" fmla="*/ 970 w 10000"/>
                <a:gd name="connsiteY38" fmla="*/ 9817 h 10000"/>
                <a:gd name="connsiteX39" fmla="*/ 929 w 10000"/>
                <a:gd name="connsiteY39" fmla="*/ 9902 h 10000"/>
                <a:gd name="connsiteX40" fmla="*/ 878 w 10000"/>
                <a:gd name="connsiteY40" fmla="*/ 9908 h 10000"/>
                <a:gd name="connsiteX41" fmla="*/ 846 w 10000"/>
                <a:gd name="connsiteY41" fmla="*/ 9945 h 10000"/>
                <a:gd name="connsiteX42" fmla="*/ 1064 w 10000"/>
                <a:gd name="connsiteY42" fmla="*/ 9949 h 10000"/>
                <a:gd name="connsiteX43" fmla="*/ 1256 w 10000"/>
                <a:gd name="connsiteY43" fmla="*/ 9986 h 10000"/>
                <a:gd name="connsiteX44" fmla="*/ 1574 w 10000"/>
                <a:gd name="connsiteY44" fmla="*/ 9947 h 10000"/>
                <a:gd name="connsiteX45" fmla="*/ 1860 w 10000"/>
                <a:gd name="connsiteY45" fmla="*/ 9953 h 10000"/>
                <a:gd name="connsiteX46" fmla="*/ 2030 w 10000"/>
                <a:gd name="connsiteY46" fmla="*/ 10000 h 10000"/>
                <a:gd name="connsiteX47" fmla="*/ 2121 w 10000"/>
                <a:gd name="connsiteY47" fmla="*/ 9969 h 10000"/>
                <a:gd name="connsiteX48" fmla="*/ 2211 w 10000"/>
                <a:gd name="connsiteY48" fmla="*/ 9868 h 10000"/>
                <a:gd name="connsiteX49" fmla="*/ 2188 w 10000"/>
                <a:gd name="connsiteY49" fmla="*/ 9703 h 10000"/>
                <a:gd name="connsiteX50" fmla="*/ 2407 w 10000"/>
                <a:gd name="connsiteY50" fmla="*/ 9517 h 10000"/>
                <a:gd name="connsiteX51" fmla="*/ 2566 w 10000"/>
                <a:gd name="connsiteY51" fmla="*/ 9546 h 10000"/>
                <a:gd name="connsiteX52" fmla="*/ 2657 w 10000"/>
                <a:gd name="connsiteY52" fmla="*/ 9472 h 10000"/>
                <a:gd name="connsiteX53" fmla="*/ 2834 w 10000"/>
                <a:gd name="connsiteY53" fmla="*/ 9430 h 10000"/>
                <a:gd name="connsiteX54" fmla="*/ 3075 w 10000"/>
                <a:gd name="connsiteY54" fmla="*/ 9440 h 10000"/>
                <a:gd name="connsiteX55" fmla="*/ 3221 w 10000"/>
                <a:gd name="connsiteY55" fmla="*/ 9470 h 10000"/>
                <a:gd name="connsiteX56" fmla="*/ 3413 w 10000"/>
                <a:gd name="connsiteY56" fmla="*/ 9456 h 10000"/>
                <a:gd name="connsiteX57" fmla="*/ 3608 w 10000"/>
                <a:gd name="connsiteY57" fmla="*/ 9489 h 10000"/>
                <a:gd name="connsiteX58" fmla="*/ 3803 w 10000"/>
                <a:gd name="connsiteY58" fmla="*/ 9493 h 10000"/>
                <a:gd name="connsiteX59" fmla="*/ 4240 w 10000"/>
                <a:gd name="connsiteY59" fmla="*/ 9061 h 10000"/>
                <a:gd name="connsiteX60" fmla="*/ 4350 w 10000"/>
                <a:gd name="connsiteY60" fmla="*/ 8711 h 10000"/>
                <a:gd name="connsiteX61" fmla="*/ 4527 w 10000"/>
                <a:gd name="connsiteY61" fmla="*/ 8554 h 10000"/>
                <a:gd name="connsiteX62" fmla="*/ 4527 w 10000"/>
                <a:gd name="connsiteY62" fmla="*/ 8472 h 10000"/>
                <a:gd name="connsiteX63" fmla="*/ 4463 w 10000"/>
                <a:gd name="connsiteY63" fmla="*/ 8425 h 10000"/>
                <a:gd name="connsiteX64" fmla="*/ 4568 w 10000"/>
                <a:gd name="connsiteY64" fmla="*/ 8352 h 10000"/>
                <a:gd name="connsiteX65" fmla="*/ 4549 w 10000"/>
                <a:gd name="connsiteY65" fmla="*/ 8289 h 10000"/>
                <a:gd name="connsiteX66" fmla="*/ 4477 w 10000"/>
                <a:gd name="connsiteY66" fmla="*/ 8236 h 10000"/>
                <a:gd name="connsiteX67" fmla="*/ 4463 w 10000"/>
                <a:gd name="connsiteY67" fmla="*/ 8199 h 10000"/>
                <a:gd name="connsiteX68" fmla="*/ 4481 w 10000"/>
                <a:gd name="connsiteY68" fmla="*/ 8169 h 10000"/>
                <a:gd name="connsiteX69" fmla="*/ 4577 w 10000"/>
                <a:gd name="connsiteY69" fmla="*/ 8193 h 10000"/>
                <a:gd name="connsiteX70" fmla="*/ 4654 w 10000"/>
                <a:gd name="connsiteY70" fmla="*/ 8191 h 10000"/>
                <a:gd name="connsiteX71" fmla="*/ 4612 w 10000"/>
                <a:gd name="connsiteY71" fmla="*/ 8140 h 10000"/>
                <a:gd name="connsiteX72" fmla="*/ 4626 w 10000"/>
                <a:gd name="connsiteY72" fmla="*/ 8112 h 10000"/>
                <a:gd name="connsiteX73" fmla="*/ 4681 w 10000"/>
                <a:gd name="connsiteY73" fmla="*/ 8069 h 10000"/>
                <a:gd name="connsiteX74" fmla="*/ 4672 w 10000"/>
                <a:gd name="connsiteY74" fmla="*/ 8034 h 10000"/>
                <a:gd name="connsiteX75" fmla="*/ 4723 w 10000"/>
                <a:gd name="connsiteY75" fmla="*/ 7916 h 10000"/>
                <a:gd name="connsiteX76" fmla="*/ 4710 w 10000"/>
                <a:gd name="connsiteY76" fmla="*/ 7881 h 10000"/>
                <a:gd name="connsiteX77" fmla="*/ 4445 w 10000"/>
                <a:gd name="connsiteY77" fmla="*/ 7792 h 10000"/>
                <a:gd name="connsiteX78" fmla="*/ 4481 w 10000"/>
                <a:gd name="connsiteY78" fmla="*/ 7788 h 10000"/>
                <a:gd name="connsiteX79" fmla="*/ 4622 w 10000"/>
                <a:gd name="connsiteY79" fmla="*/ 7812 h 10000"/>
                <a:gd name="connsiteX80" fmla="*/ 4773 w 10000"/>
                <a:gd name="connsiteY80" fmla="*/ 7804 h 10000"/>
                <a:gd name="connsiteX81" fmla="*/ 4818 w 10000"/>
                <a:gd name="connsiteY81" fmla="*/ 7771 h 10000"/>
                <a:gd name="connsiteX82" fmla="*/ 4672 w 10000"/>
                <a:gd name="connsiteY82" fmla="*/ 7710 h 10000"/>
                <a:gd name="connsiteX83" fmla="*/ 4236 w 10000"/>
                <a:gd name="connsiteY83" fmla="*/ 7670 h 10000"/>
                <a:gd name="connsiteX84" fmla="*/ 4266 w 10000"/>
                <a:gd name="connsiteY84" fmla="*/ 7651 h 10000"/>
                <a:gd name="connsiteX85" fmla="*/ 4622 w 10000"/>
                <a:gd name="connsiteY85" fmla="*/ 7639 h 10000"/>
                <a:gd name="connsiteX86" fmla="*/ 4818 w 10000"/>
                <a:gd name="connsiteY86" fmla="*/ 7676 h 10000"/>
                <a:gd name="connsiteX87" fmla="*/ 4932 w 10000"/>
                <a:gd name="connsiteY87" fmla="*/ 7651 h 10000"/>
                <a:gd name="connsiteX88" fmla="*/ 4973 w 10000"/>
                <a:gd name="connsiteY88" fmla="*/ 7588 h 10000"/>
                <a:gd name="connsiteX89" fmla="*/ 5177 w 10000"/>
                <a:gd name="connsiteY89" fmla="*/ 7588 h 10000"/>
                <a:gd name="connsiteX90" fmla="*/ 5455 w 10000"/>
                <a:gd name="connsiteY90" fmla="*/ 7462 h 10000"/>
                <a:gd name="connsiteX91" fmla="*/ 5465 w 10000"/>
                <a:gd name="connsiteY91" fmla="*/ 7378 h 10000"/>
                <a:gd name="connsiteX92" fmla="*/ 5582 w 10000"/>
                <a:gd name="connsiteY92" fmla="*/ 7397 h 10000"/>
                <a:gd name="connsiteX93" fmla="*/ 5578 w 10000"/>
                <a:gd name="connsiteY93" fmla="*/ 7482 h 10000"/>
                <a:gd name="connsiteX94" fmla="*/ 5764 w 10000"/>
                <a:gd name="connsiteY94" fmla="*/ 7476 h 10000"/>
                <a:gd name="connsiteX95" fmla="*/ 5887 w 10000"/>
                <a:gd name="connsiteY95" fmla="*/ 7388 h 10000"/>
                <a:gd name="connsiteX96" fmla="*/ 6116 w 10000"/>
                <a:gd name="connsiteY96" fmla="*/ 7309 h 10000"/>
                <a:gd name="connsiteX97" fmla="*/ 6078 w 10000"/>
                <a:gd name="connsiteY97" fmla="*/ 7219 h 10000"/>
                <a:gd name="connsiteX98" fmla="*/ 6146 w 10000"/>
                <a:gd name="connsiteY98" fmla="*/ 7254 h 10000"/>
                <a:gd name="connsiteX99" fmla="*/ 6251 w 10000"/>
                <a:gd name="connsiteY99" fmla="*/ 7254 h 10000"/>
                <a:gd name="connsiteX100" fmla="*/ 6251 w 10000"/>
                <a:gd name="connsiteY100" fmla="*/ 7213 h 10000"/>
                <a:gd name="connsiteX101" fmla="*/ 6347 w 10000"/>
                <a:gd name="connsiteY101" fmla="*/ 7181 h 10000"/>
                <a:gd name="connsiteX102" fmla="*/ 6333 w 10000"/>
                <a:gd name="connsiteY102" fmla="*/ 7148 h 10000"/>
                <a:gd name="connsiteX103" fmla="*/ 5515 w 10000"/>
                <a:gd name="connsiteY103" fmla="*/ 7215 h 10000"/>
                <a:gd name="connsiteX104" fmla="*/ 5323 w 10000"/>
                <a:gd name="connsiteY104" fmla="*/ 7195 h 10000"/>
                <a:gd name="connsiteX105" fmla="*/ 5246 w 10000"/>
                <a:gd name="connsiteY105" fmla="*/ 7219 h 10000"/>
                <a:gd name="connsiteX106" fmla="*/ 5219 w 10000"/>
                <a:gd name="connsiteY106" fmla="*/ 7173 h 10000"/>
                <a:gd name="connsiteX107" fmla="*/ 5128 w 10000"/>
                <a:gd name="connsiteY107" fmla="*/ 7132 h 10000"/>
                <a:gd name="connsiteX108" fmla="*/ 4763 w 10000"/>
                <a:gd name="connsiteY108" fmla="*/ 7052 h 10000"/>
                <a:gd name="connsiteX109" fmla="*/ 4549 w 10000"/>
                <a:gd name="connsiteY109" fmla="*/ 7065 h 10000"/>
                <a:gd name="connsiteX110" fmla="*/ 4463 w 10000"/>
                <a:gd name="connsiteY110" fmla="*/ 7042 h 10000"/>
                <a:gd name="connsiteX111" fmla="*/ 4554 w 10000"/>
                <a:gd name="connsiteY111" fmla="*/ 7022 h 10000"/>
                <a:gd name="connsiteX112" fmla="*/ 4622 w 10000"/>
                <a:gd name="connsiteY112" fmla="*/ 6979 h 10000"/>
                <a:gd name="connsiteX113" fmla="*/ 4723 w 10000"/>
                <a:gd name="connsiteY113" fmla="*/ 6993 h 10000"/>
                <a:gd name="connsiteX114" fmla="*/ 4845 w 10000"/>
                <a:gd name="connsiteY114" fmla="*/ 6981 h 10000"/>
                <a:gd name="connsiteX115" fmla="*/ 5027 w 10000"/>
                <a:gd name="connsiteY115" fmla="*/ 6995 h 10000"/>
                <a:gd name="connsiteX116" fmla="*/ 5049 w 10000"/>
                <a:gd name="connsiteY116" fmla="*/ 6989 h 10000"/>
                <a:gd name="connsiteX117" fmla="*/ 5191 w 10000"/>
                <a:gd name="connsiteY117" fmla="*/ 7056 h 10000"/>
                <a:gd name="connsiteX118" fmla="*/ 5296 w 10000"/>
                <a:gd name="connsiteY118" fmla="*/ 7032 h 10000"/>
                <a:gd name="connsiteX119" fmla="*/ 5304 w 10000"/>
                <a:gd name="connsiteY119" fmla="*/ 7010 h 10000"/>
                <a:gd name="connsiteX120" fmla="*/ 5400 w 10000"/>
                <a:gd name="connsiteY120" fmla="*/ 7048 h 10000"/>
                <a:gd name="connsiteX121" fmla="*/ 5528 w 10000"/>
                <a:gd name="connsiteY121" fmla="*/ 7069 h 10000"/>
                <a:gd name="connsiteX122" fmla="*/ 5578 w 10000"/>
                <a:gd name="connsiteY122" fmla="*/ 7030 h 10000"/>
                <a:gd name="connsiteX123" fmla="*/ 5619 w 10000"/>
                <a:gd name="connsiteY123" fmla="*/ 7052 h 10000"/>
                <a:gd name="connsiteX124" fmla="*/ 5677 w 10000"/>
                <a:gd name="connsiteY124" fmla="*/ 7126 h 10000"/>
                <a:gd name="connsiteX125" fmla="*/ 5800 w 10000"/>
                <a:gd name="connsiteY125" fmla="*/ 7144 h 10000"/>
                <a:gd name="connsiteX126" fmla="*/ 6301 w 10000"/>
                <a:gd name="connsiteY126" fmla="*/ 7034 h 10000"/>
                <a:gd name="connsiteX127" fmla="*/ 6547 w 10000"/>
                <a:gd name="connsiteY127" fmla="*/ 6879 h 10000"/>
                <a:gd name="connsiteX128" fmla="*/ 6605 w 10000"/>
                <a:gd name="connsiteY128" fmla="*/ 6765 h 10000"/>
                <a:gd name="connsiteX129" fmla="*/ 6516 w 10000"/>
                <a:gd name="connsiteY129" fmla="*/ 6663 h 10000"/>
                <a:gd name="connsiteX130" fmla="*/ 6328 w 10000"/>
                <a:gd name="connsiteY130" fmla="*/ 6602 h 10000"/>
                <a:gd name="connsiteX131" fmla="*/ 6196 w 10000"/>
                <a:gd name="connsiteY131" fmla="*/ 6502 h 10000"/>
                <a:gd name="connsiteX132" fmla="*/ 6320 w 10000"/>
                <a:gd name="connsiteY132" fmla="*/ 6498 h 10000"/>
                <a:gd name="connsiteX133" fmla="*/ 6311 w 10000"/>
                <a:gd name="connsiteY133" fmla="*/ 6474 h 10000"/>
                <a:gd name="connsiteX134" fmla="*/ 5988 w 10000"/>
                <a:gd name="connsiteY134" fmla="*/ 6403 h 10000"/>
                <a:gd name="connsiteX135" fmla="*/ 5975 w 10000"/>
                <a:gd name="connsiteY135" fmla="*/ 6339 h 10000"/>
                <a:gd name="connsiteX136" fmla="*/ 5914 w 10000"/>
                <a:gd name="connsiteY136" fmla="*/ 6272 h 10000"/>
                <a:gd name="connsiteX137" fmla="*/ 5659 w 10000"/>
                <a:gd name="connsiteY137" fmla="*/ 6284 h 10000"/>
                <a:gd name="connsiteX138" fmla="*/ 5568 w 10000"/>
                <a:gd name="connsiteY138" fmla="*/ 6213 h 10000"/>
                <a:gd name="connsiteX139" fmla="*/ 5515 w 10000"/>
                <a:gd name="connsiteY139" fmla="*/ 6209 h 10000"/>
                <a:gd name="connsiteX140" fmla="*/ 5515 w 10000"/>
                <a:gd name="connsiteY140" fmla="*/ 6238 h 10000"/>
                <a:gd name="connsiteX141" fmla="*/ 5400 w 10000"/>
                <a:gd name="connsiteY141" fmla="*/ 6358 h 10000"/>
                <a:gd name="connsiteX142" fmla="*/ 5277 w 10000"/>
                <a:gd name="connsiteY142" fmla="*/ 6429 h 10000"/>
                <a:gd name="connsiteX143" fmla="*/ 4890 w 10000"/>
                <a:gd name="connsiteY143" fmla="*/ 6551 h 10000"/>
                <a:gd name="connsiteX144" fmla="*/ 4754 w 10000"/>
                <a:gd name="connsiteY144" fmla="*/ 6547 h 10000"/>
                <a:gd name="connsiteX145" fmla="*/ 4568 w 10000"/>
                <a:gd name="connsiteY145" fmla="*/ 6565 h 10000"/>
                <a:gd name="connsiteX146" fmla="*/ 4463 w 10000"/>
                <a:gd name="connsiteY146" fmla="*/ 6547 h 10000"/>
                <a:gd name="connsiteX147" fmla="*/ 4599 w 10000"/>
                <a:gd name="connsiteY147" fmla="*/ 6513 h 10000"/>
                <a:gd name="connsiteX148" fmla="*/ 4777 w 10000"/>
                <a:gd name="connsiteY148" fmla="*/ 6498 h 10000"/>
                <a:gd name="connsiteX149" fmla="*/ 4924 w 10000"/>
                <a:gd name="connsiteY149" fmla="*/ 6441 h 10000"/>
                <a:gd name="connsiteX150" fmla="*/ 5067 w 10000"/>
                <a:gd name="connsiteY150" fmla="*/ 6415 h 10000"/>
                <a:gd name="connsiteX151" fmla="*/ 5337 w 10000"/>
                <a:gd name="connsiteY151" fmla="*/ 6317 h 10000"/>
                <a:gd name="connsiteX152" fmla="*/ 5387 w 10000"/>
                <a:gd name="connsiteY152" fmla="*/ 6252 h 10000"/>
                <a:gd name="connsiteX153" fmla="*/ 5391 w 10000"/>
                <a:gd name="connsiteY153" fmla="*/ 6168 h 10000"/>
                <a:gd name="connsiteX154" fmla="*/ 5269 w 10000"/>
                <a:gd name="connsiteY154" fmla="*/ 6154 h 10000"/>
                <a:gd name="connsiteX155" fmla="*/ 5323 w 10000"/>
                <a:gd name="connsiteY155" fmla="*/ 6103 h 10000"/>
                <a:gd name="connsiteX156" fmla="*/ 5341 w 10000"/>
                <a:gd name="connsiteY156" fmla="*/ 6038 h 10000"/>
                <a:gd name="connsiteX157" fmla="*/ 5290 w 10000"/>
                <a:gd name="connsiteY157" fmla="*/ 5977 h 10000"/>
                <a:gd name="connsiteX158" fmla="*/ 5259 w 10000"/>
                <a:gd name="connsiteY158" fmla="*/ 5533 h 10000"/>
                <a:gd name="connsiteX159" fmla="*/ 5333 w 10000"/>
                <a:gd name="connsiteY159" fmla="*/ 5437 h 10000"/>
                <a:gd name="connsiteX160" fmla="*/ 5314 w 10000"/>
                <a:gd name="connsiteY160" fmla="*/ 5398 h 10000"/>
                <a:gd name="connsiteX161" fmla="*/ 5528 w 10000"/>
                <a:gd name="connsiteY161" fmla="*/ 5455 h 10000"/>
                <a:gd name="connsiteX162" fmla="*/ 5542 w 10000"/>
                <a:gd name="connsiteY162" fmla="*/ 5402 h 10000"/>
                <a:gd name="connsiteX163" fmla="*/ 5496 w 10000"/>
                <a:gd name="connsiteY163" fmla="*/ 5264 h 10000"/>
                <a:gd name="connsiteX164" fmla="*/ 5649 w 10000"/>
                <a:gd name="connsiteY164" fmla="*/ 5019 h 10000"/>
                <a:gd name="connsiteX165" fmla="*/ 5555 w 10000"/>
                <a:gd name="connsiteY165" fmla="*/ 4960 h 10000"/>
                <a:gd name="connsiteX166" fmla="*/ 5519 w 10000"/>
                <a:gd name="connsiteY166" fmla="*/ 4905 h 10000"/>
                <a:gd name="connsiteX167" fmla="*/ 5532 w 10000"/>
                <a:gd name="connsiteY167" fmla="*/ 4816 h 10000"/>
                <a:gd name="connsiteX168" fmla="*/ 5756 w 10000"/>
                <a:gd name="connsiteY168" fmla="*/ 4875 h 10000"/>
                <a:gd name="connsiteX169" fmla="*/ 5764 w 10000"/>
                <a:gd name="connsiteY169" fmla="*/ 4858 h 10000"/>
                <a:gd name="connsiteX170" fmla="*/ 5827 w 10000"/>
                <a:gd name="connsiteY170" fmla="*/ 4842 h 10000"/>
                <a:gd name="connsiteX171" fmla="*/ 5914 w 10000"/>
                <a:gd name="connsiteY171" fmla="*/ 4785 h 10000"/>
                <a:gd name="connsiteX172" fmla="*/ 5928 w 10000"/>
                <a:gd name="connsiteY172" fmla="*/ 4769 h 10000"/>
                <a:gd name="connsiteX173" fmla="*/ 5910 w 10000"/>
                <a:gd name="connsiteY173" fmla="*/ 4748 h 10000"/>
                <a:gd name="connsiteX174" fmla="*/ 5954 w 10000"/>
                <a:gd name="connsiteY174" fmla="*/ 4647 h 10000"/>
                <a:gd name="connsiteX175" fmla="*/ 5901 w 10000"/>
                <a:gd name="connsiteY175" fmla="*/ 4581 h 10000"/>
                <a:gd name="connsiteX176" fmla="*/ 5910 w 10000"/>
                <a:gd name="connsiteY176" fmla="*/ 4528 h 10000"/>
                <a:gd name="connsiteX177" fmla="*/ 5941 w 10000"/>
                <a:gd name="connsiteY177" fmla="*/ 4590 h 10000"/>
                <a:gd name="connsiteX178" fmla="*/ 6064 w 10000"/>
                <a:gd name="connsiteY178" fmla="*/ 4636 h 10000"/>
                <a:gd name="connsiteX179" fmla="*/ 6116 w 10000"/>
                <a:gd name="connsiteY179" fmla="*/ 4630 h 10000"/>
                <a:gd name="connsiteX180" fmla="*/ 6196 w 10000"/>
                <a:gd name="connsiteY180" fmla="*/ 4569 h 10000"/>
                <a:gd name="connsiteX181" fmla="*/ 6283 w 10000"/>
                <a:gd name="connsiteY181" fmla="*/ 4594 h 10000"/>
                <a:gd name="connsiteX182" fmla="*/ 6307 w 10000"/>
                <a:gd name="connsiteY182" fmla="*/ 4545 h 10000"/>
                <a:gd name="connsiteX183" fmla="*/ 6365 w 10000"/>
                <a:gd name="connsiteY183" fmla="*/ 4512 h 10000"/>
                <a:gd name="connsiteX184" fmla="*/ 6205 w 10000"/>
                <a:gd name="connsiteY184" fmla="*/ 4477 h 10000"/>
                <a:gd name="connsiteX185" fmla="*/ 6320 w 10000"/>
                <a:gd name="connsiteY185" fmla="*/ 4484 h 10000"/>
                <a:gd name="connsiteX186" fmla="*/ 6437 w 10000"/>
                <a:gd name="connsiteY186" fmla="*/ 4447 h 10000"/>
                <a:gd name="connsiteX187" fmla="*/ 6433 w 10000"/>
                <a:gd name="connsiteY187" fmla="*/ 4422 h 10000"/>
                <a:gd name="connsiteX188" fmla="*/ 6543 w 10000"/>
                <a:gd name="connsiteY188" fmla="*/ 4398 h 10000"/>
                <a:gd name="connsiteX189" fmla="*/ 6552 w 10000"/>
                <a:gd name="connsiteY189" fmla="*/ 4337 h 10000"/>
                <a:gd name="connsiteX190" fmla="*/ 6638 w 10000"/>
                <a:gd name="connsiteY190" fmla="*/ 4325 h 10000"/>
                <a:gd name="connsiteX191" fmla="*/ 6646 w 10000"/>
                <a:gd name="connsiteY191" fmla="*/ 4253 h 10000"/>
                <a:gd name="connsiteX192" fmla="*/ 6737 w 10000"/>
                <a:gd name="connsiteY192" fmla="*/ 4245 h 10000"/>
                <a:gd name="connsiteX193" fmla="*/ 6879 w 10000"/>
                <a:gd name="connsiteY193" fmla="*/ 4260 h 10000"/>
                <a:gd name="connsiteX194" fmla="*/ 7033 w 10000"/>
                <a:gd name="connsiteY194" fmla="*/ 4202 h 10000"/>
                <a:gd name="connsiteX195" fmla="*/ 7088 w 10000"/>
                <a:gd name="connsiteY195" fmla="*/ 4137 h 10000"/>
                <a:gd name="connsiteX196" fmla="*/ 7279 w 10000"/>
                <a:gd name="connsiteY196" fmla="*/ 4070 h 10000"/>
                <a:gd name="connsiteX197" fmla="*/ 7374 w 10000"/>
                <a:gd name="connsiteY197" fmla="*/ 4111 h 10000"/>
                <a:gd name="connsiteX198" fmla="*/ 7520 w 10000"/>
                <a:gd name="connsiteY198" fmla="*/ 4066 h 10000"/>
                <a:gd name="connsiteX199" fmla="*/ 7556 w 10000"/>
                <a:gd name="connsiteY199" fmla="*/ 4009 h 10000"/>
                <a:gd name="connsiteX200" fmla="*/ 7666 w 10000"/>
                <a:gd name="connsiteY200" fmla="*/ 3970 h 10000"/>
                <a:gd name="connsiteX201" fmla="*/ 7761 w 10000"/>
                <a:gd name="connsiteY201" fmla="*/ 3987 h 10000"/>
                <a:gd name="connsiteX202" fmla="*/ 7820 w 10000"/>
                <a:gd name="connsiteY202" fmla="*/ 3958 h 10000"/>
                <a:gd name="connsiteX203" fmla="*/ 7984 w 10000"/>
                <a:gd name="connsiteY203" fmla="*/ 3917 h 10000"/>
                <a:gd name="connsiteX204" fmla="*/ 8052 w 10000"/>
                <a:gd name="connsiteY204" fmla="*/ 3864 h 10000"/>
                <a:gd name="connsiteX205" fmla="*/ 8144 w 10000"/>
                <a:gd name="connsiteY205" fmla="*/ 3842 h 10000"/>
                <a:gd name="connsiteX206" fmla="*/ 8649 w 10000"/>
                <a:gd name="connsiteY206" fmla="*/ 3522 h 10000"/>
                <a:gd name="connsiteX207" fmla="*/ 10000 w 10000"/>
                <a:gd name="connsiteY207" fmla="*/ 1271 h 10000"/>
                <a:gd name="connsiteX208" fmla="*/ 9969 w 10000"/>
                <a:gd name="connsiteY208" fmla="*/ 1194 h 10000"/>
                <a:gd name="connsiteX209" fmla="*/ 9909 w 10000"/>
                <a:gd name="connsiteY209" fmla="*/ 1159 h 10000"/>
                <a:gd name="connsiteX210" fmla="*/ 9858 w 10000"/>
                <a:gd name="connsiteY210" fmla="*/ 978 h 10000"/>
                <a:gd name="connsiteX211" fmla="*/ 9918 w 10000"/>
                <a:gd name="connsiteY211" fmla="*/ 831 h 10000"/>
                <a:gd name="connsiteX212" fmla="*/ 9481 w 10000"/>
                <a:gd name="connsiteY212" fmla="*/ 517 h 10000"/>
                <a:gd name="connsiteX213" fmla="*/ 9267 w 10000"/>
                <a:gd name="connsiteY213" fmla="*/ 440 h 10000"/>
                <a:gd name="connsiteX214" fmla="*/ 8871 w 10000"/>
                <a:gd name="connsiteY214" fmla="*/ 389 h 10000"/>
                <a:gd name="connsiteX215" fmla="*/ 8052 w 10000"/>
                <a:gd name="connsiteY215" fmla="*/ 26 h 10000"/>
                <a:gd name="connsiteX216" fmla="*/ 8025 w 10000"/>
                <a:gd name="connsiteY216" fmla="*/ 2 h 10000"/>
                <a:gd name="connsiteX217" fmla="*/ 7747 w 10000"/>
                <a:gd name="connsiteY217" fmla="*/ 0 h 10000"/>
                <a:gd name="connsiteX218" fmla="*/ 7684 w 10000"/>
                <a:gd name="connsiteY218" fmla="*/ 14 h 10000"/>
                <a:gd name="connsiteX219" fmla="*/ 7698 w 10000"/>
                <a:gd name="connsiteY219" fmla="*/ 61 h 10000"/>
                <a:gd name="connsiteX220" fmla="*/ 7752 w 10000"/>
                <a:gd name="connsiteY220" fmla="*/ 86 h 10000"/>
                <a:gd name="connsiteX221" fmla="*/ 7767 w 10000"/>
                <a:gd name="connsiteY221" fmla="*/ 139 h 10000"/>
                <a:gd name="connsiteX222" fmla="*/ 7747 w 10000"/>
                <a:gd name="connsiteY222" fmla="*/ 181 h 10000"/>
                <a:gd name="connsiteX223" fmla="*/ 7698 w 10000"/>
                <a:gd name="connsiteY223" fmla="*/ 208 h 10000"/>
                <a:gd name="connsiteX224" fmla="*/ 7661 w 10000"/>
                <a:gd name="connsiteY224" fmla="*/ 283 h 10000"/>
                <a:gd name="connsiteX225" fmla="*/ 7593 w 10000"/>
                <a:gd name="connsiteY225" fmla="*/ 336 h 10000"/>
                <a:gd name="connsiteX226" fmla="*/ 7607 w 10000"/>
                <a:gd name="connsiteY226" fmla="*/ 387 h 10000"/>
                <a:gd name="connsiteX227" fmla="*/ 7711 w 10000"/>
                <a:gd name="connsiteY227" fmla="*/ 434 h 10000"/>
                <a:gd name="connsiteX228" fmla="*/ 7643 w 10000"/>
                <a:gd name="connsiteY228" fmla="*/ 475 h 10000"/>
                <a:gd name="connsiteX229" fmla="*/ 7543 w 10000"/>
                <a:gd name="connsiteY229" fmla="*/ 485 h 10000"/>
                <a:gd name="connsiteX230" fmla="*/ 6706 w 10000"/>
                <a:gd name="connsiteY230" fmla="*/ 387 h 10000"/>
                <a:gd name="connsiteX231" fmla="*/ 6605 w 10000"/>
                <a:gd name="connsiteY231" fmla="*/ 395 h 10000"/>
                <a:gd name="connsiteX232" fmla="*/ 6547 w 10000"/>
                <a:gd name="connsiteY232" fmla="*/ 414 h 10000"/>
                <a:gd name="connsiteX233" fmla="*/ 6487 w 10000"/>
                <a:gd name="connsiteY233" fmla="*/ 462 h 10000"/>
                <a:gd name="connsiteX234" fmla="*/ 6498 w 10000"/>
                <a:gd name="connsiteY234" fmla="*/ 581 h 10000"/>
                <a:gd name="connsiteX235" fmla="*/ 6405 w 10000"/>
                <a:gd name="connsiteY235" fmla="*/ 735 h 10000"/>
                <a:gd name="connsiteX236" fmla="*/ 6292 w 10000"/>
                <a:gd name="connsiteY236" fmla="*/ 815 h 10000"/>
                <a:gd name="connsiteX237" fmla="*/ 6247 w 10000"/>
                <a:gd name="connsiteY237" fmla="*/ 805 h 10000"/>
                <a:gd name="connsiteX238" fmla="*/ 6142 w 10000"/>
                <a:gd name="connsiteY238" fmla="*/ 739 h 10000"/>
                <a:gd name="connsiteX239" fmla="*/ 6010 w 10000"/>
                <a:gd name="connsiteY239" fmla="*/ 705 h 10000"/>
                <a:gd name="connsiteX240" fmla="*/ 5868 w 10000"/>
                <a:gd name="connsiteY240" fmla="*/ 715 h 10000"/>
                <a:gd name="connsiteX241" fmla="*/ 5538 w 10000"/>
                <a:gd name="connsiteY241" fmla="*/ 866 h 10000"/>
                <a:gd name="connsiteX242" fmla="*/ 5450 w 10000"/>
                <a:gd name="connsiteY242" fmla="*/ 1017 h 10000"/>
                <a:gd name="connsiteX243" fmla="*/ 5201 w 10000"/>
                <a:gd name="connsiteY243" fmla="*/ 1153 h 10000"/>
                <a:gd name="connsiteX244" fmla="*/ 5155 w 10000"/>
                <a:gd name="connsiteY244" fmla="*/ 1222 h 10000"/>
                <a:gd name="connsiteX245" fmla="*/ 5286 w 10000"/>
                <a:gd name="connsiteY245" fmla="*/ 1344 h 10000"/>
                <a:gd name="connsiteX246" fmla="*/ 5300 w 10000"/>
                <a:gd name="connsiteY246" fmla="*/ 1412 h 10000"/>
                <a:gd name="connsiteX247" fmla="*/ 4618 w 10000"/>
                <a:gd name="connsiteY247" fmla="*/ 1813 h 10000"/>
                <a:gd name="connsiteX248" fmla="*/ 4408 w 10000"/>
                <a:gd name="connsiteY248" fmla="*/ 2070 h 10000"/>
                <a:gd name="connsiteX249" fmla="*/ 4182 w 10000"/>
                <a:gd name="connsiteY249" fmla="*/ 2135 h 10000"/>
                <a:gd name="connsiteX250" fmla="*/ 4039 w 10000"/>
                <a:gd name="connsiteY250" fmla="*/ 2131 h 10000"/>
                <a:gd name="connsiteX251" fmla="*/ 3954 w 10000"/>
                <a:gd name="connsiteY251" fmla="*/ 2153 h 10000"/>
                <a:gd name="connsiteX252" fmla="*/ 3717 w 10000"/>
                <a:gd name="connsiteY252" fmla="*/ 2793 h 10000"/>
                <a:gd name="connsiteX253" fmla="*/ 3172 w 10000"/>
                <a:gd name="connsiteY253" fmla="*/ 3166 h 10000"/>
                <a:gd name="connsiteX254" fmla="*/ 3176 w 10000"/>
                <a:gd name="connsiteY254" fmla="*/ 3225 h 10000"/>
                <a:gd name="connsiteX255" fmla="*/ 3417 w 10000"/>
                <a:gd name="connsiteY255" fmla="*/ 3392 h 10000"/>
                <a:gd name="connsiteX256" fmla="*/ 3340 w 10000"/>
                <a:gd name="connsiteY256" fmla="*/ 3573 h 10000"/>
                <a:gd name="connsiteX257" fmla="*/ 3198 w 10000"/>
                <a:gd name="connsiteY257" fmla="*/ 3640 h 10000"/>
                <a:gd name="connsiteX258" fmla="*/ 2775 w 10000"/>
                <a:gd name="connsiteY258" fmla="*/ 3595 h 10000"/>
                <a:gd name="connsiteX259" fmla="*/ 2483 w 10000"/>
                <a:gd name="connsiteY259" fmla="*/ 3620 h 10000"/>
                <a:gd name="connsiteX260" fmla="*/ 2248 w 10000"/>
                <a:gd name="connsiteY260" fmla="*/ 3673 h 10000"/>
                <a:gd name="connsiteX261" fmla="*/ 1870 w 10000"/>
                <a:gd name="connsiteY261" fmla="*/ 3840 h 10000"/>
                <a:gd name="connsiteX262" fmla="*/ 1669 w 10000"/>
                <a:gd name="connsiteY262" fmla="*/ 4042 h 10000"/>
                <a:gd name="connsiteX263" fmla="*/ 1687 w 10000"/>
                <a:gd name="connsiteY263" fmla="*/ 4154 h 10000"/>
                <a:gd name="connsiteX264" fmla="*/ 1757 w 10000"/>
                <a:gd name="connsiteY264" fmla="*/ 4241 h 10000"/>
                <a:gd name="connsiteX265" fmla="*/ 1810 w 10000"/>
                <a:gd name="connsiteY265" fmla="*/ 4276 h 10000"/>
                <a:gd name="connsiteX266" fmla="*/ 1711 w 10000"/>
                <a:gd name="connsiteY266" fmla="*/ 4331 h 10000"/>
                <a:gd name="connsiteX267" fmla="*/ 1497 w 10000"/>
                <a:gd name="connsiteY267" fmla="*/ 4710 h 10000"/>
                <a:gd name="connsiteX268" fmla="*/ 1538 w 10000"/>
                <a:gd name="connsiteY268" fmla="*/ 4732 h 10000"/>
                <a:gd name="connsiteX269" fmla="*/ 1570 w 10000"/>
                <a:gd name="connsiteY269" fmla="*/ 4828 h 10000"/>
                <a:gd name="connsiteX270" fmla="*/ 1469 w 10000"/>
                <a:gd name="connsiteY270" fmla="*/ 5227 h 10000"/>
                <a:gd name="connsiteX271" fmla="*/ 1570 w 10000"/>
                <a:gd name="connsiteY271" fmla="*/ 5329 h 10000"/>
                <a:gd name="connsiteX272" fmla="*/ 1842 w 10000"/>
                <a:gd name="connsiteY272" fmla="*/ 5441 h 10000"/>
                <a:gd name="connsiteX273" fmla="*/ 1855 w 10000"/>
                <a:gd name="connsiteY273" fmla="*/ 5578 h 10000"/>
                <a:gd name="connsiteX274" fmla="*/ 1739 w 10000"/>
                <a:gd name="connsiteY274" fmla="*/ 5690 h 10000"/>
                <a:gd name="connsiteX275" fmla="*/ 1570 w 10000"/>
                <a:gd name="connsiteY275" fmla="*/ 5759 h 10000"/>
                <a:gd name="connsiteX276" fmla="*/ 1346 w 10000"/>
                <a:gd name="connsiteY276" fmla="*/ 5787 h 10000"/>
                <a:gd name="connsiteX277" fmla="*/ 1288 w 10000"/>
                <a:gd name="connsiteY277" fmla="*/ 5826 h 10000"/>
                <a:gd name="connsiteX278" fmla="*/ 1419 w 10000"/>
                <a:gd name="connsiteY278" fmla="*/ 5920 h 10000"/>
                <a:gd name="connsiteX279" fmla="*/ 1493 w 10000"/>
                <a:gd name="connsiteY279" fmla="*/ 6142 h 10000"/>
                <a:gd name="connsiteX280" fmla="*/ 1324 w 10000"/>
                <a:gd name="connsiteY280" fmla="*/ 6333 h 10000"/>
                <a:gd name="connsiteX281" fmla="*/ 1383 w 10000"/>
                <a:gd name="connsiteY281" fmla="*/ 6392 h 10000"/>
                <a:gd name="connsiteX282" fmla="*/ 1329 w 10000"/>
                <a:gd name="connsiteY282" fmla="*/ 6492 h 10000"/>
                <a:gd name="connsiteX283" fmla="*/ 1220 w 10000"/>
                <a:gd name="connsiteY283" fmla="*/ 6561 h 10000"/>
                <a:gd name="connsiteX284" fmla="*/ 792 w 10000"/>
                <a:gd name="connsiteY284" fmla="*/ 6614 h 10000"/>
                <a:gd name="connsiteX285" fmla="*/ 765 w 10000"/>
                <a:gd name="connsiteY285" fmla="*/ 6706 h 10000"/>
                <a:gd name="connsiteX286" fmla="*/ 533 w 10000"/>
                <a:gd name="connsiteY286" fmla="*/ 6843 h 10000"/>
                <a:gd name="connsiteX287" fmla="*/ 564 w 10000"/>
                <a:gd name="connsiteY287" fmla="*/ 7040 h 10000"/>
                <a:gd name="connsiteX288" fmla="*/ 369 w 10000"/>
                <a:gd name="connsiteY288" fmla="*/ 7293 h 10000"/>
                <a:gd name="connsiteX289" fmla="*/ 236 w 10000"/>
                <a:gd name="connsiteY289" fmla="*/ 7323 h 10000"/>
                <a:gd name="connsiteX290" fmla="*/ 182 w 10000"/>
                <a:gd name="connsiteY290" fmla="*/ 7262 h 10000"/>
                <a:gd name="connsiteX291" fmla="*/ 114 w 10000"/>
                <a:gd name="connsiteY291" fmla="*/ 7354 h 10000"/>
                <a:gd name="connsiteX292" fmla="*/ 159 w 10000"/>
                <a:gd name="connsiteY292" fmla="*/ 7197 h 10000"/>
                <a:gd name="connsiteX293" fmla="*/ 131 w 10000"/>
                <a:gd name="connsiteY293" fmla="*/ 7166 h 10000"/>
                <a:gd name="connsiteX0" fmla="*/ 131 w 9969"/>
                <a:gd name="connsiteY0" fmla="*/ 7166 h 10000"/>
                <a:gd name="connsiteX1" fmla="*/ 0 w 9969"/>
                <a:gd name="connsiteY1" fmla="*/ 7248 h 10000"/>
                <a:gd name="connsiteX2" fmla="*/ 0 w 9969"/>
                <a:gd name="connsiteY2" fmla="*/ 7651 h 10000"/>
                <a:gd name="connsiteX3" fmla="*/ 73 w 9969"/>
                <a:gd name="connsiteY3" fmla="*/ 7663 h 10000"/>
                <a:gd name="connsiteX4" fmla="*/ 90 w 9969"/>
                <a:gd name="connsiteY4" fmla="*/ 7694 h 10000"/>
                <a:gd name="connsiteX5" fmla="*/ 86 w 9969"/>
                <a:gd name="connsiteY5" fmla="*/ 7749 h 10000"/>
                <a:gd name="connsiteX6" fmla="*/ 59 w 9969"/>
                <a:gd name="connsiteY6" fmla="*/ 7773 h 10000"/>
                <a:gd name="connsiteX7" fmla="*/ 168 w 9969"/>
                <a:gd name="connsiteY7" fmla="*/ 7727 h 10000"/>
                <a:gd name="connsiteX8" fmla="*/ 215 w 9969"/>
                <a:gd name="connsiteY8" fmla="*/ 7680 h 10000"/>
                <a:gd name="connsiteX9" fmla="*/ 272 w 9969"/>
                <a:gd name="connsiteY9" fmla="*/ 7712 h 10000"/>
                <a:gd name="connsiteX10" fmla="*/ 209 w 9969"/>
                <a:gd name="connsiteY10" fmla="*/ 7778 h 10000"/>
                <a:gd name="connsiteX11" fmla="*/ 277 w 9969"/>
                <a:gd name="connsiteY11" fmla="*/ 7780 h 10000"/>
                <a:gd name="connsiteX12" fmla="*/ 309 w 9969"/>
                <a:gd name="connsiteY12" fmla="*/ 7796 h 10000"/>
                <a:gd name="connsiteX13" fmla="*/ 223 w 9969"/>
                <a:gd name="connsiteY13" fmla="*/ 7818 h 10000"/>
                <a:gd name="connsiteX14" fmla="*/ 86 w 9969"/>
                <a:gd name="connsiteY14" fmla="*/ 7886 h 10000"/>
                <a:gd name="connsiteX15" fmla="*/ 329 w 9969"/>
                <a:gd name="connsiteY15" fmla="*/ 7938 h 10000"/>
                <a:gd name="connsiteX16" fmla="*/ 359 w 9969"/>
                <a:gd name="connsiteY16" fmla="*/ 8014 h 10000"/>
                <a:gd name="connsiteX17" fmla="*/ 277 w 9969"/>
                <a:gd name="connsiteY17" fmla="*/ 8126 h 10000"/>
                <a:gd name="connsiteX18" fmla="*/ 456 w 9969"/>
                <a:gd name="connsiteY18" fmla="*/ 8118 h 10000"/>
                <a:gd name="connsiteX19" fmla="*/ 469 w 9969"/>
                <a:gd name="connsiteY19" fmla="*/ 8203 h 10000"/>
                <a:gd name="connsiteX20" fmla="*/ 350 w 9969"/>
                <a:gd name="connsiteY20" fmla="*/ 8260 h 10000"/>
                <a:gd name="connsiteX21" fmla="*/ 369 w 9969"/>
                <a:gd name="connsiteY21" fmla="*/ 8370 h 10000"/>
                <a:gd name="connsiteX22" fmla="*/ 323 w 9969"/>
                <a:gd name="connsiteY22" fmla="*/ 8456 h 10000"/>
                <a:gd name="connsiteX23" fmla="*/ 464 w 9969"/>
                <a:gd name="connsiteY23" fmla="*/ 8464 h 10000"/>
                <a:gd name="connsiteX24" fmla="*/ 601 w 9969"/>
                <a:gd name="connsiteY24" fmla="*/ 8792 h 10000"/>
                <a:gd name="connsiteX25" fmla="*/ 760 w 9969"/>
                <a:gd name="connsiteY25" fmla="*/ 8876 h 10000"/>
                <a:gd name="connsiteX26" fmla="*/ 828 w 9969"/>
                <a:gd name="connsiteY26" fmla="*/ 8965 h 10000"/>
                <a:gd name="connsiteX27" fmla="*/ 1001 w 9969"/>
                <a:gd name="connsiteY27" fmla="*/ 9030 h 10000"/>
                <a:gd name="connsiteX28" fmla="*/ 1111 w 9969"/>
                <a:gd name="connsiteY28" fmla="*/ 9112 h 10000"/>
                <a:gd name="connsiteX29" fmla="*/ 1097 w 9969"/>
                <a:gd name="connsiteY29" fmla="*/ 9171 h 10000"/>
                <a:gd name="connsiteX30" fmla="*/ 988 w 9969"/>
                <a:gd name="connsiteY30" fmla="*/ 9193 h 10000"/>
                <a:gd name="connsiteX31" fmla="*/ 869 w 9969"/>
                <a:gd name="connsiteY31" fmla="*/ 9179 h 10000"/>
                <a:gd name="connsiteX32" fmla="*/ 832 w 9969"/>
                <a:gd name="connsiteY32" fmla="*/ 9204 h 10000"/>
                <a:gd name="connsiteX33" fmla="*/ 923 w 9969"/>
                <a:gd name="connsiteY33" fmla="*/ 9332 h 10000"/>
                <a:gd name="connsiteX34" fmla="*/ 796 w 9969"/>
                <a:gd name="connsiteY34" fmla="*/ 9322 h 10000"/>
                <a:gd name="connsiteX35" fmla="*/ 687 w 9969"/>
                <a:gd name="connsiteY35" fmla="*/ 9291 h 10000"/>
                <a:gd name="connsiteX36" fmla="*/ 668 w 9969"/>
                <a:gd name="connsiteY36" fmla="*/ 9338 h 10000"/>
                <a:gd name="connsiteX37" fmla="*/ 1028 w 9969"/>
                <a:gd name="connsiteY37" fmla="*/ 9776 h 10000"/>
                <a:gd name="connsiteX38" fmla="*/ 970 w 9969"/>
                <a:gd name="connsiteY38" fmla="*/ 9817 h 10000"/>
                <a:gd name="connsiteX39" fmla="*/ 929 w 9969"/>
                <a:gd name="connsiteY39" fmla="*/ 9902 h 10000"/>
                <a:gd name="connsiteX40" fmla="*/ 878 w 9969"/>
                <a:gd name="connsiteY40" fmla="*/ 9908 h 10000"/>
                <a:gd name="connsiteX41" fmla="*/ 846 w 9969"/>
                <a:gd name="connsiteY41" fmla="*/ 9945 h 10000"/>
                <a:gd name="connsiteX42" fmla="*/ 1064 w 9969"/>
                <a:gd name="connsiteY42" fmla="*/ 9949 h 10000"/>
                <a:gd name="connsiteX43" fmla="*/ 1256 w 9969"/>
                <a:gd name="connsiteY43" fmla="*/ 9986 h 10000"/>
                <a:gd name="connsiteX44" fmla="*/ 1574 w 9969"/>
                <a:gd name="connsiteY44" fmla="*/ 9947 h 10000"/>
                <a:gd name="connsiteX45" fmla="*/ 1860 w 9969"/>
                <a:gd name="connsiteY45" fmla="*/ 9953 h 10000"/>
                <a:gd name="connsiteX46" fmla="*/ 2030 w 9969"/>
                <a:gd name="connsiteY46" fmla="*/ 10000 h 10000"/>
                <a:gd name="connsiteX47" fmla="*/ 2121 w 9969"/>
                <a:gd name="connsiteY47" fmla="*/ 9969 h 10000"/>
                <a:gd name="connsiteX48" fmla="*/ 2211 w 9969"/>
                <a:gd name="connsiteY48" fmla="*/ 9868 h 10000"/>
                <a:gd name="connsiteX49" fmla="*/ 2188 w 9969"/>
                <a:gd name="connsiteY49" fmla="*/ 9703 h 10000"/>
                <a:gd name="connsiteX50" fmla="*/ 2407 w 9969"/>
                <a:gd name="connsiteY50" fmla="*/ 9517 h 10000"/>
                <a:gd name="connsiteX51" fmla="*/ 2566 w 9969"/>
                <a:gd name="connsiteY51" fmla="*/ 9546 h 10000"/>
                <a:gd name="connsiteX52" fmla="*/ 2657 w 9969"/>
                <a:gd name="connsiteY52" fmla="*/ 9472 h 10000"/>
                <a:gd name="connsiteX53" fmla="*/ 2834 w 9969"/>
                <a:gd name="connsiteY53" fmla="*/ 9430 h 10000"/>
                <a:gd name="connsiteX54" fmla="*/ 3075 w 9969"/>
                <a:gd name="connsiteY54" fmla="*/ 9440 h 10000"/>
                <a:gd name="connsiteX55" fmla="*/ 3221 w 9969"/>
                <a:gd name="connsiteY55" fmla="*/ 9470 h 10000"/>
                <a:gd name="connsiteX56" fmla="*/ 3413 w 9969"/>
                <a:gd name="connsiteY56" fmla="*/ 9456 h 10000"/>
                <a:gd name="connsiteX57" fmla="*/ 3608 w 9969"/>
                <a:gd name="connsiteY57" fmla="*/ 9489 h 10000"/>
                <a:gd name="connsiteX58" fmla="*/ 3803 w 9969"/>
                <a:gd name="connsiteY58" fmla="*/ 9493 h 10000"/>
                <a:gd name="connsiteX59" fmla="*/ 4240 w 9969"/>
                <a:gd name="connsiteY59" fmla="*/ 9061 h 10000"/>
                <a:gd name="connsiteX60" fmla="*/ 4350 w 9969"/>
                <a:gd name="connsiteY60" fmla="*/ 8711 h 10000"/>
                <a:gd name="connsiteX61" fmla="*/ 4527 w 9969"/>
                <a:gd name="connsiteY61" fmla="*/ 8554 h 10000"/>
                <a:gd name="connsiteX62" fmla="*/ 4527 w 9969"/>
                <a:gd name="connsiteY62" fmla="*/ 8472 h 10000"/>
                <a:gd name="connsiteX63" fmla="*/ 4463 w 9969"/>
                <a:gd name="connsiteY63" fmla="*/ 8425 h 10000"/>
                <a:gd name="connsiteX64" fmla="*/ 4568 w 9969"/>
                <a:gd name="connsiteY64" fmla="*/ 8352 h 10000"/>
                <a:gd name="connsiteX65" fmla="*/ 4549 w 9969"/>
                <a:gd name="connsiteY65" fmla="*/ 8289 h 10000"/>
                <a:gd name="connsiteX66" fmla="*/ 4477 w 9969"/>
                <a:gd name="connsiteY66" fmla="*/ 8236 h 10000"/>
                <a:gd name="connsiteX67" fmla="*/ 4463 w 9969"/>
                <a:gd name="connsiteY67" fmla="*/ 8199 h 10000"/>
                <a:gd name="connsiteX68" fmla="*/ 4481 w 9969"/>
                <a:gd name="connsiteY68" fmla="*/ 8169 h 10000"/>
                <a:gd name="connsiteX69" fmla="*/ 4577 w 9969"/>
                <a:gd name="connsiteY69" fmla="*/ 8193 h 10000"/>
                <a:gd name="connsiteX70" fmla="*/ 4654 w 9969"/>
                <a:gd name="connsiteY70" fmla="*/ 8191 h 10000"/>
                <a:gd name="connsiteX71" fmla="*/ 4612 w 9969"/>
                <a:gd name="connsiteY71" fmla="*/ 8140 h 10000"/>
                <a:gd name="connsiteX72" fmla="*/ 4626 w 9969"/>
                <a:gd name="connsiteY72" fmla="*/ 8112 h 10000"/>
                <a:gd name="connsiteX73" fmla="*/ 4681 w 9969"/>
                <a:gd name="connsiteY73" fmla="*/ 8069 h 10000"/>
                <a:gd name="connsiteX74" fmla="*/ 4672 w 9969"/>
                <a:gd name="connsiteY74" fmla="*/ 8034 h 10000"/>
                <a:gd name="connsiteX75" fmla="*/ 4723 w 9969"/>
                <a:gd name="connsiteY75" fmla="*/ 7916 h 10000"/>
                <a:gd name="connsiteX76" fmla="*/ 4710 w 9969"/>
                <a:gd name="connsiteY76" fmla="*/ 7881 h 10000"/>
                <a:gd name="connsiteX77" fmla="*/ 4445 w 9969"/>
                <a:gd name="connsiteY77" fmla="*/ 7792 h 10000"/>
                <a:gd name="connsiteX78" fmla="*/ 4481 w 9969"/>
                <a:gd name="connsiteY78" fmla="*/ 7788 h 10000"/>
                <a:gd name="connsiteX79" fmla="*/ 4622 w 9969"/>
                <a:gd name="connsiteY79" fmla="*/ 7812 h 10000"/>
                <a:gd name="connsiteX80" fmla="*/ 4773 w 9969"/>
                <a:gd name="connsiteY80" fmla="*/ 7804 h 10000"/>
                <a:gd name="connsiteX81" fmla="*/ 4818 w 9969"/>
                <a:gd name="connsiteY81" fmla="*/ 7771 h 10000"/>
                <a:gd name="connsiteX82" fmla="*/ 4672 w 9969"/>
                <a:gd name="connsiteY82" fmla="*/ 7710 h 10000"/>
                <a:gd name="connsiteX83" fmla="*/ 4236 w 9969"/>
                <a:gd name="connsiteY83" fmla="*/ 7670 h 10000"/>
                <a:gd name="connsiteX84" fmla="*/ 4266 w 9969"/>
                <a:gd name="connsiteY84" fmla="*/ 7651 h 10000"/>
                <a:gd name="connsiteX85" fmla="*/ 4622 w 9969"/>
                <a:gd name="connsiteY85" fmla="*/ 7639 h 10000"/>
                <a:gd name="connsiteX86" fmla="*/ 4818 w 9969"/>
                <a:gd name="connsiteY86" fmla="*/ 7676 h 10000"/>
                <a:gd name="connsiteX87" fmla="*/ 4932 w 9969"/>
                <a:gd name="connsiteY87" fmla="*/ 7651 h 10000"/>
                <a:gd name="connsiteX88" fmla="*/ 4973 w 9969"/>
                <a:gd name="connsiteY88" fmla="*/ 7588 h 10000"/>
                <a:gd name="connsiteX89" fmla="*/ 5177 w 9969"/>
                <a:gd name="connsiteY89" fmla="*/ 7588 h 10000"/>
                <a:gd name="connsiteX90" fmla="*/ 5455 w 9969"/>
                <a:gd name="connsiteY90" fmla="*/ 7462 h 10000"/>
                <a:gd name="connsiteX91" fmla="*/ 5465 w 9969"/>
                <a:gd name="connsiteY91" fmla="*/ 7378 h 10000"/>
                <a:gd name="connsiteX92" fmla="*/ 5582 w 9969"/>
                <a:gd name="connsiteY92" fmla="*/ 7397 h 10000"/>
                <a:gd name="connsiteX93" fmla="*/ 5578 w 9969"/>
                <a:gd name="connsiteY93" fmla="*/ 7482 h 10000"/>
                <a:gd name="connsiteX94" fmla="*/ 5764 w 9969"/>
                <a:gd name="connsiteY94" fmla="*/ 7476 h 10000"/>
                <a:gd name="connsiteX95" fmla="*/ 5887 w 9969"/>
                <a:gd name="connsiteY95" fmla="*/ 7388 h 10000"/>
                <a:gd name="connsiteX96" fmla="*/ 6116 w 9969"/>
                <a:gd name="connsiteY96" fmla="*/ 7309 h 10000"/>
                <a:gd name="connsiteX97" fmla="*/ 6078 w 9969"/>
                <a:gd name="connsiteY97" fmla="*/ 7219 h 10000"/>
                <a:gd name="connsiteX98" fmla="*/ 6146 w 9969"/>
                <a:gd name="connsiteY98" fmla="*/ 7254 h 10000"/>
                <a:gd name="connsiteX99" fmla="*/ 6251 w 9969"/>
                <a:gd name="connsiteY99" fmla="*/ 7254 h 10000"/>
                <a:gd name="connsiteX100" fmla="*/ 6251 w 9969"/>
                <a:gd name="connsiteY100" fmla="*/ 7213 h 10000"/>
                <a:gd name="connsiteX101" fmla="*/ 6347 w 9969"/>
                <a:gd name="connsiteY101" fmla="*/ 7181 h 10000"/>
                <a:gd name="connsiteX102" fmla="*/ 6333 w 9969"/>
                <a:gd name="connsiteY102" fmla="*/ 7148 h 10000"/>
                <a:gd name="connsiteX103" fmla="*/ 5515 w 9969"/>
                <a:gd name="connsiteY103" fmla="*/ 7215 h 10000"/>
                <a:gd name="connsiteX104" fmla="*/ 5323 w 9969"/>
                <a:gd name="connsiteY104" fmla="*/ 7195 h 10000"/>
                <a:gd name="connsiteX105" fmla="*/ 5246 w 9969"/>
                <a:gd name="connsiteY105" fmla="*/ 7219 h 10000"/>
                <a:gd name="connsiteX106" fmla="*/ 5219 w 9969"/>
                <a:gd name="connsiteY106" fmla="*/ 7173 h 10000"/>
                <a:gd name="connsiteX107" fmla="*/ 5128 w 9969"/>
                <a:gd name="connsiteY107" fmla="*/ 7132 h 10000"/>
                <a:gd name="connsiteX108" fmla="*/ 4763 w 9969"/>
                <a:gd name="connsiteY108" fmla="*/ 7052 h 10000"/>
                <a:gd name="connsiteX109" fmla="*/ 4549 w 9969"/>
                <a:gd name="connsiteY109" fmla="*/ 7065 h 10000"/>
                <a:gd name="connsiteX110" fmla="*/ 4463 w 9969"/>
                <a:gd name="connsiteY110" fmla="*/ 7042 h 10000"/>
                <a:gd name="connsiteX111" fmla="*/ 4554 w 9969"/>
                <a:gd name="connsiteY111" fmla="*/ 7022 h 10000"/>
                <a:gd name="connsiteX112" fmla="*/ 4622 w 9969"/>
                <a:gd name="connsiteY112" fmla="*/ 6979 h 10000"/>
                <a:gd name="connsiteX113" fmla="*/ 4723 w 9969"/>
                <a:gd name="connsiteY113" fmla="*/ 6993 h 10000"/>
                <a:gd name="connsiteX114" fmla="*/ 4845 w 9969"/>
                <a:gd name="connsiteY114" fmla="*/ 6981 h 10000"/>
                <a:gd name="connsiteX115" fmla="*/ 5027 w 9969"/>
                <a:gd name="connsiteY115" fmla="*/ 6995 h 10000"/>
                <a:gd name="connsiteX116" fmla="*/ 5049 w 9969"/>
                <a:gd name="connsiteY116" fmla="*/ 6989 h 10000"/>
                <a:gd name="connsiteX117" fmla="*/ 5191 w 9969"/>
                <a:gd name="connsiteY117" fmla="*/ 7056 h 10000"/>
                <a:gd name="connsiteX118" fmla="*/ 5296 w 9969"/>
                <a:gd name="connsiteY118" fmla="*/ 7032 h 10000"/>
                <a:gd name="connsiteX119" fmla="*/ 5304 w 9969"/>
                <a:gd name="connsiteY119" fmla="*/ 7010 h 10000"/>
                <a:gd name="connsiteX120" fmla="*/ 5400 w 9969"/>
                <a:gd name="connsiteY120" fmla="*/ 7048 h 10000"/>
                <a:gd name="connsiteX121" fmla="*/ 5528 w 9969"/>
                <a:gd name="connsiteY121" fmla="*/ 7069 h 10000"/>
                <a:gd name="connsiteX122" fmla="*/ 5578 w 9969"/>
                <a:gd name="connsiteY122" fmla="*/ 7030 h 10000"/>
                <a:gd name="connsiteX123" fmla="*/ 5619 w 9969"/>
                <a:gd name="connsiteY123" fmla="*/ 7052 h 10000"/>
                <a:gd name="connsiteX124" fmla="*/ 5677 w 9969"/>
                <a:gd name="connsiteY124" fmla="*/ 7126 h 10000"/>
                <a:gd name="connsiteX125" fmla="*/ 5800 w 9969"/>
                <a:gd name="connsiteY125" fmla="*/ 7144 h 10000"/>
                <a:gd name="connsiteX126" fmla="*/ 6301 w 9969"/>
                <a:gd name="connsiteY126" fmla="*/ 7034 h 10000"/>
                <a:gd name="connsiteX127" fmla="*/ 6547 w 9969"/>
                <a:gd name="connsiteY127" fmla="*/ 6879 h 10000"/>
                <a:gd name="connsiteX128" fmla="*/ 6605 w 9969"/>
                <a:gd name="connsiteY128" fmla="*/ 6765 h 10000"/>
                <a:gd name="connsiteX129" fmla="*/ 6516 w 9969"/>
                <a:gd name="connsiteY129" fmla="*/ 6663 h 10000"/>
                <a:gd name="connsiteX130" fmla="*/ 6328 w 9969"/>
                <a:gd name="connsiteY130" fmla="*/ 6602 h 10000"/>
                <a:gd name="connsiteX131" fmla="*/ 6196 w 9969"/>
                <a:gd name="connsiteY131" fmla="*/ 6502 h 10000"/>
                <a:gd name="connsiteX132" fmla="*/ 6320 w 9969"/>
                <a:gd name="connsiteY132" fmla="*/ 6498 h 10000"/>
                <a:gd name="connsiteX133" fmla="*/ 6311 w 9969"/>
                <a:gd name="connsiteY133" fmla="*/ 6474 h 10000"/>
                <a:gd name="connsiteX134" fmla="*/ 5988 w 9969"/>
                <a:gd name="connsiteY134" fmla="*/ 6403 h 10000"/>
                <a:gd name="connsiteX135" fmla="*/ 5975 w 9969"/>
                <a:gd name="connsiteY135" fmla="*/ 6339 h 10000"/>
                <a:gd name="connsiteX136" fmla="*/ 5914 w 9969"/>
                <a:gd name="connsiteY136" fmla="*/ 6272 h 10000"/>
                <a:gd name="connsiteX137" fmla="*/ 5659 w 9969"/>
                <a:gd name="connsiteY137" fmla="*/ 6284 h 10000"/>
                <a:gd name="connsiteX138" fmla="*/ 5568 w 9969"/>
                <a:gd name="connsiteY138" fmla="*/ 6213 h 10000"/>
                <a:gd name="connsiteX139" fmla="*/ 5515 w 9969"/>
                <a:gd name="connsiteY139" fmla="*/ 6209 h 10000"/>
                <a:gd name="connsiteX140" fmla="*/ 5515 w 9969"/>
                <a:gd name="connsiteY140" fmla="*/ 6238 h 10000"/>
                <a:gd name="connsiteX141" fmla="*/ 5400 w 9969"/>
                <a:gd name="connsiteY141" fmla="*/ 6358 h 10000"/>
                <a:gd name="connsiteX142" fmla="*/ 5277 w 9969"/>
                <a:gd name="connsiteY142" fmla="*/ 6429 h 10000"/>
                <a:gd name="connsiteX143" fmla="*/ 4890 w 9969"/>
                <a:gd name="connsiteY143" fmla="*/ 6551 h 10000"/>
                <a:gd name="connsiteX144" fmla="*/ 4754 w 9969"/>
                <a:gd name="connsiteY144" fmla="*/ 6547 h 10000"/>
                <a:gd name="connsiteX145" fmla="*/ 4568 w 9969"/>
                <a:gd name="connsiteY145" fmla="*/ 6565 h 10000"/>
                <a:gd name="connsiteX146" fmla="*/ 4463 w 9969"/>
                <a:gd name="connsiteY146" fmla="*/ 6547 h 10000"/>
                <a:gd name="connsiteX147" fmla="*/ 4599 w 9969"/>
                <a:gd name="connsiteY147" fmla="*/ 6513 h 10000"/>
                <a:gd name="connsiteX148" fmla="*/ 4777 w 9969"/>
                <a:gd name="connsiteY148" fmla="*/ 6498 h 10000"/>
                <a:gd name="connsiteX149" fmla="*/ 4924 w 9969"/>
                <a:gd name="connsiteY149" fmla="*/ 6441 h 10000"/>
                <a:gd name="connsiteX150" fmla="*/ 5067 w 9969"/>
                <a:gd name="connsiteY150" fmla="*/ 6415 h 10000"/>
                <a:gd name="connsiteX151" fmla="*/ 5337 w 9969"/>
                <a:gd name="connsiteY151" fmla="*/ 6317 h 10000"/>
                <a:gd name="connsiteX152" fmla="*/ 5387 w 9969"/>
                <a:gd name="connsiteY152" fmla="*/ 6252 h 10000"/>
                <a:gd name="connsiteX153" fmla="*/ 5391 w 9969"/>
                <a:gd name="connsiteY153" fmla="*/ 6168 h 10000"/>
                <a:gd name="connsiteX154" fmla="*/ 5269 w 9969"/>
                <a:gd name="connsiteY154" fmla="*/ 6154 h 10000"/>
                <a:gd name="connsiteX155" fmla="*/ 5323 w 9969"/>
                <a:gd name="connsiteY155" fmla="*/ 6103 h 10000"/>
                <a:gd name="connsiteX156" fmla="*/ 5341 w 9969"/>
                <a:gd name="connsiteY156" fmla="*/ 6038 h 10000"/>
                <a:gd name="connsiteX157" fmla="*/ 5290 w 9969"/>
                <a:gd name="connsiteY157" fmla="*/ 5977 h 10000"/>
                <a:gd name="connsiteX158" fmla="*/ 5259 w 9969"/>
                <a:gd name="connsiteY158" fmla="*/ 5533 h 10000"/>
                <a:gd name="connsiteX159" fmla="*/ 5333 w 9969"/>
                <a:gd name="connsiteY159" fmla="*/ 5437 h 10000"/>
                <a:gd name="connsiteX160" fmla="*/ 5314 w 9969"/>
                <a:gd name="connsiteY160" fmla="*/ 5398 h 10000"/>
                <a:gd name="connsiteX161" fmla="*/ 5528 w 9969"/>
                <a:gd name="connsiteY161" fmla="*/ 5455 h 10000"/>
                <a:gd name="connsiteX162" fmla="*/ 5542 w 9969"/>
                <a:gd name="connsiteY162" fmla="*/ 5402 h 10000"/>
                <a:gd name="connsiteX163" fmla="*/ 5496 w 9969"/>
                <a:gd name="connsiteY163" fmla="*/ 5264 h 10000"/>
                <a:gd name="connsiteX164" fmla="*/ 5649 w 9969"/>
                <a:gd name="connsiteY164" fmla="*/ 5019 h 10000"/>
                <a:gd name="connsiteX165" fmla="*/ 5555 w 9969"/>
                <a:gd name="connsiteY165" fmla="*/ 4960 h 10000"/>
                <a:gd name="connsiteX166" fmla="*/ 5519 w 9969"/>
                <a:gd name="connsiteY166" fmla="*/ 4905 h 10000"/>
                <a:gd name="connsiteX167" fmla="*/ 5532 w 9969"/>
                <a:gd name="connsiteY167" fmla="*/ 4816 h 10000"/>
                <a:gd name="connsiteX168" fmla="*/ 5756 w 9969"/>
                <a:gd name="connsiteY168" fmla="*/ 4875 h 10000"/>
                <a:gd name="connsiteX169" fmla="*/ 5764 w 9969"/>
                <a:gd name="connsiteY169" fmla="*/ 4858 h 10000"/>
                <a:gd name="connsiteX170" fmla="*/ 5827 w 9969"/>
                <a:gd name="connsiteY170" fmla="*/ 4842 h 10000"/>
                <a:gd name="connsiteX171" fmla="*/ 5914 w 9969"/>
                <a:gd name="connsiteY171" fmla="*/ 4785 h 10000"/>
                <a:gd name="connsiteX172" fmla="*/ 5928 w 9969"/>
                <a:gd name="connsiteY172" fmla="*/ 4769 h 10000"/>
                <a:gd name="connsiteX173" fmla="*/ 5910 w 9969"/>
                <a:gd name="connsiteY173" fmla="*/ 4748 h 10000"/>
                <a:gd name="connsiteX174" fmla="*/ 5954 w 9969"/>
                <a:gd name="connsiteY174" fmla="*/ 4647 h 10000"/>
                <a:gd name="connsiteX175" fmla="*/ 5901 w 9969"/>
                <a:gd name="connsiteY175" fmla="*/ 4581 h 10000"/>
                <a:gd name="connsiteX176" fmla="*/ 5910 w 9969"/>
                <a:gd name="connsiteY176" fmla="*/ 4528 h 10000"/>
                <a:gd name="connsiteX177" fmla="*/ 5941 w 9969"/>
                <a:gd name="connsiteY177" fmla="*/ 4590 h 10000"/>
                <a:gd name="connsiteX178" fmla="*/ 6064 w 9969"/>
                <a:gd name="connsiteY178" fmla="*/ 4636 h 10000"/>
                <a:gd name="connsiteX179" fmla="*/ 6116 w 9969"/>
                <a:gd name="connsiteY179" fmla="*/ 4630 h 10000"/>
                <a:gd name="connsiteX180" fmla="*/ 6196 w 9969"/>
                <a:gd name="connsiteY180" fmla="*/ 4569 h 10000"/>
                <a:gd name="connsiteX181" fmla="*/ 6283 w 9969"/>
                <a:gd name="connsiteY181" fmla="*/ 4594 h 10000"/>
                <a:gd name="connsiteX182" fmla="*/ 6307 w 9969"/>
                <a:gd name="connsiteY182" fmla="*/ 4545 h 10000"/>
                <a:gd name="connsiteX183" fmla="*/ 6365 w 9969"/>
                <a:gd name="connsiteY183" fmla="*/ 4512 h 10000"/>
                <a:gd name="connsiteX184" fmla="*/ 6205 w 9969"/>
                <a:gd name="connsiteY184" fmla="*/ 4477 h 10000"/>
                <a:gd name="connsiteX185" fmla="*/ 6320 w 9969"/>
                <a:gd name="connsiteY185" fmla="*/ 4484 h 10000"/>
                <a:gd name="connsiteX186" fmla="*/ 6437 w 9969"/>
                <a:gd name="connsiteY186" fmla="*/ 4447 h 10000"/>
                <a:gd name="connsiteX187" fmla="*/ 6433 w 9969"/>
                <a:gd name="connsiteY187" fmla="*/ 4422 h 10000"/>
                <a:gd name="connsiteX188" fmla="*/ 6543 w 9969"/>
                <a:gd name="connsiteY188" fmla="*/ 4398 h 10000"/>
                <a:gd name="connsiteX189" fmla="*/ 6552 w 9969"/>
                <a:gd name="connsiteY189" fmla="*/ 4337 h 10000"/>
                <a:gd name="connsiteX190" fmla="*/ 6638 w 9969"/>
                <a:gd name="connsiteY190" fmla="*/ 4325 h 10000"/>
                <a:gd name="connsiteX191" fmla="*/ 6646 w 9969"/>
                <a:gd name="connsiteY191" fmla="*/ 4253 h 10000"/>
                <a:gd name="connsiteX192" fmla="*/ 6737 w 9969"/>
                <a:gd name="connsiteY192" fmla="*/ 4245 h 10000"/>
                <a:gd name="connsiteX193" fmla="*/ 6879 w 9969"/>
                <a:gd name="connsiteY193" fmla="*/ 4260 h 10000"/>
                <a:gd name="connsiteX194" fmla="*/ 7033 w 9969"/>
                <a:gd name="connsiteY194" fmla="*/ 4202 h 10000"/>
                <a:gd name="connsiteX195" fmla="*/ 7088 w 9969"/>
                <a:gd name="connsiteY195" fmla="*/ 4137 h 10000"/>
                <a:gd name="connsiteX196" fmla="*/ 7279 w 9969"/>
                <a:gd name="connsiteY196" fmla="*/ 4070 h 10000"/>
                <a:gd name="connsiteX197" fmla="*/ 7374 w 9969"/>
                <a:gd name="connsiteY197" fmla="*/ 4111 h 10000"/>
                <a:gd name="connsiteX198" fmla="*/ 7520 w 9969"/>
                <a:gd name="connsiteY198" fmla="*/ 4066 h 10000"/>
                <a:gd name="connsiteX199" fmla="*/ 7556 w 9969"/>
                <a:gd name="connsiteY199" fmla="*/ 4009 h 10000"/>
                <a:gd name="connsiteX200" fmla="*/ 7666 w 9969"/>
                <a:gd name="connsiteY200" fmla="*/ 3970 h 10000"/>
                <a:gd name="connsiteX201" fmla="*/ 7761 w 9969"/>
                <a:gd name="connsiteY201" fmla="*/ 3987 h 10000"/>
                <a:gd name="connsiteX202" fmla="*/ 7820 w 9969"/>
                <a:gd name="connsiteY202" fmla="*/ 3958 h 10000"/>
                <a:gd name="connsiteX203" fmla="*/ 7984 w 9969"/>
                <a:gd name="connsiteY203" fmla="*/ 3917 h 10000"/>
                <a:gd name="connsiteX204" fmla="*/ 8052 w 9969"/>
                <a:gd name="connsiteY204" fmla="*/ 3864 h 10000"/>
                <a:gd name="connsiteX205" fmla="*/ 8144 w 9969"/>
                <a:gd name="connsiteY205" fmla="*/ 3842 h 10000"/>
                <a:gd name="connsiteX206" fmla="*/ 8649 w 9969"/>
                <a:gd name="connsiteY206" fmla="*/ 3522 h 10000"/>
                <a:gd name="connsiteX207" fmla="*/ 9969 w 9969"/>
                <a:gd name="connsiteY207" fmla="*/ 1194 h 10000"/>
                <a:gd name="connsiteX208" fmla="*/ 9909 w 9969"/>
                <a:gd name="connsiteY208" fmla="*/ 1159 h 10000"/>
                <a:gd name="connsiteX209" fmla="*/ 9858 w 9969"/>
                <a:gd name="connsiteY209" fmla="*/ 978 h 10000"/>
                <a:gd name="connsiteX210" fmla="*/ 9918 w 9969"/>
                <a:gd name="connsiteY210" fmla="*/ 831 h 10000"/>
                <a:gd name="connsiteX211" fmla="*/ 9481 w 9969"/>
                <a:gd name="connsiteY211" fmla="*/ 517 h 10000"/>
                <a:gd name="connsiteX212" fmla="*/ 9267 w 9969"/>
                <a:gd name="connsiteY212" fmla="*/ 440 h 10000"/>
                <a:gd name="connsiteX213" fmla="*/ 8871 w 9969"/>
                <a:gd name="connsiteY213" fmla="*/ 389 h 10000"/>
                <a:gd name="connsiteX214" fmla="*/ 8052 w 9969"/>
                <a:gd name="connsiteY214" fmla="*/ 26 h 10000"/>
                <a:gd name="connsiteX215" fmla="*/ 8025 w 9969"/>
                <a:gd name="connsiteY215" fmla="*/ 2 h 10000"/>
                <a:gd name="connsiteX216" fmla="*/ 7747 w 9969"/>
                <a:gd name="connsiteY216" fmla="*/ 0 h 10000"/>
                <a:gd name="connsiteX217" fmla="*/ 7684 w 9969"/>
                <a:gd name="connsiteY217" fmla="*/ 14 h 10000"/>
                <a:gd name="connsiteX218" fmla="*/ 7698 w 9969"/>
                <a:gd name="connsiteY218" fmla="*/ 61 h 10000"/>
                <a:gd name="connsiteX219" fmla="*/ 7752 w 9969"/>
                <a:gd name="connsiteY219" fmla="*/ 86 h 10000"/>
                <a:gd name="connsiteX220" fmla="*/ 7767 w 9969"/>
                <a:gd name="connsiteY220" fmla="*/ 139 h 10000"/>
                <a:gd name="connsiteX221" fmla="*/ 7747 w 9969"/>
                <a:gd name="connsiteY221" fmla="*/ 181 h 10000"/>
                <a:gd name="connsiteX222" fmla="*/ 7698 w 9969"/>
                <a:gd name="connsiteY222" fmla="*/ 208 h 10000"/>
                <a:gd name="connsiteX223" fmla="*/ 7661 w 9969"/>
                <a:gd name="connsiteY223" fmla="*/ 283 h 10000"/>
                <a:gd name="connsiteX224" fmla="*/ 7593 w 9969"/>
                <a:gd name="connsiteY224" fmla="*/ 336 h 10000"/>
                <a:gd name="connsiteX225" fmla="*/ 7607 w 9969"/>
                <a:gd name="connsiteY225" fmla="*/ 387 h 10000"/>
                <a:gd name="connsiteX226" fmla="*/ 7711 w 9969"/>
                <a:gd name="connsiteY226" fmla="*/ 434 h 10000"/>
                <a:gd name="connsiteX227" fmla="*/ 7643 w 9969"/>
                <a:gd name="connsiteY227" fmla="*/ 475 h 10000"/>
                <a:gd name="connsiteX228" fmla="*/ 7543 w 9969"/>
                <a:gd name="connsiteY228" fmla="*/ 485 h 10000"/>
                <a:gd name="connsiteX229" fmla="*/ 6706 w 9969"/>
                <a:gd name="connsiteY229" fmla="*/ 387 h 10000"/>
                <a:gd name="connsiteX230" fmla="*/ 6605 w 9969"/>
                <a:gd name="connsiteY230" fmla="*/ 395 h 10000"/>
                <a:gd name="connsiteX231" fmla="*/ 6547 w 9969"/>
                <a:gd name="connsiteY231" fmla="*/ 414 h 10000"/>
                <a:gd name="connsiteX232" fmla="*/ 6487 w 9969"/>
                <a:gd name="connsiteY232" fmla="*/ 462 h 10000"/>
                <a:gd name="connsiteX233" fmla="*/ 6498 w 9969"/>
                <a:gd name="connsiteY233" fmla="*/ 581 h 10000"/>
                <a:gd name="connsiteX234" fmla="*/ 6405 w 9969"/>
                <a:gd name="connsiteY234" fmla="*/ 735 h 10000"/>
                <a:gd name="connsiteX235" fmla="*/ 6292 w 9969"/>
                <a:gd name="connsiteY235" fmla="*/ 815 h 10000"/>
                <a:gd name="connsiteX236" fmla="*/ 6247 w 9969"/>
                <a:gd name="connsiteY236" fmla="*/ 805 h 10000"/>
                <a:gd name="connsiteX237" fmla="*/ 6142 w 9969"/>
                <a:gd name="connsiteY237" fmla="*/ 739 h 10000"/>
                <a:gd name="connsiteX238" fmla="*/ 6010 w 9969"/>
                <a:gd name="connsiteY238" fmla="*/ 705 h 10000"/>
                <a:gd name="connsiteX239" fmla="*/ 5868 w 9969"/>
                <a:gd name="connsiteY239" fmla="*/ 715 h 10000"/>
                <a:gd name="connsiteX240" fmla="*/ 5538 w 9969"/>
                <a:gd name="connsiteY240" fmla="*/ 866 h 10000"/>
                <a:gd name="connsiteX241" fmla="*/ 5450 w 9969"/>
                <a:gd name="connsiteY241" fmla="*/ 1017 h 10000"/>
                <a:gd name="connsiteX242" fmla="*/ 5201 w 9969"/>
                <a:gd name="connsiteY242" fmla="*/ 1153 h 10000"/>
                <a:gd name="connsiteX243" fmla="*/ 5155 w 9969"/>
                <a:gd name="connsiteY243" fmla="*/ 1222 h 10000"/>
                <a:gd name="connsiteX244" fmla="*/ 5286 w 9969"/>
                <a:gd name="connsiteY244" fmla="*/ 1344 h 10000"/>
                <a:gd name="connsiteX245" fmla="*/ 5300 w 9969"/>
                <a:gd name="connsiteY245" fmla="*/ 1412 h 10000"/>
                <a:gd name="connsiteX246" fmla="*/ 4618 w 9969"/>
                <a:gd name="connsiteY246" fmla="*/ 1813 h 10000"/>
                <a:gd name="connsiteX247" fmla="*/ 4408 w 9969"/>
                <a:gd name="connsiteY247" fmla="*/ 2070 h 10000"/>
                <a:gd name="connsiteX248" fmla="*/ 4182 w 9969"/>
                <a:gd name="connsiteY248" fmla="*/ 2135 h 10000"/>
                <a:gd name="connsiteX249" fmla="*/ 4039 w 9969"/>
                <a:gd name="connsiteY249" fmla="*/ 2131 h 10000"/>
                <a:gd name="connsiteX250" fmla="*/ 3954 w 9969"/>
                <a:gd name="connsiteY250" fmla="*/ 2153 h 10000"/>
                <a:gd name="connsiteX251" fmla="*/ 3717 w 9969"/>
                <a:gd name="connsiteY251" fmla="*/ 2793 h 10000"/>
                <a:gd name="connsiteX252" fmla="*/ 3172 w 9969"/>
                <a:gd name="connsiteY252" fmla="*/ 3166 h 10000"/>
                <a:gd name="connsiteX253" fmla="*/ 3176 w 9969"/>
                <a:gd name="connsiteY253" fmla="*/ 3225 h 10000"/>
                <a:gd name="connsiteX254" fmla="*/ 3417 w 9969"/>
                <a:gd name="connsiteY254" fmla="*/ 3392 h 10000"/>
                <a:gd name="connsiteX255" fmla="*/ 3340 w 9969"/>
                <a:gd name="connsiteY255" fmla="*/ 3573 h 10000"/>
                <a:gd name="connsiteX256" fmla="*/ 3198 w 9969"/>
                <a:gd name="connsiteY256" fmla="*/ 3640 h 10000"/>
                <a:gd name="connsiteX257" fmla="*/ 2775 w 9969"/>
                <a:gd name="connsiteY257" fmla="*/ 3595 h 10000"/>
                <a:gd name="connsiteX258" fmla="*/ 2483 w 9969"/>
                <a:gd name="connsiteY258" fmla="*/ 3620 h 10000"/>
                <a:gd name="connsiteX259" fmla="*/ 2248 w 9969"/>
                <a:gd name="connsiteY259" fmla="*/ 3673 h 10000"/>
                <a:gd name="connsiteX260" fmla="*/ 1870 w 9969"/>
                <a:gd name="connsiteY260" fmla="*/ 3840 h 10000"/>
                <a:gd name="connsiteX261" fmla="*/ 1669 w 9969"/>
                <a:gd name="connsiteY261" fmla="*/ 4042 h 10000"/>
                <a:gd name="connsiteX262" fmla="*/ 1687 w 9969"/>
                <a:gd name="connsiteY262" fmla="*/ 4154 h 10000"/>
                <a:gd name="connsiteX263" fmla="*/ 1757 w 9969"/>
                <a:gd name="connsiteY263" fmla="*/ 4241 h 10000"/>
                <a:gd name="connsiteX264" fmla="*/ 1810 w 9969"/>
                <a:gd name="connsiteY264" fmla="*/ 4276 h 10000"/>
                <a:gd name="connsiteX265" fmla="*/ 1711 w 9969"/>
                <a:gd name="connsiteY265" fmla="*/ 4331 h 10000"/>
                <a:gd name="connsiteX266" fmla="*/ 1497 w 9969"/>
                <a:gd name="connsiteY266" fmla="*/ 4710 h 10000"/>
                <a:gd name="connsiteX267" fmla="*/ 1538 w 9969"/>
                <a:gd name="connsiteY267" fmla="*/ 4732 h 10000"/>
                <a:gd name="connsiteX268" fmla="*/ 1570 w 9969"/>
                <a:gd name="connsiteY268" fmla="*/ 4828 h 10000"/>
                <a:gd name="connsiteX269" fmla="*/ 1469 w 9969"/>
                <a:gd name="connsiteY269" fmla="*/ 5227 h 10000"/>
                <a:gd name="connsiteX270" fmla="*/ 1570 w 9969"/>
                <a:gd name="connsiteY270" fmla="*/ 5329 h 10000"/>
                <a:gd name="connsiteX271" fmla="*/ 1842 w 9969"/>
                <a:gd name="connsiteY271" fmla="*/ 5441 h 10000"/>
                <a:gd name="connsiteX272" fmla="*/ 1855 w 9969"/>
                <a:gd name="connsiteY272" fmla="*/ 5578 h 10000"/>
                <a:gd name="connsiteX273" fmla="*/ 1739 w 9969"/>
                <a:gd name="connsiteY273" fmla="*/ 5690 h 10000"/>
                <a:gd name="connsiteX274" fmla="*/ 1570 w 9969"/>
                <a:gd name="connsiteY274" fmla="*/ 5759 h 10000"/>
                <a:gd name="connsiteX275" fmla="*/ 1346 w 9969"/>
                <a:gd name="connsiteY275" fmla="*/ 5787 h 10000"/>
                <a:gd name="connsiteX276" fmla="*/ 1288 w 9969"/>
                <a:gd name="connsiteY276" fmla="*/ 5826 h 10000"/>
                <a:gd name="connsiteX277" fmla="*/ 1419 w 9969"/>
                <a:gd name="connsiteY277" fmla="*/ 5920 h 10000"/>
                <a:gd name="connsiteX278" fmla="*/ 1493 w 9969"/>
                <a:gd name="connsiteY278" fmla="*/ 6142 h 10000"/>
                <a:gd name="connsiteX279" fmla="*/ 1324 w 9969"/>
                <a:gd name="connsiteY279" fmla="*/ 6333 h 10000"/>
                <a:gd name="connsiteX280" fmla="*/ 1383 w 9969"/>
                <a:gd name="connsiteY280" fmla="*/ 6392 h 10000"/>
                <a:gd name="connsiteX281" fmla="*/ 1329 w 9969"/>
                <a:gd name="connsiteY281" fmla="*/ 6492 h 10000"/>
                <a:gd name="connsiteX282" fmla="*/ 1220 w 9969"/>
                <a:gd name="connsiteY282" fmla="*/ 6561 h 10000"/>
                <a:gd name="connsiteX283" fmla="*/ 792 w 9969"/>
                <a:gd name="connsiteY283" fmla="*/ 6614 h 10000"/>
                <a:gd name="connsiteX284" fmla="*/ 765 w 9969"/>
                <a:gd name="connsiteY284" fmla="*/ 6706 h 10000"/>
                <a:gd name="connsiteX285" fmla="*/ 533 w 9969"/>
                <a:gd name="connsiteY285" fmla="*/ 6843 h 10000"/>
                <a:gd name="connsiteX286" fmla="*/ 564 w 9969"/>
                <a:gd name="connsiteY286" fmla="*/ 7040 h 10000"/>
                <a:gd name="connsiteX287" fmla="*/ 369 w 9969"/>
                <a:gd name="connsiteY287" fmla="*/ 7293 h 10000"/>
                <a:gd name="connsiteX288" fmla="*/ 236 w 9969"/>
                <a:gd name="connsiteY288" fmla="*/ 7323 h 10000"/>
                <a:gd name="connsiteX289" fmla="*/ 182 w 9969"/>
                <a:gd name="connsiteY289" fmla="*/ 7262 h 10000"/>
                <a:gd name="connsiteX290" fmla="*/ 114 w 9969"/>
                <a:gd name="connsiteY290" fmla="*/ 7354 h 10000"/>
                <a:gd name="connsiteX291" fmla="*/ 159 w 9969"/>
                <a:gd name="connsiteY291" fmla="*/ 7197 h 10000"/>
                <a:gd name="connsiteX292" fmla="*/ 131 w 9969"/>
                <a:gd name="connsiteY292" fmla="*/ 7166 h 10000"/>
                <a:gd name="connsiteX0" fmla="*/ 131 w 10069"/>
                <a:gd name="connsiteY0" fmla="*/ 7166 h 10000"/>
                <a:gd name="connsiteX1" fmla="*/ 0 w 10069"/>
                <a:gd name="connsiteY1" fmla="*/ 7248 h 10000"/>
                <a:gd name="connsiteX2" fmla="*/ 0 w 10069"/>
                <a:gd name="connsiteY2" fmla="*/ 7651 h 10000"/>
                <a:gd name="connsiteX3" fmla="*/ 73 w 10069"/>
                <a:gd name="connsiteY3" fmla="*/ 7663 h 10000"/>
                <a:gd name="connsiteX4" fmla="*/ 90 w 10069"/>
                <a:gd name="connsiteY4" fmla="*/ 7694 h 10000"/>
                <a:gd name="connsiteX5" fmla="*/ 86 w 10069"/>
                <a:gd name="connsiteY5" fmla="*/ 7749 h 10000"/>
                <a:gd name="connsiteX6" fmla="*/ 59 w 10069"/>
                <a:gd name="connsiteY6" fmla="*/ 7773 h 10000"/>
                <a:gd name="connsiteX7" fmla="*/ 169 w 10069"/>
                <a:gd name="connsiteY7" fmla="*/ 7727 h 10000"/>
                <a:gd name="connsiteX8" fmla="*/ 216 w 10069"/>
                <a:gd name="connsiteY8" fmla="*/ 7680 h 10000"/>
                <a:gd name="connsiteX9" fmla="*/ 273 w 10069"/>
                <a:gd name="connsiteY9" fmla="*/ 7712 h 10000"/>
                <a:gd name="connsiteX10" fmla="*/ 210 w 10069"/>
                <a:gd name="connsiteY10" fmla="*/ 7778 h 10000"/>
                <a:gd name="connsiteX11" fmla="*/ 278 w 10069"/>
                <a:gd name="connsiteY11" fmla="*/ 7780 h 10000"/>
                <a:gd name="connsiteX12" fmla="*/ 310 w 10069"/>
                <a:gd name="connsiteY12" fmla="*/ 7796 h 10000"/>
                <a:gd name="connsiteX13" fmla="*/ 224 w 10069"/>
                <a:gd name="connsiteY13" fmla="*/ 7818 h 10000"/>
                <a:gd name="connsiteX14" fmla="*/ 86 w 10069"/>
                <a:gd name="connsiteY14" fmla="*/ 7886 h 10000"/>
                <a:gd name="connsiteX15" fmla="*/ 330 w 10069"/>
                <a:gd name="connsiteY15" fmla="*/ 7938 h 10000"/>
                <a:gd name="connsiteX16" fmla="*/ 360 w 10069"/>
                <a:gd name="connsiteY16" fmla="*/ 8014 h 10000"/>
                <a:gd name="connsiteX17" fmla="*/ 278 w 10069"/>
                <a:gd name="connsiteY17" fmla="*/ 8126 h 10000"/>
                <a:gd name="connsiteX18" fmla="*/ 457 w 10069"/>
                <a:gd name="connsiteY18" fmla="*/ 8118 h 10000"/>
                <a:gd name="connsiteX19" fmla="*/ 470 w 10069"/>
                <a:gd name="connsiteY19" fmla="*/ 8203 h 10000"/>
                <a:gd name="connsiteX20" fmla="*/ 351 w 10069"/>
                <a:gd name="connsiteY20" fmla="*/ 8260 h 10000"/>
                <a:gd name="connsiteX21" fmla="*/ 370 w 10069"/>
                <a:gd name="connsiteY21" fmla="*/ 8370 h 10000"/>
                <a:gd name="connsiteX22" fmla="*/ 324 w 10069"/>
                <a:gd name="connsiteY22" fmla="*/ 8456 h 10000"/>
                <a:gd name="connsiteX23" fmla="*/ 465 w 10069"/>
                <a:gd name="connsiteY23" fmla="*/ 8464 h 10000"/>
                <a:gd name="connsiteX24" fmla="*/ 603 w 10069"/>
                <a:gd name="connsiteY24" fmla="*/ 8792 h 10000"/>
                <a:gd name="connsiteX25" fmla="*/ 762 w 10069"/>
                <a:gd name="connsiteY25" fmla="*/ 8876 h 10000"/>
                <a:gd name="connsiteX26" fmla="*/ 831 w 10069"/>
                <a:gd name="connsiteY26" fmla="*/ 8965 h 10000"/>
                <a:gd name="connsiteX27" fmla="*/ 1004 w 10069"/>
                <a:gd name="connsiteY27" fmla="*/ 9030 h 10000"/>
                <a:gd name="connsiteX28" fmla="*/ 1114 w 10069"/>
                <a:gd name="connsiteY28" fmla="*/ 9112 h 10000"/>
                <a:gd name="connsiteX29" fmla="*/ 1100 w 10069"/>
                <a:gd name="connsiteY29" fmla="*/ 9171 h 10000"/>
                <a:gd name="connsiteX30" fmla="*/ 991 w 10069"/>
                <a:gd name="connsiteY30" fmla="*/ 9193 h 10000"/>
                <a:gd name="connsiteX31" fmla="*/ 872 w 10069"/>
                <a:gd name="connsiteY31" fmla="*/ 9179 h 10000"/>
                <a:gd name="connsiteX32" fmla="*/ 835 w 10069"/>
                <a:gd name="connsiteY32" fmla="*/ 9204 h 10000"/>
                <a:gd name="connsiteX33" fmla="*/ 926 w 10069"/>
                <a:gd name="connsiteY33" fmla="*/ 9332 h 10000"/>
                <a:gd name="connsiteX34" fmla="*/ 798 w 10069"/>
                <a:gd name="connsiteY34" fmla="*/ 9322 h 10000"/>
                <a:gd name="connsiteX35" fmla="*/ 689 w 10069"/>
                <a:gd name="connsiteY35" fmla="*/ 9291 h 10000"/>
                <a:gd name="connsiteX36" fmla="*/ 670 w 10069"/>
                <a:gd name="connsiteY36" fmla="*/ 9338 h 10000"/>
                <a:gd name="connsiteX37" fmla="*/ 1031 w 10069"/>
                <a:gd name="connsiteY37" fmla="*/ 9776 h 10000"/>
                <a:gd name="connsiteX38" fmla="*/ 973 w 10069"/>
                <a:gd name="connsiteY38" fmla="*/ 9817 h 10000"/>
                <a:gd name="connsiteX39" fmla="*/ 932 w 10069"/>
                <a:gd name="connsiteY39" fmla="*/ 9902 h 10000"/>
                <a:gd name="connsiteX40" fmla="*/ 881 w 10069"/>
                <a:gd name="connsiteY40" fmla="*/ 9908 h 10000"/>
                <a:gd name="connsiteX41" fmla="*/ 849 w 10069"/>
                <a:gd name="connsiteY41" fmla="*/ 9945 h 10000"/>
                <a:gd name="connsiteX42" fmla="*/ 1067 w 10069"/>
                <a:gd name="connsiteY42" fmla="*/ 9949 h 10000"/>
                <a:gd name="connsiteX43" fmla="*/ 1260 w 10069"/>
                <a:gd name="connsiteY43" fmla="*/ 9986 h 10000"/>
                <a:gd name="connsiteX44" fmla="*/ 1579 w 10069"/>
                <a:gd name="connsiteY44" fmla="*/ 9947 h 10000"/>
                <a:gd name="connsiteX45" fmla="*/ 1866 w 10069"/>
                <a:gd name="connsiteY45" fmla="*/ 9953 h 10000"/>
                <a:gd name="connsiteX46" fmla="*/ 2036 w 10069"/>
                <a:gd name="connsiteY46" fmla="*/ 10000 h 10000"/>
                <a:gd name="connsiteX47" fmla="*/ 2128 w 10069"/>
                <a:gd name="connsiteY47" fmla="*/ 9969 h 10000"/>
                <a:gd name="connsiteX48" fmla="*/ 2218 w 10069"/>
                <a:gd name="connsiteY48" fmla="*/ 9868 h 10000"/>
                <a:gd name="connsiteX49" fmla="*/ 2195 w 10069"/>
                <a:gd name="connsiteY49" fmla="*/ 9703 h 10000"/>
                <a:gd name="connsiteX50" fmla="*/ 2414 w 10069"/>
                <a:gd name="connsiteY50" fmla="*/ 9517 h 10000"/>
                <a:gd name="connsiteX51" fmla="*/ 2574 w 10069"/>
                <a:gd name="connsiteY51" fmla="*/ 9546 h 10000"/>
                <a:gd name="connsiteX52" fmla="*/ 2665 w 10069"/>
                <a:gd name="connsiteY52" fmla="*/ 9472 h 10000"/>
                <a:gd name="connsiteX53" fmla="*/ 2843 w 10069"/>
                <a:gd name="connsiteY53" fmla="*/ 9430 h 10000"/>
                <a:gd name="connsiteX54" fmla="*/ 3085 w 10069"/>
                <a:gd name="connsiteY54" fmla="*/ 9440 h 10000"/>
                <a:gd name="connsiteX55" fmla="*/ 3231 w 10069"/>
                <a:gd name="connsiteY55" fmla="*/ 9470 h 10000"/>
                <a:gd name="connsiteX56" fmla="*/ 3424 w 10069"/>
                <a:gd name="connsiteY56" fmla="*/ 9456 h 10000"/>
                <a:gd name="connsiteX57" fmla="*/ 3619 w 10069"/>
                <a:gd name="connsiteY57" fmla="*/ 9489 h 10000"/>
                <a:gd name="connsiteX58" fmla="*/ 3815 w 10069"/>
                <a:gd name="connsiteY58" fmla="*/ 9493 h 10000"/>
                <a:gd name="connsiteX59" fmla="*/ 4253 w 10069"/>
                <a:gd name="connsiteY59" fmla="*/ 9061 h 10000"/>
                <a:gd name="connsiteX60" fmla="*/ 4364 w 10069"/>
                <a:gd name="connsiteY60" fmla="*/ 8711 h 10000"/>
                <a:gd name="connsiteX61" fmla="*/ 4541 w 10069"/>
                <a:gd name="connsiteY61" fmla="*/ 8554 h 10000"/>
                <a:gd name="connsiteX62" fmla="*/ 4541 w 10069"/>
                <a:gd name="connsiteY62" fmla="*/ 8472 h 10000"/>
                <a:gd name="connsiteX63" fmla="*/ 4477 w 10069"/>
                <a:gd name="connsiteY63" fmla="*/ 8425 h 10000"/>
                <a:gd name="connsiteX64" fmla="*/ 4582 w 10069"/>
                <a:gd name="connsiteY64" fmla="*/ 8352 h 10000"/>
                <a:gd name="connsiteX65" fmla="*/ 4563 w 10069"/>
                <a:gd name="connsiteY65" fmla="*/ 8289 h 10000"/>
                <a:gd name="connsiteX66" fmla="*/ 4491 w 10069"/>
                <a:gd name="connsiteY66" fmla="*/ 8236 h 10000"/>
                <a:gd name="connsiteX67" fmla="*/ 4477 w 10069"/>
                <a:gd name="connsiteY67" fmla="*/ 8199 h 10000"/>
                <a:gd name="connsiteX68" fmla="*/ 4495 w 10069"/>
                <a:gd name="connsiteY68" fmla="*/ 8169 h 10000"/>
                <a:gd name="connsiteX69" fmla="*/ 4591 w 10069"/>
                <a:gd name="connsiteY69" fmla="*/ 8193 h 10000"/>
                <a:gd name="connsiteX70" fmla="*/ 4668 w 10069"/>
                <a:gd name="connsiteY70" fmla="*/ 8191 h 10000"/>
                <a:gd name="connsiteX71" fmla="*/ 4626 w 10069"/>
                <a:gd name="connsiteY71" fmla="*/ 8140 h 10000"/>
                <a:gd name="connsiteX72" fmla="*/ 4640 w 10069"/>
                <a:gd name="connsiteY72" fmla="*/ 8112 h 10000"/>
                <a:gd name="connsiteX73" fmla="*/ 4696 w 10069"/>
                <a:gd name="connsiteY73" fmla="*/ 8069 h 10000"/>
                <a:gd name="connsiteX74" fmla="*/ 4687 w 10069"/>
                <a:gd name="connsiteY74" fmla="*/ 8034 h 10000"/>
                <a:gd name="connsiteX75" fmla="*/ 4738 w 10069"/>
                <a:gd name="connsiteY75" fmla="*/ 7916 h 10000"/>
                <a:gd name="connsiteX76" fmla="*/ 4725 w 10069"/>
                <a:gd name="connsiteY76" fmla="*/ 7881 h 10000"/>
                <a:gd name="connsiteX77" fmla="*/ 4459 w 10069"/>
                <a:gd name="connsiteY77" fmla="*/ 7792 h 10000"/>
                <a:gd name="connsiteX78" fmla="*/ 4495 w 10069"/>
                <a:gd name="connsiteY78" fmla="*/ 7788 h 10000"/>
                <a:gd name="connsiteX79" fmla="*/ 4636 w 10069"/>
                <a:gd name="connsiteY79" fmla="*/ 7812 h 10000"/>
                <a:gd name="connsiteX80" fmla="*/ 4788 w 10069"/>
                <a:gd name="connsiteY80" fmla="*/ 7804 h 10000"/>
                <a:gd name="connsiteX81" fmla="*/ 4833 w 10069"/>
                <a:gd name="connsiteY81" fmla="*/ 7771 h 10000"/>
                <a:gd name="connsiteX82" fmla="*/ 4687 w 10069"/>
                <a:gd name="connsiteY82" fmla="*/ 7710 h 10000"/>
                <a:gd name="connsiteX83" fmla="*/ 4249 w 10069"/>
                <a:gd name="connsiteY83" fmla="*/ 7670 h 10000"/>
                <a:gd name="connsiteX84" fmla="*/ 4279 w 10069"/>
                <a:gd name="connsiteY84" fmla="*/ 7651 h 10000"/>
                <a:gd name="connsiteX85" fmla="*/ 4636 w 10069"/>
                <a:gd name="connsiteY85" fmla="*/ 7639 h 10000"/>
                <a:gd name="connsiteX86" fmla="*/ 4833 w 10069"/>
                <a:gd name="connsiteY86" fmla="*/ 7676 h 10000"/>
                <a:gd name="connsiteX87" fmla="*/ 4947 w 10069"/>
                <a:gd name="connsiteY87" fmla="*/ 7651 h 10000"/>
                <a:gd name="connsiteX88" fmla="*/ 4988 w 10069"/>
                <a:gd name="connsiteY88" fmla="*/ 7588 h 10000"/>
                <a:gd name="connsiteX89" fmla="*/ 5193 w 10069"/>
                <a:gd name="connsiteY89" fmla="*/ 7588 h 10000"/>
                <a:gd name="connsiteX90" fmla="*/ 5472 w 10069"/>
                <a:gd name="connsiteY90" fmla="*/ 7462 h 10000"/>
                <a:gd name="connsiteX91" fmla="*/ 5482 w 10069"/>
                <a:gd name="connsiteY91" fmla="*/ 7378 h 10000"/>
                <a:gd name="connsiteX92" fmla="*/ 5599 w 10069"/>
                <a:gd name="connsiteY92" fmla="*/ 7397 h 10000"/>
                <a:gd name="connsiteX93" fmla="*/ 5595 w 10069"/>
                <a:gd name="connsiteY93" fmla="*/ 7482 h 10000"/>
                <a:gd name="connsiteX94" fmla="*/ 5782 w 10069"/>
                <a:gd name="connsiteY94" fmla="*/ 7476 h 10000"/>
                <a:gd name="connsiteX95" fmla="*/ 5905 w 10069"/>
                <a:gd name="connsiteY95" fmla="*/ 7388 h 10000"/>
                <a:gd name="connsiteX96" fmla="*/ 6135 w 10069"/>
                <a:gd name="connsiteY96" fmla="*/ 7309 h 10000"/>
                <a:gd name="connsiteX97" fmla="*/ 6097 w 10069"/>
                <a:gd name="connsiteY97" fmla="*/ 7219 h 10000"/>
                <a:gd name="connsiteX98" fmla="*/ 6165 w 10069"/>
                <a:gd name="connsiteY98" fmla="*/ 7254 h 10000"/>
                <a:gd name="connsiteX99" fmla="*/ 6270 w 10069"/>
                <a:gd name="connsiteY99" fmla="*/ 7254 h 10000"/>
                <a:gd name="connsiteX100" fmla="*/ 6270 w 10069"/>
                <a:gd name="connsiteY100" fmla="*/ 7213 h 10000"/>
                <a:gd name="connsiteX101" fmla="*/ 6367 w 10069"/>
                <a:gd name="connsiteY101" fmla="*/ 7181 h 10000"/>
                <a:gd name="connsiteX102" fmla="*/ 6353 w 10069"/>
                <a:gd name="connsiteY102" fmla="*/ 7148 h 10000"/>
                <a:gd name="connsiteX103" fmla="*/ 5532 w 10069"/>
                <a:gd name="connsiteY103" fmla="*/ 7215 h 10000"/>
                <a:gd name="connsiteX104" fmla="*/ 5340 w 10069"/>
                <a:gd name="connsiteY104" fmla="*/ 7195 h 10000"/>
                <a:gd name="connsiteX105" fmla="*/ 5262 w 10069"/>
                <a:gd name="connsiteY105" fmla="*/ 7219 h 10000"/>
                <a:gd name="connsiteX106" fmla="*/ 5235 w 10069"/>
                <a:gd name="connsiteY106" fmla="*/ 7173 h 10000"/>
                <a:gd name="connsiteX107" fmla="*/ 5144 w 10069"/>
                <a:gd name="connsiteY107" fmla="*/ 7132 h 10000"/>
                <a:gd name="connsiteX108" fmla="*/ 4778 w 10069"/>
                <a:gd name="connsiteY108" fmla="*/ 7052 h 10000"/>
                <a:gd name="connsiteX109" fmla="*/ 4563 w 10069"/>
                <a:gd name="connsiteY109" fmla="*/ 7065 h 10000"/>
                <a:gd name="connsiteX110" fmla="*/ 4477 w 10069"/>
                <a:gd name="connsiteY110" fmla="*/ 7042 h 10000"/>
                <a:gd name="connsiteX111" fmla="*/ 4568 w 10069"/>
                <a:gd name="connsiteY111" fmla="*/ 7022 h 10000"/>
                <a:gd name="connsiteX112" fmla="*/ 4636 w 10069"/>
                <a:gd name="connsiteY112" fmla="*/ 6979 h 10000"/>
                <a:gd name="connsiteX113" fmla="*/ 4738 w 10069"/>
                <a:gd name="connsiteY113" fmla="*/ 6993 h 10000"/>
                <a:gd name="connsiteX114" fmla="*/ 4860 w 10069"/>
                <a:gd name="connsiteY114" fmla="*/ 6981 h 10000"/>
                <a:gd name="connsiteX115" fmla="*/ 5043 w 10069"/>
                <a:gd name="connsiteY115" fmla="*/ 6995 h 10000"/>
                <a:gd name="connsiteX116" fmla="*/ 5065 w 10069"/>
                <a:gd name="connsiteY116" fmla="*/ 6989 h 10000"/>
                <a:gd name="connsiteX117" fmla="*/ 5207 w 10069"/>
                <a:gd name="connsiteY117" fmla="*/ 7056 h 10000"/>
                <a:gd name="connsiteX118" fmla="*/ 5312 w 10069"/>
                <a:gd name="connsiteY118" fmla="*/ 7032 h 10000"/>
                <a:gd name="connsiteX119" fmla="*/ 5320 w 10069"/>
                <a:gd name="connsiteY119" fmla="*/ 7010 h 10000"/>
                <a:gd name="connsiteX120" fmla="*/ 5417 w 10069"/>
                <a:gd name="connsiteY120" fmla="*/ 7048 h 10000"/>
                <a:gd name="connsiteX121" fmla="*/ 5545 w 10069"/>
                <a:gd name="connsiteY121" fmla="*/ 7069 h 10000"/>
                <a:gd name="connsiteX122" fmla="*/ 5595 w 10069"/>
                <a:gd name="connsiteY122" fmla="*/ 7030 h 10000"/>
                <a:gd name="connsiteX123" fmla="*/ 5636 w 10069"/>
                <a:gd name="connsiteY123" fmla="*/ 7052 h 10000"/>
                <a:gd name="connsiteX124" fmla="*/ 5695 w 10069"/>
                <a:gd name="connsiteY124" fmla="*/ 7126 h 10000"/>
                <a:gd name="connsiteX125" fmla="*/ 5818 w 10069"/>
                <a:gd name="connsiteY125" fmla="*/ 7144 h 10000"/>
                <a:gd name="connsiteX126" fmla="*/ 6321 w 10069"/>
                <a:gd name="connsiteY126" fmla="*/ 7034 h 10000"/>
                <a:gd name="connsiteX127" fmla="*/ 6567 w 10069"/>
                <a:gd name="connsiteY127" fmla="*/ 6879 h 10000"/>
                <a:gd name="connsiteX128" fmla="*/ 6626 w 10069"/>
                <a:gd name="connsiteY128" fmla="*/ 6765 h 10000"/>
                <a:gd name="connsiteX129" fmla="*/ 6536 w 10069"/>
                <a:gd name="connsiteY129" fmla="*/ 6663 h 10000"/>
                <a:gd name="connsiteX130" fmla="*/ 6348 w 10069"/>
                <a:gd name="connsiteY130" fmla="*/ 6602 h 10000"/>
                <a:gd name="connsiteX131" fmla="*/ 6215 w 10069"/>
                <a:gd name="connsiteY131" fmla="*/ 6502 h 10000"/>
                <a:gd name="connsiteX132" fmla="*/ 6340 w 10069"/>
                <a:gd name="connsiteY132" fmla="*/ 6498 h 10000"/>
                <a:gd name="connsiteX133" fmla="*/ 6331 w 10069"/>
                <a:gd name="connsiteY133" fmla="*/ 6474 h 10000"/>
                <a:gd name="connsiteX134" fmla="*/ 6007 w 10069"/>
                <a:gd name="connsiteY134" fmla="*/ 6403 h 10000"/>
                <a:gd name="connsiteX135" fmla="*/ 5994 w 10069"/>
                <a:gd name="connsiteY135" fmla="*/ 6339 h 10000"/>
                <a:gd name="connsiteX136" fmla="*/ 5932 w 10069"/>
                <a:gd name="connsiteY136" fmla="*/ 6272 h 10000"/>
                <a:gd name="connsiteX137" fmla="*/ 5677 w 10069"/>
                <a:gd name="connsiteY137" fmla="*/ 6284 h 10000"/>
                <a:gd name="connsiteX138" fmla="*/ 5585 w 10069"/>
                <a:gd name="connsiteY138" fmla="*/ 6213 h 10000"/>
                <a:gd name="connsiteX139" fmla="*/ 5532 w 10069"/>
                <a:gd name="connsiteY139" fmla="*/ 6209 h 10000"/>
                <a:gd name="connsiteX140" fmla="*/ 5532 w 10069"/>
                <a:gd name="connsiteY140" fmla="*/ 6238 h 10000"/>
                <a:gd name="connsiteX141" fmla="*/ 5417 w 10069"/>
                <a:gd name="connsiteY141" fmla="*/ 6358 h 10000"/>
                <a:gd name="connsiteX142" fmla="*/ 5293 w 10069"/>
                <a:gd name="connsiteY142" fmla="*/ 6429 h 10000"/>
                <a:gd name="connsiteX143" fmla="*/ 4905 w 10069"/>
                <a:gd name="connsiteY143" fmla="*/ 6551 h 10000"/>
                <a:gd name="connsiteX144" fmla="*/ 4769 w 10069"/>
                <a:gd name="connsiteY144" fmla="*/ 6547 h 10000"/>
                <a:gd name="connsiteX145" fmla="*/ 4582 w 10069"/>
                <a:gd name="connsiteY145" fmla="*/ 6565 h 10000"/>
                <a:gd name="connsiteX146" fmla="*/ 4477 w 10069"/>
                <a:gd name="connsiteY146" fmla="*/ 6547 h 10000"/>
                <a:gd name="connsiteX147" fmla="*/ 4613 w 10069"/>
                <a:gd name="connsiteY147" fmla="*/ 6513 h 10000"/>
                <a:gd name="connsiteX148" fmla="*/ 4792 w 10069"/>
                <a:gd name="connsiteY148" fmla="*/ 6498 h 10000"/>
                <a:gd name="connsiteX149" fmla="*/ 4939 w 10069"/>
                <a:gd name="connsiteY149" fmla="*/ 6441 h 10000"/>
                <a:gd name="connsiteX150" fmla="*/ 5083 w 10069"/>
                <a:gd name="connsiteY150" fmla="*/ 6415 h 10000"/>
                <a:gd name="connsiteX151" fmla="*/ 5354 w 10069"/>
                <a:gd name="connsiteY151" fmla="*/ 6317 h 10000"/>
                <a:gd name="connsiteX152" fmla="*/ 5404 w 10069"/>
                <a:gd name="connsiteY152" fmla="*/ 6252 h 10000"/>
                <a:gd name="connsiteX153" fmla="*/ 5408 w 10069"/>
                <a:gd name="connsiteY153" fmla="*/ 6168 h 10000"/>
                <a:gd name="connsiteX154" fmla="*/ 5285 w 10069"/>
                <a:gd name="connsiteY154" fmla="*/ 6154 h 10000"/>
                <a:gd name="connsiteX155" fmla="*/ 5340 w 10069"/>
                <a:gd name="connsiteY155" fmla="*/ 6103 h 10000"/>
                <a:gd name="connsiteX156" fmla="*/ 5358 w 10069"/>
                <a:gd name="connsiteY156" fmla="*/ 6038 h 10000"/>
                <a:gd name="connsiteX157" fmla="*/ 5306 w 10069"/>
                <a:gd name="connsiteY157" fmla="*/ 5977 h 10000"/>
                <a:gd name="connsiteX158" fmla="*/ 5275 w 10069"/>
                <a:gd name="connsiteY158" fmla="*/ 5533 h 10000"/>
                <a:gd name="connsiteX159" fmla="*/ 5350 w 10069"/>
                <a:gd name="connsiteY159" fmla="*/ 5437 h 10000"/>
                <a:gd name="connsiteX160" fmla="*/ 5331 w 10069"/>
                <a:gd name="connsiteY160" fmla="*/ 5398 h 10000"/>
                <a:gd name="connsiteX161" fmla="*/ 5545 w 10069"/>
                <a:gd name="connsiteY161" fmla="*/ 5455 h 10000"/>
                <a:gd name="connsiteX162" fmla="*/ 5559 w 10069"/>
                <a:gd name="connsiteY162" fmla="*/ 5402 h 10000"/>
                <a:gd name="connsiteX163" fmla="*/ 5513 w 10069"/>
                <a:gd name="connsiteY163" fmla="*/ 5264 h 10000"/>
                <a:gd name="connsiteX164" fmla="*/ 5667 w 10069"/>
                <a:gd name="connsiteY164" fmla="*/ 5019 h 10000"/>
                <a:gd name="connsiteX165" fmla="*/ 5572 w 10069"/>
                <a:gd name="connsiteY165" fmla="*/ 4960 h 10000"/>
                <a:gd name="connsiteX166" fmla="*/ 5536 w 10069"/>
                <a:gd name="connsiteY166" fmla="*/ 4905 h 10000"/>
                <a:gd name="connsiteX167" fmla="*/ 5549 w 10069"/>
                <a:gd name="connsiteY167" fmla="*/ 4816 h 10000"/>
                <a:gd name="connsiteX168" fmla="*/ 5774 w 10069"/>
                <a:gd name="connsiteY168" fmla="*/ 4875 h 10000"/>
                <a:gd name="connsiteX169" fmla="*/ 5782 w 10069"/>
                <a:gd name="connsiteY169" fmla="*/ 4858 h 10000"/>
                <a:gd name="connsiteX170" fmla="*/ 5845 w 10069"/>
                <a:gd name="connsiteY170" fmla="*/ 4842 h 10000"/>
                <a:gd name="connsiteX171" fmla="*/ 5932 w 10069"/>
                <a:gd name="connsiteY171" fmla="*/ 4785 h 10000"/>
                <a:gd name="connsiteX172" fmla="*/ 5946 w 10069"/>
                <a:gd name="connsiteY172" fmla="*/ 4769 h 10000"/>
                <a:gd name="connsiteX173" fmla="*/ 5928 w 10069"/>
                <a:gd name="connsiteY173" fmla="*/ 4748 h 10000"/>
                <a:gd name="connsiteX174" fmla="*/ 5973 w 10069"/>
                <a:gd name="connsiteY174" fmla="*/ 4647 h 10000"/>
                <a:gd name="connsiteX175" fmla="*/ 5919 w 10069"/>
                <a:gd name="connsiteY175" fmla="*/ 4581 h 10000"/>
                <a:gd name="connsiteX176" fmla="*/ 5928 w 10069"/>
                <a:gd name="connsiteY176" fmla="*/ 4528 h 10000"/>
                <a:gd name="connsiteX177" fmla="*/ 5959 w 10069"/>
                <a:gd name="connsiteY177" fmla="*/ 4590 h 10000"/>
                <a:gd name="connsiteX178" fmla="*/ 6083 w 10069"/>
                <a:gd name="connsiteY178" fmla="*/ 4636 h 10000"/>
                <a:gd name="connsiteX179" fmla="*/ 6135 w 10069"/>
                <a:gd name="connsiteY179" fmla="*/ 4630 h 10000"/>
                <a:gd name="connsiteX180" fmla="*/ 6215 w 10069"/>
                <a:gd name="connsiteY180" fmla="*/ 4569 h 10000"/>
                <a:gd name="connsiteX181" fmla="*/ 6303 w 10069"/>
                <a:gd name="connsiteY181" fmla="*/ 4594 h 10000"/>
                <a:gd name="connsiteX182" fmla="*/ 6327 w 10069"/>
                <a:gd name="connsiteY182" fmla="*/ 4545 h 10000"/>
                <a:gd name="connsiteX183" fmla="*/ 6385 w 10069"/>
                <a:gd name="connsiteY183" fmla="*/ 4512 h 10000"/>
                <a:gd name="connsiteX184" fmla="*/ 6224 w 10069"/>
                <a:gd name="connsiteY184" fmla="*/ 4477 h 10000"/>
                <a:gd name="connsiteX185" fmla="*/ 6340 w 10069"/>
                <a:gd name="connsiteY185" fmla="*/ 4484 h 10000"/>
                <a:gd name="connsiteX186" fmla="*/ 6457 w 10069"/>
                <a:gd name="connsiteY186" fmla="*/ 4447 h 10000"/>
                <a:gd name="connsiteX187" fmla="*/ 6453 w 10069"/>
                <a:gd name="connsiteY187" fmla="*/ 4422 h 10000"/>
                <a:gd name="connsiteX188" fmla="*/ 6563 w 10069"/>
                <a:gd name="connsiteY188" fmla="*/ 4398 h 10000"/>
                <a:gd name="connsiteX189" fmla="*/ 6572 w 10069"/>
                <a:gd name="connsiteY189" fmla="*/ 4337 h 10000"/>
                <a:gd name="connsiteX190" fmla="*/ 6659 w 10069"/>
                <a:gd name="connsiteY190" fmla="*/ 4325 h 10000"/>
                <a:gd name="connsiteX191" fmla="*/ 6667 w 10069"/>
                <a:gd name="connsiteY191" fmla="*/ 4253 h 10000"/>
                <a:gd name="connsiteX192" fmla="*/ 6758 w 10069"/>
                <a:gd name="connsiteY192" fmla="*/ 4245 h 10000"/>
                <a:gd name="connsiteX193" fmla="*/ 6900 w 10069"/>
                <a:gd name="connsiteY193" fmla="*/ 4260 h 10000"/>
                <a:gd name="connsiteX194" fmla="*/ 7055 w 10069"/>
                <a:gd name="connsiteY194" fmla="*/ 4202 h 10000"/>
                <a:gd name="connsiteX195" fmla="*/ 7110 w 10069"/>
                <a:gd name="connsiteY195" fmla="*/ 4137 h 10000"/>
                <a:gd name="connsiteX196" fmla="*/ 7302 w 10069"/>
                <a:gd name="connsiteY196" fmla="*/ 4070 h 10000"/>
                <a:gd name="connsiteX197" fmla="*/ 7397 w 10069"/>
                <a:gd name="connsiteY197" fmla="*/ 4111 h 10000"/>
                <a:gd name="connsiteX198" fmla="*/ 7543 w 10069"/>
                <a:gd name="connsiteY198" fmla="*/ 4066 h 10000"/>
                <a:gd name="connsiteX199" fmla="*/ 7579 w 10069"/>
                <a:gd name="connsiteY199" fmla="*/ 4009 h 10000"/>
                <a:gd name="connsiteX200" fmla="*/ 7690 w 10069"/>
                <a:gd name="connsiteY200" fmla="*/ 3970 h 10000"/>
                <a:gd name="connsiteX201" fmla="*/ 7785 w 10069"/>
                <a:gd name="connsiteY201" fmla="*/ 3987 h 10000"/>
                <a:gd name="connsiteX202" fmla="*/ 7844 w 10069"/>
                <a:gd name="connsiteY202" fmla="*/ 3958 h 10000"/>
                <a:gd name="connsiteX203" fmla="*/ 8009 w 10069"/>
                <a:gd name="connsiteY203" fmla="*/ 3917 h 10000"/>
                <a:gd name="connsiteX204" fmla="*/ 8077 w 10069"/>
                <a:gd name="connsiteY204" fmla="*/ 3864 h 10000"/>
                <a:gd name="connsiteX205" fmla="*/ 8169 w 10069"/>
                <a:gd name="connsiteY205" fmla="*/ 3842 h 10000"/>
                <a:gd name="connsiteX206" fmla="*/ 8676 w 10069"/>
                <a:gd name="connsiteY206" fmla="*/ 3522 h 10000"/>
                <a:gd name="connsiteX207" fmla="*/ 10000 w 10069"/>
                <a:gd name="connsiteY207" fmla="*/ 1194 h 10000"/>
                <a:gd name="connsiteX208" fmla="*/ 9889 w 10069"/>
                <a:gd name="connsiteY208" fmla="*/ 978 h 10000"/>
                <a:gd name="connsiteX209" fmla="*/ 9949 w 10069"/>
                <a:gd name="connsiteY209" fmla="*/ 831 h 10000"/>
                <a:gd name="connsiteX210" fmla="*/ 9510 w 10069"/>
                <a:gd name="connsiteY210" fmla="*/ 517 h 10000"/>
                <a:gd name="connsiteX211" fmla="*/ 9296 w 10069"/>
                <a:gd name="connsiteY211" fmla="*/ 440 h 10000"/>
                <a:gd name="connsiteX212" fmla="*/ 8899 w 10069"/>
                <a:gd name="connsiteY212" fmla="*/ 389 h 10000"/>
                <a:gd name="connsiteX213" fmla="*/ 8077 w 10069"/>
                <a:gd name="connsiteY213" fmla="*/ 26 h 10000"/>
                <a:gd name="connsiteX214" fmla="*/ 8050 w 10069"/>
                <a:gd name="connsiteY214" fmla="*/ 2 h 10000"/>
                <a:gd name="connsiteX215" fmla="*/ 7771 w 10069"/>
                <a:gd name="connsiteY215" fmla="*/ 0 h 10000"/>
                <a:gd name="connsiteX216" fmla="*/ 7708 w 10069"/>
                <a:gd name="connsiteY216" fmla="*/ 14 h 10000"/>
                <a:gd name="connsiteX217" fmla="*/ 7722 w 10069"/>
                <a:gd name="connsiteY217" fmla="*/ 61 h 10000"/>
                <a:gd name="connsiteX218" fmla="*/ 7776 w 10069"/>
                <a:gd name="connsiteY218" fmla="*/ 86 h 10000"/>
                <a:gd name="connsiteX219" fmla="*/ 7791 w 10069"/>
                <a:gd name="connsiteY219" fmla="*/ 139 h 10000"/>
                <a:gd name="connsiteX220" fmla="*/ 7771 w 10069"/>
                <a:gd name="connsiteY220" fmla="*/ 181 h 10000"/>
                <a:gd name="connsiteX221" fmla="*/ 7722 w 10069"/>
                <a:gd name="connsiteY221" fmla="*/ 208 h 10000"/>
                <a:gd name="connsiteX222" fmla="*/ 7685 w 10069"/>
                <a:gd name="connsiteY222" fmla="*/ 283 h 10000"/>
                <a:gd name="connsiteX223" fmla="*/ 7617 w 10069"/>
                <a:gd name="connsiteY223" fmla="*/ 336 h 10000"/>
                <a:gd name="connsiteX224" fmla="*/ 7631 w 10069"/>
                <a:gd name="connsiteY224" fmla="*/ 387 h 10000"/>
                <a:gd name="connsiteX225" fmla="*/ 7735 w 10069"/>
                <a:gd name="connsiteY225" fmla="*/ 434 h 10000"/>
                <a:gd name="connsiteX226" fmla="*/ 7667 w 10069"/>
                <a:gd name="connsiteY226" fmla="*/ 475 h 10000"/>
                <a:gd name="connsiteX227" fmla="*/ 7566 w 10069"/>
                <a:gd name="connsiteY227" fmla="*/ 485 h 10000"/>
                <a:gd name="connsiteX228" fmla="*/ 6727 w 10069"/>
                <a:gd name="connsiteY228" fmla="*/ 387 h 10000"/>
                <a:gd name="connsiteX229" fmla="*/ 6626 w 10069"/>
                <a:gd name="connsiteY229" fmla="*/ 395 h 10000"/>
                <a:gd name="connsiteX230" fmla="*/ 6567 w 10069"/>
                <a:gd name="connsiteY230" fmla="*/ 414 h 10000"/>
                <a:gd name="connsiteX231" fmla="*/ 6507 w 10069"/>
                <a:gd name="connsiteY231" fmla="*/ 462 h 10000"/>
                <a:gd name="connsiteX232" fmla="*/ 6518 w 10069"/>
                <a:gd name="connsiteY232" fmla="*/ 581 h 10000"/>
                <a:gd name="connsiteX233" fmla="*/ 6425 w 10069"/>
                <a:gd name="connsiteY233" fmla="*/ 735 h 10000"/>
                <a:gd name="connsiteX234" fmla="*/ 6312 w 10069"/>
                <a:gd name="connsiteY234" fmla="*/ 815 h 10000"/>
                <a:gd name="connsiteX235" fmla="*/ 6266 w 10069"/>
                <a:gd name="connsiteY235" fmla="*/ 805 h 10000"/>
                <a:gd name="connsiteX236" fmla="*/ 6161 w 10069"/>
                <a:gd name="connsiteY236" fmla="*/ 739 h 10000"/>
                <a:gd name="connsiteX237" fmla="*/ 6029 w 10069"/>
                <a:gd name="connsiteY237" fmla="*/ 705 h 10000"/>
                <a:gd name="connsiteX238" fmla="*/ 5886 w 10069"/>
                <a:gd name="connsiteY238" fmla="*/ 715 h 10000"/>
                <a:gd name="connsiteX239" fmla="*/ 5555 w 10069"/>
                <a:gd name="connsiteY239" fmla="*/ 866 h 10000"/>
                <a:gd name="connsiteX240" fmla="*/ 5467 w 10069"/>
                <a:gd name="connsiteY240" fmla="*/ 1017 h 10000"/>
                <a:gd name="connsiteX241" fmla="*/ 5217 w 10069"/>
                <a:gd name="connsiteY241" fmla="*/ 1153 h 10000"/>
                <a:gd name="connsiteX242" fmla="*/ 5171 w 10069"/>
                <a:gd name="connsiteY242" fmla="*/ 1222 h 10000"/>
                <a:gd name="connsiteX243" fmla="*/ 5302 w 10069"/>
                <a:gd name="connsiteY243" fmla="*/ 1344 h 10000"/>
                <a:gd name="connsiteX244" fmla="*/ 5316 w 10069"/>
                <a:gd name="connsiteY244" fmla="*/ 1412 h 10000"/>
                <a:gd name="connsiteX245" fmla="*/ 4632 w 10069"/>
                <a:gd name="connsiteY245" fmla="*/ 1813 h 10000"/>
                <a:gd name="connsiteX246" fmla="*/ 4422 w 10069"/>
                <a:gd name="connsiteY246" fmla="*/ 2070 h 10000"/>
                <a:gd name="connsiteX247" fmla="*/ 4195 w 10069"/>
                <a:gd name="connsiteY247" fmla="*/ 2135 h 10000"/>
                <a:gd name="connsiteX248" fmla="*/ 4052 w 10069"/>
                <a:gd name="connsiteY248" fmla="*/ 2131 h 10000"/>
                <a:gd name="connsiteX249" fmla="*/ 3966 w 10069"/>
                <a:gd name="connsiteY249" fmla="*/ 2153 h 10000"/>
                <a:gd name="connsiteX250" fmla="*/ 3729 w 10069"/>
                <a:gd name="connsiteY250" fmla="*/ 2793 h 10000"/>
                <a:gd name="connsiteX251" fmla="*/ 3182 w 10069"/>
                <a:gd name="connsiteY251" fmla="*/ 3166 h 10000"/>
                <a:gd name="connsiteX252" fmla="*/ 3186 w 10069"/>
                <a:gd name="connsiteY252" fmla="*/ 3225 h 10000"/>
                <a:gd name="connsiteX253" fmla="*/ 3428 w 10069"/>
                <a:gd name="connsiteY253" fmla="*/ 3392 h 10000"/>
                <a:gd name="connsiteX254" fmla="*/ 3350 w 10069"/>
                <a:gd name="connsiteY254" fmla="*/ 3573 h 10000"/>
                <a:gd name="connsiteX255" fmla="*/ 3208 w 10069"/>
                <a:gd name="connsiteY255" fmla="*/ 3640 h 10000"/>
                <a:gd name="connsiteX256" fmla="*/ 2784 w 10069"/>
                <a:gd name="connsiteY256" fmla="*/ 3595 h 10000"/>
                <a:gd name="connsiteX257" fmla="*/ 2491 w 10069"/>
                <a:gd name="connsiteY257" fmla="*/ 3620 h 10000"/>
                <a:gd name="connsiteX258" fmla="*/ 2255 w 10069"/>
                <a:gd name="connsiteY258" fmla="*/ 3673 h 10000"/>
                <a:gd name="connsiteX259" fmla="*/ 1876 w 10069"/>
                <a:gd name="connsiteY259" fmla="*/ 3840 h 10000"/>
                <a:gd name="connsiteX260" fmla="*/ 1674 w 10069"/>
                <a:gd name="connsiteY260" fmla="*/ 4042 h 10000"/>
                <a:gd name="connsiteX261" fmla="*/ 1692 w 10069"/>
                <a:gd name="connsiteY261" fmla="*/ 4154 h 10000"/>
                <a:gd name="connsiteX262" fmla="*/ 1762 w 10069"/>
                <a:gd name="connsiteY262" fmla="*/ 4241 h 10000"/>
                <a:gd name="connsiteX263" fmla="*/ 1816 w 10069"/>
                <a:gd name="connsiteY263" fmla="*/ 4276 h 10000"/>
                <a:gd name="connsiteX264" fmla="*/ 1716 w 10069"/>
                <a:gd name="connsiteY264" fmla="*/ 4331 h 10000"/>
                <a:gd name="connsiteX265" fmla="*/ 1502 w 10069"/>
                <a:gd name="connsiteY265" fmla="*/ 4710 h 10000"/>
                <a:gd name="connsiteX266" fmla="*/ 1543 w 10069"/>
                <a:gd name="connsiteY266" fmla="*/ 4732 h 10000"/>
                <a:gd name="connsiteX267" fmla="*/ 1575 w 10069"/>
                <a:gd name="connsiteY267" fmla="*/ 4828 h 10000"/>
                <a:gd name="connsiteX268" fmla="*/ 1474 w 10069"/>
                <a:gd name="connsiteY268" fmla="*/ 5227 h 10000"/>
                <a:gd name="connsiteX269" fmla="*/ 1575 w 10069"/>
                <a:gd name="connsiteY269" fmla="*/ 5329 h 10000"/>
                <a:gd name="connsiteX270" fmla="*/ 1848 w 10069"/>
                <a:gd name="connsiteY270" fmla="*/ 5441 h 10000"/>
                <a:gd name="connsiteX271" fmla="*/ 1861 w 10069"/>
                <a:gd name="connsiteY271" fmla="*/ 5578 h 10000"/>
                <a:gd name="connsiteX272" fmla="*/ 1744 w 10069"/>
                <a:gd name="connsiteY272" fmla="*/ 5690 h 10000"/>
                <a:gd name="connsiteX273" fmla="*/ 1575 w 10069"/>
                <a:gd name="connsiteY273" fmla="*/ 5759 h 10000"/>
                <a:gd name="connsiteX274" fmla="*/ 1350 w 10069"/>
                <a:gd name="connsiteY274" fmla="*/ 5787 h 10000"/>
                <a:gd name="connsiteX275" fmla="*/ 1292 w 10069"/>
                <a:gd name="connsiteY275" fmla="*/ 5826 h 10000"/>
                <a:gd name="connsiteX276" fmla="*/ 1423 w 10069"/>
                <a:gd name="connsiteY276" fmla="*/ 5920 h 10000"/>
                <a:gd name="connsiteX277" fmla="*/ 1498 w 10069"/>
                <a:gd name="connsiteY277" fmla="*/ 6142 h 10000"/>
                <a:gd name="connsiteX278" fmla="*/ 1328 w 10069"/>
                <a:gd name="connsiteY278" fmla="*/ 6333 h 10000"/>
                <a:gd name="connsiteX279" fmla="*/ 1387 w 10069"/>
                <a:gd name="connsiteY279" fmla="*/ 6392 h 10000"/>
                <a:gd name="connsiteX280" fmla="*/ 1333 w 10069"/>
                <a:gd name="connsiteY280" fmla="*/ 6492 h 10000"/>
                <a:gd name="connsiteX281" fmla="*/ 1224 w 10069"/>
                <a:gd name="connsiteY281" fmla="*/ 6561 h 10000"/>
                <a:gd name="connsiteX282" fmla="*/ 794 w 10069"/>
                <a:gd name="connsiteY282" fmla="*/ 6614 h 10000"/>
                <a:gd name="connsiteX283" fmla="*/ 767 w 10069"/>
                <a:gd name="connsiteY283" fmla="*/ 6706 h 10000"/>
                <a:gd name="connsiteX284" fmla="*/ 535 w 10069"/>
                <a:gd name="connsiteY284" fmla="*/ 6843 h 10000"/>
                <a:gd name="connsiteX285" fmla="*/ 566 w 10069"/>
                <a:gd name="connsiteY285" fmla="*/ 7040 h 10000"/>
                <a:gd name="connsiteX286" fmla="*/ 370 w 10069"/>
                <a:gd name="connsiteY286" fmla="*/ 7293 h 10000"/>
                <a:gd name="connsiteX287" fmla="*/ 237 w 10069"/>
                <a:gd name="connsiteY287" fmla="*/ 7323 h 10000"/>
                <a:gd name="connsiteX288" fmla="*/ 183 w 10069"/>
                <a:gd name="connsiteY288" fmla="*/ 7262 h 10000"/>
                <a:gd name="connsiteX289" fmla="*/ 114 w 10069"/>
                <a:gd name="connsiteY289" fmla="*/ 7354 h 10000"/>
                <a:gd name="connsiteX290" fmla="*/ 159 w 10069"/>
                <a:gd name="connsiteY290" fmla="*/ 7197 h 10000"/>
                <a:gd name="connsiteX291" fmla="*/ 131 w 10069"/>
                <a:gd name="connsiteY291" fmla="*/ 7166 h 10000"/>
                <a:gd name="connsiteX0" fmla="*/ 131 w 9949"/>
                <a:gd name="connsiteY0" fmla="*/ 7166 h 10000"/>
                <a:gd name="connsiteX1" fmla="*/ 0 w 9949"/>
                <a:gd name="connsiteY1" fmla="*/ 7248 h 10000"/>
                <a:gd name="connsiteX2" fmla="*/ 0 w 9949"/>
                <a:gd name="connsiteY2" fmla="*/ 7651 h 10000"/>
                <a:gd name="connsiteX3" fmla="*/ 73 w 9949"/>
                <a:gd name="connsiteY3" fmla="*/ 7663 h 10000"/>
                <a:gd name="connsiteX4" fmla="*/ 90 w 9949"/>
                <a:gd name="connsiteY4" fmla="*/ 7694 h 10000"/>
                <a:gd name="connsiteX5" fmla="*/ 86 w 9949"/>
                <a:gd name="connsiteY5" fmla="*/ 7749 h 10000"/>
                <a:gd name="connsiteX6" fmla="*/ 59 w 9949"/>
                <a:gd name="connsiteY6" fmla="*/ 7773 h 10000"/>
                <a:gd name="connsiteX7" fmla="*/ 169 w 9949"/>
                <a:gd name="connsiteY7" fmla="*/ 7727 h 10000"/>
                <a:gd name="connsiteX8" fmla="*/ 216 w 9949"/>
                <a:gd name="connsiteY8" fmla="*/ 7680 h 10000"/>
                <a:gd name="connsiteX9" fmla="*/ 273 w 9949"/>
                <a:gd name="connsiteY9" fmla="*/ 7712 h 10000"/>
                <a:gd name="connsiteX10" fmla="*/ 210 w 9949"/>
                <a:gd name="connsiteY10" fmla="*/ 7778 h 10000"/>
                <a:gd name="connsiteX11" fmla="*/ 278 w 9949"/>
                <a:gd name="connsiteY11" fmla="*/ 7780 h 10000"/>
                <a:gd name="connsiteX12" fmla="*/ 310 w 9949"/>
                <a:gd name="connsiteY12" fmla="*/ 7796 h 10000"/>
                <a:gd name="connsiteX13" fmla="*/ 224 w 9949"/>
                <a:gd name="connsiteY13" fmla="*/ 7818 h 10000"/>
                <a:gd name="connsiteX14" fmla="*/ 86 w 9949"/>
                <a:gd name="connsiteY14" fmla="*/ 7886 h 10000"/>
                <a:gd name="connsiteX15" fmla="*/ 330 w 9949"/>
                <a:gd name="connsiteY15" fmla="*/ 7938 h 10000"/>
                <a:gd name="connsiteX16" fmla="*/ 360 w 9949"/>
                <a:gd name="connsiteY16" fmla="*/ 8014 h 10000"/>
                <a:gd name="connsiteX17" fmla="*/ 278 w 9949"/>
                <a:gd name="connsiteY17" fmla="*/ 8126 h 10000"/>
                <a:gd name="connsiteX18" fmla="*/ 457 w 9949"/>
                <a:gd name="connsiteY18" fmla="*/ 8118 h 10000"/>
                <a:gd name="connsiteX19" fmla="*/ 470 w 9949"/>
                <a:gd name="connsiteY19" fmla="*/ 8203 h 10000"/>
                <a:gd name="connsiteX20" fmla="*/ 351 w 9949"/>
                <a:gd name="connsiteY20" fmla="*/ 8260 h 10000"/>
                <a:gd name="connsiteX21" fmla="*/ 370 w 9949"/>
                <a:gd name="connsiteY21" fmla="*/ 8370 h 10000"/>
                <a:gd name="connsiteX22" fmla="*/ 324 w 9949"/>
                <a:gd name="connsiteY22" fmla="*/ 8456 h 10000"/>
                <a:gd name="connsiteX23" fmla="*/ 465 w 9949"/>
                <a:gd name="connsiteY23" fmla="*/ 8464 h 10000"/>
                <a:gd name="connsiteX24" fmla="*/ 603 w 9949"/>
                <a:gd name="connsiteY24" fmla="*/ 8792 h 10000"/>
                <a:gd name="connsiteX25" fmla="*/ 762 w 9949"/>
                <a:gd name="connsiteY25" fmla="*/ 8876 h 10000"/>
                <a:gd name="connsiteX26" fmla="*/ 831 w 9949"/>
                <a:gd name="connsiteY26" fmla="*/ 8965 h 10000"/>
                <a:gd name="connsiteX27" fmla="*/ 1004 w 9949"/>
                <a:gd name="connsiteY27" fmla="*/ 9030 h 10000"/>
                <a:gd name="connsiteX28" fmla="*/ 1114 w 9949"/>
                <a:gd name="connsiteY28" fmla="*/ 9112 h 10000"/>
                <a:gd name="connsiteX29" fmla="*/ 1100 w 9949"/>
                <a:gd name="connsiteY29" fmla="*/ 9171 h 10000"/>
                <a:gd name="connsiteX30" fmla="*/ 991 w 9949"/>
                <a:gd name="connsiteY30" fmla="*/ 9193 h 10000"/>
                <a:gd name="connsiteX31" fmla="*/ 872 w 9949"/>
                <a:gd name="connsiteY31" fmla="*/ 9179 h 10000"/>
                <a:gd name="connsiteX32" fmla="*/ 835 w 9949"/>
                <a:gd name="connsiteY32" fmla="*/ 9204 h 10000"/>
                <a:gd name="connsiteX33" fmla="*/ 926 w 9949"/>
                <a:gd name="connsiteY33" fmla="*/ 9332 h 10000"/>
                <a:gd name="connsiteX34" fmla="*/ 798 w 9949"/>
                <a:gd name="connsiteY34" fmla="*/ 9322 h 10000"/>
                <a:gd name="connsiteX35" fmla="*/ 689 w 9949"/>
                <a:gd name="connsiteY35" fmla="*/ 9291 h 10000"/>
                <a:gd name="connsiteX36" fmla="*/ 670 w 9949"/>
                <a:gd name="connsiteY36" fmla="*/ 9338 h 10000"/>
                <a:gd name="connsiteX37" fmla="*/ 1031 w 9949"/>
                <a:gd name="connsiteY37" fmla="*/ 9776 h 10000"/>
                <a:gd name="connsiteX38" fmla="*/ 973 w 9949"/>
                <a:gd name="connsiteY38" fmla="*/ 9817 h 10000"/>
                <a:gd name="connsiteX39" fmla="*/ 932 w 9949"/>
                <a:gd name="connsiteY39" fmla="*/ 9902 h 10000"/>
                <a:gd name="connsiteX40" fmla="*/ 881 w 9949"/>
                <a:gd name="connsiteY40" fmla="*/ 9908 h 10000"/>
                <a:gd name="connsiteX41" fmla="*/ 849 w 9949"/>
                <a:gd name="connsiteY41" fmla="*/ 9945 h 10000"/>
                <a:gd name="connsiteX42" fmla="*/ 1067 w 9949"/>
                <a:gd name="connsiteY42" fmla="*/ 9949 h 10000"/>
                <a:gd name="connsiteX43" fmla="*/ 1260 w 9949"/>
                <a:gd name="connsiteY43" fmla="*/ 9986 h 10000"/>
                <a:gd name="connsiteX44" fmla="*/ 1579 w 9949"/>
                <a:gd name="connsiteY44" fmla="*/ 9947 h 10000"/>
                <a:gd name="connsiteX45" fmla="*/ 1866 w 9949"/>
                <a:gd name="connsiteY45" fmla="*/ 9953 h 10000"/>
                <a:gd name="connsiteX46" fmla="*/ 2036 w 9949"/>
                <a:gd name="connsiteY46" fmla="*/ 10000 h 10000"/>
                <a:gd name="connsiteX47" fmla="*/ 2128 w 9949"/>
                <a:gd name="connsiteY47" fmla="*/ 9969 h 10000"/>
                <a:gd name="connsiteX48" fmla="*/ 2218 w 9949"/>
                <a:gd name="connsiteY48" fmla="*/ 9868 h 10000"/>
                <a:gd name="connsiteX49" fmla="*/ 2195 w 9949"/>
                <a:gd name="connsiteY49" fmla="*/ 9703 h 10000"/>
                <a:gd name="connsiteX50" fmla="*/ 2414 w 9949"/>
                <a:gd name="connsiteY50" fmla="*/ 9517 h 10000"/>
                <a:gd name="connsiteX51" fmla="*/ 2574 w 9949"/>
                <a:gd name="connsiteY51" fmla="*/ 9546 h 10000"/>
                <a:gd name="connsiteX52" fmla="*/ 2665 w 9949"/>
                <a:gd name="connsiteY52" fmla="*/ 9472 h 10000"/>
                <a:gd name="connsiteX53" fmla="*/ 2843 w 9949"/>
                <a:gd name="connsiteY53" fmla="*/ 9430 h 10000"/>
                <a:gd name="connsiteX54" fmla="*/ 3085 w 9949"/>
                <a:gd name="connsiteY54" fmla="*/ 9440 h 10000"/>
                <a:gd name="connsiteX55" fmla="*/ 3231 w 9949"/>
                <a:gd name="connsiteY55" fmla="*/ 9470 h 10000"/>
                <a:gd name="connsiteX56" fmla="*/ 3424 w 9949"/>
                <a:gd name="connsiteY56" fmla="*/ 9456 h 10000"/>
                <a:gd name="connsiteX57" fmla="*/ 3619 w 9949"/>
                <a:gd name="connsiteY57" fmla="*/ 9489 h 10000"/>
                <a:gd name="connsiteX58" fmla="*/ 3815 w 9949"/>
                <a:gd name="connsiteY58" fmla="*/ 9493 h 10000"/>
                <a:gd name="connsiteX59" fmla="*/ 4253 w 9949"/>
                <a:gd name="connsiteY59" fmla="*/ 9061 h 10000"/>
                <a:gd name="connsiteX60" fmla="*/ 4364 w 9949"/>
                <a:gd name="connsiteY60" fmla="*/ 8711 h 10000"/>
                <a:gd name="connsiteX61" fmla="*/ 4541 w 9949"/>
                <a:gd name="connsiteY61" fmla="*/ 8554 h 10000"/>
                <a:gd name="connsiteX62" fmla="*/ 4541 w 9949"/>
                <a:gd name="connsiteY62" fmla="*/ 8472 h 10000"/>
                <a:gd name="connsiteX63" fmla="*/ 4477 w 9949"/>
                <a:gd name="connsiteY63" fmla="*/ 8425 h 10000"/>
                <a:gd name="connsiteX64" fmla="*/ 4582 w 9949"/>
                <a:gd name="connsiteY64" fmla="*/ 8352 h 10000"/>
                <a:gd name="connsiteX65" fmla="*/ 4563 w 9949"/>
                <a:gd name="connsiteY65" fmla="*/ 8289 h 10000"/>
                <a:gd name="connsiteX66" fmla="*/ 4491 w 9949"/>
                <a:gd name="connsiteY66" fmla="*/ 8236 h 10000"/>
                <a:gd name="connsiteX67" fmla="*/ 4477 w 9949"/>
                <a:gd name="connsiteY67" fmla="*/ 8199 h 10000"/>
                <a:gd name="connsiteX68" fmla="*/ 4495 w 9949"/>
                <a:gd name="connsiteY68" fmla="*/ 8169 h 10000"/>
                <a:gd name="connsiteX69" fmla="*/ 4591 w 9949"/>
                <a:gd name="connsiteY69" fmla="*/ 8193 h 10000"/>
                <a:gd name="connsiteX70" fmla="*/ 4668 w 9949"/>
                <a:gd name="connsiteY70" fmla="*/ 8191 h 10000"/>
                <a:gd name="connsiteX71" fmla="*/ 4626 w 9949"/>
                <a:gd name="connsiteY71" fmla="*/ 8140 h 10000"/>
                <a:gd name="connsiteX72" fmla="*/ 4640 w 9949"/>
                <a:gd name="connsiteY72" fmla="*/ 8112 h 10000"/>
                <a:gd name="connsiteX73" fmla="*/ 4696 w 9949"/>
                <a:gd name="connsiteY73" fmla="*/ 8069 h 10000"/>
                <a:gd name="connsiteX74" fmla="*/ 4687 w 9949"/>
                <a:gd name="connsiteY74" fmla="*/ 8034 h 10000"/>
                <a:gd name="connsiteX75" fmla="*/ 4738 w 9949"/>
                <a:gd name="connsiteY75" fmla="*/ 7916 h 10000"/>
                <a:gd name="connsiteX76" fmla="*/ 4725 w 9949"/>
                <a:gd name="connsiteY76" fmla="*/ 7881 h 10000"/>
                <a:gd name="connsiteX77" fmla="*/ 4459 w 9949"/>
                <a:gd name="connsiteY77" fmla="*/ 7792 h 10000"/>
                <a:gd name="connsiteX78" fmla="*/ 4495 w 9949"/>
                <a:gd name="connsiteY78" fmla="*/ 7788 h 10000"/>
                <a:gd name="connsiteX79" fmla="*/ 4636 w 9949"/>
                <a:gd name="connsiteY79" fmla="*/ 7812 h 10000"/>
                <a:gd name="connsiteX80" fmla="*/ 4788 w 9949"/>
                <a:gd name="connsiteY80" fmla="*/ 7804 h 10000"/>
                <a:gd name="connsiteX81" fmla="*/ 4833 w 9949"/>
                <a:gd name="connsiteY81" fmla="*/ 7771 h 10000"/>
                <a:gd name="connsiteX82" fmla="*/ 4687 w 9949"/>
                <a:gd name="connsiteY82" fmla="*/ 7710 h 10000"/>
                <a:gd name="connsiteX83" fmla="*/ 4249 w 9949"/>
                <a:gd name="connsiteY83" fmla="*/ 7670 h 10000"/>
                <a:gd name="connsiteX84" fmla="*/ 4279 w 9949"/>
                <a:gd name="connsiteY84" fmla="*/ 7651 h 10000"/>
                <a:gd name="connsiteX85" fmla="*/ 4636 w 9949"/>
                <a:gd name="connsiteY85" fmla="*/ 7639 h 10000"/>
                <a:gd name="connsiteX86" fmla="*/ 4833 w 9949"/>
                <a:gd name="connsiteY86" fmla="*/ 7676 h 10000"/>
                <a:gd name="connsiteX87" fmla="*/ 4947 w 9949"/>
                <a:gd name="connsiteY87" fmla="*/ 7651 h 10000"/>
                <a:gd name="connsiteX88" fmla="*/ 4988 w 9949"/>
                <a:gd name="connsiteY88" fmla="*/ 7588 h 10000"/>
                <a:gd name="connsiteX89" fmla="*/ 5193 w 9949"/>
                <a:gd name="connsiteY89" fmla="*/ 7588 h 10000"/>
                <a:gd name="connsiteX90" fmla="*/ 5472 w 9949"/>
                <a:gd name="connsiteY90" fmla="*/ 7462 h 10000"/>
                <a:gd name="connsiteX91" fmla="*/ 5482 w 9949"/>
                <a:gd name="connsiteY91" fmla="*/ 7378 h 10000"/>
                <a:gd name="connsiteX92" fmla="*/ 5599 w 9949"/>
                <a:gd name="connsiteY92" fmla="*/ 7397 h 10000"/>
                <a:gd name="connsiteX93" fmla="*/ 5595 w 9949"/>
                <a:gd name="connsiteY93" fmla="*/ 7482 h 10000"/>
                <a:gd name="connsiteX94" fmla="*/ 5782 w 9949"/>
                <a:gd name="connsiteY94" fmla="*/ 7476 h 10000"/>
                <a:gd name="connsiteX95" fmla="*/ 5905 w 9949"/>
                <a:gd name="connsiteY95" fmla="*/ 7388 h 10000"/>
                <a:gd name="connsiteX96" fmla="*/ 6135 w 9949"/>
                <a:gd name="connsiteY96" fmla="*/ 7309 h 10000"/>
                <a:gd name="connsiteX97" fmla="*/ 6097 w 9949"/>
                <a:gd name="connsiteY97" fmla="*/ 7219 h 10000"/>
                <a:gd name="connsiteX98" fmla="*/ 6165 w 9949"/>
                <a:gd name="connsiteY98" fmla="*/ 7254 h 10000"/>
                <a:gd name="connsiteX99" fmla="*/ 6270 w 9949"/>
                <a:gd name="connsiteY99" fmla="*/ 7254 h 10000"/>
                <a:gd name="connsiteX100" fmla="*/ 6270 w 9949"/>
                <a:gd name="connsiteY100" fmla="*/ 7213 h 10000"/>
                <a:gd name="connsiteX101" fmla="*/ 6367 w 9949"/>
                <a:gd name="connsiteY101" fmla="*/ 7181 h 10000"/>
                <a:gd name="connsiteX102" fmla="*/ 6353 w 9949"/>
                <a:gd name="connsiteY102" fmla="*/ 7148 h 10000"/>
                <a:gd name="connsiteX103" fmla="*/ 5532 w 9949"/>
                <a:gd name="connsiteY103" fmla="*/ 7215 h 10000"/>
                <a:gd name="connsiteX104" fmla="*/ 5340 w 9949"/>
                <a:gd name="connsiteY104" fmla="*/ 7195 h 10000"/>
                <a:gd name="connsiteX105" fmla="*/ 5262 w 9949"/>
                <a:gd name="connsiteY105" fmla="*/ 7219 h 10000"/>
                <a:gd name="connsiteX106" fmla="*/ 5235 w 9949"/>
                <a:gd name="connsiteY106" fmla="*/ 7173 h 10000"/>
                <a:gd name="connsiteX107" fmla="*/ 5144 w 9949"/>
                <a:gd name="connsiteY107" fmla="*/ 7132 h 10000"/>
                <a:gd name="connsiteX108" fmla="*/ 4778 w 9949"/>
                <a:gd name="connsiteY108" fmla="*/ 7052 h 10000"/>
                <a:gd name="connsiteX109" fmla="*/ 4563 w 9949"/>
                <a:gd name="connsiteY109" fmla="*/ 7065 h 10000"/>
                <a:gd name="connsiteX110" fmla="*/ 4477 w 9949"/>
                <a:gd name="connsiteY110" fmla="*/ 7042 h 10000"/>
                <a:gd name="connsiteX111" fmla="*/ 4568 w 9949"/>
                <a:gd name="connsiteY111" fmla="*/ 7022 h 10000"/>
                <a:gd name="connsiteX112" fmla="*/ 4636 w 9949"/>
                <a:gd name="connsiteY112" fmla="*/ 6979 h 10000"/>
                <a:gd name="connsiteX113" fmla="*/ 4738 w 9949"/>
                <a:gd name="connsiteY113" fmla="*/ 6993 h 10000"/>
                <a:gd name="connsiteX114" fmla="*/ 4860 w 9949"/>
                <a:gd name="connsiteY114" fmla="*/ 6981 h 10000"/>
                <a:gd name="connsiteX115" fmla="*/ 5043 w 9949"/>
                <a:gd name="connsiteY115" fmla="*/ 6995 h 10000"/>
                <a:gd name="connsiteX116" fmla="*/ 5065 w 9949"/>
                <a:gd name="connsiteY116" fmla="*/ 6989 h 10000"/>
                <a:gd name="connsiteX117" fmla="*/ 5207 w 9949"/>
                <a:gd name="connsiteY117" fmla="*/ 7056 h 10000"/>
                <a:gd name="connsiteX118" fmla="*/ 5312 w 9949"/>
                <a:gd name="connsiteY118" fmla="*/ 7032 h 10000"/>
                <a:gd name="connsiteX119" fmla="*/ 5320 w 9949"/>
                <a:gd name="connsiteY119" fmla="*/ 7010 h 10000"/>
                <a:gd name="connsiteX120" fmla="*/ 5417 w 9949"/>
                <a:gd name="connsiteY120" fmla="*/ 7048 h 10000"/>
                <a:gd name="connsiteX121" fmla="*/ 5545 w 9949"/>
                <a:gd name="connsiteY121" fmla="*/ 7069 h 10000"/>
                <a:gd name="connsiteX122" fmla="*/ 5595 w 9949"/>
                <a:gd name="connsiteY122" fmla="*/ 7030 h 10000"/>
                <a:gd name="connsiteX123" fmla="*/ 5636 w 9949"/>
                <a:gd name="connsiteY123" fmla="*/ 7052 h 10000"/>
                <a:gd name="connsiteX124" fmla="*/ 5695 w 9949"/>
                <a:gd name="connsiteY124" fmla="*/ 7126 h 10000"/>
                <a:gd name="connsiteX125" fmla="*/ 5818 w 9949"/>
                <a:gd name="connsiteY125" fmla="*/ 7144 h 10000"/>
                <a:gd name="connsiteX126" fmla="*/ 6321 w 9949"/>
                <a:gd name="connsiteY126" fmla="*/ 7034 h 10000"/>
                <a:gd name="connsiteX127" fmla="*/ 6567 w 9949"/>
                <a:gd name="connsiteY127" fmla="*/ 6879 h 10000"/>
                <a:gd name="connsiteX128" fmla="*/ 6626 w 9949"/>
                <a:gd name="connsiteY128" fmla="*/ 6765 h 10000"/>
                <a:gd name="connsiteX129" fmla="*/ 6536 w 9949"/>
                <a:gd name="connsiteY129" fmla="*/ 6663 h 10000"/>
                <a:gd name="connsiteX130" fmla="*/ 6348 w 9949"/>
                <a:gd name="connsiteY130" fmla="*/ 6602 h 10000"/>
                <a:gd name="connsiteX131" fmla="*/ 6215 w 9949"/>
                <a:gd name="connsiteY131" fmla="*/ 6502 h 10000"/>
                <a:gd name="connsiteX132" fmla="*/ 6340 w 9949"/>
                <a:gd name="connsiteY132" fmla="*/ 6498 h 10000"/>
                <a:gd name="connsiteX133" fmla="*/ 6331 w 9949"/>
                <a:gd name="connsiteY133" fmla="*/ 6474 h 10000"/>
                <a:gd name="connsiteX134" fmla="*/ 6007 w 9949"/>
                <a:gd name="connsiteY134" fmla="*/ 6403 h 10000"/>
                <a:gd name="connsiteX135" fmla="*/ 5994 w 9949"/>
                <a:gd name="connsiteY135" fmla="*/ 6339 h 10000"/>
                <a:gd name="connsiteX136" fmla="*/ 5932 w 9949"/>
                <a:gd name="connsiteY136" fmla="*/ 6272 h 10000"/>
                <a:gd name="connsiteX137" fmla="*/ 5677 w 9949"/>
                <a:gd name="connsiteY137" fmla="*/ 6284 h 10000"/>
                <a:gd name="connsiteX138" fmla="*/ 5585 w 9949"/>
                <a:gd name="connsiteY138" fmla="*/ 6213 h 10000"/>
                <a:gd name="connsiteX139" fmla="*/ 5532 w 9949"/>
                <a:gd name="connsiteY139" fmla="*/ 6209 h 10000"/>
                <a:gd name="connsiteX140" fmla="*/ 5532 w 9949"/>
                <a:gd name="connsiteY140" fmla="*/ 6238 h 10000"/>
                <a:gd name="connsiteX141" fmla="*/ 5417 w 9949"/>
                <a:gd name="connsiteY141" fmla="*/ 6358 h 10000"/>
                <a:gd name="connsiteX142" fmla="*/ 5293 w 9949"/>
                <a:gd name="connsiteY142" fmla="*/ 6429 h 10000"/>
                <a:gd name="connsiteX143" fmla="*/ 4905 w 9949"/>
                <a:gd name="connsiteY143" fmla="*/ 6551 h 10000"/>
                <a:gd name="connsiteX144" fmla="*/ 4769 w 9949"/>
                <a:gd name="connsiteY144" fmla="*/ 6547 h 10000"/>
                <a:gd name="connsiteX145" fmla="*/ 4582 w 9949"/>
                <a:gd name="connsiteY145" fmla="*/ 6565 h 10000"/>
                <a:gd name="connsiteX146" fmla="*/ 4477 w 9949"/>
                <a:gd name="connsiteY146" fmla="*/ 6547 h 10000"/>
                <a:gd name="connsiteX147" fmla="*/ 4613 w 9949"/>
                <a:gd name="connsiteY147" fmla="*/ 6513 h 10000"/>
                <a:gd name="connsiteX148" fmla="*/ 4792 w 9949"/>
                <a:gd name="connsiteY148" fmla="*/ 6498 h 10000"/>
                <a:gd name="connsiteX149" fmla="*/ 4939 w 9949"/>
                <a:gd name="connsiteY149" fmla="*/ 6441 h 10000"/>
                <a:gd name="connsiteX150" fmla="*/ 5083 w 9949"/>
                <a:gd name="connsiteY150" fmla="*/ 6415 h 10000"/>
                <a:gd name="connsiteX151" fmla="*/ 5354 w 9949"/>
                <a:gd name="connsiteY151" fmla="*/ 6317 h 10000"/>
                <a:gd name="connsiteX152" fmla="*/ 5404 w 9949"/>
                <a:gd name="connsiteY152" fmla="*/ 6252 h 10000"/>
                <a:gd name="connsiteX153" fmla="*/ 5408 w 9949"/>
                <a:gd name="connsiteY153" fmla="*/ 6168 h 10000"/>
                <a:gd name="connsiteX154" fmla="*/ 5285 w 9949"/>
                <a:gd name="connsiteY154" fmla="*/ 6154 h 10000"/>
                <a:gd name="connsiteX155" fmla="*/ 5340 w 9949"/>
                <a:gd name="connsiteY155" fmla="*/ 6103 h 10000"/>
                <a:gd name="connsiteX156" fmla="*/ 5358 w 9949"/>
                <a:gd name="connsiteY156" fmla="*/ 6038 h 10000"/>
                <a:gd name="connsiteX157" fmla="*/ 5306 w 9949"/>
                <a:gd name="connsiteY157" fmla="*/ 5977 h 10000"/>
                <a:gd name="connsiteX158" fmla="*/ 5275 w 9949"/>
                <a:gd name="connsiteY158" fmla="*/ 5533 h 10000"/>
                <a:gd name="connsiteX159" fmla="*/ 5350 w 9949"/>
                <a:gd name="connsiteY159" fmla="*/ 5437 h 10000"/>
                <a:gd name="connsiteX160" fmla="*/ 5331 w 9949"/>
                <a:gd name="connsiteY160" fmla="*/ 5398 h 10000"/>
                <a:gd name="connsiteX161" fmla="*/ 5545 w 9949"/>
                <a:gd name="connsiteY161" fmla="*/ 5455 h 10000"/>
                <a:gd name="connsiteX162" fmla="*/ 5559 w 9949"/>
                <a:gd name="connsiteY162" fmla="*/ 5402 h 10000"/>
                <a:gd name="connsiteX163" fmla="*/ 5513 w 9949"/>
                <a:gd name="connsiteY163" fmla="*/ 5264 h 10000"/>
                <a:gd name="connsiteX164" fmla="*/ 5667 w 9949"/>
                <a:gd name="connsiteY164" fmla="*/ 5019 h 10000"/>
                <a:gd name="connsiteX165" fmla="*/ 5572 w 9949"/>
                <a:gd name="connsiteY165" fmla="*/ 4960 h 10000"/>
                <a:gd name="connsiteX166" fmla="*/ 5536 w 9949"/>
                <a:gd name="connsiteY166" fmla="*/ 4905 h 10000"/>
                <a:gd name="connsiteX167" fmla="*/ 5549 w 9949"/>
                <a:gd name="connsiteY167" fmla="*/ 4816 h 10000"/>
                <a:gd name="connsiteX168" fmla="*/ 5774 w 9949"/>
                <a:gd name="connsiteY168" fmla="*/ 4875 h 10000"/>
                <a:gd name="connsiteX169" fmla="*/ 5782 w 9949"/>
                <a:gd name="connsiteY169" fmla="*/ 4858 h 10000"/>
                <a:gd name="connsiteX170" fmla="*/ 5845 w 9949"/>
                <a:gd name="connsiteY170" fmla="*/ 4842 h 10000"/>
                <a:gd name="connsiteX171" fmla="*/ 5932 w 9949"/>
                <a:gd name="connsiteY171" fmla="*/ 4785 h 10000"/>
                <a:gd name="connsiteX172" fmla="*/ 5946 w 9949"/>
                <a:gd name="connsiteY172" fmla="*/ 4769 h 10000"/>
                <a:gd name="connsiteX173" fmla="*/ 5928 w 9949"/>
                <a:gd name="connsiteY173" fmla="*/ 4748 h 10000"/>
                <a:gd name="connsiteX174" fmla="*/ 5973 w 9949"/>
                <a:gd name="connsiteY174" fmla="*/ 4647 h 10000"/>
                <a:gd name="connsiteX175" fmla="*/ 5919 w 9949"/>
                <a:gd name="connsiteY175" fmla="*/ 4581 h 10000"/>
                <a:gd name="connsiteX176" fmla="*/ 5928 w 9949"/>
                <a:gd name="connsiteY176" fmla="*/ 4528 h 10000"/>
                <a:gd name="connsiteX177" fmla="*/ 5959 w 9949"/>
                <a:gd name="connsiteY177" fmla="*/ 4590 h 10000"/>
                <a:gd name="connsiteX178" fmla="*/ 6083 w 9949"/>
                <a:gd name="connsiteY178" fmla="*/ 4636 h 10000"/>
                <a:gd name="connsiteX179" fmla="*/ 6135 w 9949"/>
                <a:gd name="connsiteY179" fmla="*/ 4630 h 10000"/>
                <a:gd name="connsiteX180" fmla="*/ 6215 w 9949"/>
                <a:gd name="connsiteY180" fmla="*/ 4569 h 10000"/>
                <a:gd name="connsiteX181" fmla="*/ 6303 w 9949"/>
                <a:gd name="connsiteY181" fmla="*/ 4594 h 10000"/>
                <a:gd name="connsiteX182" fmla="*/ 6327 w 9949"/>
                <a:gd name="connsiteY182" fmla="*/ 4545 h 10000"/>
                <a:gd name="connsiteX183" fmla="*/ 6385 w 9949"/>
                <a:gd name="connsiteY183" fmla="*/ 4512 h 10000"/>
                <a:gd name="connsiteX184" fmla="*/ 6224 w 9949"/>
                <a:gd name="connsiteY184" fmla="*/ 4477 h 10000"/>
                <a:gd name="connsiteX185" fmla="*/ 6340 w 9949"/>
                <a:gd name="connsiteY185" fmla="*/ 4484 h 10000"/>
                <a:gd name="connsiteX186" fmla="*/ 6457 w 9949"/>
                <a:gd name="connsiteY186" fmla="*/ 4447 h 10000"/>
                <a:gd name="connsiteX187" fmla="*/ 6453 w 9949"/>
                <a:gd name="connsiteY187" fmla="*/ 4422 h 10000"/>
                <a:gd name="connsiteX188" fmla="*/ 6563 w 9949"/>
                <a:gd name="connsiteY188" fmla="*/ 4398 h 10000"/>
                <a:gd name="connsiteX189" fmla="*/ 6572 w 9949"/>
                <a:gd name="connsiteY189" fmla="*/ 4337 h 10000"/>
                <a:gd name="connsiteX190" fmla="*/ 6659 w 9949"/>
                <a:gd name="connsiteY190" fmla="*/ 4325 h 10000"/>
                <a:gd name="connsiteX191" fmla="*/ 6667 w 9949"/>
                <a:gd name="connsiteY191" fmla="*/ 4253 h 10000"/>
                <a:gd name="connsiteX192" fmla="*/ 6758 w 9949"/>
                <a:gd name="connsiteY192" fmla="*/ 4245 h 10000"/>
                <a:gd name="connsiteX193" fmla="*/ 6900 w 9949"/>
                <a:gd name="connsiteY193" fmla="*/ 4260 h 10000"/>
                <a:gd name="connsiteX194" fmla="*/ 7055 w 9949"/>
                <a:gd name="connsiteY194" fmla="*/ 4202 h 10000"/>
                <a:gd name="connsiteX195" fmla="*/ 7110 w 9949"/>
                <a:gd name="connsiteY195" fmla="*/ 4137 h 10000"/>
                <a:gd name="connsiteX196" fmla="*/ 7302 w 9949"/>
                <a:gd name="connsiteY196" fmla="*/ 4070 h 10000"/>
                <a:gd name="connsiteX197" fmla="*/ 7397 w 9949"/>
                <a:gd name="connsiteY197" fmla="*/ 4111 h 10000"/>
                <a:gd name="connsiteX198" fmla="*/ 7543 w 9949"/>
                <a:gd name="connsiteY198" fmla="*/ 4066 h 10000"/>
                <a:gd name="connsiteX199" fmla="*/ 7579 w 9949"/>
                <a:gd name="connsiteY199" fmla="*/ 4009 h 10000"/>
                <a:gd name="connsiteX200" fmla="*/ 7690 w 9949"/>
                <a:gd name="connsiteY200" fmla="*/ 3970 h 10000"/>
                <a:gd name="connsiteX201" fmla="*/ 7785 w 9949"/>
                <a:gd name="connsiteY201" fmla="*/ 3987 h 10000"/>
                <a:gd name="connsiteX202" fmla="*/ 7844 w 9949"/>
                <a:gd name="connsiteY202" fmla="*/ 3958 h 10000"/>
                <a:gd name="connsiteX203" fmla="*/ 8009 w 9949"/>
                <a:gd name="connsiteY203" fmla="*/ 3917 h 10000"/>
                <a:gd name="connsiteX204" fmla="*/ 8077 w 9949"/>
                <a:gd name="connsiteY204" fmla="*/ 3864 h 10000"/>
                <a:gd name="connsiteX205" fmla="*/ 8169 w 9949"/>
                <a:gd name="connsiteY205" fmla="*/ 3842 h 10000"/>
                <a:gd name="connsiteX206" fmla="*/ 8676 w 9949"/>
                <a:gd name="connsiteY206" fmla="*/ 3522 h 10000"/>
                <a:gd name="connsiteX207" fmla="*/ 9889 w 9949"/>
                <a:gd name="connsiteY207" fmla="*/ 978 h 10000"/>
                <a:gd name="connsiteX208" fmla="*/ 9949 w 9949"/>
                <a:gd name="connsiteY208" fmla="*/ 831 h 10000"/>
                <a:gd name="connsiteX209" fmla="*/ 9510 w 9949"/>
                <a:gd name="connsiteY209" fmla="*/ 517 h 10000"/>
                <a:gd name="connsiteX210" fmla="*/ 9296 w 9949"/>
                <a:gd name="connsiteY210" fmla="*/ 440 h 10000"/>
                <a:gd name="connsiteX211" fmla="*/ 8899 w 9949"/>
                <a:gd name="connsiteY211" fmla="*/ 389 h 10000"/>
                <a:gd name="connsiteX212" fmla="*/ 8077 w 9949"/>
                <a:gd name="connsiteY212" fmla="*/ 26 h 10000"/>
                <a:gd name="connsiteX213" fmla="*/ 8050 w 9949"/>
                <a:gd name="connsiteY213" fmla="*/ 2 h 10000"/>
                <a:gd name="connsiteX214" fmla="*/ 7771 w 9949"/>
                <a:gd name="connsiteY214" fmla="*/ 0 h 10000"/>
                <a:gd name="connsiteX215" fmla="*/ 7708 w 9949"/>
                <a:gd name="connsiteY215" fmla="*/ 14 h 10000"/>
                <a:gd name="connsiteX216" fmla="*/ 7722 w 9949"/>
                <a:gd name="connsiteY216" fmla="*/ 61 h 10000"/>
                <a:gd name="connsiteX217" fmla="*/ 7776 w 9949"/>
                <a:gd name="connsiteY217" fmla="*/ 86 h 10000"/>
                <a:gd name="connsiteX218" fmla="*/ 7791 w 9949"/>
                <a:gd name="connsiteY218" fmla="*/ 139 h 10000"/>
                <a:gd name="connsiteX219" fmla="*/ 7771 w 9949"/>
                <a:gd name="connsiteY219" fmla="*/ 181 h 10000"/>
                <a:gd name="connsiteX220" fmla="*/ 7722 w 9949"/>
                <a:gd name="connsiteY220" fmla="*/ 208 h 10000"/>
                <a:gd name="connsiteX221" fmla="*/ 7685 w 9949"/>
                <a:gd name="connsiteY221" fmla="*/ 283 h 10000"/>
                <a:gd name="connsiteX222" fmla="*/ 7617 w 9949"/>
                <a:gd name="connsiteY222" fmla="*/ 336 h 10000"/>
                <a:gd name="connsiteX223" fmla="*/ 7631 w 9949"/>
                <a:gd name="connsiteY223" fmla="*/ 387 h 10000"/>
                <a:gd name="connsiteX224" fmla="*/ 7735 w 9949"/>
                <a:gd name="connsiteY224" fmla="*/ 434 h 10000"/>
                <a:gd name="connsiteX225" fmla="*/ 7667 w 9949"/>
                <a:gd name="connsiteY225" fmla="*/ 475 h 10000"/>
                <a:gd name="connsiteX226" fmla="*/ 7566 w 9949"/>
                <a:gd name="connsiteY226" fmla="*/ 485 h 10000"/>
                <a:gd name="connsiteX227" fmla="*/ 6727 w 9949"/>
                <a:gd name="connsiteY227" fmla="*/ 387 h 10000"/>
                <a:gd name="connsiteX228" fmla="*/ 6626 w 9949"/>
                <a:gd name="connsiteY228" fmla="*/ 395 h 10000"/>
                <a:gd name="connsiteX229" fmla="*/ 6567 w 9949"/>
                <a:gd name="connsiteY229" fmla="*/ 414 h 10000"/>
                <a:gd name="connsiteX230" fmla="*/ 6507 w 9949"/>
                <a:gd name="connsiteY230" fmla="*/ 462 h 10000"/>
                <a:gd name="connsiteX231" fmla="*/ 6518 w 9949"/>
                <a:gd name="connsiteY231" fmla="*/ 581 h 10000"/>
                <a:gd name="connsiteX232" fmla="*/ 6425 w 9949"/>
                <a:gd name="connsiteY232" fmla="*/ 735 h 10000"/>
                <a:gd name="connsiteX233" fmla="*/ 6312 w 9949"/>
                <a:gd name="connsiteY233" fmla="*/ 815 h 10000"/>
                <a:gd name="connsiteX234" fmla="*/ 6266 w 9949"/>
                <a:gd name="connsiteY234" fmla="*/ 805 h 10000"/>
                <a:gd name="connsiteX235" fmla="*/ 6161 w 9949"/>
                <a:gd name="connsiteY235" fmla="*/ 739 h 10000"/>
                <a:gd name="connsiteX236" fmla="*/ 6029 w 9949"/>
                <a:gd name="connsiteY236" fmla="*/ 705 h 10000"/>
                <a:gd name="connsiteX237" fmla="*/ 5886 w 9949"/>
                <a:gd name="connsiteY237" fmla="*/ 715 h 10000"/>
                <a:gd name="connsiteX238" fmla="*/ 5555 w 9949"/>
                <a:gd name="connsiteY238" fmla="*/ 866 h 10000"/>
                <a:gd name="connsiteX239" fmla="*/ 5467 w 9949"/>
                <a:gd name="connsiteY239" fmla="*/ 1017 h 10000"/>
                <a:gd name="connsiteX240" fmla="*/ 5217 w 9949"/>
                <a:gd name="connsiteY240" fmla="*/ 1153 h 10000"/>
                <a:gd name="connsiteX241" fmla="*/ 5171 w 9949"/>
                <a:gd name="connsiteY241" fmla="*/ 1222 h 10000"/>
                <a:gd name="connsiteX242" fmla="*/ 5302 w 9949"/>
                <a:gd name="connsiteY242" fmla="*/ 1344 h 10000"/>
                <a:gd name="connsiteX243" fmla="*/ 5316 w 9949"/>
                <a:gd name="connsiteY243" fmla="*/ 1412 h 10000"/>
                <a:gd name="connsiteX244" fmla="*/ 4632 w 9949"/>
                <a:gd name="connsiteY244" fmla="*/ 1813 h 10000"/>
                <a:gd name="connsiteX245" fmla="*/ 4422 w 9949"/>
                <a:gd name="connsiteY245" fmla="*/ 2070 h 10000"/>
                <a:gd name="connsiteX246" fmla="*/ 4195 w 9949"/>
                <a:gd name="connsiteY246" fmla="*/ 2135 h 10000"/>
                <a:gd name="connsiteX247" fmla="*/ 4052 w 9949"/>
                <a:gd name="connsiteY247" fmla="*/ 2131 h 10000"/>
                <a:gd name="connsiteX248" fmla="*/ 3966 w 9949"/>
                <a:gd name="connsiteY248" fmla="*/ 2153 h 10000"/>
                <a:gd name="connsiteX249" fmla="*/ 3729 w 9949"/>
                <a:gd name="connsiteY249" fmla="*/ 2793 h 10000"/>
                <a:gd name="connsiteX250" fmla="*/ 3182 w 9949"/>
                <a:gd name="connsiteY250" fmla="*/ 3166 h 10000"/>
                <a:gd name="connsiteX251" fmla="*/ 3186 w 9949"/>
                <a:gd name="connsiteY251" fmla="*/ 3225 h 10000"/>
                <a:gd name="connsiteX252" fmla="*/ 3428 w 9949"/>
                <a:gd name="connsiteY252" fmla="*/ 3392 h 10000"/>
                <a:gd name="connsiteX253" fmla="*/ 3350 w 9949"/>
                <a:gd name="connsiteY253" fmla="*/ 3573 h 10000"/>
                <a:gd name="connsiteX254" fmla="*/ 3208 w 9949"/>
                <a:gd name="connsiteY254" fmla="*/ 3640 h 10000"/>
                <a:gd name="connsiteX255" fmla="*/ 2784 w 9949"/>
                <a:gd name="connsiteY255" fmla="*/ 3595 h 10000"/>
                <a:gd name="connsiteX256" fmla="*/ 2491 w 9949"/>
                <a:gd name="connsiteY256" fmla="*/ 3620 h 10000"/>
                <a:gd name="connsiteX257" fmla="*/ 2255 w 9949"/>
                <a:gd name="connsiteY257" fmla="*/ 3673 h 10000"/>
                <a:gd name="connsiteX258" fmla="*/ 1876 w 9949"/>
                <a:gd name="connsiteY258" fmla="*/ 3840 h 10000"/>
                <a:gd name="connsiteX259" fmla="*/ 1674 w 9949"/>
                <a:gd name="connsiteY259" fmla="*/ 4042 h 10000"/>
                <a:gd name="connsiteX260" fmla="*/ 1692 w 9949"/>
                <a:gd name="connsiteY260" fmla="*/ 4154 h 10000"/>
                <a:gd name="connsiteX261" fmla="*/ 1762 w 9949"/>
                <a:gd name="connsiteY261" fmla="*/ 4241 h 10000"/>
                <a:gd name="connsiteX262" fmla="*/ 1816 w 9949"/>
                <a:gd name="connsiteY262" fmla="*/ 4276 h 10000"/>
                <a:gd name="connsiteX263" fmla="*/ 1716 w 9949"/>
                <a:gd name="connsiteY263" fmla="*/ 4331 h 10000"/>
                <a:gd name="connsiteX264" fmla="*/ 1502 w 9949"/>
                <a:gd name="connsiteY264" fmla="*/ 4710 h 10000"/>
                <a:gd name="connsiteX265" fmla="*/ 1543 w 9949"/>
                <a:gd name="connsiteY265" fmla="*/ 4732 h 10000"/>
                <a:gd name="connsiteX266" fmla="*/ 1575 w 9949"/>
                <a:gd name="connsiteY266" fmla="*/ 4828 h 10000"/>
                <a:gd name="connsiteX267" fmla="*/ 1474 w 9949"/>
                <a:gd name="connsiteY267" fmla="*/ 5227 h 10000"/>
                <a:gd name="connsiteX268" fmla="*/ 1575 w 9949"/>
                <a:gd name="connsiteY268" fmla="*/ 5329 h 10000"/>
                <a:gd name="connsiteX269" fmla="*/ 1848 w 9949"/>
                <a:gd name="connsiteY269" fmla="*/ 5441 h 10000"/>
                <a:gd name="connsiteX270" fmla="*/ 1861 w 9949"/>
                <a:gd name="connsiteY270" fmla="*/ 5578 h 10000"/>
                <a:gd name="connsiteX271" fmla="*/ 1744 w 9949"/>
                <a:gd name="connsiteY271" fmla="*/ 5690 h 10000"/>
                <a:gd name="connsiteX272" fmla="*/ 1575 w 9949"/>
                <a:gd name="connsiteY272" fmla="*/ 5759 h 10000"/>
                <a:gd name="connsiteX273" fmla="*/ 1350 w 9949"/>
                <a:gd name="connsiteY273" fmla="*/ 5787 h 10000"/>
                <a:gd name="connsiteX274" fmla="*/ 1292 w 9949"/>
                <a:gd name="connsiteY274" fmla="*/ 5826 h 10000"/>
                <a:gd name="connsiteX275" fmla="*/ 1423 w 9949"/>
                <a:gd name="connsiteY275" fmla="*/ 5920 h 10000"/>
                <a:gd name="connsiteX276" fmla="*/ 1498 w 9949"/>
                <a:gd name="connsiteY276" fmla="*/ 6142 h 10000"/>
                <a:gd name="connsiteX277" fmla="*/ 1328 w 9949"/>
                <a:gd name="connsiteY277" fmla="*/ 6333 h 10000"/>
                <a:gd name="connsiteX278" fmla="*/ 1387 w 9949"/>
                <a:gd name="connsiteY278" fmla="*/ 6392 h 10000"/>
                <a:gd name="connsiteX279" fmla="*/ 1333 w 9949"/>
                <a:gd name="connsiteY279" fmla="*/ 6492 h 10000"/>
                <a:gd name="connsiteX280" fmla="*/ 1224 w 9949"/>
                <a:gd name="connsiteY280" fmla="*/ 6561 h 10000"/>
                <a:gd name="connsiteX281" fmla="*/ 794 w 9949"/>
                <a:gd name="connsiteY281" fmla="*/ 6614 h 10000"/>
                <a:gd name="connsiteX282" fmla="*/ 767 w 9949"/>
                <a:gd name="connsiteY282" fmla="*/ 6706 h 10000"/>
                <a:gd name="connsiteX283" fmla="*/ 535 w 9949"/>
                <a:gd name="connsiteY283" fmla="*/ 6843 h 10000"/>
                <a:gd name="connsiteX284" fmla="*/ 566 w 9949"/>
                <a:gd name="connsiteY284" fmla="*/ 7040 h 10000"/>
                <a:gd name="connsiteX285" fmla="*/ 370 w 9949"/>
                <a:gd name="connsiteY285" fmla="*/ 7293 h 10000"/>
                <a:gd name="connsiteX286" fmla="*/ 237 w 9949"/>
                <a:gd name="connsiteY286" fmla="*/ 7323 h 10000"/>
                <a:gd name="connsiteX287" fmla="*/ 183 w 9949"/>
                <a:gd name="connsiteY287" fmla="*/ 7262 h 10000"/>
                <a:gd name="connsiteX288" fmla="*/ 114 w 9949"/>
                <a:gd name="connsiteY288" fmla="*/ 7354 h 10000"/>
                <a:gd name="connsiteX289" fmla="*/ 159 w 9949"/>
                <a:gd name="connsiteY289" fmla="*/ 7197 h 10000"/>
                <a:gd name="connsiteX290" fmla="*/ 131 w 9949"/>
                <a:gd name="connsiteY290" fmla="*/ 7166 h 10000"/>
                <a:gd name="connsiteX0" fmla="*/ 132 w 10000"/>
                <a:gd name="connsiteY0" fmla="*/ 7166 h 10000"/>
                <a:gd name="connsiteX1" fmla="*/ 0 w 10000"/>
                <a:gd name="connsiteY1" fmla="*/ 7248 h 10000"/>
                <a:gd name="connsiteX2" fmla="*/ 0 w 10000"/>
                <a:gd name="connsiteY2" fmla="*/ 7651 h 10000"/>
                <a:gd name="connsiteX3" fmla="*/ 73 w 10000"/>
                <a:gd name="connsiteY3" fmla="*/ 7663 h 10000"/>
                <a:gd name="connsiteX4" fmla="*/ 90 w 10000"/>
                <a:gd name="connsiteY4" fmla="*/ 7694 h 10000"/>
                <a:gd name="connsiteX5" fmla="*/ 86 w 10000"/>
                <a:gd name="connsiteY5" fmla="*/ 7749 h 10000"/>
                <a:gd name="connsiteX6" fmla="*/ 59 w 10000"/>
                <a:gd name="connsiteY6" fmla="*/ 7773 h 10000"/>
                <a:gd name="connsiteX7" fmla="*/ 170 w 10000"/>
                <a:gd name="connsiteY7" fmla="*/ 7727 h 10000"/>
                <a:gd name="connsiteX8" fmla="*/ 217 w 10000"/>
                <a:gd name="connsiteY8" fmla="*/ 7680 h 10000"/>
                <a:gd name="connsiteX9" fmla="*/ 274 w 10000"/>
                <a:gd name="connsiteY9" fmla="*/ 7712 h 10000"/>
                <a:gd name="connsiteX10" fmla="*/ 211 w 10000"/>
                <a:gd name="connsiteY10" fmla="*/ 7778 h 10000"/>
                <a:gd name="connsiteX11" fmla="*/ 279 w 10000"/>
                <a:gd name="connsiteY11" fmla="*/ 7780 h 10000"/>
                <a:gd name="connsiteX12" fmla="*/ 312 w 10000"/>
                <a:gd name="connsiteY12" fmla="*/ 7796 h 10000"/>
                <a:gd name="connsiteX13" fmla="*/ 225 w 10000"/>
                <a:gd name="connsiteY13" fmla="*/ 7818 h 10000"/>
                <a:gd name="connsiteX14" fmla="*/ 86 w 10000"/>
                <a:gd name="connsiteY14" fmla="*/ 7886 h 10000"/>
                <a:gd name="connsiteX15" fmla="*/ 332 w 10000"/>
                <a:gd name="connsiteY15" fmla="*/ 7938 h 10000"/>
                <a:gd name="connsiteX16" fmla="*/ 362 w 10000"/>
                <a:gd name="connsiteY16" fmla="*/ 8014 h 10000"/>
                <a:gd name="connsiteX17" fmla="*/ 279 w 10000"/>
                <a:gd name="connsiteY17" fmla="*/ 8126 h 10000"/>
                <a:gd name="connsiteX18" fmla="*/ 459 w 10000"/>
                <a:gd name="connsiteY18" fmla="*/ 8118 h 10000"/>
                <a:gd name="connsiteX19" fmla="*/ 472 w 10000"/>
                <a:gd name="connsiteY19" fmla="*/ 8203 h 10000"/>
                <a:gd name="connsiteX20" fmla="*/ 353 w 10000"/>
                <a:gd name="connsiteY20" fmla="*/ 8260 h 10000"/>
                <a:gd name="connsiteX21" fmla="*/ 372 w 10000"/>
                <a:gd name="connsiteY21" fmla="*/ 8370 h 10000"/>
                <a:gd name="connsiteX22" fmla="*/ 326 w 10000"/>
                <a:gd name="connsiteY22" fmla="*/ 8456 h 10000"/>
                <a:gd name="connsiteX23" fmla="*/ 467 w 10000"/>
                <a:gd name="connsiteY23" fmla="*/ 8464 h 10000"/>
                <a:gd name="connsiteX24" fmla="*/ 606 w 10000"/>
                <a:gd name="connsiteY24" fmla="*/ 8792 h 10000"/>
                <a:gd name="connsiteX25" fmla="*/ 766 w 10000"/>
                <a:gd name="connsiteY25" fmla="*/ 8876 h 10000"/>
                <a:gd name="connsiteX26" fmla="*/ 835 w 10000"/>
                <a:gd name="connsiteY26" fmla="*/ 8965 h 10000"/>
                <a:gd name="connsiteX27" fmla="*/ 1009 w 10000"/>
                <a:gd name="connsiteY27" fmla="*/ 9030 h 10000"/>
                <a:gd name="connsiteX28" fmla="*/ 1120 w 10000"/>
                <a:gd name="connsiteY28" fmla="*/ 9112 h 10000"/>
                <a:gd name="connsiteX29" fmla="*/ 1106 w 10000"/>
                <a:gd name="connsiteY29" fmla="*/ 9171 h 10000"/>
                <a:gd name="connsiteX30" fmla="*/ 996 w 10000"/>
                <a:gd name="connsiteY30" fmla="*/ 9193 h 10000"/>
                <a:gd name="connsiteX31" fmla="*/ 876 w 10000"/>
                <a:gd name="connsiteY31" fmla="*/ 9179 h 10000"/>
                <a:gd name="connsiteX32" fmla="*/ 839 w 10000"/>
                <a:gd name="connsiteY32" fmla="*/ 9204 h 10000"/>
                <a:gd name="connsiteX33" fmla="*/ 931 w 10000"/>
                <a:gd name="connsiteY33" fmla="*/ 9332 h 10000"/>
                <a:gd name="connsiteX34" fmla="*/ 802 w 10000"/>
                <a:gd name="connsiteY34" fmla="*/ 9322 h 10000"/>
                <a:gd name="connsiteX35" fmla="*/ 693 w 10000"/>
                <a:gd name="connsiteY35" fmla="*/ 9291 h 10000"/>
                <a:gd name="connsiteX36" fmla="*/ 673 w 10000"/>
                <a:gd name="connsiteY36" fmla="*/ 9338 h 10000"/>
                <a:gd name="connsiteX37" fmla="*/ 1036 w 10000"/>
                <a:gd name="connsiteY37" fmla="*/ 9776 h 10000"/>
                <a:gd name="connsiteX38" fmla="*/ 978 w 10000"/>
                <a:gd name="connsiteY38" fmla="*/ 9817 h 10000"/>
                <a:gd name="connsiteX39" fmla="*/ 937 w 10000"/>
                <a:gd name="connsiteY39" fmla="*/ 9902 h 10000"/>
                <a:gd name="connsiteX40" fmla="*/ 886 w 10000"/>
                <a:gd name="connsiteY40" fmla="*/ 9908 h 10000"/>
                <a:gd name="connsiteX41" fmla="*/ 853 w 10000"/>
                <a:gd name="connsiteY41" fmla="*/ 9945 h 10000"/>
                <a:gd name="connsiteX42" fmla="*/ 1072 w 10000"/>
                <a:gd name="connsiteY42" fmla="*/ 9949 h 10000"/>
                <a:gd name="connsiteX43" fmla="*/ 1266 w 10000"/>
                <a:gd name="connsiteY43" fmla="*/ 9986 h 10000"/>
                <a:gd name="connsiteX44" fmla="*/ 1587 w 10000"/>
                <a:gd name="connsiteY44" fmla="*/ 9947 h 10000"/>
                <a:gd name="connsiteX45" fmla="*/ 1876 w 10000"/>
                <a:gd name="connsiteY45" fmla="*/ 9953 h 10000"/>
                <a:gd name="connsiteX46" fmla="*/ 2046 w 10000"/>
                <a:gd name="connsiteY46" fmla="*/ 10000 h 10000"/>
                <a:gd name="connsiteX47" fmla="*/ 2139 w 10000"/>
                <a:gd name="connsiteY47" fmla="*/ 9969 h 10000"/>
                <a:gd name="connsiteX48" fmla="*/ 2229 w 10000"/>
                <a:gd name="connsiteY48" fmla="*/ 9868 h 10000"/>
                <a:gd name="connsiteX49" fmla="*/ 2206 w 10000"/>
                <a:gd name="connsiteY49" fmla="*/ 9703 h 10000"/>
                <a:gd name="connsiteX50" fmla="*/ 2426 w 10000"/>
                <a:gd name="connsiteY50" fmla="*/ 9517 h 10000"/>
                <a:gd name="connsiteX51" fmla="*/ 2587 w 10000"/>
                <a:gd name="connsiteY51" fmla="*/ 9546 h 10000"/>
                <a:gd name="connsiteX52" fmla="*/ 2679 w 10000"/>
                <a:gd name="connsiteY52" fmla="*/ 9472 h 10000"/>
                <a:gd name="connsiteX53" fmla="*/ 2858 w 10000"/>
                <a:gd name="connsiteY53" fmla="*/ 9430 h 10000"/>
                <a:gd name="connsiteX54" fmla="*/ 3101 w 10000"/>
                <a:gd name="connsiteY54" fmla="*/ 9440 h 10000"/>
                <a:gd name="connsiteX55" fmla="*/ 3248 w 10000"/>
                <a:gd name="connsiteY55" fmla="*/ 9470 h 10000"/>
                <a:gd name="connsiteX56" fmla="*/ 3442 w 10000"/>
                <a:gd name="connsiteY56" fmla="*/ 9456 h 10000"/>
                <a:gd name="connsiteX57" fmla="*/ 3638 w 10000"/>
                <a:gd name="connsiteY57" fmla="*/ 9489 h 10000"/>
                <a:gd name="connsiteX58" fmla="*/ 3835 w 10000"/>
                <a:gd name="connsiteY58" fmla="*/ 9493 h 10000"/>
                <a:gd name="connsiteX59" fmla="*/ 4275 w 10000"/>
                <a:gd name="connsiteY59" fmla="*/ 9061 h 10000"/>
                <a:gd name="connsiteX60" fmla="*/ 4386 w 10000"/>
                <a:gd name="connsiteY60" fmla="*/ 8711 h 10000"/>
                <a:gd name="connsiteX61" fmla="*/ 4564 w 10000"/>
                <a:gd name="connsiteY61" fmla="*/ 8554 h 10000"/>
                <a:gd name="connsiteX62" fmla="*/ 4564 w 10000"/>
                <a:gd name="connsiteY62" fmla="*/ 8472 h 10000"/>
                <a:gd name="connsiteX63" fmla="*/ 4500 w 10000"/>
                <a:gd name="connsiteY63" fmla="*/ 8425 h 10000"/>
                <a:gd name="connsiteX64" fmla="*/ 4605 w 10000"/>
                <a:gd name="connsiteY64" fmla="*/ 8352 h 10000"/>
                <a:gd name="connsiteX65" fmla="*/ 4586 w 10000"/>
                <a:gd name="connsiteY65" fmla="*/ 8289 h 10000"/>
                <a:gd name="connsiteX66" fmla="*/ 4514 w 10000"/>
                <a:gd name="connsiteY66" fmla="*/ 8236 h 10000"/>
                <a:gd name="connsiteX67" fmla="*/ 4500 w 10000"/>
                <a:gd name="connsiteY67" fmla="*/ 8199 h 10000"/>
                <a:gd name="connsiteX68" fmla="*/ 4518 w 10000"/>
                <a:gd name="connsiteY68" fmla="*/ 8169 h 10000"/>
                <a:gd name="connsiteX69" fmla="*/ 4615 w 10000"/>
                <a:gd name="connsiteY69" fmla="*/ 8193 h 10000"/>
                <a:gd name="connsiteX70" fmla="*/ 4692 w 10000"/>
                <a:gd name="connsiteY70" fmla="*/ 8191 h 10000"/>
                <a:gd name="connsiteX71" fmla="*/ 4650 w 10000"/>
                <a:gd name="connsiteY71" fmla="*/ 8140 h 10000"/>
                <a:gd name="connsiteX72" fmla="*/ 4664 w 10000"/>
                <a:gd name="connsiteY72" fmla="*/ 8112 h 10000"/>
                <a:gd name="connsiteX73" fmla="*/ 4720 w 10000"/>
                <a:gd name="connsiteY73" fmla="*/ 8069 h 10000"/>
                <a:gd name="connsiteX74" fmla="*/ 4711 w 10000"/>
                <a:gd name="connsiteY74" fmla="*/ 8034 h 10000"/>
                <a:gd name="connsiteX75" fmla="*/ 4762 w 10000"/>
                <a:gd name="connsiteY75" fmla="*/ 7916 h 10000"/>
                <a:gd name="connsiteX76" fmla="*/ 4749 w 10000"/>
                <a:gd name="connsiteY76" fmla="*/ 7881 h 10000"/>
                <a:gd name="connsiteX77" fmla="*/ 4482 w 10000"/>
                <a:gd name="connsiteY77" fmla="*/ 7792 h 10000"/>
                <a:gd name="connsiteX78" fmla="*/ 4518 w 10000"/>
                <a:gd name="connsiteY78" fmla="*/ 7788 h 10000"/>
                <a:gd name="connsiteX79" fmla="*/ 4660 w 10000"/>
                <a:gd name="connsiteY79" fmla="*/ 7812 h 10000"/>
                <a:gd name="connsiteX80" fmla="*/ 4813 w 10000"/>
                <a:gd name="connsiteY80" fmla="*/ 7804 h 10000"/>
                <a:gd name="connsiteX81" fmla="*/ 4858 w 10000"/>
                <a:gd name="connsiteY81" fmla="*/ 7771 h 10000"/>
                <a:gd name="connsiteX82" fmla="*/ 4711 w 10000"/>
                <a:gd name="connsiteY82" fmla="*/ 7710 h 10000"/>
                <a:gd name="connsiteX83" fmla="*/ 4271 w 10000"/>
                <a:gd name="connsiteY83" fmla="*/ 7670 h 10000"/>
                <a:gd name="connsiteX84" fmla="*/ 4301 w 10000"/>
                <a:gd name="connsiteY84" fmla="*/ 7651 h 10000"/>
                <a:gd name="connsiteX85" fmla="*/ 4660 w 10000"/>
                <a:gd name="connsiteY85" fmla="*/ 7639 h 10000"/>
                <a:gd name="connsiteX86" fmla="*/ 4858 w 10000"/>
                <a:gd name="connsiteY86" fmla="*/ 7676 h 10000"/>
                <a:gd name="connsiteX87" fmla="*/ 4972 w 10000"/>
                <a:gd name="connsiteY87" fmla="*/ 7651 h 10000"/>
                <a:gd name="connsiteX88" fmla="*/ 5014 w 10000"/>
                <a:gd name="connsiteY88" fmla="*/ 7588 h 10000"/>
                <a:gd name="connsiteX89" fmla="*/ 5220 w 10000"/>
                <a:gd name="connsiteY89" fmla="*/ 7588 h 10000"/>
                <a:gd name="connsiteX90" fmla="*/ 5500 w 10000"/>
                <a:gd name="connsiteY90" fmla="*/ 7462 h 10000"/>
                <a:gd name="connsiteX91" fmla="*/ 5510 w 10000"/>
                <a:gd name="connsiteY91" fmla="*/ 7378 h 10000"/>
                <a:gd name="connsiteX92" fmla="*/ 5628 w 10000"/>
                <a:gd name="connsiteY92" fmla="*/ 7397 h 10000"/>
                <a:gd name="connsiteX93" fmla="*/ 5624 w 10000"/>
                <a:gd name="connsiteY93" fmla="*/ 7482 h 10000"/>
                <a:gd name="connsiteX94" fmla="*/ 5812 w 10000"/>
                <a:gd name="connsiteY94" fmla="*/ 7476 h 10000"/>
                <a:gd name="connsiteX95" fmla="*/ 5935 w 10000"/>
                <a:gd name="connsiteY95" fmla="*/ 7388 h 10000"/>
                <a:gd name="connsiteX96" fmla="*/ 6166 w 10000"/>
                <a:gd name="connsiteY96" fmla="*/ 7309 h 10000"/>
                <a:gd name="connsiteX97" fmla="*/ 6128 w 10000"/>
                <a:gd name="connsiteY97" fmla="*/ 7219 h 10000"/>
                <a:gd name="connsiteX98" fmla="*/ 6197 w 10000"/>
                <a:gd name="connsiteY98" fmla="*/ 7254 h 10000"/>
                <a:gd name="connsiteX99" fmla="*/ 6302 w 10000"/>
                <a:gd name="connsiteY99" fmla="*/ 7254 h 10000"/>
                <a:gd name="connsiteX100" fmla="*/ 6302 w 10000"/>
                <a:gd name="connsiteY100" fmla="*/ 7213 h 10000"/>
                <a:gd name="connsiteX101" fmla="*/ 6400 w 10000"/>
                <a:gd name="connsiteY101" fmla="*/ 7181 h 10000"/>
                <a:gd name="connsiteX102" fmla="*/ 6386 w 10000"/>
                <a:gd name="connsiteY102" fmla="*/ 7148 h 10000"/>
                <a:gd name="connsiteX103" fmla="*/ 5560 w 10000"/>
                <a:gd name="connsiteY103" fmla="*/ 7215 h 10000"/>
                <a:gd name="connsiteX104" fmla="*/ 5367 w 10000"/>
                <a:gd name="connsiteY104" fmla="*/ 7195 h 10000"/>
                <a:gd name="connsiteX105" fmla="*/ 5289 w 10000"/>
                <a:gd name="connsiteY105" fmla="*/ 7219 h 10000"/>
                <a:gd name="connsiteX106" fmla="*/ 5262 w 10000"/>
                <a:gd name="connsiteY106" fmla="*/ 7173 h 10000"/>
                <a:gd name="connsiteX107" fmla="*/ 5170 w 10000"/>
                <a:gd name="connsiteY107" fmla="*/ 7132 h 10000"/>
                <a:gd name="connsiteX108" fmla="*/ 4802 w 10000"/>
                <a:gd name="connsiteY108" fmla="*/ 7052 h 10000"/>
                <a:gd name="connsiteX109" fmla="*/ 4586 w 10000"/>
                <a:gd name="connsiteY109" fmla="*/ 7065 h 10000"/>
                <a:gd name="connsiteX110" fmla="*/ 4500 w 10000"/>
                <a:gd name="connsiteY110" fmla="*/ 7042 h 10000"/>
                <a:gd name="connsiteX111" fmla="*/ 4591 w 10000"/>
                <a:gd name="connsiteY111" fmla="*/ 7022 h 10000"/>
                <a:gd name="connsiteX112" fmla="*/ 4660 w 10000"/>
                <a:gd name="connsiteY112" fmla="*/ 6979 h 10000"/>
                <a:gd name="connsiteX113" fmla="*/ 4762 w 10000"/>
                <a:gd name="connsiteY113" fmla="*/ 6993 h 10000"/>
                <a:gd name="connsiteX114" fmla="*/ 4885 w 10000"/>
                <a:gd name="connsiteY114" fmla="*/ 6981 h 10000"/>
                <a:gd name="connsiteX115" fmla="*/ 5069 w 10000"/>
                <a:gd name="connsiteY115" fmla="*/ 6995 h 10000"/>
                <a:gd name="connsiteX116" fmla="*/ 5091 w 10000"/>
                <a:gd name="connsiteY116" fmla="*/ 6989 h 10000"/>
                <a:gd name="connsiteX117" fmla="*/ 5234 w 10000"/>
                <a:gd name="connsiteY117" fmla="*/ 7056 h 10000"/>
                <a:gd name="connsiteX118" fmla="*/ 5339 w 10000"/>
                <a:gd name="connsiteY118" fmla="*/ 7032 h 10000"/>
                <a:gd name="connsiteX119" fmla="*/ 5347 w 10000"/>
                <a:gd name="connsiteY119" fmla="*/ 7010 h 10000"/>
                <a:gd name="connsiteX120" fmla="*/ 5445 w 10000"/>
                <a:gd name="connsiteY120" fmla="*/ 7048 h 10000"/>
                <a:gd name="connsiteX121" fmla="*/ 5573 w 10000"/>
                <a:gd name="connsiteY121" fmla="*/ 7069 h 10000"/>
                <a:gd name="connsiteX122" fmla="*/ 5624 w 10000"/>
                <a:gd name="connsiteY122" fmla="*/ 7030 h 10000"/>
                <a:gd name="connsiteX123" fmla="*/ 5665 w 10000"/>
                <a:gd name="connsiteY123" fmla="*/ 7052 h 10000"/>
                <a:gd name="connsiteX124" fmla="*/ 5724 w 10000"/>
                <a:gd name="connsiteY124" fmla="*/ 7126 h 10000"/>
                <a:gd name="connsiteX125" fmla="*/ 5848 w 10000"/>
                <a:gd name="connsiteY125" fmla="*/ 7144 h 10000"/>
                <a:gd name="connsiteX126" fmla="*/ 6353 w 10000"/>
                <a:gd name="connsiteY126" fmla="*/ 7034 h 10000"/>
                <a:gd name="connsiteX127" fmla="*/ 6601 w 10000"/>
                <a:gd name="connsiteY127" fmla="*/ 6879 h 10000"/>
                <a:gd name="connsiteX128" fmla="*/ 6660 w 10000"/>
                <a:gd name="connsiteY128" fmla="*/ 6765 h 10000"/>
                <a:gd name="connsiteX129" fmla="*/ 6570 w 10000"/>
                <a:gd name="connsiteY129" fmla="*/ 6663 h 10000"/>
                <a:gd name="connsiteX130" fmla="*/ 6381 w 10000"/>
                <a:gd name="connsiteY130" fmla="*/ 6602 h 10000"/>
                <a:gd name="connsiteX131" fmla="*/ 6247 w 10000"/>
                <a:gd name="connsiteY131" fmla="*/ 6502 h 10000"/>
                <a:gd name="connsiteX132" fmla="*/ 6372 w 10000"/>
                <a:gd name="connsiteY132" fmla="*/ 6498 h 10000"/>
                <a:gd name="connsiteX133" fmla="*/ 6363 w 10000"/>
                <a:gd name="connsiteY133" fmla="*/ 6474 h 10000"/>
                <a:gd name="connsiteX134" fmla="*/ 6038 w 10000"/>
                <a:gd name="connsiteY134" fmla="*/ 6403 h 10000"/>
                <a:gd name="connsiteX135" fmla="*/ 6025 w 10000"/>
                <a:gd name="connsiteY135" fmla="*/ 6339 h 10000"/>
                <a:gd name="connsiteX136" fmla="*/ 5962 w 10000"/>
                <a:gd name="connsiteY136" fmla="*/ 6272 h 10000"/>
                <a:gd name="connsiteX137" fmla="*/ 5706 w 10000"/>
                <a:gd name="connsiteY137" fmla="*/ 6284 h 10000"/>
                <a:gd name="connsiteX138" fmla="*/ 5614 w 10000"/>
                <a:gd name="connsiteY138" fmla="*/ 6213 h 10000"/>
                <a:gd name="connsiteX139" fmla="*/ 5560 w 10000"/>
                <a:gd name="connsiteY139" fmla="*/ 6209 h 10000"/>
                <a:gd name="connsiteX140" fmla="*/ 5560 w 10000"/>
                <a:gd name="connsiteY140" fmla="*/ 6238 h 10000"/>
                <a:gd name="connsiteX141" fmla="*/ 5445 w 10000"/>
                <a:gd name="connsiteY141" fmla="*/ 6358 h 10000"/>
                <a:gd name="connsiteX142" fmla="*/ 5320 w 10000"/>
                <a:gd name="connsiteY142" fmla="*/ 6429 h 10000"/>
                <a:gd name="connsiteX143" fmla="*/ 4930 w 10000"/>
                <a:gd name="connsiteY143" fmla="*/ 6551 h 10000"/>
                <a:gd name="connsiteX144" fmla="*/ 4793 w 10000"/>
                <a:gd name="connsiteY144" fmla="*/ 6547 h 10000"/>
                <a:gd name="connsiteX145" fmla="*/ 4605 w 10000"/>
                <a:gd name="connsiteY145" fmla="*/ 6565 h 10000"/>
                <a:gd name="connsiteX146" fmla="*/ 4500 w 10000"/>
                <a:gd name="connsiteY146" fmla="*/ 6547 h 10000"/>
                <a:gd name="connsiteX147" fmla="*/ 4637 w 10000"/>
                <a:gd name="connsiteY147" fmla="*/ 6513 h 10000"/>
                <a:gd name="connsiteX148" fmla="*/ 4817 w 10000"/>
                <a:gd name="connsiteY148" fmla="*/ 6498 h 10000"/>
                <a:gd name="connsiteX149" fmla="*/ 4964 w 10000"/>
                <a:gd name="connsiteY149" fmla="*/ 6441 h 10000"/>
                <a:gd name="connsiteX150" fmla="*/ 5109 w 10000"/>
                <a:gd name="connsiteY150" fmla="*/ 6415 h 10000"/>
                <a:gd name="connsiteX151" fmla="*/ 5381 w 10000"/>
                <a:gd name="connsiteY151" fmla="*/ 6317 h 10000"/>
                <a:gd name="connsiteX152" fmla="*/ 5432 w 10000"/>
                <a:gd name="connsiteY152" fmla="*/ 6252 h 10000"/>
                <a:gd name="connsiteX153" fmla="*/ 5436 w 10000"/>
                <a:gd name="connsiteY153" fmla="*/ 6168 h 10000"/>
                <a:gd name="connsiteX154" fmla="*/ 5312 w 10000"/>
                <a:gd name="connsiteY154" fmla="*/ 6154 h 10000"/>
                <a:gd name="connsiteX155" fmla="*/ 5367 w 10000"/>
                <a:gd name="connsiteY155" fmla="*/ 6103 h 10000"/>
                <a:gd name="connsiteX156" fmla="*/ 5385 w 10000"/>
                <a:gd name="connsiteY156" fmla="*/ 6038 h 10000"/>
                <a:gd name="connsiteX157" fmla="*/ 5333 w 10000"/>
                <a:gd name="connsiteY157" fmla="*/ 5977 h 10000"/>
                <a:gd name="connsiteX158" fmla="*/ 5302 w 10000"/>
                <a:gd name="connsiteY158" fmla="*/ 5533 h 10000"/>
                <a:gd name="connsiteX159" fmla="*/ 5377 w 10000"/>
                <a:gd name="connsiteY159" fmla="*/ 5437 h 10000"/>
                <a:gd name="connsiteX160" fmla="*/ 5358 w 10000"/>
                <a:gd name="connsiteY160" fmla="*/ 5398 h 10000"/>
                <a:gd name="connsiteX161" fmla="*/ 5573 w 10000"/>
                <a:gd name="connsiteY161" fmla="*/ 5455 h 10000"/>
                <a:gd name="connsiteX162" fmla="*/ 5587 w 10000"/>
                <a:gd name="connsiteY162" fmla="*/ 5402 h 10000"/>
                <a:gd name="connsiteX163" fmla="*/ 5541 w 10000"/>
                <a:gd name="connsiteY163" fmla="*/ 5264 h 10000"/>
                <a:gd name="connsiteX164" fmla="*/ 5696 w 10000"/>
                <a:gd name="connsiteY164" fmla="*/ 5019 h 10000"/>
                <a:gd name="connsiteX165" fmla="*/ 5601 w 10000"/>
                <a:gd name="connsiteY165" fmla="*/ 4960 h 10000"/>
                <a:gd name="connsiteX166" fmla="*/ 5564 w 10000"/>
                <a:gd name="connsiteY166" fmla="*/ 4905 h 10000"/>
                <a:gd name="connsiteX167" fmla="*/ 5577 w 10000"/>
                <a:gd name="connsiteY167" fmla="*/ 4816 h 10000"/>
                <a:gd name="connsiteX168" fmla="*/ 5804 w 10000"/>
                <a:gd name="connsiteY168" fmla="*/ 4875 h 10000"/>
                <a:gd name="connsiteX169" fmla="*/ 5812 w 10000"/>
                <a:gd name="connsiteY169" fmla="*/ 4858 h 10000"/>
                <a:gd name="connsiteX170" fmla="*/ 5875 w 10000"/>
                <a:gd name="connsiteY170" fmla="*/ 4842 h 10000"/>
                <a:gd name="connsiteX171" fmla="*/ 5962 w 10000"/>
                <a:gd name="connsiteY171" fmla="*/ 4785 h 10000"/>
                <a:gd name="connsiteX172" fmla="*/ 5976 w 10000"/>
                <a:gd name="connsiteY172" fmla="*/ 4769 h 10000"/>
                <a:gd name="connsiteX173" fmla="*/ 5958 w 10000"/>
                <a:gd name="connsiteY173" fmla="*/ 4748 h 10000"/>
                <a:gd name="connsiteX174" fmla="*/ 6004 w 10000"/>
                <a:gd name="connsiteY174" fmla="*/ 4647 h 10000"/>
                <a:gd name="connsiteX175" fmla="*/ 5949 w 10000"/>
                <a:gd name="connsiteY175" fmla="*/ 4581 h 10000"/>
                <a:gd name="connsiteX176" fmla="*/ 5958 w 10000"/>
                <a:gd name="connsiteY176" fmla="*/ 4528 h 10000"/>
                <a:gd name="connsiteX177" fmla="*/ 5990 w 10000"/>
                <a:gd name="connsiteY177" fmla="*/ 4590 h 10000"/>
                <a:gd name="connsiteX178" fmla="*/ 6114 w 10000"/>
                <a:gd name="connsiteY178" fmla="*/ 4636 h 10000"/>
                <a:gd name="connsiteX179" fmla="*/ 6166 w 10000"/>
                <a:gd name="connsiteY179" fmla="*/ 4630 h 10000"/>
                <a:gd name="connsiteX180" fmla="*/ 6247 w 10000"/>
                <a:gd name="connsiteY180" fmla="*/ 4569 h 10000"/>
                <a:gd name="connsiteX181" fmla="*/ 6335 w 10000"/>
                <a:gd name="connsiteY181" fmla="*/ 4594 h 10000"/>
                <a:gd name="connsiteX182" fmla="*/ 6359 w 10000"/>
                <a:gd name="connsiteY182" fmla="*/ 4545 h 10000"/>
                <a:gd name="connsiteX183" fmla="*/ 6418 w 10000"/>
                <a:gd name="connsiteY183" fmla="*/ 4512 h 10000"/>
                <a:gd name="connsiteX184" fmla="*/ 6256 w 10000"/>
                <a:gd name="connsiteY184" fmla="*/ 4477 h 10000"/>
                <a:gd name="connsiteX185" fmla="*/ 6372 w 10000"/>
                <a:gd name="connsiteY185" fmla="*/ 4484 h 10000"/>
                <a:gd name="connsiteX186" fmla="*/ 6490 w 10000"/>
                <a:gd name="connsiteY186" fmla="*/ 4447 h 10000"/>
                <a:gd name="connsiteX187" fmla="*/ 6486 w 10000"/>
                <a:gd name="connsiteY187" fmla="*/ 4422 h 10000"/>
                <a:gd name="connsiteX188" fmla="*/ 6597 w 10000"/>
                <a:gd name="connsiteY188" fmla="*/ 4398 h 10000"/>
                <a:gd name="connsiteX189" fmla="*/ 6606 w 10000"/>
                <a:gd name="connsiteY189" fmla="*/ 4337 h 10000"/>
                <a:gd name="connsiteX190" fmla="*/ 6693 w 10000"/>
                <a:gd name="connsiteY190" fmla="*/ 4325 h 10000"/>
                <a:gd name="connsiteX191" fmla="*/ 6701 w 10000"/>
                <a:gd name="connsiteY191" fmla="*/ 4253 h 10000"/>
                <a:gd name="connsiteX192" fmla="*/ 6793 w 10000"/>
                <a:gd name="connsiteY192" fmla="*/ 4245 h 10000"/>
                <a:gd name="connsiteX193" fmla="*/ 6935 w 10000"/>
                <a:gd name="connsiteY193" fmla="*/ 4260 h 10000"/>
                <a:gd name="connsiteX194" fmla="*/ 7091 w 10000"/>
                <a:gd name="connsiteY194" fmla="*/ 4202 h 10000"/>
                <a:gd name="connsiteX195" fmla="*/ 7146 w 10000"/>
                <a:gd name="connsiteY195" fmla="*/ 4137 h 10000"/>
                <a:gd name="connsiteX196" fmla="*/ 7339 w 10000"/>
                <a:gd name="connsiteY196" fmla="*/ 4070 h 10000"/>
                <a:gd name="connsiteX197" fmla="*/ 7435 w 10000"/>
                <a:gd name="connsiteY197" fmla="*/ 4111 h 10000"/>
                <a:gd name="connsiteX198" fmla="*/ 7582 w 10000"/>
                <a:gd name="connsiteY198" fmla="*/ 4066 h 10000"/>
                <a:gd name="connsiteX199" fmla="*/ 7618 w 10000"/>
                <a:gd name="connsiteY199" fmla="*/ 4009 h 10000"/>
                <a:gd name="connsiteX200" fmla="*/ 7729 w 10000"/>
                <a:gd name="connsiteY200" fmla="*/ 3970 h 10000"/>
                <a:gd name="connsiteX201" fmla="*/ 7825 w 10000"/>
                <a:gd name="connsiteY201" fmla="*/ 3987 h 10000"/>
                <a:gd name="connsiteX202" fmla="*/ 7884 w 10000"/>
                <a:gd name="connsiteY202" fmla="*/ 3958 h 10000"/>
                <a:gd name="connsiteX203" fmla="*/ 8050 w 10000"/>
                <a:gd name="connsiteY203" fmla="*/ 3917 h 10000"/>
                <a:gd name="connsiteX204" fmla="*/ 8118 w 10000"/>
                <a:gd name="connsiteY204" fmla="*/ 3864 h 10000"/>
                <a:gd name="connsiteX205" fmla="*/ 8211 w 10000"/>
                <a:gd name="connsiteY205" fmla="*/ 3842 h 10000"/>
                <a:gd name="connsiteX206" fmla="*/ 8720 w 10000"/>
                <a:gd name="connsiteY206" fmla="*/ 3522 h 10000"/>
                <a:gd name="connsiteX207" fmla="*/ 10000 w 10000"/>
                <a:gd name="connsiteY207" fmla="*/ 831 h 10000"/>
                <a:gd name="connsiteX208" fmla="*/ 9559 w 10000"/>
                <a:gd name="connsiteY208" fmla="*/ 517 h 10000"/>
                <a:gd name="connsiteX209" fmla="*/ 9344 w 10000"/>
                <a:gd name="connsiteY209" fmla="*/ 440 h 10000"/>
                <a:gd name="connsiteX210" fmla="*/ 8945 w 10000"/>
                <a:gd name="connsiteY210" fmla="*/ 389 h 10000"/>
                <a:gd name="connsiteX211" fmla="*/ 8118 w 10000"/>
                <a:gd name="connsiteY211" fmla="*/ 26 h 10000"/>
                <a:gd name="connsiteX212" fmla="*/ 8091 w 10000"/>
                <a:gd name="connsiteY212" fmla="*/ 2 h 10000"/>
                <a:gd name="connsiteX213" fmla="*/ 7811 w 10000"/>
                <a:gd name="connsiteY213" fmla="*/ 0 h 10000"/>
                <a:gd name="connsiteX214" fmla="*/ 7748 w 10000"/>
                <a:gd name="connsiteY214" fmla="*/ 14 h 10000"/>
                <a:gd name="connsiteX215" fmla="*/ 7762 w 10000"/>
                <a:gd name="connsiteY215" fmla="*/ 61 h 10000"/>
                <a:gd name="connsiteX216" fmla="*/ 7816 w 10000"/>
                <a:gd name="connsiteY216" fmla="*/ 86 h 10000"/>
                <a:gd name="connsiteX217" fmla="*/ 7831 w 10000"/>
                <a:gd name="connsiteY217" fmla="*/ 139 h 10000"/>
                <a:gd name="connsiteX218" fmla="*/ 7811 w 10000"/>
                <a:gd name="connsiteY218" fmla="*/ 181 h 10000"/>
                <a:gd name="connsiteX219" fmla="*/ 7762 w 10000"/>
                <a:gd name="connsiteY219" fmla="*/ 208 h 10000"/>
                <a:gd name="connsiteX220" fmla="*/ 7724 w 10000"/>
                <a:gd name="connsiteY220" fmla="*/ 283 h 10000"/>
                <a:gd name="connsiteX221" fmla="*/ 7656 w 10000"/>
                <a:gd name="connsiteY221" fmla="*/ 336 h 10000"/>
                <a:gd name="connsiteX222" fmla="*/ 7670 w 10000"/>
                <a:gd name="connsiteY222" fmla="*/ 387 h 10000"/>
                <a:gd name="connsiteX223" fmla="*/ 7775 w 10000"/>
                <a:gd name="connsiteY223" fmla="*/ 434 h 10000"/>
                <a:gd name="connsiteX224" fmla="*/ 7706 w 10000"/>
                <a:gd name="connsiteY224" fmla="*/ 475 h 10000"/>
                <a:gd name="connsiteX225" fmla="*/ 7605 w 10000"/>
                <a:gd name="connsiteY225" fmla="*/ 485 h 10000"/>
                <a:gd name="connsiteX226" fmla="*/ 6761 w 10000"/>
                <a:gd name="connsiteY226" fmla="*/ 387 h 10000"/>
                <a:gd name="connsiteX227" fmla="*/ 6660 w 10000"/>
                <a:gd name="connsiteY227" fmla="*/ 395 h 10000"/>
                <a:gd name="connsiteX228" fmla="*/ 6601 w 10000"/>
                <a:gd name="connsiteY228" fmla="*/ 414 h 10000"/>
                <a:gd name="connsiteX229" fmla="*/ 6540 w 10000"/>
                <a:gd name="connsiteY229" fmla="*/ 462 h 10000"/>
                <a:gd name="connsiteX230" fmla="*/ 6551 w 10000"/>
                <a:gd name="connsiteY230" fmla="*/ 581 h 10000"/>
                <a:gd name="connsiteX231" fmla="*/ 6458 w 10000"/>
                <a:gd name="connsiteY231" fmla="*/ 735 h 10000"/>
                <a:gd name="connsiteX232" fmla="*/ 6344 w 10000"/>
                <a:gd name="connsiteY232" fmla="*/ 815 h 10000"/>
                <a:gd name="connsiteX233" fmla="*/ 6298 w 10000"/>
                <a:gd name="connsiteY233" fmla="*/ 805 h 10000"/>
                <a:gd name="connsiteX234" fmla="*/ 6193 w 10000"/>
                <a:gd name="connsiteY234" fmla="*/ 739 h 10000"/>
                <a:gd name="connsiteX235" fmla="*/ 6060 w 10000"/>
                <a:gd name="connsiteY235" fmla="*/ 705 h 10000"/>
                <a:gd name="connsiteX236" fmla="*/ 5916 w 10000"/>
                <a:gd name="connsiteY236" fmla="*/ 715 h 10000"/>
                <a:gd name="connsiteX237" fmla="*/ 5583 w 10000"/>
                <a:gd name="connsiteY237" fmla="*/ 866 h 10000"/>
                <a:gd name="connsiteX238" fmla="*/ 5495 w 10000"/>
                <a:gd name="connsiteY238" fmla="*/ 1017 h 10000"/>
                <a:gd name="connsiteX239" fmla="*/ 5244 w 10000"/>
                <a:gd name="connsiteY239" fmla="*/ 1153 h 10000"/>
                <a:gd name="connsiteX240" fmla="*/ 5198 w 10000"/>
                <a:gd name="connsiteY240" fmla="*/ 1222 h 10000"/>
                <a:gd name="connsiteX241" fmla="*/ 5329 w 10000"/>
                <a:gd name="connsiteY241" fmla="*/ 1344 h 10000"/>
                <a:gd name="connsiteX242" fmla="*/ 5343 w 10000"/>
                <a:gd name="connsiteY242" fmla="*/ 1412 h 10000"/>
                <a:gd name="connsiteX243" fmla="*/ 4656 w 10000"/>
                <a:gd name="connsiteY243" fmla="*/ 1813 h 10000"/>
                <a:gd name="connsiteX244" fmla="*/ 4445 w 10000"/>
                <a:gd name="connsiteY244" fmla="*/ 2070 h 10000"/>
                <a:gd name="connsiteX245" fmla="*/ 4217 w 10000"/>
                <a:gd name="connsiteY245" fmla="*/ 2135 h 10000"/>
                <a:gd name="connsiteX246" fmla="*/ 4073 w 10000"/>
                <a:gd name="connsiteY246" fmla="*/ 2131 h 10000"/>
                <a:gd name="connsiteX247" fmla="*/ 3986 w 10000"/>
                <a:gd name="connsiteY247" fmla="*/ 2153 h 10000"/>
                <a:gd name="connsiteX248" fmla="*/ 3748 w 10000"/>
                <a:gd name="connsiteY248" fmla="*/ 2793 h 10000"/>
                <a:gd name="connsiteX249" fmla="*/ 3198 w 10000"/>
                <a:gd name="connsiteY249" fmla="*/ 3166 h 10000"/>
                <a:gd name="connsiteX250" fmla="*/ 3202 w 10000"/>
                <a:gd name="connsiteY250" fmla="*/ 3225 h 10000"/>
                <a:gd name="connsiteX251" fmla="*/ 3446 w 10000"/>
                <a:gd name="connsiteY251" fmla="*/ 3392 h 10000"/>
                <a:gd name="connsiteX252" fmla="*/ 3367 w 10000"/>
                <a:gd name="connsiteY252" fmla="*/ 3573 h 10000"/>
                <a:gd name="connsiteX253" fmla="*/ 3224 w 10000"/>
                <a:gd name="connsiteY253" fmla="*/ 3640 h 10000"/>
                <a:gd name="connsiteX254" fmla="*/ 2798 w 10000"/>
                <a:gd name="connsiteY254" fmla="*/ 3595 h 10000"/>
                <a:gd name="connsiteX255" fmla="*/ 2504 w 10000"/>
                <a:gd name="connsiteY255" fmla="*/ 3620 h 10000"/>
                <a:gd name="connsiteX256" fmla="*/ 2267 w 10000"/>
                <a:gd name="connsiteY256" fmla="*/ 3673 h 10000"/>
                <a:gd name="connsiteX257" fmla="*/ 1886 w 10000"/>
                <a:gd name="connsiteY257" fmla="*/ 3840 h 10000"/>
                <a:gd name="connsiteX258" fmla="*/ 1683 w 10000"/>
                <a:gd name="connsiteY258" fmla="*/ 4042 h 10000"/>
                <a:gd name="connsiteX259" fmla="*/ 1701 w 10000"/>
                <a:gd name="connsiteY259" fmla="*/ 4154 h 10000"/>
                <a:gd name="connsiteX260" fmla="*/ 1771 w 10000"/>
                <a:gd name="connsiteY260" fmla="*/ 4241 h 10000"/>
                <a:gd name="connsiteX261" fmla="*/ 1825 w 10000"/>
                <a:gd name="connsiteY261" fmla="*/ 4276 h 10000"/>
                <a:gd name="connsiteX262" fmla="*/ 1725 w 10000"/>
                <a:gd name="connsiteY262" fmla="*/ 4331 h 10000"/>
                <a:gd name="connsiteX263" fmla="*/ 1510 w 10000"/>
                <a:gd name="connsiteY263" fmla="*/ 4710 h 10000"/>
                <a:gd name="connsiteX264" fmla="*/ 1551 w 10000"/>
                <a:gd name="connsiteY264" fmla="*/ 4732 h 10000"/>
                <a:gd name="connsiteX265" fmla="*/ 1583 w 10000"/>
                <a:gd name="connsiteY265" fmla="*/ 4828 h 10000"/>
                <a:gd name="connsiteX266" fmla="*/ 1482 w 10000"/>
                <a:gd name="connsiteY266" fmla="*/ 5227 h 10000"/>
                <a:gd name="connsiteX267" fmla="*/ 1583 w 10000"/>
                <a:gd name="connsiteY267" fmla="*/ 5329 h 10000"/>
                <a:gd name="connsiteX268" fmla="*/ 1857 w 10000"/>
                <a:gd name="connsiteY268" fmla="*/ 5441 h 10000"/>
                <a:gd name="connsiteX269" fmla="*/ 1871 w 10000"/>
                <a:gd name="connsiteY269" fmla="*/ 5578 h 10000"/>
                <a:gd name="connsiteX270" fmla="*/ 1753 w 10000"/>
                <a:gd name="connsiteY270" fmla="*/ 5690 h 10000"/>
                <a:gd name="connsiteX271" fmla="*/ 1583 w 10000"/>
                <a:gd name="connsiteY271" fmla="*/ 5759 h 10000"/>
                <a:gd name="connsiteX272" fmla="*/ 1357 w 10000"/>
                <a:gd name="connsiteY272" fmla="*/ 5787 h 10000"/>
                <a:gd name="connsiteX273" fmla="*/ 1299 w 10000"/>
                <a:gd name="connsiteY273" fmla="*/ 5826 h 10000"/>
                <a:gd name="connsiteX274" fmla="*/ 1430 w 10000"/>
                <a:gd name="connsiteY274" fmla="*/ 5920 h 10000"/>
                <a:gd name="connsiteX275" fmla="*/ 1506 w 10000"/>
                <a:gd name="connsiteY275" fmla="*/ 6142 h 10000"/>
                <a:gd name="connsiteX276" fmla="*/ 1335 w 10000"/>
                <a:gd name="connsiteY276" fmla="*/ 6333 h 10000"/>
                <a:gd name="connsiteX277" fmla="*/ 1394 w 10000"/>
                <a:gd name="connsiteY277" fmla="*/ 6392 h 10000"/>
                <a:gd name="connsiteX278" fmla="*/ 1340 w 10000"/>
                <a:gd name="connsiteY278" fmla="*/ 6492 h 10000"/>
                <a:gd name="connsiteX279" fmla="*/ 1230 w 10000"/>
                <a:gd name="connsiteY279" fmla="*/ 6561 h 10000"/>
                <a:gd name="connsiteX280" fmla="*/ 798 w 10000"/>
                <a:gd name="connsiteY280" fmla="*/ 6614 h 10000"/>
                <a:gd name="connsiteX281" fmla="*/ 771 w 10000"/>
                <a:gd name="connsiteY281" fmla="*/ 6706 h 10000"/>
                <a:gd name="connsiteX282" fmla="*/ 538 w 10000"/>
                <a:gd name="connsiteY282" fmla="*/ 6843 h 10000"/>
                <a:gd name="connsiteX283" fmla="*/ 569 w 10000"/>
                <a:gd name="connsiteY283" fmla="*/ 7040 h 10000"/>
                <a:gd name="connsiteX284" fmla="*/ 372 w 10000"/>
                <a:gd name="connsiteY284" fmla="*/ 7293 h 10000"/>
                <a:gd name="connsiteX285" fmla="*/ 238 w 10000"/>
                <a:gd name="connsiteY285" fmla="*/ 7323 h 10000"/>
                <a:gd name="connsiteX286" fmla="*/ 184 w 10000"/>
                <a:gd name="connsiteY286" fmla="*/ 7262 h 10000"/>
                <a:gd name="connsiteX287" fmla="*/ 115 w 10000"/>
                <a:gd name="connsiteY287" fmla="*/ 7354 h 10000"/>
                <a:gd name="connsiteX288" fmla="*/ 160 w 10000"/>
                <a:gd name="connsiteY288" fmla="*/ 7197 h 10000"/>
                <a:gd name="connsiteX289" fmla="*/ 132 w 10000"/>
                <a:gd name="connsiteY289" fmla="*/ 7166 h 10000"/>
                <a:gd name="connsiteX0" fmla="*/ 132 w 9559"/>
                <a:gd name="connsiteY0" fmla="*/ 7166 h 10000"/>
                <a:gd name="connsiteX1" fmla="*/ 0 w 9559"/>
                <a:gd name="connsiteY1" fmla="*/ 7248 h 10000"/>
                <a:gd name="connsiteX2" fmla="*/ 0 w 9559"/>
                <a:gd name="connsiteY2" fmla="*/ 7651 h 10000"/>
                <a:gd name="connsiteX3" fmla="*/ 73 w 9559"/>
                <a:gd name="connsiteY3" fmla="*/ 7663 h 10000"/>
                <a:gd name="connsiteX4" fmla="*/ 90 w 9559"/>
                <a:gd name="connsiteY4" fmla="*/ 7694 h 10000"/>
                <a:gd name="connsiteX5" fmla="*/ 86 w 9559"/>
                <a:gd name="connsiteY5" fmla="*/ 7749 h 10000"/>
                <a:gd name="connsiteX6" fmla="*/ 59 w 9559"/>
                <a:gd name="connsiteY6" fmla="*/ 7773 h 10000"/>
                <a:gd name="connsiteX7" fmla="*/ 170 w 9559"/>
                <a:gd name="connsiteY7" fmla="*/ 7727 h 10000"/>
                <a:gd name="connsiteX8" fmla="*/ 217 w 9559"/>
                <a:gd name="connsiteY8" fmla="*/ 7680 h 10000"/>
                <a:gd name="connsiteX9" fmla="*/ 274 w 9559"/>
                <a:gd name="connsiteY9" fmla="*/ 7712 h 10000"/>
                <a:gd name="connsiteX10" fmla="*/ 211 w 9559"/>
                <a:gd name="connsiteY10" fmla="*/ 7778 h 10000"/>
                <a:gd name="connsiteX11" fmla="*/ 279 w 9559"/>
                <a:gd name="connsiteY11" fmla="*/ 7780 h 10000"/>
                <a:gd name="connsiteX12" fmla="*/ 312 w 9559"/>
                <a:gd name="connsiteY12" fmla="*/ 7796 h 10000"/>
                <a:gd name="connsiteX13" fmla="*/ 225 w 9559"/>
                <a:gd name="connsiteY13" fmla="*/ 7818 h 10000"/>
                <a:gd name="connsiteX14" fmla="*/ 86 w 9559"/>
                <a:gd name="connsiteY14" fmla="*/ 7886 h 10000"/>
                <a:gd name="connsiteX15" fmla="*/ 332 w 9559"/>
                <a:gd name="connsiteY15" fmla="*/ 7938 h 10000"/>
                <a:gd name="connsiteX16" fmla="*/ 362 w 9559"/>
                <a:gd name="connsiteY16" fmla="*/ 8014 h 10000"/>
                <a:gd name="connsiteX17" fmla="*/ 279 w 9559"/>
                <a:gd name="connsiteY17" fmla="*/ 8126 h 10000"/>
                <a:gd name="connsiteX18" fmla="*/ 459 w 9559"/>
                <a:gd name="connsiteY18" fmla="*/ 8118 h 10000"/>
                <a:gd name="connsiteX19" fmla="*/ 472 w 9559"/>
                <a:gd name="connsiteY19" fmla="*/ 8203 h 10000"/>
                <a:gd name="connsiteX20" fmla="*/ 353 w 9559"/>
                <a:gd name="connsiteY20" fmla="*/ 8260 h 10000"/>
                <a:gd name="connsiteX21" fmla="*/ 372 w 9559"/>
                <a:gd name="connsiteY21" fmla="*/ 8370 h 10000"/>
                <a:gd name="connsiteX22" fmla="*/ 326 w 9559"/>
                <a:gd name="connsiteY22" fmla="*/ 8456 h 10000"/>
                <a:gd name="connsiteX23" fmla="*/ 467 w 9559"/>
                <a:gd name="connsiteY23" fmla="*/ 8464 h 10000"/>
                <a:gd name="connsiteX24" fmla="*/ 606 w 9559"/>
                <a:gd name="connsiteY24" fmla="*/ 8792 h 10000"/>
                <a:gd name="connsiteX25" fmla="*/ 766 w 9559"/>
                <a:gd name="connsiteY25" fmla="*/ 8876 h 10000"/>
                <a:gd name="connsiteX26" fmla="*/ 835 w 9559"/>
                <a:gd name="connsiteY26" fmla="*/ 8965 h 10000"/>
                <a:gd name="connsiteX27" fmla="*/ 1009 w 9559"/>
                <a:gd name="connsiteY27" fmla="*/ 9030 h 10000"/>
                <a:gd name="connsiteX28" fmla="*/ 1120 w 9559"/>
                <a:gd name="connsiteY28" fmla="*/ 9112 h 10000"/>
                <a:gd name="connsiteX29" fmla="*/ 1106 w 9559"/>
                <a:gd name="connsiteY29" fmla="*/ 9171 h 10000"/>
                <a:gd name="connsiteX30" fmla="*/ 996 w 9559"/>
                <a:gd name="connsiteY30" fmla="*/ 9193 h 10000"/>
                <a:gd name="connsiteX31" fmla="*/ 876 w 9559"/>
                <a:gd name="connsiteY31" fmla="*/ 9179 h 10000"/>
                <a:gd name="connsiteX32" fmla="*/ 839 w 9559"/>
                <a:gd name="connsiteY32" fmla="*/ 9204 h 10000"/>
                <a:gd name="connsiteX33" fmla="*/ 931 w 9559"/>
                <a:gd name="connsiteY33" fmla="*/ 9332 h 10000"/>
                <a:gd name="connsiteX34" fmla="*/ 802 w 9559"/>
                <a:gd name="connsiteY34" fmla="*/ 9322 h 10000"/>
                <a:gd name="connsiteX35" fmla="*/ 693 w 9559"/>
                <a:gd name="connsiteY35" fmla="*/ 9291 h 10000"/>
                <a:gd name="connsiteX36" fmla="*/ 673 w 9559"/>
                <a:gd name="connsiteY36" fmla="*/ 9338 h 10000"/>
                <a:gd name="connsiteX37" fmla="*/ 1036 w 9559"/>
                <a:gd name="connsiteY37" fmla="*/ 9776 h 10000"/>
                <a:gd name="connsiteX38" fmla="*/ 978 w 9559"/>
                <a:gd name="connsiteY38" fmla="*/ 9817 h 10000"/>
                <a:gd name="connsiteX39" fmla="*/ 937 w 9559"/>
                <a:gd name="connsiteY39" fmla="*/ 9902 h 10000"/>
                <a:gd name="connsiteX40" fmla="*/ 886 w 9559"/>
                <a:gd name="connsiteY40" fmla="*/ 9908 h 10000"/>
                <a:gd name="connsiteX41" fmla="*/ 853 w 9559"/>
                <a:gd name="connsiteY41" fmla="*/ 9945 h 10000"/>
                <a:gd name="connsiteX42" fmla="*/ 1072 w 9559"/>
                <a:gd name="connsiteY42" fmla="*/ 9949 h 10000"/>
                <a:gd name="connsiteX43" fmla="*/ 1266 w 9559"/>
                <a:gd name="connsiteY43" fmla="*/ 9986 h 10000"/>
                <a:gd name="connsiteX44" fmla="*/ 1587 w 9559"/>
                <a:gd name="connsiteY44" fmla="*/ 9947 h 10000"/>
                <a:gd name="connsiteX45" fmla="*/ 1876 w 9559"/>
                <a:gd name="connsiteY45" fmla="*/ 9953 h 10000"/>
                <a:gd name="connsiteX46" fmla="*/ 2046 w 9559"/>
                <a:gd name="connsiteY46" fmla="*/ 10000 h 10000"/>
                <a:gd name="connsiteX47" fmla="*/ 2139 w 9559"/>
                <a:gd name="connsiteY47" fmla="*/ 9969 h 10000"/>
                <a:gd name="connsiteX48" fmla="*/ 2229 w 9559"/>
                <a:gd name="connsiteY48" fmla="*/ 9868 h 10000"/>
                <a:gd name="connsiteX49" fmla="*/ 2206 w 9559"/>
                <a:gd name="connsiteY49" fmla="*/ 9703 h 10000"/>
                <a:gd name="connsiteX50" fmla="*/ 2426 w 9559"/>
                <a:gd name="connsiteY50" fmla="*/ 9517 h 10000"/>
                <a:gd name="connsiteX51" fmla="*/ 2587 w 9559"/>
                <a:gd name="connsiteY51" fmla="*/ 9546 h 10000"/>
                <a:gd name="connsiteX52" fmla="*/ 2679 w 9559"/>
                <a:gd name="connsiteY52" fmla="*/ 9472 h 10000"/>
                <a:gd name="connsiteX53" fmla="*/ 2858 w 9559"/>
                <a:gd name="connsiteY53" fmla="*/ 9430 h 10000"/>
                <a:gd name="connsiteX54" fmla="*/ 3101 w 9559"/>
                <a:gd name="connsiteY54" fmla="*/ 9440 h 10000"/>
                <a:gd name="connsiteX55" fmla="*/ 3248 w 9559"/>
                <a:gd name="connsiteY55" fmla="*/ 9470 h 10000"/>
                <a:gd name="connsiteX56" fmla="*/ 3442 w 9559"/>
                <a:gd name="connsiteY56" fmla="*/ 9456 h 10000"/>
                <a:gd name="connsiteX57" fmla="*/ 3638 w 9559"/>
                <a:gd name="connsiteY57" fmla="*/ 9489 h 10000"/>
                <a:gd name="connsiteX58" fmla="*/ 3835 w 9559"/>
                <a:gd name="connsiteY58" fmla="*/ 9493 h 10000"/>
                <a:gd name="connsiteX59" fmla="*/ 4275 w 9559"/>
                <a:gd name="connsiteY59" fmla="*/ 9061 h 10000"/>
                <a:gd name="connsiteX60" fmla="*/ 4386 w 9559"/>
                <a:gd name="connsiteY60" fmla="*/ 8711 h 10000"/>
                <a:gd name="connsiteX61" fmla="*/ 4564 w 9559"/>
                <a:gd name="connsiteY61" fmla="*/ 8554 h 10000"/>
                <a:gd name="connsiteX62" fmla="*/ 4564 w 9559"/>
                <a:gd name="connsiteY62" fmla="*/ 8472 h 10000"/>
                <a:gd name="connsiteX63" fmla="*/ 4500 w 9559"/>
                <a:gd name="connsiteY63" fmla="*/ 8425 h 10000"/>
                <a:gd name="connsiteX64" fmla="*/ 4605 w 9559"/>
                <a:gd name="connsiteY64" fmla="*/ 8352 h 10000"/>
                <a:gd name="connsiteX65" fmla="*/ 4586 w 9559"/>
                <a:gd name="connsiteY65" fmla="*/ 8289 h 10000"/>
                <a:gd name="connsiteX66" fmla="*/ 4514 w 9559"/>
                <a:gd name="connsiteY66" fmla="*/ 8236 h 10000"/>
                <a:gd name="connsiteX67" fmla="*/ 4500 w 9559"/>
                <a:gd name="connsiteY67" fmla="*/ 8199 h 10000"/>
                <a:gd name="connsiteX68" fmla="*/ 4518 w 9559"/>
                <a:gd name="connsiteY68" fmla="*/ 8169 h 10000"/>
                <a:gd name="connsiteX69" fmla="*/ 4615 w 9559"/>
                <a:gd name="connsiteY69" fmla="*/ 8193 h 10000"/>
                <a:gd name="connsiteX70" fmla="*/ 4692 w 9559"/>
                <a:gd name="connsiteY70" fmla="*/ 8191 h 10000"/>
                <a:gd name="connsiteX71" fmla="*/ 4650 w 9559"/>
                <a:gd name="connsiteY71" fmla="*/ 8140 h 10000"/>
                <a:gd name="connsiteX72" fmla="*/ 4664 w 9559"/>
                <a:gd name="connsiteY72" fmla="*/ 8112 h 10000"/>
                <a:gd name="connsiteX73" fmla="*/ 4720 w 9559"/>
                <a:gd name="connsiteY73" fmla="*/ 8069 h 10000"/>
                <a:gd name="connsiteX74" fmla="*/ 4711 w 9559"/>
                <a:gd name="connsiteY74" fmla="*/ 8034 h 10000"/>
                <a:gd name="connsiteX75" fmla="*/ 4762 w 9559"/>
                <a:gd name="connsiteY75" fmla="*/ 7916 h 10000"/>
                <a:gd name="connsiteX76" fmla="*/ 4749 w 9559"/>
                <a:gd name="connsiteY76" fmla="*/ 7881 h 10000"/>
                <a:gd name="connsiteX77" fmla="*/ 4482 w 9559"/>
                <a:gd name="connsiteY77" fmla="*/ 7792 h 10000"/>
                <a:gd name="connsiteX78" fmla="*/ 4518 w 9559"/>
                <a:gd name="connsiteY78" fmla="*/ 7788 h 10000"/>
                <a:gd name="connsiteX79" fmla="*/ 4660 w 9559"/>
                <a:gd name="connsiteY79" fmla="*/ 7812 h 10000"/>
                <a:gd name="connsiteX80" fmla="*/ 4813 w 9559"/>
                <a:gd name="connsiteY80" fmla="*/ 7804 h 10000"/>
                <a:gd name="connsiteX81" fmla="*/ 4858 w 9559"/>
                <a:gd name="connsiteY81" fmla="*/ 7771 h 10000"/>
                <a:gd name="connsiteX82" fmla="*/ 4711 w 9559"/>
                <a:gd name="connsiteY82" fmla="*/ 7710 h 10000"/>
                <a:gd name="connsiteX83" fmla="*/ 4271 w 9559"/>
                <a:gd name="connsiteY83" fmla="*/ 7670 h 10000"/>
                <a:gd name="connsiteX84" fmla="*/ 4301 w 9559"/>
                <a:gd name="connsiteY84" fmla="*/ 7651 h 10000"/>
                <a:gd name="connsiteX85" fmla="*/ 4660 w 9559"/>
                <a:gd name="connsiteY85" fmla="*/ 7639 h 10000"/>
                <a:gd name="connsiteX86" fmla="*/ 4858 w 9559"/>
                <a:gd name="connsiteY86" fmla="*/ 7676 h 10000"/>
                <a:gd name="connsiteX87" fmla="*/ 4972 w 9559"/>
                <a:gd name="connsiteY87" fmla="*/ 7651 h 10000"/>
                <a:gd name="connsiteX88" fmla="*/ 5014 w 9559"/>
                <a:gd name="connsiteY88" fmla="*/ 7588 h 10000"/>
                <a:gd name="connsiteX89" fmla="*/ 5220 w 9559"/>
                <a:gd name="connsiteY89" fmla="*/ 7588 h 10000"/>
                <a:gd name="connsiteX90" fmla="*/ 5500 w 9559"/>
                <a:gd name="connsiteY90" fmla="*/ 7462 h 10000"/>
                <a:gd name="connsiteX91" fmla="*/ 5510 w 9559"/>
                <a:gd name="connsiteY91" fmla="*/ 7378 h 10000"/>
                <a:gd name="connsiteX92" fmla="*/ 5628 w 9559"/>
                <a:gd name="connsiteY92" fmla="*/ 7397 h 10000"/>
                <a:gd name="connsiteX93" fmla="*/ 5624 w 9559"/>
                <a:gd name="connsiteY93" fmla="*/ 7482 h 10000"/>
                <a:gd name="connsiteX94" fmla="*/ 5812 w 9559"/>
                <a:gd name="connsiteY94" fmla="*/ 7476 h 10000"/>
                <a:gd name="connsiteX95" fmla="*/ 5935 w 9559"/>
                <a:gd name="connsiteY95" fmla="*/ 7388 h 10000"/>
                <a:gd name="connsiteX96" fmla="*/ 6166 w 9559"/>
                <a:gd name="connsiteY96" fmla="*/ 7309 h 10000"/>
                <a:gd name="connsiteX97" fmla="*/ 6128 w 9559"/>
                <a:gd name="connsiteY97" fmla="*/ 7219 h 10000"/>
                <a:gd name="connsiteX98" fmla="*/ 6197 w 9559"/>
                <a:gd name="connsiteY98" fmla="*/ 7254 h 10000"/>
                <a:gd name="connsiteX99" fmla="*/ 6302 w 9559"/>
                <a:gd name="connsiteY99" fmla="*/ 7254 h 10000"/>
                <a:gd name="connsiteX100" fmla="*/ 6302 w 9559"/>
                <a:gd name="connsiteY100" fmla="*/ 7213 h 10000"/>
                <a:gd name="connsiteX101" fmla="*/ 6400 w 9559"/>
                <a:gd name="connsiteY101" fmla="*/ 7181 h 10000"/>
                <a:gd name="connsiteX102" fmla="*/ 6386 w 9559"/>
                <a:gd name="connsiteY102" fmla="*/ 7148 h 10000"/>
                <a:gd name="connsiteX103" fmla="*/ 5560 w 9559"/>
                <a:gd name="connsiteY103" fmla="*/ 7215 h 10000"/>
                <a:gd name="connsiteX104" fmla="*/ 5367 w 9559"/>
                <a:gd name="connsiteY104" fmla="*/ 7195 h 10000"/>
                <a:gd name="connsiteX105" fmla="*/ 5289 w 9559"/>
                <a:gd name="connsiteY105" fmla="*/ 7219 h 10000"/>
                <a:gd name="connsiteX106" fmla="*/ 5262 w 9559"/>
                <a:gd name="connsiteY106" fmla="*/ 7173 h 10000"/>
                <a:gd name="connsiteX107" fmla="*/ 5170 w 9559"/>
                <a:gd name="connsiteY107" fmla="*/ 7132 h 10000"/>
                <a:gd name="connsiteX108" fmla="*/ 4802 w 9559"/>
                <a:gd name="connsiteY108" fmla="*/ 7052 h 10000"/>
                <a:gd name="connsiteX109" fmla="*/ 4586 w 9559"/>
                <a:gd name="connsiteY109" fmla="*/ 7065 h 10000"/>
                <a:gd name="connsiteX110" fmla="*/ 4500 w 9559"/>
                <a:gd name="connsiteY110" fmla="*/ 7042 h 10000"/>
                <a:gd name="connsiteX111" fmla="*/ 4591 w 9559"/>
                <a:gd name="connsiteY111" fmla="*/ 7022 h 10000"/>
                <a:gd name="connsiteX112" fmla="*/ 4660 w 9559"/>
                <a:gd name="connsiteY112" fmla="*/ 6979 h 10000"/>
                <a:gd name="connsiteX113" fmla="*/ 4762 w 9559"/>
                <a:gd name="connsiteY113" fmla="*/ 6993 h 10000"/>
                <a:gd name="connsiteX114" fmla="*/ 4885 w 9559"/>
                <a:gd name="connsiteY114" fmla="*/ 6981 h 10000"/>
                <a:gd name="connsiteX115" fmla="*/ 5069 w 9559"/>
                <a:gd name="connsiteY115" fmla="*/ 6995 h 10000"/>
                <a:gd name="connsiteX116" fmla="*/ 5091 w 9559"/>
                <a:gd name="connsiteY116" fmla="*/ 6989 h 10000"/>
                <a:gd name="connsiteX117" fmla="*/ 5234 w 9559"/>
                <a:gd name="connsiteY117" fmla="*/ 7056 h 10000"/>
                <a:gd name="connsiteX118" fmla="*/ 5339 w 9559"/>
                <a:gd name="connsiteY118" fmla="*/ 7032 h 10000"/>
                <a:gd name="connsiteX119" fmla="*/ 5347 w 9559"/>
                <a:gd name="connsiteY119" fmla="*/ 7010 h 10000"/>
                <a:gd name="connsiteX120" fmla="*/ 5445 w 9559"/>
                <a:gd name="connsiteY120" fmla="*/ 7048 h 10000"/>
                <a:gd name="connsiteX121" fmla="*/ 5573 w 9559"/>
                <a:gd name="connsiteY121" fmla="*/ 7069 h 10000"/>
                <a:gd name="connsiteX122" fmla="*/ 5624 w 9559"/>
                <a:gd name="connsiteY122" fmla="*/ 7030 h 10000"/>
                <a:gd name="connsiteX123" fmla="*/ 5665 w 9559"/>
                <a:gd name="connsiteY123" fmla="*/ 7052 h 10000"/>
                <a:gd name="connsiteX124" fmla="*/ 5724 w 9559"/>
                <a:gd name="connsiteY124" fmla="*/ 7126 h 10000"/>
                <a:gd name="connsiteX125" fmla="*/ 5848 w 9559"/>
                <a:gd name="connsiteY125" fmla="*/ 7144 h 10000"/>
                <a:gd name="connsiteX126" fmla="*/ 6353 w 9559"/>
                <a:gd name="connsiteY126" fmla="*/ 7034 h 10000"/>
                <a:gd name="connsiteX127" fmla="*/ 6601 w 9559"/>
                <a:gd name="connsiteY127" fmla="*/ 6879 h 10000"/>
                <a:gd name="connsiteX128" fmla="*/ 6660 w 9559"/>
                <a:gd name="connsiteY128" fmla="*/ 6765 h 10000"/>
                <a:gd name="connsiteX129" fmla="*/ 6570 w 9559"/>
                <a:gd name="connsiteY129" fmla="*/ 6663 h 10000"/>
                <a:gd name="connsiteX130" fmla="*/ 6381 w 9559"/>
                <a:gd name="connsiteY130" fmla="*/ 6602 h 10000"/>
                <a:gd name="connsiteX131" fmla="*/ 6247 w 9559"/>
                <a:gd name="connsiteY131" fmla="*/ 6502 h 10000"/>
                <a:gd name="connsiteX132" fmla="*/ 6372 w 9559"/>
                <a:gd name="connsiteY132" fmla="*/ 6498 h 10000"/>
                <a:gd name="connsiteX133" fmla="*/ 6363 w 9559"/>
                <a:gd name="connsiteY133" fmla="*/ 6474 h 10000"/>
                <a:gd name="connsiteX134" fmla="*/ 6038 w 9559"/>
                <a:gd name="connsiteY134" fmla="*/ 6403 h 10000"/>
                <a:gd name="connsiteX135" fmla="*/ 6025 w 9559"/>
                <a:gd name="connsiteY135" fmla="*/ 6339 h 10000"/>
                <a:gd name="connsiteX136" fmla="*/ 5962 w 9559"/>
                <a:gd name="connsiteY136" fmla="*/ 6272 h 10000"/>
                <a:gd name="connsiteX137" fmla="*/ 5706 w 9559"/>
                <a:gd name="connsiteY137" fmla="*/ 6284 h 10000"/>
                <a:gd name="connsiteX138" fmla="*/ 5614 w 9559"/>
                <a:gd name="connsiteY138" fmla="*/ 6213 h 10000"/>
                <a:gd name="connsiteX139" fmla="*/ 5560 w 9559"/>
                <a:gd name="connsiteY139" fmla="*/ 6209 h 10000"/>
                <a:gd name="connsiteX140" fmla="*/ 5560 w 9559"/>
                <a:gd name="connsiteY140" fmla="*/ 6238 h 10000"/>
                <a:gd name="connsiteX141" fmla="*/ 5445 w 9559"/>
                <a:gd name="connsiteY141" fmla="*/ 6358 h 10000"/>
                <a:gd name="connsiteX142" fmla="*/ 5320 w 9559"/>
                <a:gd name="connsiteY142" fmla="*/ 6429 h 10000"/>
                <a:gd name="connsiteX143" fmla="*/ 4930 w 9559"/>
                <a:gd name="connsiteY143" fmla="*/ 6551 h 10000"/>
                <a:gd name="connsiteX144" fmla="*/ 4793 w 9559"/>
                <a:gd name="connsiteY144" fmla="*/ 6547 h 10000"/>
                <a:gd name="connsiteX145" fmla="*/ 4605 w 9559"/>
                <a:gd name="connsiteY145" fmla="*/ 6565 h 10000"/>
                <a:gd name="connsiteX146" fmla="*/ 4500 w 9559"/>
                <a:gd name="connsiteY146" fmla="*/ 6547 h 10000"/>
                <a:gd name="connsiteX147" fmla="*/ 4637 w 9559"/>
                <a:gd name="connsiteY147" fmla="*/ 6513 h 10000"/>
                <a:gd name="connsiteX148" fmla="*/ 4817 w 9559"/>
                <a:gd name="connsiteY148" fmla="*/ 6498 h 10000"/>
                <a:gd name="connsiteX149" fmla="*/ 4964 w 9559"/>
                <a:gd name="connsiteY149" fmla="*/ 6441 h 10000"/>
                <a:gd name="connsiteX150" fmla="*/ 5109 w 9559"/>
                <a:gd name="connsiteY150" fmla="*/ 6415 h 10000"/>
                <a:gd name="connsiteX151" fmla="*/ 5381 w 9559"/>
                <a:gd name="connsiteY151" fmla="*/ 6317 h 10000"/>
                <a:gd name="connsiteX152" fmla="*/ 5432 w 9559"/>
                <a:gd name="connsiteY152" fmla="*/ 6252 h 10000"/>
                <a:gd name="connsiteX153" fmla="*/ 5436 w 9559"/>
                <a:gd name="connsiteY153" fmla="*/ 6168 h 10000"/>
                <a:gd name="connsiteX154" fmla="*/ 5312 w 9559"/>
                <a:gd name="connsiteY154" fmla="*/ 6154 h 10000"/>
                <a:gd name="connsiteX155" fmla="*/ 5367 w 9559"/>
                <a:gd name="connsiteY155" fmla="*/ 6103 h 10000"/>
                <a:gd name="connsiteX156" fmla="*/ 5385 w 9559"/>
                <a:gd name="connsiteY156" fmla="*/ 6038 h 10000"/>
                <a:gd name="connsiteX157" fmla="*/ 5333 w 9559"/>
                <a:gd name="connsiteY157" fmla="*/ 5977 h 10000"/>
                <a:gd name="connsiteX158" fmla="*/ 5302 w 9559"/>
                <a:gd name="connsiteY158" fmla="*/ 5533 h 10000"/>
                <a:gd name="connsiteX159" fmla="*/ 5377 w 9559"/>
                <a:gd name="connsiteY159" fmla="*/ 5437 h 10000"/>
                <a:gd name="connsiteX160" fmla="*/ 5358 w 9559"/>
                <a:gd name="connsiteY160" fmla="*/ 5398 h 10000"/>
                <a:gd name="connsiteX161" fmla="*/ 5573 w 9559"/>
                <a:gd name="connsiteY161" fmla="*/ 5455 h 10000"/>
                <a:gd name="connsiteX162" fmla="*/ 5587 w 9559"/>
                <a:gd name="connsiteY162" fmla="*/ 5402 h 10000"/>
                <a:gd name="connsiteX163" fmla="*/ 5541 w 9559"/>
                <a:gd name="connsiteY163" fmla="*/ 5264 h 10000"/>
                <a:gd name="connsiteX164" fmla="*/ 5696 w 9559"/>
                <a:gd name="connsiteY164" fmla="*/ 5019 h 10000"/>
                <a:gd name="connsiteX165" fmla="*/ 5601 w 9559"/>
                <a:gd name="connsiteY165" fmla="*/ 4960 h 10000"/>
                <a:gd name="connsiteX166" fmla="*/ 5564 w 9559"/>
                <a:gd name="connsiteY166" fmla="*/ 4905 h 10000"/>
                <a:gd name="connsiteX167" fmla="*/ 5577 w 9559"/>
                <a:gd name="connsiteY167" fmla="*/ 4816 h 10000"/>
                <a:gd name="connsiteX168" fmla="*/ 5804 w 9559"/>
                <a:gd name="connsiteY168" fmla="*/ 4875 h 10000"/>
                <a:gd name="connsiteX169" fmla="*/ 5812 w 9559"/>
                <a:gd name="connsiteY169" fmla="*/ 4858 h 10000"/>
                <a:gd name="connsiteX170" fmla="*/ 5875 w 9559"/>
                <a:gd name="connsiteY170" fmla="*/ 4842 h 10000"/>
                <a:gd name="connsiteX171" fmla="*/ 5962 w 9559"/>
                <a:gd name="connsiteY171" fmla="*/ 4785 h 10000"/>
                <a:gd name="connsiteX172" fmla="*/ 5976 w 9559"/>
                <a:gd name="connsiteY172" fmla="*/ 4769 h 10000"/>
                <a:gd name="connsiteX173" fmla="*/ 5958 w 9559"/>
                <a:gd name="connsiteY173" fmla="*/ 4748 h 10000"/>
                <a:gd name="connsiteX174" fmla="*/ 6004 w 9559"/>
                <a:gd name="connsiteY174" fmla="*/ 4647 h 10000"/>
                <a:gd name="connsiteX175" fmla="*/ 5949 w 9559"/>
                <a:gd name="connsiteY175" fmla="*/ 4581 h 10000"/>
                <a:gd name="connsiteX176" fmla="*/ 5958 w 9559"/>
                <a:gd name="connsiteY176" fmla="*/ 4528 h 10000"/>
                <a:gd name="connsiteX177" fmla="*/ 5990 w 9559"/>
                <a:gd name="connsiteY177" fmla="*/ 4590 h 10000"/>
                <a:gd name="connsiteX178" fmla="*/ 6114 w 9559"/>
                <a:gd name="connsiteY178" fmla="*/ 4636 h 10000"/>
                <a:gd name="connsiteX179" fmla="*/ 6166 w 9559"/>
                <a:gd name="connsiteY179" fmla="*/ 4630 h 10000"/>
                <a:gd name="connsiteX180" fmla="*/ 6247 w 9559"/>
                <a:gd name="connsiteY180" fmla="*/ 4569 h 10000"/>
                <a:gd name="connsiteX181" fmla="*/ 6335 w 9559"/>
                <a:gd name="connsiteY181" fmla="*/ 4594 h 10000"/>
                <a:gd name="connsiteX182" fmla="*/ 6359 w 9559"/>
                <a:gd name="connsiteY182" fmla="*/ 4545 h 10000"/>
                <a:gd name="connsiteX183" fmla="*/ 6418 w 9559"/>
                <a:gd name="connsiteY183" fmla="*/ 4512 h 10000"/>
                <a:gd name="connsiteX184" fmla="*/ 6256 w 9559"/>
                <a:gd name="connsiteY184" fmla="*/ 4477 h 10000"/>
                <a:gd name="connsiteX185" fmla="*/ 6372 w 9559"/>
                <a:gd name="connsiteY185" fmla="*/ 4484 h 10000"/>
                <a:gd name="connsiteX186" fmla="*/ 6490 w 9559"/>
                <a:gd name="connsiteY186" fmla="*/ 4447 h 10000"/>
                <a:gd name="connsiteX187" fmla="*/ 6486 w 9559"/>
                <a:gd name="connsiteY187" fmla="*/ 4422 h 10000"/>
                <a:gd name="connsiteX188" fmla="*/ 6597 w 9559"/>
                <a:gd name="connsiteY188" fmla="*/ 4398 h 10000"/>
                <a:gd name="connsiteX189" fmla="*/ 6606 w 9559"/>
                <a:gd name="connsiteY189" fmla="*/ 4337 h 10000"/>
                <a:gd name="connsiteX190" fmla="*/ 6693 w 9559"/>
                <a:gd name="connsiteY190" fmla="*/ 4325 h 10000"/>
                <a:gd name="connsiteX191" fmla="*/ 6701 w 9559"/>
                <a:gd name="connsiteY191" fmla="*/ 4253 h 10000"/>
                <a:gd name="connsiteX192" fmla="*/ 6793 w 9559"/>
                <a:gd name="connsiteY192" fmla="*/ 4245 h 10000"/>
                <a:gd name="connsiteX193" fmla="*/ 6935 w 9559"/>
                <a:gd name="connsiteY193" fmla="*/ 4260 h 10000"/>
                <a:gd name="connsiteX194" fmla="*/ 7091 w 9559"/>
                <a:gd name="connsiteY194" fmla="*/ 4202 h 10000"/>
                <a:gd name="connsiteX195" fmla="*/ 7146 w 9559"/>
                <a:gd name="connsiteY195" fmla="*/ 4137 h 10000"/>
                <a:gd name="connsiteX196" fmla="*/ 7339 w 9559"/>
                <a:gd name="connsiteY196" fmla="*/ 4070 h 10000"/>
                <a:gd name="connsiteX197" fmla="*/ 7435 w 9559"/>
                <a:gd name="connsiteY197" fmla="*/ 4111 h 10000"/>
                <a:gd name="connsiteX198" fmla="*/ 7582 w 9559"/>
                <a:gd name="connsiteY198" fmla="*/ 4066 h 10000"/>
                <a:gd name="connsiteX199" fmla="*/ 7618 w 9559"/>
                <a:gd name="connsiteY199" fmla="*/ 4009 h 10000"/>
                <a:gd name="connsiteX200" fmla="*/ 7729 w 9559"/>
                <a:gd name="connsiteY200" fmla="*/ 3970 h 10000"/>
                <a:gd name="connsiteX201" fmla="*/ 7825 w 9559"/>
                <a:gd name="connsiteY201" fmla="*/ 3987 h 10000"/>
                <a:gd name="connsiteX202" fmla="*/ 7884 w 9559"/>
                <a:gd name="connsiteY202" fmla="*/ 3958 h 10000"/>
                <a:gd name="connsiteX203" fmla="*/ 8050 w 9559"/>
                <a:gd name="connsiteY203" fmla="*/ 3917 h 10000"/>
                <a:gd name="connsiteX204" fmla="*/ 8118 w 9559"/>
                <a:gd name="connsiteY204" fmla="*/ 3864 h 10000"/>
                <a:gd name="connsiteX205" fmla="*/ 8211 w 9559"/>
                <a:gd name="connsiteY205" fmla="*/ 3842 h 10000"/>
                <a:gd name="connsiteX206" fmla="*/ 8720 w 9559"/>
                <a:gd name="connsiteY206" fmla="*/ 3522 h 10000"/>
                <a:gd name="connsiteX207" fmla="*/ 9559 w 9559"/>
                <a:gd name="connsiteY207" fmla="*/ 517 h 10000"/>
                <a:gd name="connsiteX208" fmla="*/ 9344 w 9559"/>
                <a:gd name="connsiteY208" fmla="*/ 440 h 10000"/>
                <a:gd name="connsiteX209" fmla="*/ 8945 w 9559"/>
                <a:gd name="connsiteY209" fmla="*/ 389 h 10000"/>
                <a:gd name="connsiteX210" fmla="*/ 8118 w 9559"/>
                <a:gd name="connsiteY210" fmla="*/ 26 h 10000"/>
                <a:gd name="connsiteX211" fmla="*/ 8091 w 9559"/>
                <a:gd name="connsiteY211" fmla="*/ 2 h 10000"/>
                <a:gd name="connsiteX212" fmla="*/ 7811 w 9559"/>
                <a:gd name="connsiteY212" fmla="*/ 0 h 10000"/>
                <a:gd name="connsiteX213" fmla="*/ 7748 w 9559"/>
                <a:gd name="connsiteY213" fmla="*/ 14 h 10000"/>
                <a:gd name="connsiteX214" fmla="*/ 7762 w 9559"/>
                <a:gd name="connsiteY214" fmla="*/ 61 h 10000"/>
                <a:gd name="connsiteX215" fmla="*/ 7816 w 9559"/>
                <a:gd name="connsiteY215" fmla="*/ 86 h 10000"/>
                <a:gd name="connsiteX216" fmla="*/ 7831 w 9559"/>
                <a:gd name="connsiteY216" fmla="*/ 139 h 10000"/>
                <a:gd name="connsiteX217" fmla="*/ 7811 w 9559"/>
                <a:gd name="connsiteY217" fmla="*/ 181 h 10000"/>
                <a:gd name="connsiteX218" fmla="*/ 7762 w 9559"/>
                <a:gd name="connsiteY218" fmla="*/ 208 h 10000"/>
                <a:gd name="connsiteX219" fmla="*/ 7724 w 9559"/>
                <a:gd name="connsiteY219" fmla="*/ 283 h 10000"/>
                <a:gd name="connsiteX220" fmla="*/ 7656 w 9559"/>
                <a:gd name="connsiteY220" fmla="*/ 336 h 10000"/>
                <a:gd name="connsiteX221" fmla="*/ 7670 w 9559"/>
                <a:gd name="connsiteY221" fmla="*/ 387 h 10000"/>
                <a:gd name="connsiteX222" fmla="*/ 7775 w 9559"/>
                <a:gd name="connsiteY222" fmla="*/ 434 h 10000"/>
                <a:gd name="connsiteX223" fmla="*/ 7706 w 9559"/>
                <a:gd name="connsiteY223" fmla="*/ 475 h 10000"/>
                <a:gd name="connsiteX224" fmla="*/ 7605 w 9559"/>
                <a:gd name="connsiteY224" fmla="*/ 485 h 10000"/>
                <a:gd name="connsiteX225" fmla="*/ 6761 w 9559"/>
                <a:gd name="connsiteY225" fmla="*/ 387 h 10000"/>
                <a:gd name="connsiteX226" fmla="*/ 6660 w 9559"/>
                <a:gd name="connsiteY226" fmla="*/ 395 h 10000"/>
                <a:gd name="connsiteX227" fmla="*/ 6601 w 9559"/>
                <a:gd name="connsiteY227" fmla="*/ 414 h 10000"/>
                <a:gd name="connsiteX228" fmla="*/ 6540 w 9559"/>
                <a:gd name="connsiteY228" fmla="*/ 462 h 10000"/>
                <a:gd name="connsiteX229" fmla="*/ 6551 w 9559"/>
                <a:gd name="connsiteY229" fmla="*/ 581 h 10000"/>
                <a:gd name="connsiteX230" fmla="*/ 6458 w 9559"/>
                <a:gd name="connsiteY230" fmla="*/ 735 h 10000"/>
                <a:gd name="connsiteX231" fmla="*/ 6344 w 9559"/>
                <a:gd name="connsiteY231" fmla="*/ 815 h 10000"/>
                <a:gd name="connsiteX232" fmla="*/ 6298 w 9559"/>
                <a:gd name="connsiteY232" fmla="*/ 805 h 10000"/>
                <a:gd name="connsiteX233" fmla="*/ 6193 w 9559"/>
                <a:gd name="connsiteY233" fmla="*/ 739 h 10000"/>
                <a:gd name="connsiteX234" fmla="*/ 6060 w 9559"/>
                <a:gd name="connsiteY234" fmla="*/ 705 h 10000"/>
                <a:gd name="connsiteX235" fmla="*/ 5916 w 9559"/>
                <a:gd name="connsiteY235" fmla="*/ 715 h 10000"/>
                <a:gd name="connsiteX236" fmla="*/ 5583 w 9559"/>
                <a:gd name="connsiteY236" fmla="*/ 866 h 10000"/>
                <a:gd name="connsiteX237" fmla="*/ 5495 w 9559"/>
                <a:gd name="connsiteY237" fmla="*/ 1017 h 10000"/>
                <a:gd name="connsiteX238" fmla="*/ 5244 w 9559"/>
                <a:gd name="connsiteY238" fmla="*/ 1153 h 10000"/>
                <a:gd name="connsiteX239" fmla="*/ 5198 w 9559"/>
                <a:gd name="connsiteY239" fmla="*/ 1222 h 10000"/>
                <a:gd name="connsiteX240" fmla="*/ 5329 w 9559"/>
                <a:gd name="connsiteY240" fmla="*/ 1344 h 10000"/>
                <a:gd name="connsiteX241" fmla="*/ 5343 w 9559"/>
                <a:gd name="connsiteY241" fmla="*/ 1412 h 10000"/>
                <a:gd name="connsiteX242" fmla="*/ 4656 w 9559"/>
                <a:gd name="connsiteY242" fmla="*/ 1813 h 10000"/>
                <a:gd name="connsiteX243" fmla="*/ 4445 w 9559"/>
                <a:gd name="connsiteY243" fmla="*/ 2070 h 10000"/>
                <a:gd name="connsiteX244" fmla="*/ 4217 w 9559"/>
                <a:gd name="connsiteY244" fmla="*/ 2135 h 10000"/>
                <a:gd name="connsiteX245" fmla="*/ 4073 w 9559"/>
                <a:gd name="connsiteY245" fmla="*/ 2131 h 10000"/>
                <a:gd name="connsiteX246" fmla="*/ 3986 w 9559"/>
                <a:gd name="connsiteY246" fmla="*/ 2153 h 10000"/>
                <a:gd name="connsiteX247" fmla="*/ 3748 w 9559"/>
                <a:gd name="connsiteY247" fmla="*/ 2793 h 10000"/>
                <a:gd name="connsiteX248" fmla="*/ 3198 w 9559"/>
                <a:gd name="connsiteY248" fmla="*/ 3166 h 10000"/>
                <a:gd name="connsiteX249" fmla="*/ 3202 w 9559"/>
                <a:gd name="connsiteY249" fmla="*/ 3225 h 10000"/>
                <a:gd name="connsiteX250" fmla="*/ 3446 w 9559"/>
                <a:gd name="connsiteY250" fmla="*/ 3392 h 10000"/>
                <a:gd name="connsiteX251" fmla="*/ 3367 w 9559"/>
                <a:gd name="connsiteY251" fmla="*/ 3573 h 10000"/>
                <a:gd name="connsiteX252" fmla="*/ 3224 w 9559"/>
                <a:gd name="connsiteY252" fmla="*/ 3640 h 10000"/>
                <a:gd name="connsiteX253" fmla="*/ 2798 w 9559"/>
                <a:gd name="connsiteY253" fmla="*/ 3595 h 10000"/>
                <a:gd name="connsiteX254" fmla="*/ 2504 w 9559"/>
                <a:gd name="connsiteY254" fmla="*/ 3620 h 10000"/>
                <a:gd name="connsiteX255" fmla="*/ 2267 w 9559"/>
                <a:gd name="connsiteY255" fmla="*/ 3673 h 10000"/>
                <a:gd name="connsiteX256" fmla="*/ 1886 w 9559"/>
                <a:gd name="connsiteY256" fmla="*/ 3840 h 10000"/>
                <a:gd name="connsiteX257" fmla="*/ 1683 w 9559"/>
                <a:gd name="connsiteY257" fmla="*/ 4042 h 10000"/>
                <a:gd name="connsiteX258" fmla="*/ 1701 w 9559"/>
                <a:gd name="connsiteY258" fmla="*/ 4154 h 10000"/>
                <a:gd name="connsiteX259" fmla="*/ 1771 w 9559"/>
                <a:gd name="connsiteY259" fmla="*/ 4241 h 10000"/>
                <a:gd name="connsiteX260" fmla="*/ 1825 w 9559"/>
                <a:gd name="connsiteY260" fmla="*/ 4276 h 10000"/>
                <a:gd name="connsiteX261" fmla="*/ 1725 w 9559"/>
                <a:gd name="connsiteY261" fmla="*/ 4331 h 10000"/>
                <a:gd name="connsiteX262" fmla="*/ 1510 w 9559"/>
                <a:gd name="connsiteY262" fmla="*/ 4710 h 10000"/>
                <a:gd name="connsiteX263" fmla="*/ 1551 w 9559"/>
                <a:gd name="connsiteY263" fmla="*/ 4732 h 10000"/>
                <a:gd name="connsiteX264" fmla="*/ 1583 w 9559"/>
                <a:gd name="connsiteY264" fmla="*/ 4828 h 10000"/>
                <a:gd name="connsiteX265" fmla="*/ 1482 w 9559"/>
                <a:gd name="connsiteY265" fmla="*/ 5227 h 10000"/>
                <a:gd name="connsiteX266" fmla="*/ 1583 w 9559"/>
                <a:gd name="connsiteY266" fmla="*/ 5329 h 10000"/>
                <a:gd name="connsiteX267" fmla="*/ 1857 w 9559"/>
                <a:gd name="connsiteY267" fmla="*/ 5441 h 10000"/>
                <a:gd name="connsiteX268" fmla="*/ 1871 w 9559"/>
                <a:gd name="connsiteY268" fmla="*/ 5578 h 10000"/>
                <a:gd name="connsiteX269" fmla="*/ 1753 w 9559"/>
                <a:gd name="connsiteY269" fmla="*/ 5690 h 10000"/>
                <a:gd name="connsiteX270" fmla="*/ 1583 w 9559"/>
                <a:gd name="connsiteY270" fmla="*/ 5759 h 10000"/>
                <a:gd name="connsiteX271" fmla="*/ 1357 w 9559"/>
                <a:gd name="connsiteY271" fmla="*/ 5787 h 10000"/>
                <a:gd name="connsiteX272" fmla="*/ 1299 w 9559"/>
                <a:gd name="connsiteY272" fmla="*/ 5826 h 10000"/>
                <a:gd name="connsiteX273" fmla="*/ 1430 w 9559"/>
                <a:gd name="connsiteY273" fmla="*/ 5920 h 10000"/>
                <a:gd name="connsiteX274" fmla="*/ 1506 w 9559"/>
                <a:gd name="connsiteY274" fmla="*/ 6142 h 10000"/>
                <a:gd name="connsiteX275" fmla="*/ 1335 w 9559"/>
                <a:gd name="connsiteY275" fmla="*/ 6333 h 10000"/>
                <a:gd name="connsiteX276" fmla="*/ 1394 w 9559"/>
                <a:gd name="connsiteY276" fmla="*/ 6392 h 10000"/>
                <a:gd name="connsiteX277" fmla="*/ 1340 w 9559"/>
                <a:gd name="connsiteY277" fmla="*/ 6492 h 10000"/>
                <a:gd name="connsiteX278" fmla="*/ 1230 w 9559"/>
                <a:gd name="connsiteY278" fmla="*/ 6561 h 10000"/>
                <a:gd name="connsiteX279" fmla="*/ 798 w 9559"/>
                <a:gd name="connsiteY279" fmla="*/ 6614 h 10000"/>
                <a:gd name="connsiteX280" fmla="*/ 771 w 9559"/>
                <a:gd name="connsiteY280" fmla="*/ 6706 h 10000"/>
                <a:gd name="connsiteX281" fmla="*/ 538 w 9559"/>
                <a:gd name="connsiteY281" fmla="*/ 6843 h 10000"/>
                <a:gd name="connsiteX282" fmla="*/ 569 w 9559"/>
                <a:gd name="connsiteY282" fmla="*/ 7040 h 10000"/>
                <a:gd name="connsiteX283" fmla="*/ 372 w 9559"/>
                <a:gd name="connsiteY283" fmla="*/ 7293 h 10000"/>
                <a:gd name="connsiteX284" fmla="*/ 238 w 9559"/>
                <a:gd name="connsiteY284" fmla="*/ 7323 h 10000"/>
                <a:gd name="connsiteX285" fmla="*/ 184 w 9559"/>
                <a:gd name="connsiteY285" fmla="*/ 7262 h 10000"/>
                <a:gd name="connsiteX286" fmla="*/ 115 w 9559"/>
                <a:gd name="connsiteY286" fmla="*/ 7354 h 10000"/>
                <a:gd name="connsiteX287" fmla="*/ 160 w 9559"/>
                <a:gd name="connsiteY287" fmla="*/ 7197 h 10000"/>
                <a:gd name="connsiteX288" fmla="*/ 132 w 9559"/>
                <a:gd name="connsiteY288" fmla="*/ 7166 h 10000"/>
                <a:gd name="connsiteX0" fmla="*/ 138 w 9775"/>
                <a:gd name="connsiteY0" fmla="*/ 7166 h 10000"/>
                <a:gd name="connsiteX1" fmla="*/ 0 w 9775"/>
                <a:gd name="connsiteY1" fmla="*/ 7248 h 10000"/>
                <a:gd name="connsiteX2" fmla="*/ 0 w 9775"/>
                <a:gd name="connsiteY2" fmla="*/ 7651 h 10000"/>
                <a:gd name="connsiteX3" fmla="*/ 76 w 9775"/>
                <a:gd name="connsiteY3" fmla="*/ 7663 h 10000"/>
                <a:gd name="connsiteX4" fmla="*/ 94 w 9775"/>
                <a:gd name="connsiteY4" fmla="*/ 7694 h 10000"/>
                <a:gd name="connsiteX5" fmla="*/ 90 w 9775"/>
                <a:gd name="connsiteY5" fmla="*/ 7749 h 10000"/>
                <a:gd name="connsiteX6" fmla="*/ 62 w 9775"/>
                <a:gd name="connsiteY6" fmla="*/ 7773 h 10000"/>
                <a:gd name="connsiteX7" fmla="*/ 178 w 9775"/>
                <a:gd name="connsiteY7" fmla="*/ 7727 h 10000"/>
                <a:gd name="connsiteX8" fmla="*/ 227 w 9775"/>
                <a:gd name="connsiteY8" fmla="*/ 7680 h 10000"/>
                <a:gd name="connsiteX9" fmla="*/ 287 w 9775"/>
                <a:gd name="connsiteY9" fmla="*/ 7712 h 10000"/>
                <a:gd name="connsiteX10" fmla="*/ 221 w 9775"/>
                <a:gd name="connsiteY10" fmla="*/ 7778 h 10000"/>
                <a:gd name="connsiteX11" fmla="*/ 292 w 9775"/>
                <a:gd name="connsiteY11" fmla="*/ 7780 h 10000"/>
                <a:gd name="connsiteX12" fmla="*/ 326 w 9775"/>
                <a:gd name="connsiteY12" fmla="*/ 7796 h 10000"/>
                <a:gd name="connsiteX13" fmla="*/ 235 w 9775"/>
                <a:gd name="connsiteY13" fmla="*/ 7818 h 10000"/>
                <a:gd name="connsiteX14" fmla="*/ 90 w 9775"/>
                <a:gd name="connsiteY14" fmla="*/ 7886 h 10000"/>
                <a:gd name="connsiteX15" fmla="*/ 347 w 9775"/>
                <a:gd name="connsiteY15" fmla="*/ 7938 h 10000"/>
                <a:gd name="connsiteX16" fmla="*/ 379 w 9775"/>
                <a:gd name="connsiteY16" fmla="*/ 8014 h 10000"/>
                <a:gd name="connsiteX17" fmla="*/ 292 w 9775"/>
                <a:gd name="connsiteY17" fmla="*/ 8126 h 10000"/>
                <a:gd name="connsiteX18" fmla="*/ 480 w 9775"/>
                <a:gd name="connsiteY18" fmla="*/ 8118 h 10000"/>
                <a:gd name="connsiteX19" fmla="*/ 494 w 9775"/>
                <a:gd name="connsiteY19" fmla="*/ 8203 h 10000"/>
                <a:gd name="connsiteX20" fmla="*/ 369 w 9775"/>
                <a:gd name="connsiteY20" fmla="*/ 8260 h 10000"/>
                <a:gd name="connsiteX21" fmla="*/ 389 w 9775"/>
                <a:gd name="connsiteY21" fmla="*/ 8370 h 10000"/>
                <a:gd name="connsiteX22" fmla="*/ 341 w 9775"/>
                <a:gd name="connsiteY22" fmla="*/ 8456 h 10000"/>
                <a:gd name="connsiteX23" fmla="*/ 489 w 9775"/>
                <a:gd name="connsiteY23" fmla="*/ 8464 h 10000"/>
                <a:gd name="connsiteX24" fmla="*/ 634 w 9775"/>
                <a:gd name="connsiteY24" fmla="*/ 8792 h 10000"/>
                <a:gd name="connsiteX25" fmla="*/ 801 w 9775"/>
                <a:gd name="connsiteY25" fmla="*/ 8876 h 10000"/>
                <a:gd name="connsiteX26" fmla="*/ 874 w 9775"/>
                <a:gd name="connsiteY26" fmla="*/ 8965 h 10000"/>
                <a:gd name="connsiteX27" fmla="*/ 1056 w 9775"/>
                <a:gd name="connsiteY27" fmla="*/ 9030 h 10000"/>
                <a:gd name="connsiteX28" fmla="*/ 1172 w 9775"/>
                <a:gd name="connsiteY28" fmla="*/ 9112 h 10000"/>
                <a:gd name="connsiteX29" fmla="*/ 1157 w 9775"/>
                <a:gd name="connsiteY29" fmla="*/ 9171 h 10000"/>
                <a:gd name="connsiteX30" fmla="*/ 1042 w 9775"/>
                <a:gd name="connsiteY30" fmla="*/ 9193 h 10000"/>
                <a:gd name="connsiteX31" fmla="*/ 916 w 9775"/>
                <a:gd name="connsiteY31" fmla="*/ 9179 h 10000"/>
                <a:gd name="connsiteX32" fmla="*/ 878 w 9775"/>
                <a:gd name="connsiteY32" fmla="*/ 9204 h 10000"/>
                <a:gd name="connsiteX33" fmla="*/ 974 w 9775"/>
                <a:gd name="connsiteY33" fmla="*/ 9332 h 10000"/>
                <a:gd name="connsiteX34" fmla="*/ 839 w 9775"/>
                <a:gd name="connsiteY34" fmla="*/ 9322 h 10000"/>
                <a:gd name="connsiteX35" fmla="*/ 725 w 9775"/>
                <a:gd name="connsiteY35" fmla="*/ 9291 h 10000"/>
                <a:gd name="connsiteX36" fmla="*/ 704 w 9775"/>
                <a:gd name="connsiteY36" fmla="*/ 9338 h 10000"/>
                <a:gd name="connsiteX37" fmla="*/ 1084 w 9775"/>
                <a:gd name="connsiteY37" fmla="*/ 9776 h 10000"/>
                <a:gd name="connsiteX38" fmla="*/ 1023 w 9775"/>
                <a:gd name="connsiteY38" fmla="*/ 9817 h 10000"/>
                <a:gd name="connsiteX39" fmla="*/ 980 w 9775"/>
                <a:gd name="connsiteY39" fmla="*/ 9902 h 10000"/>
                <a:gd name="connsiteX40" fmla="*/ 927 w 9775"/>
                <a:gd name="connsiteY40" fmla="*/ 9908 h 10000"/>
                <a:gd name="connsiteX41" fmla="*/ 892 w 9775"/>
                <a:gd name="connsiteY41" fmla="*/ 9945 h 10000"/>
                <a:gd name="connsiteX42" fmla="*/ 1121 w 9775"/>
                <a:gd name="connsiteY42" fmla="*/ 9949 h 10000"/>
                <a:gd name="connsiteX43" fmla="*/ 1324 w 9775"/>
                <a:gd name="connsiteY43" fmla="*/ 9986 h 10000"/>
                <a:gd name="connsiteX44" fmla="*/ 1660 w 9775"/>
                <a:gd name="connsiteY44" fmla="*/ 9947 h 10000"/>
                <a:gd name="connsiteX45" fmla="*/ 1963 w 9775"/>
                <a:gd name="connsiteY45" fmla="*/ 9953 h 10000"/>
                <a:gd name="connsiteX46" fmla="*/ 2140 w 9775"/>
                <a:gd name="connsiteY46" fmla="*/ 10000 h 10000"/>
                <a:gd name="connsiteX47" fmla="*/ 2238 w 9775"/>
                <a:gd name="connsiteY47" fmla="*/ 9969 h 10000"/>
                <a:gd name="connsiteX48" fmla="*/ 2332 w 9775"/>
                <a:gd name="connsiteY48" fmla="*/ 9868 h 10000"/>
                <a:gd name="connsiteX49" fmla="*/ 2308 w 9775"/>
                <a:gd name="connsiteY49" fmla="*/ 9703 h 10000"/>
                <a:gd name="connsiteX50" fmla="*/ 2538 w 9775"/>
                <a:gd name="connsiteY50" fmla="*/ 9517 h 10000"/>
                <a:gd name="connsiteX51" fmla="*/ 2706 w 9775"/>
                <a:gd name="connsiteY51" fmla="*/ 9546 h 10000"/>
                <a:gd name="connsiteX52" fmla="*/ 2803 w 9775"/>
                <a:gd name="connsiteY52" fmla="*/ 9472 h 10000"/>
                <a:gd name="connsiteX53" fmla="*/ 2990 w 9775"/>
                <a:gd name="connsiteY53" fmla="*/ 9430 h 10000"/>
                <a:gd name="connsiteX54" fmla="*/ 3244 w 9775"/>
                <a:gd name="connsiteY54" fmla="*/ 9440 h 10000"/>
                <a:gd name="connsiteX55" fmla="*/ 3398 w 9775"/>
                <a:gd name="connsiteY55" fmla="*/ 9470 h 10000"/>
                <a:gd name="connsiteX56" fmla="*/ 3601 w 9775"/>
                <a:gd name="connsiteY56" fmla="*/ 9456 h 10000"/>
                <a:gd name="connsiteX57" fmla="*/ 3806 w 9775"/>
                <a:gd name="connsiteY57" fmla="*/ 9489 h 10000"/>
                <a:gd name="connsiteX58" fmla="*/ 4012 w 9775"/>
                <a:gd name="connsiteY58" fmla="*/ 9493 h 10000"/>
                <a:gd name="connsiteX59" fmla="*/ 4472 w 9775"/>
                <a:gd name="connsiteY59" fmla="*/ 9061 h 10000"/>
                <a:gd name="connsiteX60" fmla="*/ 4588 w 9775"/>
                <a:gd name="connsiteY60" fmla="*/ 8711 h 10000"/>
                <a:gd name="connsiteX61" fmla="*/ 4775 w 9775"/>
                <a:gd name="connsiteY61" fmla="*/ 8554 h 10000"/>
                <a:gd name="connsiteX62" fmla="*/ 4775 w 9775"/>
                <a:gd name="connsiteY62" fmla="*/ 8472 h 10000"/>
                <a:gd name="connsiteX63" fmla="*/ 4708 w 9775"/>
                <a:gd name="connsiteY63" fmla="*/ 8425 h 10000"/>
                <a:gd name="connsiteX64" fmla="*/ 4817 w 9775"/>
                <a:gd name="connsiteY64" fmla="*/ 8352 h 10000"/>
                <a:gd name="connsiteX65" fmla="*/ 4798 w 9775"/>
                <a:gd name="connsiteY65" fmla="*/ 8289 h 10000"/>
                <a:gd name="connsiteX66" fmla="*/ 4722 w 9775"/>
                <a:gd name="connsiteY66" fmla="*/ 8236 h 10000"/>
                <a:gd name="connsiteX67" fmla="*/ 4708 w 9775"/>
                <a:gd name="connsiteY67" fmla="*/ 8199 h 10000"/>
                <a:gd name="connsiteX68" fmla="*/ 4726 w 9775"/>
                <a:gd name="connsiteY68" fmla="*/ 8169 h 10000"/>
                <a:gd name="connsiteX69" fmla="*/ 4828 w 9775"/>
                <a:gd name="connsiteY69" fmla="*/ 8193 h 10000"/>
                <a:gd name="connsiteX70" fmla="*/ 4908 w 9775"/>
                <a:gd name="connsiteY70" fmla="*/ 8191 h 10000"/>
                <a:gd name="connsiteX71" fmla="*/ 4865 w 9775"/>
                <a:gd name="connsiteY71" fmla="*/ 8140 h 10000"/>
                <a:gd name="connsiteX72" fmla="*/ 4879 w 9775"/>
                <a:gd name="connsiteY72" fmla="*/ 8112 h 10000"/>
                <a:gd name="connsiteX73" fmla="*/ 4938 w 9775"/>
                <a:gd name="connsiteY73" fmla="*/ 8069 h 10000"/>
                <a:gd name="connsiteX74" fmla="*/ 4928 w 9775"/>
                <a:gd name="connsiteY74" fmla="*/ 8034 h 10000"/>
                <a:gd name="connsiteX75" fmla="*/ 4982 w 9775"/>
                <a:gd name="connsiteY75" fmla="*/ 7916 h 10000"/>
                <a:gd name="connsiteX76" fmla="*/ 4968 w 9775"/>
                <a:gd name="connsiteY76" fmla="*/ 7881 h 10000"/>
                <a:gd name="connsiteX77" fmla="*/ 4689 w 9775"/>
                <a:gd name="connsiteY77" fmla="*/ 7792 h 10000"/>
                <a:gd name="connsiteX78" fmla="*/ 4726 w 9775"/>
                <a:gd name="connsiteY78" fmla="*/ 7788 h 10000"/>
                <a:gd name="connsiteX79" fmla="*/ 4875 w 9775"/>
                <a:gd name="connsiteY79" fmla="*/ 7812 h 10000"/>
                <a:gd name="connsiteX80" fmla="*/ 5035 w 9775"/>
                <a:gd name="connsiteY80" fmla="*/ 7804 h 10000"/>
                <a:gd name="connsiteX81" fmla="*/ 5082 w 9775"/>
                <a:gd name="connsiteY81" fmla="*/ 7771 h 10000"/>
                <a:gd name="connsiteX82" fmla="*/ 4928 w 9775"/>
                <a:gd name="connsiteY82" fmla="*/ 7710 h 10000"/>
                <a:gd name="connsiteX83" fmla="*/ 4468 w 9775"/>
                <a:gd name="connsiteY83" fmla="*/ 7670 h 10000"/>
                <a:gd name="connsiteX84" fmla="*/ 4499 w 9775"/>
                <a:gd name="connsiteY84" fmla="*/ 7651 h 10000"/>
                <a:gd name="connsiteX85" fmla="*/ 4875 w 9775"/>
                <a:gd name="connsiteY85" fmla="*/ 7639 h 10000"/>
                <a:gd name="connsiteX86" fmla="*/ 5082 w 9775"/>
                <a:gd name="connsiteY86" fmla="*/ 7676 h 10000"/>
                <a:gd name="connsiteX87" fmla="*/ 5201 w 9775"/>
                <a:gd name="connsiteY87" fmla="*/ 7651 h 10000"/>
                <a:gd name="connsiteX88" fmla="*/ 5245 w 9775"/>
                <a:gd name="connsiteY88" fmla="*/ 7588 h 10000"/>
                <a:gd name="connsiteX89" fmla="*/ 5461 w 9775"/>
                <a:gd name="connsiteY89" fmla="*/ 7588 h 10000"/>
                <a:gd name="connsiteX90" fmla="*/ 5754 w 9775"/>
                <a:gd name="connsiteY90" fmla="*/ 7462 h 10000"/>
                <a:gd name="connsiteX91" fmla="*/ 5764 w 9775"/>
                <a:gd name="connsiteY91" fmla="*/ 7378 h 10000"/>
                <a:gd name="connsiteX92" fmla="*/ 5888 w 9775"/>
                <a:gd name="connsiteY92" fmla="*/ 7397 h 10000"/>
                <a:gd name="connsiteX93" fmla="*/ 5883 w 9775"/>
                <a:gd name="connsiteY93" fmla="*/ 7482 h 10000"/>
                <a:gd name="connsiteX94" fmla="*/ 6080 w 9775"/>
                <a:gd name="connsiteY94" fmla="*/ 7476 h 10000"/>
                <a:gd name="connsiteX95" fmla="*/ 6209 w 9775"/>
                <a:gd name="connsiteY95" fmla="*/ 7388 h 10000"/>
                <a:gd name="connsiteX96" fmla="*/ 6450 w 9775"/>
                <a:gd name="connsiteY96" fmla="*/ 7309 h 10000"/>
                <a:gd name="connsiteX97" fmla="*/ 6411 w 9775"/>
                <a:gd name="connsiteY97" fmla="*/ 7219 h 10000"/>
                <a:gd name="connsiteX98" fmla="*/ 6483 w 9775"/>
                <a:gd name="connsiteY98" fmla="*/ 7254 h 10000"/>
                <a:gd name="connsiteX99" fmla="*/ 6593 w 9775"/>
                <a:gd name="connsiteY99" fmla="*/ 7254 h 10000"/>
                <a:gd name="connsiteX100" fmla="*/ 6593 w 9775"/>
                <a:gd name="connsiteY100" fmla="*/ 7213 h 10000"/>
                <a:gd name="connsiteX101" fmla="*/ 6695 w 9775"/>
                <a:gd name="connsiteY101" fmla="*/ 7181 h 10000"/>
                <a:gd name="connsiteX102" fmla="*/ 6681 w 9775"/>
                <a:gd name="connsiteY102" fmla="*/ 7148 h 10000"/>
                <a:gd name="connsiteX103" fmla="*/ 5817 w 9775"/>
                <a:gd name="connsiteY103" fmla="*/ 7215 h 10000"/>
                <a:gd name="connsiteX104" fmla="*/ 5615 w 9775"/>
                <a:gd name="connsiteY104" fmla="*/ 7195 h 10000"/>
                <a:gd name="connsiteX105" fmla="*/ 5533 w 9775"/>
                <a:gd name="connsiteY105" fmla="*/ 7219 h 10000"/>
                <a:gd name="connsiteX106" fmla="*/ 5505 w 9775"/>
                <a:gd name="connsiteY106" fmla="*/ 7173 h 10000"/>
                <a:gd name="connsiteX107" fmla="*/ 5409 w 9775"/>
                <a:gd name="connsiteY107" fmla="*/ 7132 h 10000"/>
                <a:gd name="connsiteX108" fmla="*/ 5024 w 9775"/>
                <a:gd name="connsiteY108" fmla="*/ 7052 h 10000"/>
                <a:gd name="connsiteX109" fmla="*/ 4798 w 9775"/>
                <a:gd name="connsiteY109" fmla="*/ 7065 h 10000"/>
                <a:gd name="connsiteX110" fmla="*/ 4708 w 9775"/>
                <a:gd name="connsiteY110" fmla="*/ 7042 h 10000"/>
                <a:gd name="connsiteX111" fmla="*/ 4803 w 9775"/>
                <a:gd name="connsiteY111" fmla="*/ 7022 h 10000"/>
                <a:gd name="connsiteX112" fmla="*/ 4875 w 9775"/>
                <a:gd name="connsiteY112" fmla="*/ 6979 h 10000"/>
                <a:gd name="connsiteX113" fmla="*/ 4982 w 9775"/>
                <a:gd name="connsiteY113" fmla="*/ 6993 h 10000"/>
                <a:gd name="connsiteX114" fmla="*/ 5110 w 9775"/>
                <a:gd name="connsiteY114" fmla="*/ 6981 h 10000"/>
                <a:gd name="connsiteX115" fmla="*/ 5303 w 9775"/>
                <a:gd name="connsiteY115" fmla="*/ 6995 h 10000"/>
                <a:gd name="connsiteX116" fmla="*/ 5326 w 9775"/>
                <a:gd name="connsiteY116" fmla="*/ 6989 h 10000"/>
                <a:gd name="connsiteX117" fmla="*/ 5475 w 9775"/>
                <a:gd name="connsiteY117" fmla="*/ 7056 h 10000"/>
                <a:gd name="connsiteX118" fmla="*/ 5585 w 9775"/>
                <a:gd name="connsiteY118" fmla="*/ 7032 h 10000"/>
                <a:gd name="connsiteX119" fmla="*/ 5594 w 9775"/>
                <a:gd name="connsiteY119" fmla="*/ 7010 h 10000"/>
                <a:gd name="connsiteX120" fmla="*/ 5696 w 9775"/>
                <a:gd name="connsiteY120" fmla="*/ 7048 h 10000"/>
                <a:gd name="connsiteX121" fmla="*/ 5830 w 9775"/>
                <a:gd name="connsiteY121" fmla="*/ 7069 h 10000"/>
                <a:gd name="connsiteX122" fmla="*/ 5883 w 9775"/>
                <a:gd name="connsiteY122" fmla="*/ 7030 h 10000"/>
                <a:gd name="connsiteX123" fmla="*/ 5926 w 9775"/>
                <a:gd name="connsiteY123" fmla="*/ 7052 h 10000"/>
                <a:gd name="connsiteX124" fmla="*/ 5988 w 9775"/>
                <a:gd name="connsiteY124" fmla="*/ 7126 h 10000"/>
                <a:gd name="connsiteX125" fmla="*/ 6118 w 9775"/>
                <a:gd name="connsiteY125" fmla="*/ 7144 h 10000"/>
                <a:gd name="connsiteX126" fmla="*/ 6646 w 9775"/>
                <a:gd name="connsiteY126" fmla="*/ 7034 h 10000"/>
                <a:gd name="connsiteX127" fmla="*/ 6906 w 9775"/>
                <a:gd name="connsiteY127" fmla="*/ 6879 h 10000"/>
                <a:gd name="connsiteX128" fmla="*/ 6967 w 9775"/>
                <a:gd name="connsiteY128" fmla="*/ 6765 h 10000"/>
                <a:gd name="connsiteX129" fmla="*/ 6873 w 9775"/>
                <a:gd name="connsiteY129" fmla="*/ 6663 h 10000"/>
                <a:gd name="connsiteX130" fmla="*/ 6675 w 9775"/>
                <a:gd name="connsiteY130" fmla="*/ 6602 h 10000"/>
                <a:gd name="connsiteX131" fmla="*/ 6535 w 9775"/>
                <a:gd name="connsiteY131" fmla="*/ 6502 h 10000"/>
                <a:gd name="connsiteX132" fmla="*/ 6666 w 9775"/>
                <a:gd name="connsiteY132" fmla="*/ 6498 h 10000"/>
                <a:gd name="connsiteX133" fmla="*/ 6657 w 9775"/>
                <a:gd name="connsiteY133" fmla="*/ 6474 h 10000"/>
                <a:gd name="connsiteX134" fmla="*/ 6317 w 9775"/>
                <a:gd name="connsiteY134" fmla="*/ 6403 h 10000"/>
                <a:gd name="connsiteX135" fmla="*/ 6303 w 9775"/>
                <a:gd name="connsiteY135" fmla="*/ 6339 h 10000"/>
                <a:gd name="connsiteX136" fmla="*/ 6237 w 9775"/>
                <a:gd name="connsiteY136" fmla="*/ 6272 h 10000"/>
                <a:gd name="connsiteX137" fmla="*/ 5969 w 9775"/>
                <a:gd name="connsiteY137" fmla="*/ 6284 h 10000"/>
                <a:gd name="connsiteX138" fmla="*/ 5873 w 9775"/>
                <a:gd name="connsiteY138" fmla="*/ 6213 h 10000"/>
                <a:gd name="connsiteX139" fmla="*/ 5817 w 9775"/>
                <a:gd name="connsiteY139" fmla="*/ 6209 h 10000"/>
                <a:gd name="connsiteX140" fmla="*/ 5817 w 9775"/>
                <a:gd name="connsiteY140" fmla="*/ 6238 h 10000"/>
                <a:gd name="connsiteX141" fmla="*/ 5696 w 9775"/>
                <a:gd name="connsiteY141" fmla="*/ 6358 h 10000"/>
                <a:gd name="connsiteX142" fmla="*/ 5565 w 9775"/>
                <a:gd name="connsiteY142" fmla="*/ 6429 h 10000"/>
                <a:gd name="connsiteX143" fmla="*/ 5157 w 9775"/>
                <a:gd name="connsiteY143" fmla="*/ 6551 h 10000"/>
                <a:gd name="connsiteX144" fmla="*/ 5014 w 9775"/>
                <a:gd name="connsiteY144" fmla="*/ 6547 h 10000"/>
                <a:gd name="connsiteX145" fmla="*/ 4817 w 9775"/>
                <a:gd name="connsiteY145" fmla="*/ 6565 h 10000"/>
                <a:gd name="connsiteX146" fmla="*/ 4708 w 9775"/>
                <a:gd name="connsiteY146" fmla="*/ 6547 h 10000"/>
                <a:gd name="connsiteX147" fmla="*/ 4851 w 9775"/>
                <a:gd name="connsiteY147" fmla="*/ 6513 h 10000"/>
                <a:gd name="connsiteX148" fmla="*/ 5039 w 9775"/>
                <a:gd name="connsiteY148" fmla="*/ 6498 h 10000"/>
                <a:gd name="connsiteX149" fmla="*/ 5193 w 9775"/>
                <a:gd name="connsiteY149" fmla="*/ 6441 h 10000"/>
                <a:gd name="connsiteX150" fmla="*/ 5345 w 9775"/>
                <a:gd name="connsiteY150" fmla="*/ 6415 h 10000"/>
                <a:gd name="connsiteX151" fmla="*/ 5629 w 9775"/>
                <a:gd name="connsiteY151" fmla="*/ 6317 h 10000"/>
                <a:gd name="connsiteX152" fmla="*/ 5683 w 9775"/>
                <a:gd name="connsiteY152" fmla="*/ 6252 h 10000"/>
                <a:gd name="connsiteX153" fmla="*/ 5687 w 9775"/>
                <a:gd name="connsiteY153" fmla="*/ 6168 h 10000"/>
                <a:gd name="connsiteX154" fmla="*/ 5557 w 9775"/>
                <a:gd name="connsiteY154" fmla="*/ 6154 h 10000"/>
                <a:gd name="connsiteX155" fmla="*/ 5615 w 9775"/>
                <a:gd name="connsiteY155" fmla="*/ 6103 h 10000"/>
                <a:gd name="connsiteX156" fmla="*/ 5633 w 9775"/>
                <a:gd name="connsiteY156" fmla="*/ 6038 h 10000"/>
                <a:gd name="connsiteX157" fmla="*/ 5579 w 9775"/>
                <a:gd name="connsiteY157" fmla="*/ 5977 h 10000"/>
                <a:gd name="connsiteX158" fmla="*/ 5547 w 9775"/>
                <a:gd name="connsiteY158" fmla="*/ 5533 h 10000"/>
                <a:gd name="connsiteX159" fmla="*/ 5625 w 9775"/>
                <a:gd name="connsiteY159" fmla="*/ 5437 h 10000"/>
                <a:gd name="connsiteX160" fmla="*/ 5605 w 9775"/>
                <a:gd name="connsiteY160" fmla="*/ 5398 h 10000"/>
                <a:gd name="connsiteX161" fmla="*/ 5830 w 9775"/>
                <a:gd name="connsiteY161" fmla="*/ 5455 h 10000"/>
                <a:gd name="connsiteX162" fmla="*/ 5845 w 9775"/>
                <a:gd name="connsiteY162" fmla="*/ 5402 h 10000"/>
                <a:gd name="connsiteX163" fmla="*/ 5797 w 9775"/>
                <a:gd name="connsiteY163" fmla="*/ 5264 h 10000"/>
                <a:gd name="connsiteX164" fmla="*/ 5959 w 9775"/>
                <a:gd name="connsiteY164" fmla="*/ 5019 h 10000"/>
                <a:gd name="connsiteX165" fmla="*/ 5859 w 9775"/>
                <a:gd name="connsiteY165" fmla="*/ 4960 h 10000"/>
                <a:gd name="connsiteX166" fmla="*/ 5821 w 9775"/>
                <a:gd name="connsiteY166" fmla="*/ 4905 h 10000"/>
                <a:gd name="connsiteX167" fmla="*/ 5834 w 9775"/>
                <a:gd name="connsiteY167" fmla="*/ 4816 h 10000"/>
                <a:gd name="connsiteX168" fmla="*/ 6072 w 9775"/>
                <a:gd name="connsiteY168" fmla="*/ 4875 h 10000"/>
                <a:gd name="connsiteX169" fmla="*/ 6080 w 9775"/>
                <a:gd name="connsiteY169" fmla="*/ 4858 h 10000"/>
                <a:gd name="connsiteX170" fmla="*/ 6146 w 9775"/>
                <a:gd name="connsiteY170" fmla="*/ 4842 h 10000"/>
                <a:gd name="connsiteX171" fmla="*/ 6237 w 9775"/>
                <a:gd name="connsiteY171" fmla="*/ 4785 h 10000"/>
                <a:gd name="connsiteX172" fmla="*/ 6252 w 9775"/>
                <a:gd name="connsiteY172" fmla="*/ 4769 h 10000"/>
                <a:gd name="connsiteX173" fmla="*/ 6233 w 9775"/>
                <a:gd name="connsiteY173" fmla="*/ 4748 h 10000"/>
                <a:gd name="connsiteX174" fmla="*/ 6281 w 9775"/>
                <a:gd name="connsiteY174" fmla="*/ 4647 h 10000"/>
                <a:gd name="connsiteX175" fmla="*/ 6223 w 9775"/>
                <a:gd name="connsiteY175" fmla="*/ 4581 h 10000"/>
                <a:gd name="connsiteX176" fmla="*/ 6233 w 9775"/>
                <a:gd name="connsiteY176" fmla="*/ 4528 h 10000"/>
                <a:gd name="connsiteX177" fmla="*/ 6266 w 9775"/>
                <a:gd name="connsiteY177" fmla="*/ 4590 h 10000"/>
                <a:gd name="connsiteX178" fmla="*/ 6396 w 9775"/>
                <a:gd name="connsiteY178" fmla="*/ 4636 h 10000"/>
                <a:gd name="connsiteX179" fmla="*/ 6450 w 9775"/>
                <a:gd name="connsiteY179" fmla="*/ 4630 h 10000"/>
                <a:gd name="connsiteX180" fmla="*/ 6535 w 9775"/>
                <a:gd name="connsiteY180" fmla="*/ 4569 h 10000"/>
                <a:gd name="connsiteX181" fmla="*/ 6627 w 9775"/>
                <a:gd name="connsiteY181" fmla="*/ 4594 h 10000"/>
                <a:gd name="connsiteX182" fmla="*/ 6652 w 9775"/>
                <a:gd name="connsiteY182" fmla="*/ 4545 h 10000"/>
                <a:gd name="connsiteX183" fmla="*/ 6714 w 9775"/>
                <a:gd name="connsiteY183" fmla="*/ 4512 h 10000"/>
                <a:gd name="connsiteX184" fmla="*/ 6545 w 9775"/>
                <a:gd name="connsiteY184" fmla="*/ 4477 h 10000"/>
                <a:gd name="connsiteX185" fmla="*/ 6666 w 9775"/>
                <a:gd name="connsiteY185" fmla="*/ 4484 h 10000"/>
                <a:gd name="connsiteX186" fmla="*/ 6789 w 9775"/>
                <a:gd name="connsiteY186" fmla="*/ 4447 h 10000"/>
                <a:gd name="connsiteX187" fmla="*/ 6785 w 9775"/>
                <a:gd name="connsiteY187" fmla="*/ 4422 h 10000"/>
                <a:gd name="connsiteX188" fmla="*/ 6901 w 9775"/>
                <a:gd name="connsiteY188" fmla="*/ 4398 h 10000"/>
                <a:gd name="connsiteX189" fmla="*/ 6911 w 9775"/>
                <a:gd name="connsiteY189" fmla="*/ 4337 h 10000"/>
                <a:gd name="connsiteX190" fmla="*/ 7002 w 9775"/>
                <a:gd name="connsiteY190" fmla="*/ 4325 h 10000"/>
                <a:gd name="connsiteX191" fmla="*/ 7010 w 9775"/>
                <a:gd name="connsiteY191" fmla="*/ 4253 h 10000"/>
                <a:gd name="connsiteX192" fmla="*/ 7106 w 9775"/>
                <a:gd name="connsiteY192" fmla="*/ 4245 h 10000"/>
                <a:gd name="connsiteX193" fmla="*/ 7255 w 9775"/>
                <a:gd name="connsiteY193" fmla="*/ 4260 h 10000"/>
                <a:gd name="connsiteX194" fmla="*/ 7418 w 9775"/>
                <a:gd name="connsiteY194" fmla="*/ 4202 h 10000"/>
                <a:gd name="connsiteX195" fmla="*/ 7476 w 9775"/>
                <a:gd name="connsiteY195" fmla="*/ 4137 h 10000"/>
                <a:gd name="connsiteX196" fmla="*/ 7678 w 9775"/>
                <a:gd name="connsiteY196" fmla="*/ 4070 h 10000"/>
                <a:gd name="connsiteX197" fmla="*/ 7778 w 9775"/>
                <a:gd name="connsiteY197" fmla="*/ 4111 h 10000"/>
                <a:gd name="connsiteX198" fmla="*/ 7932 w 9775"/>
                <a:gd name="connsiteY198" fmla="*/ 4066 h 10000"/>
                <a:gd name="connsiteX199" fmla="*/ 7969 w 9775"/>
                <a:gd name="connsiteY199" fmla="*/ 4009 h 10000"/>
                <a:gd name="connsiteX200" fmla="*/ 8086 w 9775"/>
                <a:gd name="connsiteY200" fmla="*/ 3970 h 10000"/>
                <a:gd name="connsiteX201" fmla="*/ 8186 w 9775"/>
                <a:gd name="connsiteY201" fmla="*/ 3987 h 10000"/>
                <a:gd name="connsiteX202" fmla="*/ 8248 w 9775"/>
                <a:gd name="connsiteY202" fmla="*/ 3958 h 10000"/>
                <a:gd name="connsiteX203" fmla="*/ 8421 w 9775"/>
                <a:gd name="connsiteY203" fmla="*/ 3917 h 10000"/>
                <a:gd name="connsiteX204" fmla="*/ 8493 w 9775"/>
                <a:gd name="connsiteY204" fmla="*/ 3864 h 10000"/>
                <a:gd name="connsiteX205" fmla="*/ 8590 w 9775"/>
                <a:gd name="connsiteY205" fmla="*/ 3842 h 10000"/>
                <a:gd name="connsiteX206" fmla="*/ 9122 w 9775"/>
                <a:gd name="connsiteY206" fmla="*/ 3522 h 10000"/>
                <a:gd name="connsiteX207" fmla="*/ 9775 w 9775"/>
                <a:gd name="connsiteY207" fmla="*/ 440 h 10000"/>
                <a:gd name="connsiteX208" fmla="*/ 9358 w 9775"/>
                <a:gd name="connsiteY208" fmla="*/ 389 h 10000"/>
                <a:gd name="connsiteX209" fmla="*/ 8493 w 9775"/>
                <a:gd name="connsiteY209" fmla="*/ 26 h 10000"/>
                <a:gd name="connsiteX210" fmla="*/ 8464 w 9775"/>
                <a:gd name="connsiteY210" fmla="*/ 2 h 10000"/>
                <a:gd name="connsiteX211" fmla="*/ 8171 w 9775"/>
                <a:gd name="connsiteY211" fmla="*/ 0 h 10000"/>
                <a:gd name="connsiteX212" fmla="*/ 8105 w 9775"/>
                <a:gd name="connsiteY212" fmla="*/ 14 h 10000"/>
                <a:gd name="connsiteX213" fmla="*/ 8120 w 9775"/>
                <a:gd name="connsiteY213" fmla="*/ 61 h 10000"/>
                <a:gd name="connsiteX214" fmla="*/ 8177 w 9775"/>
                <a:gd name="connsiteY214" fmla="*/ 86 h 10000"/>
                <a:gd name="connsiteX215" fmla="*/ 8192 w 9775"/>
                <a:gd name="connsiteY215" fmla="*/ 139 h 10000"/>
                <a:gd name="connsiteX216" fmla="*/ 8171 w 9775"/>
                <a:gd name="connsiteY216" fmla="*/ 181 h 10000"/>
                <a:gd name="connsiteX217" fmla="*/ 8120 w 9775"/>
                <a:gd name="connsiteY217" fmla="*/ 208 h 10000"/>
                <a:gd name="connsiteX218" fmla="*/ 8080 w 9775"/>
                <a:gd name="connsiteY218" fmla="*/ 283 h 10000"/>
                <a:gd name="connsiteX219" fmla="*/ 8009 w 9775"/>
                <a:gd name="connsiteY219" fmla="*/ 336 h 10000"/>
                <a:gd name="connsiteX220" fmla="*/ 8024 w 9775"/>
                <a:gd name="connsiteY220" fmla="*/ 387 h 10000"/>
                <a:gd name="connsiteX221" fmla="*/ 8134 w 9775"/>
                <a:gd name="connsiteY221" fmla="*/ 434 h 10000"/>
                <a:gd name="connsiteX222" fmla="*/ 8062 w 9775"/>
                <a:gd name="connsiteY222" fmla="*/ 475 h 10000"/>
                <a:gd name="connsiteX223" fmla="*/ 7956 w 9775"/>
                <a:gd name="connsiteY223" fmla="*/ 485 h 10000"/>
                <a:gd name="connsiteX224" fmla="*/ 7073 w 9775"/>
                <a:gd name="connsiteY224" fmla="*/ 387 h 10000"/>
                <a:gd name="connsiteX225" fmla="*/ 6967 w 9775"/>
                <a:gd name="connsiteY225" fmla="*/ 395 h 10000"/>
                <a:gd name="connsiteX226" fmla="*/ 6906 w 9775"/>
                <a:gd name="connsiteY226" fmla="*/ 414 h 10000"/>
                <a:gd name="connsiteX227" fmla="*/ 6842 w 9775"/>
                <a:gd name="connsiteY227" fmla="*/ 462 h 10000"/>
                <a:gd name="connsiteX228" fmla="*/ 6853 w 9775"/>
                <a:gd name="connsiteY228" fmla="*/ 581 h 10000"/>
                <a:gd name="connsiteX229" fmla="*/ 6756 w 9775"/>
                <a:gd name="connsiteY229" fmla="*/ 735 h 10000"/>
                <a:gd name="connsiteX230" fmla="*/ 6637 w 9775"/>
                <a:gd name="connsiteY230" fmla="*/ 815 h 10000"/>
                <a:gd name="connsiteX231" fmla="*/ 6589 w 9775"/>
                <a:gd name="connsiteY231" fmla="*/ 805 h 10000"/>
                <a:gd name="connsiteX232" fmla="*/ 6479 w 9775"/>
                <a:gd name="connsiteY232" fmla="*/ 739 h 10000"/>
                <a:gd name="connsiteX233" fmla="*/ 6340 w 9775"/>
                <a:gd name="connsiteY233" fmla="*/ 705 h 10000"/>
                <a:gd name="connsiteX234" fmla="*/ 6189 w 9775"/>
                <a:gd name="connsiteY234" fmla="*/ 715 h 10000"/>
                <a:gd name="connsiteX235" fmla="*/ 5841 w 9775"/>
                <a:gd name="connsiteY235" fmla="*/ 866 h 10000"/>
                <a:gd name="connsiteX236" fmla="*/ 5749 w 9775"/>
                <a:gd name="connsiteY236" fmla="*/ 1017 h 10000"/>
                <a:gd name="connsiteX237" fmla="*/ 5486 w 9775"/>
                <a:gd name="connsiteY237" fmla="*/ 1153 h 10000"/>
                <a:gd name="connsiteX238" fmla="*/ 5438 w 9775"/>
                <a:gd name="connsiteY238" fmla="*/ 1222 h 10000"/>
                <a:gd name="connsiteX239" fmla="*/ 5575 w 9775"/>
                <a:gd name="connsiteY239" fmla="*/ 1344 h 10000"/>
                <a:gd name="connsiteX240" fmla="*/ 5589 w 9775"/>
                <a:gd name="connsiteY240" fmla="*/ 1412 h 10000"/>
                <a:gd name="connsiteX241" fmla="*/ 4871 w 9775"/>
                <a:gd name="connsiteY241" fmla="*/ 1813 h 10000"/>
                <a:gd name="connsiteX242" fmla="*/ 4650 w 9775"/>
                <a:gd name="connsiteY242" fmla="*/ 2070 h 10000"/>
                <a:gd name="connsiteX243" fmla="*/ 4412 w 9775"/>
                <a:gd name="connsiteY243" fmla="*/ 2135 h 10000"/>
                <a:gd name="connsiteX244" fmla="*/ 4261 w 9775"/>
                <a:gd name="connsiteY244" fmla="*/ 2131 h 10000"/>
                <a:gd name="connsiteX245" fmla="*/ 4170 w 9775"/>
                <a:gd name="connsiteY245" fmla="*/ 2153 h 10000"/>
                <a:gd name="connsiteX246" fmla="*/ 3921 w 9775"/>
                <a:gd name="connsiteY246" fmla="*/ 2793 h 10000"/>
                <a:gd name="connsiteX247" fmla="*/ 3346 w 9775"/>
                <a:gd name="connsiteY247" fmla="*/ 3166 h 10000"/>
                <a:gd name="connsiteX248" fmla="*/ 3350 w 9775"/>
                <a:gd name="connsiteY248" fmla="*/ 3225 h 10000"/>
                <a:gd name="connsiteX249" fmla="*/ 3605 w 9775"/>
                <a:gd name="connsiteY249" fmla="*/ 3392 h 10000"/>
                <a:gd name="connsiteX250" fmla="*/ 3522 w 9775"/>
                <a:gd name="connsiteY250" fmla="*/ 3573 h 10000"/>
                <a:gd name="connsiteX251" fmla="*/ 3373 w 9775"/>
                <a:gd name="connsiteY251" fmla="*/ 3640 h 10000"/>
                <a:gd name="connsiteX252" fmla="*/ 2927 w 9775"/>
                <a:gd name="connsiteY252" fmla="*/ 3595 h 10000"/>
                <a:gd name="connsiteX253" fmla="*/ 2620 w 9775"/>
                <a:gd name="connsiteY253" fmla="*/ 3620 h 10000"/>
                <a:gd name="connsiteX254" fmla="*/ 2372 w 9775"/>
                <a:gd name="connsiteY254" fmla="*/ 3673 h 10000"/>
                <a:gd name="connsiteX255" fmla="*/ 1973 w 9775"/>
                <a:gd name="connsiteY255" fmla="*/ 3840 h 10000"/>
                <a:gd name="connsiteX256" fmla="*/ 1761 w 9775"/>
                <a:gd name="connsiteY256" fmla="*/ 4042 h 10000"/>
                <a:gd name="connsiteX257" fmla="*/ 1779 w 9775"/>
                <a:gd name="connsiteY257" fmla="*/ 4154 h 10000"/>
                <a:gd name="connsiteX258" fmla="*/ 1853 w 9775"/>
                <a:gd name="connsiteY258" fmla="*/ 4241 h 10000"/>
                <a:gd name="connsiteX259" fmla="*/ 1909 w 9775"/>
                <a:gd name="connsiteY259" fmla="*/ 4276 h 10000"/>
                <a:gd name="connsiteX260" fmla="*/ 1805 w 9775"/>
                <a:gd name="connsiteY260" fmla="*/ 4331 h 10000"/>
                <a:gd name="connsiteX261" fmla="*/ 1580 w 9775"/>
                <a:gd name="connsiteY261" fmla="*/ 4710 h 10000"/>
                <a:gd name="connsiteX262" fmla="*/ 1623 w 9775"/>
                <a:gd name="connsiteY262" fmla="*/ 4732 h 10000"/>
                <a:gd name="connsiteX263" fmla="*/ 1656 w 9775"/>
                <a:gd name="connsiteY263" fmla="*/ 4828 h 10000"/>
                <a:gd name="connsiteX264" fmla="*/ 1550 w 9775"/>
                <a:gd name="connsiteY264" fmla="*/ 5227 h 10000"/>
                <a:gd name="connsiteX265" fmla="*/ 1656 w 9775"/>
                <a:gd name="connsiteY265" fmla="*/ 5329 h 10000"/>
                <a:gd name="connsiteX266" fmla="*/ 1943 w 9775"/>
                <a:gd name="connsiteY266" fmla="*/ 5441 h 10000"/>
                <a:gd name="connsiteX267" fmla="*/ 1957 w 9775"/>
                <a:gd name="connsiteY267" fmla="*/ 5578 h 10000"/>
                <a:gd name="connsiteX268" fmla="*/ 1834 w 9775"/>
                <a:gd name="connsiteY268" fmla="*/ 5690 h 10000"/>
                <a:gd name="connsiteX269" fmla="*/ 1656 w 9775"/>
                <a:gd name="connsiteY269" fmla="*/ 5759 h 10000"/>
                <a:gd name="connsiteX270" fmla="*/ 1420 w 9775"/>
                <a:gd name="connsiteY270" fmla="*/ 5787 h 10000"/>
                <a:gd name="connsiteX271" fmla="*/ 1359 w 9775"/>
                <a:gd name="connsiteY271" fmla="*/ 5826 h 10000"/>
                <a:gd name="connsiteX272" fmla="*/ 1496 w 9775"/>
                <a:gd name="connsiteY272" fmla="*/ 5920 h 10000"/>
                <a:gd name="connsiteX273" fmla="*/ 1575 w 9775"/>
                <a:gd name="connsiteY273" fmla="*/ 6142 h 10000"/>
                <a:gd name="connsiteX274" fmla="*/ 1397 w 9775"/>
                <a:gd name="connsiteY274" fmla="*/ 6333 h 10000"/>
                <a:gd name="connsiteX275" fmla="*/ 1458 w 9775"/>
                <a:gd name="connsiteY275" fmla="*/ 6392 h 10000"/>
                <a:gd name="connsiteX276" fmla="*/ 1402 w 9775"/>
                <a:gd name="connsiteY276" fmla="*/ 6492 h 10000"/>
                <a:gd name="connsiteX277" fmla="*/ 1287 w 9775"/>
                <a:gd name="connsiteY277" fmla="*/ 6561 h 10000"/>
                <a:gd name="connsiteX278" fmla="*/ 835 w 9775"/>
                <a:gd name="connsiteY278" fmla="*/ 6614 h 10000"/>
                <a:gd name="connsiteX279" fmla="*/ 807 w 9775"/>
                <a:gd name="connsiteY279" fmla="*/ 6706 h 10000"/>
                <a:gd name="connsiteX280" fmla="*/ 563 w 9775"/>
                <a:gd name="connsiteY280" fmla="*/ 6843 h 10000"/>
                <a:gd name="connsiteX281" fmla="*/ 595 w 9775"/>
                <a:gd name="connsiteY281" fmla="*/ 7040 h 10000"/>
                <a:gd name="connsiteX282" fmla="*/ 389 w 9775"/>
                <a:gd name="connsiteY282" fmla="*/ 7293 h 10000"/>
                <a:gd name="connsiteX283" fmla="*/ 249 w 9775"/>
                <a:gd name="connsiteY283" fmla="*/ 7323 h 10000"/>
                <a:gd name="connsiteX284" fmla="*/ 192 w 9775"/>
                <a:gd name="connsiteY284" fmla="*/ 7262 h 10000"/>
                <a:gd name="connsiteX285" fmla="*/ 120 w 9775"/>
                <a:gd name="connsiteY285" fmla="*/ 7354 h 10000"/>
                <a:gd name="connsiteX286" fmla="*/ 167 w 9775"/>
                <a:gd name="connsiteY286" fmla="*/ 7197 h 10000"/>
                <a:gd name="connsiteX287" fmla="*/ 138 w 9775"/>
                <a:gd name="connsiteY287" fmla="*/ 7166 h 10000"/>
                <a:gd name="connsiteX0" fmla="*/ 141 w 9601"/>
                <a:gd name="connsiteY0" fmla="*/ 7166 h 10000"/>
                <a:gd name="connsiteX1" fmla="*/ 0 w 9601"/>
                <a:gd name="connsiteY1" fmla="*/ 7248 h 10000"/>
                <a:gd name="connsiteX2" fmla="*/ 0 w 9601"/>
                <a:gd name="connsiteY2" fmla="*/ 7651 h 10000"/>
                <a:gd name="connsiteX3" fmla="*/ 78 w 9601"/>
                <a:gd name="connsiteY3" fmla="*/ 7663 h 10000"/>
                <a:gd name="connsiteX4" fmla="*/ 96 w 9601"/>
                <a:gd name="connsiteY4" fmla="*/ 7694 h 10000"/>
                <a:gd name="connsiteX5" fmla="*/ 92 w 9601"/>
                <a:gd name="connsiteY5" fmla="*/ 7749 h 10000"/>
                <a:gd name="connsiteX6" fmla="*/ 63 w 9601"/>
                <a:gd name="connsiteY6" fmla="*/ 7773 h 10000"/>
                <a:gd name="connsiteX7" fmla="*/ 182 w 9601"/>
                <a:gd name="connsiteY7" fmla="*/ 7727 h 10000"/>
                <a:gd name="connsiteX8" fmla="*/ 232 w 9601"/>
                <a:gd name="connsiteY8" fmla="*/ 7680 h 10000"/>
                <a:gd name="connsiteX9" fmla="*/ 294 w 9601"/>
                <a:gd name="connsiteY9" fmla="*/ 7712 h 10000"/>
                <a:gd name="connsiteX10" fmla="*/ 226 w 9601"/>
                <a:gd name="connsiteY10" fmla="*/ 7778 h 10000"/>
                <a:gd name="connsiteX11" fmla="*/ 299 w 9601"/>
                <a:gd name="connsiteY11" fmla="*/ 7780 h 10000"/>
                <a:gd name="connsiteX12" fmla="*/ 334 w 9601"/>
                <a:gd name="connsiteY12" fmla="*/ 7796 h 10000"/>
                <a:gd name="connsiteX13" fmla="*/ 240 w 9601"/>
                <a:gd name="connsiteY13" fmla="*/ 7818 h 10000"/>
                <a:gd name="connsiteX14" fmla="*/ 92 w 9601"/>
                <a:gd name="connsiteY14" fmla="*/ 7886 h 10000"/>
                <a:gd name="connsiteX15" fmla="*/ 355 w 9601"/>
                <a:gd name="connsiteY15" fmla="*/ 7938 h 10000"/>
                <a:gd name="connsiteX16" fmla="*/ 388 w 9601"/>
                <a:gd name="connsiteY16" fmla="*/ 8014 h 10000"/>
                <a:gd name="connsiteX17" fmla="*/ 299 w 9601"/>
                <a:gd name="connsiteY17" fmla="*/ 8126 h 10000"/>
                <a:gd name="connsiteX18" fmla="*/ 491 w 9601"/>
                <a:gd name="connsiteY18" fmla="*/ 8118 h 10000"/>
                <a:gd name="connsiteX19" fmla="*/ 505 w 9601"/>
                <a:gd name="connsiteY19" fmla="*/ 8203 h 10000"/>
                <a:gd name="connsiteX20" fmla="*/ 377 w 9601"/>
                <a:gd name="connsiteY20" fmla="*/ 8260 h 10000"/>
                <a:gd name="connsiteX21" fmla="*/ 398 w 9601"/>
                <a:gd name="connsiteY21" fmla="*/ 8370 h 10000"/>
                <a:gd name="connsiteX22" fmla="*/ 349 w 9601"/>
                <a:gd name="connsiteY22" fmla="*/ 8456 h 10000"/>
                <a:gd name="connsiteX23" fmla="*/ 500 w 9601"/>
                <a:gd name="connsiteY23" fmla="*/ 8464 h 10000"/>
                <a:gd name="connsiteX24" fmla="*/ 649 w 9601"/>
                <a:gd name="connsiteY24" fmla="*/ 8792 h 10000"/>
                <a:gd name="connsiteX25" fmla="*/ 819 w 9601"/>
                <a:gd name="connsiteY25" fmla="*/ 8876 h 10000"/>
                <a:gd name="connsiteX26" fmla="*/ 894 w 9601"/>
                <a:gd name="connsiteY26" fmla="*/ 8965 h 10000"/>
                <a:gd name="connsiteX27" fmla="*/ 1080 w 9601"/>
                <a:gd name="connsiteY27" fmla="*/ 9030 h 10000"/>
                <a:gd name="connsiteX28" fmla="*/ 1199 w 9601"/>
                <a:gd name="connsiteY28" fmla="*/ 9112 h 10000"/>
                <a:gd name="connsiteX29" fmla="*/ 1184 w 9601"/>
                <a:gd name="connsiteY29" fmla="*/ 9171 h 10000"/>
                <a:gd name="connsiteX30" fmla="*/ 1066 w 9601"/>
                <a:gd name="connsiteY30" fmla="*/ 9193 h 10000"/>
                <a:gd name="connsiteX31" fmla="*/ 937 w 9601"/>
                <a:gd name="connsiteY31" fmla="*/ 9179 h 10000"/>
                <a:gd name="connsiteX32" fmla="*/ 898 w 9601"/>
                <a:gd name="connsiteY32" fmla="*/ 9204 h 10000"/>
                <a:gd name="connsiteX33" fmla="*/ 996 w 9601"/>
                <a:gd name="connsiteY33" fmla="*/ 9332 h 10000"/>
                <a:gd name="connsiteX34" fmla="*/ 858 w 9601"/>
                <a:gd name="connsiteY34" fmla="*/ 9322 h 10000"/>
                <a:gd name="connsiteX35" fmla="*/ 742 w 9601"/>
                <a:gd name="connsiteY35" fmla="*/ 9291 h 10000"/>
                <a:gd name="connsiteX36" fmla="*/ 720 w 9601"/>
                <a:gd name="connsiteY36" fmla="*/ 9338 h 10000"/>
                <a:gd name="connsiteX37" fmla="*/ 1109 w 9601"/>
                <a:gd name="connsiteY37" fmla="*/ 9776 h 10000"/>
                <a:gd name="connsiteX38" fmla="*/ 1047 w 9601"/>
                <a:gd name="connsiteY38" fmla="*/ 9817 h 10000"/>
                <a:gd name="connsiteX39" fmla="*/ 1003 w 9601"/>
                <a:gd name="connsiteY39" fmla="*/ 9902 h 10000"/>
                <a:gd name="connsiteX40" fmla="*/ 948 w 9601"/>
                <a:gd name="connsiteY40" fmla="*/ 9908 h 10000"/>
                <a:gd name="connsiteX41" fmla="*/ 913 w 9601"/>
                <a:gd name="connsiteY41" fmla="*/ 9945 h 10000"/>
                <a:gd name="connsiteX42" fmla="*/ 1147 w 9601"/>
                <a:gd name="connsiteY42" fmla="*/ 9949 h 10000"/>
                <a:gd name="connsiteX43" fmla="*/ 1354 w 9601"/>
                <a:gd name="connsiteY43" fmla="*/ 9986 h 10000"/>
                <a:gd name="connsiteX44" fmla="*/ 1698 w 9601"/>
                <a:gd name="connsiteY44" fmla="*/ 9947 h 10000"/>
                <a:gd name="connsiteX45" fmla="*/ 2008 w 9601"/>
                <a:gd name="connsiteY45" fmla="*/ 9953 h 10000"/>
                <a:gd name="connsiteX46" fmla="*/ 2189 w 9601"/>
                <a:gd name="connsiteY46" fmla="*/ 10000 h 10000"/>
                <a:gd name="connsiteX47" fmla="*/ 2290 w 9601"/>
                <a:gd name="connsiteY47" fmla="*/ 9969 h 10000"/>
                <a:gd name="connsiteX48" fmla="*/ 2386 w 9601"/>
                <a:gd name="connsiteY48" fmla="*/ 9868 h 10000"/>
                <a:gd name="connsiteX49" fmla="*/ 2361 w 9601"/>
                <a:gd name="connsiteY49" fmla="*/ 9703 h 10000"/>
                <a:gd name="connsiteX50" fmla="*/ 2596 w 9601"/>
                <a:gd name="connsiteY50" fmla="*/ 9517 h 10000"/>
                <a:gd name="connsiteX51" fmla="*/ 2768 w 9601"/>
                <a:gd name="connsiteY51" fmla="*/ 9546 h 10000"/>
                <a:gd name="connsiteX52" fmla="*/ 2868 w 9601"/>
                <a:gd name="connsiteY52" fmla="*/ 9472 h 10000"/>
                <a:gd name="connsiteX53" fmla="*/ 3059 w 9601"/>
                <a:gd name="connsiteY53" fmla="*/ 9430 h 10000"/>
                <a:gd name="connsiteX54" fmla="*/ 3319 w 9601"/>
                <a:gd name="connsiteY54" fmla="*/ 9440 h 10000"/>
                <a:gd name="connsiteX55" fmla="*/ 3476 w 9601"/>
                <a:gd name="connsiteY55" fmla="*/ 9470 h 10000"/>
                <a:gd name="connsiteX56" fmla="*/ 3684 w 9601"/>
                <a:gd name="connsiteY56" fmla="*/ 9456 h 10000"/>
                <a:gd name="connsiteX57" fmla="*/ 3894 w 9601"/>
                <a:gd name="connsiteY57" fmla="*/ 9489 h 10000"/>
                <a:gd name="connsiteX58" fmla="*/ 4104 w 9601"/>
                <a:gd name="connsiteY58" fmla="*/ 9493 h 10000"/>
                <a:gd name="connsiteX59" fmla="*/ 4575 w 9601"/>
                <a:gd name="connsiteY59" fmla="*/ 9061 h 10000"/>
                <a:gd name="connsiteX60" fmla="*/ 4694 w 9601"/>
                <a:gd name="connsiteY60" fmla="*/ 8711 h 10000"/>
                <a:gd name="connsiteX61" fmla="*/ 4885 w 9601"/>
                <a:gd name="connsiteY61" fmla="*/ 8554 h 10000"/>
                <a:gd name="connsiteX62" fmla="*/ 4885 w 9601"/>
                <a:gd name="connsiteY62" fmla="*/ 8472 h 10000"/>
                <a:gd name="connsiteX63" fmla="*/ 4816 w 9601"/>
                <a:gd name="connsiteY63" fmla="*/ 8425 h 10000"/>
                <a:gd name="connsiteX64" fmla="*/ 4928 w 9601"/>
                <a:gd name="connsiteY64" fmla="*/ 8352 h 10000"/>
                <a:gd name="connsiteX65" fmla="*/ 4908 w 9601"/>
                <a:gd name="connsiteY65" fmla="*/ 8289 h 10000"/>
                <a:gd name="connsiteX66" fmla="*/ 4831 w 9601"/>
                <a:gd name="connsiteY66" fmla="*/ 8236 h 10000"/>
                <a:gd name="connsiteX67" fmla="*/ 4816 w 9601"/>
                <a:gd name="connsiteY67" fmla="*/ 8199 h 10000"/>
                <a:gd name="connsiteX68" fmla="*/ 4835 w 9601"/>
                <a:gd name="connsiteY68" fmla="*/ 8169 h 10000"/>
                <a:gd name="connsiteX69" fmla="*/ 4939 w 9601"/>
                <a:gd name="connsiteY69" fmla="*/ 8193 h 10000"/>
                <a:gd name="connsiteX70" fmla="*/ 5021 w 9601"/>
                <a:gd name="connsiteY70" fmla="*/ 8191 h 10000"/>
                <a:gd name="connsiteX71" fmla="*/ 4977 w 9601"/>
                <a:gd name="connsiteY71" fmla="*/ 8140 h 10000"/>
                <a:gd name="connsiteX72" fmla="*/ 4991 w 9601"/>
                <a:gd name="connsiteY72" fmla="*/ 8112 h 10000"/>
                <a:gd name="connsiteX73" fmla="*/ 5052 w 9601"/>
                <a:gd name="connsiteY73" fmla="*/ 8069 h 10000"/>
                <a:gd name="connsiteX74" fmla="*/ 5041 w 9601"/>
                <a:gd name="connsiteY74" fmla="*/ 8034 h 10000"/>
                <a:gd name="connsiteX75" fmla="*/ 5097 w 9601"/>
                <a:gd name="connsiteY75" fmla="*/ 7916 h 10000"/>
                <a:gd name="connsiteX76" fmla="*/ 5082 w 9601"/>
                <a:gd name="connsiteY76" fmla="*/ 7881 h 10000"/>
                <a:gd name="connsiteX77" fmla="*/ 4797 w 9601"/>
                <a:gd name="connsiteY77" fmla="*/ 7792 h 10000"/>
                <a:gd name="connsiteX78" fmla="*/ 4835 w 9601"/>
                <a:gd name="connsiteY78" fmla="*/ 7788 h 10000"/>
                <a:gd name="connsiteX79" fmla="*/ 4987 w 9601"/>
                <a:gd name="connsiteY79" fmla="*/ 7812 h 10000"/>
                <a:gd name="connsiteX80" fmla="*/ 5151 w 9601"/>
                <a:gd name="connsiteY80" fmla="*/ 7804 h 10000"/>
                <a:gd name="connsiteX81" fmla="*/ 5199 w 9601"/>
                <a:gd name="connsiteY81" fmla="*/ 7771 h 10000"/>
                <a:gd name="connsiteX82" fmla="*/ 5041 w 9601"/>
                <a:gd name="connsiteY82" fmla="*/ 7710 h 10000"/>
                <a:gd name="connsiteX83" fmla="*/ 4571 w 9601"/>
                <a:gd name="connsiteY83" fmla="*/ 7670 h 10000"/>
                <a:gd name="connsiteX84" fmla="*/ 4603 w 9601"/>
                <a:gd name="connsiteY84" fmla="*/ 7651 h 10000"/>
                <a:gd name="connsiteX85" fmla="*/ 4987 w 9601"/>
                <a:gd name="connsiteY85" fmla="*/ 7639 h 10000"/>
                <a:gd name="connsiteX86" fmla="*/ 5199 w 9601"/>
                <a:gd name="connsiteY86" fmla="*/ 7676 h 10000"/>
                <a:gd name="connsiteX87" fmla="*/ 5321 w 9601"/>
                <a:gd name="connsiteY87" fmla="*/ 7651 h 10000"/>
                <a:gd name="connsiteX88" fmla="*/ 5366 w 9601"/>
                <a:gd name="connsiteY88" fmla="*/ 7588 h 10000"/>
                <a:gd name="connsiteX89" fmla="*/ 5587 w 9601"/>
                <a:gd name="connsiteY89" fmla="*/ 7588 h 10000"/>
                <a:gd name="connsiteX90" fmla="*/ 5886 w 9601"/>
                <a:gd name="connsiteY90" fmla="*/ 7462 h 10000"/>
                <a:gd name="connsiteX91" fmla="*/ 5897 w 9601"/>
                <a:gd name="connsiteY91" fmla="*/ 7378 h 10000"/>
                <a:gd name="connsiteX92" fmla="*/ 6024 w 9601"/>
                <a:gd name="connsiteY92" fmla="*/ 7397 h 10000"/>
                <a:gd name="connsiteX93" fmla="*/ 6018 w 9601"/>
                <a:gd name="connsiteY93" fmla="*/ 7482 h 10000"/>
                <a:gd name="connsiteX94" fmla="*/ 6220 w 9601"/>
                <a:gd name="connsiteY94" fmla="*/ 7476 h 10000"/>
                <a:gd name="connsiteX95" fmla="*/ 6352 w 9601"/>
                <a:gd name="connsiteY95" fmla="*/ 7388 h 10000"/>
                <a:gd name="connsiteX96" fmla="*/ 6598 w 9601"/>
                <a:gd name="connsiteY96" fmla="*/ 7309 h 10000"/>
                <a:gd name="connsiteX97" fmla="*/ 6559 w 9601"/>
                <a:gd name="connsiteY97" fmla="*/ 7219 h 10000"/>
                <a:gd name="connsiteX98" fmla="*/ 6632 w 9601"/>
                <a:gd name="connsiteY98" fmla="*/ 7254 h 10000"/>
                <a:gd name="connsiteX99" fmla="*/ 6745 w 9601"/>
                <a:gd name="connsiteY99" fmla="*/ 7254 h 10000"/>
                <a:gd name="connsiteX100" fmla="*/ 6745 w 9601"/>
                <a:gd name="connsiteY100" fmla="*/ 7213 h 10000"/>
                <a:gd name="connsiteX101" fmla="*/ 6849 w 9601"/>
                <a:gd name="connsiteY101" fmla="*/ 7181 h 10000"/>
                <a:gd name="connsiteX102" fmla="*/ 6835 w 9601"/>
                <a:gd name="connsiteY102" fmla="*/ 7148 h 10000"/>
                <a:gd name="connsiteX103" fmla="*/ 5951 w 9601"/>
                <a:gd name="connsiteY103" fmla="*/ 7215 h 10000"/>
                <a:gd name="connsiteX104" fmla="*/ 5744 w 9601"/>
                <a:gd name="connsiteY104" fmla="*/ 7195 h 10000"/>
                <a:gd name="connsiteX105" fmla="*/ 5660 w 9601"/>
                <a:gd name="connsiteY105" fmla="*/ 7219 h 10000"/>
                <a:gd name="connsiteX106" fmla="*/ 5632 w 9601"/>
                <a:gd name="connsiteY106" fmla="*/ 7173 h 10000"/>
                <a:gd name="connsiteX107" fmla="*/ 5534 w 9601"/>
                <a:gd name="connsiteY107" fmla="*/ 7132 h 10000"/>
                <a:gd name="connsiteX108" fmla="*/ 5140 w 9601"/>
                <a:gd name="connsiteY108" fmla="*/ 7052 h 10000"/>
                <a:gd name="connsiteX109" fmla="*/ 4908 w 9601"/>
                <a:gd name="connsiteY109" fmla="*/ 7065 h 10000"/>
                <a:gd name="connsiteX110" fmla="*/ 4816 w 9601"/>
                <a:gd name="connsiteY110" fmla="*/ 7042 h 10000"/>
                <a:gd name="connsiteX111" fmla="*/ 4914 w 9601"/>
                <a:gd name="connsiteY111" fmla="*/ 7022 h 10000"/>
                <a:gd name="connsiteX112" fmla="*/ 4987 w 9601"/>
                <a:gd name="connsiteY112" fmla="*/ 6979 h 10000"/>
                <a:gd name="connsiteX113" fmla="*/ 5097 w 9601"/>
                <a:gd name="connsiteY113" fmla="*/ 6993 h 10000"/>
                <a:gd name="connsiteX114" fmla="*/ 5228 w 9601"/>
                <a:gd name="connsiteY114" fmla="*/ 6981 h 10000"/>
                <a:gd name="connsiteX115" fmla="*/ 5425 w 9601"/>
                <a:gd name="connsiteY115" fmla="*/ 6995 h 10000"/>
                <a:gd name="connsiteX116" fmla="*/ 5449 w 9601"/>
                <a:gd name="connsiteY116" fmla="*/ 6989 h 10000"/>
                <a:gd name="connsiteX117" fmla="*/ 5601 w 9601"/>
                <a:gd name="connsiteY117" fmla="*/ 7056 h 10000"/>
                <a:gd name="connsiteX118" fmla="*/ 5714 w 9601"/>
                <a:gd name="connsiteY118" fmla="*/ 7032 h 10000"/>
                <a:gd name="connsiteX119" fmla="*/ 5723 w 9601"/>
                <a:gd name="connsiteY119" fmla="*/ 7010 h 10000"/>
                <a:gd name="connsiteX120" fmla="*/ 5827 w 9601"/>
                <a:gd name="connsiteY120" fmla="*/ 7048 h 10000"/>
                <a:gd name="connsiteX121" fmla="*/ 5964 w 9601"/>
                <a:gd name="connsiteY121" fmla="*/ 7069 h 10000"/>
                <a:gd name="connsiteX122" fmla="*/ 6018 w 9601"/>
                <a:gd name="connsiteY122" fmla="*/ 7030 h 10000"/>
                <a:gd name="connsiteX123" fmla="*/ 6062 w 9601"/>
                <a:gd name="connsiteY123" fmla="*/ 7052 h 10000"/>
                <a:gd name="connsiteX124" fmla="*/ 6126 w 9601"/>
                <a:gd name="connsiteY124" fmla="*/ 7126 h 10000"/>
                <a:gd name="connsiteX125" fmla="*/ 6259 w 9601"/>
                <a:gd name="connsiteY125" fmla="*/ 7144 h 10000"/>
                <a:gd name="connsiteX126" fmla="*/ 6799 w 9601"/>
                <a:gd name="connsiteY126" fmla="*/ 7034 h 10000"/>
                <a:gd name="connsiteX127" fmla="*/ 7065 w 9601"/>
                <a:gd name="connsiteY127" fmla="*/ 6879 h 10000"/>
                <a:gd name="connsiteX128" fmla="*/ 7127 w 9601"/>
                <a:gd name="connsiteY128" fmla="*/ 6765 h 10000"/>
                <a:gd name="connsiteX129" fmla="*/ 7031 w 9601"/>
                <a:gd name="connsiteY129" fmla="*/ 6663 h 10000"/>
                <a:gd name="connsiteX130" fmla="*/ 6829 w 9601"/>
                <a:gd name="connsiteY130" fmla="*/ 6602 h 10000"/>
                <a:gd name="connsiteX131" fmla="*/ 6685 w 9601"/>
                <a:gd name="connsiteY131" fmla="*/ 6502 h 10000"/>
                <a:gd name="connsiteX132" fmla="*/ 6819 w 9601"/>
                <a:gd name="connsiteY132" fmla="*/ 6498 h 10000"/>
                <a:gd name="connsiteX133" fmla="*/ 6810 w 9601"/>
                <a:gd name="connsiteY133" fmla="*/ 6474 h 10000"/>
                <a:gd name="connsiteX134" fmla="*/ 6462 w 9601"/>
                <a:gd name="connsiteY134" fmla="*/ 6403 h 10000"/>
                <a:gd name="connsiteX135" fmla="*/ 6448 w 9601"/>
                <a:gd name="connsiteY135" fmla="*/ 6339 h 10000"/>
                <a:gd name="connsiteX136" fmla="*/ 6381 w 9601"/>
                <a:gd name="connsiteY136" fmla="*/ 6272 h 10000"/>
                <a:gd name="connsiteX137" fmla="*/ 6106 w 9601"/>
                <a:gd name="connsiteY137" fmla="*/ 6284 h 10000"/>
                <a:gd name="connsiteX138" fmla="*/ 6008 w 9601"/>
                <a:gd name="connsiteY138" fmla="*/ 6213 h 10000"/>
                <a:gd name="connsiteX139" fmla="*/ 5951 w 9601"/>
                <a:gd name="connsiteY139" fmla="*/ 6209 h 10000"/>
                <a:gd name="connsiteX140" fmla="*/ 5951 w 9601"/>
                <a:gd name="connsiteY140" fmla="*/ 6238 h 10000"/>
                <a:gd name="connsiteX141" fmla="*/ 5827 w 9601"/>
                <a:gd name="connsiteY141" fmla="*/ 6358 h 10000"/>
                <a:gd name="connsiteX142" fmla="*/ 5693 w 9601"/>
                <a:gd name="connsiteY142" fmla="*/ 6429 h 10000"/>
                <a:gd name="connsiteX143" fmla="*/ 5276 w 9601"/>
                <a:gd name="connsiteY143" fmla="*/ 6551 h 10000"/>
                <a:gd name="connsiteX144" fmla="*/ 5129 w 9601"/>
                <a:gd name="connsiteY144" fmla="*/ 6547 h 10000"/>
                <a:gd name="connsiteX145" fmla="*/ 4928 w 9601"/>
                <a:gd name="connsiteY145" fmla="*/ 6565 h 10000"/>
                <a:gd name="connsiteX146" fmla="*/ 4816 w 9601"/>
                <a:gd name="connsiteY146" fmla="*/ 6547 h 10000"/>
                <a:gd name="connsiteX147" fmla="*/ 4963 w 9601"/>
                <a:gd name="connsiteY147" fmla="*/ 6513 h 10000"/>
                <a:gd name="connsiteX148" fmla="*/ 5155 w 9601"/>
                <a:gd name="connsiteY148" fmla="*/ 6498 h 10000"/>
                <a:gd name="connsiteX149" fmla="*/ 5313 w 9601"/>
                <a:gd name="connsiteY149" fmla="*/ 6441 h 10000"/>
                <a:gd name="connsiteX150" fmla="*/ 5468 w 9601"/>
                <a:gd name="connsiteY150" fmla="*/ 6415 h 10000"/>
                <a:gd name="connsiteX151" fmla="*/ 5759 w 9601"/>
                <a:gd name="connsiteY151" fmla="*/ 6317 h 10000"/>
                <a:gd name="connsiteX152" fmla="*/ 5814 w 9601"/>
                <a:gd name="connsiteY152" fmla="*/ 6252 h 10000"/>
                <a:gd name="connsiteX153" fmla="*/ 5818 w 9601"/>
                <a:gd name="connsiteY153" fmla="*/ 6168 h 10000"/>
                <a:gd name="connsiteX154" fmla="*/ 5685 w 9601"/>
                <a:gd name="connsiteY154" fmla="*/ 6154 h 10000"/>
                <a:gd name="connsiteX155" fmla="*/ 5744 w 9601"/>
                <a:gd name="connsiteY155" fmla="*/ 6103 h 10000"/>
                <a:gd name="connsiteX156" fmla="*/ 5763 w 9601"/>
                <a:gd name="connsiteY156" fmla="*/ 6038 h 10000"/>
                <a:gd name="connsiteX157" fmla="*/ 5707 w 9601"/>
                <a:gd name="connsiteY157" fmla="*/ 5977 h 10000"/>
                <a:gd name="connsiteX158" fmla="*/ 5675 w 9601"/>
                <a:gd name="connsiteY158" fmla="*/ 5533 h 10000"/>
                <a:gd name="connsiteX159" fmla="*/ 5754 w 9601"/>
                <a:gd name="connsiteY159" fmla="*/ 5437 h 10000"/>
                <a:gd name="connsiteX160" fmla="*/ 5734 w 9601"/>
                <a:gd name="connsiteY160" fmla="*/ 5398 h 10000"/>
                <a:gd name="connsiteX161" fmla="*/ 5964 w 9601"/>
                <a:gd name="connsiteY161" fmla="*/ 5455 h 10000"/>
                <a:gd name="connsiteX162" fmla="*/ 5980 w 9601"/>
                <a:gd name="connsiteY162" fmla="*/ 5402 h 10000"/>
                <a:gd name="connsiteX163" fmla="*/ 5930 w 9601"/>
                <a:gd name="connsiteY163" fmla="*/ 5264 h 10000"/>
                <a:gd name="connsiteX164" fmla="*/ 6096 w 9601"/>
                <a:gd name="connsiteY164" fmla="*/ 5019 h 10000"/>
                <a:gd name="connsiteX165" fmla="*/ 5994 w 9601"/>
                <a:gd name="connsiteY165" fmla="*/ 4960 h 10000"/>
                <a:gd name="connsiteX166" fmla="*/ 5955 w 9601"/>
                <a:gd name="connsiteY166" fmla="*/ 4905 h 10000"/>
                <a:gd name="connsiteX167" fmla="*/ 5968 w 9601"/>
                <a:gd name="connsiteY167" fmla="*/ 4816 h 10000"/>
                <a:gd name="connsiteX168" fmla="*/ 6212 w 9601"/>
                <a:gd name="connsiteY168" fmla="*/ 4875 h 10000"/>
                <a:gd name="connsiteX169" fmla="*/ 6220 w 9601"/>
                <a:gd name="connsiteY169" fmla="*/ 4858 h 10000"/>
                <a:gd name="connsiteX170" fmla="*/ 6287 w 9601"/>
                <a:gd name="connsiteY170" fmla="*/ 4842 h 10000"/>
                <a:gd name="connsiteX171" fmla="*/ 6381 w 9601"/>
                <a:gd name="connsiteY171" fmla="*/ 4785 h 10000"/>
                <a:gd name="connsiteX172" fmla="*/ 6396 w 9601"/>
                <a:gd name="connsiteY172" fmla="*/ 4769 h 10000"/>
                <a:gd name="connsiteX173" fmla="*/ 6376 w 9601"/>
                <a:gd name="connsiteY173" fmla="*/ 4748 h 10000"/>
                <a:gd name="connsiteX174" fmla="*/ 6426 w 9601"/>
                <a:gd name="connsiteY174" fmla="*/ 4647 h 10000"/>
                <a:gd name="connsiteX175" fmla="*/ 6366 w 9601"/>
                <a:gd name="connsiteY175" fmla="*/ 4581 h 10000"/>
                <a:gd name="connsiteX176" fmla="*/ 6376 w 9601"/>
                <a:gd name="connsiteY176" fmla="*/ 4528 h 10000"/>
                <a:gd name="connsiteX177" fmla="*/ 6410 w 9601"/>
                <a:gd name="connsiteY177" fmla="*/ 4590 h 10000"/>
                <a:gd name="connsiteX178" fmla="*/ 6543 w 9601"/>
                <a:gd name="connsiteY178" fmla="*/ 4636 h 10000"/>
                <a:gd name="connsiteX179" fmla="*/ 6598 w 9601"/>
                <a:gd name="connsiteY179" fmla="*/ 4630 h 10000"/>
                <a:gd name="connsiteX180" fmla="*/ 6685 w 9601"/>
                <a:gd name="connsiteY180" fmla="*/ 4569 h 10000"/>
                <a:gd name="connsiteX181" fmla="*/ 6780 w 9601"/>
                <a:gd name="connsiteY181" fmla="*/ 4594 h 10000"/>
                <a:gd name="connsiteX182" fmla="*/ 6805 w 9601"/>
                <a:gd name="connsiteY182" fmla="*/ 4545 h 10000"/>
                <a:gd name="connsiteX183" fmla="*/ 6869 w 9601"/>
                <a:gd name="connsiteY183" fmla="*/ 4512 h 10000"/>
                <a:gd name="connsiteX184" fmla="*/ 6696 w 9601"/>
                <a:gd name="connsiteY184" fmla="*/ 4477 h 10000"/>
                <a:gd name="connsiteX185" fmla="*/ 6819 w 9601"/>
                <a:gd name="connsiteY185" fmla="*/ 4484 h 10000"/>
                <a:gd name="connsiteX186" fmla="*/ 6945 w 9601"/>
                <a:gd name="connsiteY186" fmla="*/ 4447 h 10000"/>
                <a:gd name="connsiteX187" fmla="*/ 6941 w 9601"/>
                <a:gd name="connsiteY187" fmla="*/ 4422 h 10000"/>
                <a:gd name="connsiteX188" fmla="*/ 7060 w 9601"/>
                <a:gd name="connsiteY188" fmla="*/ 4398 h 10000"/>
                <a:gd name="connsiteX189" fmla="*/ 7070 w 9601"/>
                <a:gd name="connsiteY189" fmla="*/ 4337 h 10000"/>
                <a:gd name="connsiteX190" fmla="*/ 7163 w 9601"/>
                <a:gd name="connsiteY190" fmla="*/ 4325 h 10000"/>
                <a:gd name="connsiteX191" fmla="*/ 7171 w 9601"/>
                <a:gd name="connsiteY191" fmla="*/ 4253 h 10000"/>
                <a:gd name="connsiteX192" fmla="*/ 7270 w 9601"/>
                <a:gd name="connsiteY192" fmla="*/ 4245 h 10000"/>
                <a:gd name="connsiteX193" fmla="*/ 7422 w 9601"/>
                <a:gd name="connsiteY193" fmla="*/ 4260 h 10000"/>
                <a:gd name="connsiteX194" fmla="*/ 7589 w 9601"/>
                <a:gd name="connsiteY194" fmla="*/ 4202 h 10000"/>
                <a:gd name="connsiteX195" fmla="*/ 7648 w 9601"/>
                <a:gd name="connsiteY195" fmla="*/ 4137 h 10000"/>
                <a:gd name="connsiteX196" fmla="*/ 7855 w 9601"/>
                <a:gd name="connsiteY196" fmla="*/ 4070 h 10000"/>
                <a:gd name="connsiteX197" fmla="*/ 7957 w 9601"/>
                <a:gd name="connsiteY197" fmla="*/ 4111 h 10000"/>
                <a:gd name="connsiteX198" fmla="*/ 8115 w 9601"/>
                <a:gd name="connsiteY198" fmla="*/ 4066 h 10000"/>
                <a:gd name="connsiteX199" fmla="*/ 8152 w 9601"/>
                <a:gd name="connsiteY199" fmla="*/ 4009 h 10000"/>
                <a:gd name="connsiteX200" fmla="*/ 8272 w 9601"/>
                <a:gd name="connsiteY200" fmla="*/ 3970 h 10000"/>
                <a:gd name="connsiteX201" fmla="*/ 8374 w 9601"/>
                <a:gd name="connsiteY201" fmla="*/ 3987 h 10000"/>
                <a:gd name="connsiteX202" fmla="*/ 8438 w 9601"/>
                <a:gd name="connsiteY202" fmla="*/ 3958 h 10000"/>
                <a:gd name="connsiteX203" fmla="*/ 8615 w 9601"/>
                <a:gd name="connsiteY203" fmla="*/ 3917 h 10000"/>
                <a:gd name="connsiteX204" fmla="*/ 8688 w 9601"/>
                <a:gd name="connsiteY204" fmla="*/ 3864 h 10000"/>
                <a:gd name="connsiteX205" fmla="*/ 8788 w 9601"/>
                <a:gd name="connsiteY205" fmla="*/ 3842 h 10000"/>
                <a:gd name="connsiteX206" fmla="*/ 9332 w 9601"/>
                <a:gd name="connsiteY206" fmla="*/ 3522 h 10000"/>
                <a:gd name="connsiteX207" fmla="*/ 9573 w 9601"/>
                <a:gd name="connsiteY207" fmla="*/ 389 h 10000"/>
                <a:gd name="connsiteX208" fmla="*/ 8688 w 9601"/>
                <a:gd name="connsiteY208" fmla="*/ 26 h 10000"/>
                <a:gd name="connsiteX209" fmla="*/ 8659 w 9601"/>
                <a:gd name="connsiteY209" fmla="*/ 2 h 10000"/>
                <a:gd name="connsiteX210" fmla="*/ 8359 w 9601"/>
                <a:gd name="connsiteY210" fmla="*/ 0 h 10000"/>
                <a:gd name="connsiteX211" fmla="*/ 8292 w 9601"/>
                <a:gd name="connsiteY211" fmla="*/ 14 h 10000"/>
                <a:gd name="connsiteX212" fmla="*/ 8307 w 9601"/>
                <a:gd name="connsiteY212" fmla="*/ 61 h 10000"/>
                <a:gd name="connsiteX213" fmla="*/ 8365 w 9601"/>
                <a:gd name="connsiteY213" fmla="*/ 86 h 10000"/>
                <a:gd name="connsiteX214" fmla="*/ 8381 w 9601"/>
                <a:gd name="connsiteY214" fmla="*/ 139 h 10000"/>
                <a:gd name="connsiteX215" fmla="*/ 8359 w 9601"/>
                <a:gd name="connsiteY215" fmla="*/ 181 h 10000"/>
                <a:gd name="connsiteX216" fmla="*/ 8307 w 9601"/>
                <a:gd name="connsiteY216" fmla="*/ 208 h 10000"/>
                <a:gd name="connsiteX217" fmla="*/ 8266 w 9601"/>
                <a:gd name="connsiteY217" fmla="*/ 283 h 10000"/>
                <a:gd name="connsiteX218" fmla="*/ 8193 w 9601"/>
                <a:gd name="connsiteY218" fmla="*/ 336 h 10000"/>
                <a:gd name="connsiteX219" fmla="*/ 8209 w 9601"/>
                <a:gd name="connsiteY219" fmla="*/ 387 h 10000"/>
                <a:gd name="connsiteX220" fmla="*/ 8321 w 9601"/>
                <a:gd name="connsiteY220" fmla="*/ 434 h 10000"/>
                <a:gd name="connsiteX221" fmla="*/ 8248 w 9601"/>
                <a:gd name="connsiteY221" fmla="*/ 475 h 10000"/>
                <a:gd name="connsiteX222" fmla="*/ 8139 w 9601"/>
                <a:gd name="connsiteY222" fmla="*/ 485 h 10000"/>
                <a:gd name="connsiteX223" fmla="*/ 7236 w 9601"/>
                <a:gd name="connsiteY223" fmla="*/ 387 h 10000"/>
                <a:gd name="connsiteX224" fmla="*/ 7127 w 9601"/>
                <a:gd name="connsiteY224" fmla="*/ 395 h 10000"/>
                <a:gd name="connsiteX225" fmla="*/ 7065 w 9601"/>
                <a:gd name="connsiteY225" fmla="*/ 414 h 10000"/>
                <a:gd name="connsiteX226" fmla="*/ 6999 w 9601"/>
                <a:gd name="connsiteY226" fmla="*/ 462 h 10000"/>
                <a:gd name="connsiteX227" fmla="*/ 7011 w 9601"/>
                <a:gd name="connsiteY227" fmla="*/ 581 h 10000"/>
                <a:gd name="connsiteX228" fmla="*/ 6912 w 9601"/>
                <a:gd name="connsiteY228" fmla="*/ 735 h 10000"/>
                <a:gd name="connsiteX229" fmla="*/ 6790 w 9601"/>
                <a:gd name="connsiteY229" fmla="*/ 815 h 10000"/>
                <a:gd name="connsiteX230" fmla="*/ 6741 w 9601"/>
                <a:gd name="connsiteY230" fmla="*/ 805 h 10000"/>
                <a:gd name="connsiteX231" fmla="*/ 6628 w 9601"/>
                <a:gd name="connsiteY231" fmla="*/ 739 h 10000"/>
                <a:gd name="connsiteX232" fmla="*/ 6486 w 9601"/>
                <a:gd name="connsiteY232" fmla="*/ 705 h 10000"/>
                <a:gd name="connsiteX233" fmla="*/ 6331 w 9601"/>
                <a:gd name="connsiteY233" fmla="*/ 715 h 10000"/>
                <a:gd name="connsiteX234" fmla="*/ 5975 w 9601"/>
                <a:gd name="connsiteY234" fmla="*/ 866 h 10000"/>
                <a:gd name="connsiteX235" fmla="*/ 5881 w 9601"/>
                <a:gd name="connsiteY235" fmla="*/ 1017 h 10000"/>
                <a:gd name="connsiteX236" fmla="*/ 5612 w 9601"/>
                <a:gd name="connsiteY236" fmla="*/ 1153 h 10000"/>
                <a:gd name="connsiteX237" fmla="*/ 5563 w 9601"/>
                <a:gd name="connsiteY237" fmla="*/ 1222 h 10000"/>
                <a:gd name="connsiteX238" fmla="*/ 5703 w 9601"/>
                <a:gd name="connsiteY238" fmla="*/ 1344 h 10000"/>
                <a:gd name="connsiteX239" fmla="*/ 5718 w 9601"/>
                <a:gd name="connsiteY239" fmla="*/ 1412 h 10000"/>
                <a:gd name="connsiteX240" fmla="*/ 4983 w 9601"/>
                <a:gd name="connsiteY240" fmla="*/ 1813 h 10000"/>
                <a:gd name="connsiteX241" fmla="*/ 4757 w 9601"/>
                <a:gd name="connsiteY241" fmla="*/ 2070 h 10000"/>
                <a:gd name="connsiteX242" fmla="*/ 4514 w 9601"/>
                <a:gd name="connsiteY242" fmla="*/ 2135 h 10000"/>
                <a:gd name="connsiteX243" fmla="*/ 4359 w 9601"/>
                <a:gd name="connsiteY243" fmla="*/ 2131 h 10000"/>
                <a:gd name="connsiteX244" fmla="*/ 4266 w 9601"/>
                <a:gd name="connsiteY244" fmla="*/ 2153 h 10000"/>
                <a:gd name="connsiteX245" fmla="*/ 4011 w 9601"/>
                <a:gd name="connsiteY245" fmla="*/ 2793 h 10000"/>
                <a:gd name="connsiteX246" fmla="*/ 3423 w 9601"/>
                <a:gd name="connsiteY246" fmla="*/ 3166 h 10000"/>
                <a:gd name="connsiteX247" fmla="*/ 3427 w 9601"/>
                <a:gd name="connsiteY247" fmla="*/ 3225 h 10000"/>
                <a:gd name="connsiteX248" fmla="*/ 3688 w 9601"/>
                <a:gd name="connsiteY248" fmla="*/ 3392 h 10000"/>
                <a:gd name="connsiteX249" fmla="*/ 3603 w 9601"/>
                <a:gd name="connsiteY249" fmla="*/ 3573 h 10000"/>
                <a:gd name="connsiteX250" fmla="*/ 3451 w 9601"/>
                <a:gd name="connsiteY250" fmla="*/ 3640 h 10000"/>
                <a:gd name="connsiteX251" fmla="*/ 2994 w 9601"/>
                <a:gd name="connsiteY251" fmla="*/ 3595 h 10000"/>
                <a:gd name="connsiteX252" fmla="*/ 2680 w 9601"/>
                <a:gd name="connsiteY252" fmla="*/ 3620 h 10000"/>
                <a:gd name="connsiteX253" fmla="*/ 2427 w 9601"/>
                <a:gd name="connsiteY253" fmla="*/ 3673 h 10000"/>
                <a:gd name="connsiteX254" fmla="*/ 2018 w 9601"/>
                <a:gd name="connsiteY254" fmla="*/ 3840 h 10000"/>
                <a:gd name="connsiteX255" fmla="*/ 1802 w 9601"/>
                <a:gd name="connsiteY255" fmla="*/ 4042 h 10000"/>
                <a:gd name="connsiteX256" fmla="*/ 1820 w 9601"/>
                <a:gd name="connsiteY256" fmla="*/ 4154 h 10000"/>
                <a:gd name="connsiteX257" fmla="*/ 1896 w 9601"/>
                <a:gd name="connsiteY257" fmla="*/ 4241 h 10000"/>
                <a:gd name="connsiteX258" fmla="*/ 1953 w 9601"/>
                <a:gd name="connsiteY258" fmla="*/ 4276 h 10000"/>
                <a:gd name="connsiteX259" fmla="*/ 1847 w 9601"/>
                <a:gd name="connsiteY259" fmla="*/ 4331 h 10000"/>
                <a:gd name="connsiteX260" fmla="*/ 1616 w 9601"/>
                <a:gd name="connsiteY260" fmla="*/ 4710 h 10000"/>
                <a:gd name="connsiteX261" fmla="*/ 1660 w 9601"/>
                <a:gd name="connsiteY261" fmla="*/ 4732 h 10000"/>
                <a:gd name="connsiteX262" fmla="*/ 1694 w 9601"/>
                <a:gd name="connsiteY262" fmla="*/ 4828 h 10000"/>
                <a:gd name="connsiteX263" fmla="*/ 1586 w 9601"/>
                <a:gd name="connsiteY263" fmla="*/ 5227 h 10000"/>
                <a:gd name="connsiteX264" fmla="*/ 1694 w 9601"/>
                <a:gd name="connsiteY264" fmla="*/ 5329 h 10000"/>
                <a:gd name="connsiteX265" fmla="*/ 1988 w 9601"/>
                <a:gd name="connsiteY265" fmla="*/ 5441 h 10000"/>
                <a:gd name="connsiteX266" fmla="*/ 2002 w 9601"/>
                <a:gd name="connsiteY266" fmla="*/ 5578 h 10000"/>
                <a:gd name="connsiteX267" fmla="*/ 1876 w 9601"/>
                <a:gd name="connsiteY267" fmla="*/ 5690 h 10000"/>
                <a:gd name="connsiteX268" fmla="*/ 1694 w 9601"/>
                <a:gd name="connsiteY268" fmla="*/ 5759 h 10000"/>
                <a:gd name="connsiteX269" fmla="*/ 1453 w 9601"/>
                <a:gd name="connsiteY269" fmla="*/ 5787 h 10000"/>
                <a:gd name="connsiteX270" fmla="*/ 1390 w 9601"/>
                <a:gd name="connsiteY270" fmla="*/ 5826 h 10000"/>
                <a:gd name="connsiteX271" fmla="*/ 1530 w 9601"/>
                <a:gd name="connsiteY271" fmla="*/ 5920 h 10000"/>
                <a:gd name="connsiteX272" fmla="*/ 1611 w 9601"/>
                <a:gd name="connsiteY272" fmla="*/ 6142 h 10000"/>
                <a:gd name="connsiteX273" fmla="*/ 1429 w 9601"/>
                <a:gd name="connsiteY273" fmla="*/ 6333 h 10000"/>
                <a:gd name="connsiteX274" fmla="*/ 1492 w 9601"/>
                <a:gd name="connsiteY274" fmla="*/ 6392 h 10000"/>
                <a:gd name="connsiteX275" fmla="*/ 1434 w 9601"/>
                <a:gd name="connsiteY275" fmla="*/ 6492 h 10000"/>
                <a:gd name="connsiteX276" fmla="*/ 1317 w 9601"/>
                <a:gd name="connsiteY276" fmla="*/ 6561 h 10000"/>
                <a:gd name="connsiteX277" fmla="*/ 854 w 9601"/>
                <a:gd name="connsiteY277" fmla="*/ 6614 h 10000"/>
                <a:gd name="connsiteX278" fmla="*/ 826 w 9601"/>
                <a:gd name="connsiteY278" fmla="*/ 6706 h 10000"/>
                <a:gd name="connsiteX279" fmla="*/ 576 w 9601"/>
                <a:gd name="connsiteY279" fmla="*/ 6843 h 10000"/>
                <a:gd name="connsiteX280" fmla="*/ 609 w 9601"/>
                <a:gd name="connsiteY280" fmla="*/ 7040 h 10000"/>
                <a:gd name="connsiteX281" fmla="*/ 398 w 9601"/>
                <a:gd name="connsiteY281" fmla="*/ 7293 h 10000"/>
                <a:gd name="connsiteX282" fmla="*/ 255 w 9601"/>
                <a:gd name="connsiteY282" fmla="*/ 7323 h 10000"/>
                <a:gd name="connsiteX283" fmla="*/ 196 w 9601"/>
                <a:gd name="connsiteY283" fmla="*/ 7262 h 10000"/>
                <a:gd name="connsiteX284" fmla="*/ 123 w 9601"/>
                <a:gd name="connsiteY284" fmla="*/ 7354 h 10000"/>
                <a:gd name="connsiteX285" fmla="*/ 171 w 9601"/>
                <a:gd name="connsiteY285" fmla="*/ 7197 h 10000"/>
                <a:gd name="connsiteX286" fmla="*/ 141 w 9601"/>
                <a:gd name="connsiteY286" fmla="*/ 7166 h 10000"/>
                <a:gd name="connsiteX0" fmla="*/ 147 w 10000"/>
                <a:gd name="connsiteY0" fmla="*/ 7176 h 10010"/>
                <a:gd name="connsiteX1" fmla="*/ 0 w 10000"/>
                <a:gd name="connsiteY1" fmla="*/ 7258 h 10010"/>
                <a:gd name="connsiteX2" fmla="*/ 0 w 10000"/>
                <a:gd name="connsiteY2" fmla="*/ 7661 h 10010"/>
                <a:gd name="connsiteX3" fmla="*/ 81 w 10000"/>
                <a:gd name="connsiteY3" fmla="*/ 7673 h 10010"/>
                <a:gd name="connsiteX4" fmla="*/ 100 w 10000"/>
                <a:gd name="connsiteY4" fmla="*/ 7704 h 10010"/>
                <a:gd name="connsiteX5" fmla="*/ 96 w 10000"/>
                <a:gd name="connsiteY5" fmla="*/ 7759 h 10010"/>
                <a:gd name="connsiteX6" fmla="*/ 66 w 10000"/>
                <a:gd name="connsiteY6" fmla="*/ 7783 h 10010"/>
                <a:gd name="connsiteX7" fmla="*/ 190 w 10000"/>
                <a:gd name="connsiteY7" fmla="*/ 7737 h 10010"/>
                <a:gd name="connsiteX8" fmla="*/ 242 w 10000"/>
                <a:gd name="connsiteY8" fmla="*/ 7690 h 10010"/>
                <a:gd name="connsiteX9" fmla="*/ 306 w 10000"/>
                <a:gd name="connsiteY9" fmla="*/ 7722 h 10010"/>
                <a:gd name="connsiteX10" fmla="*/ 235 w 10000"/>
                <a:gd name="connsiteY10" fmla="*/ 7788 h 10010"/>
                <a:gd name="connsiteX11" fmla="*/ 311 w 10000"/>
                <a:gd name="connsiteY11" fmla="*/ 7790 h 10010"/>
                <a:gd name="connsiteX12" fmla="*/ 348 w 10000"/>
                <a:gd name="connsiteY12" fmla="*/ 7806 h 10010"/>
                <a:gd name="connsiteX13" fmla="*/ 250 w 10000"/>
                <a:gd name="connsiteY13" fmla="*/ 7828 h 10010"/>
                <a:gd name="connsiteX14" fmla="*/ 96 w 10000"/>
                <a:gd name="connsiteY14" fmla="*/ 7896 h 10010"/>
                <a:gd name="connsiteX15" fmla="*/ 370 w 10000"/>
                <a:gd name="connsiteY15" fmla="*/ 7948 h 10010"/>
                <a:gd name="connsiteX16" fmla="*/ 404 w 10000"/>
                <a:gd name="connsiteY16" fmla="*/ 8024 h 10010"/>
                <a:gd name="connsiteX17" fmla="*/ 311 w 10000"/>
                <a:gd name="connsiteY17" fmla="*/ 8136 h 10010"/>
                <a:gd name="connsiteX18" fmla="*/ 511 w 10000"/>
                <a:gd name="connsiteY18" fmla="*/ 8128 h 10010"/>
                <a:gd name="connsiteX19" fmla="*/ 526 w 10000"/>
                <a:gd name="connsiteY19" fmla="*/ 8213 h 10010"/>
                <a:gd name="connsiteX20" fmla="*/ 393 w 10000"/>
                <a:gd name="connsiteY20" fmla="*/ 8270 h 10010"/>
                <a:gd name="connsiteX21" fmla="*/ 415 w 10000"/>
                <a:gd name="connsiteY21" fmla="*/ 8380 h 10010"/>
                <a:gd name="connsiteX22" fmla="*/ 364 w 10000"/>
                <a:gd name="connsiteY22" fmla="*/ 8466 h 10010"/>
                <a:gd name="connsiteX23" fmla="*/ 521 w 10000"/>
                <a:gd name="connsiteY23" fmla="*/ 8474 h 10010"/>
                <a:gd name="connsiteX24" fmla="*/ 676 w 10000"/>
                <a:gd name="connsiteY24" fmla="*/ 8802 h 10010"/>
                <a:gd name="connsiteX25" fmla="*/ 853 w 10000"/>
                <a:gd name="connsiteY25" fmla="*/ 8886 h 10010"/>
                <a:gd name="connsiteX26" fmla="*/ 931 w 10000"/>
                <a:gd name="connsiteY26" fmla="*/ 8975 h 10010"/>
                <a:gd name="connsiteX27" fmla="*/ 1125 w 10000"/>
                <a:gd name="connsiteY27" fmla="*/ 9040 h 10010"/>
                <a:gd name="connsiteX28" fmla="*/ 1249 w 10000"/>
                <a:gd name="connsiteY28" fmla="*/ 9122 h 10010"/>
                <a:gd name="connsiteX29" fmla="*/ 1233 w 10000"/>
                <a:gd name="connsiteY29" fmla="*/ 9181 h 10010"/>
                <a:gd name="connsiteX30" fmla="*/ 1110 w 10000"/>
                <a:gd name="connsiteY30" fmla="*/ 9203 h 10010"/>
                <a:gd name="connsiteX31" fmla="*/ 976 w 10000"/>
                <a:gd name="connsiteY31" fmla="*/ 9189 h 10010"/>
                <a:gd name="connsiteX32" fmla="*/ 935 w 10000"/>
                <a:gd name="connsiteY32" fmla="*/ 9214 h 10010"/>
                <a:gd name="connsiteX33" fmla="*/ 1037 w 10000"/>
                <a:gd name="connsiteY33" fmla="*/ 9342 h 10010"/>
                <a:gd name="connsiteX34" fmla="*/ 894 w 10000"/>
                <a:gd name="connsiteY34" fmla="*/ 9332 h 10010"/>
                <a:gd name="connsiteX35" fmla="*/ 773 w 10000"/>
                <a:gd name="connsiteY35" fmla="*/ 9301 h 10010"/>
                <a:gd name="connsiteX36" fmla="*/ 750 w 10000"/>
                <a:gd name="connsiteY36" fmla="*/ 9348 h 10010"/>
                <a:gd name="connsiteX37" fmla="*/ 1155 w 10000"/>
                <a:gd name="connsiteY37" fmla="*/ 9786 h 10010"/>
                <a:gd name="connsiteX38" fmla="*/ 1091 w 10000"/>
                <a:gd name="connsiteY38" fmla="*/ 9827 h 10010"/>
                <a:gd name="connsiteX39" fmla="*/ 1045 w 10000"/>
                <a:gd name="connsiteY39" fmla="*/ 9912 h 10010"/>
                <a:gd name="connsiteX40" fmla="*/ 987 w 10000"/>
                <a:gd name="connsiteY40" fmla="*/ 9918 h 10010"/>
                <a:gd name="connsiteX41" fmla="*/ 951 w 10000"/>
                <a:gd name="connsiteY41" fmla="*/ 9955 h 10010"/>
                <a:gd name="connsiteX42" fmla="*/ 1195 w 10000"/>
                <a:gd name="connsiteY42" fmla="*/ 9959 h 10010"/>
                <a:gd name="connsiteX43" fmla="*/ 1410 w 10000"/>
                <a:gd name="connsiteY43" fmla="*/ 9996 h 10010"/>
                <a:gd name="connsiteX44" fmla="*/ 1769 w 10000"/>
                <a:gd name="connsiteY44" fmla="*/ 9957 h 10010"/>
                <a:gd name="connsiteX45" fmla="*/ 2091 w 10000"/>
                <a:gd name="connsiteY45" fmla="*/ 9963 h 10010"/>
                <a:gd name="connsiteX46" fmla="*/ 2280 w 10000"/>
                <a:gd name="connsiteY46" fmla="*/ 10010 h 10010"/>
                <a:gd name="connsiteX47" fmla="*/ 2385 w 10000"/>
                <a:gd name="connsiteY47" fmla="*/ 9979 h 10010"/>
                <a:gd name="connsiteX48" fmla="*/ 2485 w 10000"/>
                <a:gd name="connsiteY48" fmla="*/ 9878 h 10010"/>
                <a:gd name="connsiteX49" fmla="*/ 2459 w 10000"/>
                <a:gd name="connsiteY49" fmla="*/ 9713 h 10010"/>
                <a:gd name="connsiteX50" fmla="*/ 2704 w 10000"/>
                <a:gd name="connsiteY50" fmla="*/ 9527 h 10010"/>
                <a:gd name="connsiteX51" fmla="*/ 2883 w 10000"/>
                <a:gd name="connsiteY51" fmla="*/ 9556 h 10010"/>
                <a:gd name="connsiteX52" fmla="*/ 2987 w 10000"/>
                <a:gd name="connsiteY52" fmla="*/ 9482 h 10010"/>
                <a:gd name="connsiteX53" fmla="*/ 3186 w 10000"/>
                <a:gd name="connsiteY53" fmla="*/ 9440 h 10010"/>
                <a:gd name="connsiteX54" fmla="*/ 3457 w 10000"/>
                <a:gd name="connsiteY54" fmla="*/ 9450 h 10010"/>
                <a:gd name="connsiteX55" fmla="*/ 3620 w 10000"/>
                <a:gd name="connsiteY55" fmla="*/ 9480 h 10010"/>
                <a:gd name="connsiteX56" fmla="*/ 3837 w 10000"/>
                <a:gd name="connsiteY56" fmla="*/ 9466 h 10010"/>
                <a:gd name="connsiteX57" fmla="*/ 4056 w 10000"/>
                <a:gd name="connsiteY57" fmla="*/ 9499 h 10010"/>
                <a:gd name="connsiteX58" fmla="*/ 4275 w 10000"/>
                <a:gd name="connsiteY58" fmla="*/ 9503 h 10010"/>
                <a:gd name="connsiteX59" fmla="*/ 4765 w 10000"/>
                <a:gd name="connsiteY59" fmla="*/ 9071 h 10010"/>
                <a:gd name="connsiteX60" fmla="*/ 4889 w 10000"/>
                <a:gd name="connsiteY60" fmla="*/ 8721 h 10010"/>
                <a:gd name="connsiteX61" fmla="*/ 5088 w 10000"/>
                <a:gd name="connsiteY61" fmla="*/ 8564 h 10010"/>
                <a:gd name="connsiteX62" fmla="*/ 5088 w 10000"/>
                <a:gd name="connsiteY62" fmla="*/ 8482 h 10010"/>
                <a:gd name="connsiteX63" fmla="*/ 5016 w 10000"/>
                <a:gd name="connsiteY63" fmla="*/ 8435 h 10010"/>
                <a:gd name="connsiteX64" fmla="*/ 5133 w 10000"/>
                <a:gd name="connsiteY64" fmla="*/ 8362 h 10010"/>
                <a:gd name="connsiteX65" fmla="*/ 5112 w 10000"/>
                <a:gd name="connsiteY65" fmla="*/ 8299 h 10010"/>
                <a:gd name="connsiteX66" fmla="*/ 5032 w 10000"/>
                <a:gd name="connsiteY66" fmla="*/ 8246 h 10010"/>
                <a:gd name="connsiteX67" fmla="*/ 5016 w 10000"/>
                <a:gd name="connsiteY67" fmla="*/ 8209 h 10010"/>
                <a:gd name="connsiteX68" fmla="*/ 5036 w 10000"/>
                <a:gd name="connsiteY68" fmla="*/ 8179 h 10010"/>
                <a:gd name="connsiteX69" fmla="*/ 5144 w 10000"/>
                <a:gd name="connsiteY69" fmla="*/ 8203 h 10010"/>
                <a:gd name="connsiteX70" fmla="*/ 5230 w 10000"/>
                <a:gd name="connsiteY70" fmla="*/ 8201 h 10010"/>
                <a:gd name="connsiteX71" fmla="*/ 5184 w 10000"/>
                <a:gd name="connsiteY71" fmla="*/ 8150 h 10010"/>
                <a:gd name="connsiteX72" fmla="*/ 5198 w 10000"/>
                <a:gd name="connsiteY72" fmla="*/ 8122 h 10010"/>
                <a:gd name="connsiteX73" fmla="*/ 5262 w 10000"/>
                <a:gd name="connsiteY73" fmla="*/ 8079 h 10010"/>
                <a:gd name="connsiteX74" fmla="*/ 5250 w 10000"/>
                <a:gd name="connsiteY74" fmla="*/ 8044 h 10010"/>
                <a:gd name="connsiteX75" fmla="*/ 5309 w 10000"/>
                <a:gd name="connsiteY75" fmla="*/ 7926 h 10010"/>
                <a:gd name="connsiteX76" fmla="*/ 5293 w 10000"/>
                <a:gd name="connsiteY76" fmla="*/ 7891 h 10010"/>
                <a:gd name="connsiteX77" fmla="*/ 4996 w 10000"/>
                <a:gd name="connsiteY77" fmla="*/ 7802 h 10010"/>
                <a:gd name="connsiteX78" fmla="*/ 5036 w 10000"/>
                <a:gd name="connsiteY78" fmla="*/ 7798 h 10010"/>
                <a:gd name="connsiteX79" fmla="*/ 5194 w 10000"/>
                <a:gd name="connsiteY79" fmla="*/ 7822 h 10010"/>
                <a:gd name="connsiteX80" fmla="*/ 5365 w 10000"/>
                <a:gd name="connsiteY80" fmla="*/ 7814 h 10010"/>
                <a:gd name="connsiteX81" fmla="*/ 5415 w 10000"/>
                <a:gd name="connsiteY81" fmla="*/ 7781 h 10010"/>
                <a:gd name="connsiteX82" fmla="*/ 5250 w 10000"/>
                <a:gd name="connsiteY82" fmla="*/ 7720 h 10010"/>
                <a:gd name="connsiteX83" fmla="*/ 4761 w 10000"/>
                <a:gd name="connsiteY83" fmla="*/ 7680 h 10010"/>
                <a:gd name="connsiteX84" fmla="*/ 4794 w 10000"/>
                <a:gd name="connsiteY84" fmla="*/ 7661 h 10010"/>
                <a:gd name="connsiteX85" fmla="*/ 5194 w 10000"/>
                <a:gd name="connsiteY85" fmla="*/ 7649 h 10010"/>
                <a:gd name="connsiteX86" fmla="*/ 5415 w 10000"/>
                <a:gd name="connsiteY86" fmla="*/ 7686 h 10010"/>
                <a:gd name="connsiteX87" fmla="*/ 5542 w 10000"/>
                <a:gd name="connsiteY87" fmla="*/ 7661 h 10010"/>
                <a:gd name="connsiteX88" fmla="*/ 5589 w 10000"/>
                <a:gd name="connsiteY88" fmla="*/ 7598 h 10010"/>
                <a:gd name="connsiteX89" fmla="*/ 5819 w 10000"/>
                <a:gd name="connsiteY89" fmla="*/ 7598 h 10010"/>
                <a:gd name="connsiteX90" fmla="*/ 6131 w 10000"/>
                <a:gd name="connsiteY90" fmla="*/ 7472 h 10010"/>
                <a:gd name="connsiteX91" fmla="*/ 6142 w 10000"/>
                <a:gd name="connsiteY91" fmla="*/ 7388 h 10010"/>
                <a:gd name="connsiteX92" fmla="*/ 6274 w 10000"/>
                <a:gd name="connsiteY92" fmla="*/ 7407 h 10010"/>
                <a:gd name="connsiteX93" fmla="*/ 6268 w 10000"/>
                <a:gd name="connsiteY93" fmla="*/ 7492 h 10010"/>
                <a:gd name="connsiteX94" fmla="*/ 6478 w 10000"/>
                <a:gd name="connsiteY94" fmla="*/ 7486 h 10010"/>
                <a:gd name="connsiteX95" fmla="*/ 6616 w 10000"/>
                <a:gd name="connsiteY95" fmla="*/ 7398 h 10010"/>
                <a:gd name="connsiteX96" fmla="*/ 6872 w 10000"/>
                <a:gd name="connsiteY96" fmla="*/ 7319 h 10010"/>
                <a:gd name="connsiteX97" fmla="*/ 6832 w 10000"/>
                <a:gd name="connsiteY97" fmla="*/ 7229 h 10010"/>
                <a:gd name="connsiteX98" fmla="*/ 6908 w 10000"/>
                <a:gd name="connsiteY98" fmla="*/ 7264 h 10010"/>
                <a:gd name="connsiteX99" fmla="*/ 7025 w 10000"/>
                <a:gd name="connsiteY99" fmla="*/ 7264 h 10010"/>
                <a:gd name="connsiteX100" fmla="*/ 7025 w 10000"/>
                <a:gd name="connsiteY100" fmla="*/ 7223 h 10010"/>
                <a:gd name="connsiteX101" fmla="*/ 7134 w 10000"/>
                <a:gd name="connsiteY101" fmla="*/ 7191 h 10010"/>
                <a:gd name="connsiteX102" fmla="*/ 7119 w 10000"/>
                <a:gd name="connsiteY102" fmla="*/ 7158 h 10010"/>
                <a:gd name="connsiteX103" fmla="*/ 6198 w 10000"/>
                <a:gd name="connsiteY103" fmla="*/ 7225 h 10010"/>
                <a:gd name="connsiteX104" fmla="*/ 5983 w 10000"/>
                <a:gd name="connsiteY104" fmla="*/ 7205 h 10010"/>
                <a:gd name="connsiteX105" fmla="*/ 5895 w 10000"/>
                <a:gd name="connsiteY105" fmla="*/ 7229 h 10010"/>
                <a:gd name="connsiteX106" fmla="*/ 5866 w 10000"/>
                <a:gd name="connsiteY106" fmla="*/ 7183 h 10010"/>
                <a:gd name="connsiteX107" fmla="*/ 5764 w 10000"/>
                <a:gd name="connsiteY107" fmla="*/ 7142 h 10010"/>
                <a:gd name="connsiteX108" fmla="*/ 5354 w 10000"/>
                <a:gd name="connsiteY108" fmla="*/ 7062 h 10010"/>
                <a:gd name="connsiteX109" fmla="*/ 5112 w 10000"/>
                <a:gd name="connsiteY109" fmla="*/ 7075 h 10010"/>
                <a:gd name="connsiteX110" fmla="*/ 5016 w 10000"/>
                <a:gd name="connsiteY110" fmla="*/ 7052 h 10010"/>
                <a:gd name="connsiteX111" fmla="*/ 5118 w 10000"/>
                <a:gd name="connsiteY111" fmla="*/ 7032 h 10010"/>
                <a:gd name="connsiteX112" fmla="*/ 5194 w 10000"/>
                <a:gd name="connsiteY112" fmla="*/ 6989 h 10010"/>
                <a:gd name="connsiteX113" fmla="*/ 5309 w 10000"/>
                <a:gd name="connsiteY113" fmla="*/ 7003 h 10010"/>
                <a:gd name="connsiteX114" fmla="*/ 5445 w 10000"/>
                <a:gd name="connsiteY114" fmla="*/ 6991 h 10010"/>
                <a:gd name="connsiteX115" fmla="*/ 5650 w 10000"/>
                <a:gd name="connsiteY115" fmla="*/ 7005 h 10010"/>
                <a:gd name="connsiteX116" fmla="*/ 5675 w 10000"/>
                <a:gd name="connsiteY116" fmla="*/ 6999 h 10010"/>
                <a:gd name="connsiteX117" fmla="*/ 5834 w 10000"/>
                <a:gd name="connsiteY117" fmla="*/ 7066 h 10010"/>
                <a:gd name="connsiteX118" fmla="*/ 5951 w 10000"/>
                <a:gd name="connsiteY118" fmla="*/ 7042 h 10010"/>
                <a:gd name="connsiteX119" fmla="*/ 5961 w 10000"/>
                <a:gd name="connsiteY119" fmla="*/ 7020 h 10010"/>
                <a:gd name="connsiteX120" fmla="*/ 6069 w 10000"/>
                <a:gd name="connsiteY120" fmla="*/ 7058 h 10010"/>
                <a:gd name="connsiteX121" fmla="*/ 6212 w 10000"/>
                <a:gd name="connsiteY121" fmla="*/ 7079 h 10010"/>
                <a:gd name="connsiteX122" fmla="*/ 6268 w 10000"/>
                <a:gd name="connsiteY122" fmla="*/ 7040 h 10010"/>
                <a:gd name="connsiteX123" fmla="*/ 6314 w 10000"/>
                <a:gd name="connsiteY123" fmla="*/ 7062 h 10010"/>
                <a:gd name="connsiteX124" fmla="*/ 6381 w 10000"/>
                <a:gd name="connsiteY124" fmla="*/ 7136 h 10010"/>
                <a:gd name="connsiteX125" fmla="*/ 6519 w 10000"/>
                <a:gd name="connsiteY125" fmla="*/ 7154 h 10010"/>
                <a:gd name="connsiteX126" fmla="*/ 7082 w 10000"/>
                <a:gd name="connsiteY126" fmla="*/ 7044 h 10010"/>
                <a:gd name="connsiteX127" fmla="*/ 7359 w 10000"/>
                <a:gd name="connsiteY127" fmla="*/ 6889 h 10010"/>
                <a:gd name="connsiteX128" fmla="*/ 7423 w 10000"/>
                <a:gd name="connsiteY128" fmla="*/ 6775 h 10010"/>
                <a:gd name="connsiteX129" fmla="*/ 7323 w 10000"/>
                <a:gd name="connsiteY129" fmla="*/ 6673 h 10010"/>
                <a:gd name="connsiteX130" fmla="*/ 7113 w 10000"/>
                <a:gd name="connsiteY130" fmla="*/ 6612 h 10010"/>
                <a:gd name="connsiteX131" fmla="*/ 6963 w 10000"/>
                <a:gd name="connsiteY131" fmla="*/ 6512 h 10010"/>
                <a:gd name="connsiteX132" fmla="*/ 7102 w 10000"/>
                <a:gd name="connsiteY132" fmla="*/ 6508 h 10010"/>
                <a:gd name="connsiteX133" fmla="*/ 7093 w 10000"/>
                <a:gd name="connsiteY133" fmla="*/ 6484 h 10010"/>
                <a:gd name="connsiteX134" fmla="*/ 6731 w 10000"/>
                <a:gd name="connsiteY134" fmla="*/ 6413 h 10010"/>
                <a:gd name="connsiteX135" fmla="*/ 6716 w 10000"/>
                <a:gd name="connsiteY135" fmla="*/ 6349 h 10010"/>
                <a:gd name="connsiteX136" fmla="*/ 6646 w 10000"/>
                <a:gd name="connsiteY136" fmla="*/ 6282 h 10010"/>
                <a:gd name="connsiteX137" fmla="*/ 6360 w 10000"/>
                <a:gd name="connsiteY137" fmla="*/ 6294 h 10010"/>
                <a:gd name="connsiteX138" fmla="*/ 6258 w 10000"/>
                <a:gd name="connsiteY138" fmla="*/ 6223 h 10010"/>
                <a:gd name="connsiteX139" fmla="*/ 6198 w 10000"/>
                <a:gd name="connsiteY139" fmla="*/ 6219 h 10010"/>
                <a:gd name="connsiteX140" fmla="*/ 6198 w 10000"/>
                <a:gd name="connsiteY140" fmla="*/ 6248 h 10010"/>
                <a:gd name="connsiteX141" fmla="*/ 6069 w 10000"/>
                <a:gd name="connsiteY141" fmla="*/ 6368 h 10010"/>
                <a:gd name="connsiteX142" fmla="*/ 5930 w 10000"/>
                <a:gd name="connsiteY142" fmla="*/ 6439 h 10010"/>
                <a:gd name="connsiteX143" fmla="*/ 5495 w 10000"/>
                <a:gd name="connsiteY143" fmla="*/ 6561 h 10010"/>
                <a:gd name="connsiteX144" fmla="*/ 5342 w 10000"/>
                <a:gd name="connsiteY144" fmla="*/ 6557 h 10010"/>
                <a:gd name="connsiteX145" fmla="*/ 5133 w 10000"/>
                <a:gd name="connsiteY145" fmla="*/ 6575 h 10010"/>
                <a:gd name="connsiteX146" fmla="*/ 5016 w 10000"/>
                <a:gd name="connsiteY146" fmla="*/ 6557 h 10010"/>
                <a:gd name="connsiteX147" fmla="*/ 5169 w 10000"/>
                <a:gd name="connsiteY147" fmla="*/ 6523 h 10010"/>
                <a:gd name="connsiteX148" fmla="*/ 5369 w 10000"/>
                <a:gd name="connsiteY148" fmla="*/ 6508 h 10010"/>
                <a:gd name="connsiteX149" fmla="*/ 5534 w 10000"/>
                <a:gd name="connsiteY149" fmla="*/ 6451 h 10010"/>
                <a:gd name="connsiteX150" fmla="*/ 5695 w 10000"/>
                <a:gd name="connsiteY150" fmla="*/ 6425 h 10010"/>
                <a:gd name="connsiteX151" fmla="*/ 5998 w 10000"/>
                <a:gd name="connsiteY151" fmla="*/ 6327 h 10010"/>
                <a:gd name="connsiteX152" fmla="*/ 6056 w 10000"/>
                <a:gd name="connsiteY152" fmla="*/ 6262 h 10010"/>
                <a:gd name="connsiteX153" fmla="*/ 6060 w 10000"/>
                <a:gd name="connsiteY153" fmla="*/ 6178 h 10010"/>
                <a:gd name="connsiteX154" fmla="*/ 5921 w 10000"/>
                <a:gd name="connsiteY154" fmla="*/ 6164 h 10010"/>
                <a:gd name="connsiteX155" fmla="*/ 5983 w 10000"/>
                <a:gd name="connsiteY155" fmla="*/ 6113 h 10010"/>
                <a:gd name="connsiteX156" fmla="*/ 6002 w 10000"/>
                <a:gd name="connsiteY156" fmla="*/ 6048 h 10010"/>
                <a:gd name="connsiteX157" fmla="*/ 5944 w 10000"/>
                <a:gd name="connsiteY157" fmla="*/ 5987 h 10010"/>
                <a:gd name="connsiteX158" fmla="*/ 5911 w 10000"/>
                <a:gd name="connsiteY158" fmla="*/ 5543 h 10010"/>
                <a:gd name="connsiteX159" fmla="*/ 5993 w 10000"/>
                <a:gd name="connsiteY159" fmla="*/ 5447 h 10010"/>
                <a:gd name="connsiteX160" fmla="*/ 5972 w 10000"/>
                <a:gd name="connsiteY160" fmla="*/ 5408 h 10010"/>
                <a:gd name="connsiteX161" fmla="*/ 6212 w 10000"/>
                <a:gd name="connsiteY161" fmla="*/ 5465 h 10010"/>
                <a:gd name="connsiteX162" fmla="*/ 6229 w 10000"/>
                <a:gd name="connsiteY162" fmla="*/ 5412 h 10010"/>
                <a:gd name="connsiteX163" fmla="*/ 6176 w 10000"/>
                <a:gd name="connsiteY163" fmla="*/ 5274 h 10010"/>
                <a:gd name="connsiteX164" fmla="*/ 6349 w 10000"/>
                <a:gd name="connsiteY164" fmla="*/ 5029 h 10010"/>
                <a:gd name="connsiteX165" fmla="*/ 6243 w 10000"/>
                <a:gd name="connsiteY165" fmla="*/ 4970 h 10010"/>
                <a:gd name="connsiteX166" fmla="*/ 6202 w 10000"/>
                <a:gd name="connsiteY166" fmla="*/ 4915 h 10010"/>
                <a:gd name="connsiteX167" fmla="*/ 6216 w 10000"/>
                <a:gd name="connsiteY167" fmla="*/ 4826 h 10010"/>
                <a:gd name="connsiteX168" fmla="*/ 6470 w 10000"/>
                <a:gd name="connsiteY168" fmla="*/ 4885 h 10010"/>
                <a:gd name="connsiteX169" fmla="*/ 6478 w 10000"/>
                <a:gd name="connsiteY169" fmla="*/ 4868 h 10010"/>
                <a:gd name="connsiteX170" fmla="*/ 6548 w 10000"/>
                <a:gd name="connsiteY170" fmla="*/ 4852 h 10010"/>
                <a:gd name="connsiteX171" fmla="*/ 6646 w 10000"/>
                <a:gd name="connsiteY171" fmla="*/ 4795 h 10010"/>
                <a:gd name="connsiteX172" fmla="*/ 6662 w 10000"/>
                <a:gd name="connsiteY172" fmla="*/ 4779 h 10010"/>
                <a:gd name="connsiteX173" fmla="*/ 6641 w 10000"/>
                <a:gd name="connsiteY173" fmla="*/ 4758 h 10010"/>
                <a:gd name="connsiteX174" fmla="*/ 6693 w 10000"/>
                <a:gd name="connsiteY174" fmla="*/ 4657 h 10010"/>
                <a:gd name="connsiteX175" fmla="*/ 6631 w 10000"/>
                <a:gd name="connsiteY175" fmla="*/ 4591 h 10010"/>
                <a:gd name="connsiteX176" fmla="*/ 6641 w 10000"/>
                <a:gd name="connsiteY176" fmla="*/ 4538 h 10010"/>
                <a:gd name="connsiteX177" fmla="*/ 6676 w 10000"/>
                <a:gd name="connsiteY177" fmla="*/ 4600 h 10010"/>
                <a:gd name="connsiteX178" fmla="*/ 6815 w 10000"/>
                <a:gd name="connsiteY178" fmla="*/ 4646 h 10010"/>
                <a:gd name="connsiteX179" fmla="*/ 6872 w 10000"/>
                <a:gd name="connsiteY179" fmla="*/ 4640 h 10010"/>
                <a:gd name="connsiteX180" fmla="*/ 6963 w 10000"/>
                <a:gd name="connsiteY180" fmla="*/ 4579 h 10010"/>
                <a:gd name="connsiteX181" fmla="*/ 7062 w 10000"/>
                <a:gd name="connsiteY181" fmla="*/ 4604 h 10010"/>
                <a:gd name="connsiteX182" fmla="*/ 7088 w 10000"/>
                <a:gd name="connsiteY182" fmla="*/ 4555 h 10010"/>
                <a:gd name="connsiteX183" fmla="*/ 7154 w 10000"/>
                <a:gd name="connsiteY183" fmla="*/ 4522 h 10010"/>
                <a:gd name="connsiteX184" fmla="*/ 6974 w 10000"/>
                <a:gd name="connsiteY184" fmla="*/ 4487 h 10010"/>
                <a:gd name="connsiteX185" fmla="*/ 7102 w 10000"/>
                <a:gd name="connsiteY185" fmla="*/ 4494 h 10010"/>
                <a:gd name="connsiteX186" fmla="*/ 7234 w 10000"/>
                <a:gd name="connsiteY186" fmla="*/ 4457 h 10010"/>
                <a:gd name="connsiteX187" fmla="*/ 7229 w 10000"/>
                <a:gd name="connsiteY187" fmla="*/ 4432 h 10010"/>
                <a:gd name="connsiteX188" fmla="*/ 7353 w 10000"/>
                <a:gd name="connsiteY188" fmla="*/ 4408 h 10010"/>
                <a:gd name="connsiteX189" fmla="*/ 7364 w 10000"/>
                <a:gd name="connsiteY189" fmla="*/ 4347 h 10010"/>
                <a:gd name="connsiteX190" fmla="*/ 7461 w 10000"/>
                <a:gd name="connsiteY190" fmla="*/ 4335 h 10010"/>
                <a:gd name="connsiteX191" fmla="*/ 7469 w 10000"/>
                <a:gd name="connsiteY191" fmla="*/ 4263 h 10010"/>
                <a:gd name="connsiteX192" fmla="*/ 7572 w 10000"/>
                <a:gd name="connsiteY192" fmla="*/ 4255 h 10010"/>
                <a:gd name="connsiteX193" fmla="*/ 7730 w 10000"/>
                <a:gd name="connsiteY193" fmla="*/ 4270 h 10010"/>
                <a:gd name="connsiteX194" fmla="*/ 7904 w 10000"/>
                <a:gd name="connsiteY194" fmla="*/ 4212 h 10010"/>
                <a:gd name="connsiteX195" fmla="*/ 7966 w 10000"/>
                <a:gd name="connsiteY195" fmla="*/ 4147 h 10010"/>
                <a:gd name="connsiteX196" fmla="*/ 8181 w 10000"/>
                <a:gd name="connsiteY196" fmla="*/ 4080 h 10010"/>
                <a:gd name="connsiteX197" fmla="*/ 8288 w 10000"/>
                <a:gd name="connsiteY197" fmla="*/ 4121 h 10010"/>
                <a:gd name="connsiteX198" fmla="*/ 8452 w 10000"/>
                <a:gd name="connsiteY198" fmla="*/ 4076 h 10010"/>
                <a:gd name="connsiteX199" fmla="*/ 8491 w 10000"/>
                <a:gd name="connsiteY199" fmla="*/ 4019 h 10010"/>
                <a:gd name="connsiteX200" fmla="*/ 8616 w 10000"/>
                <a:gd name="connsiteY200" fmla="*/ 3980 h 10010"/>
                <a:gd name="connsiteX201" fmla="*/ 8722 w 10000"/>
                <a:gd name="connsiteY201" fmla="*/ 3997 h 10010"/>
                <a:gd name="connsiteX202" fmla="*/ 8789 w 10000"/>
                <a:gd name="connsiteY202" fmla="*/ 3968 h 10010"/>
                <a:gd name="connsiteX203" fmla="*/ 8973 w 10000"/>
                <a:gd name="connsiteY203" fmla="*/ 3927 h 10010"/>
                <a:gd name="connsiteX204" fmla="*/ 9049 w 10000"/>
                <a:gd name="connsiteY204" fmla="*/ 3874 h 10010"/>
                <a:gd name="connsiteX205" fmla="*/ 9153 w 10000"/>
                <a:gd name="connsiteY205" fmla="*/ 3852 h 10010"/>
                <a:gd name="connsiteX206" fmla="*/ 9720 w 10000"/>
                <a:gd name="connsiteY206" fmla="*/ 3532 h 10010"/>
                <a:gd name="connsiteX207" fmla="*/ 9971 w 10000"/>
                <a:gd name="connsiteY207" fmla="*/ 399 h 10010"/>
                <a:gd name="connsiteX208" fmla="*/ 9049 w 10000"/>
                <a:gd name="connsiteY208" fmla="*/ 36 h 10010"/>
                <a:gd name="connsiteX209" fmla="*/ 8706 w 10000"/>
                <a:gd name="connsiteY209" fmla="*/ 10 h 10010"/>
                <a:gd name="connsiteX210" fmla="*/ 8637 w 10000"/>
                <a:gd name="connsiteY210" fmla="*/ 24 h 10010"/>
                <a:gd name="connsiteX211" fmla="*/ 8652 w 10000"/>
                <a:gd name="connsiteY211" fmla="*/ 71 h 10010"/>
                <a:gd name="connsiteX212" fmla="*/ 8713 w 10000"/>
                <a:gd name="connsiteY212" fmla="*/ 96 h 10010"/>
                <a:gd name="connsiteX213" fmla="*/ 8729 w 10000"/>
                <a:gd name="connsiteY213" fmla="*/ 149 h 10010"/>
                <a:gd name="connsiteX214" fmla="*/ 8706 w 10000"/>
                <a:gd name="connsiteY214" fmla="*/ 191 h 10010"/>
                <a:gd name="connsiteX215" fmla="*/ 8652 w 10000"/>
                <a:gd name="connsiteY215" fmla="*/ 218 h 10010"/>
                <a:gd name="connsiteX216" fmla="*/ 8610 w 10000"/>
                <a:gd name="connsiteY216" fmla="*/ 293 h 10010"/>
                <a:gd name="connsiteX217" fmla="*/ 8533 w 10000"/>
                <a:gd name="connsiteY217" fmla="*/ 346 h 10010"/>
                <a:gd name="connsiteX218" fmla="*/ 8550 w 10000"/>
                <a:gd name="connsiteY218" fmla="*/ 397 h 10010"/>
                <a:gd name="connsiteX219" fmla="*/ 8667 w 10000"/>
                <a:gd name="connsiteY219" fmla="*/ 444 h 10010"/>
                <a:gd name="connsiteX220" fmla="*/ 8591 w 10000"/>
                <a:gd name="connsiteY220" fmla="*/ 485 h 10010"/>
                <a:gd name="connsiteX221" fmla="*/ 8477 w 10000"/>
                <a:gd name="connsiteY221" fmla="*/ 495 h 10010"/>
                <a:gd name="connsiteX222" fmla="*/ 7537 w 10000"/>
                <a:gd name="connsiteY222" fmla="*/ 397 h 10010"/>
                <a:gd name="connsiteX223" fmla="*/ 7423 w 10000"/>
                <a:gd name="connsiteY223" fmla="*/ 405 h 10010"/>
                <a:gd name="connsiteX224" fmla="*/ 7359 w 10000"/>
                <a:gd name="connsiteY224" fmla="*/ 424 h 10010"/>
                <a:gd name="connsiteX225" fmla="*/ 7290 w 10000"/>
                <a:gd name="connsiteY225" fmla="*/ 472 h 10010"/>
                <a:gd name="connsiteX226" fmla="*/ 7302 w 10000"/>
                <a:gd name="connsiteY226" fmla="*/ 591 h 10010"/>
                <a:gd name="connsiteX227" fmla="*/ 7199 w 10000"/>
                <a:gd name="connsiteY227" fmla="*/ 745 h 10010"/>
                <a:gd name="connsiteX228" fmla="*/ 7072 w 10000"/>
                <a:gd name="connsiteY228" fmla="*/ 825 h 10010"/>
                <a:gd name="connsiteX229" fmla="*/ 7021 w 10000"/>
                <a:gd name="connsiteY229" fmla="*/ 815 h 10010"/>
                <a:gd name="connsiteX230" fmla="*/ 6903 w 10000"/>
                <a:gd name="connsiteY230" fmla="*/ 749 h 10010"/>
                <a:gd name="connsiteX231" fmla="*/ 6756 w 10000"/>
                <a:gd name="connsiteY231" fmla="*/ 715 h 10010"/>
                <a:gd name="connsiteX232" fmla="*/ 6594 w 10000"/>
                <a:gd name="connsiteY232" fmla="*/ 725 h 10010"/>
                <a:gd name="connsiteX233" fmla="*/ 6223 w 10000"/>
                <a:gd name="connsiteY233" fmla="*/ 876 h 10010"/>
                <a:gd name="connsiteX234" fmla="*/ 6125 w 10000"/>
                <a:gd name="connsiteY234" fmla="*/ 1027 h 10010"/>
                <a:gd name="connsiteX235" fmla="*/ 5845 w 10000"/>
                <a:gd name="connsiteY235" fmla="*/ 1163 h 10010"/>
                <a:gd name="connsiteX236" fmla="*/ 5794 w 10000"/>
                <a:gd name="connsiteY236" fmla="*/ 1232 h 10010"/>
                <a:gd name="connsiteX237" fmla="*/ 5940 w 10000"/>
                <a:gd name="connsiteY237" fmla="*/ 1354 h 10010"/>
                <a:gd name="connsiteX238" fmla="*/ 5956 w 10000"/>
                <a:gd name="connsiteY238" fmla="*/ 1422 h 10010"/>
                <a:gd name="connsiteX239" fmla="*/ 5190 w 10000"/>
                <a:gd name="connsiteY239" fmla="*/ 1823 h 10010"/>
                <a:gd name="connsiteX240" fmla="*/ 4955 w 10000"/>
                <a:gd name="connsiteY240" fmla="*/ 2080 h 10010"/>
                <a:gd name="connsiteX241" fmla="*/ 4702 w 10000"/>
                <a:gd name="connsiteY241" fmla="*/ 2145 h 10010"/>
                <a:gd name="connsiteX242" fmla="*/ 4540 w 10000"/>
                <a:gd name="connsiteY242" fmla="*/ 2141 h 10010"/>
                <a:gd name="connsiteX243" fmla="*/ 4443 w 10000"/>
                <a:gd name="connsiteY243" fmla="*/ 2163 h 10010"/>
                <a:gd name="connsiteX244" fmla="*/ 4178 w 10000"/>
                <a:gd name="connsiteY244" fmla="*/ 2803 h 10010"/>
                <a:gd name="connsiteX245" fmla="*/ 3565 w 10000"/>
                <a:gd name="connsiteY245" fmla="*/ 3176 h 10010"/>
                <a:gd name="connsiteX246" fmla="*/ 3569 w 10000"/>
                <a:gd name="connsiteY246" fmla="*/ 3235 h 10010"/>
                <a:gd name="connsiteX247" fmla="*/ 3841 w 10000"/>
                <a:gd name="connsiteY247" fmla="*/ 3402 h 10010"/>
                <a:gd name="connsiteX248" fmla="*/ 3753 w 10000"/>
                <a:gd name="connsiteY248" fmla="*/ 3583 h 10010"/>
                <a:gd name="connsiteX249" fmla="*/ 3594 w 10000"/>
                <a:gd name="connsiteY249" fmla="*/ 3650 h 10010"/>
                <a:gd name="connsiteX250" fmla="*/ 3118 w 10000"/>
                <a:gd name="connsiteY250" fmla="*/ 3605 h 10010"/>
                <a:gd name="connsiteX251" fmla="*/ 2791 w 10000"/>
                <a:gd name="connsiteY251" fmla="*/ 3630 h 10010"/>
                <a:gd name="connsiteX252" fmla="*/ 2528 w 10000"/>
                <a:gd name="connsiteY252" fmla="*/ 3683 h 10010"/>
                <a:gd name="connsiteX253" fmla="*/ 2102 w 10000"/>
                <a:gd name="connsiteY253" fmla="*/ 3850 h 10010"/>
                <a:gd name="connsiteX254" fmla="*/ 1877 w 10000"/>
                <a:gd name="connsiteY254" fmla="*/ 4052 h 10010"/>
                <a:gd name="connsiteX255" fmla="*/ 1896 w 10000"/>
                <a:gd name="connsiteY255" fmla="*/ 4164 h 10010"/>
                <a:gd name="connsiteX256" fmla="*/ 1975 w 10000"/>
                <a:gd name="connsiteY256" fmla="*/ 4251 h 10010"/>
                <a:gd name="connsiteX257" fmla="*/ 2034 w 10000"/>
                <a:gd name="connsiteY257" fmla="*/ 4286 h 10010"/>
                <a:gd name="connsiteX258" fmla="*/ 1924 w 10000"/>
                <a:gd name="connsiteY258" fmla="*/ 4341 h 10010"/>
                <a:gd name="connsiteX259" fmla="*/ 1683 w 10000"/>
                <a:gd name="connsiteY259" fmla="*/ 4720 h 10010"/>
                <a:gd name="connsiteX260" fmla="*/ 1729 w 10000"/>
                <a:gd name="connsiteY260" fmla="*/ 4742 h 10010"/>
                <a:gd name="connsiteX261" fmla="*/ 1764 w 10000"/>
                <a:gd name="connsiteY261" fmla="*/ 4838 h 10010"/>
                <a:gd name="connsiteX262" fmla="*/ 1652 w 10000"/>
                <a:gd name="connsiteY262" fmla="*/ 5237 h 10010"/>
                <a:gd name="connsiteX263" fmla="*/ 1764 w 10000"/>
                <a:gd name="connsiteY263" fmla="*/ 5339 h 10010"/>
                <a:gd name="connsiteX264" fmla="*/ 2071 w 10000"/>
                <a:gd name="connsiteY264" fmla="*/ 5451 h 10010"/>
                <a:gd name="connsiteX265" fmla="*/ 2085 w 10000"/>
                <a:gd name="connsiteY265" fmla="*/ 5588 h 10010"/>
                <a:gd name="connsiteX266" fmla="*/ 1954 w 10000"/>
                <a:gd name="connsiteY266" fmla="*/ 5700 h 10010"/>
                <a:gd name="connsiteX267" fmla="*/ 1764 w 10000"/>
                <a:gd name="connsiteY267" fmla="*/ 5769 h 10010"/>
                <a:gd name="connsiteX268" fmla="*/ 1513 w 10000"/>
                <a:gd name="connsiteY268" fmla="*/ 5797 h 10010"/>
                <a:gd name="connsiteX269" fmla="*/ 1448 w 10000"/>
                <a:gd name="connsiteY269" fmla="*/ 5836 h 10010"/>
                <a:gd name="connsiteX270" fmla="*/ 1594 w 10000"/>
                <a:gd name="connsiteY270" fmla="*/ 5930 h 10010"/>
                <a:gd name="connsiteX271" fmla="*/ 1678 w 10000"/>
                <a:gd name="connsiteY271" fmla="*/ 6152 h 10010"/>
                <a:gd name="connsiteX272" fmla="*/ 1488 w 10000"/>
                <a:gd name="connsiteY272" fmla="*/ 6343 h 10010"/>
                <a:gd name="connsiteX273" fmla="*/ 1554 w 10000"/>
                <a:gd name="connsiteY273" fmla="*/ 6402 h 10010"/>
                <a:gd name="connsiteX274" fmla="*/ 1494 w 10000"/>
                <a:gd name="connsiteY274" fmla="*/ 6502 h 10010"/>
                <a:gd name="connsiteX275" fmla="*/ 1372 w 10000"/>
                <a:gd name="connsiteY275" fmla="*/ 6571 h 10010"/>
                <a:gd name="connsiteX276" fmla="*/ 889 w 10000"/>
                <a:gd name="connsiteY276" fmla="*/ 6624 h 10010"/>
                <a:gd name="connsiteX277" fmla="*/ 860 w 10000"/>
                <a:gd name="connsiteY277" fmla="*/ 6716 h 10010"/>
                <a:gd name="connsiteX278" fmla="*/ 600 w 10000"/>
                <a:gd name="connsiteY278" fmla="*/ 6853 h 10010"/>
                <a:gd name="connsiteX279" fmla="*/ 634 w 10000"/>
                <a:gd name="connsiteY279" fmla="*/ 7050 h 10010"/>
                <a:gd name="connsiteX280" fmla="*/ 415 w 10000"/>
                <a:gd name="connsiteY280" fmla="*/ 7303 h 10010"/>
                <a:gd name="connsiteX281" fmla="*/ 266 w 10000"/>
                <a:gd name="connsiteY281" fmla="*/ 7333 h 10010"/>
                <a:gd name="connsiteX282" fmla="*/ 204 w 10000"/>
                <a:gd name="connsiteY282" fmla="*/ 7272 h 10010"/>
                <a:gd name="connsiteX283" fmla="*/ 128 w 10000"/>
                <a:gd name="connsiteY283" fmla="*/ 7364 h 10010"/>
                <a:gd name="connsiteX284" fmla="*/ 178 w 10000"/>
                <a:gd name="connsiteY284" fmla="*/ 7207 h 10010"/>
                <a:gd name="connsiteX285" fmla="*/ 147 w 10000"/>
                <a:gd name="connsiteY285" fmla="*/ 7176 h 10010"/>
                <a:gd name="connsiteX0" fmla="*/ 147 w 10000"/>
                <a:gd name="connsiteY0" fmla="*/ 7176 h 10010"/>
                <a:gd name="connsiteX1" fmla="*/ 0 w 10000"/>
                <a:gd name="connsiteY1" fmla="*/ 7258 h 10010"/>
                <a:gd name="connsiteX2" fmla="*/ 0 w 10000"/>
                <a:gd name="connsiteY2" fmla="*/ 7661 h 10010"/>
                <a:gd name="connsiteX3" fmla="*/ 81 w 10000"/>
                <a:gd name="connsiteY3" fmla="*/ 7673 h 10010"/>
                <a:gd name="connsiteX4" fmla="*/ 100 w 10000"/>
                <a:gd name="connsiteY4" fmla="*/ 7704 h 10010"/>
                <a:gd name="connsiteX5" fmla="*/ 96 w 10000"/>
                <a:gd name="connsiteY5" fmla="*/ 7759 h 10010"/>
                <a:gd name="connsiteX6" fmla="*/ 66 w 10000"/>
                <a:gd name="connsiteY6" fmla="*/ 7783 h 10010"/>
                <a:gd name="connsiteX7" fmla="*/ 190 w 10000"/>
                <a:gd name="connsiteY7" fmla="*/ 7737 h 10010"/>
                <a:gd name="connsiteX8" fmla="*/ 242 w 10000"/>
                <a:gd name="connsiteY8" fmla="*/ 7690 h 10010"/>
                <a:gd name="connsiteX9" fmla="*/ 306 w 10000"/>
                <a:gd name="connsiteY9" fmla="*/ 7722 h 10010"/>
                <a:gd name="connsiteX10" fmla="*/ 235 w 10000"/>
                <a:gd name="connsiteY10" fmla="*/ 7788 h 10010"/>
                <a:gd name="connsiteX11" fmla="*/ 311 w 10000"/>
                <a:gd name="connsiteY11" fmla="*/ 7790 h 10010"/>
                <a:gd name="connsiteX12" fmla="*/ 348 w 10000"/>
                <a:gd name="connsiteY12" fmla="*/ 7806 h 10010"/>
                <a:gd name="connsiteX13" fmla="*/ 250 w 10000"/>
                <a:gd name="connsiteY13" fmla="*/ 7828 h 10010"/>
                <a:gd name="connsiteX14" fmla="*/ 96 w 10000"/>
                <a:gd name="connsiteY14" fmla="*/ 7896 h 10010"/>
                <a:gd name="connsiteX15" fmla="*/ 370 w 10000"/>
                <a:gd name="connsiteY15" fmla="*/ 7948 h 10010"/>
                <a:gd name="connsiteX16" fmla="*/ 404 w 10000"/>
                <a:gd name="connsiteY16" fmla="*/ 8024 h 10010"/>
                <a:gd name="connsiteX17" fmla="*/ 311 w 10000"/>
                <a:gd name="connsiteY17" fmla="*/ 8136 h 10010"/>
                <a:gd name="connsiteX18" fmla="*/ 511 w 10000"/>
                <a:gd name="connsiteY18" fmla="*/ 8128 h 10010"/>
                <a:gd name="connsiteX19" fmla="*/ 526 w 10000"/>
                <a:gd name="connsiteY19" fmla="*/ 8213 h 10010"/>
                <a:gd name="connsiteX20" fmla="*/ 393 w 10000"/>
                <a:gd name="connsiteY20" fmla="*/ 8270 h 10010"/>
                <a:gd name="connsiteX21" fmla="*/ 415 w 10000"/>
                <a:gd name="connsiteY21" fmla="*/ 8380 h 10010"/>
                <a:gd name="connsiteX22" fmla="*/ 364 w 10000"/>
                <a:gd name="connsiteY22" fmla="*/ 8466 h 10010"/>
                <a:gd name="connsiteX23" fmla="*/ 521 w 10000"/>
                <a:gd name="connsiteY23" fmla="*/ 8474 h 10010"/>
                <a:gd name="connsiteX24" fmla="*/ 676 w 10000"/>
                <a:gd name="connsiteY24" fmla="*/ 8802 h 10010"/>
                <a:gd name="connsiteX25" fmla="*/ 853 w 10000"/>
                <a:gd name="connsiteY25" fmla="*/ 8886 h 10010"/>
                <a:gd name="connsiteX26" fmla="*/ 931 w 10000"/>
                <a:gd name="connsiteY26" fmla="*/ 8975 h 10010"/>
                <a:gd name="connsiteX27" fmla="*/ 1125 w 10000"/>
                <a:gd name="connsiteY27" fmla="*/ 9040 h 10010"/>
                <a:gd name="connsiteX28" fmla="*/ 1249 w 10000"/>
                <a:gd name="connsiteY28" fmla="*/ 9122 h 10010"/>
                <a:gd name="connsiteX29" fmla="*/ 1233 w 10000"/>
                <a:gd name="connsiteY29" fmla="*/ 9181 h 10010"/>
                <a:gd name="connsiteX30" fmla="*/ 1110 w 10000"/>
                <a:gd name="connsiteY30" fmla="*/ 9203 h 10010"/>
                <a:gd name="connsiteX31" fmla="*/ 976 w 10000"/>
                <a:gd name="connsiteY31" fmla="*/ 9189 h 10010"/>
                <a:gd name="connsiteX32" fmla="*/ 935 w 10000"/>
                <a:gd name="connsiteY32" fmla="*/ 9214 h 10010"/>
                <a:gd name="connsiteX33" fmla="*/ 1037 w 10000"/>
                <a:gd name="connsiteY33" fmla="*/ 9342 h 10010"/>
                <a:gd name="connsiteX34" fmla="*/ 894 w 10000"/>
                <a:gd name="connsiteY34" fmla="*/ 9332 h 10010"/>
                <a:gd name="connsiteX35" fmla="*/ 773 w 10000"/>
                <a:gd name="connsiteY35" fmla="*/ 9301 h 10010"/>
                <a:gd name="connsiteX36" fmla="*/ 750 w 10000"/>
                <a:gd name="connsiteY36" fmla="*/ 9348 h 10010"/>
                <a:gd name="connsiteX37" fmla="*/ 1155 w 10000"/>
                <a:gd name="connsiteY37" fmla="*/ 9786 h 10010"/>
                <a:gd name="connsiteX38" fmla="*/ 1091 w 10000"/>
                <a:gd name="connsiteY38" fmla="*/ 9827 h 10010"/>
                <a:gd name="connsiteX39" fmla="*/ 1045 w 10000"/>
                <a:gd name="connsiteY39" fmla="*/ 9912 h 10010"/>
                <a:gd name="connsiteX40" fmla="*/ 987 w 10000"/>
                <a:gd name="connsiteY40" fmla="*/ 9918 h 10010"/>
                <a:gd name="connsiteX41" fmla="*/ 951 w 10000"/>
                <a:gd name="connsiteY41" fmla="*/ 9955 h 10010"/>
                <a:gd name="connsiteX42" fmla="*/ 1195 w 10000"/>
                <a:gd name="connsiteY42" fmla="*/ 9959 h 10010"/>
                <a:gd name="connsiteX43" fmla="*/ 1410 w 10000"/>
                <a:gd name="connsiteY43" fmla="*/ 9996 h 10010"/>
                <a:gd name="connsiteX44" fmla="*/ 1769 w 10000"/>
                <a:gd name="connsiteY44" fmla="*/ 9957 h 10010"/>
                <a:gd name="connsiteX45" fmla="*/ 2091 w 10000"/>
                <a:gd name="connsiteY45" fmla="*/ 9963 h 10010"/>
                <a:gd name="connsiteX46" fmla="*/ 2280 w 10000"/>
                <a:gd name="connsiteY46" fmla="*/ 10010 h 10010"/>
                <a:gd name="connsiteX47" fmla="*/ 2385 w 10000"/>
                <a:gd name="connsiteY47" fmla="*/ 9979 h 10010"/>
                <a:gd name="connsiteX48" fmla="*/ 2485 w 10000"/>
                <a:gd name="connsiteY48" fmla="*/ 9878 h 10010"/>
                <a:gd name="connsiteX49" fmla="*/ 2459 w 10000"/>
                <a:gd name="connsiteY49" fmla="*/ 9713 h 10010"/>
                <a:gd name="connsiteX50" fmla="*/ 2704 w 10000"/>
                <a:gd name="connsiteY50" fmla="*/ 9527 h 10010"/>
                <a:gd name="connsiteX51" fmla="*/ 2883 w 10000"/>
                <a:gd name="connsiteY51" fmla="*/ 9556 h 10010"/>
                <a:gd name="connsiteX52" fmla="*/ 2987 w 10000"/>
                <a:gd name="connsiteY52" fmla="*/ 9482 h 10010"/>
                <a:gd name="connsiteX53" fmla="*/ 3186 w 10000"/>
                <a:gd name="connsiteY53" fmla="*/ 9440 h 10010"/>
                <a:gd name="connsiteX54" fmla="*/ 3457 w 10000"/>
                <a:gd name="connsiteY54" fmla="*/ 9450 h 10010"/>
                <a:gd name="connsiteX55" fmla="*/ 3620 w 10000"/>
                <a:gd name="connsiteY55" fmla="*/ 9480 h 10010"/>
                <a:gd name="connsiteX56" fmla="*/ 3837 w 10000"/>
                <a:gd name="connsiteY56" fmla="*/ 9466 h 10010"/>
                <a:gd name="connsiteX57" fmla="*/ 4056 w 10000"/>
                <a:gd name="connsiteY57" fmla="*/ 9499 h 10010"/>
                <a:gd name="connsiteX58" fmla="*/ 4275 w 10000"/>
                <a:gd name="connsiteY58" fmla="*/ 9503 h 10010"/>
                <a:gd name="connsiteX59" fmla="*/ 4765 w 10000"/>
                <a:gd name="connsiteY59" fmla="*/ 9071 h 10010"/>
                <a:gd name="connsiteX60" fmla="*/ 4889 w 10000"/>
                <a:gd name="connsiteY60" fmla="*/ 8721 h 10010"/>
                <a:gd name="connsiteX61" fmla="*/ 5088 w 10000"/>
                <a:gd name="connsiteY61" fmla="*/ 8564 h 10010"/>
                <a:gd name="connsiteX62" fmla="*/ 5088 w 10000"/>
                <a:gd name="connsiteY62" fmla="*/ 8482 h 10010"/>
                <a:gd name="connsiteX63" fmla="*/ 5016 w 10000"/>
                <a:gd name="connsiteY63" fmla="*/ 8435 h 10010"/>
                <a:gd name="connsiteX64" fmla="*/ 5133 w 10000"/>
                <a:gd name="connsiteY64" fmla="*/ 8362 h 10010"/>
                <a:gd name="connsiteX65" fmla="*/ 5112 w 10000"/>
                <a:gd name="connsiteY65" fmla="*/ 8299 h 10010"/>
                <a:gd name="connsiteX66" fmla="*/ 5032 w 10000"/>
                <a:gd name="connsiteY66" fmla="*/ 8246 h 10010"/>
                <a:gd name="connsiteX67" fmla="*/ 5016 w 10000"/>
                <a:gd name="connsiteY67" fmla="*/ 8209 h 10010"/>
                <a:gd name="connsiteX68" fmla="*/ 5036 w 10000"/>
                <a:gd name="connsiteY68" fmla="*/ 8179 h 10010"/>
                <a:gd name="connsiteX69" fmla="*/ 5144 w 10000"/>
                <a:gd name="connsiteY69" fmla="*/ 8203 h 10010"/>
                <a:gd name="connsiteX70" fmla="*/ 5230 w 10000"/>
                <a:gd name="connsiteY70" fmla="*/ 8201 h 10010"/>
                <a:gd name="connsiteX71" fmla="*/ 5184 w 10000"/>
                <a:gd name="connsiteY71" fmla="*/ 8150 h 10010"/>
                <a:gd name="connsiteX72" fmla="*/ 5198 w 10000"/>
                <a:gd name="connsiteY72" fmla="*/ 8122 h 10010"/>
                <a:gd name="connsiteX73" fmla="*/ 5262 w 10000"/>
                <a:gd name="connsiteY73" fmla="*/ 8079 h 10010"/>
                <a:gd name="connsiteX74" fmla="*/ 5250 w 10000"/>
                <a:gd name="connsiteY74" fmla="*/ 8044 h 10010"/>
                <a:gd name="connsiteX75" fmla="*/ 5309 w 10000"/>
                <a:gd name="connsiteY75" fmla="*/ 7926 h 10010"/>
                <a:gd name="connsiteX76" fmla="*/ 5293 w 10000"/>
                <a:gd name="connsiteY76" fmla="*/ 7891 h 10010"/>
                <a:gd name="connsiteX77" fmla="*/ 4996 w 10000"/>
                <a:gd name="connsiteY77" fmla="*/ 7802 h 10010"/>
                <a:gd name="connsiteX78" fmla="*/ 5036 w 10000"/>
                <a:gd name="connsiteY78" fmla="*/ 7798 h 10010"/>
                <a:gd name="connsiteX79" fmla="*/ 5194 w 10000"/>
                <a:gd name="connsiteY79" fmla="*/ 7822 h 10010"/>
                <a:gd name="connsiteX80" fmla="*/ 5365 w 10000"/>
                <a:gd name="connsiteY80" fmla="*/ 7814 h 10010"/>
                <a:gd name="connsiteX81" fmla="*/ 5415 w 10000"/>
                <a:gd name="connsiteY81" fmla="*/ 7781 h 10010"/>
                <a:gd name="connsiteX82" fmla="*/ 5250 w 10000"/>
                <a:gd name="connsiteY82" fmla="*/ 7720 h 10010"/>
                <a:gd name="connsiteX83" fmla="*/ 4761 w 10000"/>
                <a:gd name="connsiteY83" fmla="*/ 7680 h 10010"/>
                <a:gd name="connsiteX84" fmla="*/ 4794 w 10000"/>
                <a:gd name="connsiteY84" fmla="*/ 7661 h 10010"/>
                <a:gd name="connsiteX85" fmla="*/ 5194 w 10000"/>
                <a:gd name="connsiteY85" fmla="*/ 7649 h 10010"/>
                <a:gd name="connsiteX86" fmla="*/ 5415 w 10000"/>
                <a:gd name="connsiteY86" fmla="*/ 7686 h 10010"/>
                <a:gd name="connsiteX87" fmla="*/ 5542 w 10000"/>
                <a:gd name="connsiteY87" fmla="*/ 7661 h 10010"/>
                <a:gd name="connsiteX88" fmla="*/ 5589 w 10000"/>
                <a:gd name="connsiteY88" fmla="*/ 7598 h 10010"/>
                <a:gd name="connsiteX89" fmla="*/ 5819 w 10000"/>
                <a:gd name="connsiteY89" fmla="*/ 7598 h 10010"/>
                <a:gd name="connsiteX90" fmla="*/ 6131 w 10000"/>
                <a:gd name="connsiteY90" fmla="*/ 7472 h 10010"/>
                <a:gd name="connsiteX91" fmla="*/ 6142 w 10000"/>
                <a:gd name="connsiteY91" fmla="*/ 7388 h 10010"/>
                <a:gd name="connsiteX92" fmla="*/ 6274 w 10000"/>
                <a:gd name="connsiteY92" fmla="*/ 7407 h 10010"/>
                <a:gd name="connsiteX93" fmla="*/ 6268 w 10000"/>
                <a:gd name="connsiteY93" fmla="*/ 7492 h 10010"/>
                <a:gd name="connsiteX94" fmla="*/ 6478 w 10000"/>
                <a:gd name="connsiteY94" fmla="*/ 7486 h 10010"/>
                <a:gd name="connsiteX95" fmla="*/ 6616 w 10000"/>
                <a:gd name="connsiteY95" fmla="*/ 7398 h 10010"/>
                <a:gd name="connsiteX96" fmla="*/ 6872 w 10000"/>
                <a:gd name="connsiteY96" fmla="*/ 7319 h 10010"/>
                <a:gd name="connsiteX97" fmla="*/ 6832 w 10000"/>
                <a:gd name="connsiteY97" fmla="*/ 7229 h 10010"/>
                <a:gd name="connsiteX98" fmla="*/ 6908 w 10000"/>
                <a:gd name="connsiteY98" fmla="*/ 7264 h 10010"/>
                <a:gd name="connsiteX99" fmla="*/ 7025 w 10000"/>
                <a:gd name="connsiteY99" fmla="*/ 7264 h 10010"/>
                <a:gd name="connsiteX100" fmla="*/ 7025 w 10000"/>
                <a:gd name="connsiteY100" fmla="*/ 7223 h 10010"/>
                <a:gd name="connsiteX101" fmla="*/ 7134 w 10000"/>
                <a:gd name="connsiteY101" fmla="*/ 7191 h 10010"/>
                <a:gd name="connsiteX102" fmla="*/ 7119 w 10000"/>
                <a:gd name="connsiteY102" fmla="*/ 7158 h 10010"/>
                <a:gd name="connsiteX103" fmla="*/ 6198 w 10000"/>
                <a:gd name="connsiteY103" fmla="*/ 7225 h 10010"/>
                <a:gd name="connsiteX104" fmla="*/ 5983 w 10000"/>
                <a:gd name="connsiteY104" fmla="*/ 7205 h 10010"/>
                <a:gd name="connsiteX105" fmla="*/ 5895 w 10000"/>
                <a:gd name="connsiteY105" fmla="*/ 7229 h 10010"/>
                <a:gd name="connsiteX106" fmla="*/ 5866 w 10000"/>
                <a:gd name="connsiteY106" fmla="*/ 7183 h 10010"/>
                <a:gd name="connsiteX107" fmla="*/ 5764 w 10000"/>
                <a:gd name="connsiteY107" fmla="*/ 7142 h 10010"/>
                <a:gd name="connsiteX108" fmla="*/ 5354 w 10000"/>
                <a:gd name="connsiteY108" fmla="*/ 7062 h 10010"/>
                <a:gd name="connsiteX109" fmla="*/ 5112 w 10000"/>
                <a:gd name="connsiteY109" fmla="*/ 7075 h 10010"/>
                <a:gd name="connsiteX110" fmla="*/ 5016 w 10000"/>
                <a:gd name="connsiteY110" fmla="*/ 7052 h 10010"/>
                <a:gd name="connsiteX111" fmla="*/ 5118 w 10000"/>
                <a:gd name="connsiteY111" fmla="*/ 7032 h 10010"/>
                <a:gd name="connsiteX112" fmla="*/ 5194 w 10000"/>
                <a:gd name="connsiteY112" fmla="*/ 6989 h 10010"/>
                <a:gd name="connsiteX113" fmla="*/ 5309 w 10000"/>
                <a:gd name="connsiteY113" fmla="*/ 7003 h 10010"/>
                <a:gd name="connsiteX114" fmla="*/ 5445 w 10000"/>
                <a:gd name="connsiteY114" fmla="*/ 6991 h 10010"/>
                <a:gd name="connsiteX115" fmla="*/ 5650 w 10000"/>
                <a:gd name="connsiteY115" fmla="*/ 7005 h 10010"/>
                <a:gd name="connsiteX116" fmla="*/ 5675 w 10000"/>
                <a:gd name="connsiteY116" fmla="*/ 6999 h 10010"/>
                <a:gd name="connsiteX117" fmla="*/ 5834 w 10000"/>
                <a:gd name="connsiteY117" fmla="*/ 7066 h 10010"/>
                <a:gd name="connsiteX118" fmla="*/ 5951 w 10000"/>
                <a:gd name="connsiteY118" fmla="*/ 7042 h 10010"/>
                <a:gd name="connsiteX119" fmla="*/ 5961 w 10000"/>
                <a:gd name="connsiteY119" fmla="*/ 7020 h 10010"/>
                <a:gd name="connsiteX120" fmla="*/ 6069 w 10000"/>
                <a:gd name="connsiteY120" fmla="*/ 7058 h 10010"/>
                <a:gd name="connsiteX121" fmla="*/ 6212 w 10000"/>
                <a:gd name="connsiteY121" fmla="*/ 7079 h 10010"/>
                <a:gd name="connsiteX122" fmla="*/ 6268 w 10000"/>
                <a:gd name="connsiteY122" fmla="*/ 7040 h 10010"/>
                <a:gd name="connsiteX123" fmla="*/ 6314 w 10000"/>
                <a:gd name="connsiteY123" fmla="*/ 7062 h 10010"/>
                <a:gd name="connsiteX124" fmla="*/ 6381 w 10000"/>
                <a:gd name="connsiteY124" fmla="*/ 7136 h 10010"/>
                <a:gd name="connsiteX125" fmla="*/ 6519 w 10000"/>
                <a:gd name="connsiteY125" fmla="*/ 7154 h 10010"/>
                <a:gd name="connsiteX126" fmla="*/ 7082 w 10000"/>
                <a:gd name="connsiteY126" fmla="*/ 7044 h 10010"/>
                <a:gd name="connsiteX127" fmla="*/ 7359 w 10000"/>
                <a:gd name="connsiteY127" fmla="*/ 6889 h 10010"/>
                <a:gd name="connsiteX128" fmla="*/ 7423 w 10000"/>
                <a:gd name="connsiteY128" fmla="*/ 6775 h 10010"/>
                <a:gd name="connsiteX129" fmla="*/ 7323 w 10000"/>
                <a:gd name="connsiteY129" fmla="*/ 6673 h 10010"/>
                <a:gd name="connsiteX130" fmla="*/ 7113 w 10000"/>
                <a:gd name="connsiteY130" fmla="*/ 6612 h 10010"/>
                <a:gd name="connsiteX131" fmla="*/ 6963 w 10000"/>
                <a:gd name="connsiteY131" fmla="*/ 6512 h 10010"/>
                <a:gd name="connsiteX132" fmla="*/ 7102 w 10000"/>
                <a:gd name="connsiteY132" fmla="*/ 6508 h 10010"/>
                <a:gd name="connsiteX133" fmla="*/ 7093 w 10000"/>
                <a:gd name="connsiteY133" fmla="*/ 6484 h 10010"/>
                <a:gd name="connsiteX134" fmla="*/ 6731 w 10000"/>
                <a:gd name="connsiteY134" fmla="*/ 6413 h 10010"/>
                <a:gd name="connsiteX135" fmla="*/ 6716 w 10000"/>
                <a:gd name="connsiteY135" fmla="*/ 6349 h 10010"/>
                <a:gd name="connsiteX136" fmla="*/ 6646 w 10000"/>
                <a:gd name="connsiteY136" fmla="*/ 6282 h 10010"/>
                <a:gd name="connsiteX137" fmla="*/ 6360 w 10000"/>
                <a:gd name="connsiteY137" fmla="*/ 6294 h 10010"/>
                <a:gd name="connsiteX138" fmla="*/ 6258 w 10000"/>
                <a:gd name="connsiteY138" fmla="*/ 6223 h 10010"/>
                <a:gd name="connsiteX139" fmla="*/ 6198 w 10000"/>
                <a:gd name="connsiteY139" fmla="*/ 6219 h 10010"/>
                <a:gd name="connsiteX140" fmla="*/ 6198 w 10000"/>
                <a:gd name="connsiteY140" fmla="*/ 6248 h 10010"/>
                <a:gd name="connsiteX141" fmla="*/ 6069 w 10000"/>
                <a:gd name="connsiteY141" fmla="*/ 6368 h 10010"/>
                <a:gd name="connsiteX142" fmla="*/ 5930 w 10000"/>
                <a:gd name="connsiteY142" fmla="*/ 6439 h 10010"/>
                <a:gd name="connsiteX143" fmla="*/ 5495 w 10000"/>
                <a:gd name="connsiteY143" fmla="*/ 6561 h 10010"/>
                <a:gd name="connsiteX144" fmla="*/ 5342 w 10000"/>
                <a:gd name="connsiteY144" fmla="*/ 6557 h 10010"/>
                <a:gd name="connsiteX145" fmla="*/ 5133 w 10000"/>
                <a:gd name="connsiteY145" fmla="*/ 6575 h 10010"/>
                <a:gd name="connsiteX146" fmla="*/ 5016 w 10000"/>
                <a:gd name="connsiteY146" fmla="*/ 6557 h 10010"/>
                <a:gd name="connsiteX147" fmla="*/ 5169 w 10000"/>
                <a:gd name="connsiteY147" fmla="*/ 6523 h 10010"/>
                <a:gd name="connsiteX148" fmla="*/ 5369 w 10000"/>
                <a:gd name="connsiteY148" fmla="*/ 6508 h 10010"/>
                <a:gd name="connsiteX149" fmla="*/ 5534 w 10000"/>
                <a:gd name="connsiteY149" fmla="*/ 6451 h 10010"/>
                <a:gd name="connsiteX150" fmla="*/ 5695 w 10000"/>
                <a:gd name="connsiteY150" fmla="*/ 6425 h 10010"/>
                <a:gd name="connsiteX151" fmla="*/ 5998 w 10000"/>
                <a:gd name="connsiteY151" fmla="*/ 6327 h 10010"/>
                <a:gd name="connsiteX152" fmla="*/ 6056 w 10000"/>
                <a:gd name="connsiteY152" fmla="*/ 6262 h 10010"/>
                <a:gd name="connsiteX153" fmla="*/ 6060 w 10000"/>
                <a:gd name="connsiteY153" fmla="*/ 6178 h 10010"/>
                <a:gd name="connsiteX154" fmla="*/ 5921 w 10000"/>
                <a:gd name="connsiteY154" fmla="*/ 6164 h 10010"/>
                <a:gd name="connsiteX155" fmla="*/ 5983 w 10000"/>
                <a:gd name="connsiteY155" fmla="*/ 6113 h 10010"/>
                <a:gd name="connsiteX156" fmla="*/ 6002 w 10000"/>
                <a:gd name="connsiteY156" fmla="*/ 6048 h 10010"/>
                <a:gd name="connsiteX157" fmla="*/ 5944 w 10000"/>
                <a:gd name="connsiteY157" fmla="*/ 5987 h 10010"/>
                <a:gd name="connsiteX158" fmla="*/ 5911 w 10000"/>
                <a:gd name="connsiteY158" fmla="*/ 5543 h 10010"/>
                <a:gd name="connsiteX159" fmla="*/ 5993 w 10000"/>
                <a:gd name="connsiteY159" fmla="*/ 5447 h 10010"/>
                <a:gd name="connsiteX160" fmla="*/ 5972 w 10000"/>
                <a:gd name="connsiteY160" fmla="*/ 5408 h 10010"/>
                <a:gd name="connsiteX161" fmla="*/ 6212 w 10000"/>
                <a:gd name="connsiteY161" fmla="*/ 5465 h 10010"/>
                <a:gd name="connsiteX162" fmla="*/ 6229 w 10000"/>
                <a:gd name="connsiteY162" fmla="*/ 5412 h 10010"/>
                <a:gd name="connsiteX163" fmla="*/ 6176 w 10000"/>
                <a:gd name="connsiteY163" fmla="*/ 5274 h 10010"/>
                <a:gd name="connsiteX164" fmla="*/ 6349 w 10000"/>
                <a:gd name="connsiteY164" fmla="*/ 5029 h 10010"/>
                <a:gd name="connsiteX165" fmla="*/ 6243 w 10000"/>
                <a:gd name="connsiteY165" fmla="*/ 4970 h 10010"/>
                <a:gd name="connsiteX166" fmla="*/ 6202 w 10000"/>
                <a:gd name="connsiteY166" fmla="*/ 4915 h 10010"/>
                <a:gd name="connsiteX167" fmla="*/ 6216 w 10000"/>
                <a:gd name="connsiteY167" fmla="*/ 4826 h 10010"/>
                <a:gd name="connsiteX168" fmla="*/ 6470 w 10000"/>
                <a:gd name="connsiteY168" fmla="*/ 4885 h 10010"/>
                <a:gd name="connsiteX169" fmla="*/ 6478 w 10000"/>
                <a:gd name="connsiteY169" fmla="*/ 4868 h 10010"/>
                <a:gd name="connsiteX170" fmla="*/ 6548 w 10000"/>
                <a:gd name="connsiteY170" fmla="*/ 4852 h 10010"/>
                <a:gd name="connsiteX171" fmla="*/ 6646 w 10000"/>
                <a:gd name="connsiteY171" fmla="*/ 4795 h 10010"/>
                <a:gd name="connsiteX172" fmla="*/ 6662 w 10000"/>
                <a:gd name="connsiteY172" fmla="*/ 4779 h 10010"/>
                <a:gd name="connsiteX173" fmla="*/ 6641 w 10000"/>
                <a:gd name="connsiteY173" fmla="*/ 4758 h 10010"/>
                <a:gd name="connsiteX174" fmla="*/ 6693 w 10000"/>
                <a:gd name="connsiteY174" fmla="*/ 4657 h 10010"/>
                <a:gd name="connsiteX175" fmla="*/ 6631 w 10000"/>
                <a:gd name="connsiteY175" fmla="*/ 4591 h 10010"/>
                <a:gd name="connsiteX176" fmla="*/ 6641 w 10000"/>
                <a:gd name="connsiteY176" fmla="*/ 4538 h 10010"/>
                <a:gd name="connsiteX177" fmla="*/ 6676 w 10000"/>
                <a:gd name="connsiteY177" fmla="*/ 4600 h 10010"/>
                <a:gd name="connsiteX178" fmla="*/ 6815 w 10000"/>
                <a:gd name="connsiteY178" fmla="*/ 4646 h 10010"/>
                <a:gd name="connsiteX179" fmla="*/ 6872 w 10000"/>
                <a:gd name="connsiteY179" fmla="*/ 4640 h 10010"/>
                <a:gd name="connsiteX180" fmla="*/ 6963 w 10000"/>
                <a:gd name="connsiteY180" fmla="*/ 4579 h 10010"/>
                <a:gd name="connsiteX181" fmla="*/ 7062 w 10000"/>
                <a:gd name="connsiteY181" fmla="*/ 4604 h 10010"/>
                <a:gd name="connsiteX182" fmla="*/ 7088 w 10000"/>
                <a:gd name="connsiteY182" fmla="*/ 4555 h 10010"/>
                <a:gd name="connsiteX183" fmla="*/ 7154 w 10000"/>
                <a:gd name="connsiteY183" fmla="*/ 4522 h 10010"/>
                <a:gd name="connsiteX184" fmla="*/ 6974 w 10000"/>
                <a:gd name="connsiteY184" fmla="*/ 4487 h 10010"/>
                <a:gd name="connsiteX185" fmla="*/ 7102 w 10000"/>
                <a:gd name="connsiteY185" fmla="*/ 4494 h 10010"/>
                <a:gd name="connsiteX186" fmla="*/ 7234 w 10000"/>
                <a:gd name="connsiteY186" fmla="*/ 4457 h 10010"/>
                <a:gd name="connsiteX187" fmla="*/ 7229 w 10000"/>
                <a:gd name="connsiteY187" fmla="*/ 4432 h 10010"/>
                <a:gd name="connsiteX188" fmla="*/ 7353 w 10000"/>
                <a:gd name="connsiteY188" fmla="*/ 4408 h 10010"/>
                <a:gd name="connsiteX189" fmla="*/ 7364 w 10000"/>
                <a:gd name="connsiteY189" fmla="*/ 4347 h 10010"/>
                <a:gd name="connsiteX190" fmla="*/ 7461 w 10000"/>
                <a:gd name="connsiteY190" fmla="*/ 4335 h 10010"/>
                <a:gd name="connsiteX191" fmla="*/ 7469 w 10000"/>
                <a:gd name="connsiteY191" fmla="*/ 4263 h 10010"/>
                <a:gd name="connsiteX192" fmla="*/ 7572 w 10000"/>
                <a:gd name="connsiteY192" fmla="*/ 4255 h 10010"/>
                <a:gd name="connsiteX193" fmla="*/ 7730 w 10000"/>
                <a:gd name="connsiteY193" fmla="*/ 4270 h 10010"/>
                <a:gd name="connsiteX194" fmla="*/ 7904 w 10000"/>
                <a:gd name="connsiteY194" fmla="*/ 4212 h 10010"/>
                <a:gd name="connsiteX195" fmla="*/ 7966 w 10000"/>
                <a:gd name="connsiteY195" fmla="*/ 4147 h 10010"/>
                <a:gd name="connsiteX196" fmla="*/ 8181 w 10000"/>
                <a:gd name="connsiteY196" fmla="*/ 4080 h 10010"/>
                <a:gd name="connsiteX197" fmla="*/ 8288 w 10000"/>
                <a:gd name="connsiteY197" fmla="*/ 4121 h 10010"/>
                <a:gd name="connsiteX198" fmla="*/ 8452 w 10000"/>
                <a:gd name="connsiteY198" fmla="*/ 4076 h 10010"/>
                <a:gd name="connsiteX199" fmla="*/ 8491 w 10000"/>
                <a:gd name="connsiteY199" fmla="*/ 4019 h 10010"/>
                <a:gd name="connsiteX200" fmla="*/ 8616 w 10000"/>
                <a:gd name="connsiteY200" fmla="*/ 3980 h 10010"/>
                <a:gd name="connsiteX201" fmla="*/ 8722 w 10000"/>
                <a:gd name="connsiteY201" fmla="*/ 3997 h 10010"/>
                <a:gd name="connsiteX202" fmla="*/ 8789 w 10000"/>
                <a:gd name="connsiteY202" fmla="*/ 3968 h 10010"/>
                <a:gd name="connsiteX203" fmla="*/ 8973 w 10000"/>
                <a:gd name="connsiteY203" fmla="*/ 3927 h 10010"/>
                <a:gd name="connsiteX204" fmla="*/ 9049 w 10000"/>
                <a:gd name="connsiteY204" fmla="*/ 3874 h 10010"/>
                <a:gd name="connsiteX205" fmla="*/ 9153 w 10000"/>
                <a:gd name="connsiteY205" fmla="*/ 3852 h 10010"/>
                <a:gd name="connsiteX206" fmla="*/ 9720 w 10000"/>
                <a:gd name="connsiteY206" fmla="*/ 3532 h 10010"/>
                <a:gd name="connsiteX207" fmla="*/ 9971 w 10000"/>
                <a:gd name="connsiteY207" fmla="*/ 399 h 10010"/>
                <a:gd name="connsiteX208" fmla="*/ 9049 w 10000"/>
                <a:gd name="connsiteY208" fmla="*/ 36 h 10010"/>
                <a:gd name="connsiteX209" fmla="*/ 8706 w 10000"/>
                <a:gd name="connsiteY209" fmla="*/ 10 h 10010"/>
                <a:gd name="connsiteX210" fmla="*/ 8637 w 10000"/>
                <a:gd name="connsiteY210" fmla="*/ 24 h 10010"/>
                <a:gd name="connsiteX211" fmla="*/ 8713 w 10000"/>
                <a:gd name="connsiteY211" fmla="*/ 96 h 10010"/>
                <a:gd name="connsiteX212" fmla="*/ 8729 w 10000"/>
                <a:gd name="connsiteY212" fmla="*/ 149 h 10010"/>
                <a:gd name="connsiteX213" fmla="*/ 8706 w 10000"/>
                <a:gd name="connsiteY213" fmla="*/ 191 h 10010"/>
                <a:gd name="connsiteX214" fmla="*/ 8652 w 10000"/>
                <a:gd name="connsiteY214" fmla="*/ 218 h 10010"/>
                <a:gd name="connsiteX215" fmla="*/ 8610 w 10000"/>
                <a:gd name="connsiteY215" fmla="*/ 293 h 10010"/>
                <a:gd name="connsiteX216" fmla="*/ 8533 w 10000"/>
                <a:gd name="connsiteY216" fmla="*/ 346 h 10010"/>
                <a:gd name="connsiteX217" fmla="*/ 8550 w 10000"/>
                <a:gd name="connsiteY217" fmla="*/ 397 h 10010"/>
                <a:gd name="connsiteX218" fmla="*/ 8667 w 10000"/>
                <a:gd name="connsiteY218" fmla="*/ 444 h 10010"/>
                <a:gd name="connsiteX219" fmla="*/ 8591 w 10000"/>
                <a:gd name="connsiteY219" fmla="*/ 485 h 10010"/>
                <a:gd name="connsiteX220" fmla="*/ 8477 w 10000"/>
                <a:gd name="connsiteY220" fmla="*/ 495 h 10010"/>
                <a:gd name="connsiteX221" fmla="*/ 7537 w 10000"/>
                <a:gd name="connsiteY221" fmla="*/ 397 h 10010"/>
                <a:gd name="connsiteX222" fmla="*/ 7423 w 10000"/>
                <a:gd name="connsiteY222" fmla="*/ 405 h 10010"/>
                <a:gd name="connsiteX223" fmla="*/ 7359 w 10000"/>
                <a:gd name="connsiteY223" fmla="*/ 424 h 10010"/>
                <a:gd name="connsiteX224" fmla="*/ 7290 w 10000"/>
                <a:gd name="connsiteY224" fmla="*/ 472 h 10010"/>
                <a:gd name="connsiteX225" fmla="*/ 7302 w 10000"/>
                <a:gd name="connsiteY225" fmla="*/ 591 h 10010"/>
                <a:gd name="connsiteX226" fmla="*/ 7199 w 10000"/>
                <a:gd name="connsiteY226" fmla="*/ 745 h 10010"/>
                <a:gd name="connsiteX227" fmla="*/ 7072 w 10000"/>
                <a:gd name="connsiteY227" fmla="*/ 825 h 10010"/>
                <a:gd name="connsiteX228" fmla="*/ 7021 w 10000"/>
                <a:gd name="connsiteY228" fmla="*/ 815 h 10010"/>
                <a:gd name="connsiteX229" fmla="*/ 6903 w 10000"/>
                <a:gd name="connsiteY229" fmla="*/ 749 h 10010"/>
                <a:gd name="connsiteX230" fmla="*/ 6756 w 10000"/>
                <a:gd name="connsiteY230" fmla="*/ 715 h 10010"/>
                <a:gd name="connsiteX231" fmla="*/ 6594 w 10000"/>
                <a:gd name="connsiteY231" fmla="*/ 725 h 10010"/>
                <a:gd name="connsiteX232" fmla="*/ 6223 w 10000"/>
                <a:gd name="connsiteY232" fmla="*/ 876 h 10010"/>
                <a:gd name="connsiteX233" fmla="*/ 6125 w 10000"/>
                <a:gd name="connsiteY233" fmla="*/ 1027 h 10010"/>
                <a:gd name="connsiteX234" fmla="*/ 5845 w 10000"/>
                <a:gd name="connsiteY234" fmla="*/ 1163 h 10010"/>
                <a:gd name="connsiteX235" fmla="*/ 5794 w 10000"/>
                <a:gd name="connsiteY235" fmla="*/ 1232 h 10010"/>
                <a:gd name="connsiteX236" fmla="*/ 5940 w 10000"/>
                <a:gd name="connsiteY236" fmla="*/ 1354 h 10010"/>
                <a:gd name="connsiteX237" fmla="*/ 5956 w 10000"/>
                <a:gd name="connsiteY237" fmla="*/ 1422 h 10010"/>
                <a:gd name="connsiteX238" fmla="*/ 5190 w 10000"/>
                <a:gd name="connsiteY238" fmla="*/ 1823 h 10010"/>
                <a:gd name="connsiteX239" fmla="*/ 4955 w 10000"/>
                <a:gd name="connsiteY239" fmla="*/ 2080 h 10010"/>
                <a:gd name="connsiteX240" fmla="*/ 4702 w 10000"/>
                <a:gd name="connsiteY240" fmla="*/ 2145 h 10010"/>
                <a:gd name="connsiteX241" fmla="*/ 4540 w 10000"/>
                <a:gd name="connsiteY241" fmla="*/ 2141 h 10010"/>
                <a:gd name="connsiteX242" fmla="*/ 4443 w 10000"/>
                <a:gd name="connsiteY242" fmla="*/ 2163 h 10010"/>
                <a:gd name="connsiteX243" fmla="*/ 4178 w 10000"/>
                <a:gd name="connsiteY243" fmla="*/ 2803 h 10010"/>
                <a:gd name="connsiteX244" fmla="*/ 3565 w 10000"/>
                <a:gd name="connsiteY244" fmla="*/ 3176 h 10010"/>
                <a:gd name="connsiteX245" fmla="*/ 3569 w 10000"/>
                <a:gd name="connsiteY245" fmla="*/ 3235 h 10010"/>
                <a:gd name="connsiteX246" fmla="*/ 3841 w 10000"/>
                <a:gd name="connsiteY246" fmla="*/ 3402 h 10010"/>
                <a:gd name="connsiteX247" fmla="*/ 3753 w 10000"/>
                <a:gd name="connsiteY247" fmla="*/ 3583 h 10010"/>
                <a:gd name="connsiteX248" fmla="*/ 3594 w 10000"/>
                <a:gd name="connsiteY248" fmla="*/ 3650 h 10010"/>
                <a:gd name="connsiteX249" fmla="*/ 3118 w 10000"/>
                <a:gd name="connsiteY249" fmla="*/ 3605 h 10010"/>
                <a:gd name="connsiteX250" fmla="*/ 2791 w 10000"/>
                <a:gd name="connsiteY250" fmla="*/ 3630 h 10010"/>
                <a:gd name="connsiteX251" fmla="*/ 2528 w 10000"/>
                <a:gd name="connsiteY251" fmla="*/ 3683 h 10010"/>
                <a:gd name="connsiteX252" fmla="*/ 2102 w 10000"/>
                <a:gd name="connsiteY252" fmla="*/ 3850 h 10010"/>
                <a:gd name="connsiteX253" fmla="*/ 1877 w 10000"/>
                <a:gd name="connsiteY253" fmla="*/ 4052 h 10010"/>
                <a:gd name="connsiteX254" fmla="*/ 1896 w 10000"/>
                <a:gd name="connsiteY254" fmla="*/ 4164 h 10010"/>
                <a:gd name="connsiteX255" fmla="*/ 1975 w 10000"/>
                <a:gd name="connsiteY255" fmla="*/ 4251 h 10010"/>
                <a:gd name="connsiteX256" fmla="*/ 2034 w 10000"/>
                <a:gd name="connsiteY256" fmla="*/ 4286 h 10010"/>
                <a:gd name="connsiteX257" fmla="*/ 1924 w 10000"/>
                <a:gd name="connsiteY257" fmla="*/ 4341 h 10010"/>
                <a:gd name="connsiteX258" fmla="*/ 1683 w 10000"/>
                <a:gd name="connsiteY258" fmla="*/ 4720 h 10010"/>
                <a:gd name="connsiteX259" fmla="*/ 1729 w 10000"/>
                <a:gd name="connsiteY259" fmla="*/ 4742 h 10010"/>
                <a:gd name="connsiteX260" fmla="*/ 1764 w 10000"/>
                <a:gd name="connsiteY260" fmla="*/ 4838 h 10010"/>
                <a:gd name="connsiteX261" fmla="*/ 1652 w 10000"/>
                <a:gd name="connsiteY261" fmla="*/ 5237 h 10010"/>
                <a:gd name="connsiteX262" fmla="*/ 1764 w 10000"/>
                <a:gd name="connsiteY262" fmla="*/ 5339 h 10010"/>
                <a:gd name="connsiteX263" fmla="*/ 2071 w 10000"/>
                <a:gd name="connsiteY263" fmla="*/ 5451 h 10010"/>
                <a:gd name="connsiteX264" fmla="*/ 2085 w 10000"/>
                <a:gd name="connsiteY264" fmla="*/ 5588 h 10010"/>
                <a:gd name="connsiteX265" fmla="*/ 1954 w 10000"/>
                <a:gd name="connsiteY265" fmla="*/ 5700 h 10010"/>
                <a:gd name="connsiteX266" fmla="*/ 1764 w 10000"/>
                <a:gd name="connsiteY266" fmla="*/ 5769 h 10010"/>
                <a:gd name="connsiteX267" fmla="*/ 1513 w 10000"/>
                <a:gd name="connsiteY267" fmla="*/ 5797 h 10010"/>
                <a:gd name="connsiteX268" fmla="*/ 1448 w 10000"/>
                <a:gd name="connsiteY268" fmla="*/ 5836 h 10010"/>
                <a:gd name="connsiteX269" fmla="*/ 1594 w 10000"/>
                <a:gd name="connsiteY269" fmla="*/ 5930 h 10010"/>
                <a:gd name="connsiteX270" fmla="*/ 1678 w 10000"/>
                <a:gd name="connsiteY270" fmla="*/ 6152 h 10010"/>
                <a:gd name="connsiteX271" fmla="*/ 1488 w 10000"/>
                <a:gd name="connsiteY271" fmla="*/ 6343 h 10010"/>
                <a:gd name="connsiteX272" fmla="*/ 1554 w 10000"/>
                <a:gd name="connsiteY272" fmla="*/ 6402 h 10010"/>
                <a:gd name="connsiteX273" fmla="*/ 1494 w 10000"/>
                <a:gd name="connsiteY273" fmla="*/ 6502 h 10010"/>
                <a:gd name="connsiteX274" fmla="*/ 1372 w 10000"/>
                <a:gd name="connsiteY274" fmla="*/ 6571 h 10010"/>
                <a:gd name="connsiteX275" fmla="*/ 889 w 10000"/>
                <a:gd name="connsiteY275" fmla="*/ 6624 h 10010"/>
                <a:gd name="connsiteX276" fmla="*/ 860 w 10000"/>
                <a:gd name="connsiteY276" fmla="*/ 6716 h 10010"/>
                <a:gd name="connsiteX277" fmla="*/ 600 w 10000"/>
                <a:gd name="connsiteY277" fmla="*/ 6853 h 10010"/>
                <a:gd name="connsiteX278" fmla="*/ 634 w 10000"/>
                <a:gd name="connsiteY278" fmla="*/ 7050 h 10010"/>
                <a:gd name="connsiteX279" fmla="*/ 415 w 10000"/>
                <a:gd name="connsiteY279" fmla="*/ 7303 h 10010"/>
                <a:gd name="connsiteX280" fmla="*/ 266 w 10000"/>
                <a:gd name="connsiteY280" fmla="*/ 7333 h 10010"/>
                <a:gd name="connsiteX281" fmla="*/ 204 w 10000"/>
                <a:gd name="connsiteY281" fmla="*/ 7272 h 10010"/>
                <a:gd name="connsiteX282" fmla="*/ 128 w 10000"/>
                <a:gd name="connsiteY282" fmla="*/ 7364 h 10010"/>
                <a:gd name="connsiteX283" fmla="*/ 178 w 10000"/>
                <a:gd name="connsiteY283" fmla="*/ 7207 h 10010"/>
                <a:gd name="connsiteX284" fmla="*/ 147 w 10000"/>
                <a:gd name="connsiteY284" fmla="*/ 7176 h 10010"/>
                <a:gd name="connsiteX0" fmla="*/ 147 w 10000"/>
                <a:gd name="connsiteY0" fmla="*/ 7176 h 10010"/>
                <a:gd name="connsiteX1" fmla="*/ 0 w 10000"/>
                <a:gd name="connsiteY1" fmla="*/ 7258 h 10010"/>
                <a:gd name="connsiteX2" fmla="*/ 0 w 10000"/>
                <a:gd name="connsiteY2" fmla="*/ 7661 h 10010"/>
                <a:gd name="connsiteX3" fmla="*/ 81 w 10000"/>
                <a:gd name="connsiteY3" fmla="*/ 7673 h 10010"/>
                <a:gd name="connsiteX4" fmla="*/ 100 w 10000"/>
                <a:gd name="connsiteY4" fmla="*/ 7704 h 10010"/>
                <a:gd name="connsiteX5" fmla="*/ 96 w 10000"/>
                <a:gd name="connsiteY5" fmla="*/ 7759 h 10010"/>
                <a:gd name="connsiteX6" fmla="*/ 66 w 10000"/>
                <a:gd name="connsiteY6" fmla="*/ 7783 h 10010"/>
                <a:gd name="connsiteX7" fmla="*/ 190 w 10000"/>
                <a:gd name="connsiteY7" fmla="*/ 7737 h 10010"/>
                <a:gd name="connsiteX8" fmla="*/ 242 w 10000"/>
                <a:gd name="connsiteY8" fmla="*/ 7690 h 10010"/>
                <a:gd name="connsiteX9" fmla="*/ 306 w 10000"/>
                <a:gd name="connsiteY9" fmla="*/ 7722 h 10010"/>
                <a:gd name="connsiteX10" fmla="*/ 235 w 10000"/>
                <a:gd name="connsiteY10" fmla="*/ 7788 h 10010"/>
                <a:gd name="connsiteX11" fmla="*/ 311 w 10000"/>
                <a:gd name="connsiteY11" fmla="*/ 7790 h 10010"/>
                <a:gd name="connsiteX12" fmla="*/ 348 w 10000"/>
                <a:gd name="connsiteY12" fmla="*/ 7806 h 10010"/>
                <a:gd name="connsiteX13" fmla="*/ 250 w 10000"/>
                <a:gd name="connsiteY13" fmla="*/ 7828 h 10010"/>
                <a:gd name="connsiteX14" fmla="*/ 96 w 10000"/>
                <a:gd name="connsiteY14" fmla="*/ 7896 h 10010"/>
                <a:gd name="connsiteX15" fmla="*/ 370 w 10000"/>
                <a:gd name="connsiteY15" fmla="*/ 7948 h 10010"/>
                <a:gd name="connsiteX16" fmla="*/ 404 w 10000"/>
                <a:gd name="connsiteY16" fmla="*/ 8024 h 10010"/>
                <a:gd name="connsiteX17" fmla="*/ 311 w 10000"/>
                <a:gd name="connsiteY17" fmla="*/ 8136 h 10010"/>
                <a:gd name="connsiteX18" fmla="*/ 511 w 10000"/>
                <a:gd name="connsiteY18" fmla="*/ 8128 h 10010"/>
                <a:gd name="connsiteX19" fmla="*/ 526 w 10000"/>
                <a:gd name="connsiteY19" fmla="*/ 8213 h 10010"/>
                <a:gd name="connsiteX20" fmla="*/ 393 w 10000"/>
                <a:gd name="connsiteY20" fmla="*/ 8270 h 10010"/>
                <a:gd name="connsiteX21" fmla="*/ 415 w 10000"/>
                <a:gd name="connsiteY21" fmla="*/ 8380 h 10010"/>
                <a:gd name="connsiteX22" fmla="*/ 364 w 10000"/>
                <a:gd name="connsiteY22" fmla="*/ 8466 h 10010"/>
                <a:gd name="connsiteX23" fmla="*/ 521 w 10000"/>
                <a:gd name="connsiteY23" fmla="*/ 8474 h 10010"/>
                <a:gd name="connsiteX24" fmla="*/ 676 w 10000"/>
                <a:gd name="connsiteY24" fmla="*/ 8802 h 10010"/>
                <a:gd name="connsiteX25" fmla="*/ 853 w 10000"/>
                <a:gd name="connsiteY25" fmla="*/ 8886 h 10010"/>
                <a:gd name="connsiteX26" fmla="*/ 931 w 10000"/>
                <a:gd name="connsiteY26" fmla="*/ 8975 h 10010"/>
                <a:gd name="connsiteX27" fmla="*/ 1125 w 10000"/>
                <a:gd name="connsiteY27" fmla="*/ 9040 h 10010"/>
                <a:gd name="connsiteX28" fmla="*/ 1249 w 10000"/>
                <a:gd name="connsiteY28" fmla="*/ 9122 h 10010"/>
                <a:gd name="connsiteX29" fmla="*/ 1233 w 10000"/>
                <a:gd name="connsiteY29" fmla="*/ 9181 h 10010"/>
                <a:gd name="connsiteX30" fmla="*/ 1110 w 10000"/>
                <a:gd name="connsiteY30" fmla="*/ 9203 h 10010"/>
                <a:gd name="connsiteX31" fmla="*/ 976 w 10000"/>
                <a:gd name="connsiteY31" fmla="*/ 9189 h 10010"/>
                <a:gd name="connsiteX32" fmla="*/ 935 w 10000"/>
                <a:gd name="connsiteY32" fmla="*/ 9214 h 10010"/>
                <a:gd name="connsiteX33" fmla="*/ 1037 w 10000"/>
                <a:gd name="connsiteY33" fmla="*/ 9342 h 10010"/>
                <a:gd name="connsiteX34" fmla="*/ 894 w 10000"/>
                <a:gd name="connsiteY34" fmla="*/ 9332 h 10010"/>
                <a:gd name="connsiteX35" fmla="*/ 773 w 10000"/>
                <a:gd name="connsiteY35" fmla="*/ 9301 h 10010"/>
                <a:gd name="connsiteX36" fmla="*/ 750 w 10000"/>
                <a:gd name="connsiteY36" fmla="*/ 9348 h 10010"/>
                <a:gd name="connsiteX37" fmla="*/ 1155 w 10000"/>
                <a:gd name="connsiteY37" fmla="*/ 9786 h 10010"/>
                <a:gd name="connsiteX38" fmla="*/ 1091 w 10000"/>
                <a:gd name="connsiteY38" fmla="*/ 9827 h 10010"/>
                <a:gd name="connsiteX39" fmla="*/ 1045 w 10000"/>
                <a:gd name="connsiteY39" fmla="*/ 9912 h 10010"/>
                <a:gd name="connsiteX40" fmla="*/ 987 w 10000"/>
                <a:gd name="connsiteY40" fmla="*/ 9918 h 10010"/>
                <a:gd name="connsiteX41" fmla="*/ 951 w 10000"/>
                <a:gd name="connsiteY41" fmla="*/ 9955 h 10010"/>
                <a:gd name="connsiteX42" fmla="*/ 1195 w 10000"/>
                <a:gd name="connsiteY42" fmla="*/ 9959 h 10010"/>
                <a:gd name="connsiteX43" fmla="*/ 1410 w 10000"/>
                <a:gd name="connsiteY43" fmla="*/ 9996 h 10010"/>
                <a:gd name="connsiteX44" fmla="*/ 1769 w 10000"/>
                <a:gd name="connsiteY44" fmla="*/ 9957 h 10010"/>
                <a:gd name="connsiteX45" fmla="*/ 2091 w 10000"/>
                <a:gd name="connsiteY45" fmla="*/ 9963 h 10010"/>
                <a:gd name="connsiteX46" fmla="*/ 2280 w 10000"/>
                <a:gd name="connsiteY46" fmla="*/ 10010 h 10010"/>
                <a:gd name="connsiteX47" fmla="*/ 2385 w 10000"/>
                <a:gd name="connsiteY47" fmla="*/ 9979 h 10010"/>
                <a:gd name="connsiteX48" fmla="*/ 2485 w 10000"/>
                <a:gd name="connsiteY48" fmla="*/ 9878 h 10010"/>
                <a:gd name="connsiteX49" fmla="*/ 2459 w 10000"/>
                <a:gd name="connsiteY49" fmla="*/ 9713 h 10010"/>
                <a:gd name="connsiteX50" fmla="*/ 2704 w 10000"/>
                <a:gd name="connsiteY50" fmla="*/ 9527 h 10010"/>
                <a:gd name="connsiteX51" fmla="*/ 2883 w 10000"/>
                <a:gd name="connsiteY51" fmla="*/ 9556 h 10010"/>
                <a:gd name="connsiteX52" fmla="*/ 2987 w 10000"/>
                <a:gd name="connsiteY52" fmla="*/ 9482 h 10010"/>
                <a:gd name="connsiteX53" fmla="*/ 3186 w 10000"/>
                <a:gd name="connsiteY53" fmla="*/ 9440 h 10010"/>
                <a:gd name="connsiteX54" fmla="*/ 3457 w 10000"/>
                <a:gd name="connsiteY54" fmla="*/ 9450 h 10010"/>
                <a:gd name="connsiteX55" fmla="*/ 3620 w 10000"/>
                <a:gd name="connsiteY55" fmla="*/ 9480 h 10010"/>
                <a:gd name="connsiteX56" fmla="*/ 3837 w 10000"/>
                <a:gd name="connsiteY56" fmla="*/ 9466 h 10010"/>
                <a:gd name="connsiteX57" fmla="*/ 4056 w 10000"/>
                <a:gd name="connsiteY57" fmla="*/ 9499 h 10010"/>
                <a:gd name="connsiteX58" fmla="*/ 4275 w 10000"/>
                <a:gd name="connsiteY58" fmla="*/ 9503 h 10010"/>
                <a:gd name="connsiteX59" fmla="*/ 4765 w 10000"/>
                <a:gd name="connsiteY59" fmla="*/ 9071 h 10010"/>
                <a:gd name="connsiteX60" fmla="*/ 4889 w 10000"/>
                <a:gd name="connsiteY60" fmla="*/ 8721 h 10010"/>
                <a:gd name="connsiteX61" fmla="*/ 5088 w 10000"/>
                <a:gd name="connsiteY61" fmla="*/ 8564 h 10010"/>
                <a:gd name="connsiteX62" fmla="*/ 5088 w 10000"/>
                <a:gd name="connsiteY62" fmla="*/ 8482 h 10010"/>
                <a:gd name="connsiteX63" fmla="*/ 5016 w 10000"/>
                <a:gd name="connsiteY63" fmla="*/ 8435 h 10010"/>
                <a:gd name="connsiteX64" fmla="*/ 5133 w 10000"/>
                <a:gd name="connsiteY64" fmla="*/ 8362 h 10010"/>
                <a:gd name="connsiteX65" fmla="*/ 5112 w 10000"/>
                <a:gd name="connsiteY65" fmla="*/ 8299 h 10010"/>
                <a:gd name="connsiteX66" fmla="*/ 5032 w 10000"/>
                <a:gd name="connsiteY66" fmla="*/ 8246 h 10010"/>
                <a:gd name="connsiteX67" fmla="*/ 5016 w 10000"/>
                <a:gd name="connsiteY67" fmla="*/ 8209 h 10010"/>
                <a:gd name="connsiteX68" fmla="*/ 5036 w 10000"/>
                <a:gd name="connsiteY68" fmla="*/ 8179 h 10010"/>
                <a:gd name="connsiteX69" fmla="*/ 5144 w 10000"/>
                <a:gd name="connsiteY69" fmla="*/ 8203 h 10010"/>
                <a:gd name="connsiteX70" fmla="*/ 5230 w 10000"/>
                <a:gd name="connsiteY70" fmla="*/ 8201 h 10010"/>
                <a:gd name="connsiteX71" fmla="*/ 5184 w 10000"/>
                <a:gd name="connsiteY71" fmla="*/ 8150 h 10010"/>
                <a:gd name="connsiteX72" fmla="*/ 5198 w 10000"/>
                <a:gd name="connsiteY72" fmla="*/ 8122 h 10010"/>
                <a:gd name="connsiteX73" fmla="*/ 5262 w 10000"/>
                <a:gd name="connsiteY73" fmla="*/ 8079 h 10010"/>
                <a:gd name="connsiteX74" fmla="*/ 5250 w 10000"/>
                <a:gd name="connsiteY74" fmla="*/ 8044 h 10010"/>
                <a:gd name="connsiteX75" fmla="*/ 5309 w 10000"/>
                <a:gd name="connsiteY75" fmla="*/ 7926 h 10010"/>
                <a:gd name="connsiteX76" fmla="*/ 5293 w 10000"/>
                <a:gd name="connsiteY76" fmla="*/ 7891 h 10010"/>
                <a:gd name="connsiteX77" fmla="*/ 4996 w 10000"/>
                <a:gd name="connsiteY77" fmla="*/ 7802 h 10010"/>
                <a:gd name="connsiteX78" fmla="*/ 5036 w 10000"/>
                <a:gd name="connsiteY78" fmla="*/ 7798 h 10010"/>
                <a:gd name="connsiteX79" fmla="*/ 5194 w 10000"/>
                <a:gd name="connsiteY79" fmla="*/ 7822 h 10010"/>
                <a:gd name="connsiteX80" fmla="*/ 5365 w 10000"/>
                <a:gd name="connsiteY80" fmla="*/ 7814 h 10010"/>
                <a:gd name="connsiteX81" fmla="*/ 5415 w 10000"/>
                <a:gd name="connsiteY81" fmla="*/ 7781 h 10010"/>
                <a:gd name="connsiteX82" fmla="*/ 5250 w 10000"/>
                <a:gd name="connsiteY82" fmla="*/ 7720 h 10010"/>
                <a:gd name="connsiteX83" fmla="*/ 4761 w 10000"/>
                <a:gd name="connsiteY83" fmla="*/ 7680 h 10010"/>
                <a:gd name="connsiteX84" fmla="*/ 4794 w 10000"/>
                <a:gd name="connsiteY84" fmla="*/ 7661 h 10010"/>
                <a:gd name="connsiteX85" fmla="*/ 5194 w 10000"/>
                <a:gd name="connsiteY85" fmla="*/ 7649 h 10010"/>
                <a:gd name="connsiteX86" fmla="*/ 5415 w 10000"/>
                <a:gd name="connsiteY86" fmla="*/ 7686 h 10010"/>
                <a:gd name="connsiteX87" fmla="*/ 5542 w 10000"/>
                <a:gd name="connsiteY87" fmla="*/ 7661 h 10010"/>
                <a:gd name="connsiteX88" fmla="*/ 5589 w 10000"/>
                <a:gd name="connsiteY88" fmla="*/ 7598 h 10010"/>
                <a:gd name="connsiteX89" fmla="*/ 5819 w 10000"/>
                <a:gd name="connsiteY89" fmla="*/ 7598 h 10010"/>
                <a:gd name="connsiteX90" fmla="*/ 6131 w 10000"/>
                <a:gd name="connsiteY90" fmla="*/ 7472 h 10010"/>
                <a:gd name="connsiteX91" fmla="*/ 6142 w 10000"/>
                <a:gd name="connsiteY91" fmla="*/ 7388 h 10010"/>
                <a:gd name="connsiteX92" fmla="*/ 6274 w 10000"/>
                <a:gd name="connsiteY92" fmla="*/ 7407 h 10010"/>
                <a:gd name="connsiteX93" fmla="*/ 6268 w 10000"/>
                <a:gd name="connsiteY93" fmla="*/ 7492 h 10010"/>
                <a:gd name="connsiteX94" fmla="*/ 6478 w 10000"/>
                <a:gd name="connsiteY94" fmla="*/ 7486 h 10010"/>
                <a:gd name="connsiteX95" fmla="*/ 6616 w 10000"/>
                <a:gd name="connsiteY95" fmla="*/ 7398 h 10010"/>
                <a:gd name="connsiteX96" fmla="*/ 6872 w 10000"/>
                <a:gd name="connsiteY96" fmla="*/ 7319 h 10010"/>
                <a:gd name="connsiteX97" fmla="*/ 6832 w 10000"/>
                <a:gd name="connsiteY97" fmla="*/ 7229 h 10010"/>
                <a:gd name="connsiteX98" fmla="*/ 6908 w 10000"/>
                <a:gd name="connsiteY98" fmla="*/ 7264 h 10010"/>
                <a:gd name="connsiteX99" fmla="*/ 7025 w 10000"/>
                <a:gd name="connsiteY99" fmla="*/ 7264 h 10010"/>
                <a:gd name="connsiteX100" fmla="*/ 7025 w 10000"/>
                <a:gd name="connsiteY100" fmla="*/ 7223 h 10010"/>
                <a:gd name="connsiteX101" fmla="*/ 7134 w 10000"/>
                <a:gd name="connsiteY101" fmla="*/ 7191 h 10010"/>
                <a:gd name="connsiteX102" fmla="*/ 7119 w 10000"/>
                <a:gd name="connsiteY102" fmla="*/ 7158 h 10010"/>
                <a:gd name="connsiteX103" fmla="*/ 6198 w 10000"/>
                <a:gd name="connsiteY103" fmla="*/ 7225 h 10010"/>
                <a:gd name="connsiteX104" fmla="*/ 5983 w 10000"/>
                <a:gd name="connsiteY104" fmla="*/ 7205 h 10010"/>
                <a:gd name="connsiteX105" fmla="*/ 5895 w 10000"/>
                <a:gd name="connsiteY105" fmla="*/ 7229 h 10010"/>
                <a:gd name="connsiteX106" fmla="*/ 5866 w 10000"/>
                <a:gd name="connsiteY106" fmla="*/ 7183 h 10010"/>
                <a:gd name="connsiteX107" fmla="*/ 5764 w 10000"/>
                <a:gd name="connsiteY107" fmla="*/ 7142 h 10010"/>
                <a:gd name="connsiteX108" fmla="*/ 5354 w 10000"/>
                <a:gd name="connsiteY108" fmla="*/ 7062 h 10010"/>
                <a:gd name="connsiteX109" fmla="*/ 5112 w 10000"/>
                <a:gd name="connsiteY109" fmla="*/ 7075 h 10010"/>
                <a:gd name="connsiteX110" fmla="*/ 5016 w 10000"/>
                <a:gd name="connsiteY110" fmla="*/ 7052 h 10010"/>
                <a:gd name="connsiteX111" fmla="*/ 5118 w 10000"/>
                <a:gd name="connsiteY111" fmla="*/ 7032 h 10010"/>
                <a:gd name="connsiteX112" fmla="*/ 5194 w 10000"/>
                <a:gd name="connsiteY112" fmla="*/ 6989 h 10010"/>
                <a:gd name="connsiteX113" fmla="*/ 5309 w 10000"/>
                <a:gd name="connsiteY113" fmla="*/ 7003 h 10010"/>
                <a:gd name="connsiteX114" fmla="*/ 5445 w 10000"/>
                <a:gd name="connsiteY114" fmla="*/ 6991 h 10010"/>
                <a:gd name="connsiteX115" fmla="*/ 5650 w 10000"/>
                <a:gd name="connsiteY115" fmla="*/ 7005 h 10010"/>
                <a:gd name="connsiteX116" fmla="*/ 5675 w 10000"/>
                <a:gd name="connsiteY116" fmla="*/ 6999 h 10010"/>
                <a:gd name="connsiteX117" fmla="*/ 5834 w 10000"/>
                <a:gd name="connsiteY117" fmla="*/ 7066 h 10010"/>
                <a:gd name="connsiteX118" fmla="*/ 5951 w 10000"/>
                <a:gd name="connsiteY118" fmla="*/ 7042 h 10010"/>
                <a:gd name="connsiteX119" fmla="*/ 5961 w 10000"/>
                <a:gd name="connsiteY119" fmla="*/ 7020 h 10010"/>
                <a:gd name="connsiteX120" fmla="*/ 6069 w 10000"/>
                <a:gd name="connsiteY120" fmla="*/ 7058 h 10010"/>
                <a:gd name="connsiteX121" fmla="*/ 6212 w 10000"/>
                <a:gd name="connsiteY121" fmla="*/ 7079 h 10010"/>
                <a:gd name="connsiteX122" fmla="*/ 6268 w 10000"/>
                <a:gd name="connsiteY122" fmla="*/ 7040 h 10010"/>
                <a:gd name="connsiteX123" fmla="*/ 6314 w 10000"/>
                <a:gd name="connsiteY123" fmla="*/ 7062 h 10010"/>
                <a:gd name="connsiteX124" fmla="*/ 6381 w 10000"/>
                <a:gd name="connsiteY124" fmla="*/ 7136 h 10010"/>
                <a:gd name="connsiteX125" fmla="*/ 6519 w 10000"/>
                <a:gd name="connsiteY125" fmla="*/ 7154 h 10010"/>
                <a:gd name="connsiteX126" fmla="*/ 7082 w 10000"/>
                <a:gd name="connsiteY126" fmla="*/ 7044 h 10010"/>
                <a:gd name="connsiteX127" fmla="*/ 7359 w 10000"/>
                <a:gd name="connsiteY127" fmla="*/ 6889 h 10010"/>
                <a:gd name="connsiteX128" fmla="*/ 7423 w 10000"/>
                <a:gd name="connsiteY128" fmla="*/ 6775 h 10010"/>
                <a:gd name="connsiteX129" fmla="*/ 7323 w 10000"/>
                <a:gd name="connsiteY129" fmla="*/ 6673 h 10010"/>
                <a:gd name="connsiteX130" fmla="*/ 7113 w 10000"/>
                <a:gd name="connsiteY130" fmla="*/ 6612 h 10010"/>
                <a:gd name="connsiteX131" fmla="*/ 6963 w 10000"/>
                <a:gd name="connsiteY131" fmla="*/ 6512 h 10010"/>
                <a:gd name="connsiteX132" fmla="*/ 7102 w 10000"/>
                <a:gd name="connsiteY132" fmla="*/ 6508 h 10010"/>
                <a:gd name="connsiteX133" fmla="*/ 7093 w 10000"/>
                <a:gd name="connsiteY133" fmla="*/ 6484 h 10010"/>
                <a:gd name="connsiteX134" fmla="*/ 6731 w 10000"/>
                <a:gd name="connsiteY134" fmla="*/ 6413 h 10010"/>
                <a:gd name="connsiteX135" fmla="*/ 6716 w 10000"/>
                <a:gd name="connsiteY135" fmla="*/ 6349 h 10010"/>
                <a:gd name="connsiteX136" fmla="*/ 6646 w 10000"/>
                <a:gd name="connsiteY136" fmla="*/ 6282 h 10010"/>
                <a:gd name="connsiteX137" fmla="*/ 6360 w 10000"/>
                <a:gd name="connsiteY137" fmla="*/ 6294 h 10010"/>
                <a:gd name="connsiteX138" fmla="*/ 6258 w 10000"/>
                <a:gd name="connsiteY138" fmla="*/ 6223 h 10010"/>
                <a:gd name="connsiteX139" fmla="*/ 6198 w 10000"/>
                <a:gd name="connsiteY139" fmla="*/ 6219 h 10010"/>
                <a:gd name="connsiteX140" fmla="*/ 6198 w 10000"/>
                <a:gd name="connsiteY140" fmla="*/ 6248 h 10010"/>
                <a:gd name="connsiteX141" fmla="*/ 6069 w 10000"/>
                <a:gd name="connsiteY141" fmla="*/ 6368 h 10010"/>
                <a:gd name="connsiteX142" fmla="*/ 5930 w 10000"/>
                <a:gd name="connsiteY142" fmla="*/ 6439 h 10010"/>
                <a:gd name="connsiteX143" fmla="*/ 5495 w 10000"/>
                <a:gd name="connsiteY143" fmla="*/ 6561 h 10010"/>
                <a:gd name="connsiteX144" fmla="*/ 5342 w 10000"/>
                <a:gd name="connsiteY144" fmla="*/ 6557 h 10010"/>
                <a:gd name="connsiteX145" fmla="*/ 5133 w 10000"/>
                <a:gd name="connsiteY145" fmla="*/ 6575 h 10010"/>
                <a:gd name="connsiteX146" fmla="*/ 5016 w 10000"/>
                <a:gd name="connsiteY146" fmla="*/ 6557 h 10010"/>
                <a:gd name="connsiteX147" fmla="*/ 5169 w 10000"/>
                <a:gd name="connsiteY147" fmla="*/ 6523 h 10010"/>
                <a:gd name="connsiteX148" fmla="*/ 5369 w 10000"/>
                <a:gd name="connsiteY148" fmla="*/ 6508 h 10010"/>
                <a:gd name="connsiteX149" fmla="*/ 5534 w 10000"/>
                <a:gd name="connsiteY149" fmla="*/ 6451 h 10010"/>
                <a:gd name="connsiteX150" fmla="*/ 5695 w 10000"/>
                <a:gd name="connsiteY150" fmla="*/ 6425 h 10010"/>
                <a:gd name="connsiteX151" fmla="*/ 5998 w 10000"/>
                <a:gd name="connsiteY151" fmla="*/ 6327 h 10010"/>
                <a:gd name="connsiteX152" fmla="*/ 6056 w 10000"/>
                <a:gd name="connsiteY152" fmla="*/ 6262 h 10010"/>
                <a:gd name="connsiteX153" fmla="*/ 6060 w 10000"/>
                <a:gd name="connsiteY153" fmla="*/ 6178 h 10010"/>
                <a:gd name="connsiteX154" fmla="*/ 5921 w 10000"/>
                <a:gd name="connsiteY154" fmla="*/ 6164 h 10010"/>
                <a:gd name="connsiteX155" fmla="*/ 5983 w 10000"/>
                <a:gd name="connsiteY155" fmla="*/ 6113 h 10010"/>
                <a:gd name="connsiteX156" fmla="*/ 6002 w 10000"/>
                <a:gd name="connsiteY156" fmla="*/ 6048 h 10010"/>
                <a:gd name="connsiteX157" fmla="*/ 5944 w 10000"/>
                <a:gd name="connsiteY157" fmla="*/ 5987 h 10010"/>
                <a:gd name="connsiteX158" fmla="*/ 5911 w 10000"/>
                <a:gd name="connsiteY158" fmla="*/ 5543 h 10010"/>
                <a:gd name="connsiteX159" fmla="*/ 5993 w 10000"/>
                <a:gd name="connsiteY159" fmla="*/ 5447 h 10010"/>
                <a:gd name="connsiteX160" fmla="*/ 5972 w 10000"/>
                <a:gd name="connsiteY160" fmla="*/ 5408 h 10010"/>
                <a:gd name="connsiteX161" fmla="*/ 6212 w 10000"/>
                <a:gd name="connsiteY161" fmla="*/ 5465 h 10010"/>
                <a:gd name="connsiteX162" fmla="*/ 6229 w 10000"/>
                <a:gd name="connsiteY162" fmla="*/ 5412 h 10010"/>
                <a:gd name="connsiteX163" fmla="*/ 6176 w 10000"/>
                <a:gd name="connsiteY163" fmla="*/ 5274 h 10010"/>
                <a:gd name="connsiteX164" fmla="*/ 6349 w 10000"/>
                <a:gd name="connsiteY164" fmla="*/ 5029 h 10010"/>
                <a:gd name="connsiteX165" fmla="*/ 6243 w 10000"/>
                <a:gd name="connsiteY165" fmla="*/ 4970 h 10010"/>
                <a:gd name="connsiteX166" fmla="*/ 6202 w 10000"/>
                <a:gd name="connsiteY166" fmla="*/ 4915 h 10010"/>
                <a:gd name="connsiteX167" fmla="*/ 6216 w 10000"/>
                <a:gd name="connsiteY167" fmla="*/ 4826 h 10010"/>
                <a:gd name="connsiteX168" fmla="*/ 6470 w 10000"/>
                <a:gd name="connsiteY168" fmla="*/ 4885 h 10010"/>
                <a:gd name="connsiteX169" fmla="*/ 6478 w 10000"/>
                <a:gd name="connsiteY169" fmla="*/ 4868 h 10010"/>
                <a:gd name="connsiteX170" fmla="*/ 6548 w 10000"/>
                <a:gd name="connsiteY170" fmla="*/ 4852 h 10010"/>
                <a:gd name="connsiteX171" fmla="*/ 6646 w 10000"/>
                <a:gd name="connsiteY171" fmla="*/ 4795 h 10010"/>
                <a:gd name="connsiteX172" fmla="*/ 6662 w 10000"/>
                <a:gd name="connsiteY172" fmla="*/ 4779 h 10010"/>
                <a:gd name="connsiteX173" fmla="*/ 6641 w 10000"/>
                <a:gd name="connsiteY173" fmla="*/ 4758 h 10010"/>
                <a:gd name="connsiteX174" fmla="*/ 6693 w 10000"/>
                <a:gd name="connsiteY174" fmla="*/ 4657 h 10010"/>
                <a:gd name="connsiteX175" fmla="*/ 6631 w 10000"/>
                <a:gd name="connsiteY175" fmla="*/ 4591 h 10010"/>
                <a:gd name="connsiteX176" fmla="*/ 6641 w 10000"/>
                <a:gd name="connsiteY176" fmla="*/ 4538 h 10010"/>
                <a:gd name="connsiteX177" fmla="*/ 6676 w 10000"/>
                <a:gd name="connsiteY177" fmla="*/ 4600 h 10010"/>
                <a:gd name="connsiteX178" fmla="*/ 6815 w 10000"/>
                <a:gd name="connsiteY178" fmla="*/ 4646 h 10010"/>
                <a:gd name="connsiteX179" fmla="*/ 6872 w 10000"/>
                <a:gd name="connsiteY179" fmla="*/ 4640 h 10010"/>
                <a:gd name="connsiteX180" fmla="*/ 6963 w 10000"/>
                <a:gd name="connsiteY180" fmla="*/ 4579 h 10010"/>
                <a:gd name="connsiteX181" fmla="*/ 7062 w 10000"/>
                <a:gd name="connsiteY181" fmla="*/ 4604 h 10010"/>
                <a:gd name="connsiteX182" fmla="*/ 7088 w 10000"/>
                <a:gd name="connsiteY182" fmla="*/ 4555 h 10010"/>
                <a:gd name="connsiteX183" fmla="*/ 7154 w 10000"/>
                <a:gd name="connsiteY183" fmla="*/ 4522 h 10010"/>
                <a:gd name="connsiteX184" fmla="*/ 6974 w 10000"/>
                <a:gd name="connsiteY184" fmla="*/ 4487 h 10010"/>
                <a:gd name="connsiteX185" fmla="*/ 7102 w 10000"/>
                <a:gd name="connsiteY185" fmla="*/ 4494 h 10010"/>
                <a:gd name="connsiteX186" fmla="*/ 7234 w 10000"/>
                <a:gd name="connsiteY186" fmla="*/ 4457 h 10010"/>
                <a:gd name="connsiteX187" fmla="*/ 7229 w 10000"/>
                <a:gd name="connsiteY187" fmla="*/ 4432 h 10010"/>
                <a:gd name="connsiteX188" fmla="*/ 7353 w 10000"/>
                <a:gd name="connsiteY188" fmla="*/ 4408 h 10010"/>
                <a:gd name="connsiteX189" fmla="*/ 7364 w 10000"/>
                <a:gd name="connsiteY189" fmla="*/ 4347 h 10010"/>
                <a:gd name="connsiteX190" fmla="*/ 7461 w 10000"/>
                <a:gd name="connsiteY190" fmla="*/ 4335 h 10010"/>
                <a:gd name="connsiteX191" fmla="*/ 7469 w 10000"/>
                <a:gd name="connsiteY191" fmla="*/ 4263 h 10010"/>
                <a:gd name="connsiteX192" fmla="*/ 7572 w 10000"/>
                <a:gd name="connsiteY192" fmla="*/ 4255 h 10010"/>
                <a:gd name="connsiteX193" fmla="*/ 7730 w 10000"/>
                <a:gd name="connsiteY193" fmla="*/ 4270 h 10010"/>
                <a:gd name="connsiteX194" fmla="*/ 7904 w 10000"/>
                <a:gd name="connsiteY194" fmla="*/ 4212 h 10010"/>
                <a:gd name="connsiteX195" fmla="*/ 7966 w 10000"/>
                <a:gd name="connsiteY195" fmla="*/ 4147 h 10010"/>
                <a:gd name="connsiteX196" fmla="*/ 8181 w 10000"/>
                <a:gd name="connsiteY196" fmla="*/ 4080 h 10010"/>
                <a:gd name="connsiteX197" fmla="*/ 8288 w 10000"/>
                <a:gd name="connsiteY197" fmla="*/ 4121 h 10010"/>
                <a:gd name="connsiteX198" fmla="*/ 8452 w 10000"/>
                <a:gd name="connsiteY198" fmla="*/ 4076 h 10010"/>
                <a:gd name="connsiteX199" fmla="*/ 8491 w 10000"/>
                <a:gd name="connsiteY199" fmla="*/ 4019 h 10010"/>
                <a:gd name="connsiteX200" fmla="*/ 8616 w 10000"/>
                <a:gd name="connsiteY200" fmla="*/ 3980 h 10010"/>
                <a:gd name="connsiteX201" fmla="*/ 8722 w 10000"/>
                <a:gd name="connsiteY201" fmla="*/ 3997 h 10010"/>
                <a:gd name="connsiteX202" fmla="*/ 8789 w 10000"/>
                <a:gd name="connsiteY202" fmla="*/ 3968 h 10010"/>
                <a:gd name="connsiteX203" fmla="*/ 8973 w 10000"/>
                <a:gd name="connsiteY203" fmla="*/ 3927 h 10010"/>
                <a:gd name="connsiteX204" fmla="*/ 9049 w 10000"/>
                <a:gd name="connsiteY204" fmla="*/ 3874 h 10010"/>
                <a:gd name="connsiteX205" fmla="*/ 9153 w 10000"/>
                <a:gd name="connsiteY205" fmla="*/ 3852 h 10010"/>
                <a:gd name="connsiteX206" fmla="*/ 9720 w 10000"/>
                <a:gd name="connsiteY206" fmla="*/ 3532 h 10010"/>
                <a:gd name="connsiteX207" fmla="*/ 9971 w 10000"/>
                <a:gd name="connsiteY207" fmla="*/ 399 h 10010"/>
                <a:gd name="connsiteX208" fmla="*/ 9049 w 10000"/>
                <a:gd name="connsiteY208" fmla="*/ 36 h 10010"/>
                <a:gd name="connsiteX209" fmla="*/ 8706 w 10000"/>
                <a:gd name="connsiteY209" fmla="*/ 10 h 10010"/>
                <a:gd name="connsiteX210" fmla="*/ 8637 w 10000"/>
                <a:gd name="connsiteY210" fmla="*/ 24 h 10010"/>
                <a:gd name="connsiteX211" fmla="*/ 8729 w 10000"/>
                <a:gd name="connsiteY211" fmla="*/ 149 h 10010"/>
                <a:gd name="connsiteX212" fmla="*/ 8706 w 10000"/>
                <a:gd name="connsiteY212" fmla="*/ 191 h 10010"/>
                <a:gd name="connsiteX213" fmla="*/ 8652 w 10000"/>
                <a:gd name="connsiteY213" fmla="*/ 218 h 10010"/>
                <a:gd name="connsiteX214" fmla="*/ 8610 w 10000"/>
                <a:gd name="connsiteY214" fmla="*/ 293 h 10010"/>
                <a:gd name="connsiteX215" fmla="*/ 8533 w 10000"/>
                <a:gd name="connsiteY215" fmla="*/ 346 h 10010"/>
                <a:gd name="connsiteX216" fmla="*/ 8550 w 10000"/>
                <a:gd name="connsiteY216" fmla="*/ 397 h 10010"/>
                <a:gd name="connsiteX217" fmla="*/ 8667 w 10000"/>
                <a:gd name="connsiteY217" fmla="*/ 444 h 10010"/>
                <a:gd name="connsiteX218" fmla="*/ 8591 w 10000"/>
                <a:gd name="connsiteY218" fmla="*/ 485 h 10010"/>
                <a:gd name="connsiteX219" fmla="*/ 8477 w 10000"/>
                <a:gd name="connsiteY219" fmla="*/ 495 h 10010"/>
                <a:gd name="connsiteX220" fmla="*/ 7537 w 10000"/>
                <a:gd name="connsiteY220" fmla="*/ 397 h 10010"/>
                <a:gd name="connsiteX221" fmla="*/ 7423 w 10000"/>
                <a:gd name="connsiteY221" fmla="*/ 405 h 10010"/>
                <a:gd name="connsiteX222" fmla="*/ 7359 w 10000"/>
                <a:gd name="connsiteY222" fmla="*/ 424 h 10010"/>
                <a:gd name="connsiteX223" fmla="*/ 7290 w 10000"/>
                <a:gd name="connsiteY223" fmla="*/ 472 h 10010"/>
                <a:gd name="connsiteX224" fmla="*/ 7302 w 10000"/>
                <a:gd name="connsiteY224" fmla="*/ 591 h 10010"/>
                <a:gd name="connsiteX225" fmla="*/ 7199 w 10000"/>
                <a:gd name="connsiteY225" fmla="*/ 745 h 10010"/>
                <a:gd name="connsiteX226" fmla="*/ 7072 w 10000"/>
                <a:gd name="connsiteY226" fmla="*/ 825 h 10010"/>
                <a:gd name="connsiteX227" fmla="*/ 7021 w 10000"/>
                <a:gd name="connsiteY227" fmla="*/ 815 h 10010"/>
                <a:gd name="connsiteX228" fmla="*/ 6903 w 10000"/>
                <a:gd name="connsiteY228" fmla="*/ 749 h 10010"/>
                <a:gd name="connsiteX229" fmla="*/ 6756 w 10000"/>
                <a:gd name="connsiteY229" fmla="*/ 715 h 10010"/>
                <a:gd name="connsiteX230" fmla="*/ 6594 w 10000"/>
                <a:gd name="connsiteY230" fmla="*/ 725 h 10010"/>
                <a:gd name="connsiteX231" fmla="*/ 6223 w 10000"/>
                <a:gd name="connsiteY231" fmla="*/ 876 h 10010"/>
                <a:gd name="connsiteX232" fmla="*/ 6125 w 10000"/>
                <a:gd name="connsiteY232" fmla="*/ 1027 h 10010"/>
                <a:gd name="connsiteX233" fmla="*/ 5845 w 10000"/>
                <a:gd name="connsiteY233" fmla="*/ 1163 h 10010"/>
                <a:gd name="connsiteX234" fmla="*/ 5794 w 10000"/>
                <a:gd name="connsiteY234" fmla="*/ 1232 h 10010"/>
                <a:gd name="connsiteX235" fmla="*/ 5940 w 10000"/>
                <a:gd name="connsiteY235" fmla="*/ 1354 h 10010"/>
                <a:gd name="connsiteX236" fmla="*/ 5956 w 10000"/>
                <a:gd name="connsiteY236" fmla="*/ 1422 h 10010"/>
                <a:gd name="connsiteX237" fmla="*/ 5190 w 10000"/>
                <a:gd name="connsiteY237" fmla="*/ 1823 h 10010"/>
                <a:gd name="connsiteX238" fmla="*/ 4955 w 10000"/>
                <a:gd name="connsiteY238" fmla="*/ 2080 h 10010"/>
                <a:gd name="connsiteX239" fmla="*/ 4702 w 10000"/>
                <a:gd name="connsiteY239" fmla="*/ 2145 h 10010"/>
                <a:gd name="connsiteX240" fmla="*/ 4540 w 10000"/>
                <a:gd name="connsiteY240" fmla="*/ 2141 h 10010"/>
                <a:gd name="connsiteX241" fmla="*/ 4443 w 10000"/>
                <a:gd name="connsiteY241" fmla="*/ 2163 h 10010"/>
                <a:gd name="connsiteX242" fmla="*/ 4178 w 10000"/>
                <a:gd name="connsiteY242" fmla="*/ 2803 h 10010"/>
                <a:gd name="connsiteX243" fmla="*/ 3565 w 10000"/>
                <a:gd name="connsiteY243" fmla="*/ 3176 h 10010"/>
                <a:gd name="connsiteX244" fmla="*/ 3569 w 10000"/>
                <a:gd name="connsiteY244" fmla="*/ 3235 h 10010"/>
                <a:gd name="connsiteX245" fmla="*/ 3841 w 10000"/>
                <a:gd name="connsiteY245" fmla="*/ 3402 h 10010"/>
                <a:gd name="connsiteX246" fmla="*/ 3753 w 10000"/>
                <a:gd name="connsiteY246" fmla="*/ 3583 h 10010"/>
                <a:gd name="connsiteX247" fmla="*/ 3594 w 10000"/>
                <a:gd name="connsiteY247" fmla="*/ 3650 h 10010"/>
                <a:gd name="connsiteX248" fmla="*/ 3118 w 10000"/>
                <a:gd name="connsiteY248" fmla="*/ 3605 h 10010"/>
                <a:gd name="connsiteX249" fmla="*/ 2791 w 10000"/>
                <a:gd name="connsiteY249" fmla="*/ 3630 h 10010"/>
                <a:gd name="connsiteX250" fmla="*/ 2528 w 10000"/>
                <a:gd name="connsiteY250" fmla="*/ 3683 h 10010"/>
                <a:gd name="connsiteX251" fmla="*/ 2102 w 10000"/>
                <a:gd name="connsiteY251" fmla="*/ 3850 h 10010"/>
                <a:gd name="connsiteX252" fmla="*/ 1877 w 10000"/>
                <a:gd name="connsiteY252" fmla="*/ 4052 h 10010"/>
                <a:gd name="connsiteX253" fmla="*/ 1896 w 10000"/>
                <a:gd name="connsiteY253" fmla="*/ 4164 h 10010"/>
                <a:gd name="connsiteX254" fmla="*/ 1975 w 10000"/>
                <a:gd name="connsiteY254" fmla="*/ 4251 h 10010"/>
                <a:gd name="connsiteX255" fmla="*/ 2034 w 10000"/>
                <a:gd name="connsiteY255" fmla="*/ 4286 h 10010"/>
                <a:gd name="connsiteX256" fmla="*/ 1924 w 10000"/>
                <a:gd name="connsiteY256" fmla="*/ 4341 h 10010"/>
                <a:gd name="connsiteX257" fmla="*/ 1683 w 10000"/>
                <a:gd name="connsiteY257" fmla="*/ 4720 h 10010"/>
                <a:gd name="connsiteX258" fmla="*/ 1729 w 10000"/>
                <a:gd name="connsiteY258" fmla="*/ 4742 h 10010"/>
                <a:gd name="connsiteX259" fmla="*/ 1764 w 10000"/>
                <a:gd name="connsiteY259" fmla="*/ 4838 h 10010"/>
                <a:gd name="connsiteX260" fmla="*/ 1652 w 10000"/>
                <a:gd name="connsiteY260" fmla="*/ 5237 h 10010"/>
                <a:gd name="connsiteX261" fmla="*/ 1764 w 10000"/>
                <a:gd name="connsiteY261" fmla="*/ 5339 h 10010"/>
                <a:gd name="connsiteX262" fmla="*/ 2071 w 10000"/>
                <a:gd name="connsiteY262" fmla="*/ 5451 h 10010"/>
                <a:gd name="connsiteX263" fmla="*/ 2085 w 10000"/>
                <a:gd name="connsiteY263" fmla="*/ 5588 h 10010"/>
                <a:gd name="connsiteX264" fmla="*/ 1954 w 10000"/>
                <a:gd name="connsiteY264" fmla="*/ 5700 h 10010"/>
                <a:gd name="connsiteX265" fmla="*/ 1764 w 10000"/>
                <a:gd name="connsiteY265" fmla="*/ 5769 h 10010"/>
                <a:gd name="connsiteX266" fmla="*/ 1513 w 10000"/>
                <a:gd name="connsiteY266" fmla="*/ 5797 h 10010"/>
                <a:gd name="connsiteX267" fmla="*/ 1448 w 10000"/>
                <a:gd name="connsiteY267" fmla="*/ 5836 h 10010"/>
                <a:gd name="connsiteX268" fmla="*/ 1594 w 10000"/>
                <a:gd name="connsiteY268" fmla="*/ 5930 h 10010"/>
                <a:gd name="connsiteX269" fmla="*/ 1678 w 10000"/>
                <a:gd name="connsiteY269" fmla="*/ 6152 h 10010"/>
                <a:gd name="connsiteX270" fmla="*/ 1488 w 10000"/>
                <a:gd name="connsiteY270" fmla="*/ 6343 h 10010"/>
                <a:gd name="connsiteX271" fmla="*/ 1554 w 10000"/>
                <a:gd name="connsiteY271" fmla="*/ 6402 h 10010"/>
                <a:gd name="connsiteX272" fmla="*/ 1494 w 10000"/>
                <a:gd name="connsiteY272" fmla="*/ 6502 h 10010"/>
                <a:gd name="connsiteX273" fmla="*/ 1372 w 10000"/>
                <a:gd name="connsiteY273" fmla="*/ 6571 h 10010"/>
                <a:gd name="connsiteX274" fmla="*/ 889 w 10000"/>
                <a:gd name="connsiteY274" fmla="*/ 6624 h 10010"/>
                <a:gd name="connsiteX275" fmla="*/ 860 w 10000"/>
                <a:gd name="connsiteY275" fmla="*/ 6716 h 10010"/>
                <a:gd name="connsiteX276" fmla="*/ 600 w 10000"/>
                <a:gd name="connsiteY276" fmla="*/ 6853 h 10010"/>
                <a:gd name="connsiteX277" fmla="*/ 634 w 10000"/>
                <a:gd name="connsiteY277" fmla="*/ 7050 h 10010"/>
                <a:gd name="connsiteX278" fmla="*/ 415 w 10000"/>
                <a:gd name="connsiteY278" fmla="*/ 7303 h 10010"/>
                <a:gd name="connsiteX279" fmla="*/ 266 w 10000"/>
                <a:gd name="connsiteY279" fmla="*/ 7333 h 10010"/>
                <a:gd name="connsiteX280" fmla="*/ 204 w 10000"/>
                <a:gd name="connsiteY280" fmla="*/ 7272 h 10010"/>
                <a:gd name="connsiteX281" fmla="*/ 128 w 10000"/>
                <a:gd name="connsiteY281" fmla="*/ 7364 h 10010"/>
                <a:gd name="connsiteX282" fmla="*/ 178 w 10000"/>
                <a:gd name="connsiteY282" fmla="*/ 7207 h 10010"/>
                <a:gd name="connsiteX283" fmla="*/ 147 w 10000"/>
                <a:gd name="connsiteY283" fmla="*/ 7176 h 10010"/>
                <a:gd name="connsiteX0" fmla="*/ 147 w 10000"/>
                <a:gd name="connsiteY0" fmla="*/ 7176 h 10010"/>
                <a:gd name="connsiteX1" fmla="*/ 0 w 10000"/>
                <a:gd name="connsiteY1" fmla="*/ 7258 h 10010"/>
                <a:gd name="connsiteX2" fmla="*/ 0 w 10000"/>
                <a:gd name="connsiteY2" fmla="*/ 7661 h 10010"/>
                <a:gd name="connsiteX3" fmla="*/ 81 w 10000"/>
                <a:gd name="connsiteY3" fmla="*/ 7673 h 10010"/>
                <a:gd name="connsiteX4" fmla="*/ 100 w 10000"/>
                <a:gd name="connsiteY4" fmla="*/ 7704 h 10010"/>
                <a:gd name="connsiteX5" fmla="*/ 96 w 10000"/>
                <a:gd name="connsiteY5" fmla="*/ 7759 h 10010"/>
                <a:gd name="connsiteX6" fmla="*/ 66 w 10000"/>
                <a:gd name="connsiteY6" fmla="*/ 7783 h 10010"/>
                <a:gd name="connsiteX7" fmla="*/ 190 w 10000"/>
                <a:gd name="connsiteY7" fmla="*/ 7737 h 10010"/>
                <a:gd name="connsiteX8" fmla="*/ 242 w 10000"/>
                <a:gd name="connsiteY8" fmla="*/ 7690 h 10010"/>
                <a:gd name="connsiteX9" fmla="*/ 306 w 10000"/>
                <a:gd name="connsiteY9" fmla="*/ 7722 h 10010"/>
                <a:gd name="connsiteX10" fmla="*/ 235 w 10000"/>
                <a:gd name="connsiteY10" fmla="*/ 7788 h 10010"/>
                <a:gd name="connsiteX11" fmla="*/ 311 w 10000"/>
                <a:gd name="connsiteY11" fmla="*/ 7790 h 10010"/>
                <a:gd name="connsiteX12" fmla="*/ 348 w 10000"/>
                <a:gd name="connsiteY12" fmla="*/ 7806 h 10010"/>
                <a:gd name="connsiteX13" fmla="*/ 250 w 10000"/>
                <a:gd name="connsiteY13" fmla="*/ 7828 h 10010"/>
                <a:gd name="connsiteX14" fmla="*/ 96 w 10000"/>
                <a:gd name="connsiteY14" fmla="*/ 7896 h 10010"/>
                <a:gd name="connsiteX15" fmla="*/ 370 w 10000"/>
                <a:gd name="connsiteY15" fmla="*/ 7948 h 10010"/>
                <a:gd name="connsiteX16" fmla="*/ 404 w 10000"/>
                <a:gd name="connsiteY16" fmla="*/ 8024 h 10010"/>
                <a:gd name="connsiteX17" fmla="*/ 311 w 10000"/>
                <a:gd name="connsiteY17" fmla="*/ 8136 h 10010"/>
                <a:gd name="connsiteX18" fmla="*/ 511 w 10000"/>
                <a:gd name="connsiteY18" fmla="*/ 8128 h 10010"/>
                <a:gd name="connsiteX19" fmla="*/ 526 w 10000"/>
                <a:gd name="connsiteY19" fmla="*/ 8213 h 10010"/>
                <a:gd name="connsiteX20" fmla="*/ 393 w 10000"/>
                <a:gd name="connsiteY20" fmla="*/ 8270 h 10010"/>
                <a:gd name="connsiteX21" fmla="*/ 415 w 10000"/>
                <a:gd name="connsiteY21" fmla="*/ 8380 h 10010"/>
                <a:gd name="connsiteX22" fmla="*/ 364 w 10000"/>
                <a:gd name="connsiteY22" fmla="*/ 8466 h 10010"/>
                <a:gd name="connsiteX23" fmla="*/ 521 w 10000"/>
                <a:gd name="connsiteY23" fmla="*/ 8474 h 10010"/>
                <a:gd name="connsiteX24" fmla="*/ 676 w 10000"/>
                <a:gd name="connsiteY24" fmla="*/ 8802 h 10010"/>
                <a:gd name="connsiteX25" fmla="*/ 853 w 10000"/>
                <a:gd name="connsiteY25" fmla="*/ 8886 h 10010"/>
                <a:gd name="connsiteX26" fmla="*/ 931 w 10000"/>
                <a:gd name="connsiteY26" fmla="*/ 8975 h 10010"/>
                <a:gd name="connsiteX27" fmla="*/ 1125 w 10000"/>
                <a:gd name="connsiteY27" fmla="*/ 9040 h 10010"/>
                <a:gd name="connsiteX28" fmla="*/ 1249 w 10000"/>
                <a:gd name="connsiteY28" fmla="*/ 9122 h 10010"/>
                <a:gd name="connsiteX29" fmla="*/ 1233 w 10000"/>
                <a:gd name="connsiteY29" fmla="*/ 9181 h 10010"/>
                <a:gd name="connsiteX30" fmla="*/ 1110 w 10000"/>
                <a:gd name="connsiteY30" fmla="*/ 9203 h 10010"/>
                <a:gd name="connsiteX31" fmla="*/ 976 w 10000"/>
                <a:gd name="connsiteY31" fmla="*/ 9189 h 10010"/>
                <a:gd name="connsiteX32" fmla="*/ 935 w 10000"/>
                <a:gd name="connsiteY32" fmla="*/ 9214 h 10010"/>
                <a:gd name="connsiteX33" fmla="*/ 1037 w 10000"/>
                <a:gd name="connsiteY33" fmla="*/ 9342 h 10010"/>
                <a:gd name="connsiteX34" fmla="*/ 894 w 10000"/>
                <a:gd name="connsiteY34" fmla="*/ 9332 h 10010"/>
                <a:gd name="connsiteX35" fmla="*/ 773 w 10000"/>
                <a:gd name="connsiteY35" fmla="*/ 9301 h 10010"/>
                <a:gd name="connsiteX36" fmla="*/ 750 w 10000"/>
                <a:gd name="connsiteY36" fmla="*/ 9348 h 10010"/>
                <a:gd name="connsiteX37" fmla="*/ 1155 w 10000"/>
                <a:gd name="connsiteY37" fmla="*/ 9786 h 10010"/>
                <a:gd name="connsiteX38" fmla="*/ 1091 w 10000"/>
                <a:gd name="connsiteY38" fmla="*/ 9827 h 10010"/>
                <a:gd name="connsiteX39" fmla="*/ 1045 w 10000"/>
                <a:gd name="connsiteY39" fmla="*/ 9912 h 10010"/>
                <a:gd name="connsiteX40" fmla="*/ 987 w 10000"/>
                <a:gd name="connsiteY40" fmla="*/ 9918 h 10010"/>
                <a:gd name="connsiteX41" fmla="*/ 951 w 10000"/>
                <a:gd name="connsiteY41" fmla="*/ 9955 h 10010"/>
                <a:gd name="connsiteX42" fmla="*/ 1195 w 10000"/>
                <a:gd name="connsiteY42" fmla="*/ 9959 h 10010"/>
                <a:gd name="connsiteX43" fmla="*/ 1410 w 10000"/>
                <a:gd name="connsiteY43" fmla="*/ 9996 h 10010"/>
                <a:gd name="connsiteX44" fmla="*/ 1769 w 10000"/>
                <a:gd name="connsiteY44" fmla="*/ 9957 h 10010"/>
                <a:gd name="connsiteX45" fmla="*/ 2091 w 10000"/>
                <a:gd name="connsiteY45" fmla="*/ 9963 h 10010"/>
                <a:gd name="connsiteX46" fmla="*/ 2280 w 10000"/>
                <a:gd name="connsiteY46" fmla="*/ 10010 h 10010"/>
                <a:gd name="connsiteX47" fmla="*/ 2385 w 10000"/>
                <a:gd name="connsiteY47" fmla="*/ 9979 h 10010"/>
                <a:gd name="connsiteX48" fmla="*/ 2485 w 10000"/>
                <a:gd name="connsiteY48" fmla="*/ 9878 h 10010"/>
                <a:gd name="connsiteX49" fmla="*/ 2459 w 10000"/>
                <a:gd name="connsiteY49" fmla="*/ 9713 h 10010"/>
                <a:gd name="connsiteX50" fmla="*/ 2704 w 10000"/>
                <a:gd name="connsiteY50" fmla="*/ 9527 h 10010"/>
                <a:gd name="connsiteX51" fmla="*/ 2883 w 10000"/>
                <a:gd name="connsiteY51" fmla="*/ 9556 h 10010"/>
                <a:gd name="connsiteX52" fmla="*/ 2987 w 10000"/>
                <a:gd name="connsiteY52" fmla="*/ 9482 h 10010"/>
                <a:gd name="connsiteX53" fmla="*/ 3186 w 10000"/>
                <a:gd name="connsiteY53" fmla="*/ 9440 h 10010"/>
                <a:gd name="connsiteX54" fmla="*/ 3457 w 10000"/>
                <a:gd name="connsiteY54" fmla="*/ 9450 h 10010"/>
                <a:gd name="connsiteX55" fmla="*/ 3620 w 10000"/>
                <a:gd name="connsiteY55" fmla="*/ 9480 h 10010"/>
                <a:gd name="connsiteX56" fmla="*/ 3837 w 10000"/>
                <a:gd name="connsiteY56" fmla="*/ 9466 h 10010"/>
                <a:gd name="connsiteX57" fmla="*/ 4056 w 10000"/>
                <a:gd name="connsiteY57" fmla="*/ 9499 h 10010"/>
                <a:gd name="connsiteX58" fmla="*/ 4275 w 10000"/>
                <a:gd name="connsiteY58" fmla="*/ 9503 h 10010"/>
                <a:gd name="connsiteX59" fmla="*/ 4765 w 10000"/>
                <a:gd name="connsiteY59" fmla="*/ 9071 h 10010"/>
                <a:gd name="connsiteX60" fmla="*/ 4889 w 10000"/>
                <a:gd name="connsiteY60" fmla="*/ 8721 h 10010"/>
                <a:gd name="connsiteX61" fmla="*/ 5088 w 10000"/>
                <a:gd name="connsiteY61" fmla="*/ 8564 h 10010"/>
                <a:gd name="connsiteX62" fmla="*/ 5088 w 10000"/>
                <a:gd name="connsiteY62" fmla="*/ 8482 h 10010"/>
                <a:gd name="connsiteX63" fmla="*/ 5016 w 10000"/>
                <a:gd name="connsiteY63" fmla="*/ 8435 h 10010"/>
                <a:gd name="connsiteX64" fmla="*/ 5133 w 10000"/>
                <a:gd name="connsiteY64" fmla="*/ 8362 h 10010"/>
                <a:gd name="connsiteX65" fmla="*/ 5112 w 10000"/>
                <a:gd name="connsiteY65" fmla="*/ 8299 h 10010"/>
                <a:gd name="connsiteX66" fmla="*/ 5032 w 10000"/>
                <a:gd name="connsiteY66" fmla="*/ 8246 h 10010"/>
                <a:gd name="connsiteX67" fmla="*/ 5016 w 10000"/>
                <a:gd name="connsiteY67" fmla="*/ 8209 h 10010"/>
                <a:gd name="connsiteX68" fmla="*/ 5036 w 10000"/>
                <a:gd name="connsiteY68" fmla="*/ 8179 h 10010"/>
                <a:gd name="connsiteX69" fmla="*/ 5144 w 10000"/>
                <a:gd name="connsiteY69" fmla="*/ 8203 h 10010"/>
                <a:gd name="connsiteX70" fmla="*/ 5230 w 10000"/>
                <a:gd name="connsiteY70" fmla="*/ 8201 h 10010"/>
                <a:gd name="connsiteX71" fmla="*/ 5184 w 10000"/>
                <a:gd name="connsiteY71" fmla="*/ 8150 h 10010"/>
                <a:gd name="connsiteX72" fmla="*/ 5198 w 10000"/>
                <a:gd name="connsiteY72" fmla="*/ 8122 h 10010"/>
                <a:gd name="connsiteX73" fmla="*/ 5262 w 10000"/>
                <a:gd name="connsiteY73" fmla="*/ 8079 h 10010"/>
                <a:gd name="connsiteX74" fmla="*/ 5250 w 10000"/>
                <a:gd name="connsiteY74" fmla="*/ 8044 h 10010"/>
                <a:gd name="connsiteX75" fmla="*/ 5309 w 10000"/>
                <a:gd name="connsiteY75" fmla="*/ 7926 h 10010"/>
                <a:gd name="connsiteX76" fmla="*/ 5293 w 10000"/>
                <a:gd name="connsiteY76" fmla="*/ 7891 h 10010"/>
                <a:gd name="connsiteX77" fmla="*/ 4996 w 10000"/>
                <a:gd name="connsiteY77" fmla="*/ 7802 h 10010"/>
                <a:gd name="connsiteX78" fmla="*/ 5036 w 10000"/>
                <a:gd name="connsiteY78" fmla="*/ 7798 h 10010"/>
                <a:gd name="connsiteX79" fmla="*/ 5194 w 10000"/>
                <a:gd name="connsiteY79" fmla="*/ 7822 h 10010"/>
                <a:gd name="connsiteX80" fmla="*/ 5365 w 10000"/>
                <a:gd name="connsiteY80" fmla="*/ 7814 h 10010"/>
                <a:gd name="connsiteX81" fmla="*/ 5415 w 10000"/>
                <a:gd name="connsiteY81" fmla="*/ 7781 h 10010"/>
                <a:gd name="connsiteX82" fmla="*/ 5250 w 10000"/>
                <a:gd name="connsiteY82" fmla="*/ 7720 h 10010"/>
                <a:gd name="connsiteX83" fmla="*/ 4761 w 10000"/>
                <a:gd name="connsiteY83" fmla="*/ 7680 h 10010"/>
                <a:gd name="connsiteX84" fmla="*/ 4794 w 10000"/>
                <a:gd name="connsiteY84" fmla="*/ 7661 h 10010"/>
                <a:gd name="connsiteX85" fmla="*/ 5194 w 10000"/>
                <a:gd name="connsiteY85" fmla="*/ 7649 h 10010"/>
                <a:gd name="connsiteX86" fmla="*/ 5415 w 10000"/>
                <a:gd name="connsiteY86" fmla="*/ 7686 h 10010"/>
                <a:gd name="connsiteX87" fmla="*/ 5542 w 10000"/>
                <a:gd name="connsiteY87" fmla="*/ 7661 h 10010"/>
                <a:gd name="connsiteX88" fmla="*/ 5589 w 10000"/>
                <a:gd name="connsiteY88" fmla="*/ 7598 h 10010"/>
                <a:gd name="connsiteX89" fmla="*/ 5819 w 10000"/>
                <a:gd name="connsiteY89" fmla="*/ 7598 h 10010"/>
                <a:gd name="connsiteX90" fmla="*/ 6131 w 10000"/>
                <a:gd name="connsiteY90" fmla="*/ 7472 h 10010"/>
                <a:gd name="connsiteX91" fmla="*/ 6142 w 10000"/>
                <a:gd name="connsiteY91" fmla="*/ 7388 h 10010"/>
                <a:gd name="connsiteX92" fmla="*/ 6274 w 10000"/>
                <a:gd name="connsiteY92" fmla="*/ 7407 h 10010"/>
                <a:gd name="connsiteX93" fmla="*/ 6268 w 10000"/>
                <a:gd name="connsiteY93" fmla="*/ 7492 h 10010"/>
                <a:gd name="connsiteX94" fmla="*/ 6478 w 10000"/>
                <a:gd name="connsiteY94" fmla="*/ 7486 h 10010"/>
                <a:gd name="connsiteX95" fmla="*/ 6616 w 10000"/>
                <a:gd name="connsiteY95" fmla="*/ 7398 h 10010"/>
                <a:gd name="connsiteX96" fmla="*/ 6872 w 10000"/>
                <a:gd name="connsiteY96" fmla="*/ 7319 h 10010"/>
                <a:gd name="connsiteX97" fmla="*/ 6832 w 10000"/>
                <a:gd name="connsiteY97" fmla="*/ 7229 h 10010"/>
                <a:gd name="connsiteX98" fmla="*/ 6908 w 10000"/>
                <a:gd name="connsiteY98" fmla="*/ 7264 h 10010"/>
                <a:gd name="connsiteX99" fmla="*/ 7025 w 10000"/>
                <a:gd name="connsiteY99" fmla="*/ 7264 h 10010"/>
                <a:gd name="connsiteX100" fmla="*/ 7025 w 10000"/>
                <a:gd name="connsiteY100" fmla="*/ 7223 h 10010"/>
                <a:gd name="connsiteX101" fmla="*/ 7134 w 10000"/>
                <a:gd name="connsiteY101" fmla="*/ 7191 h 10010"/>
                <a:gd name="connsiteX102" fmla="*/ 7119 w 10000"/>
                <a:gd name="connsiteY102" fmla="*/ 7158 h 10010"/>
                <a:gd name="connsiteX103" fmla="*/ 6198 w 10000"/>
                <a:gd name="connsiteY103" fmla="*/ 7225 h 10010"/>
                <a:gd name="connsiteX104" fmla="*/ 5983 w 10000"/>
                <a:gd name="connsiteY104" fmla="*/ 7205 h 10010"/>
                <a:gd name="connsiteX105" fmla="*/ 5895 w 10000"/>
                <a:gd name="connsiteY105" fmla="*/ 7229 h 10010"/>
                <a:gd name="connsiteX106" fmla="*/ 5866 w 10000"/>
                <a:gd name="connsiteY106" fmla="*/ 7183 h 10010"/>
                <a:gd name="connsiteX107" fmla="*/ 5764 w 10000"/>
                <a:gd name="connsiteY107" fmla="*/ 7142 h 10010"/>
                <a:gd name="connsiteX108" fmla="*/ 5354 w 10000"/>
                <a:gd name="connsiteY108" fmla="*/ 7062 h 10010"/>
                <a:gd name="connsiteX109" fmla="*/ 5112 w 10000"/>
                <a:gd name="connsiteY109" fmla="*/ 7075 h 10010"/>
                <a:gd name="connsiteX110" fmla="*/ 5016 w 10000"/>
                <a:gd name="connsiteY110" fmla="*/ 7052 h 10010"/>
                <a:gd name="connsiteX111" fmla="*/ 5118 w 10000"/>
                <a:gd name="connsiteY111" fmla="*/ 7032 h 10010"/>
                <a:gd name="connsiteX112" fmla="*/ 5194 w 10000"/>
                <a:gd name="connsiteY112" fmla="*/ 6989 h 10010"/>
                <a:gd name="connsiteX113" fmla="*/ 5309 w 10000"/>
                <a:gd name="connsiteY113" fmla="*/ 7003 h 10010"/>
                <a:gd name="connsiteX114" fmla="*/ 5445 w 10000"/>
                <a:gd name="connsiteY114" fmla="*/ 6991 h 10010"/>
                <a:gd name="connsiteX115" fmla="*/ 5650 w 10000"/>
                <a:gd name="connsiteY115" fmla="*/ 7005 h 10010"/>
                <a:gd name="connsiteX116" fmla="*/ 5675 w 10000"/>
                <a:gd name="connsiteY116" fmla="*/ 6999 h 10010"/>
                <a:gd name="connsiteX117" fmla="*/ 5834 w 10000"/>
                <a:gd name="connsiteY117" fmla="*/ 7066 h 10010"/>
                <a:gd name="connsiteX118" fmla="*/ 5951 w 10000"/>
                <a:gd name="connsiteY118" fmla="*/ 7042 h 10010"/>
                <a:gd name="connsiteX119" fmla="*/ 5961 w 10000"/>
                <a:gd name="connsiteY119" fmla="*/ 7020 h 10010"/>
                <a:gd name="connsiteX120" fmla="*/ 6069 w 10000"/>
                <a:gd name="connsiteY120" fmla="*/ 7058 h 10010"/>
                <a:gd name="connsiteX121" fmla="*/ 6212 w 10000"/>
                <a:gd name="connsiteY121" fmla="*/ 7079 h 10010"/>
                <a:gd name="connsiteX122" fmla="*/ 6268 w 10000"/>
                <a:gd name="connsiteY122" fmla="*/ 7040 h 10010"/>
                <a:gd name="connsiteX123" fmla="*/ 6314 w 10000"/>
                <a:gd name="connsiteY123" fmla="*/ 7062 h 10010"/>
                <a:gd name="connsiteX124" fmla="*/ 6381 w 10000"/>
                <a:gd name="connsiteY124" fmla="*/ 7136 h 10010"/>
                <a:gd name="connsiteX125" fmla="*/ 6519 w 10000"/>
                <a:gd name="connsiteY125" fmla="*/ 7154 h 10010"/>
                <a:gd name="connsiteX126" fmla="*/ 7082 w 10000"/>
                <a:gd name="connsiteY126" fmla="*/ 7044 h 10010"/>
                <a:gd name="connsiteX127" fmla="*/ 7359 w 10000"/>
                <a:gd name="connsiteY127" fmla="*/ 6889 h 10010"/>
                <a:gd name="connsiteX128" fmla="*/ 7423 w 10000"/>
                <a:gd name="connsiteY128" fmla="*/ 6775 h 10010"/>
                <a:gd name="connsiteX129" fmla="*/ 7323 w 10000"/>
                <a:gd name="connsiteY129" fmla="*/ 6673 h 10010"/>
                <a:gd name="connsiteX130" fmla="*/ 7113 w 10000"/>
                <a:gd name="connsiteY130" fmla="*/ 6612 h 10010"/>
                <a:gd name="connsiteX131" fmla="*/ 6963 w 10000"/>
                <a:gd name="connsiteY131" fmla="*/ 6512 h 10010"/>
                <a:gd name="connsiteX132" fmla="*/ 7102 w 10000"/>
                <a:gd name="connsiteY132" fmla="*/ 6508 h 10010"/>
                <a:gd name="connsiteX133" fmla="*/ 7093 w 10000"/>
                <a:gd name="connsiteY133" fmla="*/ 6484 h 10010"/>
                <a:gd name="connsiteX134" fmla="*/ 6731 w 10000"/>
                <a:gd name="connsiteY134" fmla="*/ 6413 h 10010"/>
                <a:gd name="connsiteX135" fmla="*/ 6716 w 10000"/>
                <a:gd name="connsiteY135" fmla="*/ 6349 h 10010"/>
                <a:gd name="connsiteX136" fmla="*/ 6646 w 10000"/>
                <a:gd name="connsiteY136" fmla="*/ 6282 h 10010"/>
                <a:gd name="connsiteX137" fmla="*/ 6360 w 10000"/>
                <a:gd name="connsiteY137" fmla="*/ 6294 h 10010"/>
                <a:gd name="connsiteX138" fmla="*/ 6258 w 10000"/>
                <a:gd name="connsiteY138" fmla="*/ 6223 h 10010"/>
                <a:gd name="connsiteX139" fmla="*/ 6198 w 10000"/>
                <a:gd name="connsiteY139" fmla="*/ 6219 h 10010"/>
                <a:gd name="connsiteX140" fmla="*/ 6198 w 10000"/>
                <a:gd name="connsiteY140" fmla="*/ 6248 h 10010"/>
                <a:gd name="connsiteX141" fmla="*/ 6069 w 10000"/>
                <a:gd name="connsiteY141" fmla="*/ 6368 h 10010"/>
                <a:gd name="connsiteX142" fmla="*/ 5930 w 10000"/>
                <a:gd name="connsiteY142" fmla="*/ 6439 h 10010"/>
                <a:gd name="connsiteX143" fmla="*/ 5495 w 10000"/>
                <a:gd name="connsiteY143" fmla="*/ 6561 h 10010"/>
                <a:gd name="connsiteX144" fmla="*/ 5342 w 10000"/>
                <a:gd name="connsiteY144" fmla="*/ 6557 h 10010"/>
                <a:gd name="connsiteX145" fmla="*/ 5133 w 10000"/>
                <a:gd name="connsiteY145" fmla="*/ 6575 h 10010"/>
                <a:gd name="connsiteX146" fmla="*/ 5016 w 10000"/>
                <a:gd name="connsiteY146" fmla="*/ 6557 h 10010"/>
                <a:gd name="connsiteX147" fmla="*/ 5169 w 10000"/>
                <a:gd name="connsiteY147" fmla="*/ 6523 h 10010"/>
                <a:gd name="connsiteX148" fmla="*/ 5369 w 10000"/>
                <a:gd name="connsiteY148" fmla="*/ 6508 h 10010"/>
                <a:gd name="connsiteX149" fmla="*/ 5534 w 10000"/>
                <a:gd name="connsiteY149" fmla="*/ 6451 h 10010"/>
                <a:gd name="connsiteX150" fmla="*/ 5695 w 10000"/>
                <a:gd name="connsiteY150" fmla="*/ 6425 h 10010"/>
                <a:gd name="connsiteX151" fmla="*/ 5998 w 10000"/>
                <a:gd name="connsiteY151" fmla="*/ 6327 h 10010"/>
                <a:gd name="connsiteX152" fmla="*/ 6056 w 10000"/>
                <a:gd name="connsiteY152" fmla="*/ 6262 h 10010"/>
                <a:gd name="connsiteX153" fmla="*/ 6060 w 10000"/>
                <a:gd name="connsiteY153" fmla="*/ 6178 h 10010"/>
                <a:gd name="connsiteX154" fmla="*/ 5921 w 10000"/>
                <a:gd name="connsiteY154" fmla="*/ 6164 h 10010"/>
                <a:gd name="connsiteX155" fmla="*/ 5983 w 10000"/>
                <a:gd name="connsiteY155" fmla="*/ 6113 h 10010"/>
                <a:gd name="connsiteX156" fmla="*/ 6002 w 10000"/>
                <a:gd name="connsiteY156" fmla="*/ 6048 h 10010"/>
                <a:gd name="connsiteX157" fmla="*/ 5944 w 10000"/>
                <a:gd name="connsiteY157" fmla="*/ 5987 h 10010"/>
                <a:gd name="connsiteX158" fmla="*/ 5911 w 10000"/>
                <a:gd name="connsiteY158" fmla="*/ 5543 h 10010"/>
                <a:gd name="connsiteX159" fmla="*/ 5993 w 10000"/>
                <a:gd name="connsiteY159" fmla="*/ 5447 h 10010"/>
                <a:gd name="connsiteX160" fmla="*/ 5972 w 10000"/>
                <a:gd name="connsiteY160" fmla="*/ 5408 h 10010"/>
                <a:gd name="connsiteX161" fmla="*/ 6212 w 10000"/>
                <a:gd name="connsiteY161" fmla="*/ 5465 h 10010"/>
                <a:gd name="connsiteX162" fmla="*/ 6229 w 10000"/>
                <a:gd name="connsiteY162" fmla="*/ 5412 h 10010"/>
                <a:gd name="connsiteX163" fmla="*/ 6176 w 10000"/>
                <a:gd name="connsiteY163" fmla="*/ 5274 h 10010"/>
                <a:gd name="connsiteX164" fmla="*/ 6349 w 10000"/>
                <a:gd name="connsiteY164" fmla="*/ 5029 h 10010"/>
                <a:gd name="connsiteX165" fmla="*/ 6243 w 10000"/>
                <a:gd name="connsiteY165" fmla="*/ 4970 h 10010"/>
                <a:gd name="connsiteX166" fmla="*/ 6202 w 10000"/>
                <a:gd name="connsiteY166" fmla="*/ 4915 h 10010"/>
                <a:gd name="connsiteX167" fmla="*/ 6216 w 10000"/>
                <a:gd name="connsiteY167" fmla="*/ 4826 h 10010"/>
                <a:gd name="connsiteX168" fmla="*/ 6470 w 10000"/>
                <a:gd name="connsiteY168" fmla="*/ 4885 h 10010"/>
                <a:gd name="connsiteX169" fmla="*/ 6478 w 10000"/>
                <a:gd name="connsiteY169" fmla="*/ 4868 h 10010"/>
                <a:gd name="connsiteX170" fmla="*/ 6548 w 10000"/>
                <a:gd name="connsiteY170" fmla="*/ 4852 h 10010"/>
                <a:gd name="connsiteX171" fmla="*/ 6646 w 10000"/>
                <a:gd name="connsiteY171" fmla="*/ 4795 h 10010"/>
                <a:gd name="connsiteX172" fmla="*/ 6662 w 10000"/>
                <a:gd name="connsiteY172" fmla="*/ 4779 h 10010"/>
                <a:gd name="connsiteX173" fmla="*/ 6641 w 10000"/>
                <a:gd name="connsiteY173" fmla="*/ 4758 h 10010"/>
                <a:gd name="connsiteX174" fmla="*/ 6693 w 10000"/>
                <a:gd name="connsiteY174" fmla="*/ 4657 h 10010"/>
                <a:gd name="connsiteX175" fmla="*/ 6631 w 10000"/>
                <a:gd name="connsiteY175" fmla="*/ 4591 h 10010"/>
                <a:gd name="connsiteX176" fmla="*/ 6641 w 10000"/>
                <a:gd name="connsiteY176" fmla="*/ 4538 h 10010"/>
                <a:gd name="connsiteX177" fmla="*/ 6676 w 10000"/>
                <a:gd name="connsiteY177" fmla="*/ 4600 h 10010"/>
                <a:gd name="connsiteX178" fmla="*/ 6815 w 10000"/>
                <a:gd name="connsiteY178" fmla="*/ 4646 h 10010"/>
                <a:gd name="connsiteX179" fmla="*/ 6872 w 10000"/>
                <a:gd name="connsiteY179" fmla="*/ 4640 h 10010"/>
                <a:gd name="connsiteX180" fmla="*/ 6963 w 10000"/>
                <a:gd name="connsiteY180" fmla="*/ 4579 h 10010"/>
                <a:gd name="connsiteX181" fmla="*/ 7062 w 10000"/>
                <a:gd name="connsiteY181" fmla="*/ 4604 h 10010"/>
                <a:gd name="connsiteX182" fmla="*/ 7088 w 10000"/>
                <a:gd name="connsiteY182" fmla="*/ 4555 h 10010"/>
                <a:gd name="connsiteX183" fmla="*/ 7154 w 10000"/>
                <a:gd name="connsiteY183" fmla="*/ 4522 h 10010"/>
                <a:gd name="connsiteX184" fmla="*/ 6974 w 10000"/>
                <a:gd name="connsiteY184" fmla="*/ 4487 h 10010"/>
                <a:gd name="connsiteX185" fmla="*/ 7102 w 10000"/>
                <a:gd name="connsiteY185" fmla="*/ 4494 h 10010"/>
                <a:gd name="connsiteX186" fmla="*/ 7234 w 10000"/>
                <a:gd name="connsiteY186" fmla="*/ 4457 h 10010"/>
                <a:gd name="connsiteX187" fmla="*/ 7229 w 10000"/>
                <a:gd name="connsiteY187" fmla="*/ 4432 h 10010"/>
                <a:gd name="connsiteX188" fmla="*/ 7353 w 10000"/>
                <a:gd name="connsiteY188" fmla="*/ 4408 h 10010"/>
                <a:gd name="connsiteX189" fmla="*/ 7364 w 10000"/>
                <a:gd name="connsiteY189" fmla="*/ 4347 h 10010"/>
                <a:gd name="connsiteX190" fmla="*/ 7461 w 10000"/>
                <a:gd name="connsiteY190" fmla="*/ 4335 h 10010"/>
                <a:gd name="connsiteX191" fmla="*/ 7469 w 10000"/>
                <a:gd name="connsiteY191" fmla="*/ 4263 h 10010"/>
                <a:gd name="connsiteX192" fmla="*/ 7572 w 10000"/>
                <a:gd name="connsiteY192" fmla="*/ 4255 h 10010"/>
                <a:gd name="connsiteX193" fmla="*/ 7730 w 10000"/>
                <a:gd name="connsiteY193" fmla="*/ 4270 h 10010"/>
                <a:gd name="connsiteX194" fmla="*/ 7904 w 10000"/>
                <a:gd name="connsiteY194" fmla="*/ 4212 h 10010"/>
                <a:gd name="connsiteX195" fmla="*/ 7966 w 10000"/>
                <a:gd name="connsiteY195" fmla="*/ 4147 h 10010"/>
                <a:gd name="connsiteX196" fmla="*/ 8181 w 10000"/>
                <a:gd name="connsiteY196" fmla="*/ 4080 h 10010"/>
                <a:gd name="connsiteX197" fmla="*/ 8288 w 10000"/>
                <a:gd name="connsiteY197" fmla="*/ 4121 h 10010"/>
                <a:gd name="connsiteX198" fmla="*/ 8452 w 10000"/>
                <a:gd name="connsiteY198" fmla="*/ 4076 h 10010"/>
                <a:gd name="connsiteX199" fmla="*/ 8491 w 10000"/>
                <a:gd name="connsiteY199" fmla="*/ 4019 h 10010"/>
                <a:gd name="connsiteX200" fmla="*/ 8616 w 10000"/>
                <a:gd name="connsiteY200" fmla="*/ 3980 h 10010"/>
                <a:gd name="connsiteX201" fmla="*/ 8722 w 10000"/>
                <a:gd name="connsiteY201" fmla="*/ 3997 h 10010"/>
                <a:gd name="connsiteX202" fmla="*/ 8789 w 10000"/>
                <a:gd name="connsiteY202" fmla="*/ 3968 h 10010"/>
                <a:gd name="connsiteX203" fmla="*/ 8973 w 10000"/>
                <a:gd name="connsiteY203" fmla="*/ 3927 h 10010"/>
                <a:gd name="connsiteX204" fmla="*/ 9049 w 10000"/>
                <a:gd name="connsiteY204" fmla="*/ 3874 h 10010"/>
                <a:gd name="connsiteX205" fmla="*/ 9153 w 10000"/>
                <a:gd name="connsiteY205" fmla="*/ 3852 h 10010"/>
                <a:gd name="connsiteX206" fmla="*/ 9720 w 10000"/>
                <a:gd name="connsiteY206" fmla="*/ 3532 h 10010"/>
                <a:gd name="connsiteX207" fmla="*/ 9971 w 10000"/>
                <a:gd name="connsiteY207" fmla="*/ 399 h 10010"/>
                <a:gd name="connsiteX208" fmla="*/ 9049 w 10000"/>
                <a:gd name="connsiteY208" fmla="*/ 36 h 10010"/>
                <a:gd name="connsiteX209" fmla="*/ 8706 w 10000"/>
                <a:gd name="connsiteY209" fmla="*/ 10 h 10010"/>
                <a:gd name="connsiteX210" fmla="*/ 8637 w 10000"/>
                <a:gd name="connsiteY210" fmla="*/ 24 h 10010"/>
                <a:gd name="connsiteX211" fmla="*/ 8706 w 10000"/>
                <a:gd name="connsiteY211" fmla="*/ 191 h 10010"/>
                <a:gd name="connsiteX212" fmla="*/ 8652 w 10000"/>
                <a:gd name="connsiteY212" fmla="*/ 218 h 10010"/>
                <a:gd name="connsiteX213" fmla="*/ 8610 w 10000"/>
                <a:gd name="connsiteY213" fmla="*/ 293 h 10010"/>
                <a:gd name="connsiteX214" fmla="*/ 8533 w 10000"/>
                <a:gd name="connsiteY214" fmla="*/ 346 h 10010"/>
                <a:gd name="connsiteX215" fmla="*/ 8550 w 10000"/>
                <a:gd name="connsiteY215" fmla="*/ 397 h 10010"/>
                <a:gd name="connsiteX216" fmla="*/ 8667 w 10000"/>
                <a:gd name="connsiteY216" fmla="*/ 444 h 10010"/>
                <a:gd name="connsiteX217" fmla="*/ 8591 w 10000"/>
                <a:gd name="connsiteY217" fmla="*/ 485 h 10010"/>
                <a:gd name="connsiteX218" fmla="*/ 8477 w 10000"/>
                <a:gd name="connsiteY218" fmla="*/ 495 h 10010"/>
                <a:gd name="connsiteX219" fmla="*/ 7537 w 10000"/>
                <a:gd name="connsiteY219" fmla="*/ 397 h 10010"/>
                <a:gd name="connsiteX220" fmla="*/ 7423 w 10000"/>
                <a:gd name="connsiteY220" fmla="*/ 405 h 10010"/>
                <a:gd name="connsiteX221" fmla="*/ 7359 w 10000"/>
                <a:gd name="connsiteY221" fmla="*/ 424 h 10010"/>
                <a:gd name="connsiteX222" fmla="*/ 7290 w 10000"/>
                <a:gd name="connsiteY222" fmla="*/ 472 h 10010"/>
                <a:gd name="connsiteX223" fmla="*/ 7302 w 10000"/>
                <a:gd name="connsiteY223" fmla="*/ 591 h 10010"/>
                <a:gd name="connsiteX224" fmla="*/ 7199 w 10000"/>
                <a:gd name="connsiteY224" fmla="*/ 745 h 10010"/>
                <a:gd name="connsiteX225" fmla="*/ 7072 w 10000"/>
                <a:gd name="connsiteY225" fmla="*/ 825 h 10010"/>
                <a:gd name="connsiteX226" fmla="*/ 7021 w 10000"/>
                <a:gd name="connsiteY226" fmla="*/ 815 h 10010"/>
                <a:gd name="connsiteX227" fmla="*/ 6903 w 10000"/>
                <a:gd name="connsiteY227" fmla="*/ 749 h 10010"/>
                <a:gd name="connsiteX228" fmla="*/ 6756 w 10000"/>
                <a:gd name="connsiteY228" fmla="*/ 715 h 10010"/>
                <a:gd name="connsiteX229" fmla="*/ 6594 w 10000"/>
                <a:gd name="connsiteY229" fmla="*/ 725 h 10010"/>
                <a:gd name="connsiteX230" fmla="*/ 6223 w 10000"/>
                <a:gd name="connsiteY230" fmla="*/ 876 h 10010"/>
                <a:gd name="connsiteX231" fmla="*/ 6125 w 10000"/>
                <a:gd name="connsiteY231" fmla="*/ 1027 h 10010"/>
                <a:gd name="connsiteX232" fmla="*/ 5845 w 10000"/>
                <a:gd name="connsiteY232" fmla="*/ 1163 h 10010"/>
                <a:gd name="connsiteX233" fmla="*/ 5794 w 10000"/>
                <a:gd name="connsiteY233" fmla="*/ 1232 h 10010"/>
                <a:gd name="connsiteX234" fmla="*/ 5940 w 10000"/>
                <a:gd name="connsiteY234" fmla="*/ 1354 h 10010"/>
                <a:gd name="connsiteX235" fmla="*/ 5956 w 10000"/>
                <a:gd name="connsiteY235" fmla="*/ 1422 h 10010"/>
                <a:gd name="connsiteX236" fmla="*/ 5190 w 10000"/>
                <a:gd name="connsiteY236" fmla="*/ 1823 h 10010"/>
                <a:gd name="connsiteX237" fmla="*/ 4955 w 10000"/>
                <a:gd name="connsiteY237" fmla="*/ 2080 h 10010"/>
                <a:gd name="connsiteX238" fmla="*/ 4702 w 10000"/>
                <a:gd name="connsiteY238" fmla="*/ 2145 h 10010"/>
                <a:gd name="connsiteX239" fmla="*/ 4540 w 10000"/>
                <a:gd name="connsiteY239" fmla="*/ 2141 h 10010"/>
                <a:gd name="connsiteX240" fmla="*/ 4443 w 10000"/>
                <a:gd name="connsiteY240" fmla="*/ 2163 h 10010"/>
                <a:gd name="connsiteX241" fmla="*/ 4178 w 10000"/>
                <a:gd name="connsiteY241" fmla="*/ 2803 h 10010"/>
                <a:gd name="connsiteX242" fmla="*/ 3565 w 10000"/>
                <a:gd name="connsiteY242" fmla="*/ 3176 h 10010"/>
                <a:gd name="connsiteX243" fmla="*/ 3569 w 10000"/>
                <a:gd name="connsiteY243" fmla="*/ 3235 h 10010"/>
                <a:gd name="connsiteX244" fmla="*/ 3841 w 10000"/>
                <a:gd name="connsiteY244" fmla="*/ 3402 h 10010"/>
                <a:gd name="connsiteX245" fmla="*/ 3753 w 10000"/>
                <a:gd name="connsiteY245" fmla="*/ 3583 h 10010"/>
                <a:gd name="connsiteX246" fmla="*/ 3594 w 10000"/>
                <a:gd name="connsiteY246" fmla="*/ 3650 h 10010"/>
                <a:gd name="connsiteX247" fmla="*/ 3118 w 10000"/>
                <a:gd name="connsiteY247" fmla="*/ 3605 h 10010"/>
                <a:gd name="connsiteX248" fmla="*/ 2791 w 10000"/>
                <a:gd name="connsiteY248" fmla="*/ 3630 h 10010"/>
                <a:gd name="connsiteX249" fmla="*/ 2528 w 10000"/>
                <a:gd name="connsiteY249" fmla="*/ 3683 h 10010"/>
                <a:gd name="connsiteX250" fmla="*/ 2102 w 10000"/>
                <a:gd name="connsiteY250" fmla="*/ 3850 h 10010"/>
                <a:gd name="connsiteX251" fmla="*/ 1877 w 10000"/>
                <a:gd name="connsiteY251" fmla="*/ 4052 h 10010"/>
                <a:gd name="connsiteX252" fmla="*/ 1896 w 10000"/>
                <a:gd name="connsiteY252" fmla="*/ 4164 h 10010"/>
                <a:gd name="connsiteX253" fmla="*/ 1975 w 10000"/>
                <a:gd name="connsiteY253" fmla="*/ 4251 h 10010"/>
                <a:gd name="connsiteX254" fmla="*/ 2034 w 10000"/>
                <a:gd name="connsiteY254" fmla="*/ 4286 h 10010"/>
                <a:gd name="connsiteX255" fmla="*/ 1924 w 10000"/>
                <a:gd name="connsiteY255" fmla="*/ 4341 h 10010"/>
                <a:gd name="connsiteX256" fmla="*/ 1683 w 10000"/>
                <a:gd name="connsiteY256" fmla="*/ 4720 h 10010"/>
                <a:gd name="connsiteX257" fmla="*/ 1729 w 10000"/>
                <a:gd name="connsiteY257" fmla="*/ 4742 h 10010"/>
                <a:gd name="connsiteX258" fmla="*/ 1764 w 10000"/>
                <a:gd name="connsiteY258" fmla="*/ 4838 h 10010"/>
                <a:gd name="connsiteX259" fmla="*/ 1652 w 10000"/>
                <a:gd name="connsiteY259" fmla="*/ 5237 h 10010"/>
                <a:gd name="connsiteX260" fmla="*/ 1764 w 10000"/>
                <a:gd name="connsiteY260" fmla="*/ 5339 h 10010"/>
                <a:gd name="connsiteX261" fmla="*/ 2071 w 10000"/>
                <a:gd name="connsiteY261" fmla="*/ 5451 h 10010"/>
                <a:gd name="connsiteX262" fmla="*/ 2085 w 10000"/>
                <a:gd name="connsiteY262" fmla="*/ 5588 h 10010"/>
                <a:gd name="connsiteX263" fmla="*/ 1954 w 10000"/>
                <a:gd name="connsiteY263" fmla="*/ 5700 h 10010"/>
                <a:gd name="connsiteX264" fmla="*/ 1764 w 10000"/>
                <a:gd name="connsiteY264" fmla="*/ 5769 h 10010"/>
                <a:gd name="connsiteX265" fmla="*/ 1513 w 10000"/>
                <a:gd name="connsiteY265" fmla="*/ 5797 h 10010"/>
                <a:gd name="connsiteX266" fmla="*/ 1448 w 10000"/>
                <a:gd name="connsiteY266" fmla="*/ 5836 h 10010"/>
                <a:gd name="connsiteX267" fmla="*/ 1594 w 10000"/>
                <a:gd name="connsiteY267" fmla="*/ 5930 h 10010"/>
                <a:gd name="connsiteX268" fmla="*/ 1678 w 10000"/>
                <a:gd name="connsiteY268" fmla="*/ 6152 h 10010"/>
                <a:gd name="connsiteX269" fmla="*/ 1488 w 10000"/>
                <a:gd name="connsiteY269" fmla="*/ 6343 h 10010"/>
                <a:gd name="connsiteX270" fmla="*/ 1554 w 10000"/>
                <a:gd name="connsiteY270" fmla="*/ 6402 h 10010"/>
                <a:gd name="connsiteX271" fmla="*/ 1494 w 10000"/>
                <a:gd name="connsiteY271" fmla="*/ 6502 h 10010"/>
                <a:gd name="connsiteX272" fmla="*/ 1372 w 10000"/>
                <a:gd name="connsiteY272" fmla="*/ 6571 h 10010"/>
                <a:gd name="connsiteX273" fmla="*/ 889 w 10000"/>
                <a:gd name="connsiteY273" fmla="*/ 6624 h 10010"/>
                <a:gd name="connsiteX274" fmla="*/ 860 w 10000"/>
                <a:gd name="connsiteY274" fmla="*/ 6716 h 10010"/>
                <a:gd name="connsiteX275" fmla="*/ 600 w 10000"/>
                <a:gd name="connsiteY275" fmla="*/ 6853 h 10010"/>
                <a:gd name="connsiteX276" fmla="*/ 634 w 10000"/>
                <a:gd name="connsiteY276" fmla="*/ 7050 h 10010"/>
                <a:gd name="connsiteX277" fmla="*/ 415 w 10000"/>
                <a:gd name="connsiteY277" fmla="*/ 7303 h 10010"/>
                <a:gd name="connsiteX278" fmla="*/ 266 w 10000"/>
                <a:gd name="connsiteY278" fmla="*/ 7333 h 10010"/>
                <a:gd name="connsiteX279" fmla="*/ 204 w 10000"/>
                <a:gd name="connsiteY279" fmla="*/ 7272 h 10010"/>
                <a:gd name="connsiteX280" fmla="*/ 128 w 10000"/>
                <a:gd name="connsiteY280" fmla="*/ 7364 h 10010"/>
                <a:gd name="connsiteX281" fmla="*/ 178 w 10000"/>
                <a:gd name="connsiteY281" fmla="*/ 7207 h 10010"/>
                <a:gd name="connsiteX282" fmla="*/ 147 w 10000"/>
                <a:gd name="connsiteY282" fmla="*/ 7176 h 10010"/>
                <a:gd name="connsiteX0" fmla="*/ 147 w 10000"/>
                <a:gd name="connsiteY0" fmla="*/ 7176 h 10010"/>
                <a:gd name="connsiteX1" fmla="*/ 0 w 10000"/>
                <a:gd name="connsiteY1" fmla="*/ 7258 h 10010"/>
                <a:gd name="connsiteX2" fmla="*/ 0 w 10000"/>
                <a:gd name="connsiteY2" fmla="*/ 7661 h 10010"/>
                <a:gd name="connsiteX3" fmla="*/ 81 w 10000"/>
                <a:gd name="connsiteY3" fmla="*/ 7673 h 10010"/>
                <a:gd name="connsiteX4" fmla="*/ 100 w 10000"/>
                <a:gd name="connsiteY4" fmla="*/ 7704 h 10010"/>
                <a:gd name="connsiteX5" fmla="*/ 96 w 10000"/>
                <a:gd name="connsiteY5" fmla="*/ 7759 h 10010"/>
                <a:gd name="connsiteX6" fmla="*/ 66 w 10000"/>
                <a:gd name="connsiteY6" fmla="*/ 7783 h 10010"/>
                <a:gd name="connsiteX7" fmla="*/ 190 w 10000"/>
                <a:gd name="connsiteY7" fmla="*/ 7737 h 10010"/>
                <a:gd name="connsiteX8" fmla="*/ 242 w 10000"/>
                <a:gd name="connsiteY8" fmla="*/ 7690 h 10010"/>
                <a:gd name="connsiteX9" fmla="*/ 306 w 10000"/>
                <a:gd name="connsiteY9" fmla="*/ 7722 h 10010"/>
                <a:gd name="connsiteX10" fmla="*/ 235 w 10000"/>
                <a:gd name="connsiteY10" fmla="*/ 7788 h 10010"/>
                <a:gd name="connsiteX11" fmla="*/ 311 w 10000"/>
                <a:gd name="connsiteY11" fmla="*/ 7790 h 10010"/>
                <a:gd name="connsiteX12" fmla="*/ 348 w 10000"/>
                <a:gd name="connsiteY12" fmla="*/ 7806 h 10010"/>
                <a:gd name="connsiteX13" fmla="*/ 250 w 10000"/>
                <a:gd name="connsiteY13" fmla="*/ 7828 h 10010"/>
                <a:gd name="connsiteX14" fmla="*/ 96 w 10000"/>
                <a:gd name="connsiteY14" fmla="*/ 7896 h 10010"/>
                <a:gd name="connsiteX15" fmla="*/ 370 w 10000"/>
                <a:gd name="connsiteY15" fmla="*/ 7948 h 10010"/>
                <a:gd name="connsiteX16" fmla="*/ 404 w 10000"/>
                <a:gd name="connsiteY16" fmla="*/ 8024 h 10010"/>
                <a:gd name="connsiteX17" fmla="*/ 311 w 10000"/>
                <a:gd name="connsiteY17" fmla="*/ 8136 h 10010"/>
                <a:gd name="connsiteX18" fmla="*/ 511 w 10000"/>
                <a:gd name="connsiteY18" fmla="*/ 8128 h 10010"/>
                <a:gd name="connsiteX19" fmla="*/ 526 w 10000"/>
                <a:gd name="connsiteY19" fmla="*/ 8213 h 10010"/>
                <a:gd name="connsiteX20" fmla="*/ 393 w 10000"/>
                <a:gd name="connsiteY20" fmla="*/ 8270 h 10010"/>
                <a:gd name="connsiteX21" fmla="*/ 415 w 10000"/>
                <a:gd name="connsiteY21" fmla="*/ 8380 h 10010"/>
                <a:gd name="connsiteX22" fmla="*/ 364 w 10000"/>
                <a:gd name="connsiteY22" fmla="*/ 8466 h 10010"/>
                <a:gd name="connsiteX23" fmla="*/ 521 w 10000"/>
                <a:gd name="connsiteY23" fmla="*/ 8474 h 10010"/>
                <a:gd name="connsiteX24" fmla="*/ 676 w 10000"/>
                <a:gd name="connsiteY24" fmla="*/ 8802 h 10010"/>
                <a:gd name="connsiteX25" fmla="*/ 853 w 10000"/>
                <a:gd name="connsiteY25" fmla="*/ 8886 h 10010"/>
                <a:gd name="connsiteX26" fmla="*/ 931 w 10000"/>
                <a:gd name="connsiteY26" fmla="*/ 8975 h 10010"/>
                <a:gd name="connsiteX27" fmla="*/ 1125 w 10000"/>
                <a:gd name="connsiteY27" fmla="*/ 9040 h 10010"/>
                <a:gd name="connsiteX28" fmla="*/ 1249 w 10000"/>
                <a:gd name="connsiteY28" fmla="*/ 9122 h 10010"/>
                <a:gd name="connsiteX29" fmla="*/ 1233 w 10000"/>
                <a:gd name="connsiteY29" fmla="*/ 9181 h 10010"/>
                <a:gd name="connsiteX30" fmla="*/ 1110 w 10000"/>
                <a:gd name="connsiteY30" fmla="*/ 9203 h 10010"/>
                <a:gd name="connsiteX31" fmla="*/ 976 w 10000"/>
                <a:gd name="connsiteY31" fmla="*/ 9189 h 10010"/>
                <a:gd name="connsiteX32" fmla="*/ 935 w 10000"/>
                <a:gd name="connsiteY32" fmla="*/ 9214 h 10010"/>
                <a:gd name="connsiteX33" fmla="*/ 1037 w 10000"/>
                <a:gd name="connsiteY33" fmla="*/ 9342 h 10010"/>
                <a:gd name="connsiteX34" fmla="*/ 894 w 10000"/>
                <a:gd name="connsiteY34" fmla="*/ 9332 h 10010"/>
                <a:gd name="connsiteX35" fmla="*/ 773 w 10000"/>
                <a:gd name="connsiteY35" fmla="*/ 9301 h 10010"/>
                <a:gd name="connsiteX36" fmla="*/ 750 w 10000"/>
                <a:gd name="connsiteY36" fmla="*/ 9348 h 10010"/>
                <a:gd name="connsiteX37" fmla="*/ 1155 w 10000"/>
                <a:gd name="connsiteY37" fmla="*/ 9786 h 10010"/>
                <a:gd name="connsiteX38" fmla="*/ 1091 w 10000"/>
                <a:gd name="connsiteY38" fmla="*/ 9827 h 10010"/>
                <a:gd name="connsiteX39" fmla="*/ 1045 w 10000"/>
                <a:gd name="connsiteY39" fmla="*/ 9912 h 10010"/>
                <a:gd name="connsiteX40" fmla="*/ 987 w 10000"/>
                <a:gd name="connsiteY40" fmla="*/ 9918 h 10010"/>
                <a:gd name="connsiteX41" fmla="*/ 951 w 10000"/>
                <a:gd name="connsiteY41" fmla="*/ 9955 h 10010"/>
                <a:gd name="connsiteX42" fmla="*/ 1195 w 10000"/>
                <a:gd name="connsiteY42" fmla="*/ 9959 h 10010"/>
                <a:gd name="connsiteX43" fmla="*/ 1410 w 10000"/>
                <a:gd name="connsiteY43" fmla="*/ 9996 h 10010"/>
                <a:gd name="connsiteX44" fmla="*/ 1769 w 10000"/>
                <a:gd name="connsiteY44" fmla="*/ 9957 h 10010"/>
                <a:gd name="connsiteX45" fmla="*/ 2091 w 10000"/>
                <a:gd name="connsiteY45" fmla="*/ 9963 h 10010"/>
                <a:gd name="connsiteX46" fmla="*/ 2280 w 10000"/>
                <a:gd name="connsiteY46" fmla="*/ 10010 h 10010"/>
                <a:gd name="connsiteX47" fmla="*/ 2385 w 10000"/>
                <a:gd name="connsiteY47" fmla="*/ 9979 h 10010"/>
                <a:gd name="connsiteX48" fmla="*/ 2485 w 10000"/>
                <a:gd name="connsiteY48" fmla="*/ 9878 h 10010"/>
                <a:gd name="connsiteX49" fmla="*/ 2459 w 10000"/>
                <a:gd name="connsiteY49" fmla="*/ 9713 h 10010"/>
                <a:gd name="connsiteX50" fmla="*/ 2704 w 10000"/>
                <a:gd name="connsiteY50" fmla="*/ 9527 h 10010"/>
                <a:gd name="connsiteX51" fmla="*/ 2883 w 10000"/>
                <a:gd name="connsiteY51" fmla="*/ 9556 h 10010"/>
                <a:gd name="connsiteX52" fmla="*/ 2987 w 10000"/>
                <a:gd name="connsiteY52" fmla="*/ 9482 h 10010"/>
                <a:gd name="connsiteX53" fmla="*/ 3186 w 10000"/>
                <a:gd name="connsiteY53" fmla="*/ 9440 h 10010"/>
                <a:gd name="connsiteX54" fmla="*/ 3457 w 10000"/>
                <a:gd name="connsiteY54" fmla="*/ 9450 h 10010"/>
                <a:gd name="connsiteX55" fmla="*/ 3620 w 10000"/>
                <a:gd name="connsiteY55" fmla="*/ 9480 h 10010"/>
                <a:gd name="connsiteX56" fmla="*/ 3837 w 10000"/>
                <a:gd name="connsiteY56" fmla="*/ 9466 h 10010"/>
                <a:gd name="connsiteX57" fmla="*/ 4056 w 10000"/>
                <a:gd name="connsiteY57" fmla="*/ 9499 h 10010"/>
                <a:gd name="connsiteX58" fmla="*/ 4275 w 10000"/>
                <a:gd name="connsiteY58" fmla="*/ 9503 h 10010"/>
                <a:gd name="connsiteX59" fmla="*/ 4765 w 10000"/>
                <a:gd name="connsiteY59" fmla="*/ 9071 h 10010"/>
                <a:gd name="connsiteX60" fmla="*/ 4889 w 10000"/>
                <a:gd name="connsiteY60" fmla="*/ 8721 h 10010"/>
                <a:gd name="connsiteX61" fmla="*/ 5088 w 10000"/>
                <a:gd name="connsiteY61" fmla="*/ 8564 h 10010"/>
                <a:gd name="connsiteX62" fmla="*/ 5088 w 10000"/>
                <a:gd name="connsiteY62" fmla="*/ 8482 h 10010"/>
                <a:gd name="connsiteX63" fmla="*/ 5016 w 10000"/>
                <a:gd name="connsiteY63" fmla="*/ 8435 h 10010"/>
                <a:gd name="connsiteX64" fmla="*/ 5133 w 10000"/>
                <a:gd name="connsiteY64" fmla="*/ 8362 h 10010"/>
                <a:gd name="connsiteX65" fmla="*/ 5112 w 10000"/>
                <a:gd name="connsiteY65" fmla="*/ 8299 h 10010"/>
                <a:gd name="connsiteX66" fmla="*/ 5032 w 10000"/>
                <a:gd name="connsiteY66" fmla="*/ 8246 h 10010"/>
                <a:gd name="connsiteX67" fmla="*/ 5016 w 10000"/>
                <a:gd name="connsiteY67" fmla="*/ 8209 h 10010"/>
                <a:gd name="connsiteX68" fmla="*/ 5036 w 10000"/>
                <a:gd name="connsiteY68" fmla="*/ 8179 h 10010"/>
                <a:gd name="connsiteX69" fmla="*/ 5144 w 10000"/>
                <a:gd name="connsiteY69" fmla="*/ 8203 h 10010"/>
                <a:gd name="connsiteX70" fmla="*/ 5230 w 10000"/>
                <a:gd name="connsiteY70" fmla="*/ 8201 h 10010"/>
                <a:gd name="connsiteX71" fmla="*/ 5184 w 10000"/>
                <a:gd name="connsiteY71" fmla="*/ 8150 h 10010"/>
                <a:gd name="connsiteX72" fmla="*/ 5198 w 10000"/>
                <a:gd name="connsiteY72" fmla="*/ 8122 h 10010"/>
                <a:gd name="connsiteX73" fmla="*/ 5262 w 10000"/>
                <a:gd name="connsiteY73" fmla="*/ 8079 h 10010"/>
                <a:gd name="connsiteX74" fmla="*/ 5250 w 10000"/>
                <a:gd name="connsiteY74" fmla="*/ 8044 h 10010"/>
                <a:gd name="connsiteX75" fmla="*/ 5309 w 10000"/>
                <a:gd name="connsiteY75" fmla="*/ 7926 h 10010"/>
                <a:gd name="connsiteX76" fmla="*/ 5293 w 10000"/>
                <a:gd name="connsiteY76" fmla="*/ 7891 h 10010"/>
                <a:gd name="connsiteX77" fmla="*/ 4996 w 10000"/>
                <a:gd name="connsiteY77" fmla="*/ 7802 h 10010"/>
                <a:gd name="connsiteX78" fmla="*/ 5036 w 10000"/>
                <a:gd name="connsiteY78" fmla="*/ 7798 h 10010"/>
                <a:gd name="connsiteX79" fmla="*/ 5194 w 10000"/>
                <a:gd name="connsiteY79" fmla="*/ 7822 h 10010"/>
                <a:gd name="connsiteX80" fmla="*/ 5365 w 10000"/>
                <a:gd name="connsiteY80" fmla="*/ 7814 h 10010"/>
                <a:gd name="connsiteX81" fmla="*/ 5415 w 10000"/>
                <a:gd name="connsiteY81" fmla="*/ 7781 h 10010"/>
                <a:gd name="connsiteX82" fmla="*/ 5250 w 10000"/>
                <a:gd name="connsiteY82" fmla="*/ 7720 h 10010"/>
                <a:gd name="connsiteX83" fmla="*/ 4761 w 10000"/>
                <a:gd name="connsiteY83" fmla="*/ 7680 h 10010"/>
                <a:gd name="connsiteX84" fmla="*/ 4794 w 10000"/>
                <a:gd name="connsiteY84" fmla="*/ 7661 h 10010"/>
                <a:gd name="connsiteX85" fmla="*/ 5194 w 10000"/>
                <a:gd name="connsiteY85" fmla="*/ 7649 h 10010"/>
                <a:gd name="connsiteX86" fmla="*/ 5415 w 10000"/>
                <a:gd name="connsiteY86" fmla="*/ 7686 h 10010"/>
                <a:gd name="connsiteX87" fmla="*/ 5542 w 10000"/>
                <a:gd name="connsiteY87" fmla="*/ 7661 h 10010"/>
                <a:gd name="connsiteX88" fmla="*/ 5589 w 10000"/>
                <a:gd name="connsiteY88" fmla="*/ 7598 h 10010"/>
                <a:gd name="connsiteX89" fmla="*/ 5819 w 10000"/>
                <a:gd name="connsiteY89" fmla="*/ 7598 h 10010"/>
                <a:gd name="connsiteX90" fmla="*/ 6131 w 10000"/>
                <a:gd name="connsiteY90" fmla="*/ 7472 h 10010"/>
                <a:gd name="connsiteX91" fmla="*/ 6142 w 10000"/>
                <a:gd name="connsiteY91" fmla="*/ 7388 h 10010"/>
                <a:gd name="connsiteX92" fmla="*/ 6274 w 10000"/>
                <a:gd name="connsiteY92" fmla="*/ 7407 h 10010"/>
                <a:gd name="connsiteX93" fmla="*/ 6268 w 10000"/>
                <a:gd name="connsiteY93" fmla="*/ 7492 h 10010"/>
                <a:gd name="connsiteX94" fmla="*/ 6478 w 10000"/>
                <a:gd name="connsiteY94" fmla="*/ 7486 h 10010"/>
                <a:gd name="connsiteX95" fmla="*/ 6616 w 10000"/>
                <a:gd name="connsiteY95" fmla="*/ 7398 h 10010"/>
                <a:gd name="connsiteX96" fmla="*/ 6872 w 10000"/>
                <a:gd name="connsiteY96" fmla="*/ 7319 h 10010"/>
                <a:gd name="connsiteX97" fmla="*/ 6832 w 10000"/>
                <a:gd name="connsiteY97" fmla="*/ 7229 h 10010"/>
                <a:gd name="connsiteX98" fmla="*/ 6908 w 10000"/>
                <a:gd name="connsiteY98" fmla="*/ 7264 h 10010"/>
                <a:gd name="connsiteX99" fmla="*/ 7025 w 10000"/>
                <a:gd name="connsiteY99" fmla="*/ 7264 h 10010"/>
                <a:gd name="connsiteX100" fmla="*/ 7025 w 10000"/>
                <a:gd name="connsiteY100" fmla="*/ 7223 h 10010"/>
                <a:gd name="connsiteX101" fmla="*/ 7134 w 10000"/>
                <a:gd name="connsiteY101" fmla="*/ 7191 h 10010"/>
                <a:gd name="connsiteX102" fmla="*/ 7119 w 10000"/>
                <a:gd name="connsiteY102" fmla="*/ 7158 h 10010"/>
                <a:gd name="connsiteX103" fmla="*/ 6198 w 10000"/>
                <a:gd name="connsiteY103" fmla="*/ 7225 h 10010"/>
                <a:gd name="connsiteX104" fmla="*/ 5983 w 10000"/>
                <a:gd name="connsiteY104" fmla="*/ 7205 h 10010"/>
                <a:gd name="connsiteX105" fmla="*/ 5895 w 10000"/>
                <a:gd name="connsiteY105" fmla="*/ 7229 h 10010"/>
                <a:gd name="connsiteX106" fmla="*/ 5866 w 10000"/>
                <a:gd name="connsiteY106" fmla="*/ 7183 h 10010"/>
                <a:gd name="connsiteX107" fmla="*/ 5764 w 10000"/>
                <a:gd name="connsiteY107" fmla="*/ 7142 h 10010"/>
                <a:gd name="connsiteX108" fmla="*/ 5354 w 10000"/>
                <a:gd name="connsiteY108" fmla="*/ 7062 h 10010"/>
                <a:gd name="connsiteX109" fmla="*/ 5112 w 10000"/>
                <a:gd name="connsiteY109" fmla="*/ 7075 h 10010"/>
                <a:gd name="connsiteX110" fmla="*/ 5016 w 10000"/>
                <a:gd name="connsiteY110" fmla="*/ 7052 h 10010"/>
                <a:gd name="connsiteX111" fmla="*/ 5118 w 10000"/>
                <a:gd name="connsiteY111" fmla="*/ 7032 h 10010"/>
                <a:gd name="connsiteX112" fmla="*/ 5194 w 10000"/>
                <a:gd name="connsiteY112" fmla="*/ 6989 h 10010"/>
                <a:gd name="connsiteX113" fmla="*/ 5309 w 10000"/>
                <a:gd name="connsiteY113" fmla="*/ 7003 h 10010"/>
                <a:gd name="connsiteX114" fmla="*/ 5445 w 10000"/>
                <a:gd name="connsiteY114" fmla="*/ 6991 h 10010"/>
                <a:gd name="connsiteX115" fmla="*/ 5650 w 10000"/>
                <a:gd name="connsiteY115" fmla="*/ 7005 h 10010"/>
                <a:gd name="connsiteX116" fmla="*/ 5675 w 10000"/>
                <a:gd name="connsiteY116" fmla="*/ 6999 h 10010"/>
                <a:gd name="connsiteX117" fmla="*/ 5834 w 10000"/>
                <a:gd name="connsiteY117" fmla="*/ 7066 h 10010"/>
                <a:gd name="connsiteX118" fmla="*/ 5951 w 10000"/>
                <a:gd name="connsiteY118" fmla="*/ 7042 h 10010"/>
                <a:gd name="connsiteX119" fmla="*/ 5961 w 10000"/>
                <a:gd name="connsiteY119" fmla="*/ 7020 h 10010"/>
                <a:gd name="connsiteX120" fmla="*/ 6069 w 10000"/>
                <a:gd name="connsiteY120" fmla="*/ 7058 h 10010"/>
                <a:gd name="connsiteX121" fmla="*/ 6212 w 10000"/>
                <a:gd name="connsiteY121" fmla="*/ 7079 h 10010"/>
                <a:gd name="connsiteX122" fmla="*/ 6268 w 10000"/>
                <a:gd name="connsiteY122" fmla="*/ 7040 h 10010"/>
                <a:gd name="connsiteX123" fmla="*/ 6314 w 10000"/>
                <a:gd name="connsiteY123" fmla="*/ 7062 h 10010"/>
                <a:gd name="connsiteX124" fmla="*/ 6381 w 10000"/>
                <a:gd name="connsiteY124" fmla="*/ 7136 h 10010"/>
                <a:gd name="connsiteX125" fmla="*/ 6519 w 10000"/>
                <a:gd name="connsiteY125" fmla="*/ 7154 h 10010"/>
                <a:gd name="connsiteX126" fmla="*/ 7082 w 10000"/>
                <a:gd name="connsiteY126" fmla="*/ 7044 h 10010"/>
                <a:gd name="connsiteX127" fmla="*/ 7359 w 10000"/>
                <a:gd name="connsiteY127" fmla="*/ 6889 h 10010"/>
                <a:gd name="connsiteX128" fmla="*/ 7423 w 10000"/>
                <a:gd name="connsiteY128" fmla="*/ 6775 h 10010"/>
                <a:gd name="connsiteX129" fmla="*/ 7323 w 10000"/>
                <a:gd name="connsiteY129" fmla="*/ 6673 h 10010"/>
                <a:gd name="connsiteX130" fmla="*/ 7113 w 10000"/>
                <a:gd name="connsiteY130" fmla="*/ 6612 h 10010"/>
                <a:gd name="connsiteX131" fmla="*/ 6963 w 10000"/>
                <a:gd name="connsiteY131" fmla="*/ 6512 h 10010"/>
                <a:gd name="connsiteX132" fmla="*/ 7102 w 10000"/>
                <a:gd name="connsiteY132" fmla="*/ 6508 h 10010"/>
                <a:gd name="connsiteX133" fmla="*/ 7093 w 10000"/>
                <a:gd name="connsiteY133" fmla="*/ 6484 h 10010"/>
                <a:gd name="connsiteX134" fmla="*/ 6731 w 10000"/>
                <a:gd name="connsiteY134" fmla="*/ 6413 h 10010"/>
                <a:gd name="connsiteX135" fmla="*/ 6716 w 10000"/>
                <a:gd name="connsiteY135" fmla="*/ 6349 h 10010"/>
                <a:gd name="connsiteX136" fmla="*/ 6646 w 10000"/>
                <a:gd name="connsiteY136" fmla="*/ 6282 h 10010"/>
                <a:gd name="connsiteX137" fmla="*/ 6360 w 10000"/>
                <a:gd name="connsiteY137" fmla="*/ 6294 h 10010"/>
                <a:gd name="connsiteX138" fmla="*/ 6258 w 10000"/>
                <a:gd name="connsiteY138" fmla="*/ 6223 h 10010"/>
                <a:gd name="connsiteX139" fmla="*/ 6198 w 10000"/>
                <a:gd name="connsiteY139" fmla="*/ 6219 h 10010"/>
                <a:gd name="connsiteX140" fmla="*/ 6198 w 10000"/>
                <a:gd name="connsiteY140" fmla="*/ 6248 h 10010"/>
                <a:gd name="connsiteX141" fmla="*/ 6069 w 10000"/>
                <a:gd name="connsiteY141" fmla="*/ 6368 h 10010"/>
                <a:gd name="connsiteX142" fmla="*/ 5930 w 10000"/>
                <a:gd name="connsiteY142" fmla="*/ 6439 h 10010"/>
                <a:gd name="connsiteX143" fmla="*/ 5495 w 10000"/>
                <a:gd name="connsiteY143" fmla="*/ 6561 h 10010"/>
                <a:gd name="connsiteX144" fmla="*/ 5342 w 10000"/>
                <a:gd name="connsiteY144" fmla="*/ 6557 h 10010"/>
                <a:gd name="connsiteX145" fmla="*/ 5133 w 10000"/>
                <a:gd name="connsiteY145" fmla="*/ 6575 h 10010"/>
                <a:gd name="connsiteX146" fmla="*/ 5016 w 10000"/>
                <a:gd name="connsiteY146" fmla="*/ 6557 h 10010"/>
                <a:gd name="connsiteX147" fmla="*/ 5169 w 10000"/>
                <a:gd name="connsiteY147" fmla="*/ 6523 h 10010"/>
                <a:gd name="connsiteX148" fmla="*/ 5369 w 10000"/>
                <a:gd name="connsiteY148" fmla="*/ 6508 h 10010"/>
                <a:gd name="connsiteX149" fmla="*/ 5534 w 10000"/>
                <a:gd name="connsiteY149" fmla="*/ 6451 h 10010"/>
                <a:gd name="connsiteX150" fmla="*/ 5695 w 10000"/>
                <a:gd name="connsiteY150" fmla="*/ 6425 h 10010"/>
                <a:gd name="connsiteX151" fmla="*/ 5998 w 10000"/>
                <a:gd name="connsiteY151" fmla="*/ 6327 h 10010"/>
                <a:gd name="connsiteX152" fmla="*/ 6056 w 10000"/>
                <a:gd name="connsiteY152" fmla="*/ 6262 h 10010"/>
                <a:gd name="connsiteX153" fmla="*/ 6060 w 10000"/>
                <a:gd name="connsiteY153" fmla="*/ 6178 h 10010"/>
                <a:gd name="connsiteX154" fmla="*/ 5921 w 10000"/>
                <a:gd name="connsiteY154" fmla="*/ 6164 h 10010"/>
                <a:gd name="connsiteX155" fmla="*/ 5983 w 10000"/>
                <a:gd name="connsiteY155" fmla="*/ 6113 h 10010"/>
                <a:gd name="connsiteX156" fmla="*/ 6002 w 10000"/>
                <a:gd name="connsiteY156" fmla="*/ 6048 h 10010"/>
                <a:gd name="connsiteX157" fmla="*/ 5944 w 10000"/>
                <a:gd name="connsiteY157" fmla="*/ 5987 h 10010"/>
                <a:gd name="connsiteX158" fmla="*/ 5911 w 10000"/>
                <a:gd name="connsiteY158" fmla="*/ 5543 h 10010"/>
                <a:gd name="connsiteX159" fmla="*/ 5993 w 10000"/>
                <a:gd name="connsiteY159" fmla="*/ 5447 h 10010"/>
                <a:gd name="connsiteX160" fmla="*/ 5972 w 10000"/>
                <a:gd name="connsiteY160" fmla="*/ 5408 h 10010"/>
                <a:gd name="connsiteX161" fmla="*/ 6212 w 10000"/>
                <a:gd name="connsiteY161" fmla="*/ 5465 h 10010"/>
                <a:gd name="connsiteX162" fmla="*/ 6229 w 10000"/>
                <a:gd name="connsiteY162" fmla="*/ 5412 h 10010"/>
                <a:gd name="connsiteX163" fmla="*/ 6176 w 10000"/>
                <a:gd name="connsiteY163" fmla="*/ 5274 h 10010"/>
                <a:gd name="connsiteX164" fmla="*/ 6349 w 10000"/>
                <a:gd name="connsiteY164" fmla="*/ 5029 h 10010"/>
                <a:gd name="connsiteX165" fmla="*/ 6243 w 10000"/>
                <a:gd name="connsiteY165" fmla="*/ 4970 h 10010"/>
                <a:gd name="connsiteX166" fmla="*/ 6202 w 10000"/>
                <a:gd name="connsiteY166" fmla="*/ 4915 h 10010"/>
                <a:gd name="connsiteX167" fmla="*/ 6216 w 10000"/>
                <a:gd name="connsiteY167" fmla="*/ 4826 h 10010"/>
                <a:gd name="connsiteX168" fmla="*/ 6470 w 10000"/>
                <a:gd name="connsiteY168" fmla="*/ 4885 h 10010"/>
                <a:gd name="connsiteX169" fmla="*/ 6478 w 10000"/>
                <a:gd name="connsiteY169" fmla="*/ 4868 h 10010"/>
                <a:gd name="connsiteX170" fmla="*/ 6548 w 10000"/>
                <a:gd name="connsiteY170" fmla="*/ 4852 h 10010"/>
                <a:gd name="connsiteX171" fmla="*/ 6646 w 10000"/>
                <a:gd name="connsiteY171" fmla="*/ 4795 h 10010"/>
                <a:gd name="connsiteX172" fmla="*/ 6662 w 10000"/>
                <a:gd name="connsiteY172" fmla="*/ 4779 h 10010"/>
                <a:gd name="connsiteX173" fmla="*/ 6641 w 10000"/>
                <a:gd name="connsiteY173" fmla="*/ 4758 h 10010"/>
                <a:gd name="connsiteX174" fmla="*/ 6693 w 10000"/>
                <a:gd name="connsiteY174" fmla="*/ 4657 h 10010"/>
                <a:gd name="connsiteX175" fmla="*/ 6631 w 10000"/>
                <a:gd name="connsiteY175" fmla="*/ 4591 h 10010"/>
                <a:gd name="connsiteX176" fmla="*/ 6641 w 10000"/>
                <a:gd name="connsiteY176" fmla="*/ 4538 h 10010"/>
                <a:gd name="connsiteX177" fmla="*/ 6676 w 10000"/>
                <a:gd name="connsiteY177" fmla="*/ 4600 h 10010"/>
                <a:gd name="connsiteX178" fmla="*/ 6815 w 10000"/>
                <a:gd name="connsiteY178" fmla="*/ 4646 h 10010"/>
                <a:gd name="connsiteX179" fmla="*/ 6872 w 10000"/>
                <a:gd name="connsiteY179" fmla="*/ 4640 h 10010"/>
                <a:gd name="connsiteX180" fmla="*/ 6963 w 10000"/>
                <a:gd name="connsiteY180" fmla="*/ 4579 h 10010"/>
                <a:gd name="connsiteX181" fmla="*/ 7062 w 10000"/>
                <a:gd name="connsiteY181" fmla="*/ 4604 h 10010"/>
                <a:gd name="connsiteX182" fmla="*/ 7088 w 10000"/>
                <a:gd name="connsiteY182" fmla="*/ 4555 h 10010"/>
                <a:gd name="connsiteX183" fmla="*/ 7154 w 10000"/>
                <a:gd name="connsiteY183" fmla="*/ 4522 h 10010"/>
                <a:gd name="connsiteX184" fmla="*/ 6974 w 10000"/>
                <a:gd name="connsiteY184" fmla="*/ 4487 h 10010"/>
                <a:gd name="connsiteX185" fmla="*/ 7102 w 10000"/>
                <a:gd name="connsiteY185" fmla="*/ 4494 h 10010"/>
                <a:gd name="connsiteX186" fmla="*/ 7234 w 10000"/>
                <a:gd name="connsiteY186" fmla="*/ 4457 h 10010"/>
                <a:gd name="connsiteX187" fmla="*/ 7229 w 10000"/>
                <a:gd name="connsiteY187" fmla="*/ 4432 h 10010"/>
                <a:gd name="connsiteX188" fmla="*/ 7353 w 10000"/>
                <a:gd name="connsiteY188" fmla="*/ 4408 h 10010"/>
                <a:gd name="connsiteX189" fmla="*/ 7364 w 10000"/>
                <a:gd name="connsiteY189" fmla="*/ 4347 h 10010"/>
                <a:gd name="connsiteX190" fmla="*/ 7461 w 10000"/>
                <a:gd name="connsiteY190" fmla="*/ 4335 h 10010"/>
                <a:gd name="connsiteX191" fmla="*/ 7469 w 10000"/>
                <a:gd name="connsiteY191" fmla="*/ 4263 h 10010"/>
                <a:gd name="connsiteX192" fmla="*/ 7572 w 10000"/>
                <a:gd name="connsiteY192" fmla="*/ 4255 h 10010"/>
                <a:gd name="connsiteX193" fmla="*/ 7730 w 10000"/>
                <a:gd name="connsiteY193" fmla="*/ 4270 h 10010"/>
                <a:gd name="connsiteX194" fmla="*/ 7904 w 10000"/>
                <a:gd name="connsiteY194" fmla="*/ 4212 h 10010"/>
                <a:gd name="connsiteX195" fmla="*/ 7966 w 10000"/>
                <a:gd name="connsiteY195" fmla="*/ 4147 h 10010"/>
                <a:gd name="connsiteX196" fmla="*/ 8181 w 10000"/>
                <a:gd name="connsiteY196" fmla="*/ 4080 h 10010"/>
                <a:gd name="connsiteX197" fmla="*/ 8288 w 10000"/>
                <a:gd name="connsiteY197" fmla="*/ 4121 h 10010"/>
                <a:gd name="connsiteX198" fmla="*/ 8452 w 10000"/>
                <a:gd name="connsiteY198" fmla="*/ 4076 h 10010"/>
                <a:gd name="connsiteX199" fmla="*/ 8491 w 10000"/>
                <a:gd name="connsiteY199" fmla="*/ 4019 h 10010"/>
                <a:gd name="connsiteX200" fmla="*/ 8616 w 10000"/>
                <a:gd name="connsiteY200" fmla="*/ 3980 h 10010"/>
                <a:gd name="connsiteX201" fmla="*/ 8722 w 10000"/>
                <a:gd name="connsiteY201" fmla="*/ 3997 h 10010"/>
                <a:gd name="connsiteX202" fmla="*/ 8789 w 10000"/>
                <a:gd name="connsiteY202" fmla="*/ 3968 h 10010"/>
                <a:gd name="connsiteX203" fmla="*/ 8973 w 10000"/>
                <a:gd name="connsiteY203" fmla="*/ 3927 h 10010"/>
                <a:gd name="connsiteX204" fmla="*/ 9049 w 10000"/>
                <a:gd name="connsiteY204" fmla="*/ 3874 h 10010"/>
                <a:gd name="connsiteX205" fmla="*/ 9153 w 10000"/>
                <a:gd name="connsiteY205" fmla="*/ 3852 h 10010"/>
                <a:gd name="connsiteX206" fmla="*/ 9720 w 10000"/>
                <a:gd name="connsiteY206" fmla="*/ 3532 h 10010"/>
                <a:gd name="connsiteX207" fmla="*/ 9971 w 10000"/>
                <a:gd name="connsiteY207" fmla="*/ 399 h 10010"/>
                <a:gd name="connsiteX208" fmla="*/ 9049 w 10000"/>
                <a:gd name="connsiteY208" fmla="*/ 36 h 10010"/>
                <a:gd name="connsiteX209" fmla="*/ 8706 w 10000"/>
                <a:gd name="connsiteY209" fmla="*/ 10 h 10010"/>
                <a:gd name="connsiteX210" fmla="*/ 8706 w 10000"/>
                <a:gd name="connsiteY210" fmla="*/ 191 h 10010"/>
                <a:gd name="connsiteX211" fmla="*/ 8652 w 10000"/>
                <a:gd name="connsiteY211" fmla="*/ 218 h 10010"/>
                <a:gd name="connsiteX212" fmla="*/ 8610 w 10000"/>
                <a:gd name="connsiteY212" fmla="*/ 293 h 10010"/>
                <a:gd name="connsiteX213" fmla="*/ 8533 w 10000"/>
                <a:gd name="connsiteY213" fmla="*/ 346 h 10010"/>
                <a:gd name="connsiteX214" fmla="*/ 8550 w 10000"/>
                <a:gd name="connsiteY214" fmla="*/ 397 h 10010"/>
                <a:gd name="connsiteX215" fmla="*/ 8667 w 10000"/>
                <a:gd name="connsiteY215" fmla="*/ 444 h 10010"/>
                <a:gd name="connsiteX216" fmla="*/ 8591 w 10000"/>
                <a:gd name="connsiteY216" fmla="*/ 485 h 10010"/>
                <a:gd name="connsiteX217" fmla="*/ 8477 w 10000"/>
                <a:gd name="connsiteY217" fmla="*/ 495 h 10010"/>
                <a:gd name="connsiteX218" fmla="*/ 7537 w 10000"/>
                <a:gd name="connsiteY218" fmla="*/ 397 h 10010"/>
                <a:gd name="connsiteX219" fmla="*/ 7423 w 10000"/>
                <a:gd name="connsiteY219" fmla="*/ 405 h 10010"/>
                <a:gd name="connsiteX220" fmla="*/ 7359 w 10000"/>
                <a:gd name="connsiteY220" fmla="*/ 424 h 10010"/>
                <a:gd name="connsiteX221" fmla="*/ 7290 w 10000"/>
                <a:gd name="connsiteY221" fmla="*/ 472 h 10010"/>
                <a:gd name="connsiteX222" fmla="*/ 7302 w 10000"/>
                <a:gd name="connsiteY222" fmla="*/ 591 h 10010"/>
                <a:gd name="connsiteX223" fmla="*/ 7199 w 10000"/>
                <a:gd name="connsiteY223" fmla="*/ 745 h 10010"/>
                <a:gd name="connsiteX224" fmla="*/ 7072 w 10000"/>
                <a:gd name="connsiteY224" fmla="*/ 825 h 10010"/>
                <a:gd name="connsiteX225" fmla="*/ 7021 w 10000"/>
                <a:gd name="connsiteY225" fmla="*/ 815 h 10010"/>
                <a:gd name="connsiteX226" fmla="*/ 6903 w 10000"/>
                <a:gd name="connsiteY226" fmla="*/ 749 h 10010"/>
                <a:gd name="connsiteX227" fmla="*/ 6756 w 10000"/>
                <a:gd name="connsiteY227" fmla="*/ 715 h 10010"/>
                <a:gd name="connsiteX228" fmla="*/ 6594 w 10000"/>
                <a:gd name="connsiteY228" fmla="*/ 725 h 10010"/>
                <a:gd name="connsiteX229" fmla="*/ 6223 w 10000"/>
                <a:gd name="connsiteY229" fmla="*/ 876 h 10010"/>
                <a:gd name="connsiteX230" fmla="*/ 6125 w 10000"/>
                <a:gd name="connsiteY230" fmla="*/ 1027 h 10010"/>
                <a:gd name="connsiteX231" fmla="*/ 5845 w 10000"/>
                <a:gd name="connsiteY231" fmla="*/ 1163 h 10010"/>
                <a:gd name="connsiteX232" fmla="*/ 5794 w 10000"/>
                <a:gd name="connsiteY232" fmla="*/ 1232 h 10010"/>
                <a:gd name="connsiteX233" fmla="*/ 5940 w 10000"/>
                <a:gd name="connsiteY233" fmla="*/ 1354 h 10010"/>
                <a:gd name="connsiteX234" fmla="*/ 5956 w 10000"/>
                <a:gd name="connsiteY234" fmla="*/ 1422 h 10010"/>
                <a:gd name="connsiteX235" fmla="*/ 5190 w 10000"/>
                <a:gd name="connsiteY235" fmla="*/ 1823 h 10010"/>
                <a:gd name="connsiteX236" fmla="*/ 4955 w 10000"/>
                <a:gd name="connsiteY236" fmla="*/ 2080 h 10010"/>
                <a:gd name="connsiteX237" fmla="*/ 4702 w 10000"/>
                <a:gd name="connsiteY237" fmla="*/ 2145 h 10010"/>
                <a:gd name="connsiteX238" fmla="*/ 4540 w 10000"/>
                <a:gd name="connsiteY238" fmla="*/ 2141 h 10010"/>
                <a:gd name="connsiteX239" fmla="*/ 4443 w 10000"/>
                <a:gd name="connsiteY239" fmla="*/ 2163 h 10010"/>
                <a:gd name="connsiteX240" fmla="*/ 4178 w 10000"/>
                <a:gd name="connsiteY240" fmla="*/ 2803 h 10010"/>
                <a:gd name="connsiteX241" fmla="*/ 3565 w 10000"/>
                <a:gd name="connsiteY241" fmla="*/ 3176 h 10010"/>
                <a:gd name="connsiteX242" fmla="*/ 3569 w 10000"/>
                <a:gd name="connsiteY242" fmla="*/ 3235 h 10010"/>
                <a:gd name="connsiteX243" fmla="*/ 3841 w 10000"/>
                <a:gd name="connsiteY243" fmla="*/ 3402 h 10010"/>
                <a:gd name="connsiteX244" fmla="*/ 3753 w 10000"/>
                <a:gd name="connsiteY244" fmla="*/ 3583 h 10010"/>
                <a:gd name="connsiteX245" fmla="*/ 3594 w 10000"/>
                <a:gd name="connsiteY245" fmla="*/ 3650 h 10010"/>
                <a:gd name="connsiteX246" fmla="*/ 3118 w 10000"/>
                <a:gd name="connsiteY246" fmla="*/ 3605 h 10010"/>
                <a:gd name="connsiteX247" fmla="*/ 2791 w 10000"/>
                <a:gd name="connsiteY247" fmla="*/ 3630 h 10010"/>
                <a:gd name="connsiteX248" fmla="*/ 2528 w 10000"/>
                <a:gd name="connsiteY248" fmla="*/ 3683 h 10010"/>
                <a:gd name="connsiteX249" fmla="*/ 2102 w 10000"/>
                <a:gd name="connsiteY249" fmla="*/ 3850 h 10010"/>
                <a:gd name="connsiteX250" fmla="*/ 1877 w 10000"/>
                <a:gd name="connsiteY250" fmla="*/ 4052 h 10010"/>
                <a:gd name="connsiteX251" fmla="*/ 1896 w 10000"/>
                <a:gd name="connsiteY251" fmla="*/ 4164 h 10010"/>
                <a:gd name="connsiteX252" fmla="*/ 1975 w 10000"/>
                <a:gd name="connsiteY252" fmla="*/ 4251 h 10010"/>
                <a:gd name="connsiteX253" fmla="*/ 2034 w 10000"/>
                <a:gd name="connsiteY253" fmla="*/ 4286 h 10010"/>
                <a:gd name="connsiteX254" fmla="*/ 1924 w 10000"/>
                <a:gd name="connsiteY254" fmla="*/ 4341 h 10010"/>
                <a:gd name="connsiteX255" fmla="*/ 1683 w 10000"/>
                <a:gd name="connsiteY255" fmla="*/ 4720 h 10010"/>
                <a:gd name="connsiteX256" fmla="*/ 1729 w 10000"/>
                <a:gd name="connsiteY256" fmla="*/ 4742 h 10010"/>
                <a:gd name="connsiteX257" fmla="*/ 1764 w 10000"/>
                <a:gd name="connsiteY257" fmla="*/ 4838 h 10010"/>
                <a:gd name="connsiteX258" fmla="*/ 1652 w 10000"/>
                <a:gd name="connsiteY258" fmla="*/ 5237 h 10010"/>
                <a:gd name="connsiteX259" fmla="*/ 1764 w 10000"/>
                <a:gd name="connsiteY259" fmla="*/ 5339 h 10010"/>
                <a:gd name="connsiteX260" fmla="*/ 2071 w 10000"/>
                <a:gd name="connsiteY260" fmla="*/ 5451 h 10010"/>
                <a:gd name="connsiteX261" fmla="*/ 2085 w 10000"/>
                <a:gd name="connsiteY261" fmla="*/ 5588 h 10010"/>
                <a:gd name="connsiteX262" fmla="*/ 1954 w 10000"/>
                <a:gd name="connsiteY262" fmla="*/ 5700 h 10010"/>
                <a:gd name="connsiteX263" fmla="*/ 1764 w 10000"/>
                <a:gd name="connsiteY263" fmla="*/ 5769 h 10010"/>
                <a:gd name="connsiteX264" fmla="*/ 1513 w 10000"/>
                <a:gd name="connsiteY264" fmla="*/ 5797 h 10010"/>
                <a:gd name="connsiteX265" fmla="*/ 1448 w 10000"/>
                <a:gd name="connsiteY265" fmla="*/ 5836 h 10010"/>
                <a:gd name="connsiteX266" fmla="*/ 1594 w 10000"/>
                <a:gd name="connsiteY266" fmla="*/ 5930 h 10010"/>
                <a:gd name="connsiteX267" fmla="*/ 1678 w 10000"/>
                <a:gd name="connsiteY267" fmla="*/ 6152 h 10010"/>
                <a:gd name="connsiteX268" fmla="*/ 1488 w 10000"/>
                <a:gd name="connsiteY268" fmla="*/ 6343 h 10010"/>
                <a:gd name="connsiteX269" fmla="*/ 1554 w 10000"/>
                <a:gd name="connsiteY269" fmla="*/ 6402 h 10010"/>
                <a:gd name="connsiteX270" fmla="*/ 1494 w 10000"/>
                <a:gd name="connsiteY270" fmla="*/ 6502 h 10010"/>
                <a:gd name="connsiteX271" fmla="*/ 1372 w 10000"/>
                <a:gd name="connsiteY271" fmla="*/ 6571 h 10010"/>
                <a:gd name="connsiteX272" fmla="*/ 889 w 10000"/>
                <a:gd name="connsiteY272" fmla="*/ 6624 h 10010"/>
                <a:gd name="connsiteX273" fmla="*/ 860 w 10000"/>
                <a:gd name="connsiteY273" fmla="*/ 6716 h 10010"/>
                <a:gd name="connsiteX274" fmla="*/ 600 w 10000"/>
                <a:gd name="connsiteY274" fmla="*/ 6853 h 10010"/>
                <a:gd name="connsiteX275" fmla="*/ 634 w 10000"/>
                <a:gd name="connsiteY275" fmla="*/ 7050 h 10010"/>
                <a:gd name="connsiteX276" fmla="*/ 415 w 10000"/>
                <a:gd name="connsiteY276" fmla="*/ 7303 h 10010"/>
                <a:gd name="connsiteX277" fmla="*/ 266 w 10000"/>
                <a:gd name="connsiteY277" fmla="*/ 7333 h 10010"/>
                <a:gd name="connsiteX278" fmla="*/ 204 w 10000"/>
                <a:gd name="connsiteY278" fmla="*/ 7272 h 10010"/>
                <a:gd name="connsiteX279" fmla="*/ 128 w 10000"/>
                <a:gd name="connsiteY279" fmla="*/ 7364 h 10010"/>
                <a:gd name="connsiteX280" fmla="*/ 178 w 10000"/>
                <a:gd name="connsiteY280" fmla="*/ 7207 h 10010"/>
                <a:gd name="connsiteX281" fmla="*/ 147 w 10000"/>
                <a:gd name="connsiteY281" fmla="*/ 7176 h 10010"/>
                <a:gd name="connsiteX0" fmla="*/ 147 w 10000"/>
                <a:gd name="connsiteY0" fmla="*/ 7176 h 10010"/>
                <a:gd name="connsiteX1" fmla="*/ 0 w 10000"/>
                <a:gd name="connsiteY1" fmla="*/ 7258 h 10010"/>
                <a:gd name="connsiteX2" fmla="*/ 0 w 10000"/>
                <a:gd name="connsiteY2" fmla="*/ 7661 h 10010"/>
                <a:gd name="connsiteX3" fmla="*/ 81 w 10000"/>
                <a:gd name="connsiteY3" fmla="*/ 7673 h 10010"/>
                <a:gd name="connsiteX4" fmla="*/ 100 w 10000"/>
                <a:gd name="connsiteY4" fmla="*/ 7704 h 10010"/>
                <a:gd name="connsiteX5" fmla="*/ 96 w 10000"/>
                <a:gd name="connsiteY5" fmla="*/ 7759 h 10010"/>
                <a:gd name="connsiteX6" fmla="*/ 66 w 10000"/>
                <a:gd name="connsiteY6" fmla="*/ 7783 h 10010"/>
                <a:gd name="connsiteX7" fmla="*/ 190 w 10000"/>
                <a:gd name="connsiteY7" fmla="*/ 7737 h 10010"/>
                <a:gd name="connsiteX8" fmla="*/ 242 w 10000"/>
                <a:gd name="connsiteY8" fmla="*/ 7690 h 10010"/>
                <a:gd name="connsiteX9" fmla="*/ 306 w 10000"/>
                <a:gd name="connsiteY9" fmla="*/ 7722 h 10010"/>
                <a:gd name="connsiteX10" fmla="*/ 235 w 10000"/>
                <a:gd name="connsiteY10" fmla="*/ 7788 h 10010"/>
                <a:gd name="connsiteX11" fmla="*/ 311 w 10000"/>
                <a:gd name="connsiteY11" fmla="*/ 7790 h 10010"/>
                <a:gd name="connsiteX12" fmla="*/ 348 w 10000"/>
                <a:gd name="connsiteY12" fmla="*/ 7806 h 10010"/>
                <a:gd name="connsiteX13" fmla="*/ 250 w 10000"/>
                <a:gd name="connsiteY13" fmla="*/ 7828 h 10010"/>
                <a:gd name="connsiteX14" fmla="*/ 96 w 10000"/>
                <a:gd name="connsiteY14" fmla="*/ 7896 h 10010"/>
                <a:gd name="connsiteX15" fmla="*/ 370 w 10000"/>
                <a:gd name="connsiteY15" fmla="*/ 7948 h 10010"/>
                <a:gd name="connsiteX16" fmla="*/ 404 w 10000"/>
                <a:gd name="connsiteY16" fmla="*/ 8024 h 10010"/>
                <a:gd name="connsiteX17" fmla="*/ 311 w 10000"/>
                <a:gd name="connsiteY17" fmla="*/ 8136 h 10010"/>
                <a:gd name="connsiteX18" fmla="*/ 511 w 10000"/>
                <a:gd name="connsiteY18" fmla="*/ 8128 h 10010"/>
                <a:gd name="connsiteX19" fmla="*/ 526 w 10000"/>
                <a:gd name="connsiteY19" fmla="*/ 8213 h 10010"/>
                <a:gd name="connsiteX20" fmla="*/ 393 w 10000"/>
                <a:gd name="connsiteY20" fmla="*/ 8270 h 10010"/>
                <a:gd name="connsiteX21" fmla="*/ 415 w 10000"/>
                <a:gd name="connsiteY21" fmla="*/ 8380 h 10010"/>
                <a:gd name="connsiteX22" fmla="*/ 364 w 10000"/>
                <a:gd name="connsiteY22" fmla="*/ 8466 h 10010"/>
                <a:gd name="connsiteX23" fmla="*/ 521 w 10000"/>
                <a:gd name="connsiteY23" fmla="*/ 8474 h 10010"/>
                <a:gd name="connsiteX24" fmla="*/ 676 w 10000"/>
                <a:gd name="connsiteY24" fmla="*/ 8802 h 10010"/>
                <a:gd name="connsiteX25" fmla="*/ 853 w 10000"/>
                <a:gd name="connsiteY25" fmla="*/ 8886 h 10010"/>
                <a:gd name="connsiteX26" fmla="*/ 931 w 10000"/>
                <a:gd name="connsiteY26" fmla="*/ 8975 h 10010"/>
                <a:gd name="connsiteX27" fmla="*/ 1125 w 10000"/>
                <a:gd name="connsiteY27" fmla="*/ 9040 h 10010"/>
                <a:gd name="connsiteX28" fmla="*/ 1249 w 10000"/>
                <a:gd name="connsiteY28" fmla="*/ 9122 h 10010"/>
                <a:gd name="connsiteX29" fmla="*/ 1233 w 10000"/>
                <a:gd name="connsiteY29" fmla="*/ 9181 h 10010"/>
                <a:gd name="connsiteX30" fmla="*/ 1110 w 10000"/>
                <a:gd name="connsiteY30" fmla="*/ 9203 h 10010"/>
                <a:gd name="connsiteX31" fmla="*/ 976 w 10000"/>
                <a:gd name="connsiteY31" fmla="*/ 9189 h 10010"/>
                <a:gd name="connsiteX32" fmla="*/ 935 w 10000"/>
                <a:gd name="connsiteY32" fmla="*/ 9214 h 10010"/>
                <a:gd name="connsiteX33" fmla="*/ 1037 w 10000"/>
                <a:gd name="connsiteY33" fmla="*/ 9342 h 10010"/>
                <a:gd name="connsiteX34" fmla="*/ 894 w 10000"/>
                <a:gd name="connsiteY34" fmla="*/ 9332 h 10010"/>
                <a:gd name="connsiteX35" fmla="*/ 773 w 10000"/>
                <a:gd name="connsiteY35" fmla="*/ 9301 h 10010"/>
                <a:gd name="connsiteX36" fmla="*/ 750 w 10000"/>
                <a:gd name="connsiteY36" fmla="*/ 9348 h 10010"/>
                <a:gd name="connsiteX37" fmla="*/ 1155 w 10000"/>
                <a:gd name="connsiteY37" fmla="*/ 9786 h 10010"/>
                <a:gd name="connsiteX38" fmla="*/ 1091 w 10000"/>
                <a:gd name="connsiteY38" fmla="*/ 9827 h 10010"/>
                <a:gd name="connsiteX39" fmla="*/ 1045 w 10000"/>
                <a:gd name="connsiteY39" fmla="*/ 9912 h 10010"/>
                <a:gd name="connsiteX40" fmla="*/ 987 w 10000"/>
                <a:gd name="connsiteY40" fmla="*/ 9918 h 10010"/>
                <a:gd name="connsiteX41" fmla="*/ 951 w 10000"/>
                <a:gd name="connsiteY41" fmla="*/ 9955 h 10010"/>
                <a:gd name="connsiteX42" fmla="*/ 1195 w 10000"/>
                <a:gd name="connsiteY42" fmla="*/ 9959 h 10010"/>
                <a:gd name="connsiteX43" fmla="*/ 1410 w 10000"/>
                <a:gd name="connsiteY43" fmla="*/ 9996 h 10010"/>
                <a:gd name="connsiteX44" fmla="*/ 1769 w 10000"/>
                <a:gd name="connsiteY44" fmla="*/ 9957 h 10010"/>
                <a:gd name="connsiteX45" fmla="*/ 2091 w 10000"/>
                <a:gd name="connsiteY45" fmla="*/ 9963 h 10010"/>
                <a:gd name="connsiteX46" fmla="*/ 2280 w 10000"/>
                <a:gd name="connsiteY46" fmla="*/ 10010 h 10010"/>
                <a:gd name="connsiteX47" fmla="*/ 2385 w 10000"/>
                <a:gd name="connsiteY47" fmla="*/ 9979 h 10010"/>
                <a:gd name="connsiteX48" fmla="*/ 2485 w 10000"/>
                <a:gd name="connsiteY48" fmla="*/ 9878 h 10010"/>
                <a:gd name="connsiteX49" fmla="*/ 2459 w 10000"/>
                <a:gd name="connsiteY49" fmla="*/ 9713 h 10010"/>
                <a:gd name="connsiteX50" fmla="*/ 2704 w 10000"/>
                <a:gd name="connsiteY50" fmla="*/ 9527 h 10010"/>
                <a:gd name="connsiteX51" fmla="*/ 2883 w 10000"/>
                <a:gd name="connsiteY51" fmla="*/ 9556 h 10010"/>
                <a:gd name="connsiteX52" fmla="*/ 2987 w 10000"/>
                <a:gd name="connsiteY52" fmla="*/ 9482 h 10010"/>
                <a:gd name="connsiteX53" fmla="*/ 3186 w 10000"/>
                <a:gd name="connsiteY53" fmla="*/ 9440 h 10010"/>
                <a:gd name="connsiteX54" fmla="*/ 3457 w 10000"/>
                <a:gd name="connsiteY54" fmla="*/ 9450 h 10010"/>
                <a:gd name="connsiteX55" fmla="*/ 3620 w 10000"/>
                <a:gd name="connsiteY55" fmla="*/ 9480 h 10010"/>
                <a:gd name="connsiteX56" fmla="*/ 3837 w 10000"/>
                <a:gd name="connsiteY56" fmla="*/ 9466 h 10010"/>
                <a:gd name="connsiteX57" fmla="*/ 4056 w 10000"/>
                <a:gd name="connsiteY57" fmla="*/ 9499 h 10010"/>
                <a:gd name="connsiteX58" fmla="*/ 4275 w 10000"/>
                <a:gd name="connsiteY58" fmla="*/ 9503 h 10010"/>
                <a:gd name="connsiteX59" fmla="*/ 4765 w 10000"/>
                <a:gd name="connsiteY59" fmla="*/ 9071 h 10010"/>
                <a:gd name="connsiteX60" fmla="*/ 4889 w 10000"/>
                <a:gd name="connsiteY60" fmla="*/ 8721 h 10010"/>
                <a:gd name="connsiteX61" fmla="*/ 5088 w 10000"/>
                <a:gd name="connsiteY61" fmla="*/ 8564 h 10010"/>
                <a:gd name="connsiteX62" fmla="*/ 5088 w 10000"/>
                <a:gd name="connsiteY62" fmla="*/ 8482 h 10010"/>
                <a:gd name="connsiteX63" fmla="*/ 5016 w 10000"/>
                <a:gd name="connsiteY63" fmla="*/ 8435 h 10010"/>
                <a:gd name="connsiteX64" fmla="*/ 5133 w 10000"/>
                <a:gd name="connsiteY64" fmla="*/ 8362 h 10010"/>
                <a:gd name="connsiteX65" fmla="*/ 5112 w 10000"/>
                <a:gd name="connsiteY65" fmla="*/ 8299 h 10010"/>
                <a:gd name="connsiteX66" fmla="*/ 5032 w 10000"/>
                <a:gd name="connsiteY66" fmla="*/ 8246 h 10010"/>
                <a:gd name="connsiteX67" fmla="*/ 5016 w 10000"/>
                <a:gd name="connsiteY67" fmla="*/ 8209 h 10010"/>
                <a:gd name="connsiteX68" fmla="*/ 5036 w 10000"/>
                <a:gd name="connsiteY68" fmla="*/ 8179 h 10010"/>
                <a:gd name="connsiteX69" fmla="*/ 5144 w 10000"/>
                <a:gd name="connsiteY69" fmla="*/ 8203 h 10010"/>
                <a:gd name="connsiteX70" fmla="*/ 5230 w 10000"/>
                <a:gd name="connsiteY70" fmla="*/ 8201 h 10010"/>
                <a:gd name="connsiteX71" fmla="*/ 5184 w 10000"/>
                <a:gd name="connsiteY71" fmla="*/ 8150 h 10010"/>
                <a:gd name="connsiteX72" fmla="*/ 5198 w 10000"/>
                <a:gd name="connsiteY72" fmla="*/ 8122 h 10010"/>
                <a:gd name="connsiteX73" fmla="*/ 5262 w 10000"/>
                <a:gd name="connsiteY73" fmla="*/ 8079 h 10010"/>
                <a:gd name="connsiteX74" fmla="*/ 5250 w 10000"/>
                <a:gd name="connsiteY74" fmla="*/ 8044 h 10010"/>
                <a:gd name="connsiteX75" fmla="*/ 5309 w 10000"/>
                <a:gd name="connsiteY75" fmla="*/ 7926 h 10010"/>
                <a:gd name="connsiteX76" fmla="*/ 5293 w 10000"/>
                <a:gd name="connsiteY76" fmla="*/ 7891 h 10010"/>
                <a:gd name="connsiteX77" fmla="*/ 4996 w 10000"/>
                <a:gd name="connsiteY77" fmla="*/ 7802 h 10010"/>
                <a:gd name="connsiteX78" fmla="*/ 5036 w 10000"/>
                <a:gd name="connsiteY78" fmla="*/ 7798 h 10010"/>
                <a:gd name="connsiteX79" fmla="*/ 5194 w 10000"/>
                <a:gd name="connsiteY79" fmla="*/ 7822 h 10010"/>
                <a:gd name="connsiteX80" fmla="*/ 5365 w 10000"/>
                <a:gd name="connsiteY80" fmla="*/ 7814 h 10010"/>
                <a:gd name="connsiteX81" fmla="*/ 5415 w 10000"/>
                <a:gd name="connsiteY81" fmla="*/ 7781 h 10010"/>
                <a:gd name="connsiteX82" fmla="*/ 5250 w 10000"/>
                <a:gd name="connsiteY82" fmla="*/ 7720 h 10010"/>
                <a:gd name="connsiteX83" fmla="*/ 4761 w 10000"/>
                <a:gd name="connsiteY83" fmla="*/ 7680 h 10010"/>
                <a:gd name="connsiteX84" fmla="*/ 4794 w 10000"/>
                <a:gd name="connsiteY84" fmla="*/ 7661 h 10010"/>
                <a:gd name="connsiteX85" fmla="*/ 5194 w 10000"/>
                <a:gd name="connsiteY85" fmla="*/ 7649 h 10010"/>
                <a:gd name="connsiteX86" fmla="*/ 5415 w 10000"/>
                <a:gd name="connsiteY86" fmla="*/ 7686 h 10010"/>
                <a:gd name="connsiteX87" fmla="*/ 5542 w 10000"/>
                <a:gd name="connsiteY87" fmla="*/ 7661 h 10010"/>
                <a:gd name="connsiteX88" fmla="*/ 5589 w 10000"/>
                <a:gd name="connsiteY88" fmla="*/ 7598 h 10010"/>
                <a:gd name="connsiteX89" fmla="*/ 5819 w 10000"/>
                <a:gd name="connsiteY89" fmla="*/ 7598 h 10010"/>
                <a:gd name="connsiteX90" fmla="*/ 6131 w 10000"/>
                <a:gd name="connsiteY90" fmla="*/ 7472 h 10010"/>
                <a:gd name="connsiteX91" fmla="*/ 6142 w 10000"/>
                <a:gd name="connsiteY91" fmla="*/ 7388 h 10010"/>
                <a:gd name="connsiteX92" fmla="*/ 6274 w 10000"/>
                <a:gd name="connsiteY92" fmla="*/ 7407 h 10010"/>
                <a:gd name="connsiteX93" fmla="*/ 6268 w 10000"/>
                <a:gd name="connsiteY93" fmla="*/ 7492 h 10010"/>
                <a:gd name="connsiteX94" fmla="*/ 6478 w 10000"/>
                <a:gd name="connsiteY94" fmla="*/ 7486 h 10010"/>
                <a:gd name="connsiteX95" fmla="*/ 6616 w 10000"/>
                <a:gd name="connsiteY95" fmla="*/ 7398 h 10010"/>
                <a:gd name="connsiteX96" fmla="*/ 6872 w 10000"/>
                <a:gd name="connsiteY96" fmla="*/ 7319 h 10010"/>
                <a:gd name="connsiteX97" fmla="*/ 6832 w 10000"/>
                <a:gd name="connsiteY97" fmla="*/ 7229 h 10010"/>
                <a:gd name="connsiteX98" fmla="*/ 6908 w 10000"/>
                <a:gd name="connsiteY98" fmla="*/ 7264 h 10010"/>
                <a:gd name="connsiteX99" fmla="*/ 7025 w 10000"/>
                <a:gd name="connsiteY99" fmla="*/ 7264 h 10010"/>
                <a:gd name="connsiteX100" fmla="*/ 7025 w 10000"/>
                <a:gd name="connsiteY100" fmla="*/ 7223 h 10010"/>
                <a:gd name="connsiteX101" fmla="*/ 7134 w 10000"/>
                <a:gd name="connsiteY101" fmla="*/ 7191 h 10010"/>
                <a:gd name="connsiteX102" fmla="*/ 7119 w 10000"/>
                <a:gd name="connsiteY102" fmla="*/ 7158 h 10010"/>
                <a:gd name="connsiteX103" fmla="*/ 6198 w 10000"/>
                <a:gd name="connsiteY103" fmla="*/ 7225 h 10010"/>
                <a:gd name="connsiteX104" fmla="*/ 5983 w 10000"/>
                <a:gd name="connsiteY104" fmla="*/ 7205 h 10010"/>
                <a:gd name="connsiteX105" fmla="*/ 5895 w 10000"/>
                <a:gd name="connsiteY105" fmla="*/ 7229 h 10010"/>
                <a:gd name="connsiteX106" fmla="*/ 5866 w 10000"/>
                <a:gd name="connsiteY106" fmla="*/ 7183 h 10010"/>
                <a:gd name="connsiteX107" fmla="*/ 5764 w 10000"/>
                <a:gd name="connsiteY107" fmla="*/ 7142 h 10010"/>
                <a:gd name="connsiteX108" fmla="*/ 5354 w 10000"/>
                <a:gd name="connsiteY108" fmla="*/ 7062 h 10010"/>
                <a:gd name="connsiteX109" fmla="*/ 5112 w 10000"/>
                <a:gd name="connsiteY109" fmla="*/ 7075 h 10010"/>
                <a:gd name="connsiteX110" fmla="*/ 5016 w 10000"/>
                <a:gd name="connsiteY110" fmla="*/ 7052 h 10010"/>
                <a:gd name="connsiteX111" fmla="*/ 5118 w 10000"/>
                <a:gd name="connsiteY111" fmla="*/ 7032 h 10010"/>
                <a:gd name="connsiteX112" fmla="*/ 5194 w 10000"/>
                <a:gd name="connsiteY112" fmla="*/ 6989 h 10010"/>
                <a:gd name="connsiteX113" fmla="*/ 5309 w 10000"/>
                <a:gd name="connsiteY113" fmla="*/ 7003 h 10010"/>
                <a:gd name="connsiteX114" fmla="*/ 5445 w 10000"/>
                <a:gd name="connsiteY114" fmla="*/ 6991 h 10010"/>
                <a:gd name="connsiteX115" fmla="*/ 5650 w 10000"/>
                <a:gd name="connsiteY115" fmla="*/ 7005 h 10010"/>
                <a:gd name="connsiteX116" fmla="*/ 5675 w 10000"/>
                <a:gd name="connsiteY116" fmla="*/ 6999 h 10010"/>
                <a:gd name="connsiteX117" fmla="*/ 5834 w 10000"/>
                <a:gd name="connsiteY117" fmla="*/ 7066 h 10010"/>
                <a:gd name="connsiteX118" fmla="*/ 5951 w 10000"/>
                <a:gd name="connsiteY118" fmla="*/ 7042 h 10010"/>
                <a:gd name="connsiteX119" fmla="*/ 5961 w 10000"/>
                <a:gd name="connsiteY119" fmla="*/ 7020 h 10010"/>
                <a:gd name="connsiteX120" fmla="*/ 6069 w 10000"/>
                <a:gd name="connsiteY120" fmla="*/ 7058 h 10010"/>
                <a:gd name="connsiteX121" fmla="*/ 6212 w 10000"/>
                <a:gd name="connsiteY121" fmla="*/ 7079 h 10010"/>
                <a:gd name="connsiteX122" fmla="*/ 6268 w 10000"/>
                <a:gd name="connsiteY122" fmla="*/ 7040 h 10010"/>
                <a:gd name="connsiteX123" fmla="*/ 6314 w 10000"/>
                <a:gd name="connsiteY123" fmla="*/ 7062 h 10010"/>
                <a:gd name="connsiteX124" fmla="*/ 6381 w 10000"/>
                <a:gd name="connsiteY124" fmla="*/ 7136 h 10010"/>
                <a:gd name="connsiteX125" fmla="*/ 6519 w 10000"/>
                <a:gd name="connsiteY125" fmla="*/ 7154 h 10010"/>
                <a:gd name="connsiteX126" fmla="*/ 7082 w 10000"/>
                <a:gd name="connsiteY126" fmla="*/ 7044 h 10010"/>
                <a:gd name="connsiteX127" fmla="*/ 7359 w 10000"/>
                <a:gd name="connsiteY127" fmla="*/ 6889 h 10010"/>
                <a:gd name="connsiteX128" fmla="*/ 7423 w 10000"/>
                <a:gd name="connsiteY128" fmla="*/ 6775 h 10010"/>
                <a:gd name="connsiteX129" fmla="*/ 7323 w 10000"/>
                <a:gd name="connsiteY129" fmla="*/ 6673 h 10010"/>
                <a:gd name="connsiteX130" fmla="*/ 7113 w 10000"/>
                <a:gd name="connsiteY130" fmla="*/ 6612 h 10010"/>
                <a:gd name="connsiteX131" fmla="*/ 6963 w 10000"/>
                <a:gd name="connsiteY131" fmla="*/ 6512 h 10010"/>
                <a:gd name="connsiteX132" fmla="*/ 7102 w 10000"/>
                <a:gd name="connsiteY132" fmla="*/ 6508 h 10010"/>
                <a:gd name="connsiteX133" fmla="*/ 7093 w 10000"/>
                <a:gd name="connsiteY133" fmla="*/ 6484 h 10010"/>
                <a:gd name="connsiteX134" fmla="*/ 6731 w 10000"/>
                <a:gd name="connsiteY134" fmla="*/ 6413 h 10010"/>
                <a:gd name="connsiteX135" fmla="*/ 6716 w 10000"/>
                <a:gd name="connsiteY135" fmla="*/ 6349 h 10010"/>
                <a:gd name="connsiteX136" fmla="*/ 6646 w 10000"/>
                <a:gd name="connsiteY136" fmla="*/ 6282 h 10010"/>
                <a:gd name="connsiteX137" fmla="*/ 6360 w 10000"/>
                <a:gd name="connsiteY137" fmla="*/ 6294 h 10010"/>
                <a:gd name="connsiteX138" fmla="*/ 6258 w 10000"/>
                <a:gd name="connsiteY138" fmla="*/ 6223 h 10010"/>
                <a:gd name="connsiteX139" fmla="*/ 6198 w 10000"/>
                <a:gd name="connsiteY139" fmla="*/ 6219 h 10010"/>
                <a:gd name="connsiteX140" fmla="*/ 6198 w 10000"/>
                <a:gd name="connsiteY140" fmla="*/ 6248 h 10010"/>
                <a:gd name="connsiteX141" fmla="*/ 6069 w 10000"/>
                <a:gd name="connsiteY141" fmla="*/ 6368 h 10010"/>
                <a:gd name="connsiteX142" fmla="*/ 5930 w 10000"/>
                <a:gd name="connsiteY142" fmla="*/ 6439 h 10010"/>
                <a:gd name="connsiteX143" fmla="*/ 5495 w 10000"/>
                <a:gd name="connsiteY143" fmla="*/ 6561 h 10010"/>
                <a:gd name="connsiteX144" fmla="*/ 5342 w 10000"/>
                <a:gd name="connsiteY144" fmla="*/ 6557 h 10010"/>
                <a:gd name="connsiteX145" fmla="*/ 5133 w 10000"/>
                <a:gd name="connsiteY145" fmla="*/ 6575 h 10010"/>
                <a:gd name="connsiteX146" fmla="*/ 5016 w 10000"/>
                <a:gd name="connsiteY146" fmla="*/ 6557 h 10010"/>
                <a:gd name="connsiteX147" fmla="*/ 5169 w 10000"/>
                <a:gd name="connsiteY147" fmla="*/ 6523 h 10010"/>
                <a:gd name="connsiteX148" fmla="*/ 5369 w 10000"/>
                <a:gd name="connsiteY148" fmla="*/ 6508 h 10010"/>
                <a:gd name="connsiteX149" fmla="*/ 5534 w 10000"/>
                <a:gd name="connsiteY149" fmla="*/ 6451 h 10010"/>
                <a:gd name="connsiteX150" fmla="*/ 5695 w 10000"/>
                <a:gd name="connsiteY150" fmla="*/ 6425 h 10010"/>
                <a:gd name="connsiteX151" fmla="*/ 5998 w 10000"/>
                <a:gd name="connsiteY151" fmla="*/ 6327 h 10010"/>
                <a:gd name="connsiteX152" fmla="*/ 6056 w 10000"/>
                <a:gd name="connsiteY152" fmla="*/ 6262 h 10010"/>
                <a:gd name="connsiteX153" fmla="*/ 6060 w 10000"/>
                <a:gd name="connsiteY153" fmla="*/ 6178 h 10010"/>
                <a:gd name="connsiteX154" fmla="*/ 5921 w 10000"/>
                <a:gd name="connsiteY154" fmla="*/ 6164 h 10010"/>
                <a:gd name="connsiteX155" fmla="*/ 5983 w 10000"/>
                <a:gd name="connsiteY155" fmla="*/ 6113 h 10010"/>
                <a:gd name="connsiteX156" fmla="*/ 6002 w 10000"/>
                <a:gd name="connsiteY156" fmla="*/ 6048 h 10010"/>
                <a:gd name="connsiteX157" fmla="*/ 5944 w 10000"/>
                <a:gd name="connsiteY157" fmla="*/ 5987 h 10010"/>
                <a:gd name="connsiteX158" fmla="*/ 5911 w 10000"/>
                <a:gd name="connsiteY158" fmla="*/ 5543 h 10010"/>
                <a:gd name="connsiteX159" fmla="*/ 5993 w 10000"/>
                <a:gd name="connsiteY159" fmla="*/ 5447 h 10010"/>
                <a:gd name="connsiteX160" fmla="*/ 5972 w 10000"/>
                <a:gd name="connsiteY160" fmla="*/ 5408 h 10010"/>
                <a:gd name="connsiteX161" fmla="*/ 6212 w 10000"/>
                <a:gd name="connsiteY161" fmla="*/ 5465 h 10010"/>
                <a:gd name="connsiteX162" fmla="*/ 6229 w 10000"/>
                <a:gd name="connsiteY162" fmla="*/ 5412 h 10010"/>
                <a:gd name="connsiteX163" fmla="*/ 6176 w 10000"/>
                <a:gd name="connsiteY163" fmla="*/ 5274 h 10010"/>
                <a:gd name="connsiteX164" fmla="*/ 6349 w 10000"/>
                <a:gd name="connsiteY164" fmla="*/ 5029 h 10010"/>
                <a:gd name="connsiteX165" fmla="*/ 6243 w 10000"/>
                <a:gd name="connsiteY165" fmla="*/ 4970 h 10010"/>
                <a:gd name="connsiteX166" fmla="*/ 6202 w 10000"/>
                <a:gd name="connsiteY166" fmla="*/ 4915 h 10010"/>
                <a:gd name="connsiteX167" fmla="*/ 6216 w 10000"/>
                <a:gd name="connsiteY167" fmla="*/ 4826 h 10010"/>
                <a:gd name="connsiteX168" fmla="*/ 6470 w 10000"/>
                <a:gd name="connsiteY168" fmla="*/ 4885 h 10010"/>
                <a:gd name="connsiteX169" fmla="*/ 6478 w 10000"/>
                <a:gd name="connsiteY169" fmla="*/ 4868 h 10010"/>
                <a:gd name="connsiteX170" fmla="*/ 6548 w 10000"/>
                <a:gd name="connsiteY170" fmla="*/ 4852 h 10010"/>
                <a:gd name="connsiteX171" fmla="*/ 6646 w 10000"/>
                <a:gd name="connsiteY171" fmla="*/ 4795 h 10010"/>
                <a:gd name="connsiteX172" fmla="*/ 6662 w 10000"/>
                <a:gd name="connsiteY172" fmla="*/ 4779 h 10010"/>
                <a:gd name="connsiteX173" fmla="*/ 6641 w 10000"/>
                <a:gd name="connsiteY173" fmla="*/ 4758 h 10010"/>
                <a:gd name="connsiteX174" fmla="*/ 6693 w 10000"/>
                <a:gd name="connsiteY174" fmla="*/ 4657 h 10010"/>
                <a:gd name="connsiteX175" fmla="*/ 6631 w 10000"/>
                <a:gd name="connsiteY175" fmla="*/ 4591 h 10010"/>
                <a:gd name="connsiteX176" fmla="*/ 6641 w 10000"/>
                <a:gd name="connsiteY176" fmla="*/ 4538 h 10010"/>
                <a:gd name="connsiteX177" fmla="*/ 6676 w 10000"/>
                <a:gd name="connsiteY177" fmla="*/ 4600 h 10010"/>
                <a:gd name="connsiteX178" fmla="*/ 6815 w 10000"/>
                <a:gd name="connsiteY178" fmla="*/ 4646 h 10010"/>
                <a:gd name="connsiteX179" fmla="*/ 6872 w 10000"/>
                <a:gd name="connsiteY179" fmla="*/ 4640 h 10010"/>
                <a:gd name="connsiteX180" fmla="*/ 6963 w 10000"/>
                <a:gd name="connsiteY180" fmla="*/ 4579 h 10010"/>
                <a:gd name="connsiteX181" fmla="*/ 7062 w 10000"/>
                <a:gd name="connsiteY181" fmla="*/ 4604 h 10010"/>
                <a:gd name="connsiteX182" fmla="*/ 7088 w 10000"/>
                <a:gd name="connsiteY182" fmla="*/ 4555 h 10010"/>
                <a:gd name="connsiteX183" fmla="*/ 7154 w 10000"/>
                <a:gd name="connsiteY183" fmla="*/ 4522 h 10010"/>
                <a:gd name="connsiteX184" fmla="*/ 6974 w 10000"/>
                <a:gd name="connsiteY184" fmla="*/ 4487 h 10010"/>
                <a:gd name="connsiteX185" fmla="*/ 7102 w 10000"/>
                <a:gd name="connsiteY185" fmla="*/ 4494 h 10010"/>
                <a:gd name="connsiteX186" fmla="*/ 7234 w 10000"/>
                <a:gd name="connsiteY186" fmla="*/ 4457 h 10010"/>
                <a:gd name="connsiteX187" fmla="*/ 7229 w 10000"/>
                <a:gd name="connsiteY187" fmla="*/ 4432 h 10010"/>
                <a:gd name="connsiteX188" fmla="*/ 7353 w 10000"/>
                <a:gd name="connsiteY188" fmla="*/ 4408 h 10010"/>
                <a:gd name="connsiteX189" fmla="*/ 7364 w 10000"/>
                <a:gd name="connsiteY189" fmla="*/ 4347 h 10010"/>
                <a:gd name="connsiteX190" fmla="*/ 7461 w 10000"/>
                <a:gd name="connsiteY190" fmla="*/ 4335 h 10010"/>
                <a:gd name="connsiteX191" fmla="*/ 7469 w 10000"/>
                <a:gd name="connsiteY191" fmla="*/ 4263 h 10010"/>
                <a:gd name="connsiteX192" fmla="*/ 7572 w 10000"/>
                <a:gd name="connsiteY192" fmla="*/ 4255 h 10010"/>
                <a:gd name="connsiteX193" fmla="*/ 7730 w 10000"/>
                <a:gd name="connsiteY193" fmla="*/ 4270 h 10010"/>
                <a:gd name="connsiteX194" fmla="*/ 7904 w 10000"/>
                <a:gd name="connsiteY194" fmla="*/ 4212 h 10010"/>
                <a:gd name="connsiteX195" fmla="*/ 7966 w 10000"/>
                <a:gd name="connsiteY195" fmla="*/ 4147 h 10010"/>
                <a:gd name="connsiteX196" fmla="*/ 8181 w 10000"/>
                <a:gd name="connsiteY196" fmla="*/ 4080 h 10010"/>
                <a:gd name="connsiteX197" fmla="*/ 8288 w 10000"/>
                <a:gd name="connsiteY197" fmla="*/ 4121 h 10010"/>
                <a:gd name="connsiteX198" fmla="*/ 8452 w 10000"/>
                <a:gd name="connsiteY198" fmla="*/ 4076 h 10010"/>
                <a:gd name="connsiteX199" fmla="*/ 8491 w 10000"/>
                <a:gd name="connsiteY199" fmla="*/ 4019 h 10010"/>
                <a:gd name="connsiteX200" fmla="*/ 8616 w 10000"/>
                <a:gd name="connsiteY200" fmla="*/ 3980 h 10010"/>
                <a:gd name="connsiteX201" fmla="*/ 8722 w 10000"/>
                <a:gd name="connsiteY201" fmla="*/ 3997 h 10010"/>
                <a:gd name="connsiteX202" fmla="*/ 8789 w 10000"/>
                <a:gd name="connsiteY202" fmla="*/ 3968 h 10010"/>
                <a:gd name="connsiteX203" fmla="*/ 8973 w 10000"/>
                <a:gd name="connsiteY203" fmla="*/ 3927 h 10010"/>
                <a:gd name="connsiteX204" fmla="*/ 9049 w 10000"/>
                <a:gd name="connsiteY204" fmla="*/ 3874 h 10010"/>
                <a:gd name="connsiteX205" fmla="*/ 9153 w 10000"/>
                <a:gd name="connsiteY205" fmla="*/ 3852 h 10010"/>
                <a:gd name="connsiteX206" fmla="*/ 9720 w 10000"/>
                <a:gd name="connsiteY206" fmla="*/ 3532 h 10010"/>
                <a:gd name="connsiteX207" fmla="*/ 9971 w 10000"/>
                <a:gd name="connsiteY207" fmla="*/ 399 h 10010"/>
                <a:gd name="connsiteX208" fmla="*/ 9049 w 10000"/>
                <a:gd name="connsiteY208" fmla="*/ 36 h 10010"/>
                <a:gd name="connsiteX209" fmla="*/ 8706 w 10000"/>
                <a:gd name="connsiteY209" fmla="*/ 10 h 10010"/>
                <a:gd name="connsiteX210" fmla="*/ 8652 w 10000"/>
                <a:gd name="connsiteY210" fmla="*/ 218 h 10010"/>
                <a:gd name="connsiteX211" fmla="*/ 8610 w 10000"/>
                <a:gd name="connsiteY211" fmla="*/ 293 h 10010"/>
                <a:gd name="connsiteX212" fmla="*/ 8533 w 10000"/>
                <a:gd name="connsiteY212" fmla="*/ 346 h 10010"/>
                <a:gd name="connsiteX213" fmla="*/ 8550 w 10000"/>
                <a:gd name="connsiteY213" fmla="*/ 397 h 10010"/>
                <a:gd name="connsiteX214" fmla="*/ 8667 w 10000"/>
                <a:gd name="connsiteY214" fmla="*/ 444 h 10010"/>
                <a:gd name="connsiteX215" fmla="*/ 8591 w 10000"/>
                <a:gd name="connsiteY215" fmla="*/ 485 h 10010"/>
                <a:gd name="connsiteX216" fmla="*/ 8477 w 10000"/>
                <a:gd name="connsiteY216" fmla="*/ 495 h 10010"/>
                <a:gd name="connsiteX217" fmla="*/ 7537 w 10000"/>
                <a:gd name="connsiteY217" fmla="*/ 397 h 10010"/>
                <a:gd name="connsiteX218" fmla="*/ 7423 w 10000"/>
                <a:gd name="connsiteY218" fmla="*/ 405 h 10010"/>
                <a:gd name="connsiteX219" fmla="*/ 7359 w 10000"/>
                <a:gd name="connsiteY219" fmla="*/ 424 h 10010"/>
                <a:gd name="connsiteX220" fmla="*/ 7290 w 10000"/>
                <a:gd name="connsiteY220" fmla="*/ 472 h 10010"/>
                <a:gd name="connsiteX221" fmla="*/ 7302 w 10000"/>
                <a:gd name="connsiteY221" fmla="*/ 591 h 10010"/>
                <a:gd name="connsiteX222" fmla="*/ 7199 w 10000"/>
                <a:gd name="connsiteY222" fmla="*/ 745 h 10010"/>
                <a:gd name="connsiteX223" fmla="*/ 7072 w 10000"/>
                <a:gd name="connsiteY223" fmla="*/ 825 h 10010"/>
                <a:gd name="connsiteX224" fmla="*/ 7021 w 10000"/>
                <a:gd name="connsiteY224" fmla="*/ 815 h 10010"/>
                <a:gd name="connsiteX225" fmla="*/ 6903 w 10000"/>
                <a:gd name="connsiteY225" fmla="*/ 749 h 10010"/>
                <a:gd name="connsiteX226" fmla="*/ 6756 w 10000"/>
                <a:gd name="connsiteY226" fmla="*/ 715 h 10010"/>
                <a:gd name="connsiteX227" fmla="*/ 6594 w 10000"/>
                <a:gd name="connsiteY227" fmla="*/ 725 h 10010"/>
                <a:gd name="connsiteX228" fmla="*/ 6223 w 10000"/>
                <a:gd name="connsiteY228" fmla="*/ 876 h 10010"/>
                <a:gd name="connsiteX229" fmla="*/ 6125 w 10000"/>
                <a:gd name="connsiteY229" fmla="*/ 1027 h 10010"/>
                <a:gd name="connsiteX230" fmla="*/ 5845 w 10000"/>
                <a:gd name="connsiteY230" fmla="*/ 1163 h 10010"/>
                <a:gd name="connsiteX231" fmla="*/ 5794 w 10000"/>
                <a:gd name="connsiteY231" fmla="*/ 1232 h 10010"/>
                <a:gd name="connsiteX232" fmla="*/ 5940 w 10000"/>
                <a:gd name="connsiteY232" fmla="*/ 1354 h 10010"/>
                <a:gd name="connsiteX233" fmla="*/ 5956 w 10000"/>
                <a:gd name="connsiteY233" fmla="*/ 1422 h 10010"/>
                <a:gd name="connsiteX234" fmla="*/ 5190 w 10000"/>
                <a:gd name="connsiteY234" fmla="*/ 1823 h 10010"/>
                <a:gd name="connsiteX235" fmla="*/ 4955 w 10000"/>
                <a:gd name="connsiteY235" fmla="*/ 2080 h 10010"/>
                <a:gd name="connsiteX236" fmla="*/ 4702 w 10000"/>
                <a:gd name="connsiteY236" fmla="*/ 2145 h 10010"/>
                <a:gd name="connsiteX237" fmla="*/ 4540 w 10000"/>
                <a:gd name="connsiteY237" fmla="*/ 2141 h 10010"/>
                <a:gd name="connsiteX238" fmla="*/ 4443 w 10000"/>
                <a:gd name="connsiteY238" fmla="*/ 2163 h 10010"/>
                <a:gd name="connsiteX239" fmla="*/ 4178 w 10000"/>
                <a:gd name="connsiteY239" fmla="*/ 2803 h 10010"/>
                <a:gd name="connsiteX240" fmla="*/ 3565 w 10000"/>
                <a:gd name="connsiteY240" fmla="*/ 3176 h 10010"/>
                <a:gd name="connsiteX241" fmla="*/ 3569 w 10000"/>
                <a:gd name="connsiteY241" fmla="*/ 3235 h 10010"/>
                <a:gd name="connsiteX242" fmla="*/ 3841 w 10000"/>
                <a:gd name="connsiteY242" fmla="*/ 3402 h 10010"/>
                <a:gd name="connsiteX243" fmla="*/ 3753 w 10000"/>
                <a:gd name="connsiteY243" fmla="*/ 3583 h 10010"/>
                <a:gd name="connsiteX244" fmla="*/ 3594 w 10000"/>
                <a:gd name="connsiteY244" fmla="*/ 3650 h 10010"/>
                <a:gd name="connsiteX245" fmla="*/ 3118 w 10000"/>
                <a:gd name="connsiteY245" fmla="*/ 3605 h 10010"/>
                <a:gd name="connsiteX246" fmla="*/ 2791 w 10000"/>
                <a:gd name="connsiteY246" fmla="*/ 3630 h 10010"/>
                <a:gd name="connsiteX247" fmla="*/ 2528 w 10000"/>
                <a:gd name="connsiteY247" fmla="*/ 3683 h 10010"/>
                <a:gd name="connsiteX248" fmla="*/ 2102 w 10000"/>
                <a:gd name="connsiteY248" fmla="*/ 3850 h 10010"/>
                <a:gd name="connsiteX249" fmla="*/ 1877 w 10000"/>
                <a:gd name="connsiteY249" fmla="*/ 4052 h 10010"/>
                <a:gd name="connsiteX250" fmla="*/ 1896 w 10000"/>
                <a:gd name="connsiteY250" fmla="*/ 4164 h 10010"/>
                <a:gd name="connsiteX251" fmla="*/ 1975 w 10000"/>
                <a:gd name="connsiteY251" fmla="*/ 4251 h 10010"/>
                <a:gd name="connsiteX252" fmla="*/ 2034 w 10000"/>
                <a:gd name="connsiteY252" fmla="*/ 4286 h 10010"/>
                <a:gd name="connsiteX253" fmla="*/ 1924 w 10000"/>
                <a:gd name="connsiteY253" fmla="*/ 4341 h 10010"/>
                <a:gd name="connsiteX254" fmla="*/ 1683 w 10000"/>
                <a:gd name="connsiteY254" fmla="*/ 4720 h 10010"/>
                <a:gd name="connsiteX255" fmla="*/ 1729 w 10000"/>
                <a:gd name="connsiteY255" fmla="*/ 4742 h 10010"/>
                <a:gd name="connsiteX256" fmla="*/ 1764 w 10000"/>
                <a:gd name="connsiteY256" fmla="*/ 4838 h 10010"/>
                <a:gd name="connsiteX257" fmla="*/ 1652 w 10000"/>
                <a:gd name="connsiteY257" fmla="*/ 5237 h 10010"/>
                <a:gd name="connsiteX258" fmla="*/ 1764 w 10000"/>
                <a:gd name="connsiteY258" fmla="*/ 5339 h 10010"/>
                <a:gd name="connsiteX259" fmla="*/ 2071 w 10000"/>
                <a:gd name="connsiteY259" fmla="*/ 5451 h 10010"/>
                <a:gd name="connsiteX260" fmla="*/ 2085 w 10000"/>
                <a:gd name="connsiteY260" fmla="*/ 5588 h 10010"/>
                <a:gd name="connsiteX261" fmla="*/ 1954 w 10000"/>
                <a:gd name="connsiteY261" fmla="*/ 5700 h 10010"/>
                <a:gd name="connsiteX262" fmla="*/ 1764 w 10000"/>
                <a:gd name="connsiteY262" fmla="*/ 5769 h 10010"/>
                <a:gd name="connsiteX263" fmla="*/ 1513 w 10000"/>
                <a:gd name="connsiteY263" fmla="*/ 5797 h 10010"/>
                <a:gd name="connsiteX264" fmla="*/ 1448 w 10000"/>
                <a:gd name="connsiteY264" fmla="*/ 5836 h 10010"/>
                <a:gd name="connsiteX265" fmla="*/ 1594 w 10000"/>
                <a:gd name="connsiteY265" fmla="*/ 5930 h 10010"/>
                <a:gd name="connsiteX266" fmla="*/ 1678 w 10000"/>
                <a:gd name="connsiteY266" fmla="*/ 6152 h 10010"/>
                <a:gd name="connsiteX267" fmla="*/ 1488 w 10000"/>
                <a:gd name="connsiteY267" fmla="*/ 6343 h 10010"/>
                <a:gd name="connsiteX268" fmla="*/ 1554 w 10000"/>
                <a:gd name="connsiteY268" fmla="*/ 6402 h 10010"/>
                <a:gd name="connsiteX269" fmla="*/ 1494 w 10000"/>
                <a:gd name="connsiteY269" fmla="*/ 6502 h 10010"/>
                <a:gd name="connsiteX270" fmla="*/ 1372 w 10000"/>
                <a:gd name="connsiteY270" fmla="*/ 6571 h 10010"/>
                <a:gd name="connsiteX271" fmla="*/ 889 w 10000"/>
                <a:gd name="connsiteY271" fmla="*/ 6624 h 10010"/>
                <a:gd name="connsiteX272" fmla="*/ 860 w 10000"/>
                <a:gd name="connsiteY272" fmla="*/ 6716 h 10010"/>
                <a:gd name="connsiteX273" fmla="*/ 600 w 10000"/>
                <a:gd name="connsiteY273" fmla="*/ 6853 h 10010"/>
                <a:gd name="connsiteX274" fmla="*/ 634 w 10000"/>
                <a:gd name="connsiteY274" fmla="*/ 7050 h 10010"/>
                <a:gd name="connsiteX275" fmla="*/ 415 w 10000"/>
                <a:gd name="connsiteY275" fmla="*/ 7303 h 10010"/>
                <a:gd name="connsiteX276" fmla="*/ 266 w 10000"/>
                <a:gd name="connsiteY276" fmla="*/ 7333 h 10010"/>
                <a:gd name="connsiteX277" fmla="*/ 204 w 10000"/>
                <a:gd name="connsiteY277" fmla="*/ 7272 h 10010"/>
                <a:gd name="connsiteX278" fmla="*/ 128 w 10000"/>
                <a:gd name="connsiteY278" fmla="*/ 7364 h 10010"/>
                <a:gd name="connsiteX279" fmla="*/ 178 w 10000"/>
                <a:gd name="connsiteY279" fmla="*/ 7207 h 10010"/>
                <a:gd name="connsiteX280" fmla="*/ 147 w 10000"/>
                <a:gd name="connsiteY280" fmla="*/ 7176 h 10010"/>
                <a:gd name="connsiteX0" fmla="*/ 147 w 10000"/>
                <a:gd name="connsiteY0" fmla="*/ 7176 h 10010"/>
                <a:gd name="connsiteX1" fmla="*/ 0 w 10000"/>
                <a:gd name="connsiteY1" fmla="*/ 7258 h 10010"/>
                <a:gd name="connsiteX2" fmla="*/ 0 w 10000"/>
                <a:gd name="connsiteY2" fmla="*/ 7661 h 10010"/>
                <a:gd name="connsiteX3" fmla="*/ 81 w 10000"/>
                <a:gd name="connsiteY3" fmla="*/ 7673 h 10010"/>
                <a:gd name="connsiteX4" fmla="*/ 100 w 10000"/>
                <a:gd name="connsiteY4" fmla="*/ 7704 h 10010"/>
                <a:gd name="connsiteX5" fmla="*/ 96 w 10000"/>
                <a:gd name="connsiteY5" fmla="*/ 7759 h 10010"/>
                <a:gd name="connsiteX6" fmla="*/ 66 w 10000"/>
                <a:gd name="connsiteY6" fmla="*/ 7783 h 10010"/>
                <a:gd name="connsiteX7" fmla="*/ 190 w 10000"/>
                <a:gd name="connsiteY7" fmla="*/ 7737 h 10010"/>
                <a:gd name="connsiteX8" fmla="*/ 242 w 10000"/>
                <a:gd name="connsiteY8" fmla="*/ 7690 h 10010"/>
                <a:gd name="connsiteX9" fmla="*/ 306 w 10000"/>
                <a:gd name="connsiteY9" fmla="*/ 7722 h 10010"/>
                <a:gd name="connsiteX10" fmla="*/ 235 w 10000"/>
                <a:gd name="connsiteY10" fmla="*/ 7788 h 10010"/>
                <a:gd name="connsiteX11" fmla="*/ 311 w 10000"/>
                <a:gd name="connsiteY11" fmla="*/ 7790 h 10010"/>
                <a:gd name="connsiteX12" fmla="*/ 348 w 10000"/>
                <a:gd name="connsiteY12" fmla="*/ 7806 h 10010"/>
                <a:gd name="connsiteX13" fmla="*/ 250 w 10000"/>
                <a:gd name="connsiteY13" fmla="*/ 7828 h 10010"/>
                <a:gd name="connsiteX14" fmla="*/ 96 w 10000"/>
                <a:gd name="connsiteY14" fmla="*/ 7896 h 10010"/>
                <a:gd name="connsiteX15" fmla="*/ 370 w 10000"/>
                <a:gd name="connsiteY15" fmla="*/ 7948 h 10010"/>
                <a:gd name="connsiteX16" fmla="*/ 404 w 10000"/>
                <a:gd name="connsiteY16" fmla="*/ 8024 h 10010"/>
                <a:gd name="connsiteX17" fmla="*/ 311 w 10000"/>
                <a:gd name="connsiteY17" fmla="*/ 8136 h 10010"/>
                <a:gd name="connsiteX18" fmla="*/ 511 w 10000"/>
                <a:gd name="connsiteY18" fmla="*/ 8128 h 10010"/>
                <a:gd name="connsiteX19" fmla="*/ 526 w 10000"/>
                <a:gd name="connsiteY19" fmla="*/ 8213 h 10010"/>
                <a:gd name="connsiteX20" fmla="*/ 393 w 10000"/>
                <a:gd name="connsiteY20" fmla="*/ 8270 h 10010"/>
                <a:gd name="connsiteX21" fmla="*/ 415 w 10000"/>
                <a:gd name="connsiteY21" fmla="*/ 8380 h 10010"/>
                <a:gd name="connsiteX22" fmla="*/ 364 w 10000"/>
                <a:gd name="connsiteY22" fmla="*/ 8466 h 10010"/>
                <a:gd name="connsiteX23" fmla="*/ 521 w 10000"/>
                <a:gd name="connsiteY23" fmla="*/ 8474 h 10010"/>
                <a:gd name="connsiteX24" fmla="*/ 676 w 10000"/>
                <a:gd name="connsiteY24" fmla="*/ 8802 h 10010"/>
                <a:gd name="connsiteX25" fmla="*/ 853 w 10000"/>
                <a:gd name="connsiteY25" fmla="*/ 8886 h 10010"/>
                <a:gd name="connsiteX26" fmla="*/ 931 w 10000"/>
                <a:gd name="connsiteY26" fmla="*/ 8975 h 10010"/>
                <a:gd name="connsiteX27" fmla="*/ 1125 w 10000"/>
                <a:gd name="connsiteY27" fmla="*/ 9040 h 10010"/>
                <a:gd name="connsiteX28" fmla="*/ 1249 w 10000"/>
                <a:gd name="connsiteY28" fmla="*/ 9122 h 10010"/>
                <a:gd name="connsiteX29" fmla="*/ 1233 w 10000"/>
                <a:gd name="connsiteY29" fmla="*/ 9181 h 10010"/>
                <a:gd name="connsiteX30" fmla="*/ 1110 w 10000"/>
                <a:gd name="connsiteY30" fmla="*/ 9203 h 10010"/>
                <a:gd name="connsiteX31" fmla="*/ 976 w 10000"/>
                <a:gd name="connsiteY31" fmla="*/ 9189 h 10010"/>
                <a:gd name="connsiteX32" fmla="*/ 935 w 10000"/>
                <a:gd name="connsiteY32" fmla="*/ 9214 h 10010"/>
                <a:gd name="connsiteX33" fmla="*/ 1037 w 10000"/>
                <a:gd name="connsiteY33" fmla="*/ 9342 h 10010"/>
                <a:gd name="connsiteX34" fmla="*/ 894 w 10000"/>
                <a:gd name="connsiteY34" fmla="*/ 9332 h 10010"/>
                <a:gd name="connsiteX35" fmla="*/ 773 w 10000"/>
                <a:gd name="connsiteY35" fmla="*/ 9301 h 10010"/>
                <a:gd name="connsiteX36" fmla="*/ 750 w 10000"/>
                <a:gd name="connsiteY36" fmla="*/ 9348 h 10010"/>
                <a:gd name="connsiteX37" fmla="*/ 1155 w 10000"/>
                <a:gd name="connsiteY37" fmla="*/ 9786 h 10010"/>
                <a:gd name="connsiteX38" fmla="*/ 1091 w 10000"/>
                <a:gd name="connsiteY38" fmla="*/ 9827 h 10010"/>
                <a:gd name="connsiteX39" fmla="*/ 1045 w 10000"/>
                <a:gd name="connsiteY39" fmla="*/ 9912 h 10010"/>
                <a:gd name="connsiteX40" fmla="*/ 987 w 10000"/>
                <a:gd name="connsiteY40" fmla="*/ 9918 h 10010"/>
                <a:gd name="connsiteX41" fmla="*/ 951 w 10000"/>
                <a:gd name="connsiteY41" fmla="*/ 9955 h 10010"/>
                <a:gd name="connsiteX42" fmla="*/ 1195 w 10000"/>
                <a:gd name="connsiteY42" fmla="*/ 9959 h 10010"/>
                <a:gd name="connsiteX43" fmla="*/ 1410 w 10000"/>
                <a:gd name="connsiteY43" fmla="*/ 9996 h 10010"/>
                <a:gd name="connsiteX44" fmla="*/ 1769 w 10000"/>
                <a:gd name="connsiteY44" fmla="*/ 9957 h 10010"/>
                <a:gd name="connsiteX45" fmla="*/ 2091 w 10000"/>
                <a:gd name="connsiteY45" fmla="*/ 9963 h 10010"/>
                <a:gd name="connsiteX46" fmla="*/ 2280 w 10000"/>
                <a:gd name="connsiteY46" fmla="*/ 10010 h 10010"/>
                <a:gd name="connsiteX47" fmla="*/ 2385 w 10000"/>
                <a:gd name="connsiteY47" fmla="*/ 9979 h 10010"/>
                <a:gd name="connsiteX48" fmla="*/ 2485 w 10000"/>
                <a:gd name="connsiteY48" fmla="*/ 9878 h 10010"/>
                <a:gd name="connsiteX49" fmla="*/ 2459 w 10000"/>
                <a:gd name="connsiteY49" fmla="*/ 9713 h 10010"/>
                <a:gd name="connsiteX50" fmla="*/ 2704 w 10000"/>
                <a:gd name="connsiteY50" fmla="*/ 9527 h 10010"/>
                <a:gd name="connsiteX51" fmla="*/ 2883 w 10000"/>
                <a:gd name="connsiteY51" fmla="*/ 9556 h 10010"/>
                <a:gd name="connsiteX52" fmla="*/ 2987 w 10000"/>
                <a:gd name="connsiteY52" fmla="*/ 9482 h 10010"/>
                <a:gd name="connsiteX53" fmla="*/ 3186 w 10000"/>
                <a:gd name="connsiteY53" fmla="*/ 9440 h 10010"/>
                <a:gd name="connsiteX54" fmla="*/ 3457 w 10000"/>
                <a:gd name="connsiteY54" fmla="*/ 9450 h 10010"/>
                <a:gd name="connsiteX55" fmla="*/ 3620 w 10000"/>
                <a:gd name="connsiteY55" fmla="*/ 9480 h 10010"/>
                <a:gd name="connsiteX56" fmla="*/ 3837 w 10000"/>
                <a:gd name="connsiteY56" fmla="*/ 9466 h 10010"/>
                <a:gd name="connsiteX57" fmla="*/ 4056 w 10000"/>
                <a:gd name="connsiteY57" fmla="*/ 9499 h 10010"/>
                <a:gd name="connsiteX58" fmla="*/ 4275 w 10000"/>
                <a:gd name="connsiteY58" fmla="*/ 9503 h 10010"/>
                <a:gd name="connsiteX59" fmla="*/ 4765 w 10000"/>
                <a:gd name="connsiteY59" fmla="*/ 9071 h 10010"/>
                <a:gd name="connsiteX60" fmla="*/ 4889 w 10000"/>
                <a:gd name="connsiteY60" fmla="*/ 8721 h 10010"/>
                <a:gd name="connsiteX61" fmla="*/ 5088 w 10000"/>
                <a:gd name="connsiteY61" fmla="*/ 8564 h 10010"/>
                <a:gd name="connsiteX62" fmla="*/ 5088 w 10000"/>
                <a:gd name="connsiteY62" fmla="*/ 8482 h 10010"/>
                <a:gd name="connsiteX63" fmla="*/ 5016 w 10000"/>
                <a:gd name="connsiteY63" fmla="*/ 8435 h 10010"/>
                <a:gd name="connsiteX64" fmla="*/ 5133 w 10000"/>
                <a:gd name="connsiteY64" fmla="*/ 8362 h 10010"/>
                <a:gd name="connsiteX65" fmla="*/ 5112 w 10000"/>
                <a:gd name="connsiteY65" fmla="*/ 8299 h 10010"/>
                <a:gd name="connsiteX66" fmla="*/ 5032 w 10000"/>
                <a:gd name="connsiteY66" fmla="*/ 8246 h 10010"/>
                <a:gd name="connsiteX67" fmla="*/ 5016 w 10000"/>
                <a:gd name="connsiteY67" fmla="*/ 8209 h 10010"/>
                <a:gd name="connsiteX68" fmla="*/ 5036 w 10000"/>
                <a:gd name="connsiteY68" fmla="*/ 8179 h 10010"/>
                <a:gd name="connsiteX69" fmla="*/ 5144 w 10000"/>
                <a:gd name="connsiteY69" fmla="*/ 8203 h 10010"/>
                <a:gd name="connsiteX70" fmla="*/ 5230 w 10000"/>
                <a:gd name="connsiteY70" fmla="*/ 8201 h 10010"/>
                <a:gd name="connsiteX71" fmla="*/ 5184 w 10000"/>
                <a:gd name="connsiteY71" fmla="*/ 8150 h 10010"/>
                <a:gd name="connsiteX72" fmla="*/ 5198 w 10000"/>
                <a:gd name="connsiteY72" fmla="*/ 8122 h 10010"/>
                <a:gd name="connsiteX73" fmla="*/ 5262 w 10000"/>
                <a:gd name="connsiteY73" fmla="*/ 8079 h 10010"/>
                <a:gd name="connsiteX74" fmla="*/ 5250 w 10000"/>
                <a:gd name="connsiteY74" fmla="*/ 8044 h 10010"/>
                <a:gd name="connsiteX75" fmla="*/ 5309 w 10000"/>
                <a:gd name="connsiteY75" fmla="*/ 7926 h 10010"/>
                <a:gd name="connsiteX76" fmla="*/ 5293 w 10000"/>
                <a:gd name="connsiteY76" fmla="*/ 7891 h 10010"/>
                <a:gd name="connsiteX77" fmla="*/ 4996 w 10000"/>
                <a:gd name="connsiteY77" fmla="*/ 7802 h 10010"/>
                <a:gd name="connsiteX78" fmla="*/ 5036 w 10000"/>
                <a:gd name="connsiteY78" fmla="*/ 7798 h 10010"/>
                <a:gd name="connsiteX79" fmla="*/ 5194 w 10000"/>
                <a:gd name="connsiteY79" fmla="*/ 7822 h 10010"/>
                <a:gd name="connsiteX80" fmla="*/ 5365 w 10000"/>
                <a:gd name="connsiteY80" fmla="*/ 7814 h 10010"/>
                <a:gd name="connsiteX81" fmla="*/ 5415 w 10000"/>
                <a:gd name="connsiteY81" fmla="*/ 7781 h 10010"/>
                <a:gd name="connsiteX82" fmla="*/ 5250 w 10000"/>
                <a:gd name="connsiteY82" fmla="*/ 7720 h 10010"/>
                <a:gd name="connsiteX83" fmla="*/ 4761 w 10000"/>
                <a:gd name="connsiteY83" fmla="*/ 7680 h 10010"/>
                <a:gd name="connsiteX84" fmla="*/ 4794 w 10000"/>
                <a:gd name="connsiteY84" fmla="*/ 7661 h 10010"/>
                <a:gd name="connsiteX85" fmla="*/ 5194 w 10000"/>
                <a:gd name="connsiteY85" fmla="*/ 7649 h 10010"/>
                <a:gd name="connsiteX86" fmla="*/ 5415 w 10000"/>
                <a:gd name="connsiteY86" fmla="*/ 7686 h 10010"/>
                <a:gd name="connsiteX87" fmla="*/ 5542 w 10000"/>
                <a:gd name="connsiteY87" fmla="*/ 7661 h 10010"/>
                <a:gd name="connsiteX88" fmla="*/ 5589 w 10000"/>
                <a:gd name="connsiteY88" fmla="*/ 7598 h 10010"/>
                <a:gd name="connsiteX89" fmla="*/ 5819 w 10000"/>
                <a:gd name="connsiteY89" fmla="*/ 7598 h 10010"/>
                <a:gd name="connsiteX90" fmla="*/ 6131 w 10000"/>
                <a:gd name="connsiteY90" fmla="*/ 7472 h 10010"/>
                <a:gd name="connsiteX91" fmla="*/ 6142 w 10000"/>
                <a:gd name="connsiteY91" fmla="*/ 7388 h 10010"/>
                <a:gd name="connsiteX92" fmla="*/ 6274 w 10000"/>
                <a:gd name="connsiteY92" fmla="*/ 7407 h 10010"/>
                <a:gd name="connsiteX93" fmla="*/ 6268 w 10000"/>
                <a:gd name="connsiteY93" fmla="*/ 7492 h 10010"/>
                <a:gd name="connsiteX94" fmla="*/ 6478 w 10000"/>
                <a:gd name="connsiteY94" fmla="*/ 7486 h 10010"/>
                <a:gd name="connsiteX95" fmla="*/ 6616 w 10000"/>
                <a:gd name="connsiteY95" fmla="*/ 7398 h 10010"/>
                <a:gd name="connsiteX96" fmla="*/ 6872 w 10000"/>
                <a:gd name="connsiteY96" fmla="*/ 7319 h 10010"/>
                <a:gd name="connsiteX97" fmla="*/ 6832 w 10000"/>
                <a:gd name="connsiteY97" fmla="*/ 7229 h 10010"/>
                <a:gd name="connsiteX98" fmla="*/ 6908 w 10000"/>
                <a:gd name="connsiteY98" fmla="*/ 7264 h 10010"/>
                <a:gd name="connsiteX99" fmla="*/ 7025 w 10000"/>
                <a:gd name="connsiteY99" fmla="*/ 7264 h 10010"/>
                <a:gd name="connsiteX100" fmla="*/ 7025 w 10000"/>
                <a:gd name="connsiteY100" fmla="*/ 7223 h 10010"/>
                <a:gd name="connsiteX101" fmla="*/ 7134 w 10000"/>
                <a:gd name="connsiteY101" fmla="*/ 7191 h 10010"/>
                <a:gd name="connsiteX102" fmla="*/ 7119 w 10000"/>
                <a:gd name="connsiteY102" fmla="*/ 7158 h 10010"/>
                <a:gd name="connsiteX103" fmla="*/ 6198 w 10000"/>
                <a:gd name="connsiteY103" fmla="*/ 7225 h 10010"/>
                <a:gd name="connsiteX104" fmla="*/ 5983 w 10000"/>
                <a:gd name="connsiteY104" fmla="*/ 7205 h 10010"/>
                <a:gd name="connsiteX105" fmla="*/ 5895 w 10000"/>
                <a:gd name="connsiteY105" fmla="*/ 7229 h 10010"/>
                <a:gd name="connsiteX106" fmla="*/ 5866 w 10000"/>
                <a:gd name="connsiteY106" fmla="*/ 7183 h 10010"/>
                <a:gd name="connsiteX107" fmla="*/ 5764 w 10000"/>
                <a:gd name="connsiteY107" fmla="*/ 7142 h 10010"/>
                <a:gd name="connsiteX108" fmla="*/ 5354 w 10000"/>
                <a:gd name="connsiteY108" fmla="*/ 7062 h 10010"/>
                <a:gd name="connsiteX109" fmla="*/ 5112 w 10000"/>
                <a:gd name="connsiteY109" fmla="*/ 7075 h 10010"/>
                <a:gd name="connsiteX110" fmla="*/ 5016 w 10000"/>
                <a:gd name="connsiteY110" fmla="*/ 7052 h 10010"/>
                <a:gd name="connsiteX111" fmla="*/ 5118 w 10000"/>
                <a:gd name="connsiteY111" fmla="*/ 7032 h 10010"/>
                <a:gd name="connsiteX112" fmla="*/ 5194 w 10000"/>
                <a:gd name="connsiteY112" fmla="*/ 6989 h 10010"/>
                <a:gd name="connsiteX113" fmla="*/ 5309 w 10000"/>
                <a:gd name="connsiteY113" fmla="*/ 7003 h 10010"/>
                <a:gd name="connsiteX114" fmla="*/ 5445 w 10000"/>
                <a:gd name="connsiteY114" fmla="*/ 6991 h 10010"/>
                <a:gd name="connsiteX115" fmla="*/ 5650 w 10000"/>
                <a:gd name="connsiteY115" fmla="*/ 7005 h 10010"/>
                <a:gd name="connsiteX116" fmla="*/ 5675 w 10000"/>
                <a:gd name="connsiteY116" fmla="*/ 6999 h 10010"/>
                <a:gd name="connsiteX117" fmla="*/ 5834 w 10000"/>
                <a:gd name="connsiteY117" fmla="*/ 7066 h 10010"/>
                <a:gd name="connsiteX118" fmla="*/ 5951 w 10000"/>
                <a:gd name="connsiteY118" fmla="*/ 7042 h 10010"/>
                <a:gd name="connsiteX119" fmla="*/ 5961 w 10000"/>
                <a:gd name="connsiteY119" fmla="*/ 7020 h 10010"/>
                <a:gd name="connsiteX120" fmla="*/ 6069 w 10000"/>
                <a:gd name="connsiteY120" fmla="*/ 7058 h 10010"/>
                <a:gd name="connsiteX121" fmla="*/ 6212 w 10000"/>
                <a:gd name="connsiteY121" fmla="*/ 7079 h 10010"/>
                <a:gd name="connsiteX122" fmla="*/ 6268 w 10000"/>
                <a:gd name="connsiteY122" fmla="*/ 7040 h 10010"/>
                <a:gd name="connsiteX123" fmla="*/ 6314 w 10000"/>
                <a:gd name="connsiteY123" fmla="*/ 7062 h 10010"/>
                <a:gd name="connsiteX124" fmla="*/ 6381 w 10000"/>
                <a:gd name="connsiteY124" fmla="*/ 7136 h 10010"/>
                <a:gd name="connsiteX125" fmla="*/ 6519 w 10000"/>
                <a:gd name="connsiteY125" fmla="*/ 7154 h 10010"/>
                <a:gd name="connsiteX126" fmla="*/ 7082 w 10000"/>
                <a:gd name="connsiteY126" fmla="*/ 7044 h 10010"/>
                <a:gd name="connsiteX127" fmla="*/ 7359 w 10000"/>
                <a:gd name="connsiteY127" fmla="*/ 6889 h 10010"/>
                <a:gd name="connsiteX128" fmla="*/ 7423 w 10000"/>
                <a:gd name="connsiteY128" fmla="*/ 6775 h 10010"/>
                <a:gd name="connsiteX129" fmla="*/ 7323 w 10000"/>
                <a:gd name="connsiteY129" fmla="*/ 6673 h 10010"/>
                <a:gd name="connsiteX130" fmla="*/ 7113 w 10000"/>
                <a:gd name="connsiteY130" fmla="*/ 6612 h 10010"/>
                <a:gd name="connsiteX131" fmla="*/ 6963 w 10000"/>
                <a:gd name="connsiteY131" fmla="*/ 6512 h 10010"/>
                <a:gd name="connsiteX132" fmla="*/ 7102 w 10000"/>
                <a:gd name="connsiteY132" fmla="*/ 6508 h 10010"/>
                <a:gd name="connsiteX133" fmla="*/ 7093 w 10000"/>
                <a:gd name="connsiteY133" fmla="*/ 6484 h 10010"/>
                <a:gd name="connsiteX134" fmla="*/ 6731 w 10000"/>
                <a:gd name="connsiteY134" fmla="*/ 6413 h 10010"/>
                <a:gd name="connsiteX135" fmla="*/ 6716 w 10000"/>
                <a:gd name="connsiteY135" fmla="*/ 6349 h 10010"/>
                <a:gd name="connsiteX136" fmla="*/ 6646 w 10000"/>
                <a:gd name="connsiteY136" fmla="*/ 6282 h 10010"/>
                <a:gd name="connsiteX137" fmla="*/ 6360 w 10000"/>
                <a:gd name="connsiteY137" fmla="*/ 6294 h 10010"/>
                <a:gd name="connsiteX138" fmla="*/ 6258 w 10000"/>
                <a:gd name="connsiteY138" fmla="*/ 6223 h 10010"/>
                <a:gd name="connsiteX139" fmla="*/ 6198 w 10000"/>
                <a:gd name="connsiteY139" fmla="*/ 6219 h 10010"/>
                <a:gd name="connsiteX140" fmla="*/ 6198 w 10000"/>
                <a:gd name="connsiteY140" fmla="*/ 6248 h 10010"/>
                <a:gd name="connsiteX141" fmla="*/ 6069 w 10000"/>
                <a:gd name="connsiteY141" fmla="*/ 6368 h 10010"/>
                <a:gd name="connsiteX142" fmla="*/ 5930 w 10000"/>
                <a:gd name="connsiteY142" fmla="*/ 6439 h 10010"/>
                <a:gd name="connsiteX143" fmla="*/ 5495 w 10000"/>
                <a:gd name="connsiteY143" fmla="*/ 6561 h 10010"/>
                <a:gd name="connsiteX144" fmla="*/ 5342 w 10000"/>
                <a:gd name="connsiteY144" fmla="*/ 6557 h 10010"/>
                <a:gd name="connsiteX145" fmla="*/ 5133 w 10000"/>
                <a:gd name="connsiteY145" fmla="*/ 6575 h 10010"/>
                <a:gd name="connsiteX146" fmla="*/ 5016 w 10000"/>
                <a:gd name="connsiteY146" fmla="*/ 6557 h 10010"/>
                <a:gd name="connsiteX147" fmla="*/ 5169 w 10000"/>
                <a:gd name="connsiteY147" fmla="*/ 6523 h 10010"/>
                <a:gd name="connsiteX148" fmla="*/ 5369 w 10000"/>
                <a:gd name="connsiteY148" fmla="*/ 6508 h 10010"/>
                <a:gd name="connsiteX149" fmla="*/ 5534 w 10000"/>
                <a:gd name="connsiteY149" fmla="*/ 6451 h 10010"/>
                <a:gd name="connsiteX150" fmla="*/ 5695 w 10000"/>
                <a:gd name="connsiteY150" fmla="*/ 6425 h 10010"/>
                <a:gd name="connsiteX151" fmla="*/ 5998 w 10000"/>
                <a:gd name="connsiteY151" fmla="*/ 6327 h 10010"/>
                <a:gd name="connsiteX152" fmla="*/ 6056 w 10000"/>
                <a:gd name="connsiteY152" fmla="*/ 6262 h 10010"/>
                <a:gd name="connsiteX153" fmla="*/ 6060 w 10000"/>
                <a:gd name="connsiteY153" fmla="*/ 6178 h 10010"/>
                <a:gd name="connsiteX154" fmla="*/ 5921 w 10000"/>
                <a:gd name="connsiteY154" fmla="*/ 6164 h 10010"/>
                <a:gd name="connsiteX155" fmla="*/ 5983 w 10000"/>
                <a:gd name="connsiteY155" fmla="*/ 6113 h 10010"/>
                <a:gd name="connsiteX156" fmla="*/ 6002 w 10000"/>
                <a:gd name="connsiteY156" fmla="*/ 6048 h 10010"/>
                <a:gd name="connsiteX157" fmla="*/ 5944 w 10000"/>
                <a:gd name="connsiteY157" fmla="*/ 5987 h 10010"/>
                <a:gd name="connsiteX158" fmla="*/ 5911 w 10000"/>
                <a:gd name="connsiteY158" fmla="*/ 5543 h 10010"/>
                <a:gd name="connsiteX159" fmla="*/ 5993 w 10000"/>
                <a:gd name="connsiteY159" fmla="*/ 5447 h 10010"/>
                <a:gd name="connsiteX160" fmla="*/ 5972 w 10000"/>
                <a:gd name="connsiteY160" fmla="*/ 5408 h 10010"/>
                <a:gd name="connsiteX161" fmla="*/ 6212 w 10000"/>
                <a:gd name="connsiteY161" fmla="*/ 5465 h 10010"/>
                <a:gd name="connsiteX162" fmla="*/ 6229 w 10000"/>
                <a:gd name="connsiteY162" fmla="*/ 5412 h 10010"/>
                <a:gd name="connsiteX163" fmla="*/ 6176 w 10000"/>
                <a:gd name="connsiteY163" fmla="*/ 5274 h 10010"/>
                <a:gd name="connsiteX164" fmla="*/ 6349 w 10000"/>
                <a:gd name="connsiteY164" fmla="*/ 5029 h 10010"/>
                <a:gd name="connsiteX165" fmla="*/ 6243 w 10000"/>
                <a:gd name="connsiteY165" fmla="*/ 4970 h 10010"/>
                <a:gd name="connsiteX166" fmla="*/ 6202 w 10000"/>
                <a:gd name="connsiteY166" fmla="*/ 4915 h 10010"/>
                <a:gd name="connsiteX167" fmla="*/ 6216 w 10000"/>
                <a:gd name="connsiteY167" fmla="*/ 4826 h 10010"/>
                <a:gd name="connsiteX168" fmla="*/ 6470 w 10000"/>
                <a:gd name="connsiteY168" fmla="*/ 4885 h 10010"/>
                <a:gd name="connsiteX169" fmla="*/ 6478 w 10000"/>
                <a:gd name="connsiteY169" fmla="*/ 4868 h 10010"/>
                <a:gd name="connsiteX170" fmla="*/ 6548 w 10000"/>
                <a:gd name="connsiteY170" fmla="*/ 4852 h 10010"/>
                <a:gd name="connsiteX171" fmla="*/ 6646 w 10000"/>
                <a:gd name="connsiteY171" fmla="*/ 4795 h 10010"/>
                <a:gd name="connsiteX172" fmla="*/ 6662 w 10000"/>
                <a:gd name="connsiteY172" fmla="*/ 4779 h 10010"/>
                <a:gd name="connsiteX173" fmla="*/ 6641 w 10000"/>
                <a:gd name="connsiteY173" fmla="*/ 4758 h 10010"/>
                <a:gd name="connsiteX174" fmla="*/ 6693 w 10000"/>
                <a:gd name="connsiteY174" fmla="*/ 4657 h 10010"/>
                <a:gd name="connsiteX175" fmla="*/ 6631 w 10000"/>
                <a:gd name="connsiteY175" fmla="*/ 4591 h 10010"/>
                <a:gd name="connsiteX176" fmla="*/ 6641 w 10000"/>
                <a:gd name="connsiteY176" fmla="*/ 4538 h 10010"/>
                <a:gd name="connsiteX177" fmla="*/ 6676 w 10000"/>
                <a:gd name="connsiteY177" fmla="*/ 4600 h 10010"/>
                <a:gd name="connsiteX178" fmla="*/ 6815 w 10000"/>
                <a:gd name="connsiteY178" fmla="*/ 4646 h 10010"/>
                <a:gd name="connsiteX179" fmla="*/ 6872 w 10000"/>
                <a:gd name="connsiteY179" fmla="*/ 4640 h 10010"/>
                <a:gd name="connsiteX180" fmla="*/ 6963 w 10000"/>
                <a:gd name="connsiteY180" fmla="*/ 4579 h 10010"/>
                <a:gd name="connsiteX181" fmla="*/ 7062 w 10000"/>
                <a:gd name="connsiteY181" fmla="*/ 4604 h 10010"/>
                <a:gd name="connsiteX182" fmla="*/ 7088 w 10000"/>
                <a:gd name="connsiteY182" fmla="*/ 4555 h 10010"/>
                <a:gd name="connsiteX183" fmla="*/ 7154 w 10000"/>
                <a:gd name="connsiteY183" fmla="*/ 4522 h 10010"/>
                <a:gd name="connsiteX184" fmla="*/ 6974 w 10000"/>
                <a:gd name="connsiteY184" fmla="*/ 4487 h 10010"/>
                <a:gd name="connsiteX185" fmla="*/ 7102 w 10000"/>
                <a:gd name="connsiteY185" fmla="*/ 4494 h 10010"/>
                <a:gd name="connsiteX186" fmla="*/ 7234 w 10000"/>
                <a:gd name="connsiteY186" fmla="*/ 4457 h 10010"/>
                <a:gd name="connsiteX187" fmla="*/ 7229 w 10000"/>
                <a:gd name="connsiteY187" fmla="*/ 4432 h 10010"/>
                <a:gd name="connsiteX188" fmla="*/ 7353 w 10000"/>
                <a:gd name="connsiteY188" fmla="*/ 4408 h 10010"/>
                <a:gd name="connsiteX189" fmla="*/ 7364 w 10000"/>
                <a:gd name="connsiteY189" fmla="*/ 4347 h 10010"/>
                <a:gd name="connsiteX190" fmla="*/ 7461 w 10000"/>
                <a:gd name="connsiteY190" fmla="*/ 4335 h 10010"/>
                <a:gd name="connsiteX191" fmla="*/ 7469 w 10000"/>
                <a:gd name="connsiteY191" fmla="*/ 4263 h 10010"/>
                <a:gd name="connsiteX192" fmla="*/ 7572 w 10000"/>
                <a:gd name="connsiteY192" fmla="*/ 4255 h 10010"/>
                <a:gd name="connsiteX193" fmla="*/ 7730 w 10000"/>
                <a:gd name="connsiteY193" fmla="*/ 4270 h 10010"/>
                <a:gd name="connsiteX194" fmla="*/ 7904 w 10000"/>
                <a:gd name="connsiteY194" fmla="*/ 4212 h 10010"/>
                <a:gd name="connsiteX195" fmla="*/ 7966 w 10000"/>
                <a:gd name="connsiteY195" fmla="*/ 4147 h 10010"/>
                <a:gd name="connsiteX196" fmla="*/ 8181 w 10000"/>
                <a:gd name="connsiteY196" fmla="*/ 4080 h 10010"/>
                <a:gd name="connsiteX197" fmla="*/ 8288 w 10000"/>
                <a:gd name="connsiteY197" fmla="*/ 4121 h 10010"/>
                <a:gd name="connsiteX198" fmla="*/ 8452 w 10000"/>
                <a:gd name="connsiteY198" fmla="*/ 4076 h 10010"/>
                <a:gd name="connsiteX199" fmla="*/ 8491 w 10000"/>
                <a:gd name="connsiteY199" fmla="*/ 4019 h 10010"/>
                <a:gd name="connsiteX200" fmla="*/ 8616 w 10000"/>
                <a:gd name="connsiteY200" fmla="*/ 3980 h 10010"/>
                <a:gd name="connsiteX201" fmla="*/ 8722 w 10000"/>
                <a:gd name="connsiteY201" fmla="*/ 3997 h 10010"/>
                <a:gd name="connsiteX202" fmla="*/ 8789 w 10000"/>
                <a:gd name="connsiteY202" fmla="*/ 3968 h 10010"/>
                <a:gd name="connsiteX203" fmla="*/ 8973 w 10000"/>
                <a:gd name="connsiteY203" fmla="*/ 3927 h 10010"/>
                <a:gd name="connsiteX204" fmla="*/ 9049 w 10000"/>
                <a:gd name="connsiteY204" fmla="*/ 3874 h 10010"/>
                <a:gd name="connsiteX205" fmla="*/ 9153 w 10000"/>
                <a:gd name="connsiteY205" fmla="*/ 3852 h 10010"/>
                <a:gd name="connsiteX206" fmla="*/ 9720 w 10000"/>
                <a:gd name="connsiteY206" fmla="*/ 3532 h 10010"/>
                <a:gd name="connsiteX207" fmla="*/ 9971 w 10000"/>
                <a:gd name="connsiteY207" fmla="*/ 399 h 10010"/>
                <a:gd name="connsiteX208" fmla="*/ 9049 w 10000"/>
                <a:gd name="connsiteY208" fmla="*/ 36 h 10010"/>
                <a:gd name="connsiteX209" fmla="*/ 8706 w 10000"/>
                <a:gd name="connsiteY209" fmla="*/ 10 h 10010"/>
                <a:gd name="connsiteX210" fmla="*/ 8652 w 10000"/>
                <a:gd name="connsiteY210" fmla="*/ 218 h 10010"/>
                <a:gd name="connsiteX211" fmla="*/ 8533 w 10000"/>
                <a:gd name="connsiteY211" fmla="*/ 346 h 10010"/>
                <a:gd name="connsiteX212" fmla="*/ 8550 w 10000"/>
                <a:gd name="connsiteY212" fmla="*/ 397 h 10010"/>
                <a:gd name="connsiteX213" fmla="*/ 8667 w 10000"/>
                <a:gd name="connsiteY213" fmla="*/ 444 h 10010"/>
                <a:gd name="connsiteX214" fmla="*/ 8591 w 10000"/>
                <a:gd name="connsiteY214" fmla="*/ 485 h 10010"/>
                <a:gd name="connsiteX215" fmla="*/ 8477 w 10000"/>
                <a:gd name="connsiteY215" fmla="*/ 495 h 10010"/>
                <a:gd name="connsiteX216" fmla="*/ 7537 w 10000"/>
                <a:gd name="connsiteY216" fmla="*/ 397 h 10010"/>
                <a:gd name="connsiteX217" fmla="*/ 7423 w 10000"/>
                <a:gd name="connsiteY217" fmla="*/ 405 h 10010"/>
                <a:gd name="connsiteX218" fmla="*/ 7359 w 10000"/>
                <a:gd name="connsiteY218" fmla="*/ 424 h 10010"/>
                <a:gd name="connsiteX219" fmla="*/ 7290 w 10000"/>
                <a:gd name="connsiteY219" fmla="*/ 472 h 10010"/>
                <a:gd name="connsiteX220" fmla="*/ 7302 w 10000"/>
                <a:gd name="connsiteY220" fmla="*/ 591 h 10010"/>
                <a:gd name="connsiteX221" fmla="*/ 7199 w 10000"/>
                <a:gd name="connsiteY221" fmla="*/ 745 h 10010"/>
                <a:gd name="connsiteX222" fmla="*/ 7072 w 10000"/>
                <a:gd name="connsiteY222" fmla="*/ 825 h 10010"/>
                <a:gd name="connsiteX223" fmla="*/ 7021 w 10000"/>
                <a:gd name="connsiteY223" fmla="*/ 815 h 10010"/>
                <a:gd name="connsiteX224" fmla="*/ 6903 w 10000"/>
                <a:gd name="connsiteY224" fmla="*/ 749 h 10010"/>
                <a:gd name="connsiteX225" fmla="*/ 6756 w 10000"/>
                <a:gd name="connsiteY225" fmla="*/ 715 h 10010"/>
                <a:gd name="connsiteX226" fmla="*/ 6594 w 10000"/>
                <a:gd name="connsiteY226" fmla="*/ 725 h 10010"/>
                <a:gd name="connsiteX227" fmla="*/ 6223 w 10000"/>
                <a:gd name="connsiteY227" fmla="*/ 876 h 10010"/>
                <a:gd name="connsiteX228" fmla="*/ 6125 w 10000"/>
                <a:gd name="connsiteY228" fmla="*/ 1027 h 10010"/>
                <a:gd name="connsiteX229" fmla="*/ 5845 w 10000"/>
                <a:gd name="connsiteY229" fmla="*/ 1163 h 10010"/>
                <a:gd name="connsiteX230" fmla="*/ 5794 w 10000"/>
                <a:gd name="connsiteY230" fmla="*/ 1232 h 10010"/>
                <a:gd name="connsiteX231" fmla="*/ 5940 w 10000"/>
                <a:gd name="connsiteY231" fmla="*/ 1354 h 10010"/>
                <a:gd name="connsiteX232" fmla="*/ 5956 w 10000"/>
                <a:gd name="connsiteY232" fmla="*/ 1422 h 10010"/>
                <a:gd name="connsiteX233" fmla="*/ 5190 w 10000"/>
                <a:gd name="connsiteY233" fmla="*/ 1823 h 10010"/>
                <a:gd name="connsiteX234" fmla="*/ 4955 w 10000"/>
                <a:gd name="connsiteY234" fmla="*/ 2080 h 10010"/>
                <a:gd name="connsiteX235" fmla="*/ 4702 w 10000"/>
                <a:gd name="connsiteY235" fmla="*/ 2145 h 10010"/>
                <a:gd name="connsiteX236" fmla="*/ 4540 w 10000"/>
                <a:gd name="connsiteY236" fmla="*/ 2141 h 10010"/>
                <a:gd name="connsiteX237" fmla="*/ 4443 w 10000"/>
                <a:gd name="connsiteY237" fmla="*/ 2163 h 10010"/>
                <a:gd name="connsiteX238" fmla="*/ 4178 w 10000"/>
                <a:gd name="connsiteY238" fmla="*/ 2803 h 10010"/>
                <a:gd name="connsiteX239" fmla="*/ 3565 w 10000"/>
                <a:gd name="connsiteY239" fmla="*/ 3176 h 10010"/>
                <a:gd name="connsiteX240" fmla="*/ 3569 w 10000"/>
                <a:gd name="connsiteY240" fmla="*/ 3235 h 10010"/>
                <a:gd name="connsiteX241" fmla="*/ 3841 w 10000"/>
                <a:gd name="connsiteY241" fmla="*/ 3402 h 10010"/>
                <a:gd name="connsiteX242" fmla="*/ 3753 w 10000"/>
                <a:gd name="connsiteY242" fmla="*/ 3583 h 10010"/>
                <a:gd name="connsiteX243" fmla="*/ 3594 w 10000"/>
                <a:gd name="connsiteY243" fmla="*/ 3650 h 10010"/>
                <a:gd name="connsiteX244" fmla="*/ 3118 w 10000"/>
                <a:gd name="connsiteY244" fmla="*/ 3605 h 10010"/>
                <a:gd name="connsiteX245" fmla="*/ 2791 w 10000"/>
                <a:gd name="connsiteY245" fmla="*/ 3630 h 10010"/>
                <a:gd name="connsiteX246" fmla="*/ 2528 w 10000"/>
                <a:gd name="connsiteY246" fmla="*/ 3683 h 10010"/>
                <a:gd name="connsiteX247" fmla="*/ 2102 w 10000"/>
                <a:gd name="connsiteY247" fmla="*/ 3850 h 10010"/>
                <a:gd name="connsiteX248" fmla="*/ 1877 w 10000"/>
                <a:gd name="connsiteY248" fmla="*/ 4052 h 10010"/>
                <a:gd name="connsiteX249" fmla="*/ 1896 w 10000"/>
                <a:gd name="connsiteY249" fmla="*/ 4164 h 10010"/>
                <a:gd name="connsiteX250" fmla="*/ 1975 w 10000"/>
                <a:gd name="connsiteY250" fmla="*/ 4251 h 10010"/>
                <a:gd name="connsiteX251" fmla="*/ 2034 w 10000"/>
                <a:gd name="connsiteY251" fmla="*/ 4286 h 10010"/>
                <a:gd name="connsiteX252" fmla="*/ 1924 w 10000"/>
                <a:gd name="connsiteY252" fmla="*/ 4341 h 10010"/>
                <a:gd name="connsiteX253" fmla="*/ 1683 w 10000"/>
                <a:gd name="connsiteY253" fmla="*/ 4720 h 10010"/>
                <a:gd name="connsiteX254" fmla="*/ 1729 w 10000"/>
                <a:gd name="connsiteY254" fmla="*/ 4742 h 10010"/>
                <a:gd name="connsiteX255" fmla="*/ 1764 w 10000"/>
                <a:gd name="connsiteY255" fmla="*/ 4838 h 10010"/>
                <a:gd name="connsiteX256" fmla="*/ 1652 w 10000"/>
                <a:gd name="connsiteY256" fmla="*/ 5237 h 10010"/>
                <a:gd name="connsiteX257" fmla="*/ 1764 w 10000"/>
                <a:gd name="connsiteY257" fmla="*/ 5339 h 10010"/>
                <a:gd name="connsiteX258" fmla="*/ 2071 w 10000"/>
                <a:gd name="connsiteY258" fmla="*/ 5451 h 10010"/>
                <a:gd name="connsiteX259" fmla="*/ 2085 w 10000"/>
                <a:gd name="connsiteY259" fmla="*/ 5588 h 10010"/>
                <a:gd name="connsiteX260" fmla="*/ 1954 w 10000"/>
                <a:gd name="connsiteY260" fmla="*/ 5700 h 10010"/>
                <a:gd name="connsiteX261" fmla="*/ 1764 w 10000"/>
                <a:gd name="connsiteY261" fmla="*/ 5769 h 10010"/>
                <a:gd name="connsiteX262" fmla="*/ 1513 w 10000"/>
                <a:gd name="connsiteY262" fmla="*/ 5797 h 10010"/>
                <a:gd name="connsiteX263" fmla="*/ 1448 w 10000"/>
                <a:gd name="connsiteY263" fmla="*/ 5836 h 10010"/>
                <a:gd name="connsiteX264" fmla="*/ 1594 w 10000"/>
                <a:gd name="connsiteY264" fmla="*/ 5930 h 10010"/>
                <a:gd name="connsiteX265" fmla="*/ 1678 w 10000"/>
                <a:gd name="connsiteY265" fmla="*/ 6152 h 10010"/>
                <a:gd name="connsiteX266" fmla="*/ 1488 w 10000"/>
                <a:gd name="connsiteY266" fmla="*/ 6343 h 10010"/>
                <a:gd name="connsiteX267" fmla="*/ 1554 w 10000"/>
                <a:gd name="connsiteY267" fmla="*/ 6402 h 10010"/>
                <a:gd name="connsiteX268" fmla="*/ 1494 w 10000"/>
                <a:gd name="connsiteY268" fmla="*/ 6502 h 10010"/>
                <a:gd name="connsiteX269" fmla="*/ 1372 w 10000"/>
                <a:gd name="connsiteY269" fmla="*/ 6571 h 10010"/>
                <a:gd name="connsiteX270" fmla="*/ 889 w 10000"/>
                <a:gd name="connsiteY270" fmla="*/ 6624 h 10010"/>
                <a:gd name="connsiteX271" fmla="*/ 860 w 10000"/>
                <a:gd name="connsiteY271" fmla="*/ 6716 h 10010"/>
                <a:gd name="connsiteX272" fmla="*/ 600 w 10000"/>
                <a:gd name="connsiteY272" fmla="*/ 6853 h 10010"/>
                <a:gd name="connsiteX273" fmla="*/ 634 w 10000"/>
                <a:gd name="connsiteY273" fmla="*/ 7050 h 10010"/>
                <a:gd name="connsiteX274" fmla="*/ 415 w 10000"/>
                <a:gd name="connsiteY274" fmla="*/ 7303 h 10010"/>
                <a:gd name="connsiteX275" fmla="*/ 266 w 10000"/>
                <a:gd name="connsiteY275" fmla="*/ 7333 h 10010"/>
                <a:gd name="connsiteX276" fmla="*/ 204 w 10000"/>
                <a:gd name="connsiteY276" fmla="*/ 7272 h 10010"/>
                <a:gd name="connsiteX277" fmla="*/ 128 w 10000"/>
                <a:gd name="connsiteY277" fmla="*/ 7364 h 10010"/>
                <a:gd name="connsiteX278" fmla="*/ 178 w 10000"/>
                <a:gd name="connsiteY278" fmla="*/ 7207 h 10010"/>
                <a:gd name="connsiteX279" fmla="*/ 147 w 10000"/>
                <a:gd name="connsiteY279" fmla="*/ 7176 h 10010"/>
                <a:gd name="connsiteX0" fmla="*/ 147 w 10000"/>
                <a:gd name="connsiteY0" fmla="*/ 7176 h 10010"/>
                <a:gd name="connsiteX1" fmla="*/ 0 w 10000"/>
                <a:gd name="connsiteY1" fmla="*/ 7258 h 10010"/>
                <a:gd name="connsiteX2" fmla="*/ 0 w 10000"/>
                <a:gd name="connsiteY2" fmla="*/ 7661 h 10010"/>
                <a:gd name="connsiteX3" fmla="*/ 81 w 10000"/>
                <a:gd name="connsiteY3" fmla="*/ 7673 h 10010"/>
                <a:gd name="connsiteX4" fmla="*/ 100 w 10000"/>
                <a:gd name="connsiteY4" fmla="*/ 7704 h 10010"/>
                <a:gd name="connsiteX5" fmla="*/ 96 w 10000"/>
                <a:gd name="connsiteY5" fmla="*/ 7759 h 10010"/>
                <a:gd name="connsiteX6" fmla="*/ 66 w 10000"/>
                <a:gd name="connsiteY6" fmla="*/ 7783 h 10010"/>
                <a:gd name="connsiteX7" fmla="*/ 190 w 10000"/>
                <a:gd name="connsiteY7" fmla="*/ 7737 h 10010"/>
                <a:gd name="connsiteX8" fmla="*/ 242 w 10000"/>
                <a:gd name="connsiteY8" fmla="*/ 7690 h 10010"/>
                <a:gd name="connsiteX9" fmla="*/ 306 w 10000"/>
                <a:gd name="connsiteY9" fmla="*/ 7722 h 10010"/>
                <a:gd name="connsiteX10" fmla="*/ 235 w 10000"/>
                <a:gd name="connsiteY10" fmla="*/ 7788 h 10010"/>
                <a:gd name="connsiteX11" fmla="*/ 311 w 10000"/>
                <a:gd name="connsiteY11" fmla="*/ 7790 h 10010"/>
                <a:gd name="connsiteX12" fmla="*/ 348 w 10000"/>
                <a:gd name="connsiteY12" fmla="*/ 7806 h 10010"/>
                <a:gd name="connsiteX13" fmla="*/ 250 w 10000"/>
                <a:gd name="connsiteY13" fmla="*/ 7828 h 10010"/>
                <a:gd name="connsiteX14" fmla="*/ 96 w 10000"/>
                <a:gd name="connsiteY14" fmla="*/ 7896 h 10010"/>
                <a:gd name="connsiteX15" fmla="*/ 370 w 10000"/>
                <a:gd name="connsiteY15" fmla="*/ 7948 h 10010"/>
                <a:gd name="connsiteX16" fmla="*/ 404 w 10000"/>
                <a:gd name="connsiteY16" fmla="*/ 8024 h 10010"/>
                <a:gd name="connsiteX17" fmla="*/ 311 w 10000"/>
                <a:gd name="connsiteY17" fmla="*/ 8136 h 10010"/>
                <a:gd name="connsiteX18" fmla="*/ 511 w 10000"/>
                <a:gd name="connsiteY18" fmla="*/ 8128 h 10010"/>
                <a:gd name="connsiteX19" fmla="*/ 526 w 10000"/>
                <a:gd name="connsiteY19" fmla="*/ 8213 h 10010"/>
                <a:gd name="connsiteX20" fmla="*/ 393 w 10000"/>
                <a:gd name="connsiteY20" fmla="*/ 8270 h 10010"/>
                <a:gd name="connsiteX21" fmla="*/ 415 w 10000"/>
                <a:gd name="connsiteY21" fmla="*/ 8380 h 10010"/>
                <a:gd name="connsiteX22" fmla="*/ 364 w 10000"/>
                <a:gd name="connsiteY22" fmla="*/ 8466 h 10010"/>
                <a:gd name="connsiteX23" fmla="*/ 521 w 10000"/>
                <a:gd name="connsiteY23" fmla="*/ 8474 h 10010"/>
                <a:gd name="connsiteX24" fmla="*/ 676 w 10000"/>
                <a:gd name="connsiteY24" fmla="*/ 8802 h 10010"/>
                <a:gd name="connsiteX25" fmla="*/ 853 w 10000"/>
                <a:gd name="connsiteY25" fmla="*/ 8886 h 10010"/>
                <a:gd name="connsiteX26" fmla="*/ 931 w 10000"/>
                <a:gd name="connsiteY26" fmla="*/ 8975 h 10010"/>
                <a:gd name="connsiteX27" fmla="*/ 1125 w 10000"/>
                <a:gd name="connsiteY27" fmla="*/ 9040 h 10010"/>
                <a:gd name="connsiteX28" fmla="*/ 1249 w 10000"/>
                <a:gd name="connsiteY28" fmla="*/ 9122 h 10010"/>
                <a:gd name="connsiteX29" fmla="*/ 1233 w 10000"/>
                <a:gd name="connsiteY29" fmla="*/ 9181 h 10010"/>
                <a:gd name="connsiteX30" fmla="*/ 1110 w 10000"/>
                <a:gd name="connsiteY30" fmla="*/ 9203 h 10010"/>
                <a:gd name="connsiteX31" fmla="*/ 976 w 10000"/>
                <a:gd name="connsiteY31" fmla="*/ 9189 h 10010"/>
                <a:gd name="connsiteX32" fmla="*/ 935 w 10000"/>
                <a:gd name="connsiteY32" fmla="*/ 9214 h 10010"/>
                <a:gd name="connsiteX33" fmla="*/ 1037 w 10000"/>
                <a:gd name="connsiteY33" fmla="*/ 9342 h 10010"/>
                <a:gd name="connsiteX34" fmla="*/ 894 w 10000"/>
                <a:gd name="connsiteY34" fmla="*/ 9332 h 10010"/>
                <a:gd name="connsiteX35" fmla="*/ 773 w 10000"/>
                <a:gd name="connsiteY35" fmla="*/ 9301 h 10010"/>
                <a:gd name="connsiteX36" fmla="*/ 750 w 10000"/>
                <a:gd name="connsiteY36" fmla="*/ 9348 h 10010"/>
                <a:gd name="connsiteX37" fmla="*/ 1155 w 10000"/>
                <a:gd name="connsiteY37" fmla="*/ 9786 h 10010"/>
                <a:gd name="connsiteX38" fmla="*/ 1091 w 10000"/>
                <a:gd name="connsiteY38" fmla="*/ 9827 h 10010"/>
                <a:gd name="connsiteX39" fmla="*/ 1045 w 10000"/>
                <a:gd name="connsiteY39" fmla="*/ 9912 h 10010"/>
                <a:gd name="connsiteX40" fmla="*/ 987 w 10000"/>
                <a:gd name="connsiteY40" fmla="*/ 9918 h 10010"/>
                <a:gd name="connsiteX41" fmla="*/ 951 w 10000"/>
                <a:gd name="connsiteY41" fmla="*/ 9955 h 10010"/>
                <a:gd name="connsiteX42" fmla="*/ 1195 w 10000"/>
                <a:gd name="connsiteY42" fmla="*/ 9959 h 10010"/>
                <a:gd name="connsiteX43" fmla="*/ 1410 w 10000"/>
                <a:gd name="connsiteY43" fmla="*/ 9996 h 10010"/>
                <a:gd name="connsiteX44" fmla="*/ 1769 w 10000"/>
                <a:gd name="connsiteY44" fmla="*/ 9957 h 10010"/>
                <a:gd name="connsiteX45" fmla="*/ 2091 w 10000"/>
                <a:gd name="connsiteY45" fmla="*/ 9963 h 10010"/>
                <a:gd name="connsiteX46" fmla="*/ 2280 w 10000"/>
                <a:gd name="connsiteY46" fmla="*/ 10010 h 10010"/>
                <a:gd name="connsiteX47" fmla="*/ 2385 w 10000"/>
                <a:gd name="connsiteY47" fmla="*/ 9979 h 10010"/>
                <a:gd name="connsiteX48" fmla="*/ 2485 w 10000"/>
                <a:gd name="connsiteY48" fmla="*/ 9878 h 10010"/>
                <a:gd name="connsiteX49" fmla="*/ 2459 w 10000"/>
                <a:gd name="connsiteY49" fmla="*/ 9713 h 10010"/>
                <a:gd name="connsiteX50" fmla="*/ 2704 w 10000"/>
                <a:gd name="connsiteY50" fmla="*/ 9527 h 10010"/>
                <a:gd name="connsiteX51" fmla="*/ 2883 w 10000"/>
                <a:gd name="connsiteY51" fmla="*/ 9556 h 10010"/>
                <a:gd name="connsiteX52" fmla="*/ 2987 w 10000"/>
                <a:gd name="connsiteY52" fmla="*/ 9482 h 10010"/>
                <a:gd name="connsiteX53" fmla="*/ 3186 w 10000"/>
                <a:gd name="connsiteY53" fmla="*/ 9440 h 10010"/>
                <a:gd name="connsiteX54" fmla="*/ 3457 w 10000"/>
                <a:gd name="connsiteY54" fmla="*/ 9450 h 10010"/>
                <a:gd name="connsiteX55" fmla="*/ 3620 w 10000"/>
                <a:gd name="connsiteY55" fmla="*/ 9480 h 10010"/>
                <a:gd name="connsiteX56" fmla="*/ 3837 w 10000"/>
                <a:gd name="connsiteY56" fmla="*/ 9466 h 10010"/>
                <a:gd name="connsiteX57" fmla="*/ 4056 w 10000"/>
                <a:gd name="connsiteY57" fmla="*/ 9499 h 10010"/>
                <a:gd name="connsiteX58" fmla="*/ 4275 w 10000"/>
                <a:gd name="connsiteY58" fmla="*/ 9503 h 10010"/>
                <a:gd name="connsiteX59" fmla="*/ 4765 w 10000"/>
                <a:gd name="connsiteY59" fmla="*/ 9071 h 10010"/>
                <a:gd name="connsiteX60" fmla="*/ 4889 w 10000"/>
                <a:gd name="connsiteY60" fmla="*/ 8721 h 10010"/>
                <a:gd name="connsiteX61" fmla="*/ 5088 w 10000"/>
                <a:gd name="connsiteY61" fmla="*/ 8564 h 10010"/>
                <a:gd name="connsiteX62" fmla="*/ 5088 w 10000"/>
                <a:gd name="connsiteY62" fmla="*/ 8482 h 10010"/>
                <a:gd name="connsiteX63" fmla="*/ 5016 w 10000"/>
                <a:gd name="connsiteY63" fmla="*/ 8435 h 10010"/>
                <a:gd name="connsiteX64" fmla="*/ 5133 w 10000"/>
                <a:gd name="connsiteY64" fmla="*/ 8362 h 10010"/>
                <a:gd name="connsiteX65" fmla="*/ 5112 w 10000"/>
                <a:gd name="connsiteY65" fmla="*/ 8299 h 10010"/>
                <a:gd name="connsiteX66" fmla="*/ 5032 w 10000"/>
                <a:gd name="connsiteY66" fmla="*/ 8246 h 10010"/>
                <a:gd name="connsiteX67" fmla="*/ 5016 w 10000"/>
                <a:gd name="connsiteY67" fmla="*/ 8209 h 10010"/>
                <a:gd name="connsiteX68" fmla="*/ 5036 w 10000"/>
                <a:gd name="connsiteY68" fmla="*/ 8179 h 10010"/>
                <a:gd name="connsiteX69" fmla="*/ 5144 w 10000"/>
                <a:gd name="connsiteY69" fmla="*/ 8203 h 10010"/>
                <a:gd name="connsiteX70" fmla="*/ 5230 w 10000"/>
                <a:gd name="connsiteY70" fmla="*/ 8201 h 10010"/>
                <a:gd name="connsiteX71" fmla="*/ 5184 w 10000"/>
                <a:gd name="connsiteY71" fmla="*/ 8150 h 10010"/>
                <a:gd name="connsiteX72" fmla="*/ 5198 w 10000"/>
                <a:gd name="connsiteY72" fmla="*/ 8122 h 10010"/>
                <a:gd name="connsiteX73" fmla="*/ 5262 w 10000"/>
                <a:gd name="connsiteY73" fmla="*/ 8079 h 10010"/>
                <a:gd name="connsiteX74" fmla="*/ 5250 w 10000"/>
                <a:gd name="connsiteY74" fmla="*/ 8044 h 10010"/>
                <a:gd name="connsiteX75" fmla="*/ 5309 w 10000"/>
                <a:gd name="connsiteY75" fmla="*/ 7926 h 10010"/>
                <a:gd name="connsiteX76" fmla="*/ 5293 w 10000"/>
                <a:gd name="connsiteY76" fmla="*/ 7891 h 10010"/>
                <a:gd name="connsiteX77" fmla="*/ 4996 w 10000"/>
                <a:gd name="connsiteY77" fmla="*/ 7802 h 10010"/>
                <a:gd name="connsiteX78" fmla="*/ 5036 w 10000"/>
                <a:gd name="connsiteY78" fmla="*/ 7798 h 10010"/>
                <a:gd name="connsiteX79" fmla="*/ 5194 w 10000"/>
                <a:gd name="connsiteY79" fmla="*/ 7822 h 10010"/>
                <a:gd name="connsiteX80" fmla="*/ 5365 w 10000"/>
                <a:gd name="connsiteY80" fmla="*/ 7814 h 10010"/>
                <a:gd name="connsiteX81" fmla="*/ 5415 w 10000"/>
                <a:gd name="connsiteY81" fmla="*/ 7781 h 10010"/>
                <a:gd name="connsiteX82" fmla="*/ 5250 w 10000"/>
                <a:gd name="connsiteY82" fmla="*/ 7720 h 10010"/>
                <a:gd name="connsiteX83" fmla="*/ 4761 w 10000"/>
                <a:gd name="connsiteY83" fmla="*/ 7680 h 10010"/>
                <a:gd name="connsiteX84" fmla="*/ 4794 w 10000"/>
                <a:gd name="connsiteY84" fmla="*/ 7661 h 10010"/>
                <a:gd name="connsiteX85" fmla="*/ 5194 w 10000"/>
                <a:gd name="connsiteY85" fmla="*/ 7649 h 10010"/>
                <a:gd name="connsiteX86" fmla="*/ 5415 w 10000"/>
                <a:gd name="connsiteY86" fmla="*/ 7686 h 10010"/>
                <a:gd name="connsiteX87" fmla="*/ 5542 w 10000"/>
                <a:gd name="connsiteY87" fmla="*/ 7661 h 10010"/>
                <a:gd name="connsiteX88" fmla="*/ 5589 w 10000"/>
                <a:gd name="connsiteY88" fmla="*/ 7598 h 10010"/>
                <a:gd name="connsiteX89" fmla="*/ 5819 w 10000"/>
                <a:gd name="connsiteY89" fmla="*/ 7598 h 10010"/>
                <a:gd name="connsiteX90" fmla="*/ 6131 w 10000"/>
                <a:gd name="connsiteY90" fmla="*/ 7472 h 10010"/>
                <a:gd name="connsiteX91" fmla="*/ 6142 w 10000"/>
                <a:gd name="connsiteY91" fmla="*/ 7388 h 10010"/>
                <a:gd name="connsiteX92" fmla="*/ 6274 w 10000"/>
                <a:gd name="connsiteY92" fmla="*/ 7407 h 10010"/>
                <a:gd name="connsiteX93" fmla="*/ 6268 w 10000"/>
                <a:gd name="connsiteY93" fmla="*/ 7492 h 10010"/>
                <a:gd name="connsiteX94" fmla="*/ 6478 w 10000"/>
                <a:gd name="connsiteY94" fmla="*/ 7486 h 10010"/>
                <a:gd name="connsiteX95" fmla="*/ 6616 w 10000"/>
                <a:gd name="connsiteY95" fmla="*/ 7398 h 10010"/>
                <a:gd name="connsiteX96" fmla="*/ 6872 w 10000"/>
                <a:gd name="connsiteY96" fmla="*/ 7319 h 10010"/>
                <a:gd name="connsiteX97" fmla="*/ 6832 w 10000"/>
                <a:gd name="connsiteY97" fmla="*/ 7229 h 10010"/>
                <a:gd name="connsiteX98" fmla="*/ 6908 w 10000"/>
                <a:gd name="connsiteY98" fmla="*/ 7264 h 10010"/>
                <a:gd name="connsiteX99" fmla="*/ 7025 w 10000"/>
                <a:gd name="connsiteY99" fmla="*/ 7264 h 10010"/>
                <a:gd name="connsiteX100" fmla="*/ 7025 w 10000"/>
                <a:gd name="connsiteY100" fmla="*/ 7223 h 10010"/>
                <a:gd name="connsiteX101" fmla="*/ 7134 w 10000"/>
                <a:gd name="connsiteY101" fmla="*/ 7191 h 10010"/>
                <a:gd name="connsiteX102" fmla="*/ 7119 w 10000"/>
                <a:gd name="connsiteY102" fmla="*/ 7158 h 10010"/>
                <a:gd name="connsiteX103" fmla="*/ 6198 w 10000"/>
                <a:gd name="connsiteY103" fmla="*/ 7225 h 10010"/>
                <a:gd name="connsiteX104" fmla="*/ 5983 w 10000"/>
                <a:gd name="connsiteY104" fmla="*/ 7205 h 10010"/>
                <a:gd name="connsiteX105" fmla="*/ 5895 w 10000"/>
                <a:gd name="connsiteY105" fmla="*/ 7229 h 10010"/>
                <a:gd name="connsiteX106" fmla="*/ 5866 w 10000"/>
                <a:gd name="connsiteY106" fmla="*/ 7183 h 10010"/>
                <a:gd name="connsiteX107" fmla="*/ 5764 w 10000"/>
                <a:gd name="connsiteY107" fmla="*/ 7142 h 10010"/>
                <a:gd name="connsiteX108" fmla="*/ 5354 w 10000"/>
                <a:gd name="connsiteY108" fmla="*/ 7062 h 10010"/>
                <a:gd name="connsiteX109" fmla="*/ 5112 w 10000"/>
                <a:gd name="connsiteY109" fmla="*/ 7075 h 10010"/>
                <a:gd name="connsiteX110" fmla="*/ 5016 w 10000"/>
                <a:gd name="connsiteY110" fmla="*/ 7052 h 10010"/>
                <a:gd name="connsiteX111" fmla="*/ 5118 w 10000"/>
                <a:gd name="connsiteY111" fmla="*/ 7032 h 10010"/>
                <a:gd name="connsiteX112" fmla="*/ 5194 w 10000"/>
                <a:gd name="connsiteY112" fmla="*/ 6989 h 10010"/>
                <a:gd name="connsiteX113" fmla="*/ 5309 w 10000"/>
                <a:gd name="connsiteY113" fmla="*/ 7003 h 10010"/>
                <a:gd name="connsiteX114" fmla="*/ 5445 w 10000"/>
                <a:gd name="connsiteY114" fmla="*/ 6991 h 10010"/>
                <a:gd name="connsiteX115" fmla="*/ 5650 w 10000"/>
                <a:gd name="connsiteY115" fmla="*/ 7005 h 10010"/>
                <a:gd name="connsiteX116" fmla="*/ 5675 w 10000"/>
                <a:gd name="connsiteY116" fmla="*/ 6999 h 10010"/>
                <a:gd name="connsiteX117" fmla="*/ 5834 w 10000"/>
                <a:gd name="connsiteY117" fmla="*/ 7066 h 10010"/>
                <a:gd name="connsiteX118" fmla="*/ 5951 w 10000"/>
                <a:gd name="connsiteY118" fmla="*/ 7042 h 10010"/>
                <a:gd name="connsiteX119" fmla="*/ 5961 w 10000"/>
                <a:gd name="connsiteY119" fmla="*/ 7020 h 10010"/>
                <a:gd name="connsiteX120" fmla="*/ 6069 w 10000"/>
                <a:gd name="connsiteY120" fmla="*/ 7058 h 10010"/>
                <a:gd name="connsiteX121" fmla="*/ 6212 w 10000"/>
                <a:gd name="connsiteY121" fmla="*/ 7079 h 10010"/>
                <a:gd name="connsiteX122" fmla="*/ 6268 w 10000"/>
                <a:gd name="connsiteY122" fmla="*/ 7040 h 10010"/>
                <a:gd name="connsiteX123" fmla="*/ 6314 w 10000"/>
                <a:gd name="connsiteY123" fmla="*/ 7062 h 10010"/>
                <a:gd name="connsiteX124" fmla="*/ 6381 w 10000"/>
                <a:gd name="connsiteY124" fmla="*/ 7136 h 10010"/>
                <a:gd name="connsiteX125" fmla="*/ 6519 w 10000"/>
                <a:gd name="connsiteY125" fmla="*/ 7154 h 10010"/>
                <a:gd name="connsiteX126" fmla="*/ 7082 w 10000"/>
                <a:gd name="connsiteY126" fmla="*/ 7044 h 10010"/>
                <a:gd name="connsiteX127" fmla="*/ 7359 w 10000"/>
                <a:gd name="connsiteY127" fmla="*/ 6889 h 10010"/>
                <a:gd name="connsiteX128" fmla="*/ 7423 w 10000"/>
                <a:gd name="connsiteY128" fmla="*/ 6775 h 10010"/>
                <a:gd name="connsiteX129" fmla="*/ 7323 w 10000"/>
                <a:gd name="connsiteY129" fmla="*/ 6673 h 10010"/>
                <a:gd name="connsiteX130" fmla="*/ 7113 w 10000"/>
                <a:gd name="connsiteY130" fmla="*/ 6612 h 10010"/>
                <a:gd name="connsiteX131" fmla="*/ 6963 w 10000"/>
                <a:gd name="connsiteY131" fmla="*/ 6512 h 10010"/>
                <a:gd name="connsiteX132" fmla="*/ 7102 w 10000"/>
                <a:gd name="connsiteY132" fmla="*/ 6508 h 10010"/>
                <a:gd name="connsiteX133" fmla="*/ 7093 w 10000"/>
                <a:gd name="connsiteY133" fmla="*/ 6484 h 10010"/>
                <a:gd name="connsiteX134" fmla="*/ 6731 w 10000"/>
                <a:gd name="connsiteY134" fmla="*/ 6413 h 10010"/>
                <a:gd name="connsiteX135" fmla="*/ 6716 w 10000"/>
                <a:gd name="connsiteY135" fmla="*/ 6349 h 10010"/>
                <a:gd name="connsiteX136" fmla="*/ 6646 w 10000"/>
                <a:gd name="connsiteY136" fmla="*/ 6282 h 10010"/>
                <a:gd name="connsiteX137" fmla="*/ 6360 w 10000"/>
                <a:gd name="connsiteY137" fmla="*/ 6294 h 10010"/>
                <a:gd name="connsiteX138" fmla="*/ 6258 w 10000"/>
                <a:gd name="connsiteY138" fmla="*/ 6223 h 10010"/>
                <a:gd name="connsiteX139" fmla="*/ 6198 w 10000"/>
                <a:gd name="connsiteY139" fmla="*/ 6219 h 10010"/>
                <a:gd name="connsiteX140" fmla="*/ 6198 w 10000"/>
                <a:gd name="connsiteY140" fmla="*/ 6248 h 10010"/>
                <a:gd name="connsiteX141" fmla="*/ 6069 w 10000"/>
                <a:gd name="connsiteY141" fmla="*/ 6368 h 10010"/>
                <a:gd name="connsiteX142" fmla="*/ 5930 w 10000"/>
                <a:gd name="connsiteY142" fmla="*/ 6439 h 10010"/>
                <a:gd name="connsiteX143" fmla="*/ 5495 w 10000"/>
                <a:gd name="connsiteY143" fmla="*/ 6561 h 10010"/>
                <a:gd name="connsiteX144" fmla="*/ 5342 w 10000"/>
                <a:gd name="connsiteY144" fmla="*/ 6557 h 10010"/>
                <a:gd name="connsiteX145" fmla="*/ 5133 w 10000"/>
                <a:gd name="connsiteY145" fmla="*/ 6575 h 10010"/>
                <a:gd name="connsiteX146" fmla="*/ 5016 w 10000"/>
                <a:gd name="connsiteY146" fmla="*/ 6557 h 10010"/>
                <a:gd name="connsiteX147" fmla="*/ 5169 w 10000"/>
                <a:gd name="connsiteY147" fmla="*/ 6523 h 10010"/>
                <a:gd name="connsiteX148" fmla="*/ 5369 w 10000"/>
                <a:gd name="connsiteY148" fmla="*/ 6508 h 10010"/>
                <a:gd name="connsiteX149" fmla="*/ 5534 w 10000"/>
                <a:gd name="connsiteY149" fmla="*/ 6451 h 10010"/>
                <a:gd name="connsiteX150" fmla="*/ 5695 w 10000"/>
                <a:gd name="connsiteY150" fmla="*/ 6425 h 10010"/>
                <a:gd name="connsiteX151" fmla="*/ 5998 w 10000"/>
                <a:gd name="connsiteY151" fmla="*/ 6327 h 10010"/>
                <a:gd name="connsiteX152" fmla="*/ 6056 w 10000"/>
                <a:gd name="connsiteY152" fmla="*/ 6262 h 10010"/>
                <a:gd name="connsiteX153" fmla="*/ 6060 w 10000"/>
                <a:gd name="connsiteY153" fmla="*/ 6178 h 10010"/>
                <a:gd name="connsiteX154" fmla="*/ 5921 w 10000"/>
                <a:gd name="connsiteY154" fmla="*/ 6164 h 10010"/>
                <a:gd name="connsiteX155" fmla="*/ 5983 w 10000"/>
                <a:gd name="connsiteY155" fmla="*/ 6113 h 10010"/>
                <a:gd name="connsiteX156" fmla="*/ 6002 w 10000"/>
                <a:gd name="connsiteY156" fmla="*/ 6048 h 10010"/>
                <a:gd name="connsiteX157" fmla="*/ 5944 w 10000"/>
                <a:gd name="connsiteY157" fmla="*/ 5987 h 10010"/>
                <a:gd name="connsiteX158" fmla="*/ 5911 w 10000"/>
                <a:gd name="connsiteY158" fmla="*/ 5543 h 10010"/>
                <a:gd name="connsiteX159" fmla="*/ 5993 w 10000"/>
                <a:gd name="connsiteY159" fmla="*/ 5447 h 10010"/>
                <a:gd name="connsiteX160" fmla="*/ 5972 w 10000"/>
                <a:gd name="connsiteY160" fmla="*/ 5408 h 10010"/>
                <a:gd name="connsiteX161" fmla="*/ 6212 w 10000"/>
                <a:gd name="connsiteY161" fmla="*/ 5465 h 10010"/>
                <a:gd name="connsiteX162" fmla="*/ 6229 w 10000"/>
                <a:gd name="connsiteY162" fmla="*/ 5412 h 10010"/>
                <a:gd name="connsiteX163" fmla="*/ 6176 w 10000"/>
                <a:gd name="connsiteY163" fmla="*/ 5274 h 10010"/>
                <a:gd name="connsiteX164" fmla="*/ 6349 w 10000"/>
                <a:gd name="connsiteY164" fmla="*/ 5029 h 10010"/>
                <a:gd name="connsiteX165" fmla="*/ 6243 w 10000"/>
                <a:gd name="connsiteY165" fmla="*/ 4970 h 10010"/>
                <a:gd name="connsiteX166" fmla="*/ 6202 w 10000"/>
                <a:gd name="connsiteY166" fmla="*/ 4915 h 10010"/>
                <a:gd name="connsiteX167" fmla="*/ 6216 w 10000"/>
                <a:gd name="connsiteY167" fmla="*/ 4826 h 10010"/>
                <a:gd name="connsiteX168" fmla="*/ 6470 w 10000"/>
                <a:gd name="connsiteY168" fmla="*/ 4885 h 10010"/>
                <a:gd name="connsiteX169" fmla="*/ 6478 w 10000"/>
                <a:gd name="connsiteY169" fmla="*/ 4868 h 10010"/>
                <a:gd name="connsiteX170" fmla="*/ 6548 w 10000"/>
                <a:gd name="connsiteY170" fmla="*/ 4852 h 10010"/>
                <a:gd name="connsiteX171" fmla="*/ 6646 w 10000"/>
                <a:gd name="connsiteY171" fmla="*/ 4795 h 10010"/>
                <a:gd name="connsiteX172" fmla="*/ 6662 w 10000"/>
                <a:gd name="connsiteY172" fmla="*/ 4779 h 10010"/>
                <a:gd name="connsiteX173" fmla="*/ 6641 w 10000"/>
                <a:gd name="connsiteY173" fmla="*/ 4758 h 10010"/>
                <a:gd name="connsiteX174" fmla="*/ 6693 w 10000"/>
                <a:gd name="connsiteY174" fmla="*/ 4657 h 10010"/>
                <a:gd name="connsiteX175" fmla="*/ 6631 w 10000"/>
                <a:gd name="connsiteY175" fmla="*/ 4591 h 10010"/>
                <a:gd name="connsiteX176" fmla="*/ 6641 w 10000"/>
                <a:gd name="connsiteY176" fmla="*/ 4538 h 10010"/>
                <a:gd name="connsiteX177" fmla="*/ 6676 w 10000"/>
                <a:gd name="connsiteY177" fmla="*/ 4600 h 10010"/>
                <a:gd name="connsiteX178" fmla="*/ 6815 w 10000"/>
                <a:gd name="connsiteY178" fmla="*/ 4646 h 10010"/>
                <a:gd name="connsiteX179" fmla="*/ 6872 w 10000"/>
                <a:gd name="connsiteY179" fmla="*/ 4640 h 10010"/>
                <a:gd name="connsiteX180" fmla="*/ 6963 w 10000"/>
                <a:gd name="connsiteY180" fmla="*/ 4579 h 10010"/>
                <a:gd name="connsiteX181" fmla="*/ 7062 w 10000"/>
                <a:gd name="connsiteY181" fmla="*/ 4604 h 10010"/>
                <a:gd name="connsiteX182" fmla="*/ 7088 w 10000"/>
                <a:gd name="connsiteY182" fmla="*/ 4555 h 10010"/>
                <a:gd name="connsiteX183" fmla="*/ 7154 w 10000"/>
                <a:gd name="connsiteY183" fmla="*/ 4522 h 10010"/>
                <a:gd name="connsiteX184" fmla="*/ 6974 w 10000"/>
                <a:gd name="connsiteY184" fmla="*/ 4487 h 10010"/>
                <a:gd name="connsiteX185" fmla="*/ 7102 w 10000"/>
                <a:gd name="connsiteY185" fmla="*/ 4494 h 10010"/>
                <a:gd name="connsiteX186" fmla="*/ 7234 w 10000"/>
                <a:gd name="connsiteY186" fmla="*/ 4457 h 10010"/>
                <a:gd name="connsiteX187" fmla="*/ 7229 w 10000"/>
                <a:gd name="connsiteY187" fmla="*/ 4432 h 10010"/>
                <a:gd name="connsiteX188" fmla="*/ 7353 w 10000"/>
                <a:gd name="connsiteY188" fmla="*/ 4408 h 10010"/>
                <a:gd name="connsiteX189" fmla="*/ 7364 w 10000"/>
                <a:gd name="connsiteY189" fmla="*/ 4347 h 10010"/>
                <a:gd name="connsiteX190" fmla="*/ 7461 w 10000"/>
                <a:gd name="connsiteY190" fmla="*/ 4335 h 10010"/>
                <a:gd name="connsiteX191" fmla="*/ 7469 w 10000"/>
                <a:gd name="connsiteY191" fmla="*/ 4263 h 10010"/>
                <a:gd name="connsiteX192" fmla="*/ 7572 w 10000"/>
                <a:gd name="connsiteY192" fmla="*/ 4255 h 10010"/>
                <a:gd name="connsiteX193" fmla="*/ 7730 w 10000"/>
                <a:gd name="connsiteY193" fmla="*/ 4270 h 10010"/>
                <a:gd name="connsiteX194" fmla="*/ 7904 w 10000"/>
                <a:gd name="connsiteY194" fmla="*/ 4212 h 10010"/>
                <a:gd name="connsiteX195" fmla="*/ 7966 w 10000"/>
                <a:gd name="connsiteY195" fmla="*/ 4147 h 10010"/>
                <a:gd name="connsiteX196" fmla="*/ 8181 w 10000"/>
                <a:gd name="connsiteY196" fmla="*/ 4080 h 10010"/>
                <a:gd name="connsiteX197" fmla="*/ 8288 w 10000"/>
                <a:gd name="connsiteY197" fmla="*/ 4121 h 10010"/>
                <a:gd name="connsiteX198" fmla="*/ 8452 w 10000"/>
                <a:gd name="connsiteY198" fmla="*/ 4076 h 10010"/>
                <a:gd name="connsiteX199" fmla="*/ 8491 w 10000"/>
                <a:gd name="connsiteY199" fmla="*/ 4019 h 10010"/>
                <a:gd name="connsiteX200" fmla="*/ 8616 w 10000"/>
                <a:gd name="connsiteY200" fmla="*/ 3980 h 10010"/>
                <a:gd name="connsiteX201" fmla="*/ 8722 w 10000"/>
                <a:gd name="connsiteY201" fmla="*/ 3997 h 10010"/>
                <a:gd name="connsiteX202" fmla="*/ 8789 w 10000"/>
                <a:gd name="connsiteY202" fmla="*/ 3968 h 10010"/>
                <a:gd name="connsiteX203" fmla="*/ 8973 w 10000"/>
                <a:gd name="connsiteY203" fmla="*/ 3927 h 10010"/>
                <a:gd name="connsiteX204" fmla="*/ 9049 w 10000"/>
                <a:gd name="connsiteY204" fmla="*/ 3874 h 10010"/>
                <a:gd name="connsiteX205" fmla="*/ 9153 w 10000"/>
                <a:gd name="connsiteY205" fmla="*/ 3852 h 10010"/>
                <a:gd name="connsiteX206" fmla="*/ 9720 w 10000"/>
                <a:gd name="connsiteY206" fmla="*/ 3532 h 10010"/>
                <a:gd name="connsiteX207" fmla="*/ 9971 w 10000"/>
                <a:gd name="connsiteY207" fmla="*/ 399 h 10010"/>
                <a:gd name="connsiteX208" fmla="*/ 9049 w 10000"/>
                <a:gd name="connsiteY208" fmla="*/ 36 h 10010"/>
                <a:gd name="connsiteX209" fmla="*/ 8706 w 10000"/>
                <a:gd name="connsiteY209" fmla="*/ 10 h 10010"/>
                <a:gd name="connsiteX210" fmla="*/ 8652 w 10000"/>
                <a:gd name="connsiteY210" fmla="*/ 218 h 10010"/>
                <a:gd name="connsiteX211" fmla="*/ 8550 w 10000"/>
                <a:gd name="connsiteY211" fmla="*/ 397 h 10010"/>
                <a:gd name="connsiteX212" fmla="*/ 8667 w 10000"/>
                <a:gd name="connsiteY212" fmla="*/ 444 h 10010"/>
                <a:gd name="connsiteX213" fmla="*/ 8591 w 10000"/>
                <a:gd name="connsiteY213" fmla="*/ 485 h 10010"/>
                <a:gd name="connsiteX214" fmla="*/ 8477 w 10000"/>
                <a:gd name="connsiteY214" fmla="*/ 495 h 10010"/>
                <a:gd name="connsiteX215" fmla="*/ 7537 w 10000"/>
                <a:gd name="connsiteY215" fmla="*/ 397 h 10010"/>
                <a:gd name="connsiteX216" fmla="*/ 7423 w 10000"/>
                <a:gd name="connsiteY216" fmla="*/ 405 h 10010"/>
                <a:gd name="connsiteX217" fmla="*/ 7359 w 10000"/>
                <a:gd name="connsiteY217" fmla="*/ 424 h 10010"/>
                <a:gd name="connsiteX218" fmla="*/ 7290 w 10000"/>
                <a:gd name="connsiteY218" fmla="*/ 472 h 10010"/>
                <a:gd name="connsiteX219" fmla="*/ 7302 w 10000"/>
                <a:gd name="connsiteY219" fmla="*/ 591 h 10010"/>
                <a:gd name="connsiteX220" fmla="*/ 7199 w 10000"/>
                <a:gd name="connsiteY220" fmla="*/ 745 h 10010"/>
                <a:gd name="connsiteX221" fmla="*/ 7072 w 10000"/>
                <a:gd name="connsiteY221" fmla="*/ 825 h 10010"/>
                <a:gd name="connsiteX222" fmla="*/ 7021 w 10000"/>
                <a:gd name="connsiteY222" fmla="*/ 815 h 10010"/>
                <a:gd name="connsiteX223" fmla="*/ 6903 w 10000"/>
                <a:gd name="connsiteY223" fmla="*/ 749 h 10010"/>
                <a:gd name="connsiteX224" fmla="*/ 6756 w 10000"/>
                <a:gd name="connsiteY224" fmla="*/ 715 h 10010"/>
                <a:gd name="connsiteX225" fmla="*/ 6594 w 10000"/>
                <a:gd name="connsiteY225" fmla="*/ 725 h 10010"/>
                <a:gd name="connsiteX226" fmla="*/ 6223 w 10000"/>
                <a:gd name="connsiteY226" fmla="*/ 876 h 10010"/>
                <a:gd name="connsiteX227" fmla="*/ 6125 w 10000"/>
                <a:gd name="connsiteY227" fmla="*/ 1027 h 10010"/>
                <a:gd name="connsiteX228" fmla="*/ 5845 w 10000"/>
                <a:gd name="connsiteY228" fmla="*/ 1163 h 10010"/>
                <a:gd name="connsiteX229" fmla="*/ 5794 w 10000"/>
                <a:gd name="connsiteY229" fmla="*/ 1232 h 10010"/>
                <a:gd name="connsiteX230" fmla="*/ 5940 w 10000"/>
                <a:gd name="connsiteY230" fmla="*/ 1354 h 10010"/>
                <a:gd name="connsiteX231" fmla="*/ 5956 w 10000"/>
                <a:gd name="connsiteY231" fmla="*/ 1422 h 10010"/>
                <a:gd name="connsiteX232" fmla="*/ 5190 w 10000"/>
                <a:gd name="connsiteY232" fmla="*/ 1823 h 10010"/>
                <a:gd name="connsiteX233" fmla="*/ 4955 w 10000"/>
                <a:gd name="connsiteY233" fmla="*/ 2080 h 10010"/>
                <a:gd name="connsiteX234" fmla="*/ 4702 w 10000"/>
                <a:gd name="connsiteY234" fmla="*/ 2145 h 10010"/>
                <a:gd name="connsiteX235" fmla="*/ 4540 w 10000"/>
                <a:gd name="connsiteY235" fmla="*/ 2141 h 10010"/>
                <a:gd name="connsiteX236" fmla="*/ 4443 w 10000"/>
                <a:gd name="connsiteY236" fmla="*/ 2163 h 10010"/>
                <a:gd name="connsiteX237" fmla="*/ 4178 w 10000"/>
                <a:gd name="connsiteY237" fmla="*/ 2803 h 10010"/>
                <a:gd name="connsiteX238" fmla="*/ 3565 w 10000"/>
                <a:gd name="connsiteY238" fmla="*/ 3176 h 10010"/>
                <a:gd name="connsiteX239" fmla="*/ 3569 w 10000"/>
                <a:gd name="connsiteY239" fmla="*/ 3235 h 10010"/>
                <a:gd name="connsiteX240" fmla="*/ 3841 w 10000"/>
                <a:gd name="connsiteY240" fmla="*/ 3402 h 10010"/>
                <a:gd name="connsiteX241" fmla="*/ 3753 w 10000"/>
                <a:gd name="connsiteY241" fmla="*/ 3583 h 10010"/>
                <a:gd name="connsiteX242" fmla="*/ 3594 w 10000"/>
                <a:gd name="connsiteY242" fmla="*/ 3650 h 10010"/>
                <a:gd name="connsiteX243" fmla="*/ 3118 w 10000"/>
                <a:gd name="connsiteY243" fmla="*/ 3605 h 10010"/>
                <a:gd name="connsiteX244" fmla="*/ 2791 w 10000"/>
                <a:gd name="connsiteY244" fmla="*/ 3630 h 10010"/>
                <a:gd name="connsiteX245" fmla="*/ 2528 w 10000"/>
                <a:gd name="connsiteY245" fmla="*/ 3683 h 10010"/>
                <a:gd name="connsiteX246" fmla="*/ 2102 w 10000"/>
                <a:gd name="connsiteY246" fmla="*/ 3850 h 10010"/>
                <a:gd name="connsiteX247" fmla="*/ 1877 w 10000"/>
                <a:gd name="connsiteY247" fmla="*/ 4052 h 10010"/>
                <a:gd name="connsiteX248" fmla="*/ 1896 w 10000"/>
                <a:gd name="connsiteY248" fmla="*/ 4164 h 10010"/>
                <a:gd name="connsiteX249" fmla="*/ 1975 w 10000"/>
                <a:gd name="connsiteY249" fmla="*/ 4251 h 10010"/>
                <a:gd name="connsiteX250" fmla="*/ 2034 w 10000"/>
                <a:gd name="connsiteY250" fmla="*/ 4286 h 10010"/>
                <a:gd name="connsiteX251" fmla="*/ 1924 w 10000"/>
                <a:gd name="connsiteY251" fmla="*/ 4341 h 10010"/>
                <a:gd name="connsiteX252" fmla="*/ 1683 w 10000"/>
                <a:gd name="connsiteY252" fmla="*/ 4720 h 10010"/>
                <a:gd name="connsiteX253" fmla="*/ 1729 w 10000"/>
                <a:gd name="connsiteY253" fmla="*/ 4742 h 10010"/>
                <a:gd name="connsiteX254" fmla="*/ 1764 w 10000"/>
                <a:gd name="connsiteY254" fmla="*/ 4838 h 10010"/>
                <a:gd name="connsiteX255" fmla="*/ 1652 w 10000"/>
                <a:gd name="connsiteY255" fmla="*/ 5237 h 10010"/>
                <a:gd name="connsiteX256" fmla="*/ 1764 w 10000"/>
                <a:gd name="connsiteY256" fmla="*/ 5339 h 10010"/>
                <a:gd name="connsiteX257" fmla="*/ 2071 w 10000"/>
                <a:gd name="connsiteY257" fmla="*/ 5451 h 10010"/>
                <a:gd name="connsiteX258" fmla="*/ 2085 w 10000"/>
                <a:gd name="connsiteY258" fmla="*/ 5588 h 10010"/>
                <a:gd name="connsiteX259" fmla="*/ 1954 w 10000"/>
                <a:gd name="connsiteY259" fmla="*/ 5700 h 10010"/>
                <a:gd name="connsiteX260" fmla="*/ 1764 w 10000"/>
                <a:gd name="connsiteY260" fmla="*/ 5769 h 10010"/>
                <a:gd name="connsiteX261" fmla="*/ 1513 w 10000"/>
                <a:gd name="connsiteY261" fmla="*/ 5797 h 10010"/>
                <a:gd name="connsiteX262" fmla="*/ 1448 w 10000"/>
                <a:gd name="connsiteY262" fmla="*/ 5836 h 10010"/>
                <a:gd name="connsiteX263" fmla="*/ 1594 w 10000"/>
                <a:gd name="connsiteY263" fmla="*/ 5930 h 10010"/>
                <a:gd name="connsiteX264" fmla="*/ 1678 w 10000"/>
                <a:gd name="connsiteY264" fmla="*/ 6152 h 10010"/>
                <a:gd name="connsiteX265" fmla="*/ 1488 w 10000"/>
                <a:gd name="connsiteY265" fmla="*/ 6343 h 10010"/>
                <a:gd name="connsiteX266" fmla="*/ 1554 w 10000"/>
                <a:gd name="connsiteY266" fmla="*/ 6402 h 10010"/>
                <a:gd name="connsiteX267" fmla="*/ 1494 w 10000"/>
                <a:gd name="connsiteY267" fmla="*/ 6502 h 10010"/>
                <a:gd name="connsiteX268" fmla="*/ 1372 w 10000"/>
                <a:gd name="connsiteY268" fmla="*/ 6571 h 10010"/>
                <a:gd name="connsiteX269" fmla="*/ 889 w 10000"/>
                <a:gd name="connsiteY269" fmla="*/ 6624 h 10010"/>
                <a:gd name="connsiteX270" fmla="*/ 860 w 10000"/>
                <a:gd name="connsiteY270" fmla="*/ 6716 h 10010"/>
                <a:gd name="connsiteX271" fmla="*/ 600 w 10000"/>
                <a:gd name="connsiteY271" fmla="*/ 6853 h 10010"/>
                <a:gd name="connsiteX272" fmla="*/ 634 w 10000"/>
                <a:gd name="connsiteY272" fmla="*/ 7050 h 10010"/>
                <a:gd name="connsiteX273" fmla="*/ 415 w 10000"/>
                <a:gd name="connsiteY273" fmla="*/ 7303 h 10010"/>
                <a:gd name="connsiteX274" fmla="*/ 266 w 10000"/>
                <a:gd name="connsiteY274" fmla="*/ 7333 h 10010"/>
                <a:gd name="connsiteX275" fmla="*/ 204 w 10000"/>
                <a:gd name="connsiteY275" fmla="*/ 7272 h 10010"/>
                <a:gd name="connsiteX276" fmla="*/ 128 w 10000"/>
                <a:gd name="connsiteY276" fmla="*/ 7364 h 10010"/>
                <a:gd name="connsiteX277" fmla="*/ 178 w 10000"/>
                <a:gd name="connsiteY277" fmla="*/ 7207 h 10010"/>
                <a:gd name="connsiteX278" fmla="*/ 147 w 10000"/>
                <a:gd name="connsiteY278" fmla="*/ 7176 h 10010"/>
                <a:gd name="connsiteX0" fmla="*/ 147 w 10000"/>
                <a:gd name="connsiteY0" fmla="*/ 7176 h 10010"/>
                <a:gd name="connsiteX1" fmla="*/ 0 w 10000"/>
                <a:gd name="connsiteY1" fmla="*/ 7258 h 10010"/>
                <a:gd name="connsiteX2" fmla="*/ 0 w 10000"/>
                <a:gd name="connsiteY2" fmla="*/ 7661 h 10010"/>
                <a:gd name="connsiteX3" fmla="*/ 81 w 10000"/>
                <a:gd name="connsiteY3" fmla="*/ 7673 h 10010"/>
                <a:gd name="connsiteX4" fmla="*/ 100 w 10000"/>
                <a:gd name="connsiteY4" fmla="*/ 7704 h 10010"/>
                <a:gd name="connsiteX5" fmla="*/ 96 w 10000"/>
                <a:gd name="connsiteY5" fmla="*/ 7759 h 10010"/>
                <a:gd name="connsiteX6" fmla="*/ 66 w 10000"/>
                <a:gd name="connsiteY6" fmla="*/ 7783 h 10010"/>
                <a:gd name="connsiteX7" fmla="*/ 190 w 10000"/>
                <a:gd name="connsiteY7" fmla="*/ 7737 h 10010"/>
                <a:gd name="connsiteX8" fmla="*/ 242 w 10000"/>
                <a:gd name="connsiteY8" fmla="*/ 7690 h 10010"/>
                <a:gd name="connsiteX9" fmla="*/ 306 w 10000"/>
                <a:gd name="connsiteY9" fmla="*/ 7722 h 10010"/>
                <a:gd name="connsiteX10" fmla="*/ 235 w 10000"/>
                <a:gd name="connsiteY10" fmla="*/ 7788 h 10010"/>
                <a:gd name="connsiteX11" fmla="*/ 311 w 10000"/>
                <a:gd name="connsiteY11" fmla="*/ 7790 h 10010"/>
                <a:gd name="connsiteX12" fmla="*/ 348 w 10000"/>
                <a:gd name="connsiteY12" fmla="*/ 7806 h 10010"/>
                <a:gd name="connsiteX13" fmla="*/ 250 w 10000"/>
                <a:gd name="connsiteY13" fmla="*/ 7828 h 10010"/>
                <a:gd name="connsiteX14" fmla="*/ 96 w 10000"/>
                <a:gd name="connsiteY14" fmla="*/ 7896 h 10010"/>
                <a:gd name="connsiteX15" fmla="*/ 370 w 10000"/>
                <a:gd name="connsiteY15" fmla="*/ 7948 h 10010"/>
                <a:gd name="connsiteX16" fmla="*/ 404 w 10000"/>
                <a:gd name="connsiteY16" fmla="*/ 8024 h 10010"/>
                <a:gd name="connsiteX17" fmla="*/ 311 w 10000"/>
                <a:gd name="connsiteY17" fmla="*/ 8136 h 10010"/>
                <a:gd name="connsiteX18" fmla="*/ 511 w 10000"/>
                <a:gd name="connsiteY18" fmla="*/ 8128 h 10010"/>
                <a:gd name="connsiteX19" fmla="*/ 526 w 10000"/>
                <a:gd name="connsiteY19" fmla="*/ 8213 h 10010"/>
                <a:gd name="connsiteX20" fmla="*/ 393 w 10000"/>
                <a:gd name="connsiteY20" fmla="*/ 8270 h 10010"/>
                <a:gd name="connsiteX21" fmla="*/ 415 w 10000"/>
                <a:gd name="connsiteY21" fmla="*/ 8380 h 10010"/>
                <a:gd name="connsiteX22" fmla="*/ 364 w 10000"/>
                <a:gd name="connsiteY22" fmla="*/ 8466 h 10010"/>
                <a:gd name="connsiteX23" fmla="*/ 521 w 10000"/>
                <a:gd name="connsiteY23" fmla="*/ 8474 h 10010"/>
                <a:gd name="connsiteX24" fmla="*/ 676 w 10000"/>
                <a:gd name="connsiteY24" fmla="*/ 8802 h 10010"/>
                <a:gd name="connsiteX25" fmla="*/ 853 w 10000"/>
                <a:gd name="connsiteY25" fmla="*/ 8886 h 10010"/>
                <a:gd name="connsiteX26" fmla="*/ 931 w 10000"/>
                <a:gd name="connsiteY26" fmla="*/ 8975 h 10010"/>
                <a:gd name="connsiteX27" fmla="*/ 1125 w 10000"/>
                <a:gd name="connsiteY27" fmla="*/ 9040 h 10010"/>
                <a:gd name="connsiteX28" fmla="*/ 1249 w 10000"/>
                <a:gd name="connsiteY28" fmla="*/ 9122 h 10010"/>
                <a:gd name="connsiteX29" fmla="*/ 1233 w 10000"/>
                <a:gd name="connsiteY29" fmla="*/ 9181 h 10010"/>
                <a:gd name="connsiteX30" fmla="*/ 1110 w 10000"/>
                <a:gd name="connsiteY30" fmla="*/ 9203 h 10010"/>
                <a:gd name="connsiteX31" fmla="*/ 976 w 10000"/>
                <a:gd name="connsiteY31" fmla="*/ 9189 h 10010"/>
                <a:gd name="connsiteX32" fmla="*/ 935 w 10000"/>
                <a:gd name="connsiteY32" fmla="*/ 9214 h 10010"/>
                <a:gd name="connsiteX33" fmla="*/ 1037 w 10000"/>
                <a:gd name="connsiteY33" fmla="*/ 9342 h 10010"/>
                <a:gd name="connsiteX34" fmla="*/ 894 w 10000"/>
                <a:gd name="connsiteY34" fmla="*/ 9332 h 10010"/>
                <a:gd name="connsiteX35" fmla="*/ 773 w 10000"/>
                <a:gd name="connsiteY35" fmla="*/ 9301 h 10010"/>
                <a:gd name="connsiteX36" fmla="*/ 750 w 10000"/>
                <a:gd name="connsiteY36" fmla="*/ 9348 h 10010"/>
                <a:gd name="connsiteX37" fmla="*/ 1155 w 10000"/>
                <a:gd name="connsiteY37" fmla="*/ 9786 h 10010"/>
                <a:gd name="connsiteX38" fmla="*/ 1091 w 10000"/>
                <a:gd name="connsiteY38" fmla="*/ 9827 h 10010"/>
                <a:gd name="connsiteX39" fmla="*/ 1045 w 10000"/>
                <a:gd name="connsiteY39" fmla="*/ 9912 h 10010"/>
                <a:gd name="connsiteX40" fmla="*/ 987 w 10000"/>
                <a:gd name="connsiteY40" fmla="*/ 9918 h 10010"/>
                <a:gd name="connsiteX41" fmla="*/ 951 w 10000"/>
                <a:gd name="connsiteY41" fmla="*/ 9955 h 10010"/>
                <a:gd name="connsiteX42" fmla="*/ 1195 w 10000"/>
                <a:gd name="connsiteY42" fmla="*/ 9959 h 10010"/>
                <a:gd name="connsiteX43" fmla="*/ 1410 w 10000"/>
                <a:gd name="connsiteY43" fmla="*/ 9996 h 10010"/>
                <a:gd name="connsiteX44" fmla="*/ 1769 w 10000"/>
                <a:gd name="connsiteY44" fmla="*/ 9957 h 10010"/>
                <a:gd name="connsiteX45" fmla="*/ 2091 w 10000"/>
                <a:gd name="connsiteY45" fmla="*/ 9963 h 10010"/>
                <a:gd name="connsiteX46" fmla="*/ 2280 w 10000"/>
                <a:gd name="connsiteY46" fmla="*/ 10010 h 10010"/>
                <a:gd name="connsiteX47" fmla="*/ 2385 w 10000"/>
                <a:gd name="connsiteY47" fmla="*/ 9979 h 10010"/>
                <a:gd name="connsiteX48" fmla="*/ 2485 w 10000"/>
                <a:gd name="connsiteY48" fmla="*/ 9878 h 10010"/>
                <a:gd name="connsiteX49" fmla="*/ 2459 w 10000"/>
                <a:gd name="connsiteY49" fmla="*/ 9713 h 10010"/>
                <a:gd name="connsiteX50" fmla="*/ 2704 w 10000"/>
                <a:gd name="connsiteY50" fmla="*/ 9527 h 10010"/>
                <a:gd name="connsiteX51" fmla="*/ 2883 w 10000"/>
                <a:gd name="connsiteY51" fmla="*/ 9556 h 10010"/>
                <a:gd name="connsiteX52" fmla="*/ 2987 w 10000"/>
                <a:gd name="connsiteY52" fmla="*/ 9482 h 10010"/>
                <a:gd name="connsiteX53" fmla="*/ 3186 w 10000"/>
                <a:gd name="connsiteY53" fmla="*/ 9440 h 10010"/>
                <a:gd name="connsiteX54" fmla="*/ 3457 w 10000"/>
                <a:gd name="connsiteY54" fmla="*/ 9450 h 10010"/>
                <a:gd name="connsiteX55" fmla="*/ 3620 w 10000"/>
                <a:gd name="connsiteY55" fmla="*/ 9480 h 10010"/>
                <a:gd name="connsiteX56" fmla="*/ 3837 w 10000"/>
                <a:gd name="connsiteY56" fmla="*/ 9466 h 10010"/>
                <a:gd name="connsiteX57" fmla="*/ 4056 w 10000"/>
                <a:gd name="connsiteY57" fmla="*/ 9499 h 10010"/>
                <a:gd name="connsiteX58" fmla="*/ 4275 w 10000"/>
                <a:gd name="connsiteY58" fmla="*/ 9503 h 10010"/>
                <a:gd name="connsiteX59" fmla="*/ 4765 w 10000"/>
                <a:gd name="connsiteY59" fmla="*/ 9071 h 10010"/>
                <a:gd name="connsiteX60" fmla="*/ 4889 w 10000"/>
                <a:gd name="connsiteY60" fmla="*/ 8721 h 10010"/>
                <a:gd name="connsiteX61" fmla="*/ 5088 w 10000"/>
                <a:gd name="connsiteY61" fmla="*/ 8564 h 10010"/>
                <a:gd name="connsiteX62" fmla="*/ 5088 w 10000"/>
                <a:gd name="connsiteY62" fmla="*/ 8482 h 10010"/>
                <a:gd name="connsiteX63" fmla="*/ 5016 w 10000"/>
                <a:gd name="connsiteY63" fmla="*/ 8435 h 10010"/>
                <a:gd name="connsiteX64" fmla="*/ 5133 w 10000"/>
                <a:gd name="connsiteY64" fmla="*/ 8362 h 10010"/>
                <a:gd name="connsiteX65" fmla="*/ 5112 w 10000"/>
                <a:gd name="connsiteY65" fmla="*/ 8299 h 10010"/>
                <a:gd name="connsiteX66" fmla="*/ 5032 w 10000"/>
                <a:gd name="connsiteY66" fmla="*/ 8246 h 10010"/>
                <a:gd name="connsiteX67" fmla="*/ 5016 w 10000"/>
                <a:gd name="connsiteY67" fmla="*/ 8209 h 10010"/>
                <a:gd name="connsiteX68" fmla="*/ 5036 w 10000"/>
                <a:gd name="connsiteY68" fmla="*/ 8179 h 10010"/>
                <a:gd name="connsiteX69" fmla="*/ 5144 w 10000"/>
                <a:gd name="connsiteY69" fmla="*/ 8203 h 10010"/>
                <a:gd name="connsiteX70" fmla="*/ 5230 w 10000"/>
                <a:gd name="connsiteY70" fmla="*/ 8201 h 10010"/>
                <a:gd name="connsiteX71" fmla="*/ 5184 w 10000"/>
                <a:gd name="connsiteY71" fmla="*/ 8150 h 10010"/>
                <a:gd name="connsiteX72" fmla="*/ 5198 w 10000"/>
                <a:gd name="connsiteY72" fmla="*/ 8122 h 10010"/>
                <a:gd name="connsiteX73" fmla="*/ 5262 w 10000"/>
                <a:gd name="connsiteY73" fmla="*/ 8079 h 10010"/>
                <a:gd name="connsiteX74" fmla="*/ 5250 w 10000"/>
                <a:gd name="connsiteY74" fmla="*/ 8044 h 10010"/>
                <a:gd name="connsiteX75" fmla="*/ 5309 w 10000"/>
                <a:gd name="connsiteY75" fmla="*/ 7926 h 10010"/>
                <a:gd name="connsiteX76" fmla="*/ 5293 w 10000"/>
                <a:gd name="connsiteY76" fmla="*/ 7891 h 10010"/>
                <a:gd name="connsiteX77" fmla="*/ 4996 w 10000"/>
                <a:gd name="connsiteY77" fmla="*/ 7802 h 10010"/>
                <a:gd name="connsiteX78" fmla="*/ 5036 w 10000"/>
                <a:gd name="connsiteY78" fmla="*/ 7798 h 10010"/>
                <a:gd name="connsiteX79" fmla="*/ 5194 w 10000"/>
                <a:gd name="connsiteY79" fmla="*/ 7822 h 10010"/>
                <a:gd name="connsiteX80" fmla="*/ 5365 w 10000"/>
                <a:gd name="connsiteY80" fmla="*/ 7814 h 10010"/>
                <a:gd name="connsiteX81" fmla="*/ 5415 w 10000"/>
                <a:gd name="connsiteY81" fmla="*/ 7781 h 10010"/>
                <a:gd name="connsiteX82" fmla="*/ 5250 w 10000"/>
                <a:gd name="connsiteY82" fmla="*/ 7720 h 10010"/>
                <a:gd name="connsiteX83" fmla="*/ 4761 w 10000"/>
                <a:gd name="connsiteY83" fmla="*/ 7680 h 10010"/>
                <a:gd name="connsiteX84" fmla="*/ 4794 w 10000"/>
                <a:gd name="connsiteY84" fmla="*/ 7661 h 10010"/>
                <a:gd name="connsiteX85" fmla="*/ 5194 w 10000"/>
                <a:gd name="connsiteY85" fmla="*/ 7649 h 10010"/>
                <a:gd name="connsiteX86" fmla="*/ 5415 w 10000"/>
                <a:gd name="connsiteY86" fmla="*/ 7686 h 10010"/>
                <a:gd name="connsiteX87" fmla="*/ 5542 w 10000"/>
                <a:gd name="connsiteY87" fmla="*/ 7661 h 10010"/>
                <a:gd name="connsiteX88" fmla="*/ 5589 w 10000"/>
                <a:gd name="connsiteY88" fmla="*/ 7598 h 10010"/>
                <a:gd name="connsiteX89" fmla="*/ 5819 w 10000"/>
                <a:gd name="connsiteY89" fmla="*/ 7598 h 10010"/>
                <a:gd name="connsiteX90" fmla="*/ 6131 w 10000"/>
                <a:gd name="connsiteY90" fmla="*/ 7472 h 10010"/>
                <a:gd name="connsiteX91" fmla="*/ 6142 w 10000"/>
                <a:gd name="connsiteY91" fmla="*/ 7388 h 10010"/>
                <a:gd name="connsiteX92" fmla="*/ 6274 w 10000"/>
                <a:gd name="connsiteY92" fmla="*/ 7407 h 10010"/>
                <a:gd name="connsiteX93" fmla="*/ 6268 w 10000"/>
                <a:gd name="connsiteY93" fmla="*/ 7492 h 10010"/>
                <a:gd name="connsiteX94" fmla="*/ 6478 w 10000"/>
                <a:gd name="connsiteY94" fmla="*/ 7486 h 10010"/>
                <a:gd name="connsiteX95" fmla="*/ 6616 w 10000"/>
                <a:gd name="connsiteY95" fmla="*/ 7398 h 10010"/>
                <a:gd name="connsiteX96" fmla="*/ 6872 w 10000"/>
                <a:gd name="connsiteY96" fmla="*/ 7319 h 10010"/>
                <a:gd name="connsiteX97" fmla="*/ 6832 w 10000"/>
                <a:gd name="connsiteY97" fmla="*/ 7229 h 10010"/>
                <a:gd name="connsiteX98" fmla="*/ 6908 w 10000"/>
                <a:gd name="connsiteY98" fmla="*/ 7264 h 10010"/>
                <a:gd name="connsiteX99" fmla="*/ 7025 w 10000"/>
                <a:gd name="connsiteY99" fmla="*/ 7264 h 10010"/>
                <a:gd name="connsiteX100" fmla="*/ 7025 w 10000"/>
                <a:gd name="connsiteY100" fmla="*/ 7223 h 10010"/>
                <a:gd name="connsiteX101" fmla="*/ 7134 w 10000"/>
                <a:gd name="connsiteY101" fmla="*/ 7191 h 10010"/>
                <a:gd name="connsiteX102" fmla="*/ 7119 w 10000"/>
                <a:gd name="connsiteY102" fmla="*/ 7158 h 10010"/>
                <a:gd name="connsiteX103" fmla="*/ 6198 w 10000"/>
                <a:gd name="connsiteY103" fmla="*/ 7225 h 10010"/>
                <a:gd name="connsiteX104" fmla="*/ 5983 w 10000"/>
                <a:gd name="connsiteY104" fmla="*/ 7205 h 10010"/>
                <a:gd name="connsiteX105" fmla="*/ 5895 w 10000"/>
                <a:gd name="connsiteY105" fmla="*/ 7229 h 10010"/>
                <a:gd name="connsiteX106" fmla="*/ 5866 w 10000"/>
                <a:gd name="connsiteY106" fmla="*/ 7183 h 10010"/>
                <a:gd name="connsiteX107" fmla="*/ 5764 w 10000"/>
                <a:gd name="connsiteY107" fmla="*/ 7142 h 10010"/>
                <a:gd name="connsiteX108" fmla="*/ 5354 w 10000"/>
                <a:gd name="connsiteY108" fmla="*/ 7062 h 10010"/>
                <a:gd name="connsiteX109" fmla="*/ 5112 w 10000"/>
                <a:gd name="connsiteY109" fmla="*/ 7075 h 10010"/>
                <a:gd name="connsiteX110" fmla="*/ 5016 w 10000"/>
                <a:gd name="connsiteY110" fmla="*/ 7052 h 10010"/>
                <a:gd name="connsiteX111" fmla="*/ 5118 w 10000"/>
                <a:gd name="connsiteY111" fmla="*/ 7032 h 10010"/>
                <a:gd name="connsiteX112" fmla="*/ 5194 w 10000"/>
                <a:gd name="connsiteY112" fmla="*/ 6989 h 10010"/>
                <a:gd name="connsiteX113" fmla="*/ 5309 w 10000"/>
                <a:gd name="connsiteY113" fmla="*/ 7003 h 10010"/>
                <a:gd name="connsiteX114" fmla="*/ 5445 w 10000"/>
                <a:gd name="connsiteY114" fmla="*/ 6991 h 10010"/>
                <a:gd name="connsiteX115" fmla="*/ 5650 w 10000"/>
                <a:gd name="connsiteY115" fmla="*/ 7005 h 10010"/>
                <a:gd name="connsiteX116" fmla="*/ 5675 w 10000"/>
                <a:gd name="connsiteY116" fmla="*/ 6999 h 10010"/>
                <a:gd name="connsiteX117" fmla="*/ 5834 w 10000"/>
                <a:gd name="connsiteY117" fmla="*/ 7066 h 10010"/>
                <a:gd name="connsiteX118" fmla="*/ 5951 w 10000"/>
                <a:gd name="connsiteY118" fmla="*/ 7042 h 10010"/>
                <a:gd name="connsiteX119" fmla="*/ 5961 w 10000"/>
                <a:gd name="connsiteY119" fmla="*/ 7020 h 10010"/>
                <a:gd name="connsiteX120" fmla="*/ 6069 w 10000"/>
                <a:gd name="connsiteY120" fmla="*/ 7058 h 10010"/>
                <a:gd name="connsiteX121" fmla="*/ 6212 w 10000"/>
                <a:gd name="connsiteY121" fmla="*/ 7079 h 10010"/>
                <a:gd name="connsiteX122" fmla="*/ 6268 w 10000"/>
                <a:gd name="connsiteY122" fmla="*/ 7040 h 10010"/>
                <a:gd name="connsiteX123" fmla="*/ 6314 w 10000"/>
                <a:gd name="connsiteY123" fmla="*/ 7062 h 10010"/>
                <a:gd name="connsiteX124" fmla="*/ 6381 w 10000"/>
                <a:gd name="connsiteY124" fmla="*/ 7136 h 10010"/>
                <a:gd name="connsiteX125" fmla="*/ 6519 w 10000"/>
                <a:gd name="connsiteY125" fmla="*/ 7154 h 10010"/>
                <a:gd name="connsiteX126" fmla="*/ 7082 w 10000"/>
                <a:gd name="connsiteY126" fmla="*/ 7044 h 10010"/>
                <a:gd name="connsiteX127" fmla="*/ 7359 w 10000"/>
                <a:gd name="connsiteY127" fmla="*/ 6889 h 10010"/>
                <a:gd name="connsiteX128" fmla="*/ 7423 w 10000"/>
                <a:gd name="connsiteY128" fmla="*/ 6775 h 10010"/>
                <a:gd name="connsiteX129" fmla="*/ 7323 w 10000"/>
                <a:gd name="connsiteY129" fmla="*/ 6673 h 10010"/>
                <a:gd name="connsiteX130" fmla="*/ 7113 w 10000"/>
                <a:gd name="connsiteY130" fmla="*/ 6612 h 10010"/>
                <a:gd name="connsiteX131" fmla="*/ 6963 w 10000"/>
                <a:gd name="connsiteY131" fmla="*/ 6512 h 10010"/>
                <a:gd name="connsiteX132" fmla="*/ 7102 w 10000"/>
                <a:gd name="connsiteY132" fmla="*/ 6508 h 10010"/>
                <a:gd name="connsiteX133" fmla="*/ 7093 w 10000"/>
                <a:gd name="connsiteY133" fmla="*/ 6484 h 10010"/>
                <a:gd name="connsiteX134" fmla="*/ 6731 w 10000"/>
                <a:gd name="connsiteY134" fmla="*/ 6413 h 10010"/>
                <a:gd name="connsiteX135" fmla="*/ 6716 w 10000"/>
                <a:gd name="connsiteY135" fmla="*/ 6349 h 10010"/>
                <a:gd name="connsiteX136" fmla="*/ 6646 w 10000"/>
                <a:gd name="connsiteY136" fmla="*/ 6282 h 10010"/>
                <a:gd name="connsiteX137" fmla="*/ 6360 w 10000"/>
                <a:gd name="connsiteY137" fmla="*/ 6294 h 10010"/>
                <a:gd name="connsiteX138" fmla="*/ 6258 w 10000"/>
                <a:gd name="connsiteY138" fmla="*/ 6223 h 10010"/>
                <a:gd name="connsiteX139" fmla="*/ 6198 w 10000"/>
                <a:gd name="connsiteY139" fmla="*/ 6219 h 10010"/>
                <a:gd name="connsiteX140" fmla="*/ 6198 w 10000"/>
                <a:gd name="connsiteY140" fmla="*/ 6248 h 10010"/>
                <a:gd name="connsiteX141" fmla="*/ 6069 w 10000"/>
                <a:gd name="connsiteY141" fmla="*/ 6368 h 10010"/>
                <a:gd name="connsiteX142" fmla="*/ 5930 w 10000"/>
                <a:gd name="connsiteY142" fmla="*/ 6439 h 10010"/>
                <a:gd name="connsiteX143" fmla="*/ 5495 w 10000"/>
                <a:gd name="connsiteY143" fmla="*/ 6561 h 10010"/>
                <a:gd name="connsiteX144" fmla="*/ 5342 w 10000"/>
                <a:gd name="connsiteY144" fmla="*/ 6557 h 10010"/>
                <a:gd name="connsiteX145" fmla="*/ 5133 w 10000"/>
                <a:gd name="connsiteY145" fmla="*/ 6575 h 10010"/>
                <a:gd name="connsiteX146" fmla="*/ 5016 w 10000"/>
                <a:gd name="connsiteY146" fmla="*/ 6557 h 10010"/>
                <a:gd name="connsiteX147" fmla="*/ 5169 w 10000"/>
                <a:gd name="connsiteY147" fmla="*/ 6523 h 10010"/>
                <a:gd name="connsiteX148" fmla="*/ 5369 w 10000"/>
                <a:gd name="connsiteY148" fmla="*/ 6508 h 10010"/>
                <a:gd name="connsiteX149" fmla="*/ 5534 w 10000"/>
                <a:gd name="connsiteY149" fmla="*/ 6451 h 10010"/>
                <a:gd name="connsiteX150" fmla="*/ 5695 w 10000"/>
                <a:gd name="connsiteY150" fmla="*/ 6425 h 10010"/>
                <a:gd name="connsiteX151" fmla="*/ 5998 w 10000"/>
                <a:gd name="connsiteY151" fmla="*/ 6327 h 10010"/>
                <a:gd name="connsiteX152" fmla="*/ 6056 w 10000"/>
                <a:gd name="connsiteY152" fmla="*/ 6262 h 10010"/>
                <a:gd name="connsiteX153" fmla="*/ 6060 w 10000"/>
                <a:gd name="connsiteY153" fmla="*/ 6178 h 10010"/>
                <a:gd name="connsiteX154" fmla="*/ 5921 w 10000"/>
                <a:gd name="connsiteY154" fmla="*/ 6164 h 10010"/>
                <a:gd name="connsiteX155" fmla="*/ 5983 w 10000"/>
                <a:gd name="connsiteY155" fmla="*/ 6113 h 10010"/>
                <a:gd name="connsiteX156" fmla="*/ 6002 w 10000"/>
                <a:gd name="connsiteY156" fmla="*/ 6048 h 10010"/>
                <a:gd name="connsiteX157" fmla="*/ 5944 w 10000"/>
                <a:gd name="connsiteY157" fmla="*/ 5987 h 10010"/>
                <a:gd name="connsiteX158" fmla="*/ 5911 w 10000"/>
                <a:gd name="connsiteY158" fmla="*/ 5543 h 10010"/>
                <a:gd name="connsiteX159" fmla="*/ 5993 w 10000"/>
                <a:gd name="connsiteY159" fmla="*/ 5447 h 10010"/>
                <a:gd name="connsiteX160" fmla="*/ 5972 w 10000"/>
                <a:gd name="connsiteY160" fmla="*/ 5408 h 10010"/>
                <a:gd name="connsiteX161" fmla="*/ 6212 w 10000"/>
                <a:gd name="connsiteY161" fmla="*/ 5465 h 10010"/>
                <a:gd name="connsiteX162" fmla="*/ 6229 w 10000"/>
                <a:gd name="connsiteY162" fmla="*/ 5412 h 10010"/>
                <a:gd name="connsiteX163" fmla="*/ 6176 w 10000"/>
                <a:gd name="connsiteY163" fmla="*/ 5274 h 10010"/>
                <a:gd name="connsiteX164" fmla="*/ 6349 w 10000"/>
                <a:gd name="connsiteY164" fmla="*/ 5029 h 10010"/>
                <a:gd name="connsiteX165" fmla="*/ 6243 w 10000"/>
                <a:gd name="connsiteY165" fmla="*/ 4970 h 10010"/>
                <a:gd name="connsiteX166" fmla="*/ 6202 w 10000"/>
                <a:gd name="connsiteY166" fmla="*/ 4915 h 10010"/>
                <a:gd name="connsiteX167" fmla="*/ 6216 w 10000"/>
                <a:gd name="connsiteY167" fmla="*/ 4826 h 10010"/>
                <a:gd name="connsiteX168" fmla="*/ 6470 w 10000"/>
                <a:gd name="connsiteY168" fmla="*/ 4885 h 10010"/>
                <a:gd name="connsiteX169" fmla="*/ 6478 w 10000"/>
                <a:gd name="connsiteY169" fmla="*/ 4868 h 10010"/>
                <a:gd name="connsiteX170" fmla="*/ 6548 w 10000"/>
                <a:gd name="connsiteY170" fmla="*/ 4852 h 10010"/>
                <a:gd name="connsiteX171" fmla="*/ 6646 w 10000"/>
                <a:gd name="connsiteY171" fmla="*/ 4795 h 10010"/>
                <a:gd name="connsiteX172" fmla="*/ 6662 w 10000"/>
                <a:gd name="connsiteY172" fmla="*/ 4779 h 10010"/>
                <a:gd name="connsiteX173" fmla="*/ 6641 w 10000"/>
                <a:gd name="connsiteY173" fmla="*/ 4758 h 10010"/>
                <a:gd name="connsiteX174" fmla="*/ 6693 w 10000"/>
                <a:gd name="connsiteY174" fmla="*/ 4657 h 10010"/>
                <a:gd name="connsiteX175" fmla="*/ 6631 w 10000"/>
                <a:gd name="connsiteY175" fmla="*/ 4591 h 10010"/>
                <a:gd name="connsiteX176" fmla="*/ 6641 w 10000"/>
                <a:gd name="connsiteY176" fmla="*/ 4538 h 10010"/>
                <a:gd name="connsiteX177" fmla="*/ 6676 w 10000"/>
                <a:gd name="connsiteY177" fmla="*/ 4600 h 10010"/>
                <a:gd name="connsiteX178" fmla="*/ 6815 w 10000"/>
                <a:gd name="connsiteY178" fmla="*/ 4646 h 10010"/>
                <a:gd name="connsiteX179" fmla="*/ 6872 w 10000"/>
                <a:gd name="connsiteY179" fmla="*/ 4640 h 10010"/>
                <a:gd name="connsiteX180" fmla="*/ 6963 w 10000"/>
                <a:gd name="connsiteY180" fmla="*/ 4579 h 10010"/>
                <a:gd name="connsiteX181" fmla="*/ 7062 w 10000"/>
                <a:gd name="connsiteY181" fmla="*/ 4604 h 10010"/>
                <a:gd name="connsiteX182" fmla="*/ 7088 w 10000"/>
                <a:gd name="connsiteY182" fmla="*/ 4555 h 10010"/>
                <a:gd name="connsiteX183" fmla="*/ 7154 w 10000"/>
                <a:gd name="connsiteY183" fmla="*/ 4522 h 10010"/>
                <a:gd name="connsiteX184" fmla="*/ 6974 w 10000"/>
                <a:gd name="connsiteY184" fmla="*/ 4487 h 10010"/>
                <a:gd name="connsiteX185" fmla="*/ 7102 w 10000"/>
                <a:gd name="connsiteY185" fmla="*/ 4494 h 10010"/>
                <a:gd name="connsiteX186" fmla="*/ 7234 w 10000"/>
                <a:gd name="connsiteY186" fmla="*/ 4457 h 10010"/>
                <a:gd name="connsiteX187" fmla="*/ 7229 w 10000"/>
                <a:gd name="connsiteY187" fmla="*/ 4432 h 10010"/>
                <a:gd name="connsiteX188" fmla="*/ 7353 w 10000"/>
                <a:gd name="connsiteY188" fmla="*/ 4408 h 10010"/>
                <a:gd name="connsiteX189" fmla="*/ 7364 w 10000"/>
                <a:gd name="connsiteY189" fmla="*/ 4347 h 10010"/>
                <a:gd name="connsiteX190" fmla="*/ 7461 w 10000"/>
                <a:gd name="connsiteY190" fmla="*/ 4335 h 10010"/>
                <a:gd name="connsiteX191" fmla="*/ 7469 w 10000"/>
                <a:gd name="connsiteY191" fmla="*/ 4263 h 10010"/>
                <a:gd name="connsiteX192" fmla="*/ 7572 w 10000"/>
                <a:gd name="connsiteY192" fmla="*/ 4255 h 10010"/>
                <a:gd name="connsiteX193" fmla="*/ 7730 w 10000"/>
                <a:gd name="connsiteY193" fmla="*/ 4270 h 10010"/>
                <a:gd name="connsiteX194" fmla="*/ 7904 w 10000"/>
                <a:gd name="connsiteY194" fmla="*/ 4212 h 10010"/>
                <a:gd name="connsiteX195" fmla="*/ 7966 w 10000"/>
                <a:gd name="connsiteY195" fmla="*/ 4147 h 10010"/>
                <a:gd name="connsiteX196" fmla="*/ 8181 w 10000"/>
                <a:gd name="connsiteY196" fmla="*/ 4080 h 10010"/>
                <a:gd name="connsiteX197" fmla="*/ 8288 w 10000"/>
                <a:gd name="connsiteY197" fmla="*/ 4121 h 10010"/>
                <a:gd name="connsiteX198" fmla="*/ 8452 w 10000"/>
                <a:gd name="connsiteY198" fmla="*/ 4076 h 10010"/>
                <a:gd name="connsiteX199" fmla="*/ 8491 w 10000"/>
                <a:gd name="connsiteY199" fmla="*/ 4019 h 10010"/>
                <a:gd name="connsiteX200" fmla="*/ 8616 w 10000"/>
                <a:gd name="connsiteY200" fmla="*/ 3980 h 10010"/>
                <a:gd name="connsiteX201" fmla="*/ 8722 w 10000"/>
                <a:gd name="connsiteY201" fmla="*/ 3997 h 10010"/>
                <a:gd name="connsiteX202" fmla="*/ 8789 w 10000"/>
                <a:gd name="connsiteY202" fmla="*/ 3968 h 10010"/>
                <a:gd name="connsiteX203" fmla="*/ 8973 w 10000"/>
                <a:gd name="connsiteY203" fmla="*/ 3927 h 10010"/>
                <a:gd name="connsiteX204" fmla="*/ 9049 w 10000"/>
                <a:gd name="connsiteY204" fmla="*/ 3874 h 10010"/>
                <a:gd name="connsiteX205" fmla="*/ 9153 w 10000"/>
                <a:gd name="connsiteY205" fmla="*/ 3852 h 10010"/>
                <a:gd name="connsiteX206" fmla="*/ 9720 w 10000"/>
                <a:gd name="connsiteY206" fmla="*/ 3532 h 10010"/>
                <a:gd name="connsiteX207" fmla="*/ 9971 w 10000"/>
                <a:gd name="connsiteY207" fmla="*/ 399 h 10010"/>
                <a:gd name="connsiteX208" fmla="*/ 9049 w 10000"/>
                <a:gd name="connsiteY208" fmla="*/ 36 h 10010"/>
                <a:gd name="connsiteX209" fmla="*/ 8706 w 10000"/>
                <a:gd name="connsiteY209" fmla="*/ 10 h 10010"/>
                <a:gd name="connsiteX210" fmla="*/ 8652 w 10000"/>
                <a:gd name="connsiteY210" fmla="*/ 218 h 10010"/>
                <a:gd name="connsiteX211" fmla="*/ 8667 w 10000"/>
                <a:gd name="connsiteY211" fmla="*/ 444 h 10010"/>
                <a:gd name="connsiteX212" fmla="*/ 8591 w 10000"/>
                <a:gd name="connsiteY212" fmla="*/ 485 h 10010"/>
                <a:gd name="connsiteX213" fmla="*/ 8477 w 10000"/>
                <a:gd name="connsiteY213" fmla="*/ 495 h 10010"/>
                <a:gd name="connsiteX214" fmla="*/ 7537 w 10000"/>
                <a:gd name="connsiteY214" fmla="*/ 397 h 10010"/>
                <a:gd name="connsiteX215" fmla="*/ 7423 w 10000"/>
                <a:gd name="connsiteY215" fmla="*/ 405 h 10010"/>
                <a:gd name="connsiteX216" fmla="*/ 7359 w 10000"/>
                <a:gd name="connsiteY216" fmla="*/ 424 h 10010"/>
                <a:gd name="connsiteX217" fmla="*/ 7290 w 10000"/>
                <a:gd name="connsiteY217" fmla="*/ 472 h 10010"/>
                <a:gd name="connsiteX218" fmla="*/ 7302 w 10000"/>
                <a:gd name="connsiteY218" fmla="*/ 591 h 10010"/>
                <a:gd name="connsiteX219" fmla="*/ 7199 w 10000"/>
                <a:gd name="connsiteY219" fmla="*/ 745 h 10010"/>
                <a:gd name="connsiteX220" fmla="*/ 7072 w 10000"/>
                <a:gd name="connsiteY220" fmla="*/ 825 h 10010"/>
                <a:gd name="connsiteX221" fmla="*/ 7021 w 10000"/>
                <a:gd name="connsiteY221" fmla="*/ 815 h 10010"/>
                <a:gd name="connsiteX222" fmla="*/ 6903 w 10000"/>
                <a:gd name="connsiteY222" fmla="*/ 749 h 10010"/>
                <a:gd name="connsiteX223" fmla="*/ 6756 w 10000"/>
                <a:gd name="connsiteY223" fmla="*/ 715 h 10010"/>
                <a:gd name="connsiteX224" fmla="*/ 6594 w 10000"/>
                <a:gd name="connsiteY224" fmla="*/ 725 h 10010"/>
                <a:gd name="connsiteX225" fmla="*/ 6223 w 10000"/>
                <a:gd name="connsiteY225" fmla="*/ 876 h 10010"/>
                <a:gd name="connsiteX226" fmla="*/ 6125 w 10000"/>
                <a:gd name="connsiteY226" fmla="*/ 1027 h 10010"/>
                <a:gd name="connsiteX227" fmla="*/ 5845 w 10000"/>
                <a:gd name="connsiteY227" fmla="*/ 1163 h 10010"/>
                <a:gd name="connsiteX228" fmla="*/ 5794 w 10000"/>
                <a:gd name="connsiteY228" fmla="*/ 1232 h 10010"/>
                <a:gd name="connsiteX229" fmla="*/ 5940 w 10000"/>
                <a:gd name="connsiteY229" fmla="*/ 1354 h 10010"/>
                <a:gd name="connsiteX230" fmla="*/ 5956 w 10000"/>
                <a:gd name="connsiteY230" fmla="*/ 1422 h 10010"/>
                <a:gd name="connsiteX231" fmla="*/ 5190 w 10000"/>
                <a:gd name="connsiteY231" fmla="*/ 1823 h 10010"/>
                <a:gd name="connsiteX232" fmla="*/ 4955 w 10000"/>
                <a:gd name="connsiteY232" fmla="*/ 2080 h 10010"/>
                <a:gd name="connsiteX233" fmla="*/ 4702 w 10000"/>
                <a:gd name="connsiteY233" fmla="*/ 2145 h 10010"/>
                <a:gd name="connsiteX234" fmla="*/ 4540 w 10000"/>
                <a:gd name="connsiteY234" fmla="*/ 2141 h 10010"/>
                <a:gd name="connsiteX235" fmla="*/ 4443 w 10000"/>
                <a:gd name="connsiteY235" fmla="*/ 2163 h 10010"/>
                <a:gd name="connsiteX236" fmla="*/ 4178 w 10000"/>
                <a:gd name="connsiteY236" fmla="*/ 2803 h 10010"/>
                <a:gd name="connsiteX237" fmla="*/ 3565 w 10000"/>
                <a:gd name="connsiteY237" fmla="*/ 3176 h 10010"/>
                <a:gd name="connsiteX238" fmla="*/ 3569 w 10000"/>
                <a:gd name="connsiteY238" fmla="*/ 3235 h 10010"/>
                <a:gd name="connsiteX239" fmla="*/ 3841 w 10000"/>
                <a:gd name="connsiteY239" fmla="*/ 3402 h 10010"/>
                <a:gd name="connsiteX240" fmla="*/ 3753 w 10000"/>
                <a:gd name="connsiteY240" fmla="*/ 3583 h 10010"/>
                <a:gd name="connsiteX241" fmla="*/ 3594 w 10000"/>
                <a:gd name="connsiteY241" fmla="*/ 3650 h 10010"/>
                <a:gd name="connsiteX242" fmla="*/ 3118 w 10000"/>
                <a:gd name="connsiteY242" fmla="*/ 3605 h 10010"/>
                <a:gd name="connsiteX243" fmla="*/ 2791 w 10000"/>
                <a:gd name="connsiteY243" fmla="*/ 3630 h 10010"/>
                <a:gd name="connsiteX244" fmla="*/ 2528 w 10000"/>
                <a:gd name="connsiteY244" fmla="*/ 3683 h 10010"/>
                <a:gd name="connsiteX245" fmla="*/ 2102 w 10000"/>
                <a:gd name="connsiteY245" fmla="*/ 3850 h 10010"/>
                <a:gd name="connsiteX246" fmla="*/ 1877 w 10000"/>
                <a:gd name="connsiteY246" fmla="*/ 4052 h 10010"/>
                <a:gd name="connsiteX247" fmla="*/ 1896 w 10000"/>
                <a:gd name="connsiteY247" fmla="*/ 4164 h 10010"/>
                <a:gd name="connsiteX248" fmla="*/ 1975 w 10000"/>
                <a:gd name="connsiteY248" fmla="*/ 4251 h 10010"/>
                <a:gd name="connsiteX249" fmla="*/ 2034 w 10000"/>
                <a:gd name="connsiteY249" fmla="*/ 4286 h 10010"/>
                <a:gd name="connsiteX250" fmla="*/ 1924 w 10000"/>
                <a:gd name="connsiteY250" fmla="*/ 4341 h 10010"/>
                <a:gd name="connsiteX251" fmla="*/ 1683 w 10000"/>
                <a:gd name="connsiteY251" fmla="*/ 4720 h 10010"/>
                <a:gd name="connsiteX252" fmla="*/ 1729 w 10000"/>
                <a:gd name="connsiteY252" fmla="*/ 4742 h 10010"/>
                <a:gd name="connsiteX253" fmla="*/ 1764 w 10000"/>
                <a:gd name="connsiteY253" fmla="*/ 4838 h 10010"/>
                <a:gd name="connsiteX254" fmla="*/ 1652 w 10000"/>
                <a:gd name="connsiteY254" fmla="*/ 5237 h 10010"/>
                <a:gd name="connsiteX255" fmla="*/ 1764 w 10000"/>
                <a:gd name="connsiteY255" fmla="*/ 5339 h 10010"/>
                <a:gd name="connsiteX256" fmla="*/ 2071 w 10000"/>
                <a:gd name="connsiteY256" fmla="*/ 5451 h 10010"/>
                <a:gd name="connsiteX257" fmla="*/ 2085 w 10000"/>
                <a:gd name="connsiteY257" fmla="*/ 5588 h 10010"/>
                <a:gd name="connsiteX258" fmla="*/ 1954 w 10000"/>
                <a:gd name="connsiteY258" fmla="*/ 5700 h 10010"/>
                <a:gd name="connsiteX259" fmla="*/ 1764 w 10000"/>
                <a:gd name="connsiteY259" fmla="*/ 5769 h 10010"/>
                <a:gd name="connsiteX260" fmla="*/ 1513 w 10000"/>
                <a:gd name="connsiteY260" fmla="*/ 5797 h 10010"/>
                <a:gd name="connsiteX261" fmla="*/ 1448 w 10000"/>
                <a:gd name="connsiteY261" fmla="*/ 5836 h 10010"/>
                <a:gd name="connsiteX262" fmla="*/ 1594 w 10000"/>
                <a:gd name="connsiteY262" fmla="*/ 5930 h 10010"/>
                <a:gd name="connsiteX263" fmla="*/ 1678 w 10000"/>
                <a:gd name="connsiteY263" fmla="*/ 6152 h 10010"/>
                <a:gd name="connsiteX264" fmla="*/ 1488 w 10000"/>
                <a:gd name="connsiteY264" fmla="*/ 6343 h 10010"/>
                <a:gd name="connsiteX265" fmla="*/ 1554 w 10000"/>
                <a:gd name="connsiteY265" fmla="*/ 6402 h 10010"/>
                <a:gd name="connsiteX266" fmla="*/ 1494 w 10000"/>
                <a:gd name="connsiteY266" fmla="*/ 6502 h 10010"/>
                <a:gd name="connsiteX267" fmla="*/ 1372 w 10000"/>
                <a:gd name="connsiteY267" fmla="*/ 6571 h 10010"/>
                <a:gd name="connsiteX268" fmla="*/ 889 w 10000"/>
                <a:gd name="connsiteY268" fmla="*/ 6624 h 10010"/>
                <a:gd name="connsiteX269" fmla="*/ 860 w 10000"/>
                <a:gd name="connsiteY269" fmla="*/ 6716 h 10010"/>
                <a:gd name="connsiteX270" fmla="*/ 600 w 10000"/>
                <a:gd name="connsiteY270" fmla="*/ 6853 h 10010"/>
                <a:gd name="connsiteX271" fmla="*/ 634 w 10000"/>
                <a:gd name="connsiteY271" fmla="*/ 7050 h 10010"/>
                <a:gd name="connsiteX272" fmla="*/ 415 w 10000"/>
                <a:gd name="connsiteY272" fmla="*/ 7303 h 10010"/>
                <a:gd name="connsiteX273" fmla="*/ 266 w 10000"/>
                <a:gd name="connsiteY273" fmla="*/ 7333 h 10010"/>
                <a:gd name="connsiteX274" fmla="*/ 204 w 10000"/>
                <a:gd name="connsiteY274" fmla="*/ 7272 h 10010"/>
                <a:gd name="connsiteX275" fmla="*/ 128 w 10000"/>
                <a:gd name="connsiteY275" fmla="*/ 7364 h 10010"/>
                <a:gd name="connsiteX276" fmla="*/ 178 w 10000"/>
                <a:gd name="connsiteY276" fmla="*/ 7207 h 10010"/>
                <a:gd name="connsiteX277" fmla="*/ 147 w 10000"/>
                <a:gd name="connsiteY277" fmla="*/ 7176 h 10010"/>
                <a:gd name="connsiteX0" fmla="*/ 147 w 10000"/>
                <a:gd name="connsiteY0" fmla="*/ 7176 h 10010"/>
                <a:gd name="connsiteX1" fmla="*/ 0 w 10000"/>
                <a:gd name="connsiteY1" fmla="*/ 7258 h 10010"/>
                <a:gd name="connsiteX2" fmla="*/ 0 w 10000"/>
                <a:gd name="connsiteY2" fmla="*/ 7661 h 10010"/>
                <a:gd name="connsiteX3" fmla="*/ 81 w 10000"/>
                <a:gd name="connsiteY3" fmla="*/ 7673 h 10010"/>
                <a:gd name="connsiteX4" fmla="*/ 100 w 10000"/>
                <a:gd name="connsiteY4" fmla="*/ 7704 h 10010"/>
                <a:gd name="connsiteX5" fmla="*/ 96 w 10000"/>
                <a:gd name="connsiteY5" fmla="*/ 7759 h 10010"/>
                <a:gd name="connsiteX6" fmla="*/ 66 w 10000"/>
                <a:gd name="connsiteY6" fmla="*/ 7783 h 10010"/>
                <a:gd name="connsiteX7" fmla="*/ 190 w 10000"/>
                <a:gd name="connsiteY7" fmla="*/ 7737 h 10010"/>
                <a:gd name="connsiteX8" fmla="*/ 242 w 10000"/>
                <a:gd name="connsiteY8" fmla="*/ 7690 h 10010"/>
                <a:gd name="connsiteX9" fmla="*/ 306 w 10000"/>
                <a:gd name="connsiteY9" fmla="*/ 7722 h 10010"/>
                <a:gd name="connsiteX10" fmla="*/ 235 w 10000"/>
                <a:gd name="connsiteY10" fmla="*/ 7788 h 10010"/>
                <a:gd name="connsiteX11" fmla="*/ 311 w 10000"/>
                <a:gd name="connsiteY11" fmla="*/ 7790 h 10010"/>
                <a:gd name="connsiteX12" fmla="*/ 348 w 10000"/>
                <a:gd name="connsiteY12" fmla="*/ 7806 h 10010"/>
                <a:gd name="connsiteX13" fmla="*/ 250 w 10000"/>
                <a:gd name="connsiteY13" fmla="*/ 7828 h 10010"/>
                <a:gd name="connsiteX14" fmla="*/ 96 w 10000"/>
                <a:gd name="connsiteY14" fmla="*/ 7896 h 10010"/>
                <a:gd name="connsiteX15" fmla="*/ 370 w 10000"/>
                <a:gd name="connsiteY15" fmla="*/ 7948 h 10010"/>
                <a:gd name="connsiteX16" fmla="*/ 404 w 10000"/>
                <a:gd name="connsiteY16" fmla="*/ 8024 h 10010"/>
                <a:gd name="connsiteX17" fmla="*/ 311 w 10000"/>
                <a:gd name="connsiteY17" fmla="*/ 8136 h 10010"/>
                <a:gd name="connsiteX18" fmla="*/ 511 w 10000"/>
                <a:gd name="connsiteY18" fmla="*/ 8128 h 10010"/>
                <a:gd name="connsiteX19" fmla="*/ 526 w 10000"/>
                <a:gd name="connsiteY19" fmla="*/ 8213 h 10010"/>
                <a:gd name="connsiteX20" fmla="*/ 393 w 10000"/>
                <a:gd name="connsiteY20" fmla="*/ 8270 h 10010"/>
                <a:gd name="connsiteX21" fmla="*/ 415 w 10000"/>
                <a:gd name="connsiteY21" fmla="*/ 8380 h 10010"/>
                <a:gd name="connsiteX22" fmla="*/ 364 w 10000"/>
                <a:gd name="connsiteY22" fmla="*/ 8466 h 10010"/>
                <a:gd name="connsiteX23" fmla="*/ 521 w 10000"/>
                <a:gd name="connsiteY23" fmla="*/ 8474 h 10010"/>
                <a:gd name="connsiteX24" fmla="*/ 676 w 10000"/>
                <a:gd name="connsiteY24" fmla="*/ 8802 h 10010"/>
                <a:gd name="connsiteX25" fmla="*/ 853 w 10000"/>
                <a:gd name="connsiteY25" fmla="*/ 8886 h 10010"/>
                <a:gd name="connsiteX26" fmla="*/ 931 w 10000"/>
                <a:gd name="connsiteY26" fmla="*/ 8975 h 10010"/>
                <a:gd name="connsiteX27" fmla="*/ 1125 w 10000"/>
                <a:gd name="connsiteY27" fmla="*/ 9040 h 10010"/>
                <a:gd name="connsiteX28" fmla="*/ 1249 w 10000"/>
                <a:gd name="connsiteY28" fmla="*/ 9122 h 10010"/>
                <a:gd name="connsiteX29" fmla="*/ 1233 w 10000"/>
                <a:gd name="connsiteY29" fmla="*/ 9181 h 10010"/>
                <a:gd name="connsiteX30" fmla="*/ 1110 w 10000"/>
                <a:gd name="connsiteY30" fmla="*/ 9203 h 10010"/>
                <a:gd name="connsiteX31" fmla="*/ 976 w 10000"/>
                <a:gd name="connsiteY31" fmla="*/ 9189 h 10010"/>
                <a:gd name="connsiteX32" fmla="*/ 935 w 10000"/>
                <a:gd name="connsiteY32" fmla="*/ 9214 h 10010"/>
                <a:gd name="connsiteX33" fmla="*/ 1037 w 10000"/>
                <a:gd name="connsiteY33" fmla="*/ 9342 h 10010"/>
                <a:gd name="connsiteX34" fmla="*/ 894 w 10000"/>
                <a:gd name="connsiteY34" fmla="*/ 9332 h 10010"/>
                <a:gd name="connsiteX35" fmla="*/ 773 w 10000"/>
                <a:gd name="connsiteY35" fmla="*/ 9301 h 10010"/>
                <a:gd name="connsiteX36" fmla="*/ 750 w 10000"/>
                <a:gd name="connsiteY36" fmla="*/ 9348 h 10010"/>
                <a:gd name="connsiteX37" fmla="*/ 1155 w 10000"/>
                <a:gd name="connsiteY37" fmla="*/ 9786 h 10010"/>
                <a:gd name="connsiteX38" fmla="*/ 1091 w 10000"/>
                <a:gd name="connsiteY38" fmla="*/ 9827 h 10010"/>
                <a:gd name="connsiteX39" fmla="*/ 1045 w 10000"/>
                <a:gd name="connsiteY39" fmla="*/ 9912 h 10010"/>
                <a:gd name="connsiteX40" fmla="*/ 987 w 10000"/>
                <a:gd name="connsiteY40" fmla="*/ 9918 h 10010"/>
                <a:gd name="connsiteX41" fmla="*/ 951 w 10000"/>
                <a:gd name="connsiteY41" fmla="*/ 9955 h 10010"/>
                <a:gd name="connsiteX42" fmla="*/ 1195 w 10000"/>
                <a:gd name="connsiteY42" fmla="*/ 9959 h 10010"/>
                <a:gd name="connsiteX43" fmla="*/ 1410 w 10000"/>
                <a:gd name="connsiteY43" fmla="*/ 9996 h 10010"/>
                <a:gd name="connsiteX44" fmla="*/ 1769 w 10000"/>
                <a:gd name="connsiteY44" fmla="*/ 9957 h 10010"/>
                <a:gd name="connsiteX45" fmla="*/ 2091 w 10000"/>
                <a:gd name="connsiteY45" fmla="*/ 9963 h 10010"/>
                <a:gd name="connsiteX46" fmla="*/ 2280 w 10000"/>
                <a:gd name="connsiteY46" fmla="*/ 10010 h 10010"/>
                <a:gd name="connsiteX47" fmla="*/ 2385 w 10000"/>
                <a:gd name="connsiteY47" fmla="*/ 9979 h 10010"/>
                <a:gd name="connsiteX48" fmla="*/ 2485 w 10000"/>
                <a:gd name="connsiteY48" fmla="*/ 9878 h 10010"/>
                <a:gd name="connsiteX49" fmla="*/ 2459 w 10000"/>
                <a:gd name="connsiteY49" fmla="*/ 9713 h 10010"/>
                <a:gd name="connsiteX50" fmla="*/ 2704 w 10000"/>
                <a:gd name="connsiteY50" fmla="*/ 9527 h 10010"/>
                <a:gd name="connsiteX51" fmla="*/ 2883 w 10000"/>
                <a:gd name="connsiteY51" fmla="*/ 9556 h 10010"/>
                <a:gd name="connsiteX52" fmla="*/ 2987 w 10000"/>
                <a:gd name="connsiteY52" fmla="*/ 9482 h 10010"/>
                <a:gd name="connsiteX53" fmla="*/ 3186 w 10000"/>
                <a:gd name="connsiteY53" fmla="*/ 9440 h 10010"/>
                <a:gd name="connsiteX54" fmla="*/ 3457 w 10000"/>
                <a:gd name="connsiteY54" fmla="*/ 9450 h 10010"/>
                <a:gd name="connsiteX55" fmla="*/ 3620 w 10000"/>
                <a:gd name="connsiteY55" fmla="*/ 9480 h 10010"/>
                <a:gd name="connsiteX56" fmla="*/ 3837 w 10000"/>
                <a:gd name="connsiteY56" fmla="*/ 9466 h 10010"/>
                <a:gd name="connsiteX57" fmla="*/ 4056 w 10000"/>
                <a:gd name="connsiteY57" fmla="*/ 9499 h 10010"/>
                <a:gd name="connsiteX58" fmla="*/ 4275 w 10000"/>
                <a:gd name="connsiteY58" fmla="*/ 9503 h 10010"/>
                <a:gd name="connsiteX59" fmla="*/ 4765 w 10000"/>
                <a:gd name="connsiteY59" fmla="*/ 9071 h 10010"/>
                <a:gd name="connsiteX60" fmla="*/ 4889 w 10000"/>
                <a:gd name="connsiteY60" fmla="*/ 8721 h 10010"/>
                <a:gd name="connsiteX61" fmla="*/ 5088 w 10000"/>
                <a:gd name="connsiteY61" fmla="*/ 8564 h 10010"/>
                <a:gd name="connsiteX62" fmla="*/ 5088 w 10000"/>
                <a:gd name="connsiteY62" fmla="*/ 8482 h 10010"/>
                <a:gd name="connsiteX63" fmla="*/ 5016 w 10000"/>
                <a:gd name="connsiteY63" fmla="*/ 8435 h 10010"/>
                <a:gd name="connsiteX64" fmla="*/ 5133 w 10000"/>
                <a:gd name="connsiteY64" fmla="*/ 8362 h 10010"/>
                <a:gd name="connsiteX65" fmla="*/ 5112 w 10000"/>
                <a:gd name="connsiteY65" fmla="*/ 8299 h 10010"/>
                <a:gd name="connsiteX66" fmla="*/ 5032 w 10000"/>
                <a:gd name="connsiteY66" fmla="*/ 8246 h 10010"/>
                <a:gd name="connsiteX67" fmla="*/ 5016 w 10000"/>
                <a:gd name="connsiteY67" fmla="*/ 8209 h 10010"/>
                <a:gd name="connsiteX68" fmla="*/ 5036 w 10000"/>
                <a:gd name="connsiteY68" fmla="*/ 8179 h 10010"/>
                <a:gd name="connsiteX69" fmla="*/ 5144 w 10000"/>
                <a:gd name="connsiteY69" fmla="*/ 8203 h 10010"/>
                <a:gd name="connsiteX70" fmla="*/ 5230 w 10000"/>
                <a:gd name="connsiteY70" fmla="*/ 8201 h 10010"/>
                <a:gd name="connsiteX71" fmla="*/ 5184 w 10000"/>
                <a:gd name="connsiteY71" fmla="*/ 8150 h 10010"/>
                <a:gd name="connsiteX72" fmla="*/ 5198 w 10000"/>
                <a:gd name="connsiteY72" fmla="*/ 8122 h 10010"/>
                <a:gd name="connsiteX73" fmla="*/ 5262 w 10000"/>
                <a:gd name="connsiteY73" fmla="*/ 8079 h 10010"/>
                <a:gd name="connsiteX74" fmla="*/ 5250 w 10000"/>
                <a:gd name="connsiteY74" fmla="*/ 8044 h 10010"/>
                <a:gd name="connsiteX75" fmla="*/ 5309 w 10000"/>
                <a:gd name="connsiteY75" fmla="*/ 7926 h 10010"/>
                <a:gd name="connsiteX76" fmla="*/ 5293 w 10000"/>
                <a:gd name="connsiteY76" fmla="*/ 7891 h 10010"/>
                <a:gd name="connsiteX77" fmla="*/ 4996 w 10000"/>
                <a:gd name="connsiteY77" fmla="*/ 7802 h 10010"/>
                <a:gd name="connsiteX78" fmla="*/ 5036 w 10000"/>
                <a:gd name="connsiteY78" fmla="*/ 7798 h 10010"/>
                <a:gd name="connsiteX79" fmla="*/ 5194 w 10000"/>
                <a:gd name="connsiteY79" fmla="*/ 7822 h 10010"/>
                <a:gd name="connsiteX80" fmla="*/ 5365 w 10000"/>
                <a:gd name="connsiteY80" fmla="*/ 7814 h 10010"/>
                <a:gd name="connsiteX81" fmla="*/ 5415 w 10000"/>
                <a:gd name="connsiteY81" fmla="*/ 7781 h 10010"/>
                <a:gd name="connsiteX82" fmla="*/ 5250 w 10000"/>
                <a:gd name="connsiteY82" fmla="*/ 7720 h 10010"/>
                <a:gd name="connsiteX83" fmla="*/ 4761 w 10000"/>
                <a:gd name="connsiteY83" fmla="*/ 7680 h 10010"/>
                <a:gd name="connsiteX84" fmla="*/ 4794 w 10000"/>
                <a:gd name="connsiteY84" fmla="*/ 7661 h 10010"/>
                <a:gd name="connsiteX85" fmla="*/ 5194 w 10000"/>
                <a:gd name="connsiteY85" fmla="*/ 7649 h 10010"/>
                <a:gd name="connsiteX86" fmla="*/ 5415 w 10000"/>
                <a:gd name="connsiteY86" fmla="*/ 7686 h 10010"/>
                <a:gd name="connsiteX87" fmla="*/ 5542 w 10000"/>
                <a:gd name="connsiteY87" fmla="*/ 7661 h 10010"/>
                <a:gd name="connsiteX88" fmla="*/ 5589 w 10000"/>
                <a:gd name="connsiteY88" fmla="*/ 7598 h 10010"/>
                <a:gd name="connsiteX89" fmla="*/ 5819 w 10000"/>
                <a:gd name="connsiteY89" fmla="*/ 7598 h 10010"/>
                <a:gd name="connsiteX90" fmla="*/ 6131 w 10000"/>
                <a:gd name="connsiteY90" fmla="*/ 7472 h 10010"/>
                <a:gd name="connsiteX91" fmla="*/ 6142 w 10000"/>
                <a:gd name="connsiteY91" fmla="*/ 7388 h 10010"/>
                <a:gd name="connsiteX92" fmla="*/ 6274 w 10000"/>
                <a:gd name="connsiteY92" fmla="*/ 7407 h 10010"/>
                <a:gd name="connsiteX93" fmla="*/ 6268 w 10000"/>
                <a:gd name="connsiteY93" fmla="*/ 7492 h 10010"/>
                <a:gd name="connsiteX94" fmla="*/ 6478 w 10000"/>
                <a:gd name="connsiteY94" fmla="*/ 7486 h 10010"/>
                <a:gd name="connsiteX95" fmla="*/ 6616 w 10000"/>
                <a:gd name="connsiteY95" fmla="*/ 7398 h 10010"/>
                <a:gd name="connsiteX96" fmla="*/ 6872 w 10000"/>
                <a:gd name="connsiteY96" fmla="*/ 7319 h 10010"/>
                <a:gd name="connsiteX97" fmla="*/ 6832 w 10000"/>
                <a:gd name="connsiteY97" fmla="*/ 7229 h 10010"/>
                <a:gd name="connsiteX98" fmla="*/ 6908 w 10000"/>
                <a:gd name="connsiteY98" fmla="*/ 7264 h 10010"/>
                <a:gd name="connsiteX99" fmla="*/ 7025 w 10000"/>
                <a:gd name="connsiteY99" fmla="*/ 7264 h 10010"/>
                <a:gd name="connsiteX100" fmla="*/ 7025 w 10000"/>
                <a:gd name="connsiteY100" fmla="*/ 7223 h 10010"/>
                <a:gd name="connsiteX101" fmla="*/ 7134 w 10000"/>
                <a:gd name="connsiteY101" fmla="*/ 7191 h 10010"/>
                <a:gd name="connsiteX102" fmla="*/ 7119 w 10000"/>
                <a:gd name="connsiteY102" fmla="*/ 7158 h 10010"/>
                <a:gd name="connsiteX103" fmla="*/ 6198 w 10000"/>
                <a:gd name="connsiteY103" fmla="*/ 7225 h 10010"/>
                <a:gd name="connsiteX104" fmla="*/ 5983 w 10000"/>
                <a:gd name="connsiteY104" fmla="*/ 7205 h 10010"/>
                <a:gd name="connsiteX105" fmla="*/ 5895 w 10000"/>
                <a:gd name="connsiteY105" fmla="*/ 7229 h 10010"/>
                <a:gd name="connsiteX106" fmla="*/ 5866 w 10000"/>
                <a:gd name="connsiteY106" fmla="*/ 7183 h 10010"/>
                <a:gd name="connsiteX107" fmla="*/ 5764 w 10000"/>
                <a:gd name="connsiteY107" fmla="*/ 7142 h 10010"/>
                <a:gd name="connsiteX108" fmla="*/ 5354 w 10000"/>
                <a:gd name="connsiteY108" fmla="*/ 7062 h 10010"/>
                <a:gd name="connsiteX109" fmla="*/ 5112 w 10000"/>
                <a:gd name="connsiteY109" fmla="*/ 7075 h 10010"/>
                <a:gd name="connsiteX110" fmla="*/ 5016 w 10000"/>
                <a:gd name="connsiteY110" fmla="*/ 7052 h 10010"/>
                <a:gd name="connsiteX111" fmla="*/ 5118 w 10000"/>
                <a:gd name="connsiteY111" fmla="*/ 7032 h 10010"/>
                <a:gd name="connsiteX112" fmla="*/ 5194 w 10000"/>
                <a:gd name="connsiteY112" fmla="*/ 6989 h 10010"/>
                <a:gd name="connsiteX113" fmla="*/ 5309 w 10000"/>
                <a:gd name="connsiteY113" fmla="*/ 7003 h 10010"/>
                <a:gd name="connsiteX114" fmla="*/ 5445 w 10000"/>
                <a:gd name="connsiteY114" fmla="*/ 6991 h 10010"/>
                <a:gd name="connsiteX115" fmla="*/ 5650 w 10000"/>
                <a:gd name="connsiteY115" fmla="*/ 7005 h 10010"/>
                <a:gd name="connsiteX116" fmla="*/ 5675 w 10000"/>
                <a:gd name="connsiteY116" fmla="*/ 6999 h 10010"/>
                <a:gd name="connsiteX117" fmla="*/ 5834 w 10000"/>
                <a:gd name="connsiteY117" fmla="*/ 7066 h 10010"/>
                <a:gd name="connsiteX118" fmla="*/ 5951 w 10000"/>
                <a:gd name="connsiteY118" fmla="*/ 7042 h 10010"/>
                <a:gd name="connsiteX119" fmla="*/ 5961 w 10000"/>
                <a:gd name="connsiteY119" fmla="*/ 7020 h 10010"/>
                <a:gd name="connsiteX120" fmla="*/ 6069 w 10000"/>
                <a:gd name="connsiteY120" fmla="*/ 7058 h 10010"/>
                <a:gd name="connsiteX121" fmla="*/ 6212 w 10000"/>
                <a:gd name="connsiteY121" fmla="*/ 7079 h 10010"/>
                <a:gd name="connsiteX122" fmla="*/ 6268 w 10000"/>
                <a:gd name="connsiteY122" fmla="*/ 7040 h 10010"/>
                <a:gd name="connsiteX123" fmla="*/ 6314 w 10000"/>
                <a:gd name="connsiteY123" fmla="*/ 7062 h 10010"/>
                <a:gd name="connsiteX124" fmla="*/ 6381 w 10000"/>
                <a:gd name="connsiteY124" fmla="*/ 7136 h 10010"/>
                <a:gd name="connsiteX125" fmla="*/ 6519 w 10000"/>
                <a:gd name="connsiteY125" fmla="*/ 7154 h 10010"/>
                <a:gd name="connsiteX126" fmla="*/ 7082 w 10000"/>
                <a:gd name="connsiteY126" fmla="*/ 7044 h 10010"/>
                <a:gd name="connsiteX127" fmla="*/ 7359 w 10000"/>
                <a:gd name="connsiteY127" fmla="*/ 6889 h 10010"/>
                <a:gd name="connsiteX128" fmla="*/ 7423 w 10000"/>
                <a:gd name="connsiteY128" fmla="*/ 6775 h 10010"/>
                <a:gd name="connsiteX129" fmla="*/ 7323 w 10000"/>
                <a:gd name="connsiteY129" fmla="*/ 6673 h 10010"/>
                <a:gd name="connsiteX130" fmla="*/ 7113 w 10000"/>
                <a:gd name="connsiteY130" fmla="*/ 6612 h 10010"/>
                <a:gd name="connsiteX131" fmla="*/ 6963 w 10000"/>
                <a:gd name="connsiteY131" fmla="*/ 6512 h 10010"/>
                <a:gd name="connsiteX132" fmla="*/ 7102 w 10000"/>
                <a:gd name="connsiteY132" fmla="*/ 6508 h 10010"/>
                <a:gd name="connsiteX133" fmla="*/ 7093 w 10000"/>
                <a:gd name="connsiteY133" fmla="*/ 6484 h 10010"/>
                <a:gd name="connsiteX134" fmla="*/ 6731 w 10000"/>
                <a:gd name="connsiteY134" fmla="*/ 6413 h 10010"/>
                <a:gd name="connsiteX135" fmla="*/ 6716 w 10000"/>
                <a:gd name="connsiteY135" fmla="*/ 6349 h 10010"/>
                <a:gd name="connsiteX136" fmla="*/ 6646 w 10000"/>
                <a:gd name="connsiteY136" fmla="*/ 6282 h 10010"/>
                <a:gd name="connsiteX137" fmla="*/ 6360 w 10000"/>
                <a:gd name="connsiteY137" fmla="*/ 6294 h 10010"/>
                <a:gd name="connsiteX138" fmla="*/ 6258 w 10000"/>
                <a:gd name="connsiteY138" fmla="*/ 6223 h 10010"/>
                <a:gd name="connsiteX139" fmla="*/ 6198 w 10000"/>
                <a:gd name="connsiteY139" fmla="*/ 6219 h 10010"/>
                <a:gd name="connsiteX140" fmla="*/ 6198 w 10000"/>
                <a:gd name="connsiteY140" fmla="*/ 6248 h 10010"/>
                <a:gd name="connsiteX141" fmla="*/ 6069 w 10000"/>
                <a:gd name="connsiteY141" fmla="*/ 6368 h 10010"/>
                <a:gd name="connsiteX142" fmla="*/ 5930 w 10000"/>
                <a:gd name="connsiteY142" fmla="*/ 6439 h 10010"/>
                <a:gd name="connsiteX143" fmla="*/ 5495 w 10000"/>
                <a:gd name="connsiteY143" fmla="*/ 6561 h 10010"/>
                <a:gd name="connsiteX144" fmla="*/ 5342 w 10000"/>
                <a:gd name="connsiteY144" fmla="*/ 6557 h 10010"/>
                <a:gd name="connsiteX145" fmla="*/ 5133 w 10000"/>
                <a:gd name="connsiteY145" fmla="*/ 6575 h 10010"/>
                <a:gd name="connsiteX146" fmla="*/ 5016 w 10000"/>
                <a:gd name="connsiteY146" fmla="*/ 6557 h 10010"/>
                <a:gd name="connsiteX147" fmla="*/ 5169 w 10000"/>
                <a:gd name="connsiteY147" fmla="*/ 6523 h 10010"/>
                <a:gd name="connsiteX148" fmla="*/ 5369 w 10000"/>
                <a:gd name="connsiteY148" fmla="*/ 6508 h 10010"/>
                <a:gd name="connsiteX149" fmla="*/ 5534 w 10000"/>
                <a:gd name="connsiteY149" fmla="*/ 6451 h 10010"/>
                <a:gd name="connsiteX150" fmla="*/ 5695 w 10000"/>
                <a:gd name="connsiteY150" fmla="*/ 6425 h 10010"/>
                <a:gd name="connsiteX151" fmla="*/ 5998 w 10000"/>
                <a:gd name="connsiteY151" fmla="*/ 6327 h 10010"/>
                <a:gd name="connsiteX152" fmla="*/ 6056 w 10000"/>
                <a:gd name="connsiteY152" fmla="*/ 6262 h 10010"/>
                <a:gd name="connsiteX153" fmla="*/ 6060 w 10000"/>
                <a:gd name="connsiteY153" fmla="*/ 6178 h 10010"/>
                <a:gd name="connsiteX154" fmla="*/ 5921 w 10000"/>
                <a:gd name="connsiteY154" fmla="*/ 6164 h 10010"/>
                <a:gd name="connsiteX155" fmla="*/ 5983 w 10000"/>
                <a:gd name="connsiteY155" fmla="*/ 6113 h 10010"/>
                <a:gd name="connsiteX156" fmla="*/ 6002 w 10000"/>
                <a:gd name="connsiteY156" fmla="*/ 6048 h 10010"/>
                <a:gd name="connsiteX157" fmla="*/ 5944 w 10000"/>
                <a:gd name="connsiteY157" fmla="*/ 5987 h 10010"/>
                <a:gd name="connsiteX158" fmla="*/ 5911 w 10000"/>
                <a:gd name="connsiteY158" fmla="*/ 5543 h 10010"/>
                <a:gd name="connsiteX159" fmla="*/ 5993 w 10000"/>
                <a:gd name="connsiteY159" fmla="*/ 5447 h 10010"/>
                <a:gd name="connsiteX160" fmla="*/ 5972 w 10000"/>
                <a:gd name="connsiteY160" fmla="*/ 5408 h 10010"/>
                <a:gd name="connsiteX161" fmla="*/ 6212 w 10000"/>
                <a:gd name="connsiteY161" fmla="*/ 5465 h 10010"/>
                <a:gd name="connsiteX162" fmla="*/ 6229 w 10000"/>
                <a:gd name="connsiteY162" fmla="*/ 5412 h 10010"/>
                <a:gd name="connsiteX163" fmla="*/ 6176 w 10000"/>
                <a:gd name="connsiteY163" fmla="*/ 5274 h 10010"/>
                <a:gd name="connsiteX164" fmla="*/ 6349 w 10000"/>
                <a:gd name="connsiteY164" fmla="*/ 5029 h 10010"/>
                <a:gd name="connsiteX165" fmla="*/ 6243 w 10000"/>
                <a:gd name="connsiteY165" fmla="*/ 4970 h 10010"/>
                <a:gd name="connsiteX166" fmla="*/ 6202 w 10000"/>
                <a:gd name="connsiteY166" fmla="*/ 4915 h 10010"/>
                <a:gd name="connsiteX167" fmla="*/ 6216 w 10000"/>
                <a:gd name="connsiteY167" fmla="*/ 4826 h 10010"/>
                <a:gd name="connsiteX168" fmla="*/ 6470 w 10000"/>
                <a:gd name="connsiteY168" fmla="*/ 4885 h 10010"/>
                <a:gd name="connsiteX169" fmla="*/ 6478 w 10000"/>
                <a:gd name="connsiteY169" fmla="*/ 4868 h 10010"/>
                <a:gd name="connsiteX170" fmla="*/ 6548 w 10000"/>
                <a:gd name="connsiteY170" fmla="*/ 4852 h 10010"/>
                <a:gd name="connsiteX171" fmla="*/ 6646 w 10000"/>
                <a:gd name="connsiteY171" fmla="*/ 4795 h 10010"/>
                <a:gd name="connsiteX172" fmla="*/ 6662 w 10000"/>
                <a:gd name="connsiteY172" fmla="*/ 4779 h 10010"/>
                <a:gd name="connsiteX173" fmla="*/ 6641 w 10000"/>
                <a:gd name="connsiteY173" fmla="*/ 4758 h 10010"/>
                <a:gd name="connsiteX174" fmla="*/ 6693 w 10000"/>
                <a:gd name="connsiteY174" fmla="*/ 4657 h 10010"/>
                <a:gd name="connsiteX175" fmla="*/ 6631 w 10000"/>
                <a:gd name="connsiteY175" fmla="*/ 4591 h 10010"/>
                <a:gd name="connsiteX176" fmla="*/ 6641 w 10000"/>
                <a:gd name="connsiteY176" fmla="*/ 4538 h 10010"/>
                <a:gd name="connsiteX177" fmla="*/ 6676 w 10000"/>
                <a:gd name="connsiteY177" fmla="*/ 4600 h 10010"/>
                <a:gd name="connsiteX178" fmla="*/ 6815 w 10000"/>
                <a:gd name="connsiteY178" fmla="*/ 4646 h 10010"/>
                <a:gd name="connsiteX179" fmla="*/ 6872 w 10000"/>
                <a:gd name="connsiteY179" fmla="*/ 4640 h 10010"/>
                <a:gd name="connsiteX180" fmla="*/ 6963 w 10000"/>
                <a:gd name="connsiteY180" fmla="*/ 4579 h 10010"/>
                <a:gd name="connsiteX181" fmla="*/ 7062 w 10000"/>
                <a:gd name="connsiteY181" fmla="*/ 4604 h 10010"/>
                <a:gd name="connsiteX182" fmla="*/ 7088 w 10000"/>
                <a:gd name="connsiteY182" fmla="*/ 4555 h 10010"/>
                <a:gd name="connsiteX183" fmla="*/ 7154 w 10000"/>
                <a:gd name="connsiteY183" fmla="*/ 4522 h 10010"/>
                <a:gd name="connsiteX184" fmla="*/ 6974 w 10000"/>
                <a:gd name="connsiteY184" fmla="*/ 4487 h 10010"/>
                <a:gd name="connsiteX185" fmla="*/ 7102 w 10000"/>
                <a:gd name="connsiteY185" fmla="*/ 4494 h 10010"/>
                <a:gd name="connsiteX186" fmla="*/ 7234 w 10000"/>
                <a:gd name="connsiteY186" fmla="*/ 4457 h 10010"/>
                <a:gd name="connsiteX187" fmla="*/ 7229 w 10000"/>
                <a:gd name="connsiteY187" fmla="*/ 4432 h 10010"/>
                <a:gd name="connsiteX188" fmla="*/ 7353 w 10000"/>
                <a:gd name="connsiteY188" fmla="*/ 4408 h 10010"/>
                <a:gd name="connsiteX189" fmla="*/ 7364 w 10000"/>
                <a:gd name="connsiteY189" fmla="*/ 4347 h 10010"/>
                <a:gd name="connsiteX190" fmla="*/ 7461 w 10000"/>
                <a:gd name="connsiteY190" fmla="*/ 4335 h 10010"/>
                <a:gd name="connsiteX191" fmla="*/ 7469 w 10000"/>
                <a:gd name="connsiteY191" fmla="*/ 4263 h 10010"/>
                <a:gd name="connsiteX192" fmla="*/ 7572 w 10000"/>
                <a:gd name="connsiteY192" fmla="*/ 4255 h 10010"/>
                <a:gd name="connsiteX193" fmla="*/ 7730 w 10000"/>
                <a:gd name="connsiteY193" fmla="*/ 4270 h 10010"/>
                <a:gd name="connsiteX194" fmla="*/ 7904 w 10000"/>
                <a:gd name="connsiteY194" fmla="*/ 4212 h 10010"/>
                <a:gd name="connsiteX195" fmla="*/ 7966 w 10000"/>
                <a:gd name="connsiteY195" fmla="*/ 4147 h 10010"/>
                <a:gd name="connsiteX196" fmla="*/ 8181 w 10000"/>
                <a:gd name="connsiteY196" fmla="*/ 4080 h 10010"/>
                <a:gd name="connsiteX197" fmla="*/ 8288 w 10000"/>
                <a:gd name="connsiteY197" fmla="*/ 4121 h 10010"/>
                <a:gd name="connsiteX198" fmla="*/ 8452 w 10000"/>
                <a:gd name="connsiteY198" fmla="*/ 4076 h 10010"/>
                <a:gd name="connsiteX199" fmla="*/ 8491 w 10000"/>
                <a:gd name="connsiteY199" fmla="*/ 4019 h 10010"/>
                <a:gd name="connsiteX200" fmla="*/ 8616 w 10000"/>
                <a:gd name="connsiteY200" fmla="*/ 3980 h 10010"/>
                <a:gd name="connsiteX201" fmla="*/ 8722 w 10000"/>
                <a:gd name="connsiteY201" fmla="*/ 3997 h 10010"/>
                <a:gd name="connsiteX202" fmla="*/ 8789 w 10000"/>
                <a:gd name="connsiteY202" fmla="*/ 3968 h 10010"/>
                <a:gd name="connsiteX203" fmla="*/ 8973 w 10000"/>
                <a:gd name="connsiteY203" fmla="*/ 3927 h 10010"/>
                <a:gd name="connsiteX204" fmla="*/ 9049 w 10000"/>
                <a:gd name="connsiteY204" fmla="*/ 3874 h 10010"/>
                <a:gd name="connsiteX205" fmla="*/ 9153 w 10000"/>
                <a:gd name="connsiteY205" fmla="*/ 3852 h 10010"/>
                <a:gd name="connsiteX206" fmla="*/ 9720 w 10000"/>
                <a:gd name="connsiteY206" fmla="*/ 3532 h 10010"/>
                <a:gd name="connsiteX207" fmla="*/ 9971 w 10000"/>
                <a:gd name="connsiteY207" fmla="*/ 399 h 10010"/>
                <a:gd name="connsiteX208" fmla="*/ 9049 w 10000"/>
                <a:gd name="connsiteY208" fmla="*/ 36 h 10010"/>
                <a:gd name="connsiteX209" fmla="*/ 8706 w 10000"/>
                <a:gd name="connsiteY209" fmla="*/ 10 h 10010"/>
                <a:gd name="connsiteX210" fmla="*/ 8652 w 10000"/>
                <a:gd name="connsiteY210" fmla="*/ 218 h 10010"/>
                <a:gd name="connsiteX211" fmla="*/ 8591 w 10000"/>
                <a:gd name="connsiteY211" fmla="*/ 485 h 10010"/>
                <a:gd name="connsiteX212" fmla="*/ 8477 w 10000"/>
                <a:gd name="connsiteY212" fmla="*/ 495 h 10010"/>
                <a:gd name="connsiteX213" fmla="*/ 7537 w 10000"/>
                <a:gd name="connsiteY213" fmla="*/ 397 h 10010"/>
                <a:gd name="connsiteX214" fmla="*/ 7423 w 10000"/>
                <a:gd name="connsiteY214" fmla="*/ 405 h 10010"/>
                <a:gd name="connsiteX215" fmla="*/ 7359 w 10000"/>
                <a:gd name="connsiteY215" fmla="*/ 424 h 10010"/>
                <a:gd name="connsiteX216" fmla="*/ 7290 w 10000"/>
                <a:gd name="connsiteY216" fmla="*/ 472 h 10010"/>
                <a:gd name="connsiteX217" fmla="*/ 7302 w 10000"/>
                <a:gd name="connsiteY217" fmla="*/ 591 h 10010"/>
                <a:gd name="connsiteX218" fmla="*/ 7199 w 10000"/>
                <a:gd name="connsiteY218" fmla="*/ 745 h 10010"/>
                <a:gd name="connsiteX219" fmla="*/ 7072 w 10000"/>
                <a:gd name="connsiteY219" fmla="*/ 825 h 10010"/>
                <a:gd name="connsiteX220" fmla="*/ 7021 w 10000"/>
                <a:gd name="connsiteY220" fmla="*/ 815 h 10010"/>
                <a:gd name="connsiteX221" fmla="*/ 6903 w 10000"/>
                <a:gd name="connsiteY221" fmla="*/ 749 h 10010"/>
                <a:gd name="connsiteX222" fmla="*/ 6756 w 10000"/>
                <a:gd name="connsiteY222" fmla="*/ 715 h 10010"/>
                <a:gd name="connsiteX223" fmla="*/ 6594 w 10000"/>
                <a:gd name="connsiteY223" fmla="*/ 725 h 10010"/>
                <a:gd name="connsiteX224" fmla="*/ 6223 w 10000"/>
                <a:gd name="connsiteY224" fmla="*/ 876 h 10010"/>
                <a:gd name="connsiteX225" fmla="*/ 6125 w 10000"/>
                <a:gd name="connsiteY225" fmla="*/ 1027 h 10010"/>
                <a:gd name="connsiteX226" fmla="*/ 5845 w 10000"/>
                <a:gd name="connsiteY226" fmla="*/ 1163 h 10010"/>
                <a:gd name="connsiteX227" fmla="*/ 5794 w 10000"/>
                <a:gd name="connsiteY227" fmla="*/ 1232 h 10010"/>
                <a:gd name="connsiteX228" fmla="*/ 5940 w 10000"/>
                <a:gd name="connsiteY228" fmla="*/ 1354 h 10010"/>
                <a:gd name="connsiteX229" fmla="*/ 5956 w 10000"/>
                <a:gd name="connsiteY229" fmla="*/ 1422 h 10010"/>
                <a:gd name="connsiteX230" fmla="*/ 5190 w 10000"/>
                <a:gd name="connsiteY230" fmla="*/ 1823 h 10010"/>
                <a:gd name="connsiteX231" fmla="*/ 4955 w 10000"/>
                <a:gd name="connsiteY231" fmla="*/ 2080 h 10010"/>
                <a:gd name="connsiteX232" fmla="*/ 4702 w 10000"/>
                <a:gd name="connsiteY232" fmla="*/ 2145 h 10010"/>
                <a:gd name="connsiteX233" fmla="*/ 4540 w 10000"/>
                <a:gd name="connsiteY233" fmla="*/ 2141 h 10010"/>
                <a:gd name="connsiteX234" fmla="*/ 4443 w 10000"/>
                <a:gd name="connsiteY234" fmla="*/ 2163 h 10010"/>
                <a:gd name="connsiteX235" fmla="*/ 4178 w 10000"/>
                <a:gd name="connsiteY235" fmla="*/ 2803 h 10010"/>
                <a:gd name="connsiteX236" fmla="*/ 3565 w 10000"/>
                <a:gd name="connsiteY236" fmla="*/ 3176 h 10010"/>
                <a:gd name="connsiteX237" fmla="*/ 3569 w 10000"/>
                <a:gd name="connsiteY237" fmla="*/ 3235 h 10010"/>
                <a:gd name="connsiteX238" fmla="*/ 3841 w 10000"/>
                <a:gd name="connsiteY238" fmla="*/ 3402 h 10010"/>
                <a:gd name="connsiteX239" fmla="*/ 3753 w 10000"/>
                <a:gd name="connsiteY239" fmla="*/ 3583 h 10010"/>
                <a:gd name="connsiteX240" fmla="*/ 3594 w 10000"/>
                <a:gd name="connsiteY240" fmla="*/ 3650 h 10010"/>
                <a:gd name="connsiteX241" fmla="*/ 3118 w 10000"/>
                <a:gd name="connsiteY241" fmla="*/ 3605 h 10010"/>
                <a:gd name="connsiteX242" fmla="*/ 2791 w 10000"/>
                <a:gd name="connsiteY242" fmla="*/ 3630 h 10010"/>
                <a:gd name="connsiteX243" fmla="*/ 2528 w 10000"/>
                <a:gd name="connsiteY243" fmla="*/ 3683 h 10010"/>
                <a:gd name="connsiteX244" fmla="*/ 2102 w 10000"/>
                <a:gd name="connsiteY244" fmla="*/ 3850 h 10010"/>
                <a:gd name="connsiteX245" fmla="*/ 1877 w 10000"/>
                <a:gd name="connsiteY245" fmla="*/ 4052 h 10010"/>
                <a:gd name="connsiteX246" fmla="*/ 1896 w 10000"/>
                <a:gd name="connsiteY246" fmla="*/ 4164 h 10010"/>
                <a:gd name="connsiteX247" fmla="*/ 1975 w 10000"/>
                <a:gd name="connsiteY247" fmla="*/ 4251 h 10010"/>
                <a:gd name="connsiteX248" fmla="*/ 2034 w 10000"/>
                <a:gd name="connsiteY248" fmla="*/ 4286 h 10010"/>
                <a:gd name="connsiteX249" fmla="*/ 1924 w 10000"/>
                <a:gd name="connsiteY249" fmla="*/ 4341 h 10010"/>
                <a:gd name="connsiteX250" fmla="*/ 1683 w 10000"/>
                <a:gd name="connsiteY250" fmla="*/ 4720 h 10010"/>
                <a:gd name="connsiteX251" fmla="*/ 1729 w 10000"/>
                <a:gd name="connsiteY251" fmla="*/ 4742 h 10010"/>
                <a:gd name="connsiteX252" fmla="*/ 1764 w 10000"/>
                <a:gd name="connsiteY252" fmla="*/ 4838 h 10010"/>
                <a:gd name="connsiteX253" fmla="*/ 1652 w 10000"/>
                <a:gd name="connsiteY253" fmla="*/ 5237 h 10010"/>
                <a:gd name="connsiteX254" fmla="*/ 1764 w 10000"/>
                <a:gd name="connsiteY254" fmla="*/ 5339 h 10010"/>
                <a:gd name="connsiteX255" fmla="*/ 2071 w 10000"/>
                <a:gd name="connsiteY255" fmla="*/ 5451 h 10010"/>
                <a:gd name="connsiteX256" fmla="*/ 2085 w 10000"/>
                <a:gd name="connsiteY256" fmla="*/ 5588 h 10010"/>
                <a:gd name="connsiteX257" fmla="*/ 1954 w 10000"/>
                <a:gd name="connsiteY257" fmla="*/ 5700 h 10010"/>
                <a:gd name="connsiteX258" fmla="*/ 1764 w 10000"/>
                <a:gd name="connsiteY258" fmla="*/ 5769 h 10010"/>
                <a:gd name="connsiteX259" fmla="*/ 1513 w 10000"/>
                <a:gd name="connsiteY259" fmla="*/ 5797 h 10010"/>
                <a:gd name="connsiteX260" fmla="*/ 1448 w 10000"/>
                <a:gd name="connsiteY260" fmla="*/ 5836 h 10010"/>
                <a:gd name="connsiteX261" fmla="*/ 1594 w 10000"/>
                <a:gd name="connsiteY261" fmla="*/ 5930 h 10010"/>
                <a:gd name="connsiteX262" fmla="*/ 1678 w 10000"/>
                <a:gd name="connsiteY262" fmla="*/ 6152 h 10010"/>
                <a:gd name="connsiteX263" fmla="*/ 1488 w 10000"/>
                <a:gd name="connsiteY263" fmla="*/ 6343 h 10010"/>
                <a:gd name="connsiteX264" fmla="*/ 1554 w 10000"/>
                <a:gd name="connsiteY264" fmla="*/ 6402 h 10010"/>
                <a:gd name="connsiteX265" fmla="*/ 1494 w 10000"/>
                <a:gd name="connsiteY265" fmla="*/ 6502 h 10010"/>
                <a:gd name="connsiteX266" fmla="*/ 1372 w 10000"/>
                <a:gd name="connsiteY266" fmla="*/ 6571 h 10010"/>
                <a:gd name="connsiteX267" fmla="*/ 889 w 10000"/>
                <a:gd name="connsiteY267" fmla="*/ 6624 h 10010"/>
                <a:gd name="connsiteX268" fmla="*/ 860 w 10000"/>
                <a:gd name="connsiteY268" fmla="*/ 6716 h 10010"/>
                <a:gd name="connsiteX269" fmla="*/ 600 w 10000"/>
                <a:gd name="connsiteY269" fmla="*/ 6853 h 10010"/>
                <a:gd name="connsiteX270" fmla="*/ 634 w 10000"/>
                <a:gd name="connsiteY270" fmla="*/ 7050 h 10010"/>
                <a:gd name="connsiteX271" fmla="*/ 415 w 10000"/>
                <a:gd name="connsiteY271" fmla="*/ 7303 h 10010"/>
                <a:gd name="connsiteX272" fmla="*/ 266 w 10000"/>
                <a:gd name="connsiteY272" fmla="*/ 7333 h 10010"/>
                <a:gd name="connsiteX273" fmla="*/ 204 w 10000"/>
                <a:gd name="connsiteY273" fmla="*/ 7272 h 10010"/>
                <a:gd name="connsiteX274" fmla="*/ 128 w 10000"/>
                <a:gd name="connsiteY274" fmla="*/ 7364 h 10010"/>
                <a:gd name="connsiteX275" fmla="*/ 178 w 10000"/>
                <a:gd name="connsiteY275" fmla="*/ 7207 h 10010"/>
                <a:gd name="connsiteX276" fmla="*/ 147 w 10000"/>
                <a:gd name="connsiteY276" fmla="*/ 7176 h 10010"/>
                <a:gd name="connsiteX0" fmla="*/ 147 w 10000"/>
                <a:gd name="connsiteY0" fmla="*/ 7176 h 10010"/>
                <a:gd name="connsiteX1" fmla="*/ 0 w 10000"/>
                <a:gd name="connsiteY1" fmla="*/ 7258 h 10010"/>
                <a:gd name="connsiteX2" fmla="*/ 0 w 10000"/>
                <a:gd name="connsiteY2" fmla="*/ 7661 h 10010"/>
                <a:gd name="connsiteX3" fmla="*/ 81 w 10000"/>
                <a:gd name="connsiteY3" fmla="*/ 7673 h 10010"/>
                <a:gd name="connsiteX4" fmla="*/ 100 w 10000"/>
                <a:gd name="connsiteY4" fmla="*/ 7704 h 10010"/>
                <a:gd name="connsiteX5" fmla="*/ 96 w 10000"/>
                <a:gd name="connsiteY5" fmla="*/ 7759 h 10010"/>
                <a:gd name="connsiteX6" fmla="*/ 66 w 10000"/>
                <a:gd name="connsiteY6" fmla="*/ 7783 h 10010"/>
                <a:gd name="connsiteX7" fmla="*/ 190 w 10000"/>
                <a:gd name="connsiteY7" fmla="*/ 7737 h 10010"/>
                <a:gd name="connsiteX8" fmla="*/ 242 w 10000"/>
                <a:gd name="connsiteY8" fmla="*/ 7690 h 10010"/>
                <a:gd name="connsiteX9" fmla="*/ 306 w 10000"/>
                <a:gd name="connsiteY9" fmla="*/ 7722 h 10010"/>
                <a:gd name="connsiteX10" fmla="*/ 235 w 10000"/>
                <a:gd name="connsiteY10" fmla="*/ 7788 h 10010"/>
                <a:gd name="connsiteX11" fmla="*/ 311 w 10000"/>
                <a:gd name="connsiteY11" fmla="*/ 7790 h 10010"/>
                <a:gd name="connsiteX12" fmla="*/ 348 w 10000"/>
                <a:gd name="connsiteY12" fmla="*/ 7806 h 10010"/>
                <a:gd name="connsiteX13" fmla="*/ 250 w 10000"/>
                <a:gd name="connsiteY13" fmla="*/ 7828 h 10010"/>
                <a:gd name="connsiteX14" fmla="*/ 96 w 10000"/>
                <a:gd name="connsiteY14" fmla="*/ 7896 h 10010"/>
                <a:gd name="connsiteX15" fmla="*/ 370 w 10000"/>
                <a:gd name="connsiteY15" fmla="*/ 7948 h 10010"/>
                <a:gd name="connsiteX16" fmla="*/ 404 w 10000"/>
                <a:gd name="connsiteY16" fmla="*/ 8024 h 10010"/>
                <a:gd name="connsiteX17" fmla="*/ 311 w 10000"/>
                <a:gd name="connsiteY17" fmla="*/ 8136 h 10010"/>
                <a:gd name="connsiteX18" fmla="*/ 511 w 10000"/>
                <a:gd name="connsiteY18" fmla="*/ 8128 h 10010"/>
                <a:gd name="connsiteX19" fmla="*/ 526 w 10000"/>
                <a:gd name="connsiteY19" fmla="*/ 8213 h 10010"/>
                <a:gd name="connsiteX20" fmla="*/ 393 w 10000"/>
                <a:gd name="connsiteY20" fmla="*/ 8270 h 10010"/>
                <a:gd name="connsiteX21" fmla="*/ 415 w 10000"/>
                <a:gd name="connsiteY21" fmla="*/ 8380 h 10010"/>
                <a:gd name="connsiteX22" fmla="*/ 364 w 10000"/>
                <a:gd name="connsiteY22" fmla="*/ 8466 h 10010"/>
                <a:gd name="connsiteX23" fmla="*/ 521 w 10000"/>
                <a:gd name="connsiteY23" fmla="*/ 8474 h 10010"/>
                <a:gd name="connsiteX24" fmla="*/ 676 w 10000"/>
                <a:gd name="connsiteY24" fmla="*/ 8802 h 10010"/>
                <a:gd name="connsiteX25" fmla="*/ 853 w 10000"/>
                <a:gd name="connsiteY25" fmla="*/ 8886 h 10010"/>
                <a:gd name="connsiteX26" fmla="*/ 931 w 10000"/>
                <a:gd name="connsiteY26" fmla="*/ 8975 h 10010"/>
                <a:gd name="connsiteX27" fmla="*/ 1125 w 10000"/>
                <a:gd name="connsiteY27" fmla="*/ 9040 h 10010"/>
                <a:gd name="connsiteX28" fmla="*/ 1249 w 10000"/>
                <a:gd name="connsiteY28" fmla="*/ 9122 h 10010"/>
                <a:gd name="connsiteX29" fmla="*/ 1233 w 10000"/>
                <a:gd name="connsiteY29" fmla="*/ 9181 h 10010"/>
                <a:gd name="connsiteX30" fmla="*/ 1110 w 10000"/>
                <a:gd name="connsiteY30" fmla="*/ 9203 h 10010"/>
                <a:gd name="connsiteX31" fmla="*/ 976 w 10000"/>
                <a:gd name="connsiteY31" fmla="*/ 9189 h 10010"/>
                <a:gd name="connsiteX32" fmla="*/ 935 w 10000"/>
                <a:gd name="connsiteY32" fmla="*/ 9214 h 10010"/>
                <a:gd name="connsiteX33" fmla="*/ 1037 w 10000"/>
                <a:gd name="connsiteY33" fmla="*/ 9342 h 10010"/>
                <a:gd name="connsiteX34" fmla="*/ 894 w 10000"/>
                <a:gd name="connsiteY34" fmla="*/ 9332 h 10010"/>
                <a:gd name="connsiteX35" fmla="*/ 773 w 10000"/>
                <a:gd name="connsiteY35" fmla="*/ 9301 h 10010"/>
                <a:gd name="connsiteX36" fmla="*/ 750 w 10000"/>
                <a:gd name="connsiteY36" fmla="*/ 9348 h 10010"/>
                <a:gd name="connsiteX37" fmla="*/ 1155 w 10000"/>
                <a:gd name="connsiteY37" fmla="*/ 9786 h 10010"/>
                <a:gd name="connsiteX38" fmla="*/ 1091 w 10000"/>
                <a:gd name="connsiteY38" fmla="*/ 9827 h 10010"/>
                <a:gd name="connsiteX39" fmla="*/ 1045 w 10000"/>
                <a:gd name="connsiteY39" fmla="*/ 9912 h 10010"/>
                <a:gd name="connsiteX40" fmla="*/ 987 w 10000"/>
                <a:gd name="connsiteY40" fmla="*/ 9918 h 10010"/>
                <a:gd name="connsiteX41" fmla="*/ 951 w 10000"/>
                <a:gd name="connsiteY41" fmla="*/ 9955 h 10010"/>
                <a:gd name="connsiteX42" fmla="*/ 1195 w 10000"/>
                <a:gd name="connsiteY42" fmla="*/ 9959 h 10010"/>
                <a:gd name="connsiteX43" fmla="*/ 1410 w 10000"/>
                <a:gd name="connsiteY43" fmla="*/ 9996 h 10010"/>
                <a:gd name="connsiteX44" fmla="*/ 1769 w 10000"/>
                <a:gd name="connsiteY44" fmla="*/ 9957 h 10010"/>
                <a:gd name="connsiteX45" fmla="*/ 2091 w 10000"/>
                <a:gd name="connsiteY45" fmla="*/ 9963 h 10010"/>
                <a:gd name="connsiteX46" fmla="*/ 2280 w 10000"/>
                <a:gd name="connsiteY46" fmla="*/ 10010 h 10010"/>
                <a:gd name="connsiteX47" fmla="*/ 2385 w 10000"/>
                <a:gd name="connsiteY47" fmla="*/ 9979 h 10010"/>
                <a:gd name="connsiteX48" fmla="*/ 2485 w 10000"/>
                <a:gd name="connsiteY48" fmla="*/ 9878 h 10010"/>
                <a:gd name="connsiteX49" fmla="*/ 2459 w 10000"/>
                <a:gd name="connsiteY49" fmla="*/ 9713 h 10010"/>
                <a:gd name="connsiteX50" fmla="*/ 2704 w 10000"/>
                <a:gd name="connsiteY50" fmla="*/ 9527 h 10010"/>
                <a:gd name="connsiteX51" fmla="*/ 2883 w 10000"/>
                <a:gd name="connsiteY51" fmla="*/ 9556 h 10010"/>
                <a:gd name="connsiteX52" fmla="*/ 2987 w 10000"/>
                <a:gd name="connsiteY52" fmla="*/ 9482 h 10010"/>
                <a:gd name="connsiteX53" fmla="*/ 3186 w 10000"/>
                <a:gd name="connsiteY53" fmla="*/ 9440 h 10010"/>
                <a:gd name="connsiteX54" fmla="*/ 3457 w 10000"/>
                <a:gd name="connsiteY54" fmla="*/ 9450 h 10010"/>
                <a:gd name="connsiteX55" fmla="*/ 3620 w 10000"/>
                <a:gd name="connsiteY55" fmla="*/ 9480 h 10010"/>
                <a:gd name="connsiteX56" fmla="*/ 3837 w 10000"/>
                <a:gd name="connsiteY56" fmla="*/ 9466 h 10010"/>
                <a:gd name="connsiteX57" fmla="*/ 4056 w 10000"/>
                <a:gd name="connsiteY57" fmla="*/ 9499 h 10010"/>
                <a:gd name="connsiteX58" fmla="*/ 4275 w 10000"/>
                <a:gd name="connsiteY58" fmla="*/ 9503 h 10010"/>
                <a:gd name="connsiteX59" fmla="*/ 4765 w 10000"/>
                <a:gd name="connsiteY59" fmla="*/ 9071 h 10010"/>
                <a:gd name="connsiteX60" fmla="*/ 4889 w 10000"/>
                <a:gd name="connsiteY60" fmla="*/ 8721 h 10010"/>
                <a:gd name="connsiteX61" fmla="*/ 5088 w 10000"/>
                <a:gd name="connsiteY61" fmla="*/ 8564 h 10010"/>
                <a:gd name="connsiteX62" fmla="*/ 5088 w 10000"/>
                <a:gd name="connsiteY62" fmla="*/ 8482 h 10010"/>
                <a:gd name="connsiteX63" fmla="*/ 5016 w 10000"/>
                <a:gd name="connsiteY63" fmla="*/ 8435 h 10010"/>
                <a:gd name="connsiteX64" fmla="*/ 5133 w 10000"/>
                <a:gd name="connsiteY64" fmla="*/ 8362 h 10010"/>
                <a:gd name="connsiteX65" fmla="*/ 5112 w 10000"/>
                <a:gd name="connsiteY65" fmla="*/ 8299 h 10010"/>
                <a:gd name="connsiteX66" fmla="*/ 5032 w 10000"/>
                <a:gd name="connsiteY66" fmla="*/ 8246 h 10010"/>
                <a:gd name="connsiteX67" fmla="*/ 5016 w 10000"/>
                <a:gd name="connsiteY67" fmla="*/ 8209 h 10010"/>
                <a:gd name="connsiteX68" fmla="*/ 5036 w 10000"/>
                <a:gd name="connsiteY68" fmla="*/ 8179 h 10010"/>
                <a:gd name="connsiteX69" fmla="*/ 5144 w 10000"/>
                <a:gd name="connsiteY69" fmla="*/ 8203 h 10010"/>
                <a:gd name="connsiteX70" fmla="*/ 5230 w 10000"/>
                <a:gd name="connsiteY70" fmla="*/ 8201 h 10010"/>
                <a:gd name="connsiteX71" fmla="*/ 5184 w 10000"/>
                <a:gd name="connsiteY71" fmla="*/ 8150 h 10010"/>
                <a:gd name="connsiteX72" fmla="*/ 5198 w 10000"/>
                <a:gd name="connsiteY72" fmla="*/ 8122 h 10010"/>
                <a:gd name="connsiteX73" fmla="*/ 5262 w 10000"/>
                <a:gd name="connsiteY73" fmla="*/ 8079 h 10010"/>
                <a:gd name="connsiteX74" fmla="*/ 5250 w 10000"/>
                <a:gd name="connsiteY74" fmla="*/ 8044 h 10010"/>
                <a:gd name="connsiteX75" fmla="*/ 5309 w 10000"/>
                <a:gd name="connsiteY75" fmla="*/ 7926 h 10010"/>
                <a:gd name="connsiteX76" fmla="*/ 5293 w 10000"/>
                <a:gd name="connsiteY76" fmla="*/ 7891 h 10010"/>
                <a:gd name="connsiteX77" fmla="*/ 4996 w 10000"/>
                <a:gd name="connsiteY77" fmla="*/ 7802 h 10010"/>
                <a:gd name="connsiteX78" fmla="*/ 5036 w 10000"/>
                <a:gd name="connsiteY78" fmla="*/ 7798 h 10010"/>
                <a:gd name="connsiteX79" fmla="*/ 5194 w 10000"/>
                <a:gd name="connsiteY79" fmla="*/ 7822 h 10010"/>
                <a:gd name="connsiteX80" fmla="*/ 5365 w 10000"/>
                <a:gd name="connsiteY80" fmla="*/ 7814 h 10010"/>
                <a:gd name="connsiteX81" fmla="*/ 5415 w 10000"/>
                <a:gd name="connsiteY81" fmla="*/ 7781 h 10010"/>
                <a:gd name="connsiteX82" fmla="*/ 5250 w 10000"/>
                <a:gd name="connsiteY82" fmla="*/ 7720 h 10010"/>
                <a:gd name="connsiteX83" fmla="*/ 4761 w 10000"/>
                <a:gd name="connsiteY83" fmla="*/ 7680 h 10010"/>
                <a:gd name="connsiteX84" fmla="*/ 4794 w 10000"/>
                <a:gd name="connsiteY84" fmla="*/ 7661 h 10010"/>
                <a:gd name="connsiteX85" fmla="*/ 5194 w 10000"/>
                <a:gd name="connsiteY85" fmla="*/ 7649 h 10010"/>
                <a:gd name="connsiteX86" fmla="*/ 5415 w 10000"/>
                <a:gd name="connsiteY86" fmla="*/ 7686 h 10010"/>
                <a:gd name="connsiteX87" fmla="*/ 5542 w 10000"/>
                <a:gd name="connsiteY87" fmla="*/ 7661 h 10010"/>
                <a:gd name="connsiteX88" fmla="*/ 5589 w 10000"/>
                <a:gd name="connsiteY88" fmla="*/ 7598 h 10010"/>
                <a:gd name="connsiteX89" fmla="*/ 5819 w 10000"/>
                <a:gd name="connsiteY89" fmla="*/ 7598 h 10010"/>
                <a:gd name="connsiteX90" fmla="*/ 6131 w 10000"/>
                <a:gd name="connsiteY90" fmla="*/ 7472 h 10010"/>
                <a:gd name="connsiteX91" fmla="*/ 6142 w 10000"/>
                <a:gd name="connsiteY91" fmla="*/ 7388 h 10010"/>
                <a:gd name="connsiteX92" fmla="*/ 6274 w 10000"/>
                <a:gd name="connsiteY92" fmla="*/ 7407 h 10010"/>
                <a:gd name="connsiteX93" fmla="*/ 6268 w 10000"/>
                <a:gd name="connsiteY93" fmla="*/ 7492 h 10010"/>
                <a:gd name="connsiteX94" fmla="*/ 6478 w 10000"/>
                <a:gd name="connsiteY94" fmla="*/ 7486 h 10010"/>
                <a:gd name="connsiteX95" fmla="*/ 6616 w 10000"/>
                <a:gd name="connsiteY95" fmla="*/ 7398 h 10010"/>
                <a:gd name="connsiteX96" fmla="*/ 6872 w 10000"/>
                <a:gd name="connsiteY96" fmla="*/ 7319 h 10010"/>
                <a:gd name="connsiteX97" fmla="*/ 6832 w 10000"/>
                <a:gd name="connsiteY97" fmla="*/ 7229 h 10010"/>
                <a:gd name="connsiteX98" fmla="*/ 6908 w 10000"/>
                <a:gd name="connsiteY98" fmla="*/ 7264 h 10010"/>
                <a:gd name="connsiteX99" fmla="*/ 7025 w 10000"/>
                <a:gd name="connsiteY99" fmla="*/ 7264 h 10010"/>
                <a:gd name="connsiteX100" fmla="*/ 7025 w 10000"/>
                <a:gd name="connsiteY100" fmla="*/ 7223 h 10010"/>
                <a:gd name="connsiteX101" fmla="*/ 7134 w 10000"/>
                <a:gd name="connsiteY101" fmla="*/ 7191 h 10010"/>
                <a:gd name="connsiteX102" fmla="*/ 7119 w 10000"/>
                <a:gd name="connsiteY102" fmla="*/ 7158 h 10010"/>
                <a:gd name="connsiteX103" fmla="*/ 6198 w 10000"/>
                <a:gd name="connsiteY103" fmla="*/ 7225 h 10010"/>
                <a:gd name="connsiteX104" fmla="*/ 5983 w 10000"/>
                <a:gd name="connsiteY104" fmla="*/ 7205 h 10010"/>
                <a:gd name="connsiteX105" fmla="*/ 5895 w 10000"/>
                <a:gd name="connsiteY105" fmla="*/ 7229 h 10010"/>
                <a:gd name="connsiteX106" fmla="*/ 5866 w 10000"/>
                <a:gd name="connsiteY106" fmla="*/ 7183 h 10010"/>
                <a:gd name="connsiteX107" fmla="*/ 5764 w 10000"/>
                <a:gd name="connsiteY107" fmla="*/ 7142 h 10010"/>
                <a:gd name="connsiteX108" fmla="*/ 5354 w 10000"/>
                <a:gd name="connsiteY108" fmla="*/ 7062 h 10010"/>
                <a:gd name="connsiteX109" fmla="*/ 5112 w 10000"/>
                <a:gd name="connsiteY109" fmla="*/ 7075 h 10010"/>
                <a:gd name="connsiteX110" fmla="*/ 5016 w 10000"/>
                <a:gd name="connsiteY110" fmla="*/ 7052 h 10010"/>
                <a:gd name="connsiteX111" fmla="*/ 5118 w 10000"/>
                <a:gd name="connsiteY111" fmla="*/ 7032 h 10010"/>
                <a:gd name="connsiteX112" fmla="*/ 5194 w 10000"/>
                <a:gd name="connsiteY112" fmla="*/ 6989 h 10010"/>
                <a:gd name="connsiteX113" fmla="*/ 5309 w 10000"/>
                <a:gd name="connsiteY113" fmla="*/ 7003 h 10010"/>
                <a:gd name="connsiteX114" fmla="*/ 5445 w 10000"/>
                <a:gd name="connsiteY114" fmla="*/ 6991 h 10010"/>
                <a:gd name="connsiteX115" fmla="*/ 5650 w 10000"/>
                <a:gd name="connsiteY115" fmla="*/ 7005 h 10010"/>
                <a:gd name="connsiteX116" fmla="*/ 5675 w 10000"/>
                <a:gd name="connsiteY116" fmla="*/ 6999 h 10010"/>
                <a:gd name="connsiteX117" fmla="*/ 5834 w 10000"/>
                <a:gd name="connsiteY117" fmla="*/ 7066 h 10010"/>
                <a:gd name="connsiteX118" fmla="*/ 5951 w 10000"/>
                <a:gd name="connsiteY118" fmla="*/ 7042 h 10010"/>
                <a:gd name="connsiteX119" fmla="*/ 5961 w 10000"/>
                <a:gd name="connsiteY119" fmla="*/ 7020 h 10010"/>
                <a:gd name="connsiteX120" fmla="*/ 6069 w 10000"/>
                <a:gd name="connsiteY120" fmla="*/ 7058 h 10010"/>
                <a:gd name="connsiteX121" fmla="*/ 6212 w 10000"/>
                <a:gd name="connsiteY121" fmla="*/ 7079 h 10010"/>
                <a:gd name="connsiteX122" fmla="*/ 6268 w 10000"/>
                <a:gd name="connsiteY122" fmla="*/ 7040 h 10010"/>
                <a:gd name="connsiteX123" fmla="*/ 6314 w 10000"/>
                <a:gd name="connsiteY123" fmla="*/ 7062 h 10010"/>
                <a:gd name="connsiteX124" fmla="*/ 6381 w 10000"/>
                <a:gd name="connsiteY124" fmla="*/ 7136 h 10010"/>
                <a:gd name="connsiteX125" fmla="*/ 6519 w 10000"/>
                <a:gd name="connsiteY125" fmla="*/ 7154 h 10010"/>
                <a:gd name="connsiteX126" fmla="*/ 7082 w 10000"/>
                <a:gd name="connsiteY126" fmla="*/ 7044 h 10010"/>
                <a:gd name="connsiteX127" fmla="*/ 7359 w 10000"/>
                <a:gd name="connsiteY127" fmla="*/ 6889 h 10010"/>
                <a:gd name="connsiteX128" fmla="*/ 7423 w 10000"/>
                <a:gd name="connsiteY128" fmla="*/ 6775 h 10010"/>
                <a:gd name="connsiteX129" fmla="*/ 7323 w 10000"/>
                <a:gd name="connsiteY129" fmla="*/ 6673 h 10010"/>
                <a:gd name="connsiteX130" fmla="*/ 7113 w 10000"/>
                <a:gd name="connsiteY130" fmla="*/ 6612 h 10010"/>
                <a:gd name="connsiteX131" fmla="*/ 6963 w 10000"/>
                <a:gd name="connsiteY131" fmla="*/ 6512 h 10010"/>
                <a:gd name="connsiteX132" fmla="*/ 7102 w 10000"/>
                <a:gd name="connsiteY132" fmla="*/ 6508 h 10010"/>
                <a:gd name="connsiteX133" fmla="*/ 7093 w 10000"/>
                <a:gd name="connsiteY133" fmla="*/ 6484 h 10010"/>
                <a:gd name="connsiteX134" fmla="*/ 6731 w 10000"/>
                <a:gd name="connsiteY134" fmla="*/ 6413 h 10010"/>
                <a:gd name="connsiteX135" fmla="*/ 6716 w 10000"/>
                <a:gd name="connsiteY135" fmla="*/ 6349 h 10010"/>
                <a:gd name="connsiteX136" fmla="*/ 6646 w 10000"/>
                <a:gd name="connsiteY136" fmla="*/ 6282 h 10010"/>
                <a:gd name="connsiteX137" fmla="*/ 6360 w 10000"/>
                <a:gd name="connsiteY137" fmla="*/ 6294 h 10010"/>
                <a:gd name="connsiteX138" fmla="*/ 6258 w 10000"/>
                <a:gd name="connsiteY138" fmla="*/ 6223 h 10010"/>
                <a:gd name="connsiteX139" fmla="*/ 6198 w 10000"/>
                <a:gd name="connsiteY139" fmla="*/ 6219 h 10010"/>
                <a:gd name="connsiteX140" fmla="*/ 6198 w 10000"/>
                <a:gd name="connsiteY140" fmla="*/ 6248 h 10010"/>
                <a:gd name="connsiteX141" fmla="*/ 6069 w 10000"/>
                <a:gd name="connsiteY141" fmla="*/ 6368 h 10010"/>
                <a:gd name="connsiteX142" fmla="*/ 5930 w 10000"/>
                <a:gd name="connsiteY142" fmla="*/ 6439 h 10010"/>
                <a:gd name="connsiteX143" fmla="*/ 5495 w 10000"/>
                <a:gd name="connsiteY143" fmla="*/ 6561 h 10010"/>
                <a:gd name="connsiteX144" fmla="*/ 5342 w 10000"/>
                <a:gd name="connsiteY144" fmla="*/ 6557 h 10010"/>
                <a:gd name="connsiteX145" fmla="*/ 5133 w 10000"/>
                <a:gd name="connsiteY145" fmla="*/ 6575 h 10010"/>
                <a:gd name="connsiteX146" fmla="*/ 5016 w 10000"/>
                <a:gd name="connsiteY146" fmla="*/ 6557 h 10010"/>
                <a:gd name="connsiteX147" fmla="*/ 5169 w 10000"/>
                <a:gd name="connsiteY147" fmla="*/ 6523 h 10010"/>
                <a:gd name="connsiteX148" fmla="*/ 5369 w 10000"/>
                <a:gd name="connsiteY148" fmla="*/ 6508 h 10010"/>
                <a:gd name="connsiteX149" fmla="*/ 5534 w 10000"/>
                <a:gd name="connsiteY149" fmla="*/ 6451 h 10010"/>
                <a:gd name="connsiteX150" fmla="*/ 5695 w 10000"/>
                <a:gd name="connsiteY150" fmla="*/ 6425 h 10010"/>
                <a:gd name="connsiteX151" fmla="*/ 5998 w 10000"/>
                <a:gd name="connsiteY151" fmla="*/ 6327 h 10010"/>
                <a:gd name="connsiteX152" fmla="*/ 6056 w 10000"/>
                <a:gd name="connsiteY152" fmla="*/ 6262 h 10010"/>
                <a:gd name="connsiteX153" fmla="*/ 6060 w 10000"/>
                <a:gd name="connsiteY153" fmla="*/ 6178 h 10010"/>
                <a:gd name="connsiteX154" fmla="*/ 5921 w 10000"/>
                <a:gd name="connsiteY154" fmla="*/ 6164 h 10010"/>
                <a:gd name="connsiteX155" fmla="*/ 5983 w 10000"/>
                <a:gd name="connsiteY155" fmla="*/ 6113 h 10010"/>
                <a:gd name="connsiteX156" fmla="*/ 6002 w 10000"/>
                <a:gd name="connsiteY156" fmla="*/ 6048 h 10010"/>
                <a:gd name="connsiteX157" fmla="*/ 5944 w 10000"/>
                <a:gd name="connsiteY157" fmla="*/ 5987 h 10010"/>
                <a:gd name="connsiteX158" fmla="*/ 5911 w 10000"/>
                <a:gd name="connsiteY158" fmla="*/ 5543 h 10010"/>
                <a:gd name="connsiteX159" fmla="*/ 5993 w 10000"/>
                <a:gd name="connsiteY159" fmla="*/ 5447 h 10010"/>
                <a:gd name="connsiteX160" fmla="*/ 5972 w 10000"/>
                <a:gd name="connsiteY160" fmla="*/ 5408 h 10010"/>
                <a:gd name="connsiteX161" fmla="*/ 6212 w 10000"/>
                <a:gd name="connsiteY161" fmla="*/ 5465 h 10010"/>
                <a:gd name="connsiteX162" fmla="*/ 6229 w 10000"/>
                <a:gd name="connsiteY162" fmla="*/ 5412 h 10010"/>
                <a:gd name="connsiteX163" fmla="*/ 6176 w 10000"/>
                <a:gd name="connsiteY163" fmla="*/ 5274 h 10010"/>
                <a:gd name="connsiteX164" fmla="*/ 6349 w 10000"/>
                <a:gd name="connsiteY164" fmla="*/ 5029 h 10010"/>
                <a:gd name="connsiteX165" fmla="*/ 6243 w 10000"/>
                <a:gd name="connsiteY165" fmla="*/ 4970 h 10010"/>
                <a:gd name="connsiteX166" fmla="*/ 6202 w 10000"/>
                <a:gd name="connsiteY166" fmla="*/ 4915 h 10010"/>
                <a:gd name="connsiteX167" fmla="*/ 6216 w 10000"/>
                <a:gd name="connsiteY167" fmla="*/ 4826 h 10010"/>
                <a:gd name="connsiteX168" fmla="*/ 6470 w 10000"/>
                <a:gd name="connsiteY168" fmla="*/ 4885 h 10010"/>
                <a:gd name="connsiteX169" fmla="*/ 6478 w 10000"/>
                <a:gd name="connsiteY169" fmla="*/ 4868 h 10010"/>
                <a:gd name="connsiteX170" fmla="*/ 6548 w 10000"/>
                <a:gd name="connsiteY170" fmla="*/ 4852 h 10010"/>
                <a:gd name="connsiteX171" fmla="*/ 6646 w 10000"/>
                <a:gd name="connsiteY171" fmla="*/ 4795 h 10010"/>
                <a:gd name="connsiteX172" fmla="*/ 6662 w 10000"/>
                <a:gd name="connsiteY172" fmla="*/ 4779 h 10010"/>
                <a:gd name="connsiteX173" fmla="*/ 6641 w 10000"/>
                <a:gd name="connsiteY173" fmla="*/ 4758 h 10010"/>
                <a:gd name="connsiteX174" fmla="*/ 6693 w 10000"/>
                <a:gd name="connsiteY174" fmla="*/ 4657 h 10010"/>
                <a:gd name="connsiteX175" fmla="*/ 6631 w 10000"/>
                <a:gd name="connsiteY175" fmla="*/ 4591 h 10010"/>
                <a:gd name="connsiteX176" fmla="*/ 6641 w 10000"/>
                <a:gd name="connsiteY176" fmla="*/ 4538 h 10010"/>
                <a:gd name="connsiteX177" fmla="*/ 6676 w 10000"/>
                <a:gd name="connsiteY177" fmla="*/ 4600 h 10010"/>
                <a:gd name="connsiteX178" fmla="*/ 6815 w 10000"/>
                <a:gd name="connsiteY178" fmla="*/ 4646 h 10010"/>
                <a:gd name="connsiteX179" fmla="*/ 6872 w 10000"/>
                <a:gd name="connsiteY179" fmla="*/ 4640 h 10010"/>
                <a:gd name="connsiteX180" fmla="*/ 6963 w 10000"/>
                <a:gd name="connsiteY180" fmla="*/ 4579 h 10010"/>
                <a:gd name="connsiteX181" fmla="*/ 7062 w 10000"/>
                <a:gd name="connsiteY181" fmla="*/ 4604 h 10010"/>
                <a:gd name="connsiteX182" fmla="*/ 7088 w 10000"/>
                <a:gd name="connsiteY182" fmla="*/ 4555 h 10010"/>
                <a:gd name="connsiteX183" fmla="*/ 7154 w 10000"/>
                <a:gd name="connsiteY183" fmla="*/ 4522 h 10010"/>
                <a:gd name="connsiteX184" fmla="*/ 6974 w 10000"/>
                <a:gd name="connsiteY184" fmla="*/ 4487 h 10010"/>
                <a:gd name="connsiteX185" fmla="*/ 7102 w 10000"/>
                <a:gd name="connsiteY185" fmla="*/ 4494 h 10010"/>
                <a:gd name="connsiteX186" fmla="*/ 7234 w 10000"/>
                <a:gd name="connsiteY186" fmla="*/ 4457 h 10010"/>
                <a:gd name="connsiteX187" fmla="*/ 7229 w 10000"/>
                <a:gd name="connsiteY187" fmla="*/ 4432 h 10010"/>
                <a:gd name="connsiteX188" fmla="*/ 7353 w 10000"/>
                <a:gd name="connsiteY188" fmla="*/ 4408 h 10010"/>
                <a:gd name="connsiteX189" fmla="*/ 7364 w 10000"/>
                <a:gd name="connsiteY189" fmla="*/ 4347 h 10010"/>
                <a:gd name="connsiteX190" fmla="*/ 7461 w 10000"/>
                <a:gd name="connsiteY190" fmla="*/ 4335 h 10010"/>
                <a:gd name="connsiteX191" fmla="*/ 7469 w 10000"/>
                <a:gd name="connsiteY191" fmla="*/ 4263 h 10010"/>
                <a:gd name="connsiteX192" fmla="*/ 7572 w 10000"/>
                <a:gd name="connsiteY192" fmla="*/ 4255 h 10010"/>
                <a:gd name="connsiteX193" fmla="*/ 7730 w 10000"/>
                <a:gd name="connsiteY193" fmla="*/ 4270 h 10010"/>
                <a:gd name="connsiteX194" fmla="*/ 7904 w 10000"/>
                <a:gd name="connsiteY194" fmla="*/ 4212 h 10010"/>
                <a:gd name="connsiteX195" fmla="*/ 7966 w 10000"/>
                <a:gd name="connsiteY195" fmla="*/ 4147 h 10010"/>
                <a:gd name="connsiteX196" fmla="*/ 8181 w 10000"/>
                <a:gd name="connsiteY196" fmla="*/ 4080 h 10010"/>
                <a:gd name="connsiteX197" fmla="*/ 8288 w 10000"/>
                <a:gd name="connsiteY197" fmla="*/ 4121 h 10010"/>
                <a:gd name="connsiteX198" fmla="*/ 8452 w 10000"/>
                <a:gd name="connsiteY198" fmla="*/ 4076 h 10010"/>
                <a:gd name="connsiteX199" fmla="*/ 8491 w 10000"/>
                <a:gd name="connsiteY199" fmla="*/ 4019 h 10010"/>
                <a:gd name="connsiteX200" fmla="*/ 8616 w 10000"/>
                <a:gd name="connsiteY200" fmla="*/ 3980 h 10010"/>
                <a:gd name="connsiteX201" fmla="*/ 8722 w 10000"/>
                <a:gd name="connsiteY201" fmla="*/ 3997 h 10010"/>
                <a:gd name="connsiteX202" fmla="*/ 8789 w 10000"/>
                <a:gd name="connsiteY202" fmla="*/ 3968 h 10010"/>
                <a:gd name="connsiteX203" fmla="*/ 8973 w 10000"/>
                <a:gd name="connsiteY203" fmla="*/ 3927 h 10010"/>
                <a:gd name="connsiteX204" fmla="*/ 9049 w 10000"/>
                <a:gd name="connsiteY204" fmla="*/ 3874 h 10010"/>
                <a:gd name="connsiteX205" fmla="*/ 9153 w 10000"/>
                <a:gd name="connsiteY205" fmla="*/ 3852 h 10010"/>
                <a:gd name="connsiteX206" fmla="*/ 9720 w 10000"/>
                <a:gd name="connsiteY206" fmla="*/ 3532 h 10010"/>
                <a:gd name="connsiteX207" fmla="*/ 9971 w 10000"/>
                <a:gd name="connsiteY207" fmla="*/ 399 h 10010"/>
                <a:gd name="connsiteX208" fmla="*/ 9049 w 10000"/>
                <a:gd name="connsiteY208" fmla="*/ 36 h 10010"/>
                <a:gd name="connsiteX209" fmla="*/ 8706 w 10000"/>
                <a:gd name="connsiteY209" fmla="*/ 10 h 10010"/>
                <a:gd name="connsiteX210" fmla="*/ 8652 w 10000"/>
                <a:gd name="connsiteY210" fmla="*/ 218 h 10010"/>
                <a:gd name="connsiteX211" fmla="*/ 8477 w 10000"/>
                <a:gd name="connsiteY211" fmla="*/ 495 h 10010"/>
                <a:gd name="connsiteX212" fmla="*/ 7537 w 10000"/>
                <a:gd name="connsiteY212" fmla="*/ 397 h 10010"/>
                <a:gd name="connsiteX213" fmla="*/ 7423 w 10000"/>
                <a:gd name="connsiteY213" fmla="*/ 405 h 10010"/>
                <a:gd name="connsiteX214" fmla="*/ 7359 w 10000"/>
                <a:gd name="connsiteY214" fmla="*/ 424 h 10010"/>
                <a:gd name="connsiteX215" fmla="*/ 7290 w 10000"/>
                <a:gd name="connsiteY215" fmla="*/ 472 h 10010"/>
                <a:gd name="connsiteX216" fmla="*/ 7302 w 10000"/>
                <a:gd name="connsiteY216" fmla="*/ 591 h 10010"/>
                <a:gd name="connsiteX217" fmla="*/ 7199 w 10000"/>
                <a:gd name="connsiteY217" fmla="*/ 745 h 10010"/>
                <a:gd name="connsiteX218" fmla="*/ 7072 w 10000"/>
                <a:gd name="connsiteY218" fmla="*/ 825 h 10010"/>
                <a:gd name="connsiteX219" fmla="*/ 7021 w 10000"/>
                <a:gd name="connsiteY219" fmla="*/ 815 h 10010"/>
                <a:gd name="connsiteX220" fmla="*/ 6903 w 10000"/>
                <a:gd name="connsiteY220" fmla="*/ 749 h 10010"/>
                <a:gd name="connsiteX221" fmla="*/ 6756 w 10000"/>
                <a:gd name="connsiteY221" fmla="*/ 715 h 10010"/>
                <a:gd name="connsiteX222" fmla="*/ 6594 w 10000"/>
                <a:gd name="connsiteY222" fmla="*/ 725 h 10010"/>
                <a:gd name="connsiteX223" fmla="*/ 6223 w 10000"/>
                <a:gd name="connsiteY223" fmla="*/ 876 h 10010"/>
                <a:gd name="connsiteX224" fmla="*/ 6125 w 10000"/>
                <a:gd name="connsiteY224" fmla="*/ 1027 h 10010"/>
                <a:gd name="connsiteX225" fmla="*/ 5845 w 10000"/>
                <a:gd name="connsiteY225" fmla="*/ 1163 h 10010"/>
                <a:gd name="connsiteX226" fmla="*/ 5794 w 10000"/>
                <a:gd name="connsiteY226" fmla="*/ 1232 h 10010"/>
                <a:gd name="connsiteX227" fmla="*/ 5940 w 10000"/>
                <a:gd name="connsiteY227" fmla="*/ 1354 h 10010"/>
                <a:gd name="connsiteX228" fmla="*/ 5956 w 10000"/>
                <a:gd name="connsiteY228" fmla="*/ 1422 h 10010"/>
                <a:gd name="connsiteX229" fmla="*/ 5190 w 10000"/>
                <a:gd name="connsiteY229" fmla="*/ 1823 h 10010"/>
                <a:gd name="connsiteX230" fmla="*/ 4955 w 10000"/>
                <a:gd name="connsiteY230" fmla="*/ 2080 h 10010"/>
                <a:gd name="connsiteX231" fmla="*/ 4702 w 10000"/>
                <a:gd name="connsiteY231" fmla="*/ 2145 h 10010"/>
                <a:gd name="connsiteX232" fmla="*/ 4540 w 10000"/>
                <a:gd name="connsiteY232" fmla="*/ 2141 h 10010"/>
                <a:gd name="connsiteX233" fmla="*/ 4443 w 10000"/>
                <a:gd name="connsiteY233" fmla="*/ 2163 h 10010"/>
                <a:gd name="connsiteX234" fmla="*/ 4178 w 10000"/>
                <a:gd name="connsiteY234" fmla="*/ 2803 h 10010"/>
                <a:gd name="connsiteX235" fmla="*/ 3565 w 10000"/>
                <a:gd name="connsiteY235" fmla="*/ 3176 h 10010"/>
                <a:gd name="connsiteX236" fmla="*/ 3569 w 10000"/>
                <a:gd name="connsiteY236" fmla="*/ 3235 h 10010"/>
                <a:gd name="connsiteX237" fmla="*/ 3841 w 10000"/>
                <a:gd name="connsiteY237" fmla="*/ 3402 h 10010"/>
                <a:gd name="connsiteX238" fmla="*/ 3753 w 10000"/>
                <a:gd name="connsiteY238" fmla="*/ 3583 h 10010"/>
                <a:gd name="connsiteX239" fmla="*/ 3594 w 10000"/>
                <a:gd name="connsiteY239" fmla="*/ 3650 h 10010"/>
                <a:gd name="connsiteX240" fmla="*/ 3118 w 10000"/>
                <a:gd name="connsiteY240" fmla="*/ 3605 h 10010"/>
                <a:gd name="connsiteX241" fmla="*/ 2791 w 10000"/>
                <a:gd name="connsiteY241" fmla="*/ 3630 h 10010"/>
                <a:gd name="connsiteX242" fmla="*/ 2528 w 10000"/>
                <a:gd name="connsiteY242" fmla="*/ 3683 h 10010"/>
                <a:gd name="connsiteX243" fmla="*/ 2102 w 10000"/>
                <a:gd name="connsiteY243" fmla="*/ 3850 h 10010"/>
                <a:gd name="connsiteX244" fmla="*/ 1877 w 10000"/>
                <a:gd name="connsiteY244" fmla="*/ 4052 h 10010"/>
                <a:gd name="connsiteX245" fmla="*/ 1896 w 10000"/>
                <a:gd name="connsiteY245" fmla="*/ 4164 h 10010"/>
                <a:gd name="connsiteX246" fmla="*/ 1975 w 10000"/>
                <a:gd name="connsiteY246" fmla="*/ 4251 h 10010"/>
                <a:gd name="connsiteX247" fmla="*/ 2034 w 10000"/>
                <a:gd name="connsiteY247" fmla="*/ 4286 h 10010"/>
                <a:gd name="connsiteX248" fmla="*/ 1924 w 10000"/>
                <a:gd name="connsiteY248" fmla="*/ 4341 h 10010"/>
                <a:gd name="connsiteX249" fmla="*/ 1683 w 10000"/>
                <a:gd name="connsiteY249" fmla="*/ 4720 h 10010"/>
                <a:gd name="connsiteX250" fmla="*/ 1729 w 10000"/>
                <a:gd name="connsiteY250" fmla="*/ 4742 h 10010"/>
                <a:gd name="connsiteX251" fmla="*/ 1764 w 10000"/>
                <a:gd name="connsiteY251" fmla="*/ 4838 h 10010"/>
                <a:gd name="connsiteX252" fmla="*/ 1652 w 10000"/>
                <a:gd name="connsiteY252" fmla="*/ 5237 h 10010"/>
                <a:gd name="connsiteX253" fmla="*/ 1764 w 10000"/>
                <a:gd name="connsiteY253" fmla="*/ 5339 h 10010"/>
                <a:gd name="connsiteX254" fmla="*/ 2071 w 10000"/>
                <a:gd name="connsiteY254" fmla="*/ 5451 h 10010"/>
                <a:gd name="connsiteX255" fmla="*/ 2085 w 10000"/>
                <a:gd name="connsiteY255" fmla="*/ 5588 h 10010"/>
                <a:gd name="connsiteX256" fmla="*/ 1954 w 10000"/>
                <a:gd name="connsiteY256" fmla="*/ 5700 h 10010"/>
                <a:gd name="connsiteX257" fmla="*/ 1764 w 10000"/>
                <a:gd name="connsiteY257" fmla="*/ 5769 h 10010"/>
                <a:gd name="connsiteX258" fmla="*/ 1513 w 10000"/>
                <a:gd name="connsiteY258" fmla="*/ 5797 h 10010"/>
                <a:gd name="connsiteX259" fmla="*/ 1448 w 10000"/>
                <a:gd name="connsiteY259" fmla="*/ 5836 h 10010"/>
                <a:gd name="connsiteX260" fmla="*/ 1594 w 10000"/>
                <a:gd name="connsiteY260" fmla="*/ 5930 h 10010"/>
                <a:gd name="connsiteX261" fmla="*/ 1678 w 10000"/>
                <a:gd name="connsiteY261" fmla="*/ 6152 h 10010"/>
                <a:gd name="connsiteX262" fmla="*/ 1488 w 10000"/>
                <a:gd name="connsiteY262" fmla="*/ 6343 h 10010"/>
                <a:gd name="connsiteX263" fmla="*/ 1554 w 10000"/>
                <a:gd name="connsiteY263" fmla="*/ 6402 h 10010"/>
                <a:gd name="connsiteX264" fmla="*/ 1494 w 10000"/>
                <a:gd name="connsiteY264" fmla="*/ 6502 h 10010"/>
                <a:gd name="connsiteX265" fmla="*/ 1372 w 10000"/>
                <a:gd name="connsiteY265" fmla="*/ 6571 h 10010"/>
                <a:gd name="connsiteX266" fmla="*/ 889 w 10000"/>
                <a:gd name="connsiteY266" fmla="*/ 6624 h 10010"/>
                <a:gd name="connsiteX267" fmla="*/ 860 w 10000"/>
                <a:gd name="connsiteY267" fmla="*/ 6716 h 10010"/>
                <a:gd name="connsiteX268" fmla="*/ 600 w 10000"/>
                <a:gd name="connsiteY268" fmla="*/ 6853 h 10010"/>
                <a:gd name="connsiteX269" fmla="*/ 634 w 10000"/>
                <a:gd name="connsiteY269" fmla="*/ 7050 h 10010"/>
                <a:gd name="connsiteX270" fmla="*/ 415 w 10000"/>
                <a:gd name="connsiteY270" fmla="*/ 7303 h 10010"/>
                <a:gd name="connsiteX271" fmla="*/ 266 w 10000"/>
                <a:gd name="connsiteY271" fmla="*/ 7333 h 10010"/>
                <a:gd name="connsiteX272" fmla="*/ 204 w 10000"/>
                <a:gd name="connsiteY272" fmla="*/ 7272 h 10010"/>
                <a:gd name="connsiteX273" fmla="*/ 128 w 10000"/>
                <a:gd name="connsiteY273" fmla="*/ 7364 h 10010"/>
                <a:gd name="connsiteX274" fmla="*/ 178 w 10000"/>
                <a:gd name="connsiteY274" fmla="*/ 7207 h 10010"/>
                <a:gd name="connsiteX275" fmla="*/ 147 w 10000"/>
                <a:gd name="connsiteY275" fmla="*/ 7176 h 10010"/>
                <a:gd name="connsiteX0" fmla="*/ 147 w 10000"/>
                <a:gd name="connsiteY0" fmla="*/ 7176 h 10010"/>
                <a:gd name="connsiteX1" fmla="*/ 0 w 10000"/>
                <a:gd name="connsiteY1" fmla="*/ 7258 h 10010"/>
                <a:gd name="connsiteX2" fmla="*/ 0 w 10000"/>
                <a:gd name="connsiteY2" fmla="*/ 7661 h 10010"/>
                <a:gd name="connsiteX3" fmla="*/ 81 w 10000"/>
                <a:gd name="connsiteY3" fmla="*/ 7673 h 10010"/>
                <a:gd name="connsiteX4" fmla="*/ 100 w 10000"/>
                <a:gd name="connsiteY4" fmla="*/ 7704 h 10010"/>
                <a:gd name="connsiteX5" fmla="*/ 96 w 10000"/>
                <a:gd name="connsiteY5" fmla="*/ 7759 h 10010"/>
                <a:gd name="connsiteX6" fmla="*/ 66 w 10000"/>
                <a:gd name="connsiteY6" fmla="*/ 7783 h 10010"/>
                <a:gd name="connsiteX7" fmla="*/ 190 w 10000"/>
                <a:gd name="connsiteY7" fmla="*/ 7737 h 10010"/>
                <a:gd name="connsiteX8" fmla="*/ 242 w 10000"/>
                <a:gd name="connsiteY8" fmla="*/ 7690 h 10010"/>
                <a:gd name="connsiteX9" fmla="*/ 306 w 10000"/>
                <a:gd name="connsiteY9" fmla="*/ 7722 h 10010"/>
                <a:gd name="connsiteX10" fmla="*/ 235 w 10000"/>
                <a:gd name="connsiteY10" fmla="*/ 7788 h 10010"/>
                <a:gd name="connsiteX11" fmla="*/ 311 w 10000"/>
                <a:gd name="connsiteY11" fmla="*/ 7790 h 10010"/>
                <a:gd name="connsiteX12" fmla="*/ 348 w 10000"/>
                <a:gd name="connsiteY12" fmla="*/ 7806 h 10010"/>
                <a:gd name="connsiteX13" fmla="*/ 250 w 10000"/>
                <a:gd name="connsiteY13" fmla="*/ 7828 h 10010"/>
                <a:gd name="connsiteX14" fmla="*/ 96 w 10000"/>
                <a:gd name="connsiteY14" fmla="*/ 7896 h 10010"/>
                <a:gd name="connsiteX15" fmla="*/ 370 w 10000"/>
                <a:gd name="connsiteY15" fmla="*/ 7948 h 10010"/>
                <a:gd name="connsiteX16" fmla="*/ 404 w 10000"/>
                <a:gd name="connsiteY16" fmla="*/ 8024 h 10010"/>
                <a:gd name="connsiteX17" fmla="*/ 311 w 10000"/>
                <a:gd name="connsiteY17" fmla="*/ 8136 h 10010"/>
                <a:gd name="connsiteX18" fmla="*/ 511 w 10000"/>
                <a:gd name="connsiteY18" fmla="*/ 8128 h 10010"/>
                <a:gd name="connsiteX19" fmla="*/ 526 w 10000"/>
                <a:gd name="connsiteY19" fmla="*/ 8213 h 10010"/>
                <a:gd name="connsiteX20" fmla="*/ 393 w 10000"/>
                <a:gd name="connsiteY20" fmla="*/ 8270 h 10010"/>
                <a:gd name="connsiteX21" fmla="*/ 415 w 10000"/>
                <a:gd name="connsiteY21" fmla="*/ 8380 h 10010"/>
                <a:gd name="connsiteX22" fmla="*/ 364 w 10000"/>
                <a:gd name="connsiteY22" fmla="*/ 8466 h 10010"/>
                <a:gd name="connsiteX23" fmla="*/ 521 w 10000"/>
                <a:gd name="connsiteY23" fmla="*/ 8474 h 10010"/>
                <a:gd name="connsiteX24" fmla="*/ 676 w 10000"/>
                <a:gd name="connsiteY24" fmla="*/ 8802 h 10010"/>
                <a:gd name="connsiteX25" fmla="*/ 853 w 10000"/>
                <a:gd name="connsiteY25" fmla="*/ 8886 h 10010"/>
                <a:gd name="connsiteX26" fmla="*/ 931 w 10000"/>
                <a:gd name="connsiteY26" fmla="*/ 8975 h 10010"/>
                <a:gd name="connsiteX27" fmla="*/ 1125 w 10000"/>
                <a:gd name="connsiteY27" fmla="*/ 9040 h 10010"/>
                <a:gd name="connsiteX28" fmla="*/ 1249 w 10000"/>
                <a:gd name="connsiteY28" fmla="*/ 9122 h 10010"/>
                <a:gd name="connsiteX29" fmla="*/ 1233 w 10000"/>
                <a:gd name="connsiteY29" fmla="*/ 9181 h 10010"/>
                <a:gd name="connsiteX30" fmla="*/ 1110 w 10000"/>
                <a:gd name="connsiteY30" fmla="*/ 9203 h 10010"/>
                <a:gd name="connsiteX31" fmla="*/ 976 w 10000"/>
                <a:gd name="connsiteY31" fmla="*/ 9189 h 10010"/>
                <a:gd name="connsiteX32" fmla="*/ 935 w 10000"/>
                <a:gd name="connsiteY32" fmla="*/ 9214 h 10010"/>
                <a:gd name="connsiteX33" fmla="*/ 1037 w 10000"/>
                <a:gd name="connsiteY33" fmla="*/ 9342 h 10010"/>
                <a:gd name="connsiteX34" fmla="*/ 894 w 10000"/>
                <a:gd name="connsiteY34" fmla="*/ 9332 h 10010"/>
                <a:gd name="connsiteX35" fmla="*/ 773 w 10000"/>
                <a:gd name="connsiteY35" fmla="*/ 9301 h 10010"/>
                <a:gd name="connsiteX36" fmla="*/ 750 w 10000"/>
                <a:gd name="connsiteY36" fmla="*/ 9348 h 10010"/>
                <a:gd name="connsiteX37" fmla="*/ 1155 w 10000"/>
                <a:gd name="connsiteY37" fmla="*/ 9786 h 10010"/>
                <a:gd name="connsiteX38" fmla="*/ 1091 w 10000"/>
                <a:gd name="connsiteY38" fmla="*/ 9827 h 10010"/>
                <a:gd name="connsiteX39" fmla="*/ 1045 w 10000"/>
                <a:gd name="connsiteY39" fmla="*/ 9912 h 10010"/>
                <a:gd name="connsiteX40" fmla="*/ 987 w 10000"/>
                <a:gd name="connsiteY40" fmla="*/ 9918 h 10010"/>
                <a:gd name="connsiteX41" fmla="*/ 951 w 10000"/>
                <a:gd name="connsiteY41" fmla="*/ 9955 h 10010"/>
                <a:gd name="connsiteX42" fmla="*/ 1195 w 10000"/>
                <a:gd name="connsiteY42" fmla="*/ 9959 h 10010"/>
                <a:gd name="connsiteX43" fmla="*/ 1410 w 10000"/>
                <a:gd name="connsiteY43" fmla="*/ 9996 h 10010"/>
                <a:gd name="connsiteX44" fmla="*/ 1769 w 10000"/>
                <a:gd name="connsiteY44" fmla="*/ 9957 h 10010"/>
                <a:gd name="connsiteX45" fmla="*/ 2091 w 10000"/>
                <a:gd name="connsiteY45" fmla="*/ 9963 h 10010"/>
                <a:gd name="connsiteX46" fmla="*/ 2280 w 10000"/>
                <a:gd name="connsiteY46" fmla="*/ 10010 h 10010"/>
                <a:gd name="connsiteX47" fmla="*/ 2385 w 10000"/>
                <a:gd name="connsiteY47" fmla="*/ 9979 h 10010"/>
                <a:gd name="connsiteX48" fmla="*/ 2485 w 10000"/>
                <a:gd name="connsiteY48" fmla="*/ 9878 h 10010"/>
                <a:gd name="connsiteX49" fmla="*/ 2459 w 10000"/>
                <a:gd name="connsiteY49" fmla="*/ 9713 h 10010"/>
                <a:gd name="connsiteX50" fmla="*/ 2704 w 10000"/>
                <a:gd name="connsiteY50" fmla="*/ 9527 h 10010"/>
                <a:gd name="connsiteX51" fmla="*/ 2883 w 10000"/>
                <a:gd name="connsiteY51" fmla="*/ 9556 h 10010"/>
                <a:gd name="connsiteX52" fmla="*/ 2987 w 10000"/>
                <a:gd name="connsiteY52" fmla="*/ 9482 h 10010"/>
                <a:gd name="connsiteX53" fmla="*/ 3186 w 10000"/>
                <a:gd name="connsiteY53" fmla="*/ 9440 h 10010"/>
                <a:gd name="connsiteX54" fmla="*/ 3457 w 10000"/>
                <a:gd name="connsiteY54" fmla="*/ 9450 h 10010"/>
                <a:gd name="connsiteX55" fmla="*/ 3620 w 10000"/>
                <a:gd name="connsiteY55" fmla="*/ 9480 h 10010"/>
                <a:gd name="connsiteX56" fmla="*/ 3837 w 10000"/>
                <a:gd name="connsiteY56" fmla="*/ 9466 h 10010"/>
                <a:gd name="connsiteX57" fmla="*/ 4056 w 10000"/>
                <a:gd name="connsiteY57" fmla="*/ 9499 h 10010"/>
                <a:gd name="connsiteX58" fmla="*/ 4275 w 10000"/>
                <a:gd name="connsiteY58" fmla="*/ 9503 h 10010"/>
                <a:gd name="connsiteX59" fmla="*/ 4765 w 10000"/>
                <a:gd name="connsiteY59" fmla="*/ 9071 h 10010"/>
                <a:gd name="connsiteX60" fmla="*/ 4889 w 10000"/>
                <a:gd name="connsiteY60" fmla="*/ 8721 h 10010"/>
                <a:gd name="connsiteX61" fmla="*/ 5088 w 10000"/>
                <a:gd name="connsiteY61" fmla="*/ 8564 h 10010"/>
                <a:gd name="connsiteX62" fmla="*/ 5088 w 10000"/>
                <a:gd name="connsiteY62" fmla="*/ 8482 h 10010"/>
                <a:gd name="connsiteX63" fmla="*/ 5016 w 10000"/>
                <a:gd name="connsiteY63" fmla="*/ 8435 h 10010"/>
                <a:gd name="connsiteX64" fmla="*/ 5133 w 10000"/>
                <a:gd name="connsiteY64" fmla="*/ 8362 h 10010"/>
                <a:gd name="connsiteX65" fmla="*/ 5112 w 10000"/>
                <a:gd name="connsiteY65" fmla="*/ 8299 h 10010"/>
                <a:gd name="connsiteX66" fmla="*/ 5032 w 10000"/>
                <a:gd name="connsiteY66" fmla="*/ 8246 h 10010"/>
                <a:gd name="connsiteX67" fmla="*/ 5016 w 10000"/>
                <a:gd name="connsiteY67" fmla="*/ 8209 h 10010"/>
                <a:gd name="connsiteX68" fmla="*/ 5036 w 10000"/>
                <a:gd name="connsiteY68" fmla="*/ 8179 h 10010"/>
                <a:gd name="connsiteX69" fmla="*/ 5144 w 10000"/>
                <a:gd name="connsiteY69" fmla="*/ 8203 h 10010"/>
                <a:gd name="connsiteX70" fmla="*/ 5230 w 10000"/>
                <a:gd name="connsiteY70" fmla="*/ 8201 h 10010"/>
                <a:gd name="connsiteX71" fmla="*/ 5184 w 10000"/>
                <a:gd name="connsiteY71" fmla="*/ 8150 h 10010"/>
                <a:gd name="connsiteX72" fmla="*/ 5198 w 10000"/>
                <a:gd name="connsiteY72" fmla="*/ 8122 h 10010"/>
                <a:gd name="connsiteX73" fmla="*/ 5262 w 10000"/>
                <a:gd name="connsiteY73" fmla="*/ 8079 h 10010"/>
                <a:gd name="connsiteX74" fmla="*/ 5250 w 10000"/>
                <a:gd name="connsiteY74" fmla="*/ 8044 h 10010"/>
                <a:gd name="connsiteX75" fmla="*/ 5309 w 10000"/>
                <a:gd name="connsiteY75" fmla="*/ 7926 h 10010"/>
                <a:gd name="connsiteX76" fmla="*/ 5293 w 10000"/>
                <a:gd name="connsiteY76" fmla="*/ 7891 h 10010"/>
                <a:gd name="connsiteX77" fmla="*/ 4996 w 10000"/>
                <a:gd name="connsiteY77" fmla="*/ 7802 h 10010"/>
                <a:gd name="connsiteX78" fmla="*/ 5036 w 10000"/>
                <a:gd name="connsiteY78" fmla="*/ 7798 h 10010"/>
                <a:gd name="connsiteX79" fmla="*/ 5194 w 10000"/>
                <a:gd name="connsiteY79" fmla="*/ 7822 h 10010"/>
                <a:gd name="connsiteX80" fmla="*/ 5365 w 10000"/>
                <a:gd name="connsiteY80" fmla="*/ 7814 h 10010"/>
                <a:gd name="connsiteX81" fmla="*/ 5415 w 10000"/>
                <a:gd name="connsiteY81" fmla="*/ 7781 h 10010"/>
                <a:gd name="connsiteX82" fmla="*/ 5250 w 10000"/>
                <a:gd name="connsiteY82" fmla="*/ 7720 h 10010"/>
                <a:gd name="connsiteX83" fmla="*/ 4761 w 10000"/>
                <a:gd name="connsiteY83" fmla="*/ 7680 h 10010"/>
                <a:gd name="connsiteX84" fmla="*/ 4794 w 10000"/>
                <a:gd name="connsiteY84" fmla="*/ 7661 h 10010"/>
                <a:gd name="connsiteX85" fmla="*/ 5194 w 10000"/>
                <a:gd name="connsiteY85" fmla="*/ 7649 h 10010"/>
                <a:gd name="connsiteX86" fmla="*/ 5415 w 10000"/>
                <a:gd name="connsiteY86" fmla="*/ 7686 h 10010"/>
                <a:gd name="connsiteX87" fmla="*/ 5542 w 10000"/>
                <a:gd name="connsiteY87" fmla="*/ 7661 h 10010"/>
                <a:gd name="connsiteX88" fmla="*/ 5589 w 10000"/>
                <a:gd name="connsiteY88" fmla="*/ 7598 h 10010"/>
                <a:gd name="connsiteX89" fmla="*/ 5819 w 10000"/>
                <a:gd name="connsiteY89" fmla="*/ 7598 h 10010"/>
                <a:gd name="connsiteX90" fmla="*/ 6131 w 10000"/>
                <a:gd name="connsiteY90" fmla="*/ 7472 h 10010"/>
                <a:gd name="connsiteX91" fmla="*/ 6142 w 10000"/>
                <a:gd name="connsiteY91" fmla="*/ 7388 h 10010"/>
                <a:gd name="connsiteX92" fmla="*/ 6274 w 10000"/>
                <a:gd name="connsiteY92" fmla="*/ 7407 h 10010"/>
                <a:gd name="connsiteX93" fmla="*/ 6268 w 10000"/>
                <a:gd name="connsiteY93" fmla="*/ 7492 h 10010"/>
                <a:gd name="connsiteX94" fmla="*/ 6478 w 10000"/>
                <a:gd name="connsiteY94" fmla="*/ 7486 h 10010"/>
                <a:gd name="connsiteX95" fmla="*/ 6616 w 10000"/>
                <a:gd name="connsiteY95" fmla="*/ 7398 h 10010"/>
                <a:gd name="connsiteX96" fmla="*/ 6872 w 10000"/>
                <a:gd name="connsiteY96" fmla="*/ 7319 h 10010"/>
                <a:gd name="connsiteX97" fmla="*/ 6832 w 10000"/>
                <a:gd name="connsiteY97" fmla="*/ 7229 h 10010"/>
                <a:gd name="connsiteX98" fmla="*/ 6908 w 10000"/>
                <a:gd name="connsiteY98" fmla="*/ 7264 h 10010"/>
                <a:gd name="connsiteX99" fmla="*/ 7025 w 10000"/>
                <a:gd name="connsiteY99" fmla="*/ 7264 h 10010"/>
                <a:gd name="connsiteX100" fmla="*/ 7025 w 10000"/>
                <a:gd name="connsiteY100" fmla="*/ 7223 h 10010"/>
                <a:gd name="connsiteX101" fmla="*/ 7134 w 10000"/>
                <a:gd name="connsiteY101" fmla="*/ 7191 h 10010"/>
                <a:gd name="connsiteX102" fmla="*/ 7119 w 10000"/>
                <a:gd name="connsiteY102" fmla="*/ 7158 h 10010"/>
                <a:gd name="connsiteX103" fmla="*/ 6198 w 10000"/>
                <a:gd name="connsiteY103" fmla="*/ 7225 h 10010"/>
                <a:gd name="connsiteX104" fmla="*/ 5983 w 10000"/>
                <a:gd name="connsiteY104" fmla="*/ 7205 h 10010"/>
                <a:gd name="connsiteX105" fmla="*/ 5895 w 10000"/>
                <a:gd name="connsiteY105" fmla="*/ 7229 h 10010"/>
                <a:gd name="connsiteX106" fmla="*/ 5866 w 10000"/>
                <a:gd name="connsiteY106" fmla="*/ 7183 h 10010"/>
                <a:gd name="connsiteX107" fmla="*/ 5764 w 10000"/>
                <a:gd name="connsiteY107" fmla="*/ 7142 h 10010"/>
                <a:gd name="connsiteX108" fmla="*/ 5354 w 10000"/>
                <a:gd name="connsiteY108" fmla="*/ 7062 h 10010"/>
                <a:gd name="connsiteX109" fmla="*/ 5112 w 10000"/>
                <a:gd name="connsiteY109" fmla="*/ 7075 h 10010"/>
                <a:gd name="connsiteX110" fmla="*/ 5016 w 10000"/>
                <a:gd name="connsiteY110" fmla="*/ 7052 h 10010"/>
                <a:gd name="connsiteX111" fmla="*/ 5118 w 10000"/>
                <a:gd name="connsiteY111" fmla="*/ 7032 h 10010"/>
                <a:gd name="connsiteX112" fmla="*/ 5194 w 10000"/>
                <a:gd name="connsiteY112" fmla="*/ 6989 h 10010"/>
                <a:gd name="connsiteX113" fmla="*/ 5309 w 10000"/>
                <a:gd name="connsiteY113" fmla="*/ 7003 h 10010"/>
                <a:gd name="connsiteX114" fmla="*/ 5445 w 10000"/>
                <a:gd name="connsiteY114" fmla="*/ 6991 h 10010"/>
                <a:gd name="connsiteX115" fmla="*/ 5650 w 10000"/>
                <a:gd name="connsiteY115" fmla="*/ 7005 h 10010"/>
                <a:gd name="connsiteX116" fmla="*/ 5675 w 10000"/>
                <a:gd name="connsiteY116" fmla="*/ 6999 h 10010"/>
                <a:gd name="connsiteX117" fmla="*/ 5834 w 10000"/>
                <a:gd name="connsiteY117" fmla="*/ 7066 h 10010"/>
                <a:gd name="connsiteX118" fmla="*/ 5951 w 10000"/>
                <a:gd name="connsiteY118" fmla="*/ 7042 h 10010"/>
                <a:gd name="connsiteX119" fmla="*/ 5961 w 10000"/>
                <a:gd name="connsiteY119" fmla="*/ 7020 h 10010"/>
                <a:gd name="connsiteX120" fmla="*/ 6069 w 10000"/>
                <a:gd name="connsiteY120" fmla="*/ 7058 h 10010"/>
                <a:gd name="connsiteX121" fmla="*/ 6212 w 10000"/>
                <a:gd name="connsiteY121" fmla="*/ 7079 h 10010"/>
                <a:gd name="connsiteX122" fmla="*/ 6268 w 10000"/>
                <a:gd name="connsiteY122" fmla="*/ 7040 h 10010"/>
                <a:gd name="connsiteX123" fmla="*/ 6314 w 10000"/>
                <a:gd name="connsiteY123" fmla="*/ 7062 h 10010"/>
                <a:gd name="connsiteX124" fmla="*/ 6381 w 10000"/>
                <a:gd name="connsiteY124" fmla="*/ 7136 h 10010"/>
                <a:gd name="connsiteX125" fmla="*/ 6519 w 10000"/>
                <a:gd name="connsiteY125" fmla="*/ 7154 h 10010"/>
                <a:gd name="connsiteX126" fmla="*/ 7082 w 10000"/>
                <a:gd name="connsiteY126" fmla="*/ 7044 h 10010"/>
                <a:gd name="connsiteX127" fmla="*/ 7359 w 10000"/>
                <a:gd name="connsiteY127" fmla="*/ 6889 h 10010"/>
                <a:gd name="connsiteX128" fmla="*/ 7423 w 10000"/>
                <a:gd name="connsiteY128" fmla="*/ 6775 h 10010"/>
                <a:gd name="connsiteX129" fmla="*/ 7323 w 10000"/>
                <a:gd name="connsiteY129" fmla="*/ 6673 h 10010"/>
                <a:gd name="connsiteX130" fmla="*/ 7113 w 10000"/>
                <a:gd name="connsiteY130" fmla="*/ 6612 h 10010"/>
                <a:gd name="connsiteX131" fmla="*/ 6963 w 10000"/>
                <a:gd name="connsiteY131" fmla="*/ 6512 h 10010"/>
                <a:gd name="connsiteX132" fmla="*/ 7102 w 10000"/>
                <a:gd name="connsiteY132" fmla="*/ 6508 h 10010"/>
                <a:gd name="connsiteX133" fmla="*/ 7093 w 10000"/>
                <a:gd name="connsiteY133" fmla="*/ 6484 h 10010"/>
                <a:gd name="connsiteX134" fmla="*/ 6731 w 10000"/>
                <a:gd name="connsiteY134" fmla="*/ 6413 h 10010"/>
                <a:gd name="connsiteX135" fmla="*/ 6716 w 10000"/>
                <a:gd name="connsiteY135" fmla="*/ 6349 h 10010"/>
                <a:gd name="connsiteX136" fmla="*/ 6646 w 10000"/>
                <a:gd name="connsiteY136" fmla="*/ 6282 h 10010"/>
                <a:gd name="connsiteX137" fmla="*/ 6360 w 10000"/>
                <a:gd name="connsiteY137" fmla="*/ 6294 h 10010"/>
                <a:gd name="connsiteX138" fmla="*/ 6258 w 10000"/>
                <a:gd name="connsiteY138" fmla="*/ 6223 h 10010"/>
                <a:gd name="connsiteX139" fmla="*/ 6198 w 10000"/>
                <a:gd name="connsiteY139" fmla="*/ 6219 h 10010"/>
                <a:gd name="connsiteX140" fmla="*/ 6198 w 10000"/>
                <a:gd name="connsiteY140" fmla="*/ 6248 h 10010"/>
                <a:gd name="connsiteX141" fmla="*/ 6069 w 10000"/>
                <a:gd name="connsiteY141" fmla="*/ 6368 h 10010"/>
                <a:gd name="connsiteX142" fmla="*/ 5930 w 10000"/>
                <a:gd name="connsiteY142" fmla="*/ 6439 h 10010"/>
                <a:gd name="connsiteX143" fmla="*/ 5495 w 10000"/>
                <a:gd name="connsiteY143" fmla="*/ 6561 h 10010"/>
                <a:gd name="connsiteX144" fmla="*/ 5342 w 10000"/>
                <a:gd name="connsiteY144" fmla="*/ 6557 h 10010"/>
                <a:gd name="connsiteX145" fmla="*/ 5133 w 10000"/>
                <a:gd name="connsiteY145" fmla="*/ 6575 h 10010"/>
                <a:gd name="connsiteX146" fmla="*/ 5016 w 10000"/>
                <a:gd name="connsiteY146" fmla="*/ 6557 h 10010"/>
                <a:gd name="connsiteX147" fmla="*/ 5169 w 10000"/>
                <a:gd name="connsiteY147" fmla="*/ 6523 h 10010"/>
                <a:gd name="connsiteX148" fmla="*/ 5369 w 10000"/>
                <a:gd name="connsiteY148" fmla="*/ 6508 h 10010"/>
                <a:gd name="connsiteX149" fmla="*/ 5534 w 10000"/>
                <a:gd name="connsiteY149" fmla="*/ 6451 h 10010"/>
                <a:gd name="connsiteX150" fmla="*/ 5695 w 10000"/>
                <a:gd name="connsiteY150" fmla="*/ 6425 h 10010"/>
                <a:gd name="connsiteX151" fmla="*/ 5998 w 10000"/>
                <a:gd name="connsiteY151" fmla="*/ 6327 h 10010"/>
                <a:gd name="connsiteX152" fmla="*/ 6056 w 10000"/>
                <a:gd name="connsiteY152" fmla="*/ 6262 h 10010"/>
                <a:gd name="connsiteX153" fmla="*/ 6060 w 10000"/>
                <a:gd name="connsiteY153" fmla="*/ 6178 h 10010"/>
                <a:gd name="connsiteX154" fmla="*/ 5921 w 10000"/>
                <a:gd name="connsiteY154" fmla="*/ 6164 h 10010"/>
                <a:gd name="connsiteX155" fmla="*/ 5983 w 10000"/>
                <a:gd name="connsiteY155" fmla="*/ 6113 h 10010"/>
                <a:gd name="connsiteX156" fmla="*/ 6002 w 10000"/>
                <a:gd name="connsiteY156" fmla="*/ 6048 h 10010"/>
                <a:gd name="connsiteX157" fmla="*/ 5944 w 10000"/>
                <a:gd name="connsiteY157" fmla="*/ 5987 h 10010"/>
                <a:gd name="connsiteX158" fmla="*/ 5911 w 10000"/>
                <a:gd name="connsiteY158" fmla="*/ 5543 h 10010"/>
                <a:gd name="connsiteX159" fmla="*/ 5993 w 10000"/>
                <a:gd name="connsiteY159" fmla="*/ 5447 h 10010"/>
                <a:gd name="connsiteX160" fmla="*/ 5972 w 10000"/>
                <a:gd name="connsiteY160" fmla="*/ 5408 h 10010"/>
                <a:gd name="connsiteX161" fmla="*/ 6212 w 10000"/>
                <a:gd name="connsiteY161" fmla="*/ 5465 h 10010"/>
                <a:gd name="connsiteX162" fmla="*/ 6229 w 10000"/>
                <a:gd name="connsiteY162" fmla="*/ 5412 h 10010"/>
                <a:gd name="connsiteX163" fmla="*/ 6176 w 10000"/>
                <a:gd name="connsiteY163" fmla="*/ 5274 h 10010"/>
                <a:gd name="connsiteX164" fmla="*/ 6349 w 10000"/>
                <a:gd name="connsiteY164" fmla="*/ 5029 h 10010"/>
                <a:gd name="connsiteX165" fmla="*/ 6243 w 10000"/>
                <a:gd name="connsiteY165" fmla="*/ 4970 h 10010"/>
                <a:gd name="connsiteX166" fmla="*/ 6202 w 10000"/>
                <a:gd name="connsiteY166" fmla="*/ 4915 h 10010"/>
                <a:gd name="connsiteX167" fmla="*/ 6216 w 10000"/>
                <a:gd name="connsiteY167" fmla="*/ 4826 h 10010"/>
                <a:gd name="connsiteX168" fmla="*/ 6470 w 10000"/>
                <a:gd name="connsiteY168" fmla="*/ 4885 h 10010"/>
                <a:gd name="connsiteX169" fmla="*/ 6478 w 10000"/>
                <a:gd name="connsiteY169" fmla="*/ 4868 h 10010"/>
                <a:gd name="connsiteX170" fmla="*/ 6548 w 10000"/>
                <a:gd name="connsiteY170" fmla="*/ 4852 h 10010"/>
                <a:gd name="connsiteX171" fmla="*/ 6646 w 10000"/>
                <a:gd name="connsiteY171" fmla="*/ 4795 h 10010"/>
                <a:gd name="connsiteX172" fmla="*/ 6662 w 10000"/>
                <a:gd name="connsiteY172" fmla="*/ 4779 h 10010"/>
                <a:gd name="connsiteX173" fmla="*/ 6641 w 10000"/>
                <a:gd name="connsiteY173" fmla="*/ 4758 h 10010"/>
                <a:gd name="connsiteX174" fmla="*/ 6693 w 10000"/>
                <a:gd name="connsiteY174" fmla="*/ 4657 h 10010"/>
                <a:gd name="connsiteX175" fmla="*/ 6631 w 10000"/>
                <a:gd name="connsiteY175" fmla="*/ 4591 h 10010"/>
                <a:gd name="connsiteX176" fmla="*/ 6641 w 10000"/>
                <a:gd name="connsiteY176" fmla="*/ 4538 h 10010"/>
                <a:gd name="connsiteX177" fmla="*/ 6676 w 10000"/>
                <a:gd name="connsiteY177" fmla="*/ 4600 h 10010"/>
                <a:gd name="connsiteX178" fmla="*/ 6815 w 10000"/>
                <a:gd name="connsiteY178" fmla="*/ 4646 h 10010"/>
                <a:gd name="connsiteX179" fmla="*/ 6872 w 10000"/>
                <a:gd name="connsiteY179" fmla="*/ 4640 h 10010"/>
                <a:gd name="connsiteX180" fmla="*/ 6963 w 10000"/>
                <a:gd name="connsiteY180" fmla="*/ 4579 h 10010"/>
                <a:gd name="connsiteX181" fmla="*/ 7062 w 10000"/>
                <a:gd name="connsiteY181" fmla="*/ 4604 h 10010"/>
                <a:gd name="connsiteX182" fmla="*/ 7088 w 10000"/>
                <a:gd name="connsiteY182" fmla="*/ 4555 h 10010"/>
                <a:gd name="connsiteX183" fmla="*/ 7154 w 10000"/>
                <a:gd name="connsiteY183" fmla="*/ 4522 h 10010"/>
                <a:gd name="connsiteX184" fmla="*/ 6974 w 10000"/>
                <a:gd name="connsiteY184" fmla="*/ 4487 h 10010"/>
                <a:gd name="connsiteX185" fmla="*/ 7102 w 10000"/>
                <a:gd name="connsiteY185" fmla="*/ 4494 h 10010"/>
                <a:gd name="connsiteX186" fmla="*/ 7234 w 10000"/>
                <a:gd name="connsiteY186" fmla="*/ 4457 h 10010"/>
                <a:gd name="connsiteX187" fmla="*/ 7229 w 10000"/>
                <a:gd name="connsiteY187" fmla="*/ 4432 h 10010"/>
                <a:gd name="connsiteX188" fmla="*/ 7353 w 10000"/>
                <a:gd name="connsiteY188" fmla="*/ 4408 h 10010"/>
                <a:gd name="connsiteX189" fmla="*/ 7364 w 10000"/>
                <a:gd name="connsiteY189" fmla="*/ 4347 h 10010"/>
                <a:gd name="connsiteX190" fmla="*/ 7461 w 10000"/>
                <a:gd name="connsiteY190" fmla="*/ 4335 h 10010"/>
                <a:gd name="connsiteX191" fmla="*/ 7469 w 10000"/>
                <a:gd name="connsiteY191" fmla="*/ 4263 h 10010"/>
                <a:gd name="connsiteX192" fmla="*/ 7572 w 10000"/>
                <a:gd name="connsiteY192" fmla="*/ 4255 h 10010"/>
                <a:gd name="connsiteX193" fmla="*/ 7730 w 10000"/>
                <a:gd name="connsiteY193" fmla="*/ 4270 h 10010"/>
                <a:gd name="connsiteX194" fmla="*/ 7904 w 10000"/>
                <a:gd name="connsiteY194" fmla="*/ 4212 h 10010"/>
                <a:gd name="connsiteX195" fmla="*/ 7966 w 10000"/>
                <a:gd name="connsiteY195" fmla="*/ 4147 h 10010"/>
                <a:gd name="connsiteX196" fmla="*/ 8181 w 10000"/>
                <a:gd name="connsiteY196" fmla="*/ 4080 h 10010"/>
                <a:gd name="connsiteX197" fmla="*/ 8288 w 10000"/>
                <a:gd name="connsiteY197" fmla="*/ 4121 h 10010"/>
                <a:gd name="connsiteX198" fmla="*/ 8452 w 10000"/>
                <a:gd name="connsiteY198" fmla="*/ 4076 h 10010"/>
                <a:gd name="connsiteX199" fmla="*/ 8491 w 10000"/>
                <a:gd name="connsiteY199" fmla="*/ 4019 h 10010"/>
                <a:gd name="connsiteX200" fmla="*/ 8616 w 10000"/>
                <a:gd name="connsiteY200" fmla="*/ 3980 h 10010"/>
                <a:gd name="connsiteX201" fmla="*/ 8722 w 10000"/>
                <a:gd name="connsiteY201" fmla="*/ 3997 h 10010"/>
                <a:gd name="connsiteX202" fmla="*/ 8789 w 10000"/>
                <a:gd name="connsiteY202" fmla="*/ 3968 h 10010"/>
                <a:gd name="connsiteX203" fmla="*/ 8973 w 10000"/>
                <a:gd name="connsiteY203" fmla="*/ 3927 h 10010"/>
                <a:gd name="connsiteX204" fmla="*/ 9049 w 10000"/>
                <a:gd name="connsiteY204" fmla="*/ 3874 h 10010"/>
                <a:gd name="connsiteX205" fmla="*/ 9153 w 10000"/>
                <a:gd name="connsiteY205" fmla="*/ 3852 h 10010"/>
                <a:gd name="connsiteX206" fmla="*/ 9720 w 10000"/>
                <a:gd name="connsiteY206" fmla="*/ 3532 h 10010"/>
                <a:gd name="connsiteX207" fmla="*/ 9971 w 10000"/>
                <a:gd name="connsiteY207" fmla="*/ 399 h 10010"/>
                <a:gd name="connsiteX208" fmla="*/ 9049 w 10000"/>
                <a:gd name="connsiteY208" fmla="*/ 36 h 10010"/>
                <a:gd name="connsiteX209" fmla="*/ 8706 w 10000"/>
                <a:gd name="connsiteY209" fmla="*/ 10 h 10010"/>
                <a:gd name="connsiteX210" fmla="*/ 8652 w 10000"/>
                <a:gd name="connsiteY210" fmla="*/ 218 h 10010"/>
                <a:gd name="connsiteX211" fmla="*/ 7537 w 10000"/>
                <a:gd name="connsiteY211" fmla="*/ 397 h 10010"/>
                <a:gd name="connsiteX212" fmla="*/ 7423 w 10000"/>
                <a:gd name="connsiteY212" fmla="*/ 405 h 10010"/>
                <a:gd name="connsiteX213" fmla="*/ 7359 w 10000"/>
                <a:gd name="connsiteY213" fmla="*/ 424 h 10010"/>
                <a:gd name="connsiteX214" fmla="*/ 7290 w 10000"/>
                <a:gd name="connsiteY214" fmla="*/ 472 h 10010"/>
                <a:gd name="connsiteX215" fmla="*/ 7302 w 10000"/>
                <a:gd name="connsiteY215" fmla="*/ 591 h 10010"/>
                <a:gd name="connsiteX216" fmla="*/ 7199 w 10000"/>
                <a:gd name="connsiteY216" fmla="*/ 745 h 10010"/>
                <a:gd name="connsiteX217" fmla="*/ 7072 w 10000"/>
                <a:gd name="connsiteY217" fmla="*/ 825 h 10010"/>
                <a:gd name="connsiteX218" fmla="*/ 7021 w 10000"/>
                <a:gd name="connsiteY218" fmla="*/ 815 h 10010"/>
                <a:gd name="connsiteX219" fmla="*/ 6903 w 10000"/>
                <a:gd name="connsiteY219" fmla="*/ 749 h 10010"/>
                <a:gd name="connsiteX220" fmla="*/ 6756 w 10000"/>
                <a:gd name="connsiteY220" fmla="*/ 715 h 10010"/>
                <a:gd name="connsiteX221" fmla="*/ 6594 w 10000"/>
                <a:gd name="connsiteY221" fmla="*/ 725 h 10010"/>
                <a:gd name="connsiteX222" fmla="*/ 6223 w 10000"/>
                <a:gd name="connsiteY222" fmla="*/ 876 h 10010"/>
                <a:gd name="connsiteX223" fmla="*/ 6125 w 10000"/>
                <a:gd name="connsiteY223" fmla="*/ 1027 h 10010"/>
                <a:gd name="connsiteX224" fmla="*/ 5845 w 10000"/>
                <a:gd name="connsiteY224" fmla="*/ 1163 h 10010"/>
                <a:gd name="connsiteX225" fmla="*/ 5794 w 10000"/>
                <a:gd name="connsiteY225" fmla="*/ 1232 h 10010"/>
                <a:gd name="connsiteX226" fmla="*/ 5940 w 10000"/>
                <a:gd name="connsiteY226" fmla="*/ 1354 h 10010"/>
                <a:gd name="connsiteX227" fmla="*/ 5956 w 10000"/>
                <a:gd name="connsiteY227" fmla="*/ 1422 h 10010"/>
                <a:gd name="connsiteX228" fmla="*/ 5190 w 10000"/>
                <a:gd name="connsiteY228" fmla="*/ 1823 h 10010"/>
                <a:gd name="connsiteX229" fmla="*/ 4955 w 10000"/>
                <a:gd name="connsiteY229" fmla="*/ 2080 h 10010"/>
                <a:gd name="connsiteX230" fmla="*/ 4702 w 10000"/>
                <a:gd name="connsiteY230" fmla="*/ 2145 h 10010"/>
                <a:gd name="connsiteX231" fmla="*/ 4540 w 10000"/>
                <a:gd name="connsiteY231" fmla="*/ 2141 h 10010"/>
                <a:gd name="connsiteX232" fmla="*/ 4443 w 10000"/>
                <a:gd name="connsiteY232" fmla="*/ 2163 h 10010"/>
                <a:gd name="connsiteX233" fmla="*/ 4178 w 10000"/>
                <a:gd name="connsiteY233" fmla="*/ 2803 h 10010"/>
                <a:gd name="connsiteX234" fmla="*/ 3565 w 10000"/>
                <a:gd name="connsiteY234" fmla="*/ 3176 h 10010"/>
                <a:gd name="connsiteX235" fmla="*/ 3569 w 10000"/>
                <a:gd name="connsiteY235" fmla="*/ 3235 h 10010"/>
                <a:gd name="connsiteX236" fmla="*/ 3841 w 10000"/>
                <a:gd name="connsiteY236" fmla="*/ 3402 h 10010"/>
                <a:gd name="connsiteX237" fmla="*/ 3753 w 10000"/>
                <a:gd name="connsiteY237" fmla="*/ 3583 h 10010"/>
                <a:gd name="connsiteX238" fmla="*/ 3594 w 10000"/>
                <a:gd name="connsiteY238" fmla="*/ 3650 h 10010"/>
                <a:gd name="connsiteX239" fmla="*/ 3118 w 10000"/>
                <a:gd name="connsiteY239" fmla="*/ 3605 h 10010"/>
                <a:gd name="connsiteX240" fmla="*/ 2791 w 10000"/>
                <a:gd name="connsiteY240" fmla="*/ 3630 h 10010"/>
                <a:gd name="connsiteX241" fmla="*/ 2528 w 10000"/>
                <a:gd name="connsiteY241" fmla="*/ 3683 h 10010"/>
                <a:gd name="connsiteX242" fmla="*/ 2102 w 10000"/>
                <a:gd name="connsiteY242" fmla="*/ 3850 h 10010"/>
                <a:gd name="connsiteX243" fmla="*/ 1877 w 10000"/>
                <a:gd name="connsiteY243" fmla="*/ 4052 h 10010"/>
                <a:gd name="connsiteX244" fmla="*/ 1896 w 10000"/>
                <a:gd name="connsiteY244" fmla="*/ 4164 h 10010"/>
                <a:gd name="connsiteX245" fmla="*/ 1975 w 10000"/>
                <a:gd name="connsiteY245" fmla="*/ 4251 h 10010"/>
                <a:gd name="connsiteX246" fmla="*/ 2034 w 10000"/>
                <a:gd name="connsiteY246" fmla="*/ 4286 h 10010"/>
                <a:gd name="connsiteX247" fmla="*/ 1924 w 10000"/>
                <a:gd name="connsiteY247" fmla="*/ 4341 h 10010"/>
                <a:gd name="connsiteX248" fmla="*/ 1683 w 10000"/>
                <a:gd name="connsiteY248" fmla="*/ 4720 h 10010"/>
                <a:gd name="connsiteX249" fmla="*/ 1729 w 10000"/>
                <a:gd name="connsiteY249" fmla="*/ 4742 h 10010"/>
                <a:gd name="connsiteX250" fmla="*/ 1764 w 10000"/>
                <a:gd name="connsiteY250" fmla="*/ 4838 h 10010"/>
                <a:gd name="connsiteX251" fmla="*/ 1652 w 10000"/>
                <a:gd name="connsiteY251" fmla="*/ 5237 h 10010"/>
                <a:gd name="connsiteX252" fmla="*/ 1764 w 10000"/>
                <a:gd name="connsiteY252" fmla="*/ 5339 h 10010"/>
                <a:gd name="connsiteX253" fmla="*/ 2071 w 10000"/>
                <a:gd name="connsiteY253" fmla="*/ 5451 h 10010"/>
                <a:gd name="connsiteX254" fmla="*/ 2085 w 10000"/>
                <a:gd name="connsiteY254" fmla="*/ 5588 h 10010"/>
                <a:gd name="connsiteX255" fmla="*/ 1954 w 10000"/>
                <a:gd name="connsiteY255" fmla="*/ 5700 h 10010"/>
                <a:gd name="connsiteX256" fmla="*/ 1764 w 10000"/>
                <a:gd name="connsiteY256" fmla="*/ 5769 h 10010"/>
                <a:gd name="connsiteX257" fmla="*/ 1513 w 10000"/>
                <a:gd name="connsiteY257" fmla="*/ 5797 h 10010"/>
                <a:gd name="connsiteX258" fmla="*/ 1448 w 10000"/>
                <a:gd name="connsiteY258" fmla="*/ 5836 h 10010"/>
                <a:gd name="connsiteX259" fmla="*/ 1594 w 10000"/>
                <a:gd name="connsiteY259" fmla="*/ 5930 h 10010"/>
                <a:gd name="connsiteX260" fmla="*/ 1678 w 10000"/>
                <a:gd name="connsiteY260" fmla="*/ 6152 h 10010"/>
                <a:gd name="connsiteX261" fmla="*/ 1488 w 10000"/>
                <a:gd name="connsiteY261" fmla="*/ 6343 h 10010"/>
                <a:gd name="connsiteX262" fmla="*/ 1554 w 10000"/>
                <a:gd name="connsiteY262" fmla="*/ 6402 h 10010"/>
                <a:gd name="connsiteX263" fmla="*/ 1494 w 10000"/>
                <a:gd name="connsiteY263" fmla="*/ 6502 h 10010"/>
                <a:gd name="connsiteX264" fmla="*/ 1372 w 10000"/>
                <a:gd name="connsiteY264" fmla="*/ 6571 h 10010"/>
                <a:gd name="connsiteX265" fmla="*/ 889 w 10000"/>
                <a:gd name="connsiteY265" fmla="*/ 6624 h 10010"/>
                <a:gd name="connsiteX266" fmla="*/ 860 w 10000"/>
                <a:gd name="connsiteY266" fmla="*/ 6716 h 10010"/>
                <a:gd name="connsiteX267" fmla="*/ 600 w 10000"/>
                <a:gd name="connsiteY267" fmla="*/ 6853 h 10010"/>
                <a:gd name="connsiteX268" fmla="*/ 634 w 10000"/>
                <a:gd name="connsiteY268" fmla="*/ 7050 h 10010"/>
                <a:gd name="connsiteX269" fmla="*/ 415 w 10000"/>
                <a:gd name="connsiteY269" fmla="*/ 7303 h 10010"/>
                <a:gd name="connsiteX270" fmla="*/ 266 w 10000"/>
                <a:gd name="connsiteY270" fmla="*/ 7333 h 10010"/>
                <a:gd name="connsiteX271" fmla="*/ 204 w 10000"/>
                <a:gd name="connsiteY271" fmla="*/ 7272 h 10010"/>
                <a:gd name="connsiteX272" fmla="*/ 128 w 10000"/>
                <a:gd name="connsiteY272" fmla="*/ 7364 h 10010"/>
                <a:gd name="connsiteX273" fmla="*/ 178 w 10000"/>
                <a:gd name="connsiteY273" fmla="*/ 7207 h 10010"/>
                <a:gd name="connsiteX274" fmla="*/ 147 w 10000"/>
                <a:gd name="connsiteY274" fmla="*/ 7176 h 10010"/>
                <a:gd name="connsiteX0" fmla="*/ 147 w 10000"/>
                <a:gd name="connsiteY0" fmla="*/ 7176 h 10010"/>
                <a:gd name="connsiteX1" fmla="*/ 0 w 10000"/>
                <a:gd name="connsiteY1" fmla="*/ 7258 h 10010"/>
                <a:gd name="connsiteX2" fmla="*/ 0 w 10000"/>
                <a:gd name="connsiteY2" fmla="*/ 7661 h 10010"/>
                <a:gd name="connsiteX3" fmla="*/ 81 w 10000"/>
                <a:gd name="connsiteY3" fmla="*/ 7673 h 10010"/>
                <a:gd name="connsiteX4" fmla="*/ 100 w 10000"/>
                <a:gd name="connsiteY4" fmla="*/ 7704 h 10010"/>
                <a:gd name="connsiteX5" fmla="*/ 96 w 10000"/>
                <a:gd name="connsiteY5" fmla="*/ 7759 h 10010"/>
                <a:gd name="connsiteX6" fmla="*/ 66 w 10000"/>
                <a:gd name="connsiteY6" fmla="*/ 7783 h 10010"/>
                <a:gd name="connsiteX7" fmla="*/ 190 w 10000"/>
                <a:gd name="connsiteY7" fmla="*/ 7737 h 10010"/>
                <a:gd name="connsiteX8" fmla="*/ 242 w 10000"/>
                <a:gd name="connsiteY8" fmla="*/ 7690 h 10010"/>
                <a:gd name="connsiteX9" fmla="*/ 306 w 10000"/>
                <a:gd name="connsiteY9" fmla="*/ 7722 h 10010"/>
                <a:gd name="connsiteX10" fmla="*/ 235 w 10000"/>
                <a:gd name="connsiteY10" fmla="*/ 7788 h 10010"/>
                <a:gd name="connsiteX11" fmla="*/ 311 w 10000"/>
                <a:gd name="connsiteY11" fmla="*/ 7790 h 10010"/>
                <a:gd name="connsiteX12" fmla="*/ 348 w 10000"/>
                <a:gd name="connsiteY12" fmla="*/ 7806 h 10010"/>
                <a:gd name="connsiteX13" fmla="*/ 250 w 10000"/>
                <a:gd name="connsiteY13" fmla="*/ 7828 h 10010"/>
                <a:gd name="connsiteX14" fmla="*/ 96 w 10000"/>
                <a:gd name="connsiteY14" fmla="*/ 7896 h 10010"/>
                <a:gd name="connsiteX15" fmla="*/ 370 w 10000"/>
                <a:gd name="connsiteY15" fmla="*/ 7948 h 10010"/>
                <a:gd name="connsiteX16" fmla="*/ 404 w 10000"/>
                <a:gd name="connsiteY16" fmla="*/ 8024 h 10010"/>
                <a:gd name="connsiteX17" fmla="*/ 311 w 10000"/>
                <a:gd name="connsiteY17" fmla="*/ 8136 h 10010"/>
                <a:gd name="connsiteX18" fmla="*/ 511 w 10000"/>
                <a:gd name="connsiteY18" fmla="*/ 8128 h 10010"/>
                <a:gd name="connsiteX19" fmla="*/ 526 w 10000"/>
                <a:gd name="connsiteY19" fmla="*/ 8213 h 10010"/>
                <a:gd name="connsiteX20" fmla="*/ 393 w 10000"/>
                <a:gd name="connsiteY20" fmla="*/ 8270 h 10010"/>
                <a:gd name="connsiteX21" fmla="*/ 415 w 10000"/>
                <a:gd name="connsiteY21" fmla="*/ 8380 h 10010"/>
                <a:gd name="connsiteX22" fmla="*/ 364 w 10000"/>
                <a:gd name="connsiteY22" fmla="*/ 8466 h 10010"/>
                <a:gd name="connsiteX23" fmla="*/ 521 w 10000"/>
                <a:gd name="connsiteY23" fmla="*/ 8474 h 10010"/>
                <a:gd name="connsiteX24" fmla="*/ 676 w 10000"/>
                <a:gd name="connsiteY24" fmla="*/ 8802 h 10010"/>
                <a:gd name="connsiteX25" fmla="*/ 853 w 10000"/>
                <a:gd name="connsiteY25" fmla="*/ 8886 h 10010"/>
                <a:gd name="connsiteX26" fmla="*/ 931 w 10000"/>
                <a:gd name="connsiteY26" fmla="*/ 8975 h 10010"/>
                <a:gd name="connsiteX27" fmla="*/ 1125 w 10000"/>
                <a:gd name="connsiteY27" fmla="*/ 9040 h 10010"/>
                <a:gd name="connsiteX28" fmla="*/ 1249 w 10000"/>
                <a:gd name="connsiteY28" fmla="*/ 9122 h 10010"/>
                <a:gd name="connsiteX29" fmla="*/ 1233 w 10000"/>
                <a:gd name="connsiteY29" fmla="*/ 9181 h 10010"/>
                <a:gd name="connsiteX30" fmla="*/ 1110 w 10000"/>
                <a:gd name="connsiteY30" fmla="*/ 9203 h 10010"/>
                <a:gd name="connsiteX31" fmla="*/ 976 w 10000"/>
                <a:gd name="connsiteY31" fmla="*/ 9189 h 10010"/>
                <a:gd name="connsiteX32" fmla="*/ 935 w 10000"/>
                <a:gd name="connsiteY32" fmla="*/ 9214 h 10010"/>
                <a:gd name="connsiteX33" fmla="*/ 1037 w 10000"/>
                <a:gd name="connsiteY33" fmla="*/ 9342 h 10010"/>
                <a:gd name="connsiteX34" fmla="*/ 894 w 10000"/>
                <a:gd name="connsiteY34" fmla="*/ 9332 h 10010"/>
                <a:gd name="connsiteX35" fmla="*/ 773 w 10000"/>
                <a:gd name="connsiteY35" fmla="*/ 9301 h 10010"/>
                <a:gd name="connsiteX36" fmla="*/ 750 w 10000"/>
                <a:gd name="connsiteY36" fmla="*/ 9348 h 10010"/>
                <a:gd name="connsiteX37" fmla="*/ 1155 w 10000"/>
                <a:gd name="connsiteY37" fmla="*/ 9786 h 10010"/>
                <a:gd name="connsiteX38" fmla="*/ 1091 w 10000"/>
                <a:gd name="connsiteY38" fmla="*/ 9827 h 10010"/>
                <a:gd name="connsiteX39" fmla="*/ 1045 w 10000"/>
                <a:gd name="connsiteY39" fmla="*/ 9912 h 10010"/>
                <a:gd name="connsiteX40" fmla="*/ 987 w 10000"/>
                <a:gd name="connsiteY40" fmla="*/ 9918 h 10010"/>
                <a:gd name="connsiteX41" fmla="*/ 951 w 10000"/>
                <a:gd name="connsiteY41" fmla="*/ 9955 h 10010"/>
                <a:gd name="connsiteX42" fmla="*/ 1195 w 10000"/>
                <a:gd name="connsiteY42" fmla="*/ 9959 h 10010"/>
                <a:gd name="connsiteX43" fmla="*/ 1410 w 10000"/>
                <a:gd name="connsiteY43" fmla="*/ 9996 h 10010"/>
                <a:gd name="connsiteX44" fmla="*/ 1769 w 10000"/>
                <a:gd name="connsiteY44" fmla="*/ 9957 h 10010"/>
                <a:gd name="connsiteX45" fmla="*/ 2091 w 10000"/>
                <a:gd name="connsiteY45" fmla="*/ 9963 h 10010"/>
                <a:gd name="connsiteX46" fmla="*/ 2280 w 10000"/>
                <a:gd name="connsiteY46" fmla="*/ 10010 h 10010"/>
                <a:gd name="connsiteX47" fmla="*/ 2385 w 10000"/>
                <a:gd name="connsiteY47" fmla="*/ 9979 h 10010"/>
                <a:gd name="connsiteX48" fmla="*/ 2485 w 10000"/>
                <a:gd name="connsiteY48" fmla="*/ 9878 h 10010"/>
                <a:gd name="connsiteX49" fmla="*/ 2459 w 10000"/>
                <a:gd name="connsiteY49" fmla="*/ 9713 h 10010"/>
                <a:gd name="connsiteX50" fmla="*/ 2704 w 10000"/>
                <a:gd name="connsiteY50" fmla="*/ 9527 h 10010"/>
                <a:gd name="connsiteX51" fmla="*/ 2883 w 10000"/>
                <a:gd name="connsiteY51" fmla="*/ 9556 h 10010"/>
                <a:gd name="connsiteX52" fmla="*/ 2987 w 10000"/>
                <a:gd name="connsiteY52" fmla="*/ 9482 h 10010"/>
                <a:gd name="connsiteX53" fmla="*/ 3186 w 10000"/>
                <a:gd name="connsiteY53" fmla="*/ 9440 h 10010"/>
                <a:gd name="connsiteX54" fmla="*/ 3457 w 10000"/>
                <a:gd name="connsiteY54" fmla="*/ 9450 h 10010"/>
                <a:gd name="connsiteX55" fmla="*/ 3620 w 10000"/>
                <a:gd name="connsiteY55" fmla="*/ 9480 h 10010"/>
                <a:gd name="connsiteX56" fmla="*/ 3837 w 10000"/>
                <a:gd name="connsiteY56" fmla="*/ 9466 h 10010"/>
                <a:gd name="connsiteX57" fmla="*/ 4056 w 10000"/>
                <a:gd name="connsiteY57" fmla="*/ 9499 h 10010"/>
                <a:gd name="connsiteX58" fmla="*/ 4275 w 10000"/>
                <a:gd name="connsiteY58" fmla="*/ 9503 h 10010"/>
                <a:gd name="connsiteX59" fmla="*/ 4765 w 10000"/>
                <a:gd name="connsiteY59" fmla="*/ 9071 h 10010"/>
                <a:gd name="connsiteX60" fmla="*/ 4889 w 10000"/>
                <a:gd name="connsiteY60" fmla="*/ 8721 h 10010"/>
                <a:gd name="connsiteX61" fmla="*/ 5088 w 10000"/>
                <a:gd name="connsiteY61" fmla="*/ 8564 h 10010"/>
                <a:gd name="connsiteX62" fmla="*/ 5088 w 10000"/>
                <a:gd name="connsiteY62" fmla="*/ 8482 h 10010"/>
                <a:gd name="connsiteX63" fmla="*/ 5016 w 10000"/>
                <a:gd name="connsiteY63" fmla="*/ 8435 h 10010"/>
                <a:gd name="connsiteX64" fmla="*/ 5133 w 10000"/>
                <a:gd name="connsiteY64" fmla="*/ 8362 h 10010"/>
                <a:gd name="connsiteX65" fmla="*/ 5112 w 10000"/>
                <a:gd name="connsiteY65" fmla="*/ 8299 h 10010"/>
                <a:gd name="connsiteX66" fmla="*/ 5032 w 10000"/>
                <a:gd name="connsiteY66" fmla="*/ 8246 h 10010"/>
                <a:gd name="connsiteX67" fmla="*/ 5016 w 10000"/>
                <a:gd name="connsiteY67" fmla="*/ 8209 h 10010"/>
                <a:gd name="connsiteX68" fmla="*/ 5036 w 10000"/>
                <a:gd name="connsiteY68" fmla="*/ 8179 h 10010"/>
                <a:gd name="connsiteX69" fmla="*/ 5144 w 10000"/>
                <a:gd name="connsiteY69" fmla="*/ 8203 h 10010"/>
                <a:gd name="connsiteX70" fmla="*/ 5230 w 10000"/>
                <a:gd name="connsiteY70" fmla="*/ 8201 h 10010"/>
                <a:gd name="connsiteX71" fmla="*/ 5184 w 10000"/>
                <a:gd name="connsiteY71" fmla="*/ 8150 h 10010"/>
                <a:gd name="connsiteX72" fmla="*/ 5198 w 10000"/>
                <a:gd name="connsiteY72" fmla="*/ 8122 h 10010"/>
                <a:gd name="connsiteX73" fmla="*/ 5262 w 10000"/>
                <a:gd name="connsiteY73" fmla="*/ 8079 h 10010"/>
                <a:gd name="connsiteX74" fmla="*/ 5250 w 10000"/>
                <a:gd name="connsiteY74" fmla="*/ 8044 h 10010"/>
                <a:gd name="connsiteX75" fmla="*/ 5309 w 10000"/>
                <a:gd name="connsiteY75" fmla="*/ 7926 h 10010"/>
                <a:gd name="connsiteX76" fmla="*/ 5293 w 10000"/>
                <a:gd name="connsiteY76" fmla="*/ 7891 h 10010"/>
                <a:gd name="connsiteX77" fmla="*/ 4996 w 10000"/>
                <a:gd name="connsiteY77" fmla="*/ 7802 h 10010"/>
                <a:gd name="connsiteX78" fmla="*/ 5036 w 10000"/>
                <a:gd name="connsiteY78" fmla="*/ 7798 h 10010"/>
                <a:gd name="connsiteX79" fmla="*/ 5194 w 10000"/>
                <a:gd name="connsiteY79" fmla="*/ 7822 h 10010"/>
                <a:gd name="connsiteX80" fmla="*/ 5365 w 10000"/>
                <a:gd name="connsiteY80" fmla="*/ 7814 h 10010"/>
                <a:gd name="connsiteX81" fmla="*/ 5415 w 10000"/>
                <a:gd name="connsiteY81" fmla="*/ 7781 h 10010"/>
                <a:gd name="connsiteX82" fmla="*/ 5250 w 10000"/>
                <a:gd name="connsiteY82" fmla="*/ 7720 h 10010"/>
                <a:gd name="connsiteX83" fmla="*/ 4761 w 10000"/>
                <a:gd name="connsiteY83" fmla="*/ 7680 h 10010"/>
                <a:gd name="connsiteX84" fmla="*/ 4794 w 10000"/>
                <a:gd name="connsiteY84" fmla="*/ 7661 h 10010"/>
                <a:gd name="connsiteX85" fmla="*/ 5194 w 10000"/>
                <a:gd name="connsiteY85" fmla="*/ 7649 h 10010"/>
                <a:gd name="connsiteX86" fmla="*/ 5415 w 10000"/>
                <a:gd name="connsiteY86" fmla="*/ 7686 h 10010"/>
                <a:gd name="connsiteX87" fmla="*/ 5542 w 10000"/>
                <a:gd name="connsiteY87" fmla="*/ 7661 h 10010"/>
                <a:gd name="connsiteX88" fmla="*/ 5589 w 10000"/>
                <a:gd name="connsiteY88" fmla="*/ 7598 h 10010"/>
                <a:gd name="connsiteX89" fmla="*/ 5819 w 10000"/>
                <a:gd name="connsiteY89" fmla="*/ 7598 h 10010"/>
                <a:gd name="connsiteX90" fmla="*/ 6131 w 10000"/>
                <a:gd name="connsiteY90" fmla="*/ 7472 h 10010"/>
                <a:gd name="connsiteX91" fmla="*/ 6142 w 10000"/>
                <a:gd name="connsiteY91" fmla="*/ 7388 h 10010"/>
                <a:gd name="connsiteX92" fmla="*/ 6274 w 10000"/>
                <a:gd name="connsiteY92" fmla="*/ 7407 h 10010"/>
                <a:gd name="connsiteX93" fmla="*/ 6268 w 10000"/>
                <a:gd name="connsiteY93" fmla="*/ 7492 h 10010"/>
                <a:gd name="connsiteX94" fmla="*/ 6478 w 10000"/>
                <a:gd name="connsiteY94" fmla="*/ 7486 h 10010"/>
                <a:gd name="connsiteX95" fmla="*/ 6616 w 10000"/>
                <a:gd name="connsiteY95" fmla="*/ 7398 h 10010"/>
                <a:gd name="connsiteX96" fmla="*/ 6872 w 10000"/>
                <a:gd name="connsiteY96" fmla="*/ 7319 h 10010"/>
                <a:gd name="connsiteX97" fmla="*/ 6832 w 10000"/>
                <a:gd name="connsiteY97" fmla="*/ 7229 h 10010"/>
                <a:gd name="connsiteX98" fmla="*/ 6908 w 10000"/>
                <a:gd name="connsiteY98" fmla="*/ 7264 h 10010"/>
                <a:gd name="connsiteX99" fmla="*/ 7025 w 10000"/>
                <a:gd name="connsiteY99" fmla="*/ 7264 h 10010"/>
                <a:gd name="connsiteX100" fmla="*/ 7025 w 10000"/>
                <a:gd name="connsiteY100" fmla="*/ 7223 h 10010"/>
                <a:gd name="connsiteX101" fmla="*/ 7134 w 10000"/>
                <a:gd name="connsiteY101" fmla="*/ 7191 h 10010"/>
                <a:gd name="connsiteX102" fmla="*/ 7119 w 10000"/>
                <a:gd name="connsiteY102" fmla="*/ 7158 h 10010"/>
                <a:gd name="connsiteX103" fmla="*/ 6198 w 10000"/>
                <a:gd name="connsiteY103" fmla="*/ 7225 h 10010"/>
                <a:gd name="connsiteX104" fmla="*/ 5983 w 10000"/>
                <a:gd name="connsiteY104" fmla="*/ 7205 h 10010"/>
                <a:gd name="connsiteX105" fmla="*/ 5895 w 10000"/>
                <a:gd name="connsiteY105" fmla="*/ 7229 h 10010"/>
                <a:gd name="connsiteX106" fmla="*/ 5866 w 10000"/>
                <a:gd name="connsiteY106" fmla="*/ 7183 h 10010"/>
                <a:gd name="connsiteX107" fmla="*/ 5764 w 10000"/>
                <a:gd name="connsiteY107" fmla="*/ 7142 h 10010"/>
                <a:gd name="connsiteX108" fmla="*/ 5354 w 10000"/>
                <a:gd name="connsiteY108" fmla="*/ 7062 h 10010"/>
                <a:gd name="connsiteX109" fmla="*/ 5112 w 10000"/>
                <a:gd name="connsiteY109" fmla="*/ 7075 h 10010"/>
                <a:gd name="connsiteX110" fmla="*/ 5016 w 10000"/>
                <a:gd name="connsiteY110" fmla="*/ 7052 h 10010"/>
                <a:gd name="connsiteX111" fmla="*/ 5118 w 10000"/>
                <a:gd name="connsiteY111" fmla="*/ 7032 h 10010"/>
                <a:gd name="connsiteX112" fmla="*/ 5194 w 10000"/>
                <a:gd name="connsiteY112" fmla="*/ 6989 h 10010"/>
                <a:gd name="connsiteX113" fmla="*/ 5309 w 10000"/>
                <a:gd name="connsiteY113" fmla="*/ 7003 h 10010"/>
                <a:gd name="connsiteX114" fmla="*/ 5445 w 10000"/>
                <a:gd name="connsiteY114" fmla="*/ 6991 h 10010"/>
                <a:gd name="connsiteX115" fmla="*/ 5650 w 10000"/>
                <a:gd name="connsiteY115" fmla="*/ 7005 h 10010"/>
                <a:gd name="connsiteX116" fmla="*/ 5675 w 10000"/>
                <a:gd name="connsiteY116" fmla="*/ 6999 h 10010"/>
                <a:gd name="connsiteX117" fmla="*/ 5834 w 10000"/>
                <a:gd name="connsiteY117" fmla="*/ 7066 h 10010"/>
                <a:gd name="connsiteX118" fmla="*/ 5951 w 10000"/>
                <a:gd name="connsiteY118" fmla="*/ 7042 h 10010"/>
                <a:gd name="connsiteX119" fmla="*/ 5961 w 10000"/>
                <a:gd name="connsiteY119" fmla="*/ 7020 h 10010"/>
                <a:gd name="connsiteX120" fmla="*/ 6069 w 10000"/>
                <a:gd name="connsiteY120" fmla="*/ 7058 h 10010"/>
                <a:gd name="connsiteX121" fmla="*/ 6212 w 10000"/>
                <a:gd name="connsiteY121" fmla="*/ 7079 h 10010"/>
                <a:gd name="connsiteX122" fmla="*/ 6268 w 10000"/>
                <a:gd name="connsiteY122" fmla="*/ 7040 h 10010"/>
                <a:gd name="connsiteX123" fmla="*/ 6314 w 10000"/>
                <a:gd name="connsiteY123" fmla="*/ 7062 h 10010"/>
                <a:gd name="connsiteX124" fmla="*/ 6381 w 10000"/>
                <a:gd name="connsiteY124" fmla="*/ 7136 h 10010"/>
                <a:gd name="connsiteX125" fmla="*/ 6519 w 10000"/>
                <a:gd name="connsiteY125" fmla="*/ 7154 h 10010"/>
                <a:gd name="connsiteX126" fmla="*/ 7082 w 10000"/>
                <a:gd name="connsiteY126" fmla="*/ 7044 h 10010"/>
                <a:gd name="connsiteX127" fmla="*/ 7359 w 10000"/>
                <a:gd name="connsiteY127" fmla="*/ 6889 h 10010"/>
                <a:gd name="connsiteX128" fmla="*/ 7423 w 10000"/>
                <a:gd name="connsiteY128" fmla="*/ 6775 h 10010"/>
                <a:gd name="connsiteX129" fmla="*/ 7323 w 10000"/>
                <a:gd name="connsiteY129" fmla="*/ 6673 h 10010"/>
                <a:gd name="connsiteX130" fmla="*/ 7113 w 10000"/>
                <a:gd name="connsiteY130" fmla="*/ 6612 h 10010"/>
                <a:gd name="connsiteX131" fmla="*/ 6963 w 10000"/>
                <a:gd name="connsiteY131" fmla="*/ 6512 h 10010"/>
                <a:gd name="connsiteX132" fmla="*/ 7102 w 10000"/>
                <a:gd name="connsiteY132" fmla="*/ 6508 h 10010"/>
                <a:gd name="connsiteX133" fmla="*/ 7093 w 10000"/>
                <a:gd name="connsiteY133" fmla="*/ 6484 h 10010"/>
                <a:gd name="connsiteX134" fmla="*/ 6731 w 10000"/>
                <a:gd name="connsiteY134" fmla="*/ 6413 h 10010"/>
                <a:gd name="connsiteX135" fmla="*/ 6716 w 10000"/>
                <a:gd name="connsiteY135" fmla="*/ 6349 h 10010"/>
                <a:gd name="connsiteX136" fmla="*/ 6646 w 10000"/>
                <a:gd name="connsiteY136" fmla="*/ 6282 h 10010"/>
                <a:gd name="connsiteX137" fmla="*/ 6360 w 10000"/>
                <a:gd name="connsiteY137" fmla="*/ 6294 h 10010"/>
                <a:gd name="connsiteX138" fmla="*/ 6258 w 10000"/>
                <a:gd name="connsiteY138" fmla="*/ 6223 h 10010"/>
                <a:gd name="connsiteX139" fmla="*/ 6198 w 10000"/>
                <a:gd name="connsiteY139" fmla="*/ 6219 h 10010"/>
                <a:gd name="connsiteX140" fmla="*/ 6198 w 10000"/>
                <a:gd name="connsiteY140" fmla="*/ 6248 h 10010"/>
                <a:gd name="connsiteX141" fmla="*/ 6069 w 10000"/>
                <a:gd name="connsiteY141" fmla="*/ 6368 h 10010"/>
                <a:gd name="connsiteX142" fmla="*/ 5930 w 10000"/>
                <a:gd name="connsiteY142" fmla="*/ 6439 h 10010"/>
                <a:gd name="connsiteX143" fmla="*/ 5495 w 10000"/>
                <a:gd name="connsiteY143" fmla="*/ 6561 h 10010"/>
                <a:gd name="connsiteX144" fmla="*/ 5342 w 10000"/>
                <a:gd name="connsiteY144" fmla="*/ 6557 h 10010"/>
                <a:gd name="connsiteX145" fmla="*/ 5133 w 10000"/>
                <a:gd name="connsiteY145" fmla="*/ 6575 h 10010"/>
                <a:gd name="connsiteX146" fmla="*/ 5016 w 10000"/>
                <a:gd name="connsiteY146" fmla="*/ 6557 h 10010"/>
                <a:gd name="connsiteX147" fmla="*/ 5169 w 10000"/>
                <a:gd name="connsiteY147" fmla="*/ 6523 h 10010"/>
                <a:gd name="connsiteX148" fmla="*/ 5369 w 10000"/>
                <a:gd name="connsiteY148" fmla="*/ 6508 h 10010"/>
                <a:gd name="connsiteX149" fmla="*/ 5534 w 10000"/>
                <a:gd name="connsiteY149" fmla="*/ 6451 h 10010"/>
                <a:gd name="connsiteX150" fmla="*/ 5695 w 10000"/>
                <a:gd name="connsiteY150" fmla="*/ 6425 h 10010"/>
                <a:gd name="connsiteX151" fmla="*/ 5998 w 10000"/>
                <a:gd name="connsiteY151" fmla="*/ 6327 h 10010"/>
                <a:gd name="connsiteX152" fmla="*/ 6056 w 10000"/>
                <a:gd name="connsiteY152" fmla="*/ 6262 h 10010"/>
                <a:gd name="connsiteX153" fmla="*/ 6060 w 10000"/>
                <a:gd name="connsiteY153" fmla="*/ 6178 h 10010"/>
                <a:gd name="connsiteX154" fmla="*/ 5921 w 10000"/>
                <a:gd name="connsiteY154" fmla="*/ 6164 h 10010"/>
                <a:gd name="connsiteX155" fmla="*/ 5983 w 10000"/>
                <a:gd name="connsiteY155" fmla="*/ 6113 h 10010"/>
                <a:gd name="connsiteX156" fmla="*/ 6002 w 10000"/>
                <a:gd name="connsiteY156" fmla="*/ 6048 h 10010"/>
                <a:gd name="connsiteX157" fmla="*/ 5944 w 10000"/>
                <a:gd name="connsiteY157" fmla="*/ 5987 h 10010"/>
                <a:gd name="connsiteX158" fmla="*/ 5911 w 10000"/>
                <a:gd name="connsiteY158" fmla="*/ 5543 h 10010"/>
                <a:gd name="connsiteX159" fmla="*/ 5993 w 10000"/>
                <a:gd name="connsiteY159" fmla="*/ 5447 h 10010"/>
                <a:gd name="connsiteX160" fmla="*/ 5972 w 10000"/>
                <a:gd name="connsiteY160" fmla="*/ 5408 h 10010"/>
                <a:gd name="connsiteX161" fmla="*/ 6212 w 10000"/>
                <a:gd name="connsiteY161" fmla="*/ 5465 h 10010"/>
                <a:gd name="connsiteX162" fmla="*/ 6229 w 10000"/>
                <a:gd name="connsiteY162" fmla="*/ 5412 h 10010"/>
                <a:gd name="connsiteX163" fmla="*/ 6176 w 10000"/>
                <a:gd name="connsiteY163" fmla="*/ 5274 h 10010"/>
                <a:gd name="connsiteX164" fmla="*/ 6349 w 10000"/>
                <a:gd name="connsiteY164" fmla="*/ 5029 h 10010"/>
                <a:gd name="connsiteX165" fmla="*/ 6243 w 10000"/>
                <a:gd name="connsiteY165" fmla="*/ 4970 h 10010"/>
                <a:gd name="connsiteX166" fmla="*/ 6202 w 10000"/>
                <a:gd name="connsiteY166" fmla="*/ 4915 h 10010"/>
                <a:gd name="connsiteX167" fmla="*/ 6216 w 10000"/>
                <a:gd name="connsiteY167" fmla="*/ 4826 h 10010"/>
                <a:gd name="connsiteX168" fmla="*/ 6470 w 10000"/>
                <a:gd name="connsiteY168" fmla="*/ 4885 h 10010"/>
                <a:gd name="connsiteX169" fmla="*/ 6478 w 10000"/>
                <a:gd name="connsiteY169" fmla="*/ 4868 h 10010"/>
                <a:gd name="connsiteX170" fmla="*/ 6548 w 10000"/>
                <a:gd name="connsiteY170" fmla="*/ 4852 h 10010"/>
                <a:gd name="connsiteX171" fmla="*/ 6646 w 10000"/>
                <a:gd name="connsiteY171" fmla="*/ 4795 h 10010"/>
                <a:gd name="connsiteX172" fmla="*/ 6662 w 10000"/>
                <a:gd name="connsiteY172" fmla="*/ 4779 h 10010"/>
                <a:gd name="connsiteX173" fmla="*/ 6641 w 10000"/>
                <a:gd name="connsiteY173" fmla="*/ 4758 h 10010"/>
                <a:gd name="connsiteX174" fmla="*/ 6693 w 10000"/>
                <a:gd name="connsiteY174" fmla="*/ 4657 h 10010"/>
                <a:gd name="connsiteX175" fmla="*/ 6631 w 10000"/>
                <a:gd name="connsiteY175" fmla="*/ 4591 h 10010"/>
                <a:gd name="connsiteX176" fmla="*/ 6641 w 10000"/>
                <a:gd name="connsiteY176" fmla="*/ 4538 h 10010"/>
                <a:gd name="connsiteX177" fmla="*/ 6676 w 10000"/>
                <a:gd name="connsiteY177" fmla="*/ 4600 h 10010"/>
                <a:gd name="connsiteX178" fmla="*/ 6815 w 10000"/>
                <a:gd name="connsiteY178" fmla="*/ 4646 h 10010"/>
                <a:gd name="connsiteX179" fmla="*/ 6872 w 10000"/>
                <a:gd name="connsiteY179" fmla="*/ 4640 h 10010"/>
                <a:gd name="connsiteX180" fmla="*/ 6963 w 10000"/>
                <a:gd name="connsiteY180" fmla="*/ 4579 h 10010"/>
                <a:gd name="connsiteX181" fmla="*/ 7062 w 10000"/>
                <a:gd name="connsiteY181" fmla="*/ 4604 h 10010"/>
                <a:gd name="connsiteX182" fmla="*/ 7088 w 10000"/>
                <a:gd name="connsiteY182" fmla="*/ 4555 h 10010"/>
                <a:gd name="connsiteX183" fmla="*/ 7154 w 10000"/>
                <a:gd name="connsiteY183" fmla="*/ 4522 h 10010"/>
                <a:gd name="connsiteX184" fmla="*/ 6974 w 10000"/>
                <a:gd name="connsiteY184" fmla="*/ 4487 h 10010"/>
                <a:gd name="connsiteX185" fmla="*/ 7102 w 10000"/>
                <a:gd name="connsiteY185" fmla="*/ 4494 h 10010"/>
                <a:gd name="connsiteX186" fmla="*/ 7234 w 10000"/>
                <a:gd name="connsiteY186" fmla="*/ 4457 h 10010"/>
                <a:gd name="connsiteX187" fmla="*/ 7229 w 10000"/>
                <a:gd name="connsiteY187" fmla="*/ 4432 h 10010"/>
                <a:gd name="connsiteX188" fmla="*/ 7353 w 10000"/>
                <a:gd name="connsiteY188" fmla="*/ 4408 h 10010"/>
                <a:gd name="connsiteX189" fmla="*/ 7364 w 10000"/>
                <a:gd name="connsiteY189" fmla="*/ 4347 h 10010"/>
                <a:gd name="connsiteX190" fmla="*/ 7461 w 10000"/>
                <a:gd name="connsiteY190" fmla="*/ 4335 h 10010"/>
                <a:gd name="connsiteX191" fmla="*/ 7469 w 10000"/>
                <a:gd name="connsiteY191" fmla="*/ 4263 h 10010"/>
                <a:gd name="connsiteX192" fmla="*/ 7572 w 10000"/>
                <a:gd name="connsiteY192" fmla="*/ 4255 h 10010"/>
                <a:gd name="connsiteX193" fmla="*/ 7730 w 10000"/>
                <a:gd name="connsiteY193" fmla="*/ 4270 h 10010"/>
                <a:gd name="connsiteX194" fmla="*/ 7904 w 10000"/>
                <a:gd name="connsiteY194" fmla="*/ 4212 h 10010"/>
                <a:gd name="connsiteX195" fmla="*/ 7966 w 10000"/>
                <a:gd name="connsiteY195" fmla="*/ 4147 h 10010"/>
                <a:gd name="connsiteX196" fmla="*/ 8181 w 10000"/>
                <a:gd name="connsiteY196" fmla="*/ 4080 h 10010"/>
                <a:gd name="connsiteX197" fmla="*/ 8288 w 10000"/>
                <a:gd name="connsiteY197" fmla="*/ 4121 h 10010"/>
                <a:gd name="connsiteX198" fmla="*/ 8452 w 10000"/>
                <a:gd name="connsiteY198" fmla="*/ 4076 h 10010"/>
                <a:gd name="connsiteX199" fmla="*/ 8491 w 10000"/>
                <a:gd name="connsiteY199" fmla="*/ 4019 h 10010"/>
                <a:gd name="connsiteX200" fmla="*/ 8616 w 10000"/>
                <a:gd name="connsiteY200" fmla="*/ 3980 h 10010"/>
                <a:gd name="connsiteX201" fmla="*/ 8722 w 10000"/>
                <a:gd name="connsiteY201" fmla="*/ 3997 h 10010"/>
                <a:gd name="connsiteX202" fmla="*/ 8789 w 10000"/>
                <a:gd name="connsiteY202" fmla="*/ 3968 h 10010"/>
                <a:gd name="connsiteX203" fmla="*/ 8973 w 10000"/>
                <a:gd name="connsiteY203" fmla="*/ 3927 h 10010"/>
                <a:gd name="connsiteX204" fmla="*/ 9049 w 10000"/>
                <a:gd name="connsiteY204" fmla="*/ 3874 h 10010"/>
                <a:gd name="connsiteX205" fmla="*/ 9153 w 10000"/>
                <a:gd name="connsiteY205" fmla="*/ 3852 h 10010"/>
                <a:gd name="connsiteX206" fmla="*/ 9720 w 10000"/>
                <a:gd name="connsiteY206" fmla="*/ 3532 h 10010"/>
                <a:gd name="connsiteX207" fmla="*/ 9971 w 10000"/>
                <a:gd name="connsiteY207" fmla="*/ 399 h 10010"/>
                <a:gd name="connsiteX208" fmla="*/ 9049 w 10000"/>
                <a:gd name="connsiteY208" fmla="*/ 36 h 10010"/>
                <a:gd name="connsiteX209" fmla="*/ 8706 w 10000"/>
                <a:gd name="connsiteY209" fmla="*/ 10 h 10010"/>
                <a:gd name="connsiteX210" fmla="*/ 7537 w 10000"/>
                <a:gd name="connsiteY210" fmla="*/ 397 h 10010"/>
                <a:gd name="connsiteX211" fmla="*/ 7423 w 10000"/>
                <a:gd name="connsiteY211" fmla="*/ 405 h 10010"/>
                <a:gd name="connsiteX212" fmla="*/ 7359 w 10000"/>
                <a:gd name="connsiteY212" fmla="*/ 424 h 10010"/>
                <a:gd name="connsiteX213" fmla="*/ 7290 w 10000"/>
                <a:gd name="connsiteY213" fmla="*/ 472 h 10010"/>
                <a:gd name="connsiteX214" fmla="*/ 7302 w 10000"/>
                <a:gd name="connsiteY214" fmla="*/ 591 h 10010"/>
                <a:gd name="connsiteX215" fmla="*/ 7199 w 10000"/>
                <a:gd name="connsiteY215" fmla="*/ 745 h 10010"/>
                <a:gd name="connsiteX216" fmla="*/ 7072 w 10000"/>
                <a:gd name="connsiteY216" fmla="*/ 825 h 10010"/>
                <a:gd name="connsiteX217" fmla="*/ 7021 w 10000"/>
                <a:gd name="connsiteY217" fmla="*/ 815 h 10010"/>
                <a:gd name="connsiteX218" fmla="*/ 6903 w 10000"/>
                <a:gd name="connsiteY218" fmla="*/ 749 h 10010"/>
                <a:gd name="connsiteX219" fmla="*/ 6756 w 10000"/>
                <a:gd name="connsiteY219" fmla="*/ 715 h 10010"/>
                <a:gd name="connsiteX220" fmla="*/ 6594 w 10000"/>
                <a:gd name="connsiteY220" fmla="*/ 725 h 10010"/>
                <a:gd name="connsiteX221" fmla="*/ 6223 w 10000"/>
                <a:gd name="connsiteY221" fmla="*/ 876 h 10010"/>
                <a:gd name="connsiteX222" fmla="*/ 6125 w 10000"/>
                <a:gd name="connsiteY222" fmla="*/ 1027 h 10010"/>
                <a:gd name="connsiteX223" fmla="*/ 5845 w 10000"/>
                <a:gd name="connsiteY223" fmla="*/ 1163 h 10010"/>
                <a:gd name="connsiteX224" fmla="*/ 5794 w 10000"/>
                <a:gd name="connsiteY224" fmla="*/ 1232 h 10010"/>
                <a:gd name="connsiteX225" fmla="*/ 5940 w 10000"/>
                <a:gd name="connsiteY225" fmla="*/ 1354 h 10010"/>
                <a:gd name="connsiteX226" fmla="*/ 5956 w 10000"/>
                <a:gd name="connsiteY226" fmla="*/ 1422 h 10010"/>
                <a:gd name="connsiteX227" fmla="*/ 5190 w 10000"/>
                <a:gd name="connsiteY227" fmla="*/ 1823 h 10010"/>
                <a:gd name="connsiteX228" fmla="*/ 4955 w 10000"/>
                <a:gd name="connsiteY228" fmla="*/ 2080 h 10010"/>
                <a:gd name="connsiteX229" fmla="*/ 4702 w 10000"/>
                <a:gd name="connsiteY229" fmla="*/ 2145 h 10010"/>
                <a:gd name="connsiteX230" fmla="*/ 4540 w 10000"/>
                <a:gd name="connsiteY230" fmla="*/ 2141 h 10010"/>
                <a:gd name="connsiteX231" fmla="*/ 4443 w 10000"/>
                <a:gd name="connsiteY231" fmla="*/ 2163 h 10010"/>
                <a:gd name="connsiteX232" fmla="*/ 4178 w 10000"/>
                <a:gd name="connsiteY232" fmla="*/ 2803 h 10010"/>
                <a:gd name="connsiteX233" fmla="*/ 3565 w 10000"/>
                <a:gd name="connsiteY233" fmla="*/ 3176 h 10010"/>
                <a:gd name="connsiteX234" fmla="*/ 3569 w 10000"/>
                <a:gd name="connsiteY234" fmla="*/ 3235 h 10010"/>
                <a:gd name="connsiteX235" fmla="*/ 3841 w 10000"/>
                <a:gd name="connsiteY235" fmla="*/ 3402 h 10010"/>
                <a:gd name="connsiteX236" fmla="*/ 3753 w 10000"/>
                <a:gd name="connsiteY236" fmla="*/ 3583 h 10010"/>
                <a:gd name="connsiteX237" fmla="*/ 3594 w 10000"/>
                <a:gd name="connsiteY237" fmla="*/ 3650 h 10010"/>
                <a:gd name="connsiteX238" fmla="*/ 3118 w 10000"/>
                <a:gd name="connsiteY238" fmla="*/ 3605 h 10010"/>
                <a:gd name="connsiteX239" fmla="*/ 2791 w 10000"/>
                <a:gd name="connsiteY239" fmla="*/ 3630 h 10010"/>
                <a:gd name="connsiteX240" fmla="*/ 2528 w 10000"/>
                <a:gd name="connsiteY240" fmla="*/ 3683 h 10010"/>
                <a:gd name="connsiteX241" fmla="*/ 2102 w 10000"/>
                <a:gd name="connsiteY241" fmla="*/ 3850 h 10010"/>
                <a:gd name="connsiteX242" fmla="*/ 1877 w 10000"/>
                <a:gd name="connsiteY242" fmla="*/ 4052 h 10010"/>
                <a:gd name="connsiteX243" fmla="*/ 1896 w 10000"/>
                <a:gd name="connsiteY243" fmla="*/ 4164 h 10010"/>
                <a:gd name="connsiteX244" fmla="*/ 1975 w 10000"/>
                <a:gd name="connsiteY244" fmla="*/ 4251 h 10010"/>
                <a:gd name="connsiteX245" fmla="*/ 2034 w 10000"/>
                <a:gd name="connsiteY245" fmla="*/ 4286 h 10010"/>
                <a:gd name="connsiteX246" fmla="*/ 1924 w 10000"/>
                <a:gd name="connsiteY246" fmla="*/ 4341 h 10010"/>
                <a:gd name="connsiteX247" fmla="*/ 1683 w 10000"/>
                <a:gd name="connsiteY247" fmla="*/ 4720 h 10010"/>
                <a:gd name="connsiteX248" fmla="*/ 1729 w 10000"/>
                <a:gd name="connsiteY248" fmla="*/ 4742 h 10010"/>
                <a:gd name="connsiteX249" fmla="*/ 1764 w 10000"/>
                <a:gd name="connsiteY249" fmla="*/ 4838 h 10010"/>
                <a:gd name="connsiteX250" fmla="*/ 1652 w 10000"/>
                <a:gd name="connsiteY250" fmla="*/ 5237 h 10010"/>
                <a:gd name="connsiteX251" fmla="*/ 1764 w 10000"/>
                <a:gd name="connsiteY251" fmla="*/ 5339 h 10010"/>
                <a:gd name="connsiteX252" fmla="*/ 2071 w 10000"/>
                <a:gd name="connsiteY252" fmla="*/ 5451 h 10010"/>
                <a:gd name="connsiteX253" fmla="*/ 2085 w 10000"/>
                <a:gd name="connsiteY253" fmla="*/ 5588 h 10010"/>
                <a:gd name="connsiteX254" fmla="*/ 1954 w 10000"/>
                <a:gd name="connsiteY254" fmla="*/ 5700 h 10010"/>
                <a:gd name="connsiteX255" fmla="*/ 1764 w 10000"/>
                <a:gd name="connsiteY255" fmla="*/ 5769 h 10010"/>
                <a:gd name="connsiteX256" fmla="*/ 1513 w 10000"/>
                <a:gd name="connsiteY256" fmla="*/ 5797 h 10010"/>
                <a:gd name="connsiteX257" fmla="*/ 1448 w 10000"/>
                <a:gd name="connsiteY257" fmla="*/ 5836 h 10010"/>
                <a:gd name="connsiteX258" fmla="*/ 1594 w 10000"/>
                <a:gd name="connsiteY258" fmla="*/ 5930 h 10010"/>
                <a:gd name="connsiteX259" fmla="*/ 1678 w 10000"/>
                <a:gd name="connsiteY259" fmla="*/ 6152 h 10010"/>
                <a:gd name="connsiteX260" fmla="*/ 1488 w 10000"/>
                <a:gd name="connsiteY260" fmla="*/ 6343 h 10010"/>
                <a:gd name="connsiteX261" fmla="*/ 1554 w 10000"/>
                <a:gd name="connsiteY261" fmla="*/ 6402 h 10010"/>
                <a:gd name="connsiteX262" fmla="*/ 1494 w 10000"/>
                <a:gd name="connsiteY262" fmla="*/ 6502 h 10010"/>
                <a:gd name="connsiteX263" fmla="*/ 1372 w 10000"/>
                <a:gd name="connsiteY263" fmla="*/ 6571 h 10010"/>
                <a:gd name="connsiteX264" fmla="*/ 889 w 10000"/>
                <a:gd name="connsiteY264" fmla="*/ 6624 h 10010"/>
                <a:gd name="connsiteX265" fmla="*/ 860 w 10000"/>
                <a:gd name="connsiteY265" fmla="*/ 6716 h 10010"/>
                <a:gd name="connsiteX266" fmla="*/ 600 w 10000"/>
                <a:gd name="connsiteY266" fmla="*/ 6853 h 10010"/>
                <a:gd name="connsiteX267" fmla="*/ 634 w 10000"/>
                <a:gd name="connsiteY267" fmla="*/ 7050 h 10010"/>
                <a:gd name="connsiteX268" fmla="*/ 415 w 10000"/>
                <a:gd name="connsiteY268" fmla="*/ 7303 h 10010"/>
                <a:gd name="connsiteX269" fmla="*/ 266 w 10000"/>
                <a:gd name="connsiteY269" fmla="*/ 7333 h 10010"/>
                <a:gd name="connsiteX270" fmla="*/ 204 w 10000"/>
                <a:gd name="connsiteY270" fmla="*/ 7272 h 10010"/>
                <a:gd name="connsiteX271" fmla="*/ 128 w 10000"/>
                <a:gd name="connsiteY271" fmla="*/ 7364 h 10010"/>
                <a:gd name="connsiteX272" fmla="*/ 178 w 10000"/>
                <a:gd name="connsiteY272" fmla="*/ 7207 h 10010"/>
                <a:gd name="connsiteX273" fmla="*/ 147 w 10000"/>
                <a:gd name="connsiteY273" fmla="*/ 7176 h 10010"/>
                <a:gd name="connsiteX0" fmla="*/ 147 w 10000"/>
                <a:gd name="connsiteY0" fmla="*/ 7140 h 9974"/>
                <a:gd name="connsiteX1" fmla="*/ 0 w 10000"/>
                <a:gd name="connsiteY1" fmla="*/ 7222 h 9974"/>
                <a:gd name="connsiteX2" fmla="*/ 0 w 10000"/>
                <a:gd name="connsiteY2" fmla="*/ 7625 h 9974"/>
                <a:gd name="connsiteX3" fmla="*/ 81 w 10000"/>
                <a:gd name="connsiteY3" fmla="*/ 7637 h 9974"/>
                <a:gd name="connsiteX4" fmla="*/ 100 w 10000"/>
                <a:gd name="connsiteY4" fmla="*/ 7668 h 9974"/>
                <a:gd name="connsiteX5" fmla="*/ 96 w 10000"/>
                <a:gd name="connsiteY5" fmla="*/ 7723 h 9974"/>
                <a:gd name="connsiteX6" fmla="*/ 66 w 10000"/>
                <a:gd name="connsiteY6" fmla="*/ 7747 h 9974"/>
                <a:gd name="connsiteX7" fmla="*/ 190 w 10000"/>
                <a:gd name="connsiteY7" fmla="*/ 7701 h 9974"/>
                <a:gd name="connsiteX8" fmla="*/ 242 w 10000"/>
                <a:gd name="connsiteY8" fmla="*/ 7654 h 9974"/>
                <a:gd name="connsiteX9" fmla="*/ 306 w 10000"/>
                <a:gd name="connsiteY9" fmla="*/ 7686 h 9974"/>
                <a:gd name="connsiteX10" fmla="*/ 235 w 10000"/>
                <a:gd name="connsiteY10" fmla="*/ 7752 h 9974"/>
                <a:gd name="connsiteX11" fmla="*/ 311 w 10000"/>
                <a:gd name="connsiteY11" fmla="*/ 7754 h 9974"/>
                <a:gd name="connsiteX12" fmla="*/ 348 w 10000"/>
                <a:gd name="connsiteY12" fmla="*/ 7770 h 9974"/>
                <a:gd name="connsiteX13" fmla="*/ 250 w 10000"/>
                <a:gd name="connsiteY13" fmla="*/ 7792 h 9974"/>
                <a:gd name="connsiteX14" fmla="*/ 96 w 10000"/>
                <a:gd name="connsiteY14" fmla="*/ 7860 h 9974"/>
                <a:gd name="connsiteX15" fmla="*/ 370 w 10000"/>
                <a:gd name="connsiteY15" fmla="*/ 7912 h 9974"/>
                <a:gd name="connsiteX16" fmla="*/ 404 w 10000"/>
                <a:gd name="connsiteY16" fmla="*/ 7988 h 9974"/>
                <a:gd name="connsiteX17" fmla="*/ 311 w 10000"/>
                <a:gd name="connsiteY17" fmla="*/ 8100 h 9974"/>
                <a:gd name="connsiteX18" fmla="*/ 511 w 10000"/>
                <a:gd name="connsiteY18" fmla="*/ 8092 h 9974"/>
                <a:gd name="connsiteX19" fmla="*/ 526 w 10000"/>
                <a:gd name="connsiteY19" fmla="*/ 8177 h 9974"/>
                <a:gd name="connsiteX20" fmla="*/ 393 w 10000"/>
                <a:gd name="connsiteY20" fmla="*/ 8234 h 9974"/>
                <a:gd name="connsiteX21" fmla="*/ 415 w 10000"/>
                <a:gd name="connsiteY21" fmla="*/ 8344 h 9974"/>
                <a:gd name="connsiteX22" fmla="*/ 364 w 10000"/>
                <a:gd name="connsiteY22" fmla="*/ 8430 h 9974"/>
                <a:gd name="connsiteX23" fmla="*/ 521 w 10000"/>
                <a:gd name="connsiteY23" fmla="*/ 8438 h 9974"/>
                <a:gd name="connsiteX24" fmla="*/ 676 w 10000"/>
                <a:gd name="connsiteY24" fmla="*/ 8766 h 9974"/>
                <a:gd name="connsiteX25" fmla="*/ 853 w 10000"/>
                <a:gd name="connsiteY25" fmla="*/ 8850 h 9974"/>
                <a:gd name="connsiteX26" fmla="*/ 931 w 10000"/>
                <a:gd name="connsiteY26" fmla="*/ 8939 h 9974"/>
                <a:gd name="connsiteX27" fmla="*/ 1125 w 10000"/>
                <a:gd name="connsiteY27" fmla="*/ 9004 h 9974"/>
                <a:gd name="connsiteX28" fmla="*/ 1249 w 10000"/>
                <a:gd name="connsiteY28" fmla="*/ 9086 h 9974"/>
                <a:gd name="connsiteX29" fmla="*/ 1233 w 10000"/>
                <a:gd name="connsiteY29" fmla="*/ 9145 h 9974"/>
                <a:gd name="connsiteX30" fmla="*/ 1110 w 10000"/>
                <a:gd name="connsiteY30" fmla="*/ 9167 h 9974"/>
                <a:gd name="connsiteX31" fmla="*/ 976 w 10000"/>
                <a:gd name="connsiteY31" fmla="*/ 9153 h 9974"/>
                <a:gd name="connsiteX32" fmla="*/ 935 w 10000"/>
                <a:gd name="connsiteY32" fmla="*/ 9178 h 9974"/>
                <a:gd name="connsiteX33" fmla="*/ 1037 w 10000"/>
                <a:gd name="connsiteY33" fmla="*/ 9306 h 9974"/>
                <a:gd name="connsiteX34" fmla="*/ 894 w 10000"/>
                <a:gd name="connsiteY34" fmla="*/ 9296 h 9974"/>
                <a:gd name="connsiteX35" fmla="*/ 773 w 10000"/>
                <a:gd name="connsiteY35" fmla="*/ 9265 h 9974"/>
                <a:gd name="connsiteX36" fmla="*/ 750 w 10000"/>
                <a:gd name="connsiteY36" fmla="*/ 9312 h 9974"/>
                <a:gd name="connsiteX37" fmla="*/ 1155 w 10000"/>
                <a:gd name="connsiteY37" fmla="*/ 9750 h 9974"/>
                <a:gd name="connsiteX38" fmla="*/ 1091 w 10000"/>
                <a:gd name="connsiteY38" fmla="*/ 9791 h 9974"/>
                <a:gd name="connsiteX39" fmla="*/ 1045 w 10000"/>
                <a:gd name="connsiteY39" fmla="*/ 9876 h 9974"/>
                <a:gd name="connsiteX40" fmla="*/ 987 w 10000"/>
                <a:gd name="connsiteY40" fmla="*/ 9882 h 9974"/>
                <a:gd name="connsiteX41" fmla="*/ 951 w 10000"/>
                <a:gd name="connsiteY41" fmla="*/ 9919 h 9974"/>
                <a:gd name="connsiteX42" fmla="*/ 1195 w 10000"/>
                <a:gd name="connsiteY42" fmla="*/ 9923 h 9974"/>
                <a:gd name="connsiteX43" fmla="*/ 1410 w 10000"/>
                <a:gd name="connsiteY43" fmla="*/ 9960 h 9974"/>
                <a:gd name="connsiteX44" fmla="*/ 1769 w 10000"/>
                <a:gd name="connsiteY44" fmla="*/ 9921 h 9974"/>
                <a:gd name="connsiteX45" fmla="*/ 2091 w 10000"/>
                <a:gd name="connsiteY45" fmla="*/ 9927 h 9974"/>
                <a:gd name="connsiteX46" fmla="*/ 2280 w 10000"/>
                <a:gd name="connsiteY46" fmla="*/ 9974 h 9974"/>
                <a:gd name="connsiteX47" fmla="*/ 2385 w 10000"/>
                <a:gd name="connsiteY47" fmla="*/ 9943 h 9974"/>
                <a:gd name="connsiteX48" fmla="*/ 2485 w 10000"/>
                <a:gd name="connsiteY48" fmla="*/ 9842 h 9974"/>
                <a:gd name="connsiteX49" fmla="*/ 2459 w 10000"/>
                <a:gd name="connsiteY49" fmla="*/ 9677 h 9974"/>
                <a:gd name="connsiteX50" fmla="*/ 2704 w 10000"/>
                <a:gd name="connsiteY50" fmla="*/ 9491 h 9974"/>
                <a:gd name="connsiteX51" fmla="*/ 2883 w 10000"/>
                <a:gd name="connsiteY51" fmla="*/ 9520 h 9974"/>
                <a:gd name="connsiteX52" fmla="*/ 2987 w 10000"/>
                <a:gd name="connsiteY52" fmla="*/ 9446 h 9974"/>
                <a:gd name="connsiteX53" fmla="*/ 3186 w 10000"/>
                <a:gd name="connsiteY53" fmla="*/ 9404 h 9974"/>
                <a:gd name="connsiteX54" fmla="*/ 3457 w 10000"/>
                <a:gd name="connsiteY54" fmla="*/ 9414 h 9974"/>
                <a:gd name="connsiteX55" fmla="*/ 3620 w 10000"/>
                <a:gd name="connsiteY55" fmla="*/ 9444 h 9974"/>
                <a:gd name="connsiteX56" fmla="*/ 3837 w 10000"/>
                <a:gd name="connsiteY56" fmla="*/ 9430 h 9974"/>
                <a:gd name="connsiteX57" fmla="*/ 4056 w 10000"/>
                <a:gd name="connsiteY57" fmla="*/ 9463 h 9974"/>
                <a:gd name="connsiteX58" fmla="*/ 4275 w 10000"/>
                <a:gd name="connsiteY58" fmla="*/ 9467 h 9974"/>
                <a:gd name="connsiteX59" fmla="*/ 4765 w 10000"/>
                <a:gd name="connsiteY59" fmla="*/ 9035 h 9974"/>
                <a:gd name="connsiteX60" fmla="*/ 4889 w 10000"/>
                <a:gd name="connsiteY60" fmla="*/ 8685 h 9974"/>
                <a:gd name="connsiteX61" fmla="*/ 5088 w 10000"/>
                <a:gd name="connsiteY61" fmla="*/ 8528 h 9974"/>
                <a:gd name="connsiteX62" fmla="*/ 5088 w 10000"/>
                <a:gd name="connsiteY62" fmla="*/ 8446 h 9974"/>
                <a:gd name="connsiteX63" fmla="*/ 5016 w 10000"/>
                <a:gd name="connsiteY63" fmla="*/ 8399 h 9974"/>
                <a:gd name="connsiteX64" fmla="*/ 5133 w 10000"/>
                <a:gd name="connsiteY64" fmla="*/ 8326 h 9974"/>
                <a:gd name="connsiteX65" fmla="*/ 5112 w 10000"/>
                <a:gd name="connsiteY65" fmla="*/ 8263 h 9974"/>
                <a:gd name="connsiteX66" fmla="*/ 5032 w 10000"/>
                <a:gd name="connsiteY66" fmla="*/ 8210 h 9974"/>
                <a:gd name="connsiteX67" fmla="*/ 5016 w 10000"/>
                <a:gd name="connsiteY67" fmla="*/ 8173 h 9974"/>
                <a:gd name="connsiteX68" fmla="*/ 5036 w 10000"/>
                <a:gd name="connsiteY68" fmla="*/ 8143 h 9974"/>
                <a:gd name="connsiteX69" fmla="*/ 5144 w 10000"/>
                <a:gd name="connsiteY69" fmla="*/ 8167 h 9974"/>
                <a:gd name="connsiteX70" fmla="*/ 5230 w 10000"/>
                <a:gd name="connsiteY70" fmla="*/ 8165 h 9974"/>
                <a:gd name="connsiteX71" fmla="*/ 5184 w 10000"/>
                <a:gd name="connsiteY71" fmla="*/ 8114 h 9974"/>
                <a:gd name="connsiteX72" fmla="*/ 5198 w 10000"/>
                <a:gd name="connsiteY72" fmla="*/ 8086 h 9974"/>
                <a:gd name="connsiteX73" fmla="*/ 5262 w 10000"/>
                <a:gd name="connsiteY73" fmla="*/ 8043 h 9974"/>
                <a:gd name="connsiteX74" fmla="*/ 5250 w 10000"/>
                <a:gd name="connsiteY74" fmla="*/ 8008 h 9974"/>
                <a:gd name="connsiteX75" fmla="*/ 5309 w 10000"/>
                <a:gd name="connsiteY75" fmla="*/ 7890 h 9974"/>
                <a:gd name="connsiteX76" fmla="*/ 5293 w 10000"/>
                <a:gd name="connsiteY76" fmla="*/ 7855 h 9974"/>
                <a:gd name="connsiteX77" fmla="*/ 4996 w 10000"/>
                <a:gd name="connsiteY77" fmla="*/ 7766 h 9974"/>
                <a:gd name="connsiteX78" fmla="*/ 5036 w 10000"/>
                <a:gd name="connsiteY78" fmla="*/ 7762 h 9974"/>
                <a:gd name="connsiteX79" fmla="*/ 5194 w 10000"/>
                <a:gd name="connsiteY79" fmla="*/ 7786 h 9974"/>
                <a:gd name="connsiteX80" fmla="*/ 5365 w 10000"/>
                <a:gd name="connsiteY80" fmla="*/ 7778 h 9974"/>
                <a:gd name="connsiteX81" fmla="*/ 5415 w 10000"/>
                <a:gd name="connsiteY81" fmla="*/ 7745 h 9974"/>
                <a:gd name="connsiteX82" fmla="*/ 5250 w 10000"/>
                <a:gd name="connsiteY82" fmla="*/ 7684 h 9974"/>
                <a:gd name="connsiteX83" fmla="*/ 4761 w 10000"/>
                <a:gd name="connsiteY83" fmla="*/ 7644 h 9974"/>
                <a:gd name="connsiteX84" fmla="*/ 4794 w 10000"/>
                <a:gd name="connsiteY84" fmla="*/ 7625 h 9974"/>
                <a:gd name="connsiteX85" fmla="*/ 5194 w 10000"/>
                <a:gd name="connsiteY85" fmla="*/ 7613 h 9974"/>
                <a:gd name="connsiteX86" fmla="*/ 5415 w 10000"/>
                <a:gd name="connsiteY86" fmla="*/ 7650 h 9974"/>
                <a:gd name="connsiteX87" fmla="*/ 5542 w 10000"/>
                <a:gd name="connsiteY87" fmla="*/ 7625 h 9974"/>
                <a:gd name="connsiteX88" fmla="*/ 5589 w 10000"/>
                <a:gd name="connsiteY88" fmla="*/ 7562 h 9974"/>
                <a:gd name="connsiteX89" fmla="*/ 5819 w 10000"/>
                <a:gd name="connsiteY89" fmla="*/ 7562 h 9974"/>
                <a:gd name="connsiteX90" fmla="*/ 6131 w 10000"/>
                <a:gd name="connsiteY90" fmla="*/ 7436 h 9974"/>
                <a:gd name="connsiteX91" fmla="*/ 6142 w 10000"/>
                <a:gd name="connsiteY91" fmla="*/ 7352 h 9974"/>
                <a:gd name="connsiteX92" fmla="*/ 6274 w 10000"/>
                <a:gd name="connsiteY92" fmla="*/ 7371 h 9974"/>
                <a:gd name="connsiteX93" fmla="*/ 6268 w 10000"/>
                <a:gd name="connsiteY93" fmla="*/ 7456 h 9974"/>
                <a:gd name="connsiteX94" fmla="*/ 6478 w 10000"/>
                <a:gd name="connsiteY94" fmla="*/ 7450 h 9974"/>
                <a:gd name="connsiteX95" fmla="*/ 6616 w 10000"/>
                <a:gd name="connsiteY95" fmla="*/ 7362 h 9974"/>
                <a:gd name="connsiteX96" fmla="*/ 6872 w 10000"/>
                <a:gd name="connsiteY96" fmla="*/ 7283 h 9974"/>
                <a:gd name="connsiteX97" fmla="*/ 6832 w 10000"/>
                <a:gd name="connsiteY97" fmla="*/ 7193 h 9974"/>
                <a:gd name="connsiteX98" fmla="*/ 6908 w 10000"/>
                <a:gd name="connsiteY98" fmla="*/ 7228 h 9974"/>
                <a:gd name="connsiteX99" fmla="*/ 7025 w 10000"/>
                <a:gd name="connsiteY99" fmla="*/ 7228 h 9974"/>
                <a:gd name="connsiteX100" fmla="*/ 7025 w 10000"/>
                <a:gd name="connsiteY100" fmla="*/ 7187 h 9974"/>
                <a:gd name="connsiteX101" fmla="*/ 7134 w 10000"/>
                <a:gd name="connsiteY101" fmla="*/ 7155 h 9974"/>
                <a:gd name="connsiteX102" fmla="*/ 7119 w 10000"/>
                <a:gd name="connsiteY102" fmla="*/ 7122 h 9974"/>
                <a:gd name="connsiteX103" fmla="*/ 6198 w 10000"/>
                <a:gd name="connsiteY103" fmla="*/ 7189 h 9974"/>
                <a:gd name="connsiteX104" fmla="*/ 5983 w 10000"/>
                <a:gd name="connsiteY104" fmla="*/ 7169 h 9974"/>
                <a:gd name="connsiteX105" fmla="*/ 5895 w 10000"/>
                <a:gd name="connsiteY105" fmla="*/ 7193 h 9974"/>
                <a:gd name="connsiteX106" fmla="*/ 5866 w 10000"/>
                <a:gd name="connsiteY106" fmla="*/ 7147 h 9974"/>
                <a:gd name="connsiteX107" fmla="*/ 5764 w 10000"/>
                <a:gd name="connsiteY107" fmla="*/ 7106 h 9974"/>
                <a:gd name="connsiteX108" fmla="*/ 5354 w 10000"/>
                <a:gd name="connsiteY108" fmla="*/ 7026 h 9974"/>
                <a:gd name="connsiteX109" fmla="*/ 5112 w 10000"/>
                <a:gd name="connsiteY109" fmla="*/ 7039 h 9974"/>
                <a:gd name="connsiteX110" fmla="*/ 5016 w 10000"/>
                <a:gd name="connsiteY110" fmla="*/ 7016 h 9974"/>
                <a:gd name="connsiteX111" fmla="*/ 5118 w 10000"/>
                <a:gd name="connsiteY111" fmla="*/ 6996 h 9974"/>
                <a:gd name="connsiteX112" fmla="*/ 5194 w 10000"/>
                <a:gd name="connsiteY112" fmla="*/ 6953 h 9974"/>
                <a:gd name="connsiteX113" fmla="*/ 5309 w 10000"/>
                <a:gd name="connsiteY113" fmla="*/ 6967 h 9974"/>
                <a:gd name="connsiteX114" fmla="*/ 5445 w 10000"/>
                <a:gd name="connsiteY114" fmla="*/ 6955 h 9974"/>
                <a:gd name="connsiteX115" fmla="*/ 5650 w 10000"/>
                <a:gd name="connsiteY115" fmla="*/ 6969 h 9974"/>
                <a:gd name="connsiteX116" fmla="*/ 5675 w 10000"/>
                <a:gd name="connsiteY116" fmla="*/ 6963 h 9974"/>
                <a:gd name="connsiteX117" fmla="*/ 5834 w 10000"/>
                <a:gd name="connsiteY117" fmla="*/ 7030 h 9974"/>
                <a:gd name="connsiteX118" fmla="*/ 5951 w 10000"/>
                <a:gd name="connsiteY118" fmla="*/ 7006 h 9974"/>
                <a:gd name="connsiteX119" fmla="*/ 5961 w 10000"/>
                <a:gd name="connsiteY119" fmla="*/ 6984 h 9974"/>
                <a:gd name="connsiteX120" fmla="*/ 6069 w 10000"/>
                <a:gd name="connsiteY120" fmla="*/ 7022 h 9974"/>
                <a:gd name="connsiteX121" fmla="*/ 6212 w 10000"/>
                <a:gd name="connsiteY121" fmla="*/ 7043 h 9974"/>
                <a:gd name="connsiteX122" fmla="*/ 6268 w 10000"/>
                <a:gd name="connsiteY122" fmla="*/ 7004 h 9974"/>
                <a:gd name="connsiteX123" fmla="*/ 6314 w 10000"/>
                <a:gd name="connsiteY123" fmla="*/ 7026 h 9974"/>
                <a:gd name="connsiteX124" fmla="*/ 6381 w 10000"/>
                <a:gd name="connsiteY124" fmla="*/ 7100 h 9974"/>
                <a:gd name="connsiteX125" fmla="*/ 6519 w 10000"/>
                <a:gd name="connsiteY125" fmla="*/ 7118 h 9974"/>
                <a:gd name="connsiteX126" fmla="*/ 7082 w 10000"/>
                <a:gd name="connsiteY126" fmla="*/ 7008 h 9974"/>
                <a:gd name="connsiteX127" fmla="*/ 7359 w 10000"/>
                <a:gd name="connsiteY127" fmla="*/ 6853 h 9974"/>
                <a:gd name="connsiteX128" fmla="*/ 7423 w 10000"/>
                <a:gd name="connsiteY128" fmla="*/ 6739 h 9974"/>
                <a:gd name="connsiteX129" fmla="*/ 7323 w 10000"/>
                <a:gd name="connsiteY129" fmla="*/ 6637 h 9974"/>
                <a:gd name="connsiteX130" fmla="*/ 7113 w 10000"/>
                <a:gd name="connsiteY130" fmla="*/ 6576 h 9974"/>
                <a:gd name="connsiteX131" fmla="*/ 6963 w 10000"/>
                <a:gd name="connsiteY131" fmla="*/ 6476 h 9974"/>
                <a:gd name="connsiteX132" fmla="*/ 7102 w 10000"/>
                <a:gd name="connsiteY132" fmla="*/ 6472 h 9974"/>
                <a:gd name="connsiteX133" fmla="*/ 7093 w 10000"/>
                <a:gd name="connsiteY133" fmla="*/ 6448 h 9974"/>
                <a:gd name="connsiteX134" fmla="*/ 6731 w 10000"/>
                <a:gd name="connsiteY134" fmla="*/ 6377 h 9974"/>
                <a:gd name="connsiteX135" fmla="*/ 6716 w 10000"/>
                <a:gd name="connsiteY135" fmla="*/ 6313 h 9974"/>
                <a:gd name="connsiteX136" fmla="*/ 6646 w 10000"/>
                <a:gd name="connsiteY136" fmla="*/ 6246 h 9974"/>
                <a:gd name="connsiteX137" fmla="*/ 6360 w 10000"/>
                <a:gd name="connsiteY137" fmla="*/ 6258 h 9974"/>
                <a:gd name="connsiteX138" fmla="*/ 6258 w 10000"/>
                <a:gd name="connsiteY138" fmla="*/ 6187 h 9974"/>
                <a:gd name="connsiteX139" fmla="*/ 6198 w 10000"/>
                <a:gd name="connsiteY139" fmla="*/ 6183 h 9974"/>
                <a:gd name="connsiteX140" fmla="*/ 6198 w 10000"/>
                <a:gd name="connsiteY140" fmla="*/ 6212 h 9974"/>
                <a:gd name="connsiteX141" fmla="*/ 6069 w 10000"/>
                <a:gd name="connsiteY141" fmla="*/ 6332 h 9974"/>
                <a:gd name="connsiteX142" fmla="*/ 5930 w 10000"/>
                <a:gd name="connsiteY142" fmla="*/ 6403 h 9974"/>
                <a:gd name="connsiteX143" fmla="*/ 5495 w 10000"/>
                <a:gd name="connsiteY143" fmla="*/ 6525 h 9974"/>
                <a:gd name="connsiteX144" fmla="*/ 5342 w 10000"/>
                <a:gd name="connsiteY144" fmla="*/ 6521 h 9974"/>
                <a:gd name="connsiteX145" fmla="*/ 5133 w 10000"/>
                <a:gd name="connsiteY145" fmla="*/ 6539 h 9974"/>
                <a:gd name="connsiteX146" fmla="*/ 5016 w 10000"/>
                <a:gd name="connsiteY146" fmla="*/ 6521 h 9974"/>
                <a:gd name="connsiteX147" fmla="*/ 5169 w 10000"/>
                <a:gd name="connsiteY147" fmla="*/ 6487 h 9974"/>
                <a:gd name="connsiteX148" fmla="*/ 5369 w 10000"/>
                <a:gd name="connsiteY148" fmla="*/ 6472 h 9974"/>
                <a:gd name="connsiteX149" fmla="*/ 5534 w 10000"/>
                <a:gd name="connsiteY149" fmla="*/ 6415 h 9974"/>
                <a:gd name="connsiteX150" fmla="*/ 5695 w 10000"/>
                <a:gd name="connsiteY150" fmla="*/ 6389 h 9974"/>
                <a:gd name="connsiteX151" fmla="*/ 5998 w 10000"/>
                <a:gd name="connsiteY151" fmla="*/ 6291 h 9974"/>
                <a:gd name="connsiteX152" fmla="*/ 6056 w 10000"/>
                <a:gd name="connsiteY152" fmla="*/ 6226 h 9974"/>
                <a:gd name="connsiteX153" fmla="*/ 6060 w 10000"/>
                <a:gd name="connsiteY153" fmla="*/ 6142 h 9974"/>
                <a:gd name="connsiteX154" fmla="*/ 5921 w 10000"/>
                <a:gd name="connsiteY154" fmla="*/ 6128 h 9974"/>
                <a:gd name="connsiteX155" fmla="*/ 5983 w 10000"/>
                <a:gd name="connsiteY155" fmla="*/ 6077 h 9974"/>
                <a:gd name="connsiteX156" fmla="*/ 6002 w 10000"/>
                <a:gd name="connsiteY156" fmla="*/ 6012 h 9974"/>
                <a:gd name="connsiteX157" fmla="*/ 5944 w 10000"/>
                <a:gd name="connsiteY157" fmla="*/ 5951 h 9974"/>
                <a:gd name="connsiteX158" fmla="*/ 5911 w 10000"/>
                <a:gd name="connsiteY158" fmla="*/ 5507 h 9974"/>
                <a:gd name="connsiteX159" fmla="*/ 5993 w 10000"/>
                <a:gd name="connsiteY159" fmla="*/ 5411 h 9974"/>
                <a:gd name="connsiteX160" fmla="*/ 5972 w 10000"/>
                <a:gd name="connsiteY160" fmla="*/ 5372 h 9974"/>
                <a:gd name="connsiteX161" fmla="*/ 6212 w 10000"/>
                <a:gd name="connsiteY161" fmla="*/ 5429 h 9974"/>
                <a:gd name="connsiteX162" fmla="*/ 6229 w 10000"/>
                <a:gd name="connsiteY162" fmla="*/ 5376 h 9974"/>
                <a:gd name="connsiteX163" fmla="*/ 6176 w 10000"/>
                <a:gd name="connsiteY163" fmla="*/ 5238 h 9974"/>
                <a:gd name="connsiteX164" fmla="*/ 6349 w 10000"/>
                <a:gd name="connsiteY164" fmla="*/ 4993 h 9974"/>
                <a:gd name="connsiteX165" fmla="*/ 6243 w 10000"/>
                <a:gd name="connsiteY165" fmla="*/ 4934 h 9974"/>
                <a:gd name="connsiteX166" fmla="*/ 6202 w 10000"/>
                <a:gd name="connsiteY166" fmla="*/ 4879 h 9974"/>
                <a:gd name="connsiteX167" fmla="*/ 6216 w 10000"/>
                <a:gd name="connsiteY167" fmla="*/ 4790 h 9974"/>
                <a:gd name="connsiteX168" fmla="*/ 6470 w 10000"/>
                <a:gd name="connsiteY168" fmla="*/ 4849 h 9974"/>
                <a:gd name="connsiteX169" fmla="*/ 6478 w 10000"/>
                <a:gd name="connsiteY169" fmla="*/ 4832 h 9974"/>
                <a:gd name="connsiteX170" fmla="*/ 6548 w 10000"/>
                <a:gd name="connsiteY170" fmla="*/ 4816 h 9974"/>
                <a:gd name="connsiteX171" fmla="*/ 6646 w 10000"/>
                <a:gd name="connsiteY171" fmla="*/ 4759 h 9974"/>
                <a:gd name="connsiteX172" fmla="*/ 6662 w 10000"/>
                <a:gd name="connsiteY172" fmla="*/ 4743 h 9974"/>
                <a:gd name="connsiteX173" fmla="*/ 6641 w 10000"/>
                <a:gd name="connsiteY173" fmla="*/ 4722 h 9974"/>
                <a:gd name="connsiteX174" fmla="*/ 6693 w 10000"/>
                <a:gd name="connsiteY174" fmla="*/ 4621 h 9974"/>
                <a:gd name="connsiteX175" fmla="*/ 6631 w 10000"/>
                <a:gd name="connsiteY175" fmla="*/ 4555 h 9974"/>
                <a:gd name="connsiteX176" fmla="*/ 6641 w 10000"/>
                <a:gd name="connsiteY176" fmla="*/ 4502 h 9974"/>
                <a:gd name="connsiteX177" fmla="*/ 6676 w 10000"/>
                <a:gd name="connsiteY177" fmla="*/ 4564 h 9974"/>
                <a:gd name="connsiteX178" fmla="*/ 6815 w 10000"/>
                <a:gd name="connsiteY178" fmla="*/ 4610 h 9974"/>
                <a:gd name="connsiteX179" fmla="*/ 6872 w 10000"/>
                <a:gd name="connsiteY179" fmla="*/ 4604 h 9974"/>
                <a:gd name="connsiteX180" fmla="*/ 6963 w 10000"/>
                <a:gd name="connsiteY180" fmla="*/ 4543 h 9974"/>
                <a:gd name="connsiteX181" fmla="*/ 7062 w 10000"/>
                <a:gd name="connsiteY181" fmla="*/ 4568 h 9974"/>
                <a:gd name="connsiteX182" fmla="*/ 7088 w 10000"/>
                <a:gd name="connsiteY182" fmla="*/ 4519 h 9974"/>
                <a:gd name="connsiteX183" fmla="*/ 7154 w 10000"/>
                <a:gd name="connsiteY183" fmla="*/ 4486 h 9974"/>
                <a:gd name="connsiteX184" fmla="*/ 6974 w 10000"/>
                <a:gd name="connsiteY184" fmla="*/ 4451 h 9974"/>
                <a:gd name="connsiteX185" fmla="*/ 7102 w 10000"/>
                <a:gd name="connsiteY185" fmla="*/ 4458 h 9974"/>
                <a:gd name="connsiteX186" fmla="*/ 7234 w 10000"/>
                <a:gd name="connsiteY186" fmla="*/ 4421 h 9974"/>
                <a:gd name="connsiteX187" fmla="*/ 7229 w 10000"/>
                <a:gd name="connsiteY187" fmla="*/ 4396 h 9974"/>
                <a:gd name="connsiteX188" fmla="*/ 7353 w 10000"/>
                <a:gd name="connsiteY188" fmla="*/ 4372 h 9974"/>
                <a:gd name="connsiteX189" fmla="*/ 7364 w 10000"/>
                <a:gd name="connsiteY189" fmla="*/ 4311 h 9974"/>
                <a:gd name="connsiteX190" fmla="*/ 7461 w 10000"/>
                <a:gd name="connsiteY190" fmla="*/ 4299 h 9974"/>
                <a:gd name="connsiteX191" fmla="*/ 7469 w 10000"/>
                <a:gd name="connsiteY191" fmla="*/ 4227 h 9974"/>
                <a:gd name="connsiteX192" fmla="*/ 7572 w 10000"/>
                <a:gd name="connsiteY192" fmla="*/ 4219 h 9974"/>
                <a:gd name="connsiteX193" fmla="*/ 7730 w 10000"/>
                <a:gd name="connsiteY193" fmla="*/ 4234 h 9974"/>
                <a:gd name="connsiteX194" fmla="*/ 7904 w 10000"/>
                <a:gd name="connsiteY194" fmla="*/ 4176 h 9974"/>
                <a:gd name="connsiteX195" fmla="*/ 7966 w 10000"/>
                <a:gd name="connsiteY195" fmla="*/ 4111 h 9974"/>
                <a:gd name="connsiteX196" fmla="*/ 8181 w 10000"/>
                <a:gd name="connsiteY196" fmla="*/ 4044 h 9974"/>
                <a:gd name="connsiteX197" fmla="*/ 8288 w 10000"/>
                <a:gd name="connsiteY197" fmla="*/ 4085 h 9974"/>
                <a:gd name="connsiteX198" fmla="*/ 8452 w 10000"/>
                <a:gd name="connsiteY198" fmla="*/ 4040 h 9974"/>
                <a:gd name="connsiteX199" fmla="*/ 8491 w 10000"/>
                <a:gd name="connsiteY199" fmla="*/ 3983 h 9974"/>
                <a:gd name="connsiteX200" fmla="*/ 8616 w 10000"/>
                <a:gd name="connsiteY200" fmla="*/ 3944 h 9974"/>
                <a:gd name="connsiteX201" fmla="*/ 8722 w 10000"/>
                <a:gd name="connsiteY201" fmla="*/ 3961 h 9974"/>
                <a:gd name="connsiteX202" fmla="*/ 8789 w 10000"/>
                <a:gd name="connsiteY202" fmla="*/ 3932 h 9974"/>
                <a:gd name="connsiteX203" fmla="*/ 8973 w 10000"/>
                <a:gd name="connsiteY203" fmla="*/ 3891 h 9974"/>
                <a:gd name="connsiteX204" fmla="*/ 9049 w 10000"/>
                <a:gd name="connsiteY204" fmla="*/ 3838 h 9974"/>
                <a:gd name="connsiteX205" fmla="*/ 9153 w 10000"/>
                <a:gd name="connsiteY205" fmla="*/ 3816 h 9974"/>
                <a:gd name="connsiteX206" fmla="*/ 9720 w 10000"/>
                <a:gd name="connsiteY206" fmla="*/ 3496 h 9974"/>
                <a:gd name="connsiteX207" fmla="*/ 9971 w 10000"/>
                <a:gd name="connsiteY207" fmla="*/ 363 h 9974"/>
                <a:gd name="connsiteX208" fmla="*/ 9049 w 10000"/>
                <a:gd name="connsiteY208" fmla="*/ 0 h 9974"/>
                <a:gd name="connsiteX209" fmla="*/ 7537 w 10000"/>
                <a:gd name="connsiteY209" fmla="*/ 361 h 9974"/>
                <a:gd name="connsiteX210" fmla="*/ 7423 w 10000"/>
                <a:gd name="connsiteY210" fmla="*/ 369 h 9974"/>
                <a:gd name="connsiteX211" fmla="*/ 7359 w 10000"/>
                <a:gd name="connsiteY211" fmla="*/ 388 h 9974"/>
                <a:gd name="connsiteX212" fmla="*/ 7290 w 10000"/>
                <a:gd name="connsiteY212" fmla="*/ 436 h 9974"/>
                <a:gd name="connsiteX213" fmla="*/ 7302 w 10000"/>
                <a:gd name="connsiteY213" fmla="*/ 555 h 9974"/>
                <a:gd name="connsiteX214" fmla="*/ 7199 w 10000"/>
                <a:gd name="connsiteY214" fmla="*/ 709 h 9974"/>
                <a:gd name="connsiteX215" fmla="*/ 7072 w 10000"/>
                <a:gd name="connsiteY215" fmla="*/ 789 h 9974"/>
                <a:gd name="connsiteX216" fmla="*/ 7021 w 10000"/>
                <a:gd name="connsiteY216" fmla="*/ 779 h 9974"/>
                <a:gd name="connsiteX217" fmla="*/ 6903 w 10000"/>
                <a:gd name="connsiteY217" fmla="*/ 713 h 9974"/>
                <a:gd name="connsiteX218" fmla="*/ 6756 w 10000"/>
                <a:gd name="connsiteY218" fmla="*/ 679 h 9974"/>
                <a:gd name="connsiteX219" fmla="*/ 6594 w 10000"/>
                <a:gd name="connsiteY219" fmla="*/ 689 h 9974"/>
                <a:gd name="connsiteX220" fmla="*/ 6223 w 10000"/>
                <a:gd name="connsiteY220" fmla="*/ 840 h 9974"/>
                <a:gd name="connsiteX221" fmla="*/ 6125 w 10000"/>
                <a:gd name="connsiteY221" fmla="*/ 991 h 9974"/>
                <a:gd name="connsiteX222" fmla="*/ 5845 w 10000"/>
                <a:gd name="connsiteY222" fmla="*/ 1127 h 9974"/>
                <a:gd name="connsiteX223" fmla="*/ 5794 w 10000"/>
                <a:gd name="connsiteY223" fmla="*/ 1196 h 9974"/>
                <a:gd name="connsiteX224" fmla="*/ 5940 w 10000"/>
                <a:gd name="connsiteY224" fmla="*/ 1318 h 9974"/>
                <a:gd name="connsiteX225" fmla="*/ 5956 w 10000"/>
                <a:gd name="connsiteY225" fmla="*/ 1386 h 9974"/>
                <a:gd name="connsiteX226" fmla="*/ 5190 w 10000"/>
                <a:gd name="connsiteY226" fmla="*/ 1787 h 9974"/>
                <a:gd name="connsiteX227" fmla="*/ 4955 w 10000"/>
                <a:gd name="connsiteY227" fmla="*/ 2044 h 9974"/>
                <a:gd name="connsiteX228" fmla="*/ 4702 w 10000"/>
                <a:gd name="connsiteY228" fmla="*/ 2109 h 9974"/>
                <a:gd name="connsiteX229" fmla="*/ 4540 w 10000"/>
                <a:gd name="connsiteY229" fmla="*/ 2105 h 9974"/>
                <a:gd name="connsiteX230" fmla="*/ 4443 w 10000"/>
                <a:gd name="connsiteY230" fmla="*/ 2127 h 9974"/>
                <a:gd name="connsiteX231" fmla="*/ 4178 w 10000"/>
                <a:gd name="connsiteY231" fmla="*/ 2767 h 9974"/>
                <a:gd name="connsiteX232" fmla="*/ 3565 w 10000"/>
                <a:gd name="connsiteY232" fmla="*/ 3140 h 9974"/>
                <a:gd name="connsiteX233" fmla="*/ 3569 w 10000"/>
                <a:gd name="connsiteY233" fmla="*/ 3199 h 9974"/>
                <a:gd name="connsiteX234" fmla="*/ 3841 w 10000"/>
                <a:gd name="connsiteY234" fmla="*/ 3366 h 9974"/>
                <a:gd name="connsiteX235" fmla="*/ 3753 w 10000"/>
                <a:gd name="connsiteY235" fmla="*/ 3547 h 9974"/>
                <a:gd name="connsiteX236" fmla="*/ 3594 w 10000"/>
                <a:gd name="connsiteY236" fmla="*/ 3614 h 9974"/>
                <a:gd name="connsiteX237" fmla="*/ 3118 w 10000"/>
                <a:gd name="connsiteY237" fmla="*/ 3569 h 9974"/>
                <a:gd name="connsiteX238" fmla="*/ 2791 w 10000"/>
                <a:gd name="connsiteY238" fmla="*/ 3594 h 9974"/>
                <a:gd name="connsiteX239" fmla="*/ 2528 w 10000"/>
                <a:gd name="connsiteY239" fmla="*/ 3647 h 9974"/>
                <a:gd name="connsiteX240" fmla="*/ 2102 w 10000"/>
                <a:gd name="connsiteY240" fmla="*/ 3814 h 9974"/>
                <a:gd name="connsiteX241" fmla="*/ 1877 w 10000"/>
                <a:gd name="connsiteY241" fmla="*/ 4016 h 9974"/>
                <a:gd name="connsiteX242" fmla="*/ 1896 w 10000"/>
                <a:gd name="connsiteY242" fmla="*/ 4128 h 9974"/>
                <a:gd name="connsiteX243" fmla="*/ 1975 w 10000"/>
                <a:gd name="connsiteY243" fmla="*/ 4215 h 9974"/>
                <a:gd name="connsiteX244" fmla="*/ 2034 w 10000"/>
                <a:gd name="connsiteY244" fmla="*/ 4250 h 9974"/>
                <a:gd name="connsiteX245" fmla="*/ 1924 w 10000"/>
                <a:gd name="connsiteY245" fmla="*/ 4305 h 9974"/>
                <a:gd name="connsiteX246" fmla="*/ 1683 w 10000"/>
                <a:gd name="connsiteY246" fmla="*/ 4684 h 9974"/>
                <a:gd name="connsiteX247" fmla="*/ 1729 w 10000"/>
                <a:gd name="connsiteY247" fmla="*/ 4706 h 9974"/>
                <a:gd name="connsiteX248" fmla="*/ 1764 w 10000"/>
                <a:gd name="connsiteY248" fmla="*/ 4802 h 9974"/>
                <a:gd name="connsiteX249" fmla="*/ 1652 w 10000"/>
                <a:gd name="connsiteY249" fmla="*/ 5201 h 9974"/>
                <a:gd name="connsiteX250" fmla="*/ 1764 w 10000"/>
                <a:gd name="connsiteY250" fmla="*/ 5303 h 9974"/>
                <a:gd name="connsiteX251" fmla="*/ 2071 w 10000"/>
                <a:gd name="connsiteY251" fmla="*/ 5415 h 9974"/>
                <a:gd name="connsiteX252" fmla="*/ 2085 w 10000"/>
                <a:gd name="connsiteY252" fmla="*/ 5552 h 9974"/>
                <a:gd name="connsiteX253" fmla="*/ 1954 w 10000"/>
                <a:gd name="connsiteY253" fmla="*/ 5664 h 9974"/>
                <a:gd name="connsiteX254" fmla="*/ 1764 w 10000"/>
                <a:gd name="connsiteY254" fmla="*/ 5733 h 9974"/>
                <a:gd name="connsiteX255" fmla="*/ 1513 w 10000"/>
                <a:gd name="connsiteY255" fmla="*/ 5761 h 9974"/>
                <a:gd name="connsiteX256" fmla="*/ 1448 w 10000"/>
                <a:gd name="connsiteY256" fmla="*/ 5800 h 9974"/>
                <a:gd name="connsiteX257" fmla="*/ 1594 w 10000"/>
                <a:gd name="connsiteY257" fmla="*/ 5894 h 9974"/>
                <a:gd name="connsiteX258" fmla="*/ 1678 w 10000"/>
                <a:gd name="connsiteY258" fmla="*/ 6116 h 9974"/>
                <a:gd name="connsiteX259" fmla="*/ 1488 w 10000"/>
                <a:gd name="connsiteY259" fmla="*/ 6307 h 9974"/>
                <a:gd name="connsiteX260" fmla="*/ 1554 w 10000"/>
                <a:gd name="connsiteY260" fmla="*/ 6366 h 9974"/>
                <a:gd name="connsiteX261" fmla="*/ 1494 w 10000"/>
                <a:gd name="connsiteY261" fmla="*/ 6466 h 9974"/>
                <a:gd name="connsiteX262" fmla="*/ 1372 w 10000"/>
                <a:gd name="connsiteY262" fmla="*/ 6535 h 9974"/>
                <a:gd name="connsiteX263" fmla="*/ 889 w 10000"/>
                <a:gd name="connsiteY263" fmla="*/ 6588 h 9974"/>
                <a:gd name="connsiteX264" fmla="*/ 860 w 10000"/>
                <a:gd name="connsiteY264" fmla="*/ 6680 h 9974"/>
                <a:gd name="connsiteX265" fmla="*/ 600 w 10000"/>
                <a:gd name="connsiteY265" fmla="*/ 6817 h 9974"/>
                <a:gd name="connsiteX266" fmla="*/ 634 w 10000"/>
                <a:gd name="connsiteY266" fmla="*/ 7014 h 9974"/>
                <a:gd name="connsiteX267" fmla="*/ 415 w 10000"/>
                <a:gd name="connsiteY267" fmla="*/ 7267 h 9974"/>
                <a:gd name="connsiteX268" fmla="*/ 266 w 10000"/>
                <a:gd name="connsiteY268" fmla="*/ 7297 h 9974"/>
                <a:gd name="connsiteX269" fmla="*/ 204 w 10000"/>
                <a:gd name="connsiteY269" fmla="*/ 7236 h 9974"/>
                <a:gd name="connsiteX270" fmla="*/ 128 w 10000"/>
                <a:gd name="connsiteY270" fmla="*/ 7328 h 9974"/>
                <a:gd name="connsiteX271" fmla="*/ 178 w 10000"/>
                <a:gd name="connsiteY271" fmla="*/ 7171 h 9974"/>
                <a:gd name="connsiteX272" fmla="*/ 147 w 10000"/>
                <a:gd name="connsiteY272" fmla="*/ 7140 h 9974"/>
                <a:gd name="connsiteX0" fmla="*/ 147 w 10000"/>
                <a:gd name="connsiteY0" fmla="*/ 6797 h 9638"/>
                <a:gd name="connsiteX1" fmla="*/ 0 w 10000"/>
                <a:gd name="connsiteY1" fmla="*/ 6879 h 9638"/>
                <a:gd name="connsiteX2" fmla="*/ 0 w 10000"/>
                <a:gd name="connsiteY2" fmla="*/ 7283 h 9638"/>
                <a:gd name="connsiteX3" fmla="*/ 81 w 10000"/>
                <a:gd name="connsiteY3" fmla="*/ 7295 h 9638"/>
                <a:gd name="connsiteX4" fmla="*/ 100 w 10000"/>
                <a:gd name="connsiteY4" fmla="*/ 7326 h 9638"/>
                <a:gd name="connsiteX5" fmla="*/ 96 w 10000"/>
                <a:gd name="connsiteY5" fmla="*/ 7381 h 9638"/>
                <a:gd name="connsiteX6" fmla="*/ 66 w 10000"/>
                <a:gd name="connsiteY6" fmla="*/ 7405 h 9638"/>
                <a:gd name="connsiteX7" fmla="*/ 190 w 10000"/>
                <a:gd name="connsiteY7" fmla="*/ 7359 h 9638"/>
                <a:gd name="connsiteX8" fmla="*/ 242 w 10000"/>
                <a:gd name="connsiteY8" fmla="*/ 7312 h 9638"/>
                <a:gd name="connsiteX9" fmla="*/ 306 w 10000"/>
                <a:gd name="connsiteY9" fmla="*/ 7344 h 9638"/>
                <a:gd name="connsiteX10" fmla="*/ 235 w 10000"/>
                <a:gd name="connsiteY10" fmla="*/ 7410 h 9638"/>
                <a:gd name="connsiteX11" fmla="*/ 311 w 10000"/>
                <a:gd name="connsiteY11" fmla="*/ 7412 h 9638"/>
                <a:gd name="connsiteX12" fmla="*/ 348 w 10000"/>
                <a:gd name="connsiteY12" fmla="*/ 7428 h 9638"/>
                <a:gd name="connsiteX13" fmla="*/ 250 w 10000"/>
                <a:gd name="connsiteY13" fmla="*/ 7450 h 9638"/>
                <a:gd name="connsiteX14" fmla="*/ 96 w 10000"/>
                <a:gd name="connsiteY14" fmla="*/ 7518 h 9638"/>
                <a:gd name="connsiteX15" fmla="*/ 370 w 10000"/>
                <a:gd name="connsiteY15" fmla="*/ 7571 h 9638"/>
                <a:gd name="connsiteX16" fmla="*/ 404 w 10000"/>
                <a:gd name="connsiteY16" fmla="*/ 7647 h 9638"/>
                <a:gd name="connsiteX17" fmla="*/ 311 w 10000"/>
                <a:gd name="connsiteY17" fmla="*/ 7759 h 9638"/>
                <a:gd name="connsiteX18" fmla="*/ 511 w 10000"/>
                <a:gd name="connsiteY18" fmla="*/ 7751 h 9638"/>
                <a:gd name="connsiteX19" fmla="*/ 526 w 10000"/>
                <a:gd name="connsiteY19" fmla="*/ 7836 h 9638"/>
                <a:gd name="connsiteX20" fmla="*/ 393 w 10000"/>
                <a:gd name="connsiteY20" fmla="*/ 7893 h 9638"/>
                <a:gd name="connsiteX21" fmla="*/ 415 w 10000"/>
                <a:gd name="connsiteY21" fmla="*/ 8004 h 9638"/>
                <a:gd name="connsiteX22" fmla="*/ 364 w 10000"/>
                <a:gd name="connsiteY22" fmla="*/ 8090 h 9638"/>
                <a:gd name="connsiteX23" fmla="*/ 521 w 10000"/>
                <a:gd name="connsiteY23" fmla="*/ 8098 h 9638"/>
                <a:gd name="connsiteX24" fmla="*/ 676 w 10000"/>
                <a:gd name="connsiteY24" fmla="*/ 8427 h 9638"/>
                <a:gd name="connsiteX25" fmla="*/ 853 w 10000"/>
                <a:gd name="connsiteY25" fmla="*/ 8511 h 9638"/>
                <a:gd name="connsiteX26" fmla="*/ 931 w 10000"/>
                <a:gd name="connsiteY26" fmla="*/ 8600 h 9638"/>
                <a:gd name="connsiteX27" fmla="*/ 1125 w 10000"/>
                <a:gd name="connsiteY27" fmla="*/ 8665 h 9638"/>
                <a:gd name="connsiteX28" fmla="*/ 1249 w 10000"/>
                <a:gd name="connsiteY28" fmla="*/ 8748 h 9638"/>
                <a:gd name="connsiteX29" fmla="*/ 1233 w 10000"/>
                <a:gd name="connsiteY29" fmla="*/ 8807 h 9638"/>
                <a:gd name="connsiteX30" fmla="*/ 1110 w 10000"/>
                <a:gd name="connsiteY30" fmla="*/ 8829 h 9638"/>
                <a:gd name="connsiteX31" fmla="*/ 976 w 10000"/>
                <a:gd name="connsiteY31" fmla="*/ 8815 h 9638"/>
                <a:gd name="connsiteX32" fmla="*/ 935 w 10000"/>
                <a:gd name="connsiteY32" fmla="*/ 8840 h 9638"/>
                <a:gd name="connsiteX33" fmla="*/ 1037 w 10000"/>
                <a:gd name="connsiteY33" fmla="*/ 8968 h 9638"/>
                <a:gd name="connsiteX34" fmla="*/ 894 w 10000"/>
                <a:gd name="connsiteY34" fmla="*/ 8958 h 9638"/>
                <a:gd name="connsiteX35" fmla="*/ 773 w 10000"/>
                <a:gd name="connsiteY35" fmla="*/ 8927 h 9638"/>
                <a:gd name="connsiteX36" fmla="*/ 750 w 10000"/>
                <a:gd name="connsiteY36" fmla="*/ 8974 h 9638"/>
                <a:gd name="connsiteX37" fmla="*/ 1155 w 10000"/>
                <a:gd name="connsiteY37" fmla="*/ 9413 h 9638"/>
                <a:gd name="connsiteX38" fmla="*/ 1091 w 10000"/>
                <a:gd name="connsiteY38" fmla="*/ 9455 h 9638"/>
                <a:gd name="connsiteX39" fmla="*/ 1045 w 10000"/>
                <a:gd name="connsiteY39" fmla="*/ 9540 h 9638"/>
                <a:gd name="connsiteX40" fmla="*/ 987 w 10000"/>
                <a:gd name="connsiteY40" fmla="*/ 9546 h 9638"/>
                <a:gd name="connsiteX41" fmla="*/ 951 w 10000"/>
                <a:gd name="connsiteY41" fmla="*/ 9583 h 9638"/>
                <a:gd name="connsiteX42" fmla="*/ 1195 w 10000"/>
                <a:gd name="connsiteY42" fmla="*/ 9587 h 9638"/>
                <a:gd name="connsiteX43" fmla="*/ 1410 w 10000"/>
                <a:gd name="connsiteY43" fmla="*/ 9624 h 9638"/>
                <a:gd name="connsiteX44" fmla="*/ 1769 w 10000"/>
                <a:gd name="connsiteY44" fmla="*/ 9585 h 9638"/>
                <a:gd name="connsiteX45" fmla="*/ 2091 w 10000"/>
                <a:gd name="connsiteY45" fmla="*/ 9591 h 9638"/>
                <a:gd name="connsiteX46" fmla="*/ 2280 w 10000"/>
                <a:gd name="connsiteY46" fmla="*/ 9638 h 9638"/>
                <a:gd name="connsiteX47" fmla="*/ 2385 w 10000"/>
                <a:gd name="connsiteY47" fmla="*/ 9607 h 9638"/>
                <a:gd name="connsiteX48" fmla="*/ 2485 w 10000"/>
                <a:gd name="connsiteY48" fmla="*/ 9506 h 9638"/>
                <a:gd name="connsiteX49" fmla="*/ 2459 w 10000"/>
                <a:gd name="connsiteY49" fmla="*/ 9340 h 9638"/>
                <a:gd name="connsiteX50" fmla="*/ 2704 w 10000"/>
                <a:gd name="connsiteY50" fmla="*/ 9154 h 9638"/>
                <a:gd name="connsiteX51" fmla="*/ 2883 w 10000"/>
                <a:gd name="connsiteY51" fmla="*/ 9183 h 9638"/>
                <a:gd name="connsiteX52" fmla="*/ 2987 w 10000"/>
                <a:gd name="connsiteY52" fmla="*/ 9109 h 9638"/>
                <a:gd name="connsiteX53" fmla="*/ 3186 w 10000"/>
                <a:gd name="connsiteY53" fmla="*/ 9067 h 9638"/>
                <a:gd name="connsiteX54" fmla="*/ 3457 w 10000"/>
                <a:gd name="connsiteY54" fmla="*/ 9077 h 9638"/>
                <a:gd name="connsiteX55" fmla="*/ 3620 w 10000"/>
                <a:gd name="connsiteY55" fmla="*/ 9107 h 9638"/>
                <a:gd name="connsiteX56" fmla="*/ 3837 w 10000"/>
                <a:gd name="connsiteY56" fmla="*/ 9093 h 9638"/>
                <a:gd name="connsiteX57" fmla="*/ 4056 w 10000"/>
                <a:gd name="connsiteY57" fmla="*/ 9126 h 9638"/>
                <a:gd name="connsiteX58" fmla="*/ 4275 w 10000"/>
                <a:gd name="connsiteY58" fmla="*/ 9130 h 9638"/>
                <a:gd name="connsiteX59" fmla="*/ 4765 w 10000"/>
                <a:gd name="connsiteY59" fmla="*/ 8697 h 9638"/>
                <a:gd name="connsiteX60" fmla="*/ 4889 w 10000"/>
                <a:gd name="connsiteY60" fmla="*/ 8346 h 9638"/>
                <a:gd name="connsiteX61" fmla="*/ 5088 w 10000"/>
                <a:gd name="connsiteY61" fmla="*/ 8188 h 9638"/>
                <a:gd name="connsiteX62" fmla="*/ 5088 w 10000"/>
                <a:gd name="connsiteY62" fmla="*/ 8106 h 9638"/>
                <a:gd name="connsiteX63" fmla="*/ 5016 w 10000"/>
                <a:gd name="connsiteY63" fmla="*/ 8059 h 9638"/>
                <a:gd name="connsiteX64" fmla="*/ 5133 w 10000"/>
                <a:gd name="connsiteY64" fmla="*/ 7986 h 9638"/>
                <a:gd name="connsiteX65" fmla="*/ 5112 w 10000"/>
                <a:gd name="connsiteY65" fmla="*/ 7923 h 9638"/>
                <a:gd name="connsiteX66" fmla="*/ 5032 w 10000"/>
                <a:gd name="connsiteY66" fmla="*/ 7869 h 9638"/>
                <a:gd name="connsiteX67" fmla="*/ 5016 w 10000"/>
                <a:gd name="connsiteY67" fmla="*/ 7832 h 9638"/>
                <a:gd name="connsiteX68" fmla="*/ 5036 w 10000"/>
                <a:gd name="connsiteY68" fmla="*/ 7802 h 9638"/>
                <a:gd name="connsiteX69" fmla="*/ 5144 w 10000"/>
                <a:gd name="connsiteY69" fmla="*/ 7826 h 9638"/>
                <a:gd name="connsiteX70" fmla="*/ 5230 w 10000"/>
                <a:gd name="connsiteY70" fmla="*/ 7824 h 9638"/>
                <a:gd name="connsiteX71" fmla="*/ 5184 w 10000"/>
                <a:gd name="connsiteY71" fmla="*/ 7773 h 9638"/>
                <a:gd name="connsiteX72" fmla="*/ 5198 w 10000"/>
                <a:gd name="connsiteY72" fmla="*/ 7745 h 9638"/>
                <a:gd name="connsiteX73" fmla="*/ 5262 w 10000"/>
                <a:gd name="connsiteY73" fmla="*/ 7702 h 9638"/>
                <a:gd name="connsiteX74" fmla="*/ 5250 w 10000"/>
                <a:gd name="connsiteY74" fmla="*/ 7667 h 9638"/>
                <a:gd name="connsiteX75" fmla="*/ 5309 w 10000"/>
                <a:gd name="connsiteY75" fmla="*/ 7549 h 9638"/>
                <a:gd name="connsiteX76" fmla="*/ 5293 w 10000"/>
                <a:gd name="connsiteY76" fmla="*/ 7513 h 9638"/>
                <a:gd name="connsiteX77" fmla="*/ 4996 w 10000"/>
                <a:gd name="connsiteY77" fmla="*/ 7424 h 9638"/>
                <a:gd name="connsiteX78" fmla="*/ 5036 w 10000"/>
                <a:gd name="connsiteY78" fmla="*/ 7420 h 9638"/>
                <a:gd name="connsiteX79" fmla="*/ 5194 w 10000"/>
                <a:gd name="connsiteY79" fmla="*/ 7444 h 9638"/>
                <a:gd name="connsiteX80" fmla="*/ 5365 w 10000"/>
                <a:gd name="connsiteY80" fmla="*/ 7436 h 9638"/>
                <a:gd name="connsiteX81" fmla="*/ 5415 w 10000"/>
                <a:gd name="connsiteY81" fmla="*/ 7403 h 9638"/>
                <a:gd name="connsiteX82" fmla="*/ 5250 w 10000"/>
                <a:gd name="connsiteY82" fmla="*/ 7342 h 9638"/>
                <a:gd name="connsiteX83" fmla="*/ 4761 w 10000"/>
                <a:gd name="connsiteY83" fmla="*/ 7302 h 9638"/>
                <a:gd name="connsiteX84" fmla="*/ 4794 w 10000"/>
                <a:gd name="connsiteY84" fmla="*/ 7283 h 9638"/>
                <a:gd name="connsiteX85" fmla="*/ 5194 w 10000"/>
                <a:gd name="connsiteY85" fmla="*/ 7271 h 9638"/>
                <a:gd name="connsiteX86" fmla="*/ 5415 w 10000"/>
                <a:gd name="connsiteY86" fmla="*/ 7308 h 9638"/>
                <a:gd name="connsiteX87" fmla="*/ 5542 w 10000"/>
                <a:gd name="connsiteY87" fmla="*/ 7283 h 9638"/>
                <a:gd name="connsiteX88" fmla="*/ 5589 w 10000"/>
                <a:gd name="connsiteY88" fmla="*/ 7220 h 9638"/>
                <a:gd name="connsiteX89" fmla="*/ 5819 w 10000"/>
                <a:gd name="connsiteY89" fmla="*/ 7220 h 9638"/>
                <a:gd name="connsiteX90" fmla="*/ 6131 w 10000"/>
                <a:gd name="connsiteY90" fmla="*/ 7093 h 9638"/>
                <a:gd name="connsiteX91" fmla="*/ 6142 w 10000"/>
                <a:gd name="connsiteY91" fmla="*/ 7009 h 9638"/>
                <a:gd name="connsiteX92" fmla="*/ 6274 w 10000"/>
                <a:gd name="connsiteY92" fmla="*/ 7028 h 9638"/>
                <a:gd name="connsiteX93" fmla="*/ 6268 w 10000"/>
                <a:gd name="connsiteY93" fmla="*/ 7113 h 9638"/>
                <a:gd name="connsiteX94" fmla="*/ 6478 w 10000"/>
                <a:gd name="connsiteY94" fmla="*/ 7107 h 9638"/>
                <a:gd name="connsiteX95" fmla="*/ 6616 w 10000"/>
                <a:gd name="connsiteY95" fmla="*/ 7019 h 9638"/>
                <a:gd name="connsiteX96" fmla="*/ 6872 w 10000"/>
                <a:gd name="connsiteY96" fmla="*/ 6940 h 9638"/>
                <a:gd name="connsiteX97" fmla="*/ 6832 w 10000"/>
                <a:gd name="connsiteY97" fmla="*/ 6850 h 9638"/>
                <a:gd name="connsiteX98" fmla="*/ 6908 w 10000"/>
                <a:gd name="connsiteY98" fmla="*/ 6885 h 9638"/>
                <a:gd name="connsiteX99" fmla="*/ 7025 w 10000"/>
                <a:gd name="connsiteY99" fmla="*/ 6885 h 9638"/>
                <a:gd name="connsiteX100" fmla="*/ 7025 w 10000"/>
                <a:gd name="connsiteY100" fmla="*/ 6844 h 9638"/>
                <a:gd name="connsiteX101" fmla="*/ 7134 w 10000"/>
                <a:gd name="connsiteY101" fmla="*/ 6812 h 9638"/>
                <a:gd name="connsiteX102" fmla="*/ 7119 w 10000"/>
                <a:gd name="connsiteY102" fmla="*/ 6779 h 9638"/>
                <a:gd name="connsiteX103" fmla="*/ 6198 w 10000"/>
                <a:gd name="connsiteY103" fmla="*/ 6846 h 9638"/>
                <a:gd name="connsiteX104" fmla="*/ 5983 w 10000"/>
                <a:gd name="connsiteY104" fmla="*/ 6826 h 9638"/>
                <a:gd name="connsiteX105" fmla="*/ 5895 w 10000"/>
                <a:gd name="connsiteY105" fmla="*/ 6850 h 9638"/>
                <a:gd name="connsiteX106" fmla="*/ 5866 w 10000"/>
                <a:gd name="connsiteY106" fmla="*/ 6804 h 9638"/>
                <a:gd name="connsiteX107" fmla="*/ 5764 w 10000"/>
                <a:gd name="connsiteY107" fmla="*/ 6763 h 9638"/>
                <a:gd name="connsiteX108" fmla="*/ 5354 w 10000"/>
                <a:gd name="connsiteY108" fmla="*/ 6682 h 9638"/>
                <a:gd name="connsiteX109" fmla="*/ 5112 w 10000"/>
                <a:gd name="connsiteY109" fmla="*/ 6695 h 9638"/>
                <a:gd name="connsiteX110" fmla="*/ 5016 w 10000"/>
                <a:gd name="connsiteY110" fmla="*/ 6672 h 9638"/>
                <a:gd name="connsiteX111" fmla="*/ 5118 w 10000"/>
                <a:gd name="connsiteY111" fmla="*/ 6652 h 9638"/>
                <a:gd name="connsiteX112" fmla="*/ 5194 w 10000"/>
                <a:gd name="connsiteY112" fmla="*/ 6609 h 9638"/>
                <a:gd name="connsiteX113" fmla="*/ 5309 w 10000"/>
                <a:gd name="connsiteY113" fmla="*/ 6623 h 9638"/>
                <a:gd name="connsiteX114" fmla="*/ 5445 w 10000"/>
                <a:gd name="connsiteY114" fmla="*/ 6611 h 9638"/>
                <a:gd name="connsiteX115" fmla="*/ 5650 w 10000"/>
                <a:gd name="connsiteY115" fmla="*/ 6625 h 9638"/>
                <a:gd name="connsiteX116" fmla="*/ 5675 w 10000"/>
                <a:gd name="connsiteY116" fmla="*/ 6619 h 9638"/>
                <a:gd name="connsiteX117" fmla="*/ 5834 w 10000"/>
                <a:gd name="connsiteY117" fmla="*/ 6686 h 9638"/>
                <a:gd name="connsiteX118" fmla="*/ 5951 w 10000"/>
                <a:gd name="connsiteY118" fmla="*/ 6662 h 9638"/>
                <a:gd name="connsiteX119" fmla="*/ 5961 w 10000"/>
                <a:gd name="connsiteY119" fmla="*/ 6640 h 9638"/>
                <a:gd name="connsiteX120" fmla="*/ 6069 w 10000"/>
                <a:gd name="connsiteY120" fmla="*/ 6678 h 9638"/>
                <a:gd name="connsiteX121" fmla="*/ 6212 w 10000"/>
                <a:gd name="connsiteY121" fmla="*/ 6699 h 9638"/>
                <a:gd name="connsiteX122" fmla="*/ 6268 w 10000"/>
                <a:gd name="connsiteY122" fmla="*/ 6660 h 9638"/>
                <a:gd name="connsiteX123" fmla="*/ 6314 w 10000"/>
                <a:gd name="connsiteY123" fmla="*/ 6682 h 9638"/>
                <a:gd name="connsiteX124" fmla="*/ 6381 w 10000"/>
                <a:gd name="connsiteY124" fmla="*/ 6757 h 9638"/>
                <a:gd name="connsiteX125" fmla="*/ 6519 w 10000"/>
                <a:gd name="connsiteY125" fmla="*/ 6775 h 9638"/>
                <a:gd name="connsiteX126" fmla="*/ 7082 w 10000"/>
                <a:gd name="connsiteY126" fmla="*/ 6664 h 9638"/>
                <a:gd name="connsiteX127" fmla="*/ 7359 w 10000"/>
                <a:gd name="connsiteY127" fmla="*/ 6509 h 9638"/>
                <a:gd name="connsiteX128" fmla="*/ 7423 w 10000"/>
                <a:gd name="connsiteY128" fmla="*/ 6395 h 9638"/>
                <a:gd name="connsiteX129" fmla="*/ 7323 w 10000"/>
                <a:gd name="connsiteY129" fmla="*/ 6292 h 9638"/>
                <a:gd name="connsiteX130" fmla="*/ 7113 w 10000"/>
                <a:gd name="connsiteY130" fmla="*/ 6231 h 9638"/>
                <a:gd name="connsiteX131" fmla="*/ 6963 w 10000"/>
                <a:gd name="connsiteY131" fmla="*/ 6131 h 9638"/>
                <a:gd name="connsiteX132" fmla="*/ 7102 w 10000"/>
                <a:gd name="connsiteY132" fmla="*/ 6127 h 9638"/>
                <a:gd name="connsiteX133" fmla="*/ 7093 w 10000"/>
                <a:gd name="connsiteY133" fmla="*/ 6103 h 9638"/>
                <a:gd name="connsiteX134" fmla="*/ 6731 w 10000"/>
                <a:gd name="connsiteY134" fmla="*/ 6032 h 9638"/>
                <a:gd name="connsiteX135" fmla="*/ 6716 w 10000"/>
                <a:gd name="connsiteY135" fmla="*/ 5967 h 9638"/>
                <a:gd name="connsiteX136" fmla="*/ 6646 w 10000"/>
                <a:gd name="connsiteY136" fmla="*/ 5900 h 9638"/>
                <a:gd name="connsiteX137" fmla="*/ 6360 w 10000"/>
                <a:gd name="connsiteY137" fmla="*/ 5912 h 9638"/>
                <a:gd name="connsiteX138" fmla="*/ 6258 w 10000"/>
                <a:gd name="connsiteY138" fmla="*/ 5841 h 9638"/>
                <a:gd name="connsiteX139" fmla="*/ 6198 w 10000"/>
                <a:gd name="connsiteY139" fmla="*/ 5837 h 9638"/>
                <a:gd name="connsiteX140" fmla="*/ 6198 w 10000"/>
                <a:gd name="connsiteY140" fmla="*/ 5866 h 9638"/>
                <a:gd name="connsiteX141" fmla="*/ 6069 w 10000"/>
                <a:gd name="connsiteY141" fmla="*/ 5987 h 9638"/>
                <a:gd name="connsiteX142" fmla="*/ 5930 w 10000"/>
                <a:gd name="connsiteY142" fmla="*/ 6058 h 9638"/>
                <a:gd name="connsiteX143" fmla="*/ 5495 w 10000"/>
                <a:gd name="connsiteY143" fmla="*/ 6180 h 9638"/>
                <a:gd name="connsiteX144" fmla="*/ 5342 w 10000"/>
                <a:gd name="connsiteY144" fmla="*/ 6176 h 9638"/>
                <a:gd name="connsiteX145" fmla="*/ 5133 w 10000"/>
                <a:gd name="connsiteY145" fmla="*/ 6194 h 9638"/>
                <a:gd name="connsiteX146" fmla="*/ 5016 w 10000"/>
                <a:gd name="connsiteY146" fmla="*/ 6176 h 9638"/>
                <a:gd name="connsiteX147" fmla="*/ 5169 w 10000"/>
                <a:gd name="connsiteY147" fmla="*/ 6142 h 9638"/>
                <a:gd name="connsiteX148" fmla="*/ 5369 w 10000"/>
                <a:gd name="connsiteY148" fmla="*/ 6127 h 9638"/>
                <a:gd name="connsiteX149" fmla="*/ 5534 w 10000"/>
                <a:gd name="connsiteY149" fmla="*/ 6070 h 9638"/>
                <a:gd name="connsiteX150" fmla="*/ 5695 w 10000"/>
                <a:gd name="connsiteY150" fmla="*/ 6044 h 9638"/>
                <a:gd name="connsiteX151" fmla="*/ 5998 w 10000"/>
                <a:gd name="connsiteY151" fmla="*/ 5945 h 9638"/>
                <a:gd name="connsiteX152" fmla="*/ 6056 w 10000"/>
                <a:gd name="connsiteY152" fmla="*/ 5880 h 9638"/>
                <a:gd name="connsiteX153" fmla="*/ 6060 w 10000"/>
                <a:gd name="connsiteY153" fmla="*/ 5796 h 9638"/>
                <a:gd name="connsiteX154" fmla="*/ 5921 w 10000"/>
                <a:gd name="connsiteY154" fmla="*/ 5782 h 9638"/>
                <a:gd name="connsiteX155" fmla="*/ 5983 w 10000"/>
                <a:gd name="connsiteY155" fmla="*/ 5731 h 9638"/>
                <a:gd name="connsiteX156" fmla="*/ 6002 w 10000"/>
                <a:gd name="connsiteY156" fmla="*/ 5666 h 9638"/>
                <a:gd name="connsiteX157" fmla="*/ 5944 w 10000"/>
                <a:gd name="connsiteY157" fmla="*/ 5605 h 9638"/>
                <a:gd name="connsiteX158" fmla="*/ 5911 w 10000"/>
                <a:gd name="connsiteY158" fmla="*/ 5159 h 9638"/>
                <a:gd name="connsiteX159" fmla="*/ 5993 w 10000"/>
                <a:gd name="connsiteY159" fmla="*/ 5063 h 9638"/>
                <a:gd name="connsiteX160" fmla="*/ 5972 w 10000"/>
                <a:gd name="connsiteY160" fmla="*/ 5024 h 9638"/>
                <a:gd name="connsiteX161" fmla="*/ 6212 w 10000"/>
                <a:gd name="connsiteY161" fmla="*/ 5081 h 9638"/>
                <a:gd name="connsiteX162" fmla="*/ 6229 w 10000"/>
                <a:gd name="connsiteY162" fmla="*/ 5028 h 9638"/>
                <a:gd name="connsiteX163" fmla="*/ 6176 w 10000"/>
                <a:gd name="connsiteY163" fmla="*/ 4890 h 9638"/>
                <a:gd name="connsiteX164" fmla="*/ 6349 w 10000"/>
                <a:gd name="connsiteY164" fmla="*/ 4644 h 9638"/>
                <a:gd name="connsiteX165" fmla="*/ 6243 w 10000"/>
                <a:gd name="connsiteY165" fmla="*/ 4585 h 9638"/>
                <a:gd name="connsiteX166" fmla="*/ 6202 w 10000"/>
                <a:gd name="connsiteY166" fmla="*/ 4530 h 9638"/>
                <a:gd name="connsiteX167" fmla="*/ 6216 w 10000"/>
                <a:gd name="connsiteY167" fmla="*/ 4440 h 9638"/>
                <a:gd name="connsiteX168" fmla="*/ 6470 w 10000"/>
                <a:gd name="connsiteY168" fmla="*/ 4500 h 9638"/>
                <a:gd name="connsiteX169" fmla="*/ 6478 w 10000"/>
                <a:gd name="connsiteY169" fmla="*/ 4483 h 9638"/>
                <a:gd name="connsiteX170" fmla="*/ 6548 w 10000"/>
                <a:gd name="connsiteY170" fmla="*/ 4467 h 9638"/>
                <a:gd name="connsiteX171" fmla="*/ 6646 w 10000"/>
                <a:gd name="connsiteY171" fmla="*/ 4409 h 9638"/>
                <a:gd name="connsiteX172" fmla="*/ 6662 w 10000"/>
                <a:gd name="connsiteY172" fmla="*/ 4393 h 9638"/>
                <a:gd name="connsiteX173" fmla="*/ 6641 w 10000"/>
                <a:gd name="connsiteY173" fmla="*/ 4372 h 9638"/>
                <a:gd name="connsiteX174" fmla="*/ 6693 w 10000"/>
                <a:gd name="connsiteY174" fmla="*/ 4271 h 9638"/>
                <a:gd name="connsiteX175" fmla="*/ 6631 w 10000"/>
                <a:gd name="connsiteY175" fmla="*/ 4205 h 9638"/>
                <a:gd name="connsiteX176" fmla="*/ 6641 w 10000"/>
                <a:gd name="connsiteY176" fmla="*/ 4152 h 9638"/>
                <a:gd name="connsiteX177" fmla="*/ 6676 w 10000"/>
                <a:gd name="connsiteY177" fmla="*/ 4214 h 9638"/>
                <a:gd name="connsiteX178" fmla="*/ 6815 w 10000"/>
                <a:gd name="connsiteY178" fmla="*/ 4260 h 9638"/>
                <a:gd name="connsiteX179" fmla="*/ 6872 w 10000"/>
                <a:gd name="connsiteY179" fmla="*/ 4254 h 9638"/>
                <a:gd name="connsiteX180" fmla="*/ 6963 w 10000"/>
                <a:gd name="connsiteY180" fmla="*/ 4193 h 9638"/>
                <a:gd name="connsiteX181" fmla="*/ 7062 w 10000"/>
                <a:gd name="connsiteY181" fmla="*/ 4218 h 9638"/>
                <a:gd name="connsiteX182" fmla="*/ 7088 w 10000"/>
                <a:gd name="connsiteY182" fmla="*/ 4169 h 9638"/>
                <a:gd name="connsiteX183" fmla="*/ 7154 w 10000"/>
                <a:gd name="connsiteY183" fmla="*/ 4136 h 9638"/>
                <a:gd name="connsiteX184" fmla="*/ 6974 w 10000"/>
                <a:gd name="connsiteY184" fmla="*/ 4101 h 9638"/>
                <a:gd name="connsiteX185" fmla="*/ 7102 w 10000"/>
                <a:gd name="connsiteY185" fmla="*/ 4108 h 9638"/>
                <a:gd name="connsiteX186" fmla="*/ 7234 w 10000"/>
                <a:gd name="connsiteY186" fmla="*/ 4071 h 9638"/>
                <a:gd name="connsiteX187" fmla="*/ 7229 w 10000"/>
                <a:gd name="connsiteY187" fmla="*/ 4045 h 9638"/>
                <a:gd name="connsiteX188" fmla="*/ 7353 w 10000"/>
                <a:gd name="connsiteY188" fmla="*/ 4021 h 9638"/>
                <a:gd name="connsiteX189" fmla="*/ 7364 w 10000"/>
                <a:gd name="connsiteY189" fmla="*/ 3960 h 9638"/>
                <a:gd name="connsiteX190" fmla="*/ 7461 w 10000"/>
                <a:gd name="connsiteY190" fmla="*/ 3948 h 9638"/>
                <a:gd name="connsiteX191" fmla="*/ 7469 w 10000"/>
                <a:gd name="connsiteY191" fmla="*/ 3876 h 9638"/>
                <a:gd name="connsiteX192" fmla="*/ 7572 w 10000"/>
                <a:gd name="connsiteY192" fmla="*/ 3868 h 9638"/>
                <a:gd name="connsiteX193" fmla="*/ 7730 w 10000"/>
                <a:gd name="connsiteY193" fmla="*/ 3883 h 9638"/>
                <a:gd name="connsiteX194" fmla="*/ 7904 w 10000"/>
                <a:gd name="connsiteY194" fmla="*/ 3825 h 9638"/>
                <a:gd name="connsiteX195" fmla="*/ 7966 w 10000"/>
                <a:gd name="connsiteY195" fmla="*/ 3760 h 9638"/>
                <a:gd name="connsiteX196" fmla="*/ 8181 w 10000"/>
                <a:gd name="connsiteY196" fmla="*/ 3693 h 9638"/>
                <a:gd name="connsiteX197" fmla="*/ 8288 w 10000"/>
                <a:gd name="connsiteY197" fmla="*/ 3734 h 9638"/>
                <a:gd name="connsiteX198" fmla="*/ 8452 w 10000"/>
                <a:gd name="connsiteY198" fmla="*/ 3689 h 9638"/>
                <a:gd name="connsiteX199" fmla="*/ 8491 w 10000"/>
                <a:gd name="connsiteY199" fmla="*/ 3631 h 9638"/>
                <a:gd name="connsiteX200" fmla="*/ 8616 w 10000"/>
                <a:gd name="connsiteY200" fmla="*/ 3592 h 9638"/>
                <a:gd name="connsiteX201" fmla="*/ 8722 w 10000"/>
                <a:gd name="connsiteY201" fmla="*/ 3609 h 9638"/>
                <a:gd name="connsiteX202" fmla="*/ 8789 w 10000"/>
                <a:gd name="connsiteY202" fmla="*/ 3580 h 9638"/>
                <a:gd name="connsiteX203" fmla="*/ 8973 w 10000"/>
                <a:gd name="connsiteY203" fmla="*/ 3539 h 9638"/>
                <a:gd name="connsiteX204" fmla="*/ 9049 w 10000"/>
                <a:gd name="connsiteY204" fmla="*/ 3486 h 9638"/>
                <a:gd name="connsiteX205" fmla="*/ 9153 w 10000"/>
                <a:gd name="connsiteY205" fmla="*/ 3464 h 9638"/>
                <a:gd name="connsiteX206" fmla="*/ 9720 w 10000"/>
                <a:gd name="connsiteY206" fmla="*/ 3143 h 9638"/>
                <a:gd name="connsiteX207" fmla="*/ 9971 w 10000"/>
                <a:gd name="connsiteY207" fmla="*/ 2 h 9638"/>
                <a:gd name="connsiteX208" fmla="*/ 7537 w 10000"/>
                <a:gd name="connsiteY208" fmla="*/ 0 h 9638"/>
                <a:gd name="connsiteX209" fmla="*/ 7423 w 10000"/>
                <a:gd name="connsiteY209" fmla="*/ 8 h 9638"/>
                <a:gd name="connsiteX210" fmla="*/ 7359 w 10000"/>
                <a:gd name="connsiteY210" fmla="*/ 27 h 9638"/>
                <a:gd name="connsiteX211" fmla="*/ 7290 w 10000"/>
                <a:gd name="connsiteY211" fmla="*/ 75 h 9638"/>
                <a:gd name="connsiteX212" fmla="*/ 7302 w 10000"/>
                <a:gd name="connsiteY212" fmla="*/ 194 h 9638"/>
                <a:gd name="connsiteX213" fmla="*/ 7199 w 10000"/>
                <a:gd name="connsiteY213" fmla="*/ 349 h 9638"/>
                <a:gd name="connsiteX214" fmla="*/ 7072 w 10000"/>
                <a:gd name="connsiteY214" fmla="*/ 429 h 9638"/>
                <a:gd name="connsiteX215" fmla="*/ 7021 w 10000"/>
                <a:gd name="connsiteY215" fmla="*/ 419 h 9638"/>
                <a:gd name="connsiteX216" fmla="*/ 6903 w 10000"/>
                <a:gd name="connsiteY216" fmla="*/ 353 h 9638"/>
                <a:gd name="connsiteX217" fmla="*/ 6756 w 10000"/>
                <a:gd name="connsiteY217" fmla="*/ 319 h 9638"/>
                <a:gd name="connsiteX218" fmla="*/ 6594 w 10000"/>
                <a:gd name="connsiteY218" fmla="*/ 329 h 9638"/>
                <a:gd name="connsiteX219" fmla="*/ 6223 w 10000"/>
                <a:gd name="connsiteY219" fmla="*/ 480 h 9638"/>
                <a:gd name="connsiteX220" fmla="*/ 6125 w 10000"/>
                <a:gd name="connsiteY220" fmla="*/ 632 h 9638"/>
                <a:gd name="connsiteX221" fmla="*/ 5845 w 10000"/>
                <a:gd name="connsiteY221" fmla="*/ 768 h 9638"/>
                <a:gd name="connsiteX222" fmla="*/ 5794 w 10000"/>
                <a:gd name="connsiteY222" fmla="*/ 837 h 9638"/>
                <a:gd name="connsiteX223" fmla="*/ 5940 w 10000"/>
                <a:gd name="connsiteY223" fmla="*/ 959 h 9638"/>
                <a:gd name="connsiteX224" fmla="*/ 5956 w 10000"/>
                <a:gd name="connsiteY224" fmla="*/ 1028 h 9638"/>
                <a:gd name="connsiteX225" fmla="*/ 5190 w 10000"/>
                <a:gd name="connsiteY225" fmla="*/ 1430 h 9638"/>
                <a:gd name="connsiteX226" fmla="*/ 4955 w 10000"/>
                <a:gd name="connsiteY226" fmla="*/ 1687 h 9638"/>
                <a:gd name="connsiteX227" fmla="*/ 4702 w 10000"/>
                <a:gd name="connsiteY227" fmla="*/ 1752 h 9638"/>
                <a:gd name="connsiteX228" fmla="*/ 4540 w 10000"/>
                <a:gd name="connsiteY228" fmla="*/ 1748 h 9638"/>
                <a:gd name="connsiteX229" fmla="*/ 4443 w 10000"/>
                <a:gd name="connsiteY229" fmla="*/ 1771 h 9638"/>
                <a:gd name="connsiteX230" fmla="*/ 4178 w 10000"/>
                <a:gd name="connsiteY230" fmla="*/ 2412 h 9638"/>
                <a:gd name="connsiteX231" fmla="*/ 3565 w 10000"/>
                <a:gd name="connsiteY231" fmla="*/ 2786 h 9638"/>
                <a:gd name="connsiteX232" fmla="*/ 3569 w 10000"/>
                <a:gd name="connsiteY232" fmla="*/ 2845 h 9638"/>
                <a:gd name="connsiteX233" fmla="*/ 3841 w 10000"/>
                <a:gd name="connsiteY233" fmla="*/ 3013 h 9638"/>
                <a:gd name="connsiteX234" fmla="*/ 3753 w 10000"/>
                <a:gd name="connsiteY234" fmla="*/ 3194 h 9638"/>
                <a:gd name="connsiteX235" fmla="*/ 3594 w 10000"/>
                <a:gd name="connsiteY235" fmla="*/ 3261 h 9638"/>
                <a:gd name="connsiteX236" fmla="*/ 3118 w 10000"/>
                <a:gd name="connsiteY236" fmla="*/ 3216 h 9638"/>
                <a:gd name="connsiteX237" fmla="*/ 2791 w 10000"/>
                <a:gd name="connsiteY237" fmla="*/ 3241 h 9638"/>
                <a:gd name="connsiteX238" fmla="*/ 2528 w 10000"/>
                <a:gd name="connsiteY238" fmla="*/ 3295 h 9638"/>
                <a:gd name="connsiteX239" fmla="*/ 2102 w 10000"/>
                <a:gd name="connsiteY239" fmla="*/ 3462 h 9638"/>
                <a:gd name="connsiteX240" fmla="*/ 1877 w 10000"/>
                <a:gd name="connsiteY240" fmla="*/ 3664 h 9638"/>
                <a:gd name="connsiteX241" fmla="*/ 1896 w 10000"/>
                <a:gd name="connsiteY241" fmla="*/ 3777 h 9638"/>
                <a:gd name="connsiteX242" fmla="*/ 1975 w 10000"/>
                <a:gd name="connsiteY242" fmla="*/ 3864 h 9638"/>
                <a:gd name="connsiteX243" fmla="*/ 2034 w 10000"/>
                <a:gd name="connsiteY243" fmla="*/ 3899 h 9638"/>
                <a:gd name="connsiteX244" fmla="*/ 1924 w 10000"/>
                <a:gd name="connsiteY244" fmla="*/ 3954 h 9638"/>
                <a:gd name="connsiteX245" fmla="*/ 1683 w 10000"/>
                <a:gd name="connsiteY245" fmla="*/ 4334 h 9638"/>
                <a:gd name="connsiteX246" fmla="*/ 1729 w 10000"/>
                <a:gd name="connsiteY246" fmla="*/ 4356 h 9638"/>
                <a:gd name="connsiteX247" fmla="*/ 1764 w 10000"/>
                <a:gd name="connsiteY247" fmla="*/ 4453 h 9638"/>
                <a:gd name="connsiteX248" fmla="*/ 1652 w 10000"/>
                <a:gd name="connsiteY248" fmla="*/ 4853 h 9638"/>
                <a:gd name="connsiteX249" fmla="*/ 1764 w 10000"/>
                <a:gd name="connsiteY249" fmla="*/ 4955 h 9638"/>
                <a:gd name="connsiteX250" fmla="*/ 2071 w 10000"/>
                <a:gd name="connsiteY250" fmla="*/ 5067 h 9638"/>
                <a:gd name="connsiteX251" fmla="*/ 2085 w 10000"/>
                <a:gd name="connsiteY251" fmla="*/ 5204 h 9638"/>
                <a:gd name="connsiteX252" fmla="*/ 1954 w 10000"/>
                <a:gd name="connsiteY252" fmla="*/ 5317 h 9638"/>
                <a:gd name="connsiteX253" fmla="*/ 1764 w 10000"/>
                <a:gd name="connsiteY253" fmla="*/ 5386 h 9638"/>
                <a:gd name="connsiteX254" fmla="*/ 1513 w 10000"/>
                <a:gd name="connsiteY254" fmla="*/ 5414 h 9638"/>
                <a:gd name="connsiteX255" fmla="*/ 1448 w 10000"/>
                <a:gd name="connsiteY255" fmla="*/ 5453 h 9638"/>
                <a:gd name="connsiteX256" fmla="*/ 1594 w 10000"/>
                <a:gd name="connsiteY256" fmla="*/ 5547 h 9638"/>
                <a:gd name="connsiteX257" fmla="*/ 1678 w 10000"/>
                <a:gd name="connsiteY257" fmla="*/ 5770 h 9638"/>
                <a:gd name="connsiteX258" fmla="*/ 1488 w 10000"/>
                <a:gd name="connsiteY258" fmla="*/ 5961 h 9638"/>
                <a:gd name="connsiteX259" fmla="*/ 1554 w 10000"/>
                <a:gd name="connsiteY259" fmla="*/ 6021 h 9638"/>
                <a:gd name="connsiteX260" fmla="*/ 1494 w 10000"/>
                <a:gd name="connsiteY260" fmla="*/ 6121 h 9638"/>
                <a:gd name="connsiteX261" fmla="*/ 1372 w 10000"/>
                <a:gd name="connsiteY261" fmla="*/ 6190 h 9638"/>
                <a:gd name="connsiteX262" fmla="*/ 889 w 10000"/>
                <a:gd name="connsiteY262" fmla="*/ 6243 h 9638"/>
                <a:gd name="connsiteX263" fmla="*/ 860 w 10000"/>
                <a:gd name="connsiteY263" fmla="*/ 6335 h 9638"/>
                <a:gd name="connsiteX264" fmla="*/ 600 w 10000"/>
                <a:gd name="connsiteY264" fmla="*/ 6473 h 9638"/>
                <a:gd name="connsiteX265" fmla="*/ 634 w 10000"/>
                <a:gd name="connsiteY265" fmla="*/ 6670 h 9638"/>
                <a:gd name="connsiteX266" fmla="*/ 415 w 10000"/>
                <a:gd name="connsiteY266" fmla="*/ 6924 h 9638"/>
                <a:gd name="connsiteX267" fmla="*/ 266 w 10000"/>
                <a:gd name="connsiteY267" fmla="*/ 6954 h 9638"/>
                <a:gd name="connsiteX268" fmla="*/ 204 w 10000"/>
                <a:gd name="connsiteY268" fmla="*/ 6893 h 9638"/>
                <a:gd name="connsiteX269" fmla="*/ 128 w 10000"/>
                <a:gd name="connsiteY269" fmla="*/ 6985 h 9638"/>
                <a:gd name="connsiteX270" fmla="*/ 178 w 10000"/>
                <a:gd name="connsiteY270" fmla="*/ 6828 h 9638"/>
                <a:gd name="connsiteX271" fmla="*/ 147 w 10000"/>
                <a:gd name="connsiteY271" fmla="*/ 6797 h 9638"/>
                <a:gd name="connsiteX0" fmla="*/ 147 w 9720"/>
                <a:gd name="connsiteY0" fmla="*/ 7052 h 10000"/>
                <a:gd name="connsiteX1" fmla="*/ 0 w 9720"/>
                <a:gd name="connsiteY1" fmla="*/ 7137 h 10000"/>
                <a:gd name="connsiteX2" fmla="*/ 0 w 9720"/>
                <a:gd name="connsiteY2" fmla="*/ 7557 h 10000"/>
                <a:gd name="connsiteX3" fmla="*/ 81 w 9720"/>
                <a:gd name="connsiteY3" fmla="*/ 7569 h 10000"/>
                <a:gd name="connsiteX4" fmla="*/ 100 w 9720"/>
                <a:gd name="connsiteY4" fmla="*/ 7601 h 10000"/>
                <a:gd name="connsiteX5" fmla="*/ 96 w 9720"/>
                <a:gd name="connsiteY5" fmla="*/ 7658 h 10000"/>
                <a:gd name="connsiteX6" fmla="*/ 66 w 9720"/>
                <a:gd name="connsiteY6" fmla="*/ 7683 h 10000"/>
                <a:gd name="connsiteX7" fmla="*/ 190 w 9720"/>
                <a:gd name="connsiteY7" fmla="*/ 7635 h 10000"/>
                <a:gd name="connsiteX8" fmla="*/ 242 w 9720"/>
                <a:gd name="connsiteY8" fmla="*/ 7587 h 10000"/>
                <a:gd name="connsiteX9" fmla="*/ 306 w 9720"/>
                <a:gd name="connsiteY9" fmla="*/ 7620 h 10000"/>
                <a:gd name="connsiteX10" fmla="*/ 235 w 9720"/>
                <a:gd name="connsiteY10" fmla="*/ 7688 h 10000"/>
                <a:gd name="connsiteX11" fmla="*/ 311 w 9720"/>
                <a:gd name="connsiteY11" fmla="*/ 7690 h 10000"/>
                <a:gd name="connsiteX12" fmla="*/ 348 w 9720"/>
                <a:gd name="connsiteY12" fmla="*/ 7707 h 10000"/>
                <a:gd name="connsiteX13" fmla="*/ 250 w 9720"/>
                <a:gd name="connsiteY13" fmla="*/ 7730 h 10000"/>
                <a:gd name="connsiteX14" fmla="*/ 96 w 9720"/>
                <a:gd name="connsiteY14" fmla="*/ 7800 h 10000"/>
                <a:gd name="connsiteX15" fmla="*/ 370 w 9720"/>
                <a:gd name="connsiteY15" fmla="*/ 7855 h 10000"/>
                <a:gd name="connsiteX16" fmla="*/ 404 w 9720"/>
                <a:gd name="connsiteY16" fmla="*/ 7934 h 10000"/>
                <a:gd name="connsiteX17" fmla="*/ 311 w 9720"/>
                <a:gd name="connsiteY17" fmla="*/ 8050 h 10000"/>
                <a:gd name="connsiteX18" fmla="*/ 511 w 9720"/>
                <a:gd name="connsiteY18" fmla="*/ 8042 h 10000"/>
                <a:gd name="connsiteX19" fmla="*/ 526 w 9720"/>
                <a:gd name="connsiteY19" fmla="*/ 8130 h 10000"/>
                <a:gd name="connsiteX20" fmla="*/ 393 w 9720"/>
                <a:gd name="connsiteY20" fmla="*/ 8189 h 10000"/>
                <a:gd name="connsiteX21" fmla="*/ 415 w 9720"/>
                <a:gd name="connsiteY21" fmla="*/ 8305 h 10000"/>
                <a:gd name="connsiteX22" fmla="*/ 364 w 9720"/>
                <a:gd name="connsiteY22" fmla="*/ 8394 h 10000"/>
                <a:gd name="connsiteX23" fmla="*/ 521 w 9720"/>
                <a:gd name="connsiteY23" fmla="*/ 8402 h 10000"/>
                <a:gd name="connsiteX24" fmla="*/ 676 w 9720"/>
                <a:gd name="connsiteY24" fmla="*/ 8744 h 10000"/>
                <a:gd name="connsiteX25" fmla="*/ 853 w 9720"/>
                <a:gd name="connsiteY25" fmla="*/ 8831 h 10000"/>
                <a:gd name="connsiteX26" fmla="*/ 931 w 9720"/>
                <a:gd name="connsiteY26" fmla="*/ 8923 h 10000"/>
                <a:gd name="connsiteX27" fmla="*/ 1125 w 9720"/>
                <a:gd name="connsiteY27" fmla="*/ 8990 h 10000"/>
                <a:gd name="connsiteX28" fmla="*/ 1249 w 9720"/>
                <a:gd name="connsiteY28" fmla="*/ 9077 h 10000"/>
                <a:gd name="connsiteX29" fmla="*/ 1233 w 9720"/>
                <a:gd name="connsiteY29" fmla="*/ 9138 h 10000"/>
                <a:gd name="connsiteX30" fmla="*/ 1110 w 9720"/>
                <a:gd name="connsiteY30" fmla="*/ 9161 h 10000"/>
                <a:gd name="connsiteX31" fmla="*/ 976 w 9720"/>
                <a:gd name="connsiteY31" fmla="*/ 9146 h 10000"/>
                <a:gd name="connsiteX32" fmla="*/ 935 w 9720"/>
                <a:gd name="connsiteY32" fmla="*/ 9172 h 10000"/>
                <a:gd name="connsiteX33" fmla="*/ 1037 w 9720"/>
                <a:gd name="connsiteY33" fmla="*/ 9305 h 10000"/>
                <a:gd name="connsiteX34" fmla="*/ 894 w 9720"/>
                <a:gd name="connsiteY34" fmla="*/ 9294 h 10000"/>
                <a:gd name="connsiteX35" fmla="*/ 773 w 9720"/>
                <a:gd name="connsiteY35" fmla="*/ 9262 h 10000"/>
                <a:gd name="connsiteX36" fmla="*/ 750 w 9720"/>
                <a:gd name="connsiteY36" fmla="*/ 9311 h 10000"/>
                <a:gd name="connsiteX37" fmla="*/ 1155 w 9720"/>
                <a:gd name="connsiteY37" fmla="*/ 9767 h 10000"/>
                <a:gd name="connsiteX38" fmla="*/ 1091 w 9720"/>
                <a:gd name="connsiteY38" fmla="*/ 9810 h 10000"/>
                <a:gd name="connsiteX39" fmla="*/ 1045 w 9720"/>
                <a:gd name="connsiteY39" fmla="*/ 9898 h 10000"/>
                <a:gd name="connsiteX40" fmla="*/ 987 w 9720"/>
                <a:gd name="connsiteY40" fmla="*/ 9905 h 10000"/>
                <a:gd name="connsiteX41" fmla="*/ 951 w 9720"/>
                <a:gd name="connsiteY41" fmla="*/ 9943 h 10000"/>
                <a:gd name="connsiteX42" fmla="*/ 1195 w 9720"/>
                <a:gd name="connsiteY42" fmla="*/ 9947 h 10000"/>
                <a:gd name="connsiteX43" fmla="*/ 1410 w 9720"/>
                <a:gd name="connsiteY43" fmla="*/ 9985 h 10000"/>
                <a:gd name="connsiteX44" fmla="*/ 1769 w 9720"/>
                <a:gd name="connsiteY44" fmla="*/ 9945 h 10000"/>
                <a:gd name="connsiteX45" fmla="*/ 2091 w 9720"/>
                <a:gd name="connsiteY45" fmla="*/ 9951 h 10000"/>
                <a:gd name="connsiteX46" fmla="*/ 2280 w 9720"/>
                <a:gd name="connsiteY46" fmla="*/ 10000 h 10000"/>
                <a:gd name="connsiteX47" fmla="*/ 2385 w 9720"/>
                <a:gd name="connsiteY47" fmla="*/ 9968 h 10000"/>
                <a:gd name="connsiteX48" fmla="*/ 2485 w 9720"/>
                <a:gd name="connsiteY48" fmla="*/ 9863 h 10000"/>
                <a:gd name="connsiteX49" fmla="*/ 2459 w 9720"/>
                <a:gd name="connsiteY49" fmla="*/ 9691 h 10000"/>
                <a:gd name="connsiteX50" fmla="*/ 2704 w 9720"/>
                <a:gd name="connsiteY50" fmla="*/ 9498 h 10000"/>
                <a:gd name="connsiteX51" fmla="*/ 2883 w 9720"/>
                <a:gd name="connsiteY51" fmla="*/ 9528 h 10000"/>
                <a:gd name="connsiteX52" fmla="*/ 2987 w 9720"/>
                <a:gd name="connsiteY52" fmla="*/ 9451 h 10000"/>
                <a:gd name="connsiteX53" fmla="*/ 3186 w 9720"/>
                <a:gd name="connsiteY53" fmla="*/ 9408 h 10000"/>
                <a:gd name="connsiteX54" fmla="*/ 3457 w 9720"/>
                <a:gd name="connsiteY54" fmla="*/ 9418 h 10000"/>
                <a:gd name="connsiteX55" fmla="*/ 3620 w 9720"/>
                <a:gd name="connsiteY55" fmla="*/ 9449 h 10000"/>
                <a:gd name="connsiteX56" fmla="*/ 3837 w 9720"/>
                <a:gd name="connsiteY56" fmla="*/ 9435 h 10000"/>
                <a:gd name="connsiteX57" fmla="*/ 4056 w 9720"/>
                <a:gd name="connsiteY57" fmla="*/ 9469 h 10000"/>
                <a:gd name="connsiteX58" fmla="*/ 4275 w 9720"/>
                <a:gd name="connsiteY58" fmla="*/ 9473 h 10000"/>
                <a:gd name="connsiteX59" fmla="*/ 4765 w 9720"/>
                <a:gd name="connsiteY59" fmla="*/ 9024 h 10000"/>
                <a:gd name="connsiteX60" fmla="*/ 4889 w 9720"/>
                <a:gd name="connsiteY60" fmla="*/ 8659 h 10000"/>
                <a:gd name="connsiteX61" fmla="*/ 5088 w 9720"/>
                <a:gd name="connsiteY61" fmla="*/ 8496 h 10000"/>
                <a:gd name="connsiteX62" fmla="*/ 5088 w 9720"/>
                <a:gd name="connsiteY62" fmla="*/ 8410 h 10000"/>
                <a:gd name="connsiteX63" fmla="*/ 5016 w 9720"/>
                <a:gd name="connsiteY63" fmla="*/ 8362 h 10000"/>
                <a:gd name="connsiteX64" fmla="*/ 5133 w 9720"/>
                <a:gd name="connsiteY64" fmla="*/ 8286 h 10000"/>
                <a:gd name="connsiteX65" fmla="*/ 5112 w 9720"/>
                <a:gd name="connsiteY65" fmla="*/ 8221 h 10000"/>
                <a:gd name="connsiteX66" fmla="*/ 5032 w 9720"/>
                <a:gd name="connsiteY66" fmla="*/ 8165 h 10000"/>
                <a:gd name="connsiteX67" fmla="*/ 5016 w 9720"/>
                <a:gd name="connsiteY67" fmla="*/ 8126 h 10000"/>
                <a:gd name="connsiteX68" fmla="*/ 5036 w 9720"/>
                <a:gd name="connsiteY68" fmla="*/ 8095 h 10000"/>
                <a:gd name="connsiteX69" fmla="*/ 5144 w 9720"/>
                <a:gd name="connsiteY69" fmla="*/ 8120 h 10000"/>
                <a:gd name="connsiteX70" fmla="*/ 5230 w 9720"/>
                <a:gd name="connsiteY70" fmla="*/ 8118 h 10000"/>
                <a:gd name="connsiteX71" fmla="*/ 5184 w 9720"/>
                <a:gd name="connsiteY71" fmla="*/ 8065 h 10000"/>
                <a:gd name="connsiteX72" fmla="*/ 5198 w 9720"/>
                <a:gd name="connsiteY72" fmla="*/ 8036 h 10000"/>
                <a:gd name="connsiteX73" fmla="*/ 5262 w 9720"/>
                <a:gd name="connsiteY73" fmla="*/ 7991 h 10000"/>
                <a:gd name="connsiteX74" fmla="*/ 5250 w 9720"/>
                <a:gd name="connsiteY74" fmla="*/ 7955 h 10000"/>
                <a:gd name="connsiteX75" fmla="*/ 5309 w 9720"/>
                <a:gd name="connsiteY75" fmla="*/ 7833 h 10000"/>
                <a:gd name="connsiteX76" fmla="*/ 5293 w 9720"/>
                <a:gd name="connsiteY76" fmla="*/ 7795 h 10000"/>
                <a:gd name="connsiteX77" fmla="*/ 4996 w 9720"/>
                <a:gd name="connsiteY77" fmla="*/ 7703 h 10000"/>
                <a:gd name="connsiteX78" fmla="*/ 5036 w 9720"/>
                <a:gd name="connsiteY78" fmla="*/ 7699 h 10000"/>
                <a:gd name="connsiteX79" fmla="*/ 5194 w 9720"/>
                <a:gd name="connsiteY79" fmla="*/ 7724 h 10000"/>
                <a:gd name="connsiteX80" fmla="*/ 5365 w 9720"/>
                <a:gd name="connsiteY80" fmla="*/ 7715 h 10000"/>
                <a:gd name="connsiteX81" fmla="*/ 5415 w 9720"/>
                <a:gd name="connsiteY81" fmla="*/ 7681 h 10000"/>
                <a:gd name="connsiteX82" fmla="*/ 5250 w 9720"/>
                <a:gd name="connsiteY82" fmla="*/ 7618 h 10000"/>
                <a:gd name="connsiteX83" fmla="*/ 4761 w 9720"/>
                <a:gd name="connsiteY83" fmla="*/ 7576 h 10000"/>
                <a:gd name="connsiteX84" fmla="*/ 4794 w 9720"/>
                <a:gd name="connsiteY84" fmla="*/ 7557 h 10000"/>
                <a:gd name="connsiteX85" fmla="*/ 5194 w 9720"/>
                <a:gd name="connsiteY85" fmla="*/ 7544 h 10000"/>
                <a:gd name="connsiteX86" fmla="*/ 5415 w 9720"/>
                <a:gd name="connsiteY86" fmla="*/ 7582 h 10000"/>
                <a:gd name="connsiteX87" fmla="*/ 5542 w 9720"/>
                <a:gd name="connsiteY87" fmla="*/ 7557 h 10000"/>
                <a:gd name="connsiteX88" fmla="*/ 5589 w 9720"/>
                <a:gd name="connsiteY88" fmla="*/ 7491 h 10000"/>
                <a:gd name="connsiteX89" fmla="*/ 5819 w 9720"/>
                <a:gd name="connsiteY89" fmla="*/ 7491 h 10000"/>
                <a:gd name="connsiteX90" fmla="*/ 6131 w 9720"/>
                <a:gd name="connsiteY90" fmla="*/ 7359 h 10000"/>
                <a:gd name="connsiteX91" fmla="*/ 6142 w 9720"/>
                <a:gd name="connsiteY91" fmla="*/ 7272 h 10000"/>
                <a:gd name="connsiteX92" fmla="*/ 6274 w 9720"/>
                <a:gd name="connsiteY92" fmla="*/ 7292 h 10000"/>
                <a:gd name="connsiteX93" fmla="*/ 6268 w 9720"/>
                <a:gd name="connsiteY93" fmla="*/ 7380 h 10000"/>
                <a:gd name="connsiteX94" fmla="*/ 6478 w 9720"/>
                <a:gd name="connsiteY94" fmla="*/ 7374 h 10000"/>
                <a:gd name="connsiteX95" fmla="*/ 6616 w 9720"/>
                <a:gd name="connsiteY95" fmla="*/ 7283 h 10000"/>
                <a:gd name="connsiteX96" fmla="*/ 6872 w 9720"/>
                <a:gd name="connsiteY96" fmla="*/ 7201 h 10000"/>
                <a:gd name="connsiteX97" fmla="*/ 6832 w 9720"/>
                <a:gd name="connsiteY97" fmla="*/ 7107 h 10000"/>
                <a:gd name="connsiteX98" fmla="*/ 6908 w 9720"/>
                <a:gd name="connsiteY98" fmla="*/ 7144 h 10000"/>
                <a:gd name="connsiteX99" fmla="*/ 7025 w 9720"/>
                <a:gd name="connsiteY99" fmla="*/ 7144 h 10000"/>
                <a:gd name="connsiteX100" fmla="*/ 7025 w 9720"/>
                <a:gd name="connsiteY100" fmla="*/ 7101 h 10000"/>
                <a:gd name="connsiteX101" fmla="*/ 7134 w 9720"/>
                <a:gd name="connsiteY101" fmla="*/ 7068 h 10000"/>
                <a:gd name="connsiteX102" fmla="*/ 7119 w 9720"/>
                <a:gd name="connsiteY102" fmla="*/ 7034 h 10000"/>
                <a:gd name="connsiteX103" fmla="*/ 6198 w 9720"/>
                <a:gd name="connsiteY103" fmla="*/ 7103 h 10000"/>
                <a:gd name="connsiteX104" fmla="*/ 5983 w 9720"/>
                <a:gd name="connsiteY104" fmla="*/ 7082 h 10000"/>
                <a:gd name="connsiteX105" fmla="*/ 5895 w 9720"/>
                <a:gd name="connsiteY105" fmla="*/ 7107 h 10000"/>
                <a:gd name="connsiteX106" fmla="*/ 5866 w 9720"/>
                <a:gd name="connsiteY106" fmla="*/ 7060 h 10000"/>
                <a:gd name="connsiteX107" fmla="*/ 5764 w 9720"/>
                <a:gd name="connsiteY107" fmla="*/ 7017 h 10000"/>
                <a:gd name="connsiteX108" fmla="*/ 5354 w 9720"/>
                <a:gd name="connsiteY108" fmla="*/ 6933 h 10000"/>
                <a:gd name="connsiteX109" fmla="*/ 5112 w 9720"/>
                <a:gd name="connsiteY109" fmla="*/ 6946 h 10000"/>
                <a:gd name="connsiteX110" fmla="*/ 5016 w 9720"/>
                <a:gd name="connsiteY110" fmla="*/ 6923 h 10000"/>
                <a:gd name="connsiteX111" fmla="*/ 5118 w 9720"/>
                <a:gd name="connsiteY111" fmla="*/ 6902 h 10000"/>
                <a:gd name="connsiteX112" fmla="*/ 5194 w 9720"/>
                <a:gd name="connsiteY112" fmla="*/ 6857 h 10000"/>
                <a:gd name="connsiteX113" fmla="*/ 5309 w 9720"/>
                <a:gd name="connsiteY113" fmla="*/ 6872 h 10000"/>
                <a:gd name="connsiteX114" fmla="*/ 5445 w 9720"/>
                <a:gd name="connsiteY114" fmla="*/ 6859 h 10000"/>
                <a:gd name="connsiteX115" fmla="*/ 5650 w 9720"/>
                <a:gd name="connsiteY115" fmla="*/ 6874 h 10000"/>
                <a:gd name="connsiteX116" fmla="*/ 5675 w 9720"/>
                <a:gd name="connsiteY116" fmla="*/ 6868 h 10000"/>
                <a:gd name="connsiteX117" fmla="*/ 5834 w 9720"/>
                <a:gd name="connsiteY117" fmla="*/ 6937 h 10000"/>
                <a:gd name="connsiteX118" fmla="*/ 5951 w 9720"/>
                <a:gd name="connsiteY118" fmla="*/ 6912 h 10000"/>
                <a:gd name="connsiteX119" fmla="*/ 5961 w 9720"/>
                <a:gd name="connsiteY119" fmla="*/ 6889 h 10000"/>
                <a:gd name="connsiteX120" fmla="*/ 6069 w 9720"/>
                <a:gd name="connsiteY120" fmla="*/ 6929 h 10000"/>
                <a:gd name="connsiteX121" fmla="*/ 6212 w 9720"/>
                <a:gd name="connsiteY121" fmla="*/ 6951 h 10000"/>
                <a:gd name="connsiteX122" fmla="*/ 6268 w 9720"/>
                <a:gd name="connsiteY122" fmla="*/ 6910 h 10000"/>
                <a:gd name="connsiteX123" fmla="*/ 6314 w 9720"/>
                <a:gd name="connsiteY123" fmla="*/ 6933 h 10000"/>
                <a:gd name="connsiteX124" fmla="*/ 6381 w 9720"/>
                <a:gd name="connsiteY124" fmla="*/ 7011 h 10000"/>
                <a:gd name="connsiteX125" fmla="*/ 6519 w 9720"/>
                <a:gd name="connsiteY125" fmla="*/ 7029 h 10000"/>
                <a:gd name="connsiteX126" fmla="*/ 7082 w 9720"/>
                <a:gd name="connsiteY126" fmla="*/ 6914 h 10000"/>
                <a:gd name="connsiteX127" fmla="*/ 7359 w 9720"/>
                <a:gd name="connsiteY127" fmla="*/ 6753 h 10000"/>
                <a:gd name="connsiteX128" fmla="*/ 7423 w 9720"/>
                <a:gd name="connsiteY128" fmla="*/ 6635 h 10000"/>
                <a:gd name="connsiteX129" fmla="*/ 7323 w 9720"/>
                <a:gd name="connsiteY129" fmla="*/ 6528 h 10000"/>
                <a:gd name="connsiteX130" fmla="*/ 7113 w 9720"/>
                <a:gd name="connsiteY130" fmla="*/ 6465 h 10000"/>
                <a:gd name="connsiteX131" fmla="*/ 6963 w 9720"/>
                <a:gd name="connsiteY131" fmla="*/ 6361 h 10000"/>
                <a:gd name="connsiteX132" fmla="*/ 7102 w 9720"/>
                <a:gd name="connsiteY132" fmla="*/ 6357 h 10000"/>
                <a:gd name="connsiteX133" fmla="*/ 7093 w 9720"/>
                <a:gd name="connsiteY133" fmla="*/ 6332 h 10000"/>
                <a:gd name="connsiteX134" fmla="*/ 6731 w 9720"/>
                <a:gd name="connsiteY134" fmla="*/ 6259 h 10000"/>
                <a:gd name="connsiteX135" fmla="*/ 6716 w 9720"/>
                <a:gd name="connsiteY135" fmla="*/ 6191 h 10000"/>
                <a:gd name="connsiteX136" fmla="*/ 6646 w 9720"/>
                <a:gd name="connsiteY136" fmla="*/ 6122 h 10000"/>
                <a:gd name="connsiteX137" fmla="*/ 6360 w 9720"/>
                <a:gd name="connsiteY137" fmla="*/ 6134 h 10000"/>
                <a:gd name="connsiteX138" fmla="*/ 6258 w 9720"/>
                <a:gd name="connsiteY138" fmla="*/ 6060 h 10000"/>
                <a:gd name="connsiteX139" fmla="*/ 6198 w 9720"/>
                <a:gd name="connsiteY139" fmla="*/ 6056 h 10000"/>
                <a:gd name="connsiteX140" fmla="*/ 6198 w 9720"/>
                <a:gd name="connsiteY140" fmla="*/ 6086 h 10000"/>
                <a:gd name="connsiteX141" fmla="*/ 6069 w 9720"/>
                <a:gd name="connsiteY141" fmla="*/ 6212 h 10000"/>
                <a:gd name="connsiteX142" fmla="*/ 5930 w 9720"/>
                <a:gd name="connsiteY142" fmla="*/ 6286 h 10000"/>
                <a:gd name="connsiteX143" fmla="*/ 5495 w 9720"/>
                <a:gd name="connsiteY143" fmla="*/ 6412 h 10000"/>
                <a:gd name="connsiteX144" fmla="*/ 5342 w 9720"/>
                <a:gd name="connsiteY144" fmla="*/ 6408 h 10000"/>
                <a:gd name="connsiteX145" fmla="*/ 5133 w 9720"/>
                <a:gd name="connsiteY145" fmla="*/ 6427 h 10000"/>
                <a:gd name="connsiteX146" fmla="*/ 5016 w 9720"/>
                <a:gd name="connsiteY146" fmla="*/ 6408 h 10000"/>
                <a:gd name="connsiteX147" fmla="*/ 5169 w 9720"/>
                <a:gd name="connsiteY147" fmla="*/ 6373 h 10000"/>
                <a:gd name="connsiteX148" fmla="*/ 5369 w 9720"/>
                <a:gd name="connsiteY148" fmla="*/ 6357 h 10000"/>
                <a:gd name="connsiteX149" fmla="*/ 5534 w 9720"/>
                <a:gd name="connsiteY149" fmla="*/ 6298 h 10000"/>
                <a:gd name="connsiteX150" fmla="*/ 5695 w 9720"/>
                <a:gd name="connsiteY150" fmla="*/ 6271 h 10000"/>
                <a:gd name="connsiteX151" fmla="*/ 5998 w 9720"/>
                <a:gd name="connsiteY151" fmla="*/ 6168 h 10000"/>
                <a:gd name="connsiteX152" fmla="*/ 6056 w 9720"/>
                <a:gd name="connsiteY152" fmla="*/ 6101 h 10000"/>
                <a:gd name="connsiteX153" fmla="*/ 6060 w 9720"/>
                <a:gd name="connsiteY153" fmla="*/ 6014 h 10000"/>
                <a:gd name="connsiteX154" fmla="*/ 5921 w 9720"/>
                <a:gd name="connsiteY154" fmla="*/ 5999 h 10000"/>
                <a:gd name="connsiteX155" fmla="*/ 5983 w 9720"/>
                <a:gd name="connsiteY155" fmla="*/ 5946 h 10000"/>
                <a:gd name="connsiteX156" fmla="*/ 6002 w 9720"/>
                <a:gd name="connsiteY156" fmla="*/ 5879 h 10000"/>
                <a:gd name="connsiteX157" fmla="*/ 5944 w 9720"/>
                <a:gd name="connsiteY157" fmla="*/ 5816 h 10000"/>
                <a:gd name="connsiteX158" fmla="*/ 5911 w 9720"/>
                <a:gd name="connsiteY158" fmla="*/ 5353 h 10000"/>
                <a:gd name="connsiteX159" fmla="*/ 5993 w 9720"/>
                <a:gd name="connsiteY159" fmla="*/ 5253 h 10000"/>
                <a:gd name="connsiteX160" fmla="*/ 5972 w 9720"/>
                <a:gd name="connsiteY160" fmla="*/ 5213 h 10000"/>
                <a:gd name="connsiteX161" fmla="*/ 6212 w 9720"/>
                <a:gd name="connsiteY161" fmla="*/ 5272 h 10000"/>
                <a:gd name="connsiteX162" fmla="*/ 6229 w 9720"/>
                <a:gd name="connsiteY162" fmla="*/ 5217 h 10000"/>
                <a:gd name="connsiteX163" fmla="*/ 6176 w 9720"/>
                <a:gd name="connsiteY163" fmla="*/ 5074 h 10000"/>
                <a:gd name="connsiteX164" fmla="*/ 6349 w 9720"/>
                <a:gd name="connsiteY164" fmla="*/ 4818 h 10000"/>
                <a:gd name="connsiteX165" fmla="*/ 6243 w 9720"/>
                <a:gd name="connsiteY165" fmla="*/ 4757 h 10000"/>
                <a:gd name="connsiteX166" fmla="*/ 6202 w 9720"/>
                <a:gd name="connsiteY166" fmla="*/ 4700 h 10000"/>
                <a:gd name="connsiteX167" fmla="*/ 6216 w 9720"/>
                <a:gd name="connsiteY167" fmla="*/ 4607 h 10000"/>
                <a:gd name="connsiteX168" fmla="*/ 6470 w 9720"/>
                <a:gd name="connsiteY168" fmla="*/ 4669 h 10000"/>
                <a:gd name="connsiteX169" fmla="*/ 6478 w 9720"/>
                <a:gd name="connsiteY169" fmla="*/ 4651 h 10000"/>
                <a:gd name="connsiteX170" fmla="*/ 6548 w 9720"/>
                <a:gd name="connsiteY170" fmla="*/ 4635 h 10000"/>
                <a:gd name="connsiteX171" fmla="*/ 6646 w 9720"/>
                <a:gd name="connsiteY171" fmla="*/ 4575 h 10000"/>
                <a:gd name="connsiteX172" fmla="*/ 6662 w 9720"/>
                <a:gd name="connsiteY172" fmla="*/ 4558 h 10000"/>
                <a:gd name="connsiteX173" fmla="*/ 6641 w 9720"/>
                <a:gd name="connsiteY173" fmla="*/ 4536 h 10000"/>
                <a:gd name="connsiteX174" fmla="*/ 6693 w 9720"/>
                <a:gd name="connsiteY174" fmla="*/ 4431 h 10000"/>
                <a:gd name="connsiteX175" fmla="*/ 6631 w 9720"/>
                <a:gd name="connsiteY175" fmla="*/ 4363 h 10000"/>
                <a:gd name="connsiteX176" fmla="*/ 6641 w 9720"/>
                <a:gd name="connsiteY176" fmla="*/ 4308 h 10000"/>
                <a:gd name="connsiteX177" fmla="*/ 6676 w 9720"/>
                <a:gd name="connsiteY177" fmla="*/ 4372 h 10000"/>
                <a:gd name="connsiteX178" fmla="*/ 6815 w 9720"/>
                <a:gd name="connsiteY178" fmla="*/ 4420 h 10000"/>
                <a:gd name="connsiteX179" fmla="*/ 6872 w 9720"/>
                <a:gd name="connsiteY179" fmla="*/ 4414 h 10000"/>
                <a:gd name="connsiteX180" fmla="*/ 6963 w 9720"/>
                <a:gd name="connsiteY180" fmla="*/ 4350 h 10000"/>
                <a:gd name="connsiteX181" fmla="*/ 7062 w 9720"/>
                <a:gd name="connsiteY181" fmla="*/ 4376 h 10000"/>
                <a:gd name="connsiteX182" fmla="*/ 7088 w 9720"/>
                <a:gd name="connsiteY182" fmla="*/ 4326 h 10000"/>
                <a:gd name="connsiteX183" fmla="*/ 7154 w 9720"/>
                <a:gd name="connsiteY183" fmla="*/ 4291 h 10000"/>
                <a:gd name="connsiteX184" fmla="*/ 6974 w 9720"/>
                <a:gd name="connsiteY184" fmla="*/ 4255 h 10000"/>
                <a:gd name="connsiteX185" fmla="*/ 7102 w 9720"/>
                <a:gd name="connsiteY185" fmla="*/ 4262 h 10000"/>
                <a:gd name="connsiteX186" fmla="*/ 7234 w 9720"/>
                <a:gd name="connsiteY186" fmla="*/ 4224 h 10000"/>
                <a:gd name="connsiteX187" fmla="*/ 7229 w 9720"/>
                <a:gd name="connsiteY187" fmla="*/ 4197 h 10000"/>
                <a:gd name="connsiteX188" fmla="*/ 7353 w 9720"/>
                <a:gd name="connsiteY188" fmla="*/ 4172 h 10000"/>
                <a:gd name="connsiteX189" fmla="*/ 7364 w 9720"/>
                <a:gd name="connsiteY189" fmla="*/ 4109 h 10000"/>
                <a:gd name="connsiteX190" fmla="*/ 7461 w 9720"/>
                <a:gd name="connsiteY190" fmla="*/ 4096 h 10000"/>
                <a:gd name="connsiteX191" fmla="*/ 7469 w 9720"/>
                <a:gd name="connsiteY191" fmla="*/ 4022 h 10000"/>
                <a:gd name="connsiteX192" fmla="*/ 7572 w 9720"/>
                <a:gd name="connsiteY192" fmla="*/ 4013 h 10000"/>
                <a:gd name="connsiteX193" fmla="*/ 7730 w 9720"/>
                <a:gd name="connsiteY193" fmla="*/ 4029 h 10000"/>
                <a:gd name="connsiteX194" fmla="*/ 7904 w 9720"/>
                <a:gd name="connsiteY194" fmla="*/ 3969 h 10000"/>
                <a:gd name="connsiteX195" fmla="*/ 7966 w 9720"/>
                <a:gd name="connsiteY195" fmla="*/ 3901 h 10000"/>
                <a:gd name="connsiteX196" fmla="*/ 8181 w 9720"/>
                <a:gd name="connsiteY196" fmla="*/ 3832 h 10000"/>
                <a:gd name="connsiteX197" fmla="*/ 8288 w 9720"/>
                <a:gd name="connsiteY197" fmla="*/ 3874 h 10000"/>
                <a:gd name="connsiteX198" fmla="*/ 8452 w 9720"/>
                <a:gd name="connsiteY198" fmla="*/ 3828 h 10000"/>
                <a:gd name="connsiteX199" fmla="*/ 8491 w 9720"/>
                <a:gd name="connsiteY199" fmla="*/ 3767 h 10000"/>
                <a:gd name="connsiteX200" fmla="*/ 8616 w 9720"/>
                <a:gd name="connsiteY200" fmla="*/ 3727 h 10000"/>
                <a:gd name="connsiteX201" fmla="*/ 8722 w 9720"/>
                <a:gd name="connsiteY201" fmla="*/ 3745 h 10000"/>
                <a:gd name="connsiteX202" fmla="*/ 8789 w 9720"/>
                <a:gd name="connsiteY202" fmla="*/ 3714 h 10000"/>
                <a:gd name="connsiteX203" fmla="*/ 8973 w 9720"/>
                <a:gd name="connsiteY203" fmla="*/ 3672 h 10000"/>
                <a:gd name="connsiteX204" fmla="*/ 9049 w 9720"/>
                <a:gd name="connsiteY204" fmla="*/ 3617 h 10000"/>
                <a:gd name="connsiteX205" fmla="*/ 9153 w 9720"/>
                <a:gd name="connsiteY205" fmla="*/ 3594 h 10000"/>
                <a:gd name="connsiteX206" fmla="*/ 9720 w 9720"/>
                <a:gd name="connsiteY206" fmla="*/ 3261 h 10000"/>
                <a:gd name="connsiteX207" fmla="*/ 7537 w 9720"/>
                <a:gd name="connsiteY207" fmla="*/ 0 h 10000"/>
                <a:gd name="connsiteX208" fmla="*/ 7423 w 9720"/>
                <a:gd name="connsiteY208" fmla="*/ 8 h 10000"/>
                <a:gd name="connsiteX209" fmla="*/ 7359 w 9720"/>
                <a:gd name="connsiteY209" fmla="*/ 28 h 10000"/>
                <a:gd name="connsiteX210" fmla="*/ 7290 w 9720"/>
                <a:gd name="connsiteY210" fmla="*/ 78 h 10000"/>
                <a:gd name="connsiteX211" fmla="*/ 7302 w 9720"/>
                <a:gd name="connsiteY211" fmla="*/ 201 h 10000"/>
                <a:gd name="connsiteX212" fmla="*/ 7199 w 9720"/>
                <a:gd name="connsiteY212" fmla="*/ 362 h 10000"/>
                <a:gd name="connsiteX213" fmla="*/ 7072 w 9720"/>
                <a:gd name="connsiteY213" fmla="*/ 445 h 10000"/>
                <a:gd name="connsiteX214" fmla="*/ 7021 w 9720"/>
                <a:gd name="connsiteY214" fmla="*/ 435 h 10000"/>
                <a:gd name="connsiteX215" fmla="*/ 6903 w 9720"/>
                <a:gd name="connsiteY215" fmla="*/ 366 h 10000"/>
                <a:gd name="connsiteX216" fmla="*/ 6756 w 9720"/>
                <a:gd name="connsiteY216" fmla="*/ 331 h 10000"/>
                <a:gd name="connsiteX217" fmla="*/ 6594 w 9720"/>
                <a:gd name="connsiteY217" fmla="*/ 341 h 10000"/>
                <a:gd name="connsiteX218" fmla="*/ 6223 w 9720"/>
                <a:gd name="connsiteY218" fmla="*/ 498 h 10000"/>
                <a:gd name="connsiteX219" fmla="*/ 6125 w 9720"/>
                <a:gd name="connsiteY219" fmla="*/ 656 h 10000"/>
                <a:gd name="connsiteX220" fmla="*/ 5845 w 9720"/>
                <a:gd name="connsiteY220" fmla="*/ 797 h 10000"/>
                <a:gd name="connsiteX221" fmla="*/ 5794 w 9720"/>
                <a:gd name="connsiteY221" fmla="*/ 868 h 10000"/>
                <a:gd name="connsiteX222" fmla="*/ 5940 w 9720"/>
                <a:gd name="connsiteY222" fmla="*/ 995 h 10000"/>
                <a:gd name="connsiteX223" fmla="*/ 5956 w 9720"/>
                <a:gd name="connsiteY223" fmla="*/ 1067 h 10000"/>
                <a:gd name="connsiteX224" fmla="*/ 5190 w 9720"/>
                <a:gd name="connsiteY224" fmla="*/ 1484 h 10000"/>
                <a:gd name="connsiteX225" fmla="*/ 4955 w 9720"/>
                <a:gd name="connsiteY225" fmla="*/ 1750 h 10000"/>
                <a:gd name="connsiteX226" fmla="*/ 4702 w 9720"/>
                <a:gd name="connsiteY226" fmla="*/ 1818 h 10000"/>
                <a:gd name="connsiteX227" fmla="*/ 4540 w 9720"/>
                <a:gd name="connsiteY227" fmla="*/ 1814 h 10000"/>
                <a:gd name="connsiteX228" fmla="*/ 4443 w 9720"/>
                <a:gd name="connsiteY228" fmla="*/ 1838 h 10000"/>
                <a:gd name="connsiteX229" fmla="*/ 4178 w 9720"/>
                <a:gd name="connsiteY229" fmla="*/ 2503 h 10000"/>
                <a:gd name="connsiteX230" fmla="*/ 3565 w 9720"/>
                <a:gd name="connsiteY230" fmla="*/ 2891 h 10000"/>
                <a:gd name="connsiteX231" fmla="*/ 3569 w 9720"/>
                <a:gd name="connsiteY231" fmla="*/ 2952 h 10000"/>
                <a:gd name="connsiteX232" fmla="*/ 3841 w 9720"/>
                <a:gd name="connsiteY232" fmla="*/ 3126 h 10000"/>
                <a:gd name="connsiteX233" fmla="*/ 3753 w 9720"/>
                <a:gd name="connsiteY233" fmla="*/ 3314 h 10000"/>
                <a:gd name="connsiteX234" fmla="*/ 3594 w 9720"/>
                <a:gd name="connsiteY234" fmla="*/ 3383 h 10000"/>
                <a:gd name="connsiteX235" fmla="*/ 3118 w 9720"/>
                <a:gd name="connsiteY235" fmla="*/ 3337 h 10000"/>
                <a:gd name="connsiteX236" fmla="*/ 2791 w 9720"/>
                <a:gd name="connsiteY236" fmla="*/ 3363 h 10000"/>
                <a:gd name="connsiteX237" fmla="*/ 2528 w 9720"/>
                <a:gd name="connsiteY237" fmla="*/ 3419 h 10000"/>
                <a:gd name="connsiteX238" fmla="*/ 2102 w 9720"/>
                <a:gd name="connsiteY238" fmla="*/ 3592 h 10000"/>
                <a:gd name="connsiteX239" fmla="*/ 1877 w 9720"/>
                <a:gd name="connsiteY239" fmla="*/ 3802 h 10000"/>
                <a:gd name="connsiteX240" fmla="*/ 1896 w 9720"/>
                <a:gd name="connsiteY240" fmla="*/ 3919 h 10000"/>
                <a:gd name="connsiteX241" fmla="*/ 1975 w 9720"/>
                <a:gd name="connsiteY241" fmla="*/ 4009 h 10000"/>
                <a:gd name="connsiteX242" fmla="*/ 2034 w 9720"/>
                <a:gd name="connsiteY242" fmla="*/ 4045 h 10000"/>
                <a:gd name="connsiteX243" fmla="*/ 1924 w 9720"/>
                <a:gd name="connsiteY243" fmla="*/ 4103 h 10000"/>
                <a:gd name="connsiteX244" fmla="*/ 1683 w 9720"/>
                <a:gd name="connsiteY244" fmla="*/ 4497 h 10000"/>
                <a:gd name="connsiteX245" fmla="*/ 1729 w 9720"/>
                <a:gd name="connsiteY245" fmla="*/ 4520 h 10000"/>
                <a:gd name="connsiteX246" fmla="*/ 1764 w 9720"/>
                <a:gd name="connsiteY246" fmla="*/ 4620 h 10000"/>
                <a:gd name="connsiteX247" fmla="*/ 1652 w 9720"/>
                <a:gd name="connsiteY247" fmla="*/ 5035 h 10000"/>
                <a:gd name="connsiteX248" fmla="*/ 1764 w 9720"/>
                <a:gd name="connsiteY248" fmla="*/ 5141 h 10000"/>
                <a:gd name="connsiteX249" fmla="*/ 2071 w 9720"/>
                <a:gd name="connsiteY249" fmla="*/ 5257 h 10000"/>
                <a:gd name="connsiteX250" fmla="*/ 2085 w 9720"/>
                <a:gd name="connsiteY250" fmla="*/ 5399 h 10000"/>
                <a:gd name="connsiteX251" fmla="*/ 1954 w 9720"/>
                <a:gd name="connsiteY251" fmla="*/ 5517 h 10000"/>
                <a:gd name="connsiteX252" fmla="*/ 1764 w 9720"/>
                <a:gd name="connsiteY252" fmla="*/ 5588 h 10000"/>
                <a:gd name="connsiteX253" fmla="*/ 1513 w 9720"/>
                <a:gd name="connsiteY253" fmla="*/ 5617 h 10000"/>
                <a:gd name="connsiteX254" fmla="*/ 1448 w 9720"/>
                <a:gd name="connsiteY254" fmla="*/ 5658 h 10000"/>
                <a:gd name="connsiteX255" fmla="*/ 1594 w 9720"/>
                <a:gd name="connsiteY255" fmla="*/ 5755 h 10000"/>
                <a:gd name="connsiteX256" fmla="*/ 1678 w 9720"/>
                <a:gd name="connsiteY256" fmla="*/ 5987 h 10000"/>
                <a:gd name="connsiteX257" fmla="*/ 1488 w 9720"/>
                <a:gd name="connsiteY257" fmla="*/ 6185 h 10000"/>
                <a:gd name="connsiteX258" fmla="*/ 1554 w 9720"/>
                <a:gd name="connsiteY258" fmla="*/ 6247 h 10000"/>
                <a:gd name="connsiteX259" fmla="*/ 1494 w 9720"/>
                <a:gd name="connsiteY259" fmla="*/ 6351 h 10000"/>
                <a:gd name="connsiteX260" fmla="*/ 1372 w 9720"/>
                <a:gd name="connsiteY260" fmla="*/ 6422 h 10000"/>
                <a:gd name="connsiteX261" fmla="*/ 889 w 9720"/>
                <a:gd name="connsiteY261" fmla="*/ 6477 h 10000"/>
                <a:gd name="connsiteX262" fmla="*/ 860 w 9720"/>
                <a:gd name="connsiteY262" fmla="*/ 6573 h 10000"/>
                <a:gd name="connsiteX263" fmla="*/ 600 w 9720"/>
                <a:gd name="connsiteY263" fmla="*/ 6716 h 10000"/>
                <a:gd name="connsiteX264" fmla="*/ 634 w 9720"/>
                <a:gd name="connsiteY264" fmla="*/ 6921 h 10000"/>
                <a:gd name="connsiteX265" fmla="*/ 415 w 9720"/>
                <a:gd name="connsiteY265" fmla="*/ 7184 h 10000"/>
                <a:gd name="connsiteX266" fmla="*/ 266 w 9720"/>
                <a:gd name="connsiteY266" fmla="*/ 7215 h 10000"/>
                <a:gd name="connsiteX267" fmla="*/ 204 w 9720"/>
                <a:gd name="connsiteY267" fmla="*/ 7152 h 10000"/>
                <a:gd name="connsiteX268" fmla="*/ 128 w 9720"/>
                <a:gd name="connsiteY268" fmla="*/ 7247 h 10000"/>
                <a:gd name="connsiteX269" fmla="*/ 178 w 9720"/>
                <a:gd name="connsiteY269" fmla="*/ 7084 h 10000"/>
                <a:gd name="connsiteX270" fmla="*/ 147 w 9720"/>
                <a:gd name="connsiteY270"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7512 w 10000"/>
                <a:gd name="connsiteY211" fmla="*/ 201 h 10000"/>
                <a:gd name="connsiteX212" fmla="*/ 7406 w 10000"/>
                <a:gd name="connsiteY212" fmla="*/ 362 h 10000"/>
                <a:gd name="connsiteX213" fmla="*/ 7276 w 10000"/>
                <a:gd name="connsiteY213" fmla="*/ 445 h 10000"/>
                <a:gd name="connsiteX214" fmla="*/ 7223 w 10000"/>
                <a:gd name="connsiteY214" fmla="*/ 435 h 10000"/>
                <a:gd name="connsiteX215" fmla="*/ 7102 w 10000"/>
                <a:gd name="connsiteY215" fmla="*/ 366 h 10000"/>
                <a:gd name="connsiteX216" fmla="*/ 6951 w 10000"/>
                <a:gd name="connsiteY216" fmla="*/ 331 h 10000"/>
                <a:gd name="connsiteX217" fmla="*/ 6784 w 10000"/>
                <a:gd name="connsiteY217" fmla="*/ 341 h 10000"/>
                <a:gd name="connsiteX218" fmla="*/ 6402 w 10000"/>
                <a:gd name="connsiteY218" fmla="*/ 498 h 10000"/>
                <a:gd name="connsiteX219" fmla="*/ 6301 w 10000"/>
                <a:gd name="connsiteY219" fmla="*/ 656 h 10000"/>
                <a:gd name="connsiteX220" fmla="*/ 6013 w 10000"/>
                <a:gd name="connsiteY220" fmla="*/ 797 h 10000"/>
                <a:gd name="connsiteX221" fmla="*/ 5961 w 10000"/>
                <a:gd name="connsiteY221" fmla="*/ 868 h 10000"/>
                <a:gd name="connsiteX222" fmla="*/ 6111 w 10000"/>
                <a:gd name="connsiteY222" fmla="*/ 995 h 10000"/>
                <a:gd name="connsiteX223" fmla="*/ 6128 w 10000"/>
                <a:gd name="connsiteY223" fmla="*/ 1067 h 10000"/>
                <a:gd name="connsiteX224" fmla="*/ 5098 w 10000"/>
                <a:gd name="connsiteY224" fmla="*/ 1750 h 10000"/>
                <a:gd name="connsiteX225" fmla="*/ 4837 w 10000"/>
                <a:gd name="connsiteY225" fmla="*/ 1818 h 10000"/>
                <a:gd name="connsiteX226" fmla="*/ 4671 w 10000"/>
                <a:gd name="connsiteY226" fmla="*/ 1814 h 10000"/>
                <a:gd name="connsiteX227" fmla="*/ 4571 w 10000"/>
                <a:gd name="connsiteY227" fmla="*/ 1838 h 10000"/>
                <a:gd name="connsiteX228" fmla="*/ 4298 w 10000"/>
                <a:gd name="connsiteY228" fmla="*/ 2503 h 10000"/>
                <a:gd name="connsiteX229" fmla="*/ 3668 w 10000"/>
                <a:gd name="connsiteY229" fmla="*/ 2891 h 10000"/>
                <a:gd name="connsiteX230" fmla="*/ 3672 w 10000"/>
                <a:gd name="connsiteY230" fmla="*/ 2952 h 10000"/>
                <a:gd name="connsiteX231" fmla="*/ 3952 w 10000"/>
                <a:gd name="connsiteY231" fmla="*/ 3126 h 10000"/>
                <a:gd name="connsiteX232" fmla="*/ 3861 w 10000"/>
                <a:gd name="connsiteY232" fmla="*/ 3314 h 10000"/>
                <a:gd name="connsiteX233" fmla="*/ 3698 w 10000"/>
                <a:gd name="connsiteY233" fmla="*/ 3383 h 10000"/>
                <a:gd name="connsiteX234" fmla="*/ 3208 w 10000"/>
                <a:gd name="connsiteY234" fmla="*/ 3337 h 10000"/>
                <a:gd name="connsiteX235" fmla="*/ 2871 w 10000"/>
                <a:gd name="connsiteY235" fmla="*/ 3363 h 10000"/>
                <a:gd name="connsiteX236" fmla="*/ 2601 w 10000"/>
                <a:gd name="connsiteY236" fmla="*/ 3419 h 10000"/>
                <a:gd name="connsiteX237" fmla="*/ 2163 w 10000"/>
                <a:gd name="connsiteY237" fmla="*/ 3592 h 10000"/>
                <a:gd name="connsiteX238" fmla="*/ 1931 w 10000"/>
                <a:gd name="connsiteY238" fmla="*/ 3802 h 10000"/>
                <a:gd name="connsiteX239" fmla="*/ 1951 w 10000"/>
                <a:gd name="connsiteY239" fmla="*/ 3919 h 10000"/>
                <a:gd name="connsiteX240" fmla="*/ 2032 w 10000"/>
                <a:gd name="connsiteY240" fmla="*/ 4009 h 10000"/>
                <a:gd name="connsiteX241" fmla="*/ 2093 w 10000"/>
                <a:gd name="connsiteY241" fmla="*/ 4045 h 10000"/>
                <a:gd name="connsiteX242" fmla="*/ 1979 w 10000"/>
                <a:gd name="connsiteY242" fmla="*/ 4103 h 10000"/>
                <a:gd name="connsiteX243" fmla="*/ 1731 w 10000"/>
                <a:gd name="connsiteY243" fmla="*/ 4497 h 10000"/>
                <a:gd name="connsiteX244" fmla="*/ 1779 w 10000"/>
                <a:gd name="connsiteY244" fmla="*/ 4520 h 10000"/>
                <a:gd name="connsiteX245" fmla="*/ 1815 w 10000"/>
                <a:gd name="connsiteY245" fmla="*/ 4620 h 10000"/>
                <a:gd name="connsiteX246" fmla="*/ 1700 w 10000"/>
                <a:gd name="connsiteY246" fmla="*/ 5035 h 10000"/>
                <a:gd name="connsiteX247" fmla="*/ 1815 w 10000"/>
                <a:gd name="connsiteY247" fmla="*/ 5141 h 10000"/>
                <a:gd name="connsiteX248" fmla="*/ 2131 w 10000"/>
                <a:gd name="connsiteY248" fmla="*/ 5257 h 10000"/>
                <a:gd name="connsiteX249" fmla="*/ 2145 w 10000"/>
                <a:gd name="connsiteY249" fmla="*/ 5399 h 10000"/>
                <a:gd name="connsiteX250" fmla="*/ 2010 w 10000"/>
                <a:gd name="connsiteY250" fmla="*/ 5517 h 10000"/>
                <a:gd name="connsiteX251" fmla="*/ 1815 w 10000"/>
                <a:gd name="connsiteY251" fmla="*/ 5588 h 10000"/>
                <a:gd name="connsiteX252" fmla="*/ 1557 w 10000"/>
                <a:gd name="connsiteY252" fmla="*/ 5617 h 10000"/>
                <a:gd name="connsiteX253" fmla="*/ 1490 w 10000"/>
                <a:gd name="connsiteY253" fmla="*/ 5658 h 10000"/>
                <a:gd name="connsiteX254" fmla="*/ 1640 w 10000"/>
                <a:gd name="connsiteY254" fmla="*/ 5755 h 10000"/>
                <a:gd name="connsiteX255" fmla="*/ 1726 w 10000"/>
                <a:gd name="connsiteY255" fmla="*/ 5987 h 10000"/>
                <a:gd name="connsiteX256" fmla="*/ 1531 w 10000"/>
                <a:gd name="connsiteY256" fmla="*/ 6185 h 10000"/>
                <a:gd name="connsiteX257" fmla="*/ 1599 w 10000"/>
                <a:gd name="connsiteY257" fmla="*/ 6247 h 10000"/>
                <a:gd name="connsiteX258" fmla="*/ 1537 w 10000"/>
                <a:gd name="connsiteY258" fmla="*/ 6351 h 10000"/>
                <a:gd name="connsiteX259" fmla="*/ 1412 w 10000"/>
                <a:gd name="connsiteY259" fmla="*/ 6422 h 10000"/>
                <a:gd name="connsiteX260" fmla="*/ 915 w 10000"/>
                <a:gd name="connsiteY260" fmla="*/ 6477 h 10000"/>
                <a:gd name="connsiteX261" fmla="*/ 885 w 10000"/>
                <a:gd name="connsiteY261" fmla="*/ 6573 h 10000"/>
                <a:gd name="connsiteX262" fmla="*/ 617 w 10000"/>
                <a:gd name="connsiteY262" fmla="*/ 6716 h 10000"/>
                <a:gd name="connsiteX263" fmla="*/ 652 w 10000"/>
                <a:gd name="connsiteY263" fmla="*/ 6921 h 10000"/>
                <a:gd name="connsiteX264" fmla="*/ 427 w 10000"/>
                <a:gd name="connsiteY264" fmla="*/ 7184 h 10000"/>
                <a:gd name="connsiteX265" fmla="*/ 274 w 10000"/>
                <a:gd name="connsiteY265" fmla="*/ 7215 h 10000"/>
                <a:gd name="connsiteX266" fmla="*/ 210 w 10000"/>
                <a:gd name="connsiteY266" fmla="*/ 7152 h 10000"/>
                <a:gd name="connsiteX267" fmla="*/ 132 w 10000"/>
                <a:gd name="connsiteY267" fmla="*/ 7247 h 10000"/>
                <a:gd name="connsiteX268" fmla="*/ 183 w 10000"/>
                <a:gd name="connsiteY268" fmla="*/ 7084 h 10000"/>
                <a:gd name="connsiteX269" fmla="*/ 151 w 10000"/>
                <a:gd name="connsiteY269"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7512 w 10000"/>
                <a:gd name="connsiteY211" fmla="*/ 201 h 10000"/>
                <a:gd name="connsiteX212" fmla="*/ 7406 w 10000"/>
                <a:gd name="connsiteY212" fmla="*/ 362 h 10000"/>
                <a:gd name="connsiteX213" fmla="*/ 7276 w 10000"/>
                <a:gd name="connsiteY213" fmla="*/ 445 h 10000"/>
                <a:gd name="connsiteX214" fmla="*/ 7223 w 10000"/>
                <a:gd name="connsiteY214" fmla="*/ 435 h 10000"/>
                <a:gd name="connsiteX215" fmla="*/ 7102 w 10000"/>
                <a:gd name="connsiteY215" fmla="*/ 366 h 10000"/>
                <a:gd name="connsiteX216" fmla="*/ 6951 w 10000"/>
                <a:gd name="connsiteY216" fmla="*/ 331 h 10000"/>
                <a:gd name="connsiteX217" fmla="*/ 6784 w 10000"/>
                <a:gd name="connsiteY217" fmla="*/ 341 h 10000"/>
                <a:gd name="connsiteX218" fmla="*/ 6402 w 10000"/>
                <a:gd name="connsiteY218" fmla="*/ 498 h 10000"/>
                <a:gd name="connsiteX219" fmla="*/ 6301 w 10000"/>
                <a:gd name="connsiteY219" fmla="*/ 656 h 10000"/>
                <a:gd name="connsiteX220" fmla="*/ 6013 w 10000"/>
                <a:gd name="connsiteY220" fmla="*/ 797 h 10000"/>
                <a:gd name="connsiteX221" fmla="*/ 5961 w 10000"/>
                <a:gd name="connsiteY221" fmla="*/ 868 h 10000"/>
                <a:gd name="connsiteX222" fmla="*/ 6111 w 10000"/>
                <a:gd name="connsiteY222" fmla="*/ 995 h 10000"/>
                <a:gd name="connsiteX223" fmla="*/ 5098 w 10000"/>
                <a:gd name="connsiteY223" fmla="*/ 1750 h 10000"/>
                <a:gd name="connsiteX224" fmla="*/ 4837 w 10000"/>
                <a:gd name="connsiteY224" fmla="*/ 1818 h 10000"/>
                <a:gd name="connsiteX225" fmla="*/ 4671 w 10000"/>
                <a:gd name="connsiteY225" fmla="*/ 1814 h 10000"/>
                <a:gd name="connsiteX226" fmla="*/ 4571 w 10000"/>
                <a:gd name="connsiteY226" fmla="*/ 1838 h 10000"/>
                <a:gd name="connsiteX227" fmla="*/ 4298 w 10000"/>
                <a:gd name="connsiteY227" fmla="*/ 2503 h 10000"/>
                <a:gd name="connsiteX228" fmla="*/ 3668 w 10000"/>
                <a:gd name="connsiteY228" fmla="*/ 2891 h 10000"/>
                <a:gd name="connsiteX229" fmla="*/ 3672 w 10000"/>
                <a:gd name="connsiteY229" fmla="*/ 2952 h 10000"/>
                <a:gd name="connsiteX230" fmla="*/ 3952 w 10000"/>
                <a:gd name="connsiteY230" fmla="*/ 3126 h 10000"/>
                <a:gd name="connsiteX231" fmla="*/ 3861 w 10000"/>
                <a:gd name="connsiteY231" fmla="*/ 3314 h 10000"/>
                <a:gd name="connsiteX232" fmla="*/ 3698 w 10000"/>
                <a:gd name="connsiteY232" fmla="*/ 3383 h 10000"/>
                <a:gd name="connsiteX233" fmla="*/ 3208 w 10000"/>
                <a:gd name="connsiteY233" fmla="*/ 3337 h 10000"/>
                <a:gd name="connsiteX234" fmla="*/ 2871 w 10000"/>
                <a:gd name="connsiteY234" fmla="*/ 3363 h 10000"/>
                <a:gd name="connsiteX235" fmla="*/ 2601 w 10000"/>
                <a:gd name="connsiteY235" fmla="*/ 3419 h 10000"/>
                <a:gd name="connsiteX236" fmla="*/ 2163 w 10000"/>
                <a:gd name="connsiteY236" fmla="*/ 3592 h 10000"/>
                <a:gd name="connsiteX237" fmla="*/ 1931 w 10000"/>
                <a:gd name="connsiteY237" fmla="*/ 3802 h 10000"/>
                <a:gd name="connsiteX238" fmla="*/ 1951 w 10000"/>
                <a:gd name="connsiteY238" fmla="*/ 3919 h 10000"/>
                <a:gd name="connsiteX239" fmla="*/ 2032 w 10000"/>
                <a:gd name="connsiteY239" fmla="*/ 4009 h 10000"/>
                <a:gd name="connsiteX240" fmla="*/ 2093 w 10000"/>
                <a:gd name="connsiteY240" fmla="*/ 4045 h 10000"/>
                <a:gd name="connsiteX241" fmla="*/ 1979 w 10000"/>
                <a:gd name="connsiteY241" fmla="*/ 4103 h 10000"/>
                <a:gd name="connsiteX242" fmla="*/ 1731 w 10000"/>
                <a:gd name="connsiteY242" fmla="*/ 4497 h 10000"/>
                <a:gd name="connsiteX243" fmla="*/ 1779 w 10000"/>
                <a:gd name="connsiteY243" fmla="*/ 4520 h 10000"/>
                <a:gd name="connsiteX244" fmla="*/ 1815 w 10000"/>
                <a:gd name="connsiteY244" fmla="*/ 4620 h 10000"/>
                <a:gd name="connsiteX245" fmla="*/ 1700 w 10000"/>
                <a:gd name="connsiteY245" fmla="*/ 5035 h 10000"/>
                <a:gd name="connsiteX246" fmla="*/ 1815 w 10000"/>
                <a:gd name="connsiteY246" fmla="*/ 5141 h 10000"/>
                <a:gd name="connsiteX247" fmla="*/ 2131 w 10000"/>
                <a:gd name="connsiteY247" fmla="*/ 5257 h 10000"/>
                <a:gd name="connsiteX248" fmla="*/ 2145 w 10000"/>
                <a:gd name="connsiteY248" fmla="*/ 5399 h 10000"/>
                <a:gd name="connsiteX249" fmla="*/ 2010 w 10000"/>
                <a:gd name="connsiteY249" fmla="*/ 5517 h 10000"/>
                <a:gd name="connsiteX250" fmla="*/ 1815 w 10000"/>
                <a:gd name="connsiteY250" fmla="*/ 5588 h 10000"/>
                <a:gd name="connsiteX251" fmla="*/ 1557 w 10000"/>
                <a:gd name="connsiteY251" fmla="*/ 5617 h 10000"/>
                <a:gd name="connsiteX252" fmla="*/ 1490 w 10000"/>
                <a:gd name="connsiteY252" fmla="*/ 5658 h 10000"/>
                <a:gd name="connsiteX253" fmla="*/ 1640 w 10000"/>
                <a:gd name="connsiteY253" fmla="*/ 5755 h 10000"/>
                <a:gd name="connsiteX254" fmla="*/ 1726 w 10000"/>
                <a:gd name="connsiteY254" fmla="*/ 5987 h 10000"/>
                <a:gd name="connsiteX255" fmla="*/ 1531 w 10000"/>
                <a:gd name="connsiteY255" fmla="*/ 6185 h 10000"/>
                <a:gd name="connsiteX256" fmla="*/ 1599 w 10000"/>
                <a:gd name="connsiteY256" fmla="*/ 6247 h 10000"/>
                <a:gd name="connsiteX257" fmla="*/ 1537 w 10000"/>
                <a:gd name="connsiteY257" fmla="*/ 6351 h 10000"/>
                <a:gd name="connsiteX258" fmla="*/ 1412 w 10000"/>
                <a:gd name="connsiteY258" fmla="*/ 6422 h 10000"/>
                <a:gd name="connsiteX259" fmla="*/ 915 w 10000"/>
                <a:gd name="connsiteY259" fmla="*/ 6477 h 10000"/>
                <a:gd name="connsiteX260" fmla="*/ 885 w 10000"/>
                <a:gd name="connsiteY260" fmla="*/ 6573 h 10000"/>
                <a:gd name="connsiteX261" fmla="*/ 617 w 10000"/>
                <a:gd name="connsiteY261" fmla="*/ 6716 h 10000"/>
                <a:gd name="connsiteX262" fmla="*/ 652 w 10000"/>
                <a:gd name="connsiteY262" fmla="*/ 6921 h 10000"/>
                <a:gd name="connsiteX263" fmla="*/ 427 w 10000"/>
                <a:gd name="connsiteY263" fmla="*/ 7184 h 10000"/>
                <a:gd name="connsiteX264" fmla="*/ 274 w 10000"/>
                <a:gd name="connsiteY264" fmla="*/ 7215 h 10000"/>
                <a:gd name="connsiteX265" fmla="*/ 210 w 10000"/>
                <a:gd name="connsiteY265" fmla="*/ 7152 h 10000"/>
                <a:gd name="connsiteX266" fmla="*/ 132 w 10000"/>
                <a:gd name="connsiteY266" fmla="*/ 7247 h 10000"/>
                <a:gd name="connsiteX267" fmla="*/ 183 w 10000"/>
                <a:gd name="connsiteY267" fmla="*/ 7084 h 10000"/>
                <a:gd name="connsiteX268" fmla="*/ 151 w 10000"/>
                <a:gd name="connsiteY268"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7512 w 10000"/>
                <a:gd name="connsiteY211" fmla="*/ 201 h 10000"/>
                <a:gd name="connsiteX212" fmla="*/ 7406 w 10000"/>
                <a:gd name="connsiteY212" fmla="*/ 362 h 10000"/>
                <a:gd name="connsiteX213" fmla="*/ 7276 w 10000"/>
                <a:gd name="connsiteY213" fmla="*/ 445 h 10000"/>
                <a:gd name="connsiteX214" fmla="*/ 7223 w 10000"/>
                <a:gd name="connsiteY214" fmla="*/ 435 h 10000"/>
                <a:gd name="connsiteX215" fmla="*/ 7102 w 10000"/>
                <a:gd name="connsiteY215" fmla="*/ 366 h 10000"/>
                <a:gd name="connsiteX216" fmla="*/ 6951 w 10000"/>
                <a:gd name="connsiteY216" fmla="*/ 331 h 10000"/>
                <a:gd name="connsiteX217" fmla="*/ 6784 w 10000"/>
                <a:gd name="connsiteY217" fmla="*/ 341 h 10000"/>
                <a:gd name="connsiteX218" fmla="*/ 6402 w 10000"/>
                <a:gd name="connsiteY218" fmla="*/ 498 h 10000"/>
                <a:gd name="connsiteX219" fmla="*/ 6301 w 10000"/>
                <a:gd name="connsiteY219" fmla="*/ 656 h 10000"/>
                <a:gd name="connsiteX220" fmla="*/ 6013 w 10000"/>
                <a:gd name="connsiteY220" fmla="*/ 797 h 10000"/>
                <a:gd name="connsiteX221" fmla="*/ 5961 w 10000"/>
                <a:gd name="connsiteY221" fmla="*/ 868 h 10000"/>
                <a:gd name="connsiteX222" fmla="*/ 5098 w 10000"/>
                <a:gd name="connsiteY222" fmla="*/ 1750 h 10000"/>
                <a:gd name="connsiteX223" fmla="*/ 4837 w 10000"/>
                <a:gd name="connsiteY223" fmla="*/ 1818 h 10000"/>
                <a:gd name="connsiteX224" fmla="*/ 4671 w 10000"/>
                <a:gd name="connsiteY224" fmla="*/ 1814 h 10000"/>
                <a:gd name="connsiteX225" fmla="*/ 4571 w 10000"/>
                <a:gd name="connsiteY225" fmla="*/ 1838 h 10000"/>
                <a:gd name="connsiteX226" fmla="*/ 4298 w 10000"/>
                <a:gd name="connsiteY226" fmla="*/ 2503 h 10000"/>
                <a:gd name="connsiteX227" fmla="*/ 3668 w 10000"/>
                <a:gd name="connsiteY227" fmla="*/ 2891 h 10000"/>
                <a:gd name="connsiteX228" fmla="*/ 3672 w 10000"/>
                <a:gd name="connsiteY228" fmla="*/ 2952 h 10000"/>
                <a:gd name="connsiteX229" fmla="*/ 3952 w 10000"/>
                <a:gd name="connsiteY229" fmla="*/ 3126 h 10000"/>
                <a:gd name="connsiteX230" fmla="*/ 3861 w 10000"/>
                <a:gd name="connsiteY230" fmla="*/ 3314 h 10000"/>
                <a:gd name="connsiteX231" fmla="*/ 3698 w 10000"/>
                <a:gd name="connsiteY231" fmla="*/ 3383 h 10000"/>
                <a:gd name="connsiteX232" fmla="*/ 3208 w 10000"/>
                <a:gd name="connsiteY232" fmla="*/ 3337 h 10000"/>
                <a:gd name="connsiteX233" fmla="*/ 2871 w 10000"/>
                <a:gd name="connsiteY233" fmla="*/ 3363 h 10000"/>
                <a:gd name="connsiteX234" fmla="*/ 2601 w 10000"/>
                <a:gd name="connsiteY234" fmla="*/ 3419 h 10000"/>
                <a:gd name="connsiteX235" fmla="*/ 2163 w 10000"/>
                <a:gd name="connsiteY235" fmla="*/ 3592 h 10000"/>
                <a:gd name="connsiteX236" fmla="*/ 1931 w 10000"/>
                <a:gd name="connsiteY236" fmla="*/ 3802 h 10000"/>
                <a:gd name="connsiteX237" fmla="*/ 1951 w 10000"/>
                <a:gd name="connsiteY237" fmla="*/ 3919 h 10000"/>
                <a:gd name="connsiteX238" fmla="*/ 2032 w 10000"/>
                <a:gd name="connsiteY238" fmla="*/ 4009 h 10000"/>
                <a:gd name="connsiteX239" fmla="*/ 2093 w 10000"/>
                <a:gd name="connsiteY239" fmla="*/ 4045 h 10000"/>
                <a:gd name="connsiteX240" fmla="*/ 1979 w 10000"/>
                <a:gd name="connsiteY240" fmla="*/ 4103 h 10000"/>
                <a:gd name="connsiteX241" fmla="*/ 1731 w 10000"/>
                <a:gd name="connsiteY241" fmla="*/ 4497 h 10000"/>
                <a:gd name="connsiteX242" fmla="*/ 1779 w 10000"/>
                <a:gd name="connsiteY242" fmla="*/ 4520 h 10000"/>
                <a:gd name="connsiteX243" fmla="*/ 1815 w 10000"/>
                <a:gd name="connsiteY243" fmla="*/ 4620 h 10000"/>
                <a:gd name="connsiteX244" fmla="*/ 1700 w 10000"/>
                <a:gd name="connsiteY244" fmla="*/ 5035 h 10000"/>
                <a:gd name="connsiteX245" fmla="*/ 1815 w 10000"/>
                <a:gd name="connsiteY245" fmla="*/ 5141 h 10000"/>
                <a:gd name="connsiteX246" fmla="*/ 2131 w 10000"/>
                <a:gd name="connsiteY246" fmla="*/ 5257 h 10000"/>
                <a:gd name="connsiteX247" fmla="*/ 2145 w 10000"/>
                <a:gd name="connsiteY247" fmla="*/ 5399 h 10000"/>
                <a:gd name="connsiteX248" fmla="*/ 2010 w 10000"/>
                <a:gd name="connsiteY248" fmla="*/ 5517 h 10000"/>
                <a:gd name="connsiteX249" fmla="*/ 1815 w 10000"/>
                <a:gd name="connsiteY249" fmla="*/ 5588 h 10000"/>
                <a:gd name="connsiteX250" fmla="*/ 1557 w 10000"/>
                <a:gd name="connsiteY250" fmla="*/ 5617 h 10000"/>
                <a:gd name="connsiteX251" fmla="*/ 1490 w 10000"/>
                <a:gd name="connsiteY251" fmla="*/ 5658 h 10000"/>
                <a:gd name="connsiteX252" fmla="*/ 1640 w 10000"/>
                <a:gd name="connsiteY252" fmla="*/ 5755 h 10000"/>
                <a:gd name="connsiteX253" fmla="*/ 1726 w 10000"/>
                <a:gd name="connsiteY253" fmla="*/ 5987 h 10000"/>
                <a:gd name="connsiteX254" fmla="*/ 1531 w 10000"/>
                <a:gd name="connsiteY254" fmla="*/ 6185 h 10000"/>
                <a:gd name="connsiteX255" fmla="*/ 1599 w 10000"/>
                <a:gd name="connsiteY255" fmla="*/ 6247 h 10000"/>
                <a:gd name="connsiteX256" fmla="*/ 1537 w 10000"/>
                <a:gd name="connsiteY256" fmla="*/ 6351 h 10000"/>
                <a:gd name="connsiteX257" fmla="*/ 1412 w 10000"/>
                <a:gd name="connsiteY257" fmla="*/ 6422 h 10000"/>
                <a:gd name="connsiteX258" fmla="*/ 915 w 10000"/>
                <a:gd name="connsiteY258" fmla="*/ 6477 h 10000"/>
                <a:gd name="connsiteX259" fmla="*/ 885 w 10000"/>
                <a:gd name="connsiteY259" fmla="*/ 6573 h 10000"/>
                <a:gd name="connsiteX260" fmla="*/ 617 w 10000"/>
                <a:gd name="connsiteY260" fmla="*/ 6716 h 10000"/>
                <a:gd name="connsiteX261" fmla="*/ 652 w 10000"/>
                <a:gd name="connsiteY261" fmla="*/ 6921 h 10000"/>
                <a:gd name="connsiteX262" fmla="*/ 427 w 10000"/>
                <a:gd name="connsiteY262" fmla="*/ 7184 h 10000"/>
                <a:gd name="connsiteX263" fmla="*/ 274 w 10000"/>
                <a:gd name="connsiteY263" fmla="*/ 7215 h 10000"/>
                <a:gd name="connsiteX264" fmla="*/ 210 w 10000"/>
                <a:gd name="connsiteY264" fmla="*/ 7152 h 10000"/>
                <a:gd name="connsiteX265" fmla="*/ 132 w 10000"/>
                <a:gd name="connsiteY265" fmla="*/ 7247 h 10000"/>
                <a:gd name="connsiteX266" fmla="*/ 183 w 10000"/>
                <a:gd name="connsiteY266" fmla="*/ 7084 h 10000"/>
                <a:gd name="connsiteX267" fmla="*/ 151 w 10000"/>
                <a:gd name="connsiteY267"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7512 w 10000"/>
                <a:gd name="connsiteY211" fmla="*/ 201 h 10000"/>
                <a:gd name="connsiteX212" fmla="*/ 7406 w 10000"/>
                <a:gd name="connsiteY212" fmla="*/ 362 h 10000"/>
                <a:gd name="connsiteX213" fmla="*/ 7276 w 10000"/>
                <a:gd name="connsiteY213" fmla="*/ 445 h 10000"/>
                <a:gd name="connsiteX214" fmla="*/ 7223 w 10000"/>
                <a:gd name="connsiteY214" fmla="*/ 435 h 10000"/>
                <a:gd name="connsiteX215" fmla="*/ 7102 w 10000"/>
                <a:gd name="connsiteY215" fmla="*/ 366 h 10000"/>
                <a:gd name="connsiteX216" fmla="*/ 6951 w 10000"/>
                <a:gd name="connsiteY216" fmla="*/ 331 h 10000"/>
                <a:gd name="connsiteX217" fmla="*/ 6784 w 10000"/>
                <a:gd name="connsiteY217" fmla="*/ 341 h 10000"/>
                <a:gd name="connsiteX218" fmla="*/ 6402 w 10000"/>
                <a:gd name="connsiteY218" fmla="*/ 498 h 10000"/>
                <a:gd name="connsiteX219" fmla="*/ 6301 w 10000"/>
                <a:gd name="connsiteY219" fmla="*/ 656 h 10000"/>
                <a:gd name="connsiteX220" fmla="*/ 6013 w 10000"/>
                <a:gd name="connsiteY220" fmla="*/ 797 h 10000"/>
                <a:gd name="connsiteX221" fmla="*/ 5098 w 10000"/>
                <a:gd name="connsiteY221" fmla="*/ 1750 h 10000"/>
                <a:gd name="connsiteX222" fmla="*/ 4837 w 10000"/>
                <a:gd name="connsiteY222" fmla="*/ 1818 h 10000"/>
                <a:gd name="connsiteX223" fmla="*/ 4671 w 10000"/>
                <a:gd name="connsiteY223" fmla="*/ 1814 h 10000"/>
                <a:gd name="connsiteX224" fmla="*/ 4571 w 10000"/>
                <a:gd name="connsiteY224" fmla="*/ 1838 h 10000"/>
                <a:gd name="connsiteX225" fmla="*/ 4298 w 10000"/>
                <a:gd name="connsiteY225" fmla="*/ 2503 h 10000"/>
                <a:gd name="connsiteX226" fmla="*/ 3668 w 10000"/>
                <a:gd name="connsiteY226" fmla="*/ 2891 h 10000"/>
                <a:gd name="connsiteX227" fmla="*/ 3672 w 10000"/>
                <a:gd name="connsiteY227" fmla="*/ 2952 h 10000"/>
                <a:gd name="connsiteX228" fmla="*/ 3952 w 10000"/>
                <a:gd name="connsiteY228" fmla="*/ 3126 h 10000"/>
                <a:gd name="connsiteX229" fmla="*/ 3861 w 10000"/>
                <a:gd name="connsiteY229" fmla="*/ 3314 h 10000"/>
                <a:gd name="connsiteX230" fmla="*/ 3698 w 10000"/>
                <a:gd name="connsiteY230" fmla="*/ 3383 h 10000"/>
                <a:gd name="connsiteX231" fmla="*/ 3208 w 10000"/>
                <a:gd name="connsiteY231" fmla="*/ 3337 h 10000"/>
                <a:gd name="connsiteX232" fmla="*/ 2871 w 10000"/>
                <a:gd name="connsiteY232" fmla="*/ 3363 h 10000"/>
                <a:gd name="connsiteX233" fmla="*/ 2601 w 10000"/>
                <a:gd name="connsiteY233" fmla="*/ 3419 h 10000"/>
                <a:gd name="connsiteX234" fmla="*/ 2163 w 10000"/>
                <a:gd name="connsiteY234" fmla="*/ 3592 h 10000"/>
                <a:gd name="connsiteX235" fmla="*/ 1931 w 10000"/>
                <a:gd name="connsiteY235" fmla="*/ 3802 h 10000"/>
                <a:gd name="connsiteX236" fmla="*/ 1951 w 10000"/>
                <a:gd name="connsiteY236" fmla="*/ 3919 h 10000"/>
                <a:gd name="connsiteX237" fmla="*/ 2032 w 10000"/>
                <a:gd name="connsiteY237" fmla="*/ 4009 h 10000"/>
                <a:gd name="connsiteX238" fmla="*/ 2093 w 10000"/>
                <a:gd name="connsiteY238" fmla="*/ 4045 h 10000"/>
                <a:gd name="connsiteX239" fmla="*/ 1979 w 10000"/>
                <a:gd name="connsiteY239" fmla="*/ 4103 h 10000"/>
                <a:gd name="connsiteX240" fmla="*/ 1731 w 10000"/>
                <a:gd name="connsiteY240" fmla="*/ 4497 h 10000"/>
                <a:gd name="connsiteX241" fmla="*/ 1779 w 10000"/>
                <a:gd name="connsiteY241" fmla="*/ 4520 h 10000"/>
                <a:gd name="connsiteX242" fmla="*/ 1815 w 10000"/>
                <a:gd name="connsiteY242" fmla="*/ 4620 h 10000"/>
                <a:gd name="connsiteX243" fmla="*/ 1700 w 10000"/>
                <a:gd name="connsiteY243" fmla="*/ 5035 h 10000"/>
                <a:gd name="connsiteX244" fmla="*/ 1815 w 10000"/>
                <a:gd name="connsiteY244" fmla="*/ 5141 h 10000"/>
                <a:gd name="connsiteX245" fmla="*/ 2131 w 10000"/>
                <a:gd name="connsiteY245" fmla="*/ 5257 h 10000"/>
                <a:gd name="connsiteX246" fmla="*/ 2145 w 10000"/>
                <a:gd name="connsiteY246" fmla="*/ 5399 h 10000"/>
                <a:gd name="connsiteX247" fmla="*/ 2010 w 10000"/>
                <a:gd name="connsiteY247" fmla="*/ 5517 h 10000"/>
                <a:gd name="connsiteX248" fmla="*/ 1815 w 10000"/>
                <a:gd name="connsiteY248" fmla="*/ 5588 h 10000"/>
                <a:gd name="connsiteX249" fmla="*/ 1557 w 10000"/>
                <a:gd name="connsiteY249" fmla="*/ 5617 h 10000"/>
                <a:gd name="connsiteX250" fmla="*/ 1490 w 10000"/>
                <a:gd name="connsiteY250" fmla="*/ 5658 h 10000"/>
                <a:gd name="connsiteX251" fmla="*/ 1640 w 10000"/>
                <a:gd name="connsiteY251" fmla="*/ 5755 h 10000"/>
                <a:gd name="connsiteX252" fmla="*/ 1726 w 10000"/>
                <a:gd name="connsiteY252" fmla="*/ 5987 h 10000"/>
                <a:gd name="connsiteX253" fmla="*/ 1531 w 10000"/>
                <a:gd name="connsiteY253" fmla="*/ 6185 h 10000"/>
                <a:gd name="connsiteX254" fmla="*/ 1599 w 10000"/>
                <a:gd name="connsiteY254" fmla="*/ 6247 h 10000"/>
                <a:gd name="connsiteX255" fmla="*/ 1537 w 10000"/>
                <a:gd name="connsiteY255" fmla="*/ 6351 h 10000"/>
                <a:gd name="connsiteX256" fmla="*/ 1412 w 10000"/>
                <a:gd name="connsiteY256" fmla="*/ 6422 h 10000"/>
                <a:gd name="connsiteX257" fmla="*/ 915 w 10000"/>
                <a:gd name="connsiteY257" fmla="*/ 6477 h 10000"/>
                <a:gd name="connsiteX258" fmla="*/ 885 w 10000"/>
                <a:gd name="connsiteY258" fmla="*/ 6573 h 10000"/>
                <a:gd name="connsiteX259" fmla="*/ 617 w 10000"/>
                <a:gd name="connsiteY259" fmla="*/ 6716 h 10000"/>
                <a:gd name="connsiteX260" fmla="*/ 652 w 10000"/>
                <a:gd name="connsiteY260" fmla="*/ 6921 h 10000"/>
                <a:gd name="connsiteX261" fmla="*/ 427 w 10000"/>
                <a:gd name="connsiteY261" fmla="*/ 7184 h 10000"/>
                <a:gd name="connsiteX262" fmla="*/ 274 w 10000"/>
                <a:gd name="connsiteY262" fmla="*/ 7215 h 10000"/>
                <a:gd name="connsiteX263" fmla="*/ 210 w 10000"/>
                <a:gd name="connsiteY263" fmla="*/ 7152 h 10000"/>
                <a:gd name="connsiteX264" fmla="*/ 132 w 10000"/>
                <a:gd name="connsiteY264" fmla="*/ 7247 h 10000"/>
                <a:gd name="connsiteX265" fmla="*/ 183 w 10000"/>
                <a:gd name="connsiteY265" fmla="*/ 7084 h 10000"/>
                <a:gd name="connsiteX266" fmla="*/ 151 w 10000"/>
                <a:gd name="connsiteY266"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7512 w 10000"/>
                <a:gd name="connsiteY211" fmla="*/ 201 h 10000"/>
                <a:gd name="connsiteX212" fmla="*/ 7406 w 10000"/>
                <a:gd name="connsiteY212" fmla="*/ 362 h 10000"/>
                <a:gd name="connsiteX213" fmla="*/ 7276 w 10000"/>
                <a:gd name="connsiteY213" fmla="*/ 445 h 10000"/>
                <a:gd name="connsiteX214" fmla="*/ 7223 w 10000"/>
                <a:gd name="connsiteY214" fmla="*/ 435 h 10000"/>
                <a:gd name="connsiteX215" fmla="*/ 7102 w 10000"/>
                <a:gd name="connsiteY215" fmla="*/ 366 h 10000"/>
                <a:gd name="connsiteX216" fmla="*/ 6951 w 10000"/>
                <a:gd name="connsiteY216" fmla="*/ 331 h 10000"/>
                <a:gd name="connsiteX217" fmla="*/ 6784 w 10000"/>
                <a:gd name="connsiteY217" fmla="*/ 341 h 10000"/>
                <a:gd name="connsiteX218" fmla="*/ 6402 w 10000"/>
                <a:gd name="connsiteY218" fmla="*/ 498 h 10000"/>
                <a:gd name="connsiteX219" fmla="*/ 6301 w 10000"/>
                <a:gd name="connsiteY219" fmla="*/ 656 h 10000"/>
                <a:gd name="connsiteX220" fmla="*/ 5098 w 10000"/>
                <a:gd name="connsiteY220" fmla="*/ 1750 h 10000"/>
                <a:gd name="connsiteX221" fmla="*/ 4837 w 10000"/>
                <a:gd name="connsiteY221" fmla="*/ 1818 h 10000"/>
                <a:gd name="connsiteX222" fmla="*/ 4671 w 10000"/>
                <a:gd name="connsiteY222" fmla="*/ 1814 h 10000"/>
                <a:gd name="connsiteX223" fmla="*/ 4571 w 10000"/>
                <a:gd name="connsiteY223" fmla="*/ 1838 h 10000"/>
                <a:gd name="connsiteX224" fmla="*/ 4298 w 10000"/>
                <a:gd name="connsiteY224" fmla="*/ 2503 h 10000"/>
                <a:gd name="connsiteX225" fmla="*/ 3668 w 10000"/>
                <a:gd name="connsiteY225" fmla="*/ 2891 h 10000"/>
                <a:gd name="connsiteX226" fmla="*/ 3672 w 10000"/>
                <a:gd name="connsiteY226" fmla="*/ 2952 h 10000"/>
                <a:gd name="connsiteX227" fmla="*/ 3952 w 10000"/>
                <a:gd name="connsiteY227" fmla="*/ 3126 h 10000"/>
                <a:gd name="connsiteX228" fmla="*/ 3861 w 10000"/>
                <a:gd name="connsiteY228" fmla="*/ 3314 h 10000"/>
                <a:gd name="connsiteX229" fmla="*/ 3698 w 10000"/>
                <a:gd name="connsiteY229" fmla="*/ 3383 h 10000"/>
                <a:gd name="connsiteX230" fmla="*/ 3208 w 10000"/>
                <a:gd name="connsiteY230" fmla="*/ 3337 h 10000"/>
                <a:gd name="connsiteX231" fmla="*/ 2871 w 10000"/>
                <a:gd name="connsiteY231" fmla="*/ 3363 h 10000"/>
                <a:gd name="connsiteX232" fmla="*/ 2601 w 10000"/>
                <a:gd name="connsiteY232" fmla="*/ 3419 h 10000"/>
                <a:gd name="connsiteX233" fmla="*/ 2163 w 10000"/>
                <a:gd name="connsiteY233" fmla="*/ 3592 h 10000"/>
                <a:gd name="connsiteX234" fmla="*/ 1931 w 10000"/>
                <a:gd name="connsiteY234" fmla="*/ 3802 h 10000"/>
                <a:gd name="connsiteX235" fmla="*/ 1951 w 10000"/>
                <a:gd name="connsiteY235" fmla="*/ 3919 h 10000"/>
                <a:gd name="connsiteX236" fmla="*/ 2032 w 10000"/>
                <a:gd name="connsiteY236" fmla="*/ 4009 h 10000"/>
                <a:gd name="connsiteX237" fmla="*/ 2093 w 10000"/>
                <a:gd name="connsiteY237" fmla="*/ 4045 h 10000"/>
                <a:gd name="connsiteX238" fmla="*/ 1979 w 10000"/>
                <a:gd name="connsiteY238" fmla="*/ 4103 h 10000"/>
                <a:gd name="connsiteX239" fmla="*/ 1731 w 10000"/>
                <a:gd name="connsiteY239" fmla="*/ 4497 h 10000"/>
                <a:gd name="connsiteX240" fmla="*/ 1779 w 10000"/>
                <a:gd name="connsiteY240" fmla="*/ 4520 h 10000"/>
                <a:gd name="connsiteX241" fmla="*/ 1815 w 10000"/>
                <a:gd name="connsiteY241" fmla="*/ 4620 h 10000"/>
                <a:gd name="connsiteX242" fmla="*/ 1700 w 10000"/>
                <a:gd name="connsiteY242" fmla="*/ 5035 h 10000"/>
                <a:gd name="connsiteX243" fmla="*/ 1815 w 10000"/>
                <a:gd name="connsiteY243" fmla="*/ 5141 h 10000"/>
                <a:gd name="connsiteX244" fmla="*/ 2131 w 10000"/>
                <a:gd name="connsiteY244" fmla="*/ 5257 h 10000"/>
                <a:gd name="connsiteX245" fmla="*/ 2145 w 10000"/>
                <a:gd name="connsiteY245" fmla="*/ 5399 h 10000"/>
                <a:gd name="connsiteX246" fmla="*/ 2010 w 10000"/>
                <a:gd name="connsiteY246" fmla="*/ 5517 h 10000"/>
                <a:gd name="connsiteX247" fmla="*/ 1815 w 10000"/>
                <a:gd name="connsiteY247" fmla="*/ 5588 h 10000"/>
                <a:gd name="connsiteX248" fmla="*/ 1557 w 10000"/>
                <a:gd name="connsiteY248" fmla="*/ 5617 h 10000"/>
                <a:gd name="connsiteX249" fmla="*/ 1490 w 10000"/>
                <a:gd name="connsiteY249" fmla="*/ 5658 h 10000"/>
                <a:gd name="connsiteX250" fmla="*/ 1640 w 10000"/>
                <a:gd name="connsiteY250" fmla="*/ 5755 h 10000"/>
                <a:gd name="connsiteX251" fmla="*/ 1726 w 10000"/>
                <a:gd name="connsiteY251" fmla="*/ 5987 h 10000"/>
                <a:gd name="connsiteX252" fmla="*/ 1531 w 10000"/>
                <a:gd name="connsiteY252" fmla="*/ 6185 h 10000"/>
                <a:gd name="connsiteX253" fmla="*/ 1599 w 10000"/>
                <a:gd name="connsiteY253" fmla="*/ 6247 h 10000"/>
                <a:gd name="connsiteX254" fmla="*/ 1537 w 10000"/>
                <a:gd name="connsiteY254" fmla="*/ 6351 h 10000"/>
                <a:gd name="connsiteX255" fmla="*/ 1412 w 10000"/>
                <a:gd name="connsiteY255" fmla="*/ 6422 h 10000"/>
                <a:gd name="connsiteX256" fmla="*/ 915 w 10000"/>
                <a:gd name="connsiteY256" fmla="*/ 6477 h 10000"/>
                <a:gd name="connsiteX257" fmla="*/ 885 w 10000"/>
                <a:gd name="connsiteY257" fmla="*/ 6573 h 10000"/>
                <a:gd name="connsiteX258" fmla="*/ 617 w 10000"/>
                <a:gd name="connsiteY258" fmla="*/ 6716 h 10000"/>
                <a:gd name="connsiteX259" fmla="*/ 652 w 10000"/>
                <a:gd name="connsiteY259" fmla="*/ 6921 h 10000"/>
                <a:gd name="connsiteX260" fmla="*/ 427 w 10000"/>
                <a:gd name="connsiteY260" fmla="*/ 7184 h 10000"/>
                <a:gd name="connsiteX261" fmla="*/ 274 w 10000"/>
                <a:gd name="connsiteY261" fmla="*/ 7215 h 10000"/>
                <a:gd name="connsiteX262" fmla="*/ 210 w 10000"/>
                <a:gd name="connsiteY262" fmla="*/ 7152 h 10000"/>
                <a:gd name="connsiteX263" fmla="*/ 132 w 10000"/>
                <a:gd name="connsiteY263" fmla="*/ 7247 h 10000"/>
                <a:gd name="connsiteX264" fmla="*/ 183 w 10000"/>
                <a:gd name="connsiteY264" fmla="*/ 7084 h 10000"/>
                <a:gd name="connsiteX265" fmla="*/ 151 w 10000"/>
                <a:gd name="connsiteY265"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7512 w 10000"/>
                <a:gd name="connsiteY211" fmla="*/ 201 h 10000"/>
                <a:gd name="connsiteX212" fmla="*/ 7406 w 10000"/>
                <a:gd name="connsiteY212" fmla="*/ 362 h 10000"/>
                <a:gd name="connsiteX213" fmla="*/ 7276 w 10000"/>
                <a:gd name="connsiteY213" fmla="*/ 445 h 10000"/>
                <a:gd name="connsiteX214" fmla="*/ 7223 w 10000"/>
                <a:gd name="connsiteY214" fmla="*/ 435 h 10000"/>
                <a:gd name="connsiteX215" fmla="*/ 7102 w 10000"/>
                <a:gd name="connsiteY215" fmla="*/ 366 h 10000"/>
                <a:gd name="connsiteX216" fmla="*/ 6951 w 10000"/>
                <a:gd name="connsiteY216" fmla="*/ 331 h 10000"/>
                <a:gd name="connsiteX217" fmla="*/ 6784 w 10000"/>
                <a:gd name="connsiteY217" fmla="*/ 341 h 10000"/>
                <a:gd name="connsiteX218" fmla="*/ 6402 w 10000"/>
                <a:gd name="connsiteY218" fmla="*/ 498 h 10000"/>
                <a:gd name="connsiteX219" fmla="*/ 5098 w 10000"/>
                <a:gd name="connsiteY219" fmla="*/ 1750 h 10000"/>
                <a:gd name="connsiteX220" fmla="*/ 4837 w 10000"/>
                <a:gd name="connsiteY220" fmla="*/ 1818 h 10000"/>
                <a:gd name="connsiteX221" fmla="*/ 4671 w 10000"/>
                <a:gd name="connsiteY221" fmla="*/ 1814 h 10000"/>
                <a:gd name="connsiteX222" fmla="*/ 4571 w 10000"/>
                <a:gd name="connsiteY222" fmla="*/ 1838 h 10000"/>
                <a:gd name="connsiteX223" fmla="*/ 4298 w 10000"/>
                <a:gd name="connsiteY223" fmla="*/ 2503 h 10000"/>
                <a:gd name="connsiteX224" fmla="*/ 3668 w 10000"/>
                <a:gd name="connsiteY224" fmla="*/ 2891 h 10000"/>
                <a:gd name="connsiteX225" fmla="*/ 3672 w 10000"/>
                <a:gd name="connsiteY225" fmla="*/ 2952 h 10000"/>
                <a:gd name="connsiteX226" fmla="*/ 3952 w 10000"/>
                <a:gd name="connsiteY226" fmla="*/ 3126 h 10000"/>
                <a:gd name="connsiteX227" fmla="*/ 3861 w 10000"/>
                <a:gd name="connsiteY227" fmla="*/ 3314 h 10000"/>
                <a:gd name="connsiteX228" fmla="*/ 3698 w 10000"/>
                <a:gd name="connsiteY228" fmla="*/ 3383 h 10000"/>
                <a:gd name="connsiteX229" fmla="*/ 3208 w 10000"/>
                <a:gd name="connsiteY229" fmla="*/ 3337 h 10000"/>
                <a:gd name="connsiteX230" fmla="*/ 2871 w 10000"/>
                <a:gd name="connsiteY230" fmla="*/ 3363 h 10000"/>
                <a:gd name="connsiteX231" fmla="*/ 2601 w 10000"/>
                <a:gd name="connsiteY231" fmla="*/ 3419 h 10000"/>
                <a:gd name="connsiteX232" fmla="*/ 2163 w 10000"/>
                <a:gd name="connsiteY232" fmla="*/ 3592 h 10000"/>
                <a:gd name="connsiteX233" fmla="*/ 1931 w 10000"/>
                <a:gd name="connsiteY233" fmla="*/ 3802 h 10000"/>
                <a:gd name="connsiteX234" fmla="*/ 1951 w 10000"/>
                <a:gd name="connsiteY234" fmla="*/ 3919 h 10000"/>
                <a:gd name="connsiteX235" fmla="*/ 2032 w 10000"/>
                <a:gd name="connsiteY235" fmla="*/ 4009 h 10000"/>
                <a:gd name="connsiteX236" fmla="*/ 2093 w 10000"/>
                <a:gd name="connsiteY236" fmla="*/ 4045 h 10000"/>
                <a:gd name="connsiteX237" fmla="*/ 1979 w 10000"/>
                <a:gd name="connsiteY237" fmla="*/ 4103 h 10000"/>
                <a:gd name="connsiteX238" fmla="*/ 1731 w 10000"/>
                <a:gd name="connsiteY238" fmla="*/ 4497 h 10000"/>
                <a:gd name="connsiteX239" fmla="*/ 1779 w 10000"/>
                <a:gd name="connsiteY239" fmla="*/ 4520 h 10000"/>
                <a:gd name="connsiteX240" fmla="*/ 1815 w 10000"/>
                <a:gd name="connsiteY240" fmla="*/ 4620 h 10000"/>
                <a:gd name="connsiteX241" fmla="*/ 1700 w 10000"/>
                <a:gd name="connsiteY241" fmla="*/ 5035 h 10000"/>
                <a:gd name="connsiteX242" fmla="*/ 1815 w 10000"/>
                <a:gd name="connsiteY242" fmla="*/ 5141 h 10000"/>
                <a:gd name="connsiteX243" fmla="*/ 2131 w 10000"/>
                <a:gd name="connsiteY243" fmla="*/ 5257 h 10000"/>
                <a:gd name="connsiteX244" fmla="*/ 2145 w 10000"/>
                <a:gd name="connsiteY244" fmla="*/ 5399 h 10000"/>
                <a:gd name="connsiteX245" fmla="*/ 2010 w 10000"/>
                <a:gd name="connsiteY245" fmla="*/ 5517 h 10000"/>
                <a:gd name="connsiteX246" fmla="*/ 1815 w 10000"/>
                <a:gd name="connsiteY246" fmla="*/ 5588 h 10000"/>
                <a:gd name="connsiteX247" fmla="*/ 1557 w 10000"/>
                <a:gd name="connsiteY247" fmla="*/ 5617 h 10000"/>
                <a:gd name="connsiteX248" fmla="*/ 1490 w 10000"/>
                <a:gd name="connsiteY248" fmla="*/ 5658 h 10000"/>
                <a:gd name="connsiteX249" fmla="*/ 1640 w 10000"/>
                <a:gd name="connsiteY249" fmla="*/ 5755 h 10000"/>
                <a:gd name="connsiteX250" fmla="*/ 1726 w 10000"/>
                <a:gd name="connsiteY250" fmla="*/ 5987 h 10000"/>
                <a:gd name="connsiteX251" fmla="*/ 1531 w 10000"/>
                <a:gd name="connsiteY251" fmla="*/ 6185 h 10000"/>
                <a:gd name="connsiteX252" fmla="*/ 1599 w 10000"/>
                <a:gd name="connsiteY252" fmla="*/ 6247 h 10000"/>
                <a:gd name="connsiteX253" fmla="*/ 1537 w 10000"/>
                <a:gd name="connsiteY253" fmla="*/ 6351 h 10000"/>
                <a:gd name="connsiteX254" fmla="*/ 1412 w 10000"/>
                <a:gd name="connsiteY254" fmla="*/ 6422 h 10000"/>
                <a:gd name="connsiteX255" fmla="*/ 915 w 10000"/>
                <a:gd name="connsiteY255" fmla="*/ 6477 h 10000"/>
                <a:gd name="connsiteX256" fmla="*/ 885 w 10000"/>
                <a:gd name="connsiteY256" fmla="*/ 6573 h 10000"/>
                <a:gd name="connsiteX257" fmla="*/ 617 w 10000"/>
                <a:gd name="connsiteY257" fmla="*/ 6716 h 10000"/>
                <a:gd name="connsiteX258" fmla="*/ 652 w 10000"/>
                <a:gd name="connsiteY258" fmla="*/ 6921 h 10000"/>
                <a:gd name="connsiteX259" fmla="*/ 427 w 10000"/>
                <a:gd name="connsiteY259" fmla="*/ 7184 h 10000"/>
                <a:gd name="connsiteX260" fmla="*/ 274 w 10000"/>
                <a:gd name="connsiteY260" fmla="*/ 7215 h 10000"/>
                <a:gd name="connsiteX261" fmla="*/ 210 w 10000"/>
                <a:gd name="connsiteY261" fmla="*/ 7152 h 10000"/>
                <a:gd name="connsiteX262" fmla="*/ 132 w 10000"/>
                <a:gd name="connsiteY262" fmla="*/ 7247 h 10000"/>
                <a:gd name="connsiteX263" fmla="*/ 183 w 10000"/>
                <a:gd name="connsiteY263" fmla="*/ 7084 h 10000"/>
                <a:gd name="connsiteX264" fmla="*/ 151 w 10000"/>
                <a:gd name="connsiteY264"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7512 w 10000"/>
                <a:gd name="connsiteY211" fmla="*/ 201 h 10000"/>
                <a:gd name="connsiteX212" fmla="*/ 7406 w 10000"/>
                <a:gd name="connsiteY212" fmla="*/ 362 h 10000"/>
                <a:gd name="connsiteX213" fmla="*/ 7276 w 10000"/>
                <a:gd name="connsiteY213" fmla="*/ 445 h 10000"/>
                <a:gd name="connsiteX214" fmla="*/ 7223 w 10000"/>
                <a:gd name="connsiteY214" fmla="*/ 435 h 10000"/>
                <a:gd name="connsiteX215" fmla="*/ 7102 w 10000"/>
                <a:gd name="connsiteY215" fmla="*/ 366 h 10000"/>
                <a:gd name="connsiteX216" fmla="*/ 6951 w 10000"/>
                <a:gd name="connsiteY216" fmla="*/ 331 h 10000"/>
                <a:gd name="connsiteX217" fmla="*/ 6784 w 10000"/>
                <a:gd name="connsiteY217" fmla="*/ 341 h 10000"/>
                <a:gd name="connsiteX218" fmla="*/ 5098 w 10000"/>
                <a:gd name="connsiteY218" fmla="*/ 1750 h 10000"/>
                <a:gd name="connsiteX219" fmla="*/ 4837 w 10000"/>
                <a:gd name="connsiteY219" fmla="*/ 1818 h 10000"/>
                <a:gd name="connsiteX220" fmla="*/ 4671 w 10000"/>
                <a:gd name="connsiteY220" fmla="*/ 1814 h 10000"/>
                <a:gd name="connsiteX221" fmla="*/ 4571 w 10000"/>
                <a:gd name="connsiteY221" fmla="*/ 1838 h 10000"/>
                <a:gd name="connsiteX222" fmla="*/ 4298 w 10000"/>
                <a:gd name="connsiteY222" fmla="*/ 2503 h 10000"/>
                <a:gd name="connsiteX223" fmla="*/ 3668 w 10000"/>
                <a:gd name="connsiteY223" fmla="*/ 2891 h 10000"/>
                <a:gd name="connsiteX224" fmla="*/ 3672 w 10000"/>
                <a:gd name="connsiteY224" fmla="*/ 2952 h 10000"/>
                <a:gd name="connsiteX225" fmla="*/ 3952 w 10000"/>
                <a:gd name="connsiteY225" fmla="*/ 3126 h 10000"/>
                <a:gd name="connsiteX226" fmla="*/ 3861 w 10000"/>
                <a:gd name="connsiteY226" fmla="*/ 3314 h 10000"/>
                <a:gd name="connsiteX227" fmla="*/ 3698 w 10000"/>
                <a:gd name="connsiteY227" fmla="*/ 3383 h 10000"/>
                <a:gd name="connsiteX228" fmla="*/ 3208 w 10000"/>
                <a:gd name="connsiteY228" fmla="*/ 3337 h 10000"/>
                <a:gd name="connsiteX229" fmla="*/ 2871 w 10000"/>
                <a:gd name="connsiteY229" fmla="*/ 3363 h 10000"/>
                <a:gd name="connsiteX230" fmla="*/ 2601 w 10000"/>
                <a:gd name="connsiteY230" fmla="*/ 3419 h 10000"/>
                <a:gd name="connsiteX231" fmla="*/ 2163 w 10000"/>
                <a:gd name="connsiteY231" fmla="*/ 3592 h 10000"/>
                <a:gd name="connsiteX232" fmla="*/ 1931 w 10000"/>
                <a:gd name="connsiteY232" fmla="*/ 3802 h 10000"/>
                <a:gd name="connsiteX233" fmla="*/ 1951 w 10000"/>
                <a:gd name="connsiteY233" fmla="*/ 3919 h 10000"/>
                <a:gd name="connsiteX234" fmla="*/ 2032 w 10000"/>
                <a:gd name="connsiteY234" fmla="*/ 4009 h 10000"/>
                <a:gd name="connsiteX235" fmla="*/ 2093 w 10000"/>
                <a:gd name="connsiteY235" fmla="*/ 4045 h 10000"/>
                <a:gd name="connsiteX236" fmla="*/ 1979 w 10000"/>
                <a:gd name="connsiteY236" fmla="*/ 4103 h 10000"/>
                <a:gd name="connsiteX237" fmla="*/ 1731 w 10000"/>
                <a:gd name="connsiteY237" fmla="*/ 4497 h 10000"/>
                <a:gd name="connsiteX238" fmla="*/ 1779 w 10000"/>
                <a:gd name="connsiteY238" fmla="*/ 4520 h 10000"/>
                <a:gd name="connsiteX239" fmla="*/ 1815 w 10000"/>
                <a:gd name="connsiteY239" fmla="*/ 4620 h 10000"/>
                <a:gd name="connsiteX240" fmla="*/ 1700 w 10000"/>
                <a:gd name="connsiteY240" fmla="*/ 5035 h 10000"/>
                <a:gd name="connsiteX241" fmla="*/ 1815 w 10000"/>
                <a:gd name="connsiteY241" fmla="*/ 5141 h 10000"/>
                <a:gd name="connsiteX242" fmla="*/ 2131 w 10000"/>
                <a:gd name="connsiteY242" fmla="*/ 5257 h 10000"/>
                <a:gd name="connsiteX243" fmla="*/ 2145 w 10000"/>
                <a:gd name="connsiteY243" fmla="*/ 5399 h 10000"/>
                <a:gd name="connsiteX244" fmla="*/ 2010 w 10000"/>
                <a:gd name="connsiteY244" fmla="*/ 5517 h 10000"/>
                <a:gd name="connsiteX245" fmla="*/ 1815 w 10000"/>
                <a:gd name="connsiteY245" fmla="*/ 5588 h 10000"/>
                <a:gd name="connsiteX246" fmla="*/ 1557 w 10000"/>
                <a:gd name="connsiteY246" fmla="*/ 5617 h 10000"/>
                <a:gd name="connsiteX247" fmla="*/ 1490 w 10000"/>
                <a:gd name="connsiteY247" fmla="*/ 5658 h 10000"/>
                <a:gd name="connsiteX248" fmla="*/ 1640 w 10000"/>
                <a:gd name="connsiteY248" fmla="*/ 5755 h 10000"/>
                <a:gd name="connsiteX249" fmla="*/ 1726 w 10000"/>
                <a:gd name="connsiteY249" fmla="*/ 5987 h 10000"/>
                <a:gd name="connsiteX250" fmla="*/ 1531 w 10000"/>
                <a:gd name="connsiteY250" fmla="*/ 6185 h 10000"/>
                <a:gd name="connsiteX251" fmla="*/ 1599 w 10000"/>
                <a:gd name="connsiteY251" fmla="*/ 6247 h 10000"/>
                <a:gd name="connsiteX252" fmla="*/ 1537 w 10000"/>
                <a:gd name="connsiteY252" fmla="*/ 6351 h 10000"/>
                <a:gd name="connsiteX253" fmla="*/ 1412 w 10000"/>
                <a:gd name="connsiteY253" fmla="*/ 6422 h 10000"/>
                <a:gd name="connsiteX254" fmla="*/ 915 w 10000"/>
                <a:gd name="connsiteY254" fmla="*/ 6477 h 10000"/>
                <a:gd name="connsiteX255" fmla="*/ 885 w 10000"/>
                <a:gd name="connsiteY255" fmla="*/ 6573 h 10000"/>
                <a:gd name="connsiteX256" fmla="*/ 617 w 10000"/>
                <a:gd name="connsiteY256" fmla="*/ 6716 h 10000"/>
                <a:gd name="connsiteX257" fmla="*/ 652 w 10000"/>
                <a:gd name="connsiteY257" fmla="*/ 6921 h 10000"/>
                <a:gd name="connsiteX258" fmla="*/ 427 w 10000"/>
                <a:gd name="connsiteY258" fmla="*/ 7184 h 10000"/>
                <a:gd name="connsiteX259" fmla="*/ 274 w 10000"/>
                <a:gd name="connsiteY259" fmla="*/ 7215 h 10000"/>
                <a:gd name="connsiteX260" fmla="*/ 210 w 10000"/>
                <a:gd name="connsiteY260" fmla="*/ 7152 h 10000"/>
                <a:gd name="connsiteX261" fmla="*/ 132 w 10000"/>
                <a:gd name="connsiteY261" fmla="*/ 7247 h 10000"/>
                <a:gd name="connsiteX262" fmla="*/ 183 w 10000"/>
                <a:gd name="connsiteY262" fmla="*/ 7084 h 10000"/>
                <a:gd name="connsiteX263" fmla="*/ 151 w 10000"/>
                <a:gd name="connsiteY263"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7512 w 10000"/>
                <a:gd name="connsiteY211" fmla="*/ 201 h 10000"/>
                <a:gd name="connsiteX212" fmla="*/ 7406 w 10000"/>
                <a:gd name="connsiteY212" fmla="*/ 362 h 10000"/>
                <a:gd name="connsiteX213" fmla="*/ 7276 w 10000"/>
                <a:gd name="connsiteY213" fmla="*/ 445 h 10000"/>
                <a:gd name="connsiteX214" fmla="*/ 7223 w 10000"/>
                <a:gd name="connsiteY214" fmla="*/ 435 h 10000"/>
                <a:gd name="connsiteX215" fmla="*/ 7102 w 10000"/>
                <a:gd name="connsiteY215" fmla="*/ 366 h 10000"/>
                <a:gd name="connsiteX216" fmla="*/ 6951 w 10000"/>
                <a:gd name="connsiteY216" fmla="*/ 331 h 10000"/>
                <a:gd name="connsiteX217" fmla="*/ 5098 w 10000"/>
                <a:gd name="connsiteY217" fmla="*/ 1750 h 10000"/>
                <a:gd name="connsiteX218" fmla="*/ 4837 w 10000"/>
                <a:gd name="connsiteY218" fmla="*/ 1818 h 10000"/>
                <a:gd name="connsiteX219" fmla="*/ 4671 w 10000"/>
                <a:gd name="connsiteY219" fmla="*/ 1814 h 10000"/>
                <a:gd name="connsiteX220" fmla="*/ 4571 w 10000"/>
                <a:gd name="connsiteY220" fmla="*/ 1838 h 10000"/>
                <a:gd name="connsiteX221" fmla="*/ 4298 w 10000"/>
                <a:gd name="connsiteY221" fmla="*/ 2503 h 10000"/>
                <a:gd name="connsiteX222" fmla="*/ 3668 w 10000"/>
                <a:gd name="connsiteY222" fmla="*/ 2891 h 10000"/>
                <a:gd name="connsiteX223" fmla="*/ 3672 w 10000"/>
                <a:gd name="connsiteY223" fmla="*/ 2952 h 10000"/>
                <a:gd name="connsiteX224" fmla="*/ 3952 w 10000"/>
                <a:gd name="connsiteY224" fmla="*/ 3126 h 10000"/>
                <a:gd name="connsiteX225" fmla="*/ 3861 w 10000"/>
                <a:gd name="connsiteY225" fmla="*/ 3314 h 10000"/>
                <a:gd name="connsiteX226" fmla="*/ 3698 w 10000"/>
                <a:gd name="connsiteY226" fmla="*/ 3383 h 10000"/>
                <a:gd name="connsiteX227" fmla="*/ 3208 w 10000"/>
                <a:gd name="connsiteY227" fmla="*/ 3337 h 10000"/>
                <a:gd name="connsiteX228" fmla="*/ 2871 w 10000"/>
                <a:gd name="connsiteY228" fmla="*/ 3363 h 10000"/>
                <a:gd name="connsiteX229" fmla="*/ 2601 w 10000"/>
                <a:gd name="connsiteY229" fmla="*/ 3419 h 10000"/>
                <a:gd name="connsiteX230" fmla="*/ 2163 w 10000"/>
                <a:gd name="connsiteY230" fmla="*/ 3592 h 10000"/>
                <a:gd name="connsiteX231" fmla="*/ 1931 w 10000"/>
                <a:gd name="connsiteY231" fmla="*/ 3802 h 10000"/>
                <a:gd name="connsiteX232" fmla="*/ 1951 w 10000"/>
                <a:gd name="connsiteY232" fmla="*/ 3919 h 10000"/>
                <a:gd name="connsiteX233" fmla="*/ 2032 w 10000"/>
                <a:gd name="connsiteY233" fmla="*/ 4009 h 10000"/>
                <a:gd name="connsiteX234" fmla="*/ 2093 w 10000"/>
                <a:gd name="connsiteY234" fmla="*/ 4045 h 10000"/>
                <a:gd name="connsiteX235" fmla="*/ 1979 w 10000"/>
                <a:gd name="connsiteY235" fmla="*/ 4103 h 10000"/>
                <a:gd name="connsiteX236" fmla="*/ 1731 w 10000"/>
                <a:gd name="connsiteY236" fmla="*/ 4497 h 10000"/>
                <a:gd name="connsiteX237" fmla="*/ 1779 w 10000"/>
                <a:gd name="connsiteY237" fmla="*/ 4520 h 10000"/>
                <a:gd name="connsiteX238" fmla="*/ 1815 w 10000"/>
                <a:gd name="connsiteY238" fmla="*/ 4620 h 10000"/>
                <a:gd name="connsiteX239" fmla="*/ 1700 w 10000"/>
                <a:gd name="connsiteY239" fmla="*/ 5035 h 10000"/>
                <a:gd name="connsiteX240" fmla="*/ 1815 w 10000"/>
                <a:gd name="connsiteY240" fmla="*/ 5141 h 10000"/>
                <a:gd name="connsiteX241" fmla="*/ 2131 w 10000"/>
                <a:gd name="connsiteY241" fmla="*/ 5257 h 10000"/>
                <a:gd name="connsiteX242" fmla="*/ 2145 w 10000"/>
                <a:gd name="connsiteY242" fmla="*/ 5399 h 10000"/>
                <a:gd name="connsiteX243" fmla="*/ 2010 w 10000"/>
                <a:gd name="connsiteY243" fmla="*/ 5517 h 10000"/>
                <a:gd name="connsiteX244" fmla="*/ 1815 w 10000"/>
                <a:gd name="connsiteY244" fmla="*/ 5588 h 10000"/>
                <a:gd name="connsiteX245" fmla="*/ 1557 w 10000"/>
                <a:gd name="connsiteY245" fmla="*/ 5617 h 10000"/>
                <a:gd name="connsiteX246" fmla="*/ 1490 w 10000"/>
                <a:gd name="connsiteY246" fmla="*/ 5658 h 10000"/>
                <a:gd name="connsiteX247" fmla="*/ 1640 w 10000"/>
                <a:gd name="connsiteY247" fmla="*/ 5755 h 10000"/>
                <a:gd name="connsiteX248" fmla="*/ 1726 w 10000"/>
                <a:gd name="connsiteY248" fmla="*/ 5987 h 10000"/>
                <a:gd name="connsiteX249" fmla="*/ 1531 w 10000"/>
                <a:gd name="connsiteY249" fmla="*/ 6185 h 10000"/>
                <a:gd name="connsiteX250" fmla="*/ 1599 w 10000"/>
                <a:gd name="connsiteY250" fmla="*/ 6247 h 10000"/>
                <a:gd name="connsiteX251" fmla="*/ 1537 w 10000"/>
                <a:gd name="connsiteY251" fmla="*/ 6351 h 10000"/>
                <a:gd name="connsiteX252" fmla="*/ 1412 w 10000"/>
                <a:gd name="connsiteY252" fmla="*/ 6422 h 10000"/>
                <a:gd name="connsiteX253" fmla="*/ 915 w 10000"/>
                <a:gd name="connsiteY253" fmla="*/ 6477 h 10000"/>
                <a:gd name="connsiteX254" fmla="*/ 885 w 10000"/>
                <a:gd name="connsiteY254" fmla="*/ 6573 h 10000"/>
                <a:gd name="connsiteX255" fmla="*/ 617 w 10000"/>
                <a:gd name="connsiteY255" fmla="*/ 6716 h 10000"/>
                <a:gd name="connsiteX256" fmla="*/ 652 w 10000"/>
                <a:gd name="connsiteY256" fmla="*/ 6921 h 10000"/>
                <a:gd name="connsiteX257" fmla="*/ 427 w 10000"/>
                <a:gd name="connsiteY257" fmla="*/ 7184 h 10000"/>
                <a:gd name="connsiteX258" fmla="*/ 274 w 10000"/>
                <a:gd name="connsiteY258" fmla="*/ 7215 h 10000"/>
                <a:gd name="connsiteX259" fmla="*/ 210 w 10000"/>
                <a:gd name="connsiteY259" fmla="*/ 7152 h 10000"/>
                <a:gd name="connsiteX260" fmla="*/ 132 w 10000"/>
                <a:gd name="connsiteY260" fmla="*/ 7247 h 10000"/>
                <a:gd name="connsiteX261" fmla="*/ 183 w 10000"/>
                <a:gd name="connsiteY261" fmla="*/ 7084 h 10000"/>
                <a:gd name="connsiteX262" fmla="*/ 151 w 10000"/>
                <a:gd name="connsiteY262"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7512 w 10000"/>
                <a:gd name="connsiteY211" fmla="*/ 201 h 10000"/>
                <a:gd name="connsiteX212" fmla="*/ 7406 w 10000"/>
                <a:gd name="connsiteY212" fmla="*/ 362 h 10000"/>
                <a:gd name="connsiteX213" fmla="*/ 7276 w 10000"/>
                <a:gd name="connsiteY213" fmla="*/ 445 h 10000"/>
                <a:gd name="connsiteX214" fmla="*/ 7223 w 10000"/>
                <a:gd name="connsiteY214" fmla="*/ 435 h 10000"/>
                <a:gd name="connsiteX215" fmla="*/ 7102 w 10000"/>
                <a:gd name="connsiteY215" fmla="*/ 366 h 10000"/>
                <a:gd name="connsiteX216" fmla="*/ 5098 w 10000"/>
                <a:gd name="connsiteY216" fmla="*/ 1750 h 10000"/>
                <a:gd name="connsiteX217" fmla="*/ 4837 w 10000"/>
                <a:gd name="connsiteY217" fmla="*/ 1818 h 10000"/>
                <a:gd name="connsiteX218" fmla="*/ 4671 w 10000"/>
                <a:gd name="connsiteY218" fmla="*/ 1814 h 10000"/>
                <a:gd name="connsiteX219" fmla="*/ 4571 w 10000"/>
                <a:gd name="connsiteY219" fmla="*/ 1838 h 10000"/>
                <a:gd name="connsiteX220" fmla="*/ 4298 w 10000"/>
                <a:gd name="connsiteY220" fmla="*/ 2503 h 10000"/>
                <a:gd name="connsiteX221" fmla="*/ 3668 w 10000"/>
                <a:gd name="connsiteY221" fmla="*/ 2891 h 10000"/>
                <a:gd name="connsiteX222" fmla="*/ 3672 w 10000"/>
                <a:gd name="connsiteY222" fmla="*/ 2952 h 10000"/>
                <a:gd name="connsiteX223" fmla="*/ 3952 w 10000"/>
                <a:gd name="connsiteY223" fmla="*/ 3126 h 10000"/>
                <a:gd name="connsiteX224" fmla="*/ 3861 w 10000"/>
                <a:gd name="connsiteY224" fmla="*/ 3314 h 10000"/>
                <a:gd name="connsiteX225" fmla="*/ 3698 w 10000"/>
                <a:gd name="connsiteY225" fmla="*/ 3383 h 10000"/>
                <a:gd name="connsiteX226" fmla="*/ 3208 w 10000"/>
                <a:gd name="connsiteY226" fmla="*/ 3337 h 10000"/>
                <a:gd name="connsiteX227" fmla="*/ 2871 w 10000"/>
                <a:gd name="connsiteY227" fmla="*/ 3363 h 10000"/>
                <a:gd name="connsiteX228" fmla="*/ 2601 w 10000"/>
                <a:gd name="connsiteY228" fmla="*/ 3419 h 10000"/>
                <a:gd name="connsiteX229" fmla="*/ 2163 w 10000"/>
                <a:gd name="connsiteY229" fmla="*/ 3592 h 10000"/>
                <a:gd name="connsiteX230" fmla="*/ 1931 w 10000"/>
                <a:gd name="connsiteY230" fmla="*/ 3802 h 10000"/>
                <a:gd name="connsiteX231" fmla="*/ 1951 w 10000"/>
                <a:gd name="connsiteY231" fmla="*/ 3919 h 10000"/>
                <a:gd name="connsiteX232" fmla="*/ 2032 w 10000"/>
                <a:gd name="connsiteY232" fmla="*/ 4009 h 10000"/>
                <a:gd name="connsiteX233" fmla="*/ 2093 w 10000"/>
                <a:gd name="connsiteY233" fmla="*/ 4045 h 10000"/>
                <a:gd name="connsiteX234" fmla="*/ 1979 w 10000"/>
                <a:gd name="connsiteY234" fmla="*/ 4103 h 10000"/>
                <a:gd name="connsiteX235" fmla="*/ 1731 w 10000"/>
                <a:gd name="connsiteY235" fmla="*/ 4497 h 10000"/>
                <a:gd name="connsiteX236" fmla="*/ 1779 w 10000"/>
                <a:gd name="connsiteY236" fmla="*/ 4520 h 10000"/>
                <a:gd name="connsiteX237" fmla="*/ 1815 w 10000"/>
                <a:gd name="connsiteY237" fmla="*/ 4620 h 10000"/>
                <a:gd name="connsiteX238" fmla="*/ 1700 w 10000"/>
                <a:gd name="connsiteY238" fmla="*/ 5035 h 10000"/>
                <a:gd name="connsiteX239" fmla="*/ 1815 w 10000"/>
                <a:gd name="connsiteY239" fmla="*/ 5141 h 10000"/>
                <a:gd name="connsiteX240" fmla="*/ 2131 w 10000"/>
                <a:gd name="connsiteY240" fmla="*/ 5257 h 10000"/>
                <a:gd name="connsiteX241" fmla="*/ 2145 w 10000"/>
                <a:gd name="connsiteY241" fmla="*/ 5399 h 10000"/>
                <a:gd name="connsiteX242" fmla="*/ 2010 w 10000"/>
                <a:gd name="connsiteY242" fmla="*/ 5517 h 10000"/>
                <a:gd name="connsiteX243" fmla="*/ 1815 w 10000"/>
                <a:gd name="connsiteY243" fmla="*/ 5588 h 10000"/>
                <a:gd name="connsiteX244" fmla="*/ 1557 w 10000"/>
                <a:gd name="connsiteY244" fmla="*/ 5617 h 10000"/>
                <a:gd name="connsiteX245" fmla="*/ 1490 w 10000"/>
                <a:gd name="connsiteY245" fmla="*/ 5658 h 10000"/>
                <a:gd name="connsiteX246" fmla="*/ 1640 w 10000"/>
                <a:gd name="connsiteY246" fmla="*/ 5755 h 10000"/>
                <a:gd name="connsiteX247" fmla="*/ 1726 w 10000"/>
                <a:gd name="connsiteY247" fmla="*/ 5987 h 10000"/>
                <a:gd name="connsiteX248" fmla="*/ 1531 w 10000"/>
                <a:gd name="connsiteY248" fmla="*/ 6185 h 10000"/>
                <a:gd name="connsiteX249" fmla="*/ 1599 w 10000"/>
                <a:gd name="connsiteY249" fmla="*/ 6247 h 10000"/>
                <a:gd name="connsiteX250" fmla="*/ 1537 w 10000"/>
                <a:gd name="connsiteY250" fmla="*/ 6351 h 10000"/>
                <a:gd name="connsiteX251" fmla="*/ 1412 w 10000"/>
                <a:gd name="connsiteY251" fmla="*/ 6422 h 10000"/>
                <a:gd name="connsiteX252" fmla="*/ 915 w 10000"/>
                <a:gd name="connsiteY252" fmla="*/ 6477 h 10000"/>
                <a:gd name="connsiteX253" fmla="*/ 885 w 10000"/>
                <a:gd name="connsiteY253" fmla="*/ 6573 h 10000"/>
                <a:gd name="connsiteX254" fmla="*/ 617 w 10000"/>
                <a:gd name="connsiteY254" fmla="*/ 6716 h 10000"/>
                <a:gd name="connsiteX255" fmla="*/ 652 w 10000"/>
                <a:gd name="connsiteY255" fmla="*/ 6921 h 10000"/>
                <a:gd name="connsiteX256" fmla="*/ 427 w 10000"/>
                <a:gd name="connsiteY256" fmla="*/ 7184 h 10000"/>
                <a:gd name="connsiteX257" fmla="*/ 274 w 10000"/>
                <a:gd name="connsiteY257" fmla="*/ 7215 h 10000"/>
                <a:gd name="connsiteX258" fmla="*/ 210 w 10000"/>
                <a:gd name="connsiteY258" fmla="*/ 7152 h 10000"/>
                <a:gd name="connsiteX259" fmla="*/ 132 w 10000"/>
                <a:gd name="connsiteY259" fmla="*/ 7247 h 10000"/>
                <a:gd name="connsiteX260" fmla="*/ 183 w 10000"/>
                <a:gd name="connsiteY260" fmla="*/ 7084 h 10000"/>
                <a:gd name="connsiteX261" fmla="*/ 151 w 10000"/>
                <a:gd name="connsiteY261"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7512 w 10000"/>
                <a:gd name="connsiteY211" fmla="*/ 201 h 10000"/>
                <a:gd name="connsiteX212" fmla="*/ 7406 w 10000"/>
                <a:gd name="connsiteY212" fmla="*/ 362 h 10000"/>
                <a:gd name="connsiteX213" fmla="*/ 7276 w 10000"/>
                <a:gd name="connsiteY213" fmla="*/ 445 h 10000"/>
                <a:gd name="connsiteX214" fmla="*/ 7223 w 10000"/>
                <a:gd name="connsiteY214" fmla="*/ 435 h 10000"/>
                <a:gd name="connsiteX215" fmla="*/ 5098 w 10000"/>
                <a:gd name="connsiteY215" fmla="*/ 1750 h 10000"/>
                <a:gd name="connsiteX216" fmla="*/ 4837 w 10000"/>
                <a:gd name="connsiteY216" fmla="*/ 1818 h 10000"/>
                <a:gd name="connsiteX217" fmla="*/ 4671 w 10000"/>
                <a:gd name="connsiteY217" fmla="*/ 1814 h 10000"/>
                <a:gd name="connsiteX218" fmla="*/ 4571 w 10000"/>
                <a:gd name="connsiteY218" fmla="*/ 1838 h 10000"/>
                <a:gd name="connsiteX219" fmla="*/ 4298 w 10000"/>
                <a:gd name="connsiteY219" fmla="*/ 2503 h 10000"/>
                <a:gd name="connsiteX220" fmla="*/ 3668 w 10000"/>
                <a:gd name="connsiteY220" fmla="*/ 2891 h 10000"/>
                <a:gd name="connsiteX221" fmla="*/ 3672 w 10000"/>
                <a:gd name="connsiteY221" fmla="*/ 2952 h 10000"/>
                <a:gd name="connsiteX222" fmla="*/ 3952 w 10000"/>
                <a:gd name="connsiteY222" fmla="*/ 3126 h 10000"/>
                <a:gd name="connsiteX223" fmla="*/ 3861 w 10000"/>
                <a:gd name="connsiteY223" fmla="*/ 3314 h 10000"/>
                <a:gd name="connsiteX224" fmla="*/ 3698 w 10000"/>
                <a:gd name="connsiteY224" fmla="*/ 3383 h 10000"/>
                <a:gd name="connsiteX225" fmla="*/ 3208 w 10000"/>
                <a:gd name="connsiteY225" fmla="*/ 3337 h 10000"/>
                <a:gd name="connsiteX226" fmla="*/ 2871 w 10000"/>
                <a:gd name="connsiteY226" fmla="*/ 3363 h 10000"/>
                <a:gd name="connsiteX227" fmla="*/ 2601 w 10000"/>
                <a:gd name="connsiteY227" fmla="*/ 3419 h 10000"/>
                <a:gd name="connsiteX228" fmla="*/ 2163 w 10000"/>
                <a:gd name="connsiteY228" fmla="*/ 3592 h 10000"/>
                <a:gd name="connsiteX229" fmla="*/ 1931 w 10000"/>
                <a:gd name="connsiteY229" fmla="*/ 3802 h 10000"/>
                <a:gd name="connsiteX230" fmla="*/ 1951 w 10000"/>
                <a:gd name="connsiteY230" fmla="*/ 3919 h 10000"/>
                <a:gd name="connsiteX231" fmla="*/ 2032 w 10000"/>
                <a:gd name="connsiteY231" fmla="*/ 4009 h 10000"/>
                <a:gd name="connsiteX232" fmla="*/ 2093 w 10000"/>
                <a:gd name="connsiteY232" fmla="*/ 4045 h 10000"/>
                <a:gd name="connsiteX233" fmla="*/ 1979 w 10000"/>
                <a:gd name="connsiteY233" fmla="*/ 4103 h 10000"/>
                <a:gd name="connsiteX234" fmla="*/ 1731 w 10000"/>
                <a:gd name="connsiteY234" fmla="*/ 4497 h 10000"/>
                <a:gd name="connsiteX235" fmla="*/ 1779 w 10000"/>
                <a:gd name="connsiteY235" fmla="*/ 4520 h 10000"/>
                <a:gd name="connsiteX236" fmla="*/ 1815 w 10000"/>
                <a:gd name="connsiteY236" fmla="*/ 4620 h 10000"/>
                <a:gd name="connsiteX237" fmla="*/ 1700 w 10000"/>
                <a:gd name="connsiteY237" fmla="*/ 5035 h 10000"/>
                <a:gd name="connsiteX238" fmla="*/ 1815 w 10000"/>
                <a:gd name="connsiteY238" fmla="*/ 5141 h 10000"/>
                <a:gd name="connsiteX239" fmla="*/ 2131 w 10000"/>
                <a:gd name="connsiteY239" fmla="*/ 5257 h 10000"/>
                <a:gd name="connsiteX240" fmla="*/ 2145 w 10000"/>
                <a:gd name="connsiteY240" fmla="*/ 5399 h 10000"/>
                <a:gd name="connsiteX241" fmla="*/ 2010 w 10000"/>
                <a:gd name="connsiteY241" fmla="*/ 5517 h 10000"/>
                <a:gd name="connsiteX242" fmla="*/ 1815 w 10000"/>
                <a:gd name="connsiteY242" fmla="*/ 5588 h 10000"/>
                <a:gd name="connsiteX243" fmla="*/ 1557 w 10000"/>
                <a:gd name="connsiteY243" fmla="*/ 5617 h 10000"/>
                <a:gd name="connsiteX244" fmla="*/ 1490 w 10000"/>
                <a:gd name="connsiteY244" fmla="*/ 5658 h 10000"/>
                <a:gd name="connsiteX245" fmla="*/ 1640 w 10000"/>
                <a:gd name="connsiteY245" fmla="*/ 5755 h 10000"/>
                <a:gd name="connsiteX246" fmla="*/ 1726 w 10000"/>
                <a:gd name="connsiteY246" fmla="*/ 5987 h 10000"/>
                <a:gd name="connsiteX247" fmla="*/ 1531 w 10000"/>
                <a:gd name="connsiteY247" fmla="*/ 6185 h 10000"/>
                <a:gd name="connsiteX248" fmla="*/ 1599 w 10000"/>
                <a:gd name="connsiteY248" fmla="*/ 6247 h 10000"/>
                <a:gd name="connsiteX249" fmla="*/ 1537 w 10000"/>
                <a:gd name="connsiteY249" fmla="*/ 6351 h 10000"/>
                <a:gd name="connsiteX250" fmla="*/ 1412 w 10000"/>
                <a:gd name="connsiteY250" fmla="*/ 6422 h 10000"/>
                <a:gd name="connsiteX251" fmla="*/ 915 w 10000"/>
                <a:gd name="connsiteY251" fmla="*/ 6477 h 10000"/>
                <a:gd name="connsiteX252" fmla="*/ 885 w 10000"/>
                <a:gd name="connsiteY252" fmla="*/ 6573 h 10000"/>
                <a:gd name="connsiteX253" fmla="*/ 617 w 10000"/>
                <a:gd name="connsiteY253" fmla="*/ 6716 h 10000"/>
                <a:gd name="connsiteX254" fmla="*/ 652 w 10000"/>
                <a:gd name="connsiteY254" fmla="*/ 6921 h 10000"/>
                <a:gd name="connsiteX255" fmla="*/ 427 w 10000"/>
                <a:gd name="connsiteY255" fmla="*/ 7184 h 10000"/>
                <a:gd name="connsiteX256" fmla="*/ 274 w 10000"/>
                <a:gd name="connsiteY256" fmla="*/ 7215 h 10000"/>
                <a:gd name="connsiteX257" fmla="*/ 210 w 10000"/>
                <a:gd name="connsiteY257" fmla="*/ 7152 h 10000"/>
                <a:gd name="connsiteX258" fmla="*/ 132 w 10000"/>
                <a:gd name="connsiteY258" fmla="*/ 7247 h 10000"/>
                <a:gd name="connsiteX259" fmla="*/ 183 w 10000"/>
                <a:gd name="connsiteY259" fmla="*/ 7084 h 10000"/>
                <a:gd name="connsiteX260" fmla="*/ 151 w 10000"/>
                <a:gd name="connsiteY260"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7512 w 10000"/>
                <a:gd name="connsiteY211" fmla="*/ 201 h 10000"/>
                <a:gd name="connsiteX212" fmla="*/ 7406 w 10000"/>
                <a:gd name="connsiteY212" fmla="*/ 362 h 10000"/>
                <a:gd name="connsiteX213" fmla="*/ 7276 w 10000"/>
                <a:gd name="connsiteY213" fmla="*/ 445 h 10000"/>
                <a:gd name="connsiteX214" fmla="*/ 5098 w 10000"/>
                <a:gd name="connsiteY214" fmla="*/ 1750 h 10000"/>
                <a:gd name="connsiteX215" fmla="*/ 4837 w 10000"/>
                <a:gd name="connsiteY215" fmla="*/ 1818 h 10000"/>
                <a:gd name="connsiteX216" fmla="*/ 4671 w 10000"/>
                <a:gd name="connsiteY216" fmla="*/ 1814 h 10000"/>
                <a:gd name="connsiteX217" fmla="*/ 4571 w 10000"/>
                <a:gd name="connsiteY217" fmla="*/ 1838 h 10000"/>
                <a:gd name="connsiteX218" fmla="*/ 4298 w 10000"/>
                <a:gd name="connsiteY218" fmla="*/ 2503 h 10000"/>
                <a:gd name="connsiteX219" fmla="*/ 3668 w 10000"/>
                <a:gd name="connsiteY219" fmla="*/ 2891 h 10000"/>
                <a:gd name="connsiteX220" fmla="*/ 3672 w 10000"/>
                <a:gd name="connsiteY220" fmla="*/ 2952 h 10000"/>
                <a:gd name="connsiteX221" fmla="*/ 3952 w 10000"/>
                <a:gd name="connsiteY221" fmla="*/ 3126 h 10000"/>
                <a:gd name="connsiteX222" fmla="*/ 3861 w 10000"/>
                <a:gd name="connsiteY222" fmla="*/ 3314 h 10000"/>
                <a:gd name="connsiteX223" fmla="*/ 3698 w 10000"/>
                <a:gd name="connsiteY223" fmla="*/ 3383 h 10000"/>
                <a:gd name="connsiteX224" fmla="*/ 3208 w 10000"/>
                <a:gd name="connsiteY224" fmla="*/ 3337 h 10000"/>
                <a:gd name="connsiteX225" fmla="*/ 2871 w 10000"/>
                <a:gd name="connsiteY225" fmla="*/ 3363 h 10000"/>
                <a:gd name="connsiteX226" fmla="*/ 2601 w 10000"/>
                <a:gd name="connsiteY226" fmla="*/ 3419 h 10000"/>
                <a:gd name="connsiteX227" fmla="*/ 2163 w 10000"/>
                <a:gd name="connsiteY227" fmla="*/ 3592 h 10000"/>
                <a:gd name="connsiteX228" fmla="*/ 1931 w 10000"/>
                <a:gd name="connsiteY228" fmla="*/ 3802 h 10000"/>
                <a:gd name="connsiteX229" fmla="*/ 1951 w 10000"/>
                <a:gd name="connsiteY229" fmla="*/ 3919 h 10000"/>
                <a:gd name="connsiteX230" fmla="*/ 2032 w 10000"/>
                <a:gd name="connsiteY230" fmla="*/ 4009 h 10000"/>
                <a:gd name="connsiteX231" fmla="*/ 2093 w 10000"/>
                <a:gd name="connsiteY231" fmla="*/ 4045 h 10000"/>
                <a:gd name="connsiteX232" fmla="*/ 1979 w 10000"/>
                <a:gd name="connsiteY232" fmla="*/ 4103 h 10000"/>
                <a:gd name="connsiteX233" fmla="*/ 1731 w 10000"/>
                <a:gd name="connsiteY233" fmla="*/ 4497 h 10000"/>
                <a:gd name="connsiteX234" fmla="*/ 1779 w 10000"/>
                <a:gd name="connsiteY234" fmla="*/ 4520 h 10000"/>
                <a:gd name="connsiteX235" fmla="*/ 1815 w 10000"/>
                <a:gd name="connsiteY235" fmla="*/ 4620 h 10000"/>
                <a:gd name="connsiteX236" fmla="*/ 1700 w 10000"/>
                <a:gd name="connsiteY236" fmla="*/ 5035 h 10000"/>
                <a:gd name="connsiteX237" fmla="*/ 1815 w 10000"/>
                <a:gd name="connsiteY237" fmla="*/ 5141 h 10000"/>
                <a:gd name="connsiteX238" fmla="*/ 2131 w 10000"/>
                <a:gd name="connsiteY238" fmla="*/ 5257 h 10000"/>
                <a:gd name="connsiteX239" fmla="*/ 2145 w 10000"/>
                <a:gd name="connsiteY239" fmla="*/ 5399 h 10000"/>
                <a:gd name="connsiteX240" fmla="*/ 2010 w 10000"/>
                <a:gd name="connsiteY240" fmla="*/ 5517 h 10000"/>
                <a:gd name="connsiteX241" fmla="*/ 1815 w 10000"/>
                <a:gd name="connsiteY241" fmla="*/ 5588 h 10000"/>
                <a:gd name="connsiteX242" fmla="*/ 1557 w 10000"/>
                <a:gd name="connsiteY242" fmla="*/ 5617 h 10000"/>
                <a:gd name="connsiteX243" fmla="*/ 1490 w 10000"/>
                <a:gd name="connsiteY243" fmla="*/ 5658 h 10000"/>
                <a:gd name="connsiteX244" fmla="*/ 1640 w 10000"/>
                <a:gd name="connsiteY244" fmla="*/ 5755 h 10000"/>
                <a:gd name="connsiteX245" fmla="*/ 1726 w 10000"/>
                <a:gd name="connsiteY245" fmla="*/ 5987 h 10000"/>
                <a:gd name="connsiteX246" fmla="*/ 1531 w 10000"/>
                <a:gd name="connsiteY246" fmla="*/ 6185 h 10000"/>
                <a:gd name="connsiteX247" fmla="*/ 1599 w 10000"/>
                <a:gd name="connsiteY247" fmla="*/ 6247 h 10000"/>
                <a:gd name="connsiteX248" fmla="*/ 1537 w 10000"/>
                <a:gd name="connsiteY248" fmla="*/ 6351 h 10000"/>
                <a:gd name="connsiteX249" fmla="*/ 1412 w 10000"/>
                <a:gd name="connsiteY249" fmla="*/ 6422 h 10000"/>
                <a:gd name="connsiteX250" fmla="*/ 915 w 10000"/>
                <a:gd name="connsiteY250" fmla="*/ 6477 h 10000"/>
                <a:gd name="connsiteX251" fmla="*/ 885 w 10000"/>
                <a:gd name="connsiteY251" fmla="*/ 6573 h 10000"/>
                <a:gd name="connsiteX252" fmla="*/ 617 w 10000"/>
                <a:gd name="connsiteY252" fmla="*/ 6716 h 10000"/>
                <a:gd name="connsiteX253" fmla="*/ 652 w 10000"/>
                <a:gd name="connsiteY253" fmla="*/ 6921 h 10000"/>
                <a:gd name="connsiteX254" fmla="*/ 427 w 10000"/>
                <a:gd name="connsiteY254" fmla="*/ 7184 h 10000"/>
                <a:gd name="connsiteX255" fmla="*/ 274 w 10000"/>
                <a:gd name="connsiteY255" fmla="*/ 7215 h 10000"/>
                <a:gd name="connsiteX256" fmla="*/ 210 w 10000"/>
                <a:gd name="connsiteY256" fmla="*/ 7152 h 10000"/>
                <a:gd name="connsiteX257" fmla="*/ 132 w 10000"/>
                <a:gd name="connsiteY257" fmla="*/ 7247 h 10000"/>
                <a:gd name="connsiteX258" fmla="*/ 183 w 10000"/>
                <a:gd name="connsiteY258" fmla="*/ 7084 h 10000"/>
                <a:gd name="connsiteX259" fmla="*/ 151 w 10000"/>
                <a:gd name="connsiteY259"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7512 w 10000"/>
                <a:gd name="connsiteY211" fmla="*/ 201 h 10000"/>
                <a:gd name="connsiteX212" fmla="*/ 7406 w 10000"/>
                <a:gd name="connsiteY212" fmla="*/ 362 h 10000"/>
                <a:gd name="connsiteX213" fmla="*/ 5098 w 10000"/>
                <a:gd name="connsiteY213" fmla="*/ 1750 h 10000"/>
                <a:gd name="connsiteX214" fmla="*/ 4837 w 10000"/>
                <a:gd name="connsiteY214" fmla="*/ 1818 h 10000"/>
                <a:gd name="connsiteX215" fmla="*/ 4671 w 10000"/>
                <a:gd name="connsiteY215" fmla="*/ 1814 h 10000"/>
                <a:gd name="connsiteX216" fmla="*/ 4571 w 10000"/>
                <a:gd name="connsiteY216" fmla="*/ 1838 h 10000"/>
                <a:gd name="connsiteX217" fmla="*/ 4298 w 10000"/>
                <a:gd name="connsiteY217" fmla="*/ 2503 h 10000"/>
                <a:gd name="connsiteX218" fmla="*/ 3668 w 10000"/>
                <a:gd name="connsiteY218" fmla="*/ 2891 h 10000"/>
                <a:gd name="connsiteX219" fmla="*/ 3672 w 10000"/>
                <a:gd name="connsiteY219" fmla="*/ 2952 h 10000"/>
                <a:gd name="connsiteX220" fmla="*/ 3952 w 10000"/>
                <a:gd name="connsiteY220" fmla="*/ 3126 h 10000"/>
                <a:gd name="connsiteX221" fmla="*/ 3861 w 10000"/>
                <a:gd name="connsiteY221" fmla="*/ 3314 h 10000"/>
                <a:gd name="connsiteX222" fmla="*/ 3698 w 10000"/>
                <a:gd name="connsiteY222" fmla="*/ 3383 h 10000"/>
                <a:gd name="connsiteX223" fmla="*/ 3208 w 10000"/>
                <a:gd name="connsiteY223" fmla="*/ 3337 h 10000"/>
                <a:gd name="connsiteX224" fmla="*/ 2871 w 10000"/>
                <a:gd name="connsiteY224" fmla="*/ 3363 h 10000"/>
                <a:gd name="connsiteX225" fmla="*/ 2601 w 10000"/>
                <a:gd name="connsiteY225" fmla="*/ 3419 h 10000"/>
                <a:gd name="connsiteX226" fmla="*/ 2163 w 10000"/>
                <a:gd name="connsiteY226" fmla="*/ 3592 h 10000"/>
                <a:gd name="connsiteX227" fmla="*/ 1931 w 10000"/>
                <a:gd name="connsiteY227" fmla="*/ 3802 h 10000"/>
                <a:gd name="connsiteX228" fmla="*/ 1951 w 10000"/>
                <a:gd name="connsiteY228" fmla="*/ 3919 h 10000"/>
                <a:gd name="connsiteX229" fmla="*/ 2032 w 10000"/>
                <a:gd name="connsiteY229" fmla="*/ 4009 h 10000"/>
                <a:gd name="connsiteX230" fmla="*/ 2093 w 10000"/>
                <a:gd name="connsiteY230" fmla="*/ 4045 h 10000"/>
                <a:gd name="connsiteX231" fmla="*/ 1979 w 10000"/>
                <a:gd name="connsiteY231" fmla="*/ 4103 h 10000"/>
                <a:gd name="connsiteX232" fmla="*/ 1731 w 10000"/>
                <a:gd name="connsiteY232" fmla="*/ 4497 h 10000"/>
                <a:gd name="connsiteX233" fmla="*/ 1779 w 10000"/>
                <a:gd name="connsiteY233" fmla="*/ 4520 h 10000"/>
                <a:gd name="connsiteX234" fmla="*/ 1815 w 10000"/>
                <a:gd name="connsiteY234" fmla="*/ 4620 h 10000"/>
                <a:gd name="connsiteX235" fmla="*/ 1700 w 10000"/>
                <a:gd name="connsiteY235" fmla="*/ 5035 h 10000"/>
                <a:gd name="connsiteX236" fmla="*/ 1815 w 10000"/>
                <a:gd name="connsiteY236" fmla="*/ 5141 h 10000"/>
                <a:gd name="connsiteX237" fmla="*/ 2131 w 10000"/>
                <a:gd name="connsiteY237" fmla="*/ 5257 h 10000"/>
                <a:gd name="connsiteX238" fmla="*/ 2145 w 10000"/>
                <a:gd name="connsiteY238" fmla="*/ 5399 h 10000"/>
                <a:gd name="connsiteX239" fmla="*/ 2010 w 10000"/>
                <a:gd name="connsiteY239" fmla="*/ 5517 h 10000"/>
                <a:gd name="connsiteX240" fmla="*/ 1815 w 10000"/>
                <a:gd name="connsiteY240" fmla="*/ 5588 h 10000"/>
                <a:gd name="connsiteX241" fmla="*/ 1557 w 10000"/>
                <a:gd name="connsiteY241" fmla="*/ 5617 h 10000"/>
                <a:gd name="connsiteX242" fmla="*/ 1490 w 10000"/>
                <a:gd name="connsiteY242" fmla="*/ 5658 h 10000"/>
                <a:gd name="connsiteX243" fmla="*/ 1640 w 10000"/>
                <a:gd name="connsiteY243" fmla="*/ 5755 h 10000"/>
                <a:gd name="connsiteX244" fmla="*/ 1726 w 10000"/>
                <a:gd name="connsiteY244" fmla="*/ 5987 h 10000"/>
                <a:gd name="connsiteX245" fmla="*/ 1531 w 10000"/>
                <a:gd name="connsiteY245" fmla="*/ 6185 h 10000"/>
                <a:gd name="connsiteX246" fmla="*/ 1599 w 10000"/>
                <a:gd name="connsiteY246" fmla="*/ 6247 h 10000"/>
                <a:gd name="connsiteX247" fmla="*/ 1537 w 10000"/>
                <a:gd name="connsiteY247" fmla="*/ 6351 h 10000"/>
                <a:gd name="connsiteX248" fmla="*/ 1412 w 10000"/>
                <a:gd name="connsiteY248" fmla="*/ 6422 h 10000"/>
                <a:gd name="connsiteX249" fmla="*/ 915 w 10000"/>
                <a:gd name="connsiteY249" fmla="*/ 6477 h 10000"/>
                <a:gd name="connsiteX250" fmla="*/ 885 w 10000"/>
                <a:gd name="connsiteY250" fmla="*/ 6573 h 10000"/>
                <a:gd name="connsiteX251" fmla="*/ 617 w 10000"/>
                <a:gd name="connsiteY251" fmla="*/ 6716 h 10000"/>
                <a:gd name="connsiteX252" fmla="*/ 652 w 10000"/>
                <a:gd name="connsiteY252" fmla="*/ 6921 h 10000"/>
                <a:gd name="connsiteX253" fmla="*/ 427 w 10000"/>
                <a:gd name="connsiteY253" fmla="*/ 7184 h 10000"/>
                <a:gd name="connsiteX254" fmla="*/ 274 w 10000"/>
                <a:gd name="connsiteY254" fmla="*/ 7215 h 10000"/>
                <a:gd name="connsiteX255" fmla="*/ 210 w 10000"/>
                <a:gd name="connsiteY255" fmla="*/ 7152 h 10000"/>
                <a:gd name="connsiteX256" fmla="*/ 132 w 10000"/>
                <a:gd name="connsiteY256" fmla="*/ 7247 h 10000"/>
                <a:gd name="connsiteX257" fmla="*/ 183 w 10000"/>
                <a:gd name="connsiteY257" fmla="*/ 7084 h 10000"/>
                <a:gd name="connsiteX258" fmla="*/ 151 w 10000"/>
                <a:gd name="connsiteY258"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7512 w 10000"/>
                <a:gd name="connsiteY211" fmla="*/ 201 h 10000"/>
                <a:gd name="connsiteX212" fmla="*/ 5098 w 10000"/>
                <a:gd name="connsiteY212" fmla="*/ 1750 h 10000"/>
                <a:gd name="connsiteX213" fmla="*/ 4837 w 10000"/>
                <a:gd name="connsiteY213" fmla="*/ 1818 h 10000"/>
                <a:gd name="connsiteX214" fmla="*/ 4671 w 10000"/>
                <a:gd name="connsiteY214" fmla="*/ 1814 h 10000"/>
                <a:gd name="connsiteX215" fmla="*/ 4571 w 10000"/>
                <a:gd name="connsiteY215" fmla="*/ 1838 h 10000"/>
                <a:gd name="connsiteX216" fmla="*/ 4298 w 10000"/>
                <a:gd name="connsiteY216" fmla="*/ 2503 h 10000"/>
                <a:gd name="connsiteX217" fmla="*/ 3668 w 10000"/>
                <a:gd name="connsiteY217" fmla="*/ 2891 h 10000"/>
                <a:gd name="connsiteX218" fmla="*/ 3672 w 10000"/>
                <a:gd name="connsiteY218" fmla="*/ 2952 h 10000"/>
                <a:gd name="connsiteX219" fmla="*/ 3952 w 10000"/>
                <a:gd name="connsiteY219" fmla="*/ 3126 h 10000"/>
                <a:gd name="connsiteX220" fmla="*/ 3861 w 10000"/>
                <a:gd name="connsiteY220" fmla="*/ 3314 h 10000"/>
                <a:gd name="connsiteX221" fmla="*/ 3698 w 10000"/>
                <a:gd name="connsiteY221" fmla="*/ 3383 h 10000"/>
                <a:gd name="connsiteX222" fmla="*/ 3208 w 10000"/>
                <a:gd name="connsiteY222" fmla="*/ 3337 h 10000"/>
                <a:gd name="connsiteX223" fmla="*/ 2871 w 10000"/>
                <a:gd name="connsiteY223" fmla="*/ 3363 h 10000"/>
                <a:gd name="connsiteX224" fmla="*/ 2601 w 10000"/>
                <a:gd name="connsiteY224" fmla="*/ 3419 h 10000"/>
                <a:gd name="connsiteX225" fmla="*/ 2163 w 10000"/>
                <a:gd name="connsiteY225" fmla="*/ 3592 h 10000"/>
                <a:gd name="connsiteX226" fmla="*/ 1931 w 10000"/>
                <a:gd name="connsiteY226" fmla="*/ 3802 h 10000"/>
                <a:gd name="connsiteX227" fmla="*/ 1951 w 10000"/>
                <a:gd name="connsiteY227" fmla="*/ 3919 h 10000"/>
                <a:gd name="connsiteX228" fmla="*/ 2032 w 10000"/>
                <a:gd name="connsiteY228" fmla="*/ 4009 h 10000"/>
                <a:gd name="connsiteX229" fmla="*/ 2093 w 10000"/>
                <a:gd name="connsiteY229" fmla="*/ 4045 h 10000"/>
                <a:gd name="connsiteX230" fmla="*/ 1979 w 10000"/>
                <a:gd name="connsiteY230" fmla="*/ 4103 h 10000"/>
                <a:gd name="connsiteX231" fmla="*/ 1731 w 10000"/>
                <a:gd name="connsiteY231" fmla="*/ 4497 h 10000"/>
                <a:gd name="connsiteX232" fmla="*/ 1779 w 10000"/>
                <a:gd name="connsiteY232" fmla="*/ 4520 h 10000"/>
                <a:gd name="connsiteX233" fmla="*/ 1815 w 10000"/>
                <a:gd name="connsiteY233" fmla="*/ 4620 h 10000"/>
                <a:gd name="connsiteX234" fmla="*/ 1700 w 10000"/>
                <a:gd name="connsiteY234" fmla="*/ 5035 h 10000"/>
                <a:gd name="connsiteX235" fmla="*/ 1815 w 10000"/>
                <a:gd name="connsiteY235" fmla="*/ 5141 h 10000"/>
                <a:gd name="connsiteX236" fmla="*/ 2131 w 10000"/>
                <a:gd name="connsiteY236" fmla="*/ 5257 h 10000"/>
                <a:gd name="connsiteX237" fmla="*/ 2145 w 10000"/>
                <a:gd name="connsiteY237" fmla="*/ 5399 h 10000"/>
                <a:gd name="connsiteX238" fmla="*/ 2010 w 10000"/>
                <a:gd name="connsiteY238" fmla="*/ 5517 h 10000"/>
                <a:gd name="connsiteX239" fmla="*/ 1815 w 10000"/>
                <a:gd name="connsiteY239" fmla="*/ 5588 h 10000"/>
                <a:gd name="connsiteX240" fmla="*/ 1557 w 10000"/>
                <a:gd name="connsiteY240" fmla="*/ 5617 h 10000"/>
                <a:gd name="connsiteX241" fmla="*/ 1490 w 10000"/>
                <a:gd name="connsiteY241" fmla="*/ 5658 h 10000"/>
                <a:gd name="connsiteX242" fmla="*/ 1640 w 10000"/>
                <a:gd name="connsiteY242" fmla="*/ 5755 h 10000"/>
                <a:gd name="connsiteX243" fmla="*/ 1726 w 10000"/>
                <a:gd name="connsiteY243" fmla="*/ 5987 h 10000"/>
                <a:gd name="connsiteX244" fmla="*/ 1531 w 10000"/>
                <a:gd name="connsiteY244" fmla="*/ 6185 h 10000"/>
                <a:gd name="connsiteX245" fmla="*/ 1599 w 10000"/>
                <a:gd name="connsiteY245" fmla="*/ 6247 h 10000"/>
                <a:gd name="connsiteX246" fmla="*/ 1537 w 10000"/>
                <a:gd name="connsiteY246" fmla="*/ 6351 h 10000"/>
                <a:gd name="connsiteX247" fmla="*/ 1412 w 10000"/>
                <a:gd name="connsiteY247" fmla="*/ 6422 h 10000"/>
                <a:gd name="connsiteX248" fmla="*/ 915 w 10000"/>
                <a:gd name="connsiteY248" fmla="*/ 6477 h 10000"/>
                <a:gd name="connsiteX249" fmla="*/ 885 w 10000"/>
                <a:gd name="connsiteY249" fmla="*/ 6573 h 10000"/>
                <a:gd name="connsiteX250" fmla="*/ 617 w 10000"/>
                <a:gd name="connsiteY250" fmla="*/ 6716 h 10000"/>
                <a:gd name="connsiteX251" fmla="*/ 652 w 10000"/>
                <a:gd name="connsiteY251" fmla="*/ 6921 h 10000"/>
                <a:gd name="connsiteX252" fmla="*/ 427 w 10000"/>
                <a:gd name="connsiteY252" fmla="*/ 7184 h 10000"/>
                <a:gd name="connsiteX253" fmla="*/ 274 w 10000"/>
                <a:gd name="connsiteY253" fmla="*/ 7215 h 10000"/>
                <a:gd name="connsiteX254" fmla="*/ 210 w 10000"/>
                <a:gd name="connsiteY254" fmla="*/ 7152 h 10000"/>
                <a:gd name="connsiteX255" fmla="*/ 132 w 10000"/>
                <a:gd name="connsiteY255" fmla="*/ 7247 h 10000"/>
                <a:gd name="connsiteX256" fmla="*/ 183 w 10000"/>
                <a:gd name="connsiteY256" fmla="*/ 7084 h 10000"/>
                <a:gd name="connsiteX257" fmla="*/ 151 w 10000"/>
                <a:gd name="connsiteY257"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5098 w 10000"/>
                <a:gd name="connsiteY211" fmla="*/ 1750 h 10000"/>
                <a:gd name="connsiteX212" fmla="*/ 4837 w 10000"/>
                <a:gd name="connsiteY212" fmla="*/ 1818 h 10000"/>
                <a:gd name="connsiteX213" fmla="*/ 4671 w 10000"/>
                <a:gd name="connsiteY213" fmla="*/ 1814 h 10000"/>
                <a:gd name="connsiteX214" fmla="*/ 4571 w 10000"/>
                <a:gd name="connsiteY214" fmla="*/ 1838 h 10000"/>
                <a:gd name="connsiteX215" fmla="*/ 4298 w 10000"/>
                <a:gd name="connsiteY215" fmla="*/ 2503 h 10000"/>
                <a:gd name="connsiteX216" fmla="*/ 3668 w 10000"/>
                <a:gd name="connsiteY216" fmla="*/ 2891 h 10000"/>
                <a:gd name="connsiteX217" fmla="*/ 3672 w 10000"/>
                <a:gd name="connsiteY217" fmla="*/ 2952 h 10000"/>
                <a:gd name="connsiteX218" fmla="*/ 3952 w 10000"/>
                <a:gd name="connsiteY218" fmla="*/ 3126 h 10000"/>
                <a:gd name="connsiteX219" fmla="*/ 3861 w 10000"/>
                <a:gd name="connsiteY219" fmla="*/ 3314 h 10000"/>
                <a:gd name="connsiteX220" fmla="*/ 3698 w 10000"/>
                <a:gd name="connsiteY220" fmla="*/ 3383 h 10000"/>
                <a:gd name="connsiteX221" fmla="*/ 3208 w 10000"/>
                <a:gd name="connsiteY221" fmla="*/ 3337 h 10000"/>
                <a:gd name="connsiteX222" fmla="*/ 2871 w 10000"/>
                <a:gd name="connsiteY222" fmla="*/ 3363 h 10000"/>
                <a:gd name="connsiteX223" fmla="*/ 2601 w 10000"/>
                <a:gd name="connsiteY223" fmla="*/ 3419 h 10000"/>
                <a:gd name="connsiteX224" fmla="*/ 2163 w 10000"/>
                <a:gd name="connsiteY224" fmla="*/ 3592 h 10000"/>
                <a:gd name="connsiteX225" fmla="*/ 1931 w 10000"/>
                <a:gd name="connsiteY225" fmla="*/ 3802 h 10000"/>
                <a:gd name="connsiteX226" fmla="*/ 1951 w 10000"/>
                <a:gd name="connsiteY226" fmla="*/ 3919 h 10000"/>
                <a:gd name="connsiteX227" fmla="*/ 2032 w 10000"/>
                <a:gd name="connsiteY227" fmla="*/ 4009 h 10000"/>
                <a:gd name="connsiteX228" fmla="*/ 2093 w 10000"/>
                <a:gd name="connsiteY228" fmla="*/ 4045 h 10000"/>
                <a:gd name="connsiteX229" fmla="*/ 1979 w 10000"/>
                <a:gd name="connsiteY229" fmla="*/ 4103 h 10000"/>
                <a:gd name="connsiteX230" fmla="*/ 1731 w 10000"/>
                <a:gd name="connsiteY230" fmla="*/ 4497 h 10000"/>
                <a:gd name="connsiteX231" fmla="*/ 1779 w 10000"/>
                <a:gd name="connsiteY231" fmla="*/ 4520 h 10000"/>
                <a:gd name="connsiteX232" fmla="*/ 1815 w 10000"/>
                <a:gd name="connsiteY232" fmla="*/ 4620 h 10000"/>
                <a:gd name="connsiteX233" fmla="*/ 1700 w 10000"/>
                <a:gd name="connsiteY233" fmla="*/ 5035 h 10000"/>
                <a:gd name="connsiteX234" fmla="*/ 1815 w 10000"/>
                <a:gd name="connsiteY234" fmla="*/ 5141 h 10000"/>
                <a:gd name="connsiteX235" fmla="*/ 2131 w 10000"/>
                <a:gd name="connsiteY235" fmla="*/ 5257 h 10000"/>
                <a:gd name="connsiteX236" fmla="*/ 2145 w 10000"/>
                <a:gd name="connsiteY236" fmla="*/ 5399 h 10000"/>
                <a:gd name="connsiteX237" fmla="*/ 2010 w 10000"/>
                <a:gd name="connsiteY237" fmla="*/ 5517 h 10000"/>
                <a:gd name="connsiteX238" fmla="*/ 1815 w 10000"/>
                <a:gd name="connsiteY238" fmla="*/ 5588 h 10000"/>
                <a:gd name="connsiteX239" fmla="*/ 1557 w 10000"/>
                <a:gd name="connsiteY239" fmla="*/ 5617 h 10000"/>
                <a:gd name="connsiteX240" fmla="*/ 1490 w 10000"/>
                <a:gd name="connsiteY240" fmla="*/ 5658 h 10000"/>
                <a:gd name="connsiteX241" fmla="*/ 1640 w 10000"/>
                <a:gd name="connsiteY241" fmla="*/ 5755 h 10000"/>
                <a:gd name="connsiteX242" fmla="*/ 1726 w 10000"/>
                <a:gd name="connsiteY242" fmla="*/ 5987 h 10000"/>
                <a:gd name="connsiteX243" fmla="*/ 1531 w 10000"/>
                <a:gd name="connsiteY243" fmla="*/ 6185 h 10000"/>
                <a:gd name="connsiteX244" fmla="*/ 1599 w 10000"/>
                <a:gd name="connsiteY244" fmla="*/ 6247 h 10000"/>
                <a:gd name="connsiteX245" fmla="*/ 1537 w 10000"/>
                <a:gd name="connsiteY245" fmla="*/ 6351 h 10000"/>
                <a:gd name="connsiteX246" fmla="*/ 1412 w 10000"/>
                <a:gd name="connsiteY246" fmla="*/ 6422 h 10000"/>
                <a:gd name="connsiteX247" fmla="*/ 915 w 10000"/>
                <a:gd name="connsiteY247" fmla="*/ 6477 h 10000"/>
                <a:gd name="connsiteX248" fmla="*/ 885 w 10000"/>
                <a:gd name="connsiteY248" fmla="*/ 6573 h 10000"/>
                <a:gd name="connsiteX249" fmla="*/ 617 w 10000"/>
                <a:gd name="connsiteY249" fmla="*/ 6716 h 10000"/>
                <a:gd name="connsiteX250" fmla="*/ 652 w 10000"/>
                <a:gd name="connsiteY250" fmla="*/ 6921 h 10000"/>
                <a:gd name="connsiteX251" fmla="*/ 427 w 10000"/>
                <a:gd name="connsiteY251" fmla="*/ 7184 h 10000"/>
                <a:gd name="connsiteX252" fmla="*/ 274 w 10000"/>
                <a:gd name="connsiteY252" fmla="*/ 7215 h 10000"/>
                <a:gd name="connsiteX253" fmla="*/ 210 w 10000"/>
                <a:gd name="connsiteY253" fmla="*/ 7152 h 10000"/>
                <a:gd name="connsiteX254" fmla="*/ 132 w 10000"/>
                <a:gd name="connsiteY254" fmla="*/ 7247 h 10000"/>
                <a:gd name="connsiteX255" fmla="*/ 183 w 10000"/>
                <a:gd name="connsiteY255" fmla="*/ 7084 h 10000"/>
                <a:gd name="connsiteX256" fmla="*/ 151 w 10000"/>
                <a:gd name="connsiteY256"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5098 w 10000"/>
                <a:gd name="connsiteY210" fmla="*/ 1750 h 10000"/>
                <a:gd name="connsiteX211" fmla="*/ 4837 w 10000"/>
                <a:gd name="connsiteY211" fmla="*/ 1818 h 10000"/>
                <a:gd name="connsiteX212" fmla="*/ 4671 w 10000"/>
                <a:gd name="connsiteY212" fmla="*/ 1814 h 10000"/>
                <a:gd name="connsiteX213" fmla="*/ 4571 w 10000"/>
                <a:gd name="connsiteY213" fmla="*/ 1838 h 10000"/>
                <a:gd name="connsiteX214" fmla="*/ 4298 w 10000"/>
                <a:gd name="connsiteY214" fmla="*/ 2503 h 10000"/>
                <a:gd name="connsiteX215" fmla="*/ 3668 w 10000"/>
                <a:gd name="connsiteY215" fmla="*/ 2891 h 10000"/>
                <a:gd name="connsiteX216" fmla="*/ 3672 w 10000"/>
                <a:gd name="connsiteY216" fmla="*/ 2952 h 10000"/>
                <a:gd name="connsiteX217" fmla="*/ 3952 w 10000"/>
                <a:gd name="connsiteY217" fmla="*/ 3126 h 10000"/>
                <a:gd name="connsiteX218" fmla="*/ 3861 w 10000"/>
                <a:gd name="connsiteY218" fmla="*/ 3314 h 10000"/>
                <a:gd name="connsiteX219" fmla="*/ 3698 w 10000"/>
                <a:gd name="connsiteY219" fmla="*/ 3383 h 10000"/>
                <a:gd name="connsiteX220" fmla="*/ 3208 w 10000"/>
                <a:gd name="connsiteY220" fmla="*/ 3337 h 10000"/>
                <a:gd name="connsiteX221" fmla="*/ 2871 w 10000"/>
                <a:gd name="connsiteY221" fmla="*/ 3363 h 10000"/>
                <a:gd name="connsiteX222" fmla="*/ 2601 w 10000"/>
                <a:gd name="connsiteY222" fmla="*/ 3419 h 10000"/>
                <a:gd name="connsiteX223" fmla="*/ 2163 w 10000"/>
                <a:gd name="connsiteY223" fmla="*/ 3592 h 10000"/>
                <a:gd name="connsiteX224" fmla="*/ 1931 w 10000"/>
                <a:gd name="connsiteY224" fmla="*/ 3802 h 10000"/>
                <a:gd name="connsiteX225" fmla="*/ 1951 w 10000"/>
                <a:gd name="connsiteY225" fmla="*/ 3919 h 10000"/>
                <a:gd name="connsiteX226" fmla="*/ 2032 w 10000"/>
                <a:gd name="connsiteY226" fmla="*/ 4009 h 10000"/>
                <a:gd name="connsiteX227" fmla="*/ 2093 w 10000"/>
                <a:gd name="connsiteY227" fmla="*/ 4045 h 10000"/>
                <a:gd name="connsiteX228" fmla="*/ 1979 w 10000"/>
                <a:gd name="connsiteY228" fmla="*/ 4103 h 10000"/>
                <a:gd name="connsiteX229" fmla="*/ 1731 w 10000"/>
                <a:gd name="connsiteY229" fmla="*/ 4497 h 10000"/>
                <a:gd name="connsiteX230" fmla="*/ 1779 w 10000"/>
                <a:gd name="connsiteY230" fmla="*/ 4520 h 10000"/>
                <a:gd name="connsiteX231" fmla="*/ 1815 w 10000"/>
                <a:gd name="connsiteY231" fmla="*/ 4620 h 10000"/>
                <a:gd name="connsiteX232" fmla="*/ 1700 w 10000"/>
                <a:gd name="connsiteY232" fmla="*/ 5035 h 10000"/>
                <a:gd name="connsiteX233" fmla="*/ 1815 w 10000"/>
                <a:gd name="connsiteY233" fmla="*/ 5141 h 10000"/>
                <a:gd name="connsiteX234" fmla="*/ 2131 w 10000"/>
                <a:gd name="connsiteY234" fmla="*/ 5257 h 10000"/>
                <a:gd name="connsiteX235" fmla="*/ 2145 w 10000"/>
                <a:gd name="connsiteY235" fmla="*/ 5399 h 10000"/>
                <a:gd name="connsiteX236" fmla="*/ 2010 w 10000"/>
                <a:gd name="connsiteY236" fmla="*/ 5517 h 10000"/>
                <a:gd name="connsiteX237" fmla="*/ 1815 w 10000"/>
                <a:gd name="connsiteY237" fmla="*/ 5588 h 10000"/>
                <a:gd name="connsiteX238" fmla="*/ 1557 w 10000"/>
                <a:gd name="connsiteY238" fmla="*/ 5617 h 10000"/>
                <a:gd name="connsiteX239" fmla="*/ 1490 w 10000"/>
                <a:gd name="connsiteY239" fmla="*/ 5658 h 10000"/>
                <a:gd name="connsiteX240" fmla="*/ 1640 w 10000"/>
                <a:gd name="connsiteY240" fmla="*/ 5755 h 10000"/>
                <a:gd name="connsiteX241" fmla="*/ 1726 w 10000"/>
                <a:gd name="connsiteY241" fmla="*/ 5987 h 10000"/>
                <a:gd name="connsiteX242" fmla="*/ 1531 w 10000"/>
                <a:gd name="connsiteY242" fmla="*/ 6185 h 10000"/>
                <a:gd name="connsiteX243" fmla="*/ 1599 w 10000"/>
                <a:gd name="connsiteY243" fmla="*/ 6247 h 10000"/>
                <a:gd name="connsiteX244" fmla="*/ 1537 w 10000"/>
                <a:gd name="connsiteY244" fmla="*/ 6351 h 10000"/>
                <a:gd name="connsiteX245" fmla="*/ 1412 w 10000"/>
                <a:gd name="connsiteY245" fmla="*/ 6422 h 10000"/>
                <a:gd name="connsiteX246" fmla="*/ 915 w 10000"/>
                <a:gd name="connsiteY246" fmla="*/ 6477 h 10000"/>
                <a:gd name="connsiteX247" fmla="*/ 885 w 10000"/>
                <a:gd name="connsiteY247" fmla="*/ 6573 h 10000"/>
                <a:gd name="connsiteX248" fmla="*/ 617 w 10000"/>
                <a:gd name="connsiteY248" fmla="*/ 6716 h 10000"/>
                <a:gd name="connsiteX249" fmla="*/ 652 w 10000"/>
                <a:gd name="connsiteY249" fmla="*/ 6921 h 10000"/>
                <a:gd name="connsiteX250" fmla="*/ 427 w 10000"/>
                <a:gd name="connsiteY250" fmla="*/ 7184 h 10000"/>
                <a:gd name="connsiteX251" fmla="*/ 274 w 10000"/>
                <a:gd name="connsiteY251" fmla="*/ 7215 h 10000"/>
                <a:gd name="connsiteX252" fmla="*/ 210 w 10000"/>
                <a:gd name="connsiteY252" fmla="*/ 7152 h 10000"/>
                <a:gd name="connsiteX253" fmla="*/ 132 w 10000"/>
                <a:gd name="connsiteY253" fmla="*/ 7247 h 10000"/>
                <a:gd name="connsiteX254" fmla="*/ 183 w 10000"/>
                <a:gd name="connsiteY254" fmla="*/ 7084 h 10000"/>
                <a:gd name="connsiteX255" fmla="*/ 151 w 10000"/>
                <a:gd name="connsiteY255"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5098 w 10000"/>
                <a:gd name="connsiteY209" fmla="*/ 1750 h 10000"/>
                <a:gd name="connsiteX210" fmla="*/ 4837 w 10000"/>
                <a:gd name="connsiteY210" fmla="*/ 1818 h 10000"/>
                <a:gd name="connsiteX211" fmla="*/ 4671 w 10000"/>
                <a:gd name="connsiteY211" fmla="*/ 1814 h 10000"/>
                <a:gd name="connsiteX212" fmla="*/ 4571 w 10000"/>
                <a:gd name="connsiteY212" fmla="*/ 1838 h 10000"/>
                <a:gd name="connsiteX213" fmla="*/ 4298 w 10000"/>
                <a:gd name="connsiteY213" fmla="*/ 2503 h 10000"/>
                <a:gd name="connsiteX214" fmla="*/ 3668 w 10000"/>
                <a:gd name="connsiteY214" fmla="*/ 2891 h 10000"/>
                <a:gd name="connsiteX215" fmla="*/ 3672 w 10000"/>
                <a:gd name="connsiteY215" fmla="*/ 2952 h 10000"/>
                <a:gd name="connsiteX216" fmla="*/ 3952 w 10000"/>
                <a:gd name="connsiteY216" fmla="*/ 3126 h 10000"/>
                <a:gd name="connsiteX217" fmla="*/ 3861 w 10000"/>
                <a:gd name="connsiteY217" fmla="*/ 3314 h 10000"/>
                <a:gd name="connsiteX218" fmla="*/ 3698 w 10000"/>
                <a:gd name="connsiteY218" fmla="*/ 3383 h 10000"/>
                <a:gd name="connsiteX219" fmla="*/ 3208 w 10000"/>
                <a:gd name="connsiteY219" fmla="*/ 3337 h 10000"/>
                <a:gd name="connsiteX220" fmla="*/ 2871 w 10000"/>
                <a:gd name="connsiteY220" fmla="*/ 3363 h 10000"/>
                <a:gd name="connsiteX221" fmla="*/ 2601 w 10000"/>
                <a:gd name="connsiteY221" fmla="*/ 3419 h 10000"/>
                <a:gd name="connsiteX222" fmla="*/ 2163 w 10000"/>
                <a:gd name="connsiteY222" fmla="*/ 3592 h 10000"/>
                <a:gd name="connsiteX223" fmla="*/ 1931 w 10000"/>
                <a:gd name="connsiteY223" fmla="*/ 3802 h 10000"/>
                <a:gd name="connsiteX224" fmla="*/ 1951 w 10000"/>
                <a:gd name="connsiteY224" fmla="*/ 3919 h 10000"/>
                <a:gd name="connsiteX225" fmla="*/ 2032 w 10000"/>
                <a:gd name="connsiteY225" fmla="*/ 4009 h 10000"/>
                <a:gd name="connsiteX226" fmla="*/ 2093 w 10000"/>
                <a:gd name="connsiteY226" fmla="*/ 4045 h 10000"/>
                <a:gd name="connsiteX227" fmla="*/ 1979 w 10000"/>
                <a:gd name="connsiteY227" fmla="*/ 4103 h 10000"/>
                <a:gd name="connsiteX228" fmla="*/ 1731 w 10000"/>
                <a:gd name="connsiteY228" fmla="*/ 4497 h 10000"/>
                <a:gd name="connsiteX229" fmla="*/ 1779 w 10000"/>
                <a:gd name="connsiteY229" fmla="*/ 4520 h 10000"/>
                <a:gd name="connsiteX230" fmla="*/ 1815 w 10000"/>
                <a:gd name="connsiteY230" fmla="*/ 4620 h 10000"/>
                <a:gd name="connsiteX231" fmla="*/ 1700 w 10000"/>
                <a:gd name="connsiteY231" fmla="*/ 5035 h 10000"/>
                <a:gd name="connsiteX232" fmla="*/ 1815 w 10000"/>
                <a:gd name="connsiteY232" fmla="*/ 5141 h 10000"/>
                <a:gd name="connsiteX233" fmla="*/ 2131 w 10000"/>
                <a:gd name="connsiteY233" fmla="*/ 5257 h 10000"/>
                <a:gd name="connsiteX234" fmla="*/ 2145 w 10000"/>
                <a:gd name="connsiteY234" fmla="*/ 5399 h 10000"/>
                <a:gd name="connsiteX235" fmla="*/ 2010 w 10000"/>
                <a:gd name="connsiteY235" fmla="*/ 5517 h 10000"/>
                <a:gd name="connsiteX236" fmla="*/ 1815 w 10000"/>
                <a:gd name="connsiteY236" fmla="*/ 5588 h 10000"/>
                <a:gd name="connsiteX237" fmla="*/ 1557 w 10000"/>
                <a:gd name="connsiteY237" fmla="*/ 5617 h 10000"/>
                <a:gd name="connsiteX238" fmla="*/ 1490 w 10000"/>
                <a:gd name="connsiteY238" fmla="*/ 5658 h 10000"/>
                <a:gd name="connsiteX239" fmla="*/ 1640 w 10000"/>
                <a:gd name="connsiteY239" fmla="*/ 5755 h 10000"/>
                <a:gd name="connsiteX240" fmla="*/ 1726 w 10000"/>
                <a:gd name="connsiteY240" fmla="*/ 5987 h 10000"/>
                <a:gd name="connsiteX241" fmla="*/ 1531 w 10000"/>
                <a:gd name="connsiteY241" fmla="*/ 6185 h 10000"/>
                <a:gd name="connsiteX242" fmla="*/ 1599 w 10000"/>
                <a:gd name="connsiteY242" fmla="*/ 6247 h 10000"/>
                <a:gd name="connsiteX243" fmla="*/ 1537 w 10000"/>
                <a:gd name="connsiteY243" fmla="*/ 6351 h 10000"/>
                <a:gd name="connsiteX244" fmla="*/ 1412 w 10000"/>
                <a:gd name="connsiteY244" fmla="*/ 6422 h 10000"/>
                <a:gd name="connsiteX245" fmla="*/ 915 w 10000"/>
                <a:gd name="connsiteY245" fmla="*/ 6477 h 10000"/>
                <a:gd name="connsiteX246" fmla="*/ 885 w 10000"/>
                <a:gd name="connsiteY246" fmla="*/ 6573 h 10000"/>
                <a:gd name="connsiteX247" fmla="*/ 617 w 10000"/>
                <a:gd name="connsiteY247" fmla="*/ 6716 h 10000"/>
                <a:gd name="connsiteX248" fmla="*/ 652 w 10000"/>
                <a:gd name="connsiteY248" fmla="*/ 6921 h 10000"/>
                <a:gd name="connsiteX249" fmla="*/ 427 w 10000"/>
                <a:gd name="connsiteY249" fmla="*/ 7184 h 10000"/>
                <a:gd name="connsiteX250" fmla="*/ 274 w 10000"/>
                <a:gd name="connsiteY250" fmla="*/ 7215 h 10000"/>
                <a:gd name="connsiteX251" fmla="*/ 210 w 10000"/>
                <a:gd name="connsiteY251" fmla="*/ 7152 h 10000"/>
                <a:gd name="connsiteX252" fmla="*/ 132 w 10000"/>
                <a:gd name="connsiteY252" fmla="*/ 7247 h 10000"/>
                <a:gd name="connsiteX253" fmla="*/ 183 w 10000"/>
                <a:gd name="connsiteY253" fmla="*/ 7084 h 10000"/>
                <a:gd name="connsiteX254" fmla="*/ 151 w 10000"/>
                <a:gd name="connsiteY254"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5098 w 10000"/>
                <a:gd name="connsiteY208" fmla="*/ 1750 h 10000"/>
                <a:gd name="connsiteX209" fmla="*/ 4837 w 10000"/>
                <a:gd name="connsiteY209" fmla="*/ 1818 h 10000"/>
                <a:gd name="connsiteX210" fmla="*/ 4671 w 10000"/>
                <a:gd name="connsiteY210" fmla="*/ 1814 h 10000"/>
                <a:gd name="connsiteX211" fmla="*/ 4571 w 10000"/>
                <a:gd name="connsiteY211" fmla="*/ 1838 h 10000"/>
                <a:gd name="connsiteX212" fmla="*/ 4298 w 10000"/>
                <a:gd name="connsiteY212" fmla="*/ 2503 h 10000"/>
                <a:gd name="connsiteX213" fmla="*/ 3668 w 10000"/>
                <a:gd name="connsiteY213" fmla="*/ 2891 h 10000"/>
                <a:gd name="connsiteX214" fmla="*/ 3672 w 10000"/>
                <a:gd name="connsiteY214" fmla="*/ 2952 h 10000"/>
                <a:gd name="connsiteX215" fmla="*/ 3952 w 10000"/>
                <a:gd name="connsiteY215" fmla="*/ 3126 h 10000"/>
                <a:gd name="connsiteX216" fmla="*/ 3861 w 10000"/>
                <a:gd name="connsiteY216" fmla="*/ 3314 h 10000"/>
                <a:gd name="connsiteX217" fmla="*/ 3698 w 10000"/>
                <a:gd name="connsiteY217" fmla="*/ 3383 h 10000"/>
                <a:gd name="connsiteX218" fmla="*/ 3208 w 10000"/>
                <a:gd name="connsiteY218" fmla="*/ 3337 h 10000"/>
                <a:gd name="connsiteX219" fmla="*/ 2871 w 10000"/>
                <a:gd name="connsiteY219" fmla="*/ 3363 h 10000"/>
                <a:gd name="connsiteX220" fmla="*/ 2601 w 10000"/>
                <a:gd name="connsiteY220" fmla="*/ 3419 h 10000"/>
                <a:gd name="connsiteX221" fmla="*/ 2163 w 10000"/>
                <a:gd name="connsiteY221" fmla="*/ 3592 h 10000"/>
                <a:gd name="connsiteX222" fmla="*/ 1931 w 10000"/>
                <a:gd name="connsiteY222" fmla="*/ 3802 h 10000"/>
                <a:gd name="connsiteX223" fmla="*/ 1951 w 10000"/>
                <a:gd name="connsiteY223" fmla="*/ 3919 h 10000"/>
                <a:gd name="connsiteX224" fmla="*/ 2032 w 10000"/>
                <a:gd name="connsiteY224" fmla="*/ 4009 h 10000"/>
                <a:gd name="connsiteX225" fmla="*/ 2093 w 10000"/>
                <a:gd name="connsiteY225" fmla="*/ 4045 h 10000"/>
                <a:gd name="connsiteX226" fmla="*/ 1979 w 10000"/>
                <a:gd name="connsiteY226" fmla="*/ 4103 h 10000"/>
                <a:gd name="connsiteX227" fmla="*/ 1731 w 10000"/>
                <a:gd name="connsiteY227" fmla="*/ 4497 h 10000"/>
                <a:gd name="connsiteX228" fmla="*/ 1779 w 10000"/>
                <a:gd name="connsiteY228" fmla="*/ 4520 h 10000"/>
                <a:gd name="connsiteX229" fmla="*/ 1815 w 10000"/>
                <a:gd name="connsiteY229" fmla="*/ 4620 h 10000"/>
                <a:gd name="connsiteX230" fmla="*/ 1700 w 10000"/>
                <a:gd name="connsiteY230" fmla="*/ 5035 h 10000"/>
                <a:gd name="connsiteX231" fmla="*/ 1815 w 10000"/>
                <a:gd name="connsiteY231" fmla="*/ 5141 h 10000"/>
                <a:gd name="connsiteX232" fmla="*/ 2131 w 10000"/>
                <a:gd name="connsiteY232" fmla="*/ 5257 h 10000"/>
                <a:gd name="connsiteX233" fmla="*/ 2145 w 10000"/>
                <a:gd name="connsiteY233" fmla="*/ 5399 h 10000"/>
                <a:gd name="connsiteX234" fmla="*/ 2010 w 10000"/>
                <a:gd name="connsiteY234" fmla="*/ 5517 h 10000"/>
                <a:gd name="connsiteX235" fmla="*/ 1815 w 10000"/>
                <a:gd name="connsiteY235" fmla="*/ 5588 h 10000"/>
                <a:gd name="connsiteX236" fmla="*/ 1557 w 10000"/>
                <a:gd name="connsiteY236" fmla="*/ 5617 h 10000"/>
                <a:gd name="connsiteX237" fmla="*/ 1490 w 10000"/>
                <a:gd name="connsiteY237" fmla="*/ 5658 h 10000"/>
                <a:gd name="connsiteX238" fmla="*/ 1640 w 10000"/>
                <a:gd name="connsiteY238" fmla="*/ 5755 h 10000"/>
                <a:gd name="connsiteX239" fmla="*/ 1726 w 10000"/>
                <a:gd name="connsiteY239" fmla="*/ 5987 h 10000"/>
                <a:gd name="connsiteX240" fmla="*/ 1531 w 10000"/>
                <a:gd name="connsiteY240" fmla="*/ 6185 h 10000"/>
                <a:gd name="connsiteX241" fmla="*/ 1599 w 10000"/>
                <a:gd name="connsiteY241" fmla="*/ 6247 h 10000"/>
                <a:gd name="connsiteX242" fmla="*/ 1537 w 10000"/>
                <a:gd name="connsiteY242" fmla="*/ 6351 h 10000"/>
                <a:gd name="connsiteX243" fmla="*/ 1412 w 10000"/>
                <a:gd name="connsiteY243" fmla="*/ 6422 h 10000"/>
                <a:gd name="connsiteX244" fmla="*/ 915 w 10000"/>
                <a:gd name="connsiteY244" fmla="*/ 6477 h 10000"/>
                <a:gd name="connsiteX245" fmla="*/ 885 w 10000"/>
                <a:gd name="connsiteY245" fmla="*/ 6573 h 10000"/>
                <a:gd name="connsiteX246" fmla="*/ 617 w 10000"/>
                <a:gd name="connsiteY246" fmla="*/ 6716 h 10000"/>
                <a:gd name="connsiteX247" fmla="*/ 652 w 10000"/>
                <a:gd name="connsiteY247" fmla="*/ 6921 h 10000"/>
                <a:gd name="connsiteX248" fmla="*/ 427 w 10000"/>
                <a:gd name="connsiteY248" fmla="*/ 7184 h 10000"/>
                <a:gd name="connsiteX249" fmla="*/ 274 w 10000"/>
                <a:gd name="connsiteY249" fmla="*/ 7215 h 10000"/>
                <a:gd name="connsiteX250" fmla="*/ 210 w 10000"/>
                <a:gd name="connsiteY250" fmla="*/ 7152 h 10000"/>
                <a:gd name="connsiteX251" fmla="*/ 132 w 10000"/>
                <a:gd name="connsiteY251" fmla="*/ 7247 h 10000"/>
                <a:gd name="connsiteX252" fmla="*/ 183 w 10000"/>
                <a:gd name="connsiteY252" fmla="*/ 7084 h 10000"/>
                <a:gd name="connsiteX253" fmla="*/ 151 w 10000"/>
                <a:gd name="connsiteY253" fmla="*/ 7052 h 10000"/>
                <a:gd name="connsiteX0" fmla="*/ 151 w 10000"/>
                <a:gd name="connsiteY0" fmla="*/ 5302 h 8250"/>
                <a:gd name="connsiteX1" fmla="*/ 0 w 10000"/>
                <a:gd name="connsiteY1" fmla="*/ 5387 h 8250"/>
                <a:gd name="connsiteX2" fmla="*/ 0 w 10000"/>
                <a:gd name="connsiteY2" fmla="*/ 5807 h 8250"/>
                <a:gd name="connsiteX3" fmla="*/ 83 w 10000"/>
                <a:gd name="connsiteY3" fmla="*/ 5819 h 8250"/>
                <a:gd name="connsiteX4" fmla="*/ 103 w 10000"/>
                <a:gd name="connsiteY4" fmla="*/ 5851 h 8250"/>
                <a:gd name="connsiteX5" fmla="*/ 99 w 10000"/>
                <a:gd name="connsiteY5" fmla="*/ 5908 h 8250"/>
                <a:gd name="connsiteX6" fmla="*/ 68 w 10000"/>
                <a:gd name="connsiteY6" fmla="*/ 5933 h 8250"/>
                <a:gd name="connsiteX7" fmla="*/ 195 w 10000"/>
                <a:gd name="connsiteY7" fmla="*/ 5885 h 8250"/>
                <a:gd name="connsiteX8" fmla="*/ 249 w 10000"/>
                <a:gd name="connsiteY8" fmla="*/ 5837 h 8250"/>
                <a:gd name="connsiteX9" fmla="*/ 315 w 10000"/>
                <a:gd name="connsiteY9" fmla="*/ 5870 h 8250"/>
                <a:gd name="connsiteX10" fmla="*/ 242 w 10000"/>
                <a:gd name="connsiteY10" fmla="*/ 5938 h 8250"/>
                <a:gd name="connsiteX11" fmla="*/ 320 w 10000"/>
                <a:gd name="connsiteY11" fmla="*/ 5940 h 8250"/>
                <a:gd name="connsiteX12" fmla="*/ 358 w 10000"/>
                <a:gd name="connsiteY12" fmla="*/ 5957 h 8250"/>
                <a:gd name="connsiteX13" fmla="*/ 257 w 10000"/>
                <a:gd name="connsiteY13" fmla="*/ 5980 h 8250"/>
                <a:gd name="connsiteX14" fmla="*/ 99 w 10000"/>
                <a:gd name="connsiteY14" fmla="*/ 6050 h 8250"/>
                <a:gd name="connsiteX15" fmla="*/ 381 w 10000"/>
                <a:gd name="connsiteY15" fmla="*/ 6105 h 8250"/>
                <a:gd name="connsiteX16" fmla="*/ 416 w 10000"/>
                <a:gd name="connsiteY16" fmla="*/ 6184 h 8250"/>
                <a:gd name="connsiteX17" fmla="*/ 320 w 10000"/>
                <a:gd name="connsiteY17" fmla="*/ 6300 h 8250"/>
                <a:gd name="connsiteX18" fmla="*/ 526 w 10000"/>
                <a:gd name="connsiteY18" fmla="*/ 6292 h 8250"/>
                <a:gd name="connsiteX19" fmla="*/ 541 w 10000"/>
                <a:gd name="connsiteY19" fmla="*/ 6380 h 8250"/>
                <a:gd name="connsiteX20" fmla="*/ 404 w 10000"/>
                <a:gd name="connsiteY20" fmla="*/ 6439 h 8250"/>
                <a:gd name="connsiteX21" fmla="*/ 427 w 10000"/>
                <a:gd name="connsiteY21" fmla="*/ 6555 h 8250"/>
                <a:gd name="connsiteX22" fmla="*/ 374 w 10000"/>
                <a:gd name="connsiteY22" fmla="*/ 6644 h 8250"/>
                <a:gd name="connsiteX23" fmla="*/ 536 w 10000"/>
                <a:gd name="connsiteY23" fmla="*/ 6652 h 8250"/>
                <a:gd name="connsiteX24" fmla="*/ 695 w 10000"/>
                <a:gd name="connsiteY24" fmla="*/ 6994 h 8250"/>
                <a:gd name="connsiteX25" fmla="*/ 878 w 10000"/>
                <a:gd name="connsiteY25" fmla="*/ 7081 h 8250"/>
                <a:gd name="connsiteX26" fmla="*/ 958 w 10000"/>
                <a:gd name="connsiteY26" fmla="*/ 7173 h 8250"/>
                <a:gd name="connsiteX27" fmla="*/ 1157 w 10000"/>
                <a:gd name="connsiteY27" fmla="*/ 7240 h 8250"/>
                <a:gd name="connsiteX28" fmla="*/ 1285 w 10000"/>
                <a:gd name="connsiteY28" fmla="*/ 7327 h 8250"/>
                <a:gd name="connsiteX29" fmla="*/ 1269 w 10000"/>
                <a:gd name="connsiteY29" fmla="*/ 7388 h 8250"/>
                <a:gd name="connsiteX30" fmla="*/ 1142 w 10000"/>
                <a:gd name="connsiteY30" fmla="*/ 7411 h 8250"/>
                <a:gd name="connsiteX31" fmla="*/ 1004 w 10000"/>
                <a:gd name="connsiteY31" fmla="*/ 7396 h 8250"/>
                <a:gd name="connsiteX32" fmla="*/ 962 w 10000"/>
                <a:gd name="connsiteY32" fmla="*/ 7422 h 8250"/>
                <a:gd name="connsiteX33" fmla="*/ 1067 w 10000"/>
                <a:gd name="connsiteY33" fmla="*/ 7555 h 8250"/>
                <a:gd name="connsiteX34" fmla="*/ 920 w 10000"/>
                <a:gd name="connsiteY34" fmla="*/ 7544 h 8250"/>
                <a:gd name="connsiteX35" fmla="*/ 795 w 10000"/>
                <a:gd name="connsiteY35" fmla="*/ 7512 h 8250"/>
                <a:gd name="connsiteX36" fmla="*/ 772 w 10000"/>
                <a:gd name="connsiteY36" fmla="*/ 7561 h 8250"/>
                <a:gd name="connsiteX37" fmla="*/ 1188 w 10000"/>
                <a:gd name="connsiteY37" fmla="*/ 8017 h 8250"/>
                <a:gd name="connsiteX38" fmla="*/ 1122 w 10000"/>
                <a:gd name="connsiteY38" fmla="*/ 8060 h 8250"/>
                <a:gd name="connsiteX39" fmla="*/ 1075 w 10000"/>
                <a:gd name="connsiteY39" fmla="*/ 8148 h 8250"/>
                <a:gd name="connsiteX40" fmla="*/ 1015 w 10000"/>
                <a:gd name="connsiteY40" fmla="*/ 8155 h 8250"/>
                <a:gd name="connsiteX41" fmla="*/ 978 w 10000"/>
                <a:gd name="connsiteY41" fmla="*/ 8193 h 8250"/>
                <a:gd name="connsiteX42" fmla="*/ 1229 w 10000"/>
                <a:gd name="connsiteY42" fmla="*/ 8197 h 8250"/>
                <a:gd name="connsiteX43" fmla="*/ 1451 w 10000"/>
                <a:gd name="connsiteY43" fmla="*/ 8235 h 8250"/>
                <a:gd name="connsiteX44" fmla="*/ 1820 w 10000"/>
                <a:gd name="connsiteY44" fmla="*/ 8195 h 8250"/>
                <a:gd name="connsiteX45" fmla="*/ 2151 w 10000"/>
                <a:gd name="connsiteY45" fmla="*/ 8201 h 8250"/>
                <a:gd name="connsiteX46" fmla="*/ 2346 w 10000"/>
                <a:gd name="connsiteY46" fmla="*/ 8250 h 8250"/>
                <a:gd name="connsiteX47" fmla="*/ 2454 w 10000"/>
                <a:gd name="connsiteY47" fmla="*/ 8218 h 8250"/>
                <a:gd name="connsiteX48" fmla="*/ 2557 w 10000"/>
                <a:gd name="connsiteY48" fmla="*/ 8113 h 8250"/>
                <a:gd name="connsiteX49" fmla="*/ 2530 w 10000"/>
                <a:gd name="connsiteY49" fmla="*/ 7941 h 8250"/>
                <a:gd name="connsiteX50" fmla="*/ 2782 w 10000"/>
                <a:gd name="connsiteY50" fmla="*/ 7748 h 8250"/>
                <a:gd name="connsiteX51" fmla="*/ 2966 w 10000"/>
                <a:gd name="connsiteY51" fmla="*/ 7778 h 8250"/>
                <a:gd name="connsiteX52" fmla="*/ 3073 w 10000"/>
                <a:gd name="connsiteY52" fmla="*/ 7701 h 8250"/>
                <a:gd name="connsiteX53" fmla="*/ 3278 w 10000"/>
                <a:gd name="connsiteY53" fmla="*/ 7658 h 8250"/>
                <a:gd name="connsiteX54" fmla="*/ 3557 w 10000"/>
                <a:gd name="connsiteY54" fmla="*/ 7668 h 8250"/>
                <a:gd name="connsiteX55" fmla="*/ 3724 w 10000"/>
                <a:gd name="connsiteY55" fmla="*/ 7699 h 8250"/>
                <a:gd name="connsiteX56" fmla="*/ 3948 w 10000"/>
                <a:gd name="connsiteY56" fmla="*/ 7685 h 8250"/>
                <a:gd name="connsiteX57" fmla="*/ 4173 w 10000"/>
                <a:gd name="connsiteY57" fmla="*/ 7719 h 8250"/>
                <a:gd name="connsiteX58" fmla="*/ 4398 w 10000"/>
                <a:gd name="connsiteY58" fmla="*/ 7723 h 8250"/>
                <a:gd name="connsiteX59" fmla="*/ 4902 w 10000"/>
                <a:gd name="connsiteY59" fmla="*/ 7274 h 8250"/>
                <a:gd name="connsiteX60" fmla="*/ 5030 w 10000"/>
                <a:gd name="connsiteY60" fmla="*/ 6909 h 8250"/>
                <a:gd name="connsiteX61" fmla="*/ 5235 w 10000"/>
                <a:gd name="connsiteY61" fmla="*/ 6746 h 8250"/>
                <a:gd name="connsiteX62" fmla="*/ 5235 w 10000"/>
                <a:gd name="connsiteY62" fmla="*/ 6660 h 8250"/>
                <a:gd name="connsiteX63" fmla="*/ 5160 w 10000"/>
                <a:gd name="connsiteY63" fmla="*/ 6612 h 8250"/>
                <a:gd name="connsiteX64" fmla="*/ 5281 w 10000"/>
                <a:gd name="connsiteY64" fmla="*/ 6536 h 8250"/>
                <a:gd name="connsiteX65" fmla="*/ 5259 w 10000"/>
                <a:gd name="connsiteY65" fmla="*/ 6471 h 8250"/>
                <a:gd name="connsiteX66" fmla="*/ 5177 w 10000"/>
                <a:gd name="connsiteY66" fmla="*/ 6415 h 8250"/>
                <a:gd name="connsiteX67" fmla="*/ 5160 w 10000"/>
                <a:gd name="connsiteY67" fmla="*/ 6376 h 8250"/>
                <a:gd name="connsiteX68" fmla="*/ 5181 w 10000"/>
                <a:gd name="connsiteY68" fmla="*/ 6345 h 8250"/>
                <a:gd name="connsiteX69" fmla="*/ 5292 w 10000"/>
                <a:gd name="connsiteY69" fmla="*/ 6370 h 8250"/>
                <a:gd name="connsiteX70" fmla="*/ 5381 w 10000"/>
                <a:gd name="connsiteY70" fmla="*/ 6368 h 8250"/>
                <a:gd name="connsiteX71" fmla="*/ 5333 w 10000"/>
                <a:gd name="connsiteY71" fmla="*/ 6315 h 8250"/>
                <a:gd name="connsiteX72" fmla="*/ 5348 w 10000"/>
                <a:gd name="connsiteY72" fmla="*/ 6286 h 8250"/>
                <a:gd name="connsiteX73" fmla="*/ 5414 w 10000"/>
                <a:gd name="connsiteY73" fmla="*/ 6241 h 8250"/>
                <a:gd name="connsiteX74" fmla="*/ 5401 w 10000"/>
                <a:gd name="connsiteY74" fmla="*/ 6205 h 8250"/>
                <a:gd name="connsiteX75" fmla="*/ 5462 w 10000"/>
                <a:gd name="connsiteY75" fmla="*/ 6083 h 8250"/>
                <a:gd name="connsiteX76" fmla="*/ 5445 w 10000"/>
                <a:gd name="connsiteY76" fmla="*/ 6045 h 8250"/>
                <a:gd name="connsiteX77" fmla="*/ 5140 w 10000"/>
                <a:gd name="connsiteY77" fmla="*/ 5953 h 8250"/>
                <a:gd name="connsiteX78" fmla="*/ 5181 w 10000"/>
                <a:gd name="connsiteY78" fmla="*/ 5949 h 8250"/>
                <a:gd name="connsiteX79" fmla="*/ 5344 w 10000"/>
                <a:gd name="connsiteY79" fmla="*/ 5974 h 8250"/>
                <a:gd name="connsiteX80" fmla="*/ 5520 w 10000"/>
                <a:gd name="connsiteY80" fmla="*/ 5965 h 8250"/>
                <a:gd name="connsiteX81" fmla="*/ 5571 w 10000"/>
                <a:gd name="connsiteY81" fmla="*/ 5931 h 8250"/>
                <a:gd name="connsiteX82" fmla="*/ 5401 w 10000"/>
                <a:gd name="connsiteY82" fmla="*/ 5868 h 8250"/>
                <a:gd name="connsiteX83" fmla="*/ 4898 w 10000"/>
                <a:gd name="connsiteY83" fmla="*/ 5826 h 8250"/>
                <a:gd name="connsiteX84" fmla="*/ 4932 w 10000"/>
                <a:gd name="connsiteY84" fmla="*/ 5807 h 8250"/>
                <a:gd name="connsiteX85" fmla="*/ 5344 w 10000"/>
                <a:gd name="connsiteY85" fmla="*/ 5794 h 8250"/>
                <a:gd name="connsiteX86" fmla="*/ 5571 w 10000"/>
                <a:gd name="connsiteY86" fmla="*/ 5832 h 8250"/>
                <a:gd name="connsiteX87" fmla="*/ 5702 w 10000"/>
                <a:gd name="connsiteY87" fmla="*/ 5807 h 8250"/>
                <a:gd name="connsiteX88" fmla="*/ 5750 w 10000"/>
                <a:gd name="connsiteY88" fmla="*/ 5741 h 8250"/>
                <a:gd name="connsiteX89" fmla="*/ 5987 w 10000"/>
                <a:gd name="connsiteY89" fmla="*/ 5741 h 8250"/>
                <a:gd name="connsiteX90" fmla="*/ 6308 w 10000"/>
                <a:gd name="connsiteY90" fmla="*/ 5609 h 8250"/>
                <a:gd name="connsiteX91" fmla="*/ 6319 w 10000"/>
                <a:gd name="connsiteY91" fmla="*/ 5522 h 8250"/>
                <a:gd name="connsiteX92" fmla="*/ 6455 w 10000"/>
                <a:gd name="connsiteY92" fmla="*/ 5542 h 8250"/>
                <a:gd name="connsiteX93" fmla="*/ 6449 w 10000"/>
                <a:gd name="connsiteY93" fmla="*/ 5630 h 8250"/>
                <a:gd name="connsiteX94" fmla="*/ 6665 w 10000"/>
                <a:gd name="connsiteY94" fmla="*/ 5624 h 8250"/>
                <a:gd name="connsiteX95" fmla="*/ 6807 w 10000"/>
                <a:gd name="connsiteY95" fmla="*/ 5533 h 8250"/>
                <a:gd name="connsiteX96" fmla="*/ 7070 w 10000"/>
                <a:gd name="connsiteY96" fmla="*/ 5451 h 8250"/>
                <a:gd name="connsiteX97" fmla="*/ 7029 w 10000"/>
                <a:gd name="connsiteY97" fmla="*/ 5357 h 8250"/>
                <a:gd name="connsiteX98" fmla="*/ 7107 w 10000"/>
                <a:gd name="connsiteY98" fmla="*/ 5394 h 8250"/>
                <a:gd name="connsiteX99" fmla="*/ 7227 w 10000"/>
                <a:gd name="connsiteY99" fmla="*/ 5394 h 8250"/>
                <a:gd name="connsiteX100" fmla="*/ 7227 w 10000"/>
                <a:gd name="connsiteY100" fmla="*/ 5351 h 8250"/>
                <a:gd name="connsiteX101" fmla="*/ 7340 w 10000"/>
                <a:gd name="connsiteY101" fmla="*/ 5318 h 8250"/>
                <a:gd name="connsiteX102" fmla="*/ 7324 w 10000"/>
                <a:gd name="connsiteY102" fmla="*/ 5284 h 8250"/>
                <a:gd name="connsiteX103" fmla="*/ 6377 w 10000"/>
                <a:gd name="connsiteY103" fmla="*/ 5353 h 8250"/>
                <a:gd name="connsiteX104" fmla="*/ 6155 w 10000"/>
                <a:gd name="connsiteY104" fmla="*/ 5332 h 8250"/>
                <a:gd name="connsiteX105" fmla="*/ 6065 w 10000"/>
                <a:gd name="connsiteY105" fmla="*/ 5357 h 8250"/>
                <a:gd name="connsiteX106" fmla="*/ 6035 w 10000"/>
                <a:gd name="connsiteY106" fmla="*/ 5310 h 8250"/>
                <a:gd name="connsiteX107" fmla="*/ 5930 w 10000"/>
                <a:gd name="connsiteY107" fmla="*/ 5267 h 8250"/>
                <a:gd name="connsiteX108" fmla="*/ 5508 w 10000"/>
                <a:gd name="connsiteY108" fmla="*/ 5183 h 8250"/>
                <a:gd name="connsiteX109" fmla="*/ 5259 w 10000"/>
                <a:gd name="connsiteY109" fmla="*/ 5196 h 8250"/>
                <a:gd name="connsiteX110" fmla="*/ 5160 w 10000"/>
                <a:gd name="connsiteY110" fmla="*/ 5173 h 8250"/>
                <a:gd name="connsiteX111" fmla="*/ 5265 w 10000"/>
                <a:gd name="connsiteY111" fmla="*/ 5152 h 8250"/>
                <a:gd name="connsiteX112" fmla="*/ 5344 w 10000"/>
                <a:gd name="connsiteY112" fmla="*/ 5107 h 8250"/>
                <a:gd name="connsiteX113" fmla="*/ 5462 w 10000"/>
                <a:gd name="connsiteY113" fmla="*/ 5122 h 8250"/>
                <a:gd name="connsiteX114" fmla="*/ 5602 w 10000"/>
                <a:gd name="connsiteY114" fmla="*/ 5109 h 8250"/>
                <a:gd name="connsiteX115" fmla="*/ 5813 w 10000"/>
                <a:gd name="connsiteY115" fmla="*/ 5124 h 8250"/>
                <a:gd name="connsiteX116" fmla="*/ 5838 w 10000"/>
                <a:gd name="connsiteY116" fmla="*/ 5118 h 8250"/>
                <a:gd name="connsiteX117" fmla="*/ 6002 w 10000"/>
                <a:gd name="connsiteY117" fmla="*/ 5187 h 8250"/>
                <a:gd name="connsiteX118" fmla="*/ 6122 w 10000"/>
                <a:gd name="connsiteY118" fmla="*/ 5162 h 8250"/>
                <a:gd name="connsiteX119" fmla="*/ 6133 w 10000"/>
                <a:gd name="connsiteY119" fmla="*/ 5139 h 8250"/>
                <a:gd name="connsiteX120" fmla="*/ 6244 w 10000"/>
                <a:gd name="connsiteY120" fmla="*/ 5179 h 8250"/>
                <a:gd name="connsiteX121" fmla="*/ 6391 w 10000"/>
                <a:gd name="connsiteY121" fmla="*/ 5201 h 8250"/>
                <a:gd name="connsiteX122" fmla="*/ 6449 w 10000"/>
                <a:gd name="connsiteY122" fmla="*/ 5160 h 8250"/>
                <a:gd name="connsiteX123" fmla="*/ 6496 w 10000"/>
                <a:gd name="connsiteY123" fmla="*/ 5183 h 8250"/>
                <a:gd name="connsiteX124" fmla="*/ 6565 w 10000"/>
                <a:gd name="connsiteY124" fmla="*/ 5261 h 8250"/>
                <a:gd name="connsiteX125" fmla="*/ 6707 w 10000"/>
                <a:gd name="connsiteY125" fmla="*/ 5279 h 8250"/>
                <a:gd name="connsiteX126" fmla="*/ 7286 w 10000"/>
                <a:gd name="connsiteY126" fmla="*/ 5164 h 8250"/>
                <a:gd name="connsiteX127" fmla="*/ 7571 w 10000"/>
                <a:gd name="connsiteY127" fmla="*/ 5003 h 8250"/>
                <a:gd name="connsiteX128" fmla="*/ 7637 w 10000"/>
                <a:gd name="connsiteY128" fmla="*/ 4885 h 8250"/>
                <a:gd name="connsiteX129" fmla="*/ 7534 w 10000"/>
                <a:gd name="connsiteY129" fmla="*/ 4778 h 8250"/>
                <a:gd name="connsiteX130" fmla="*/ 7318 w 10000"/>
                <a:gd name="connsiteY130" fmla="*/ 4715 h 8250"/>
                <a:gd name="connsiteX131" fmla="*/ 7164 w 10000"/>
                <a:gd name="connsiteY131" fmla="*/ 4611 h 8250"/>
                <a:gd name="connsiteX132" fmla="*/ 7307 w 10000"/>
                <a:gd name="connsiteY132" fmla="*/ 4607 h 8250"/>
                <a:gd name="connsiteX133" fmla="*/ 7297 w 10000"/>
                <a:gd name="connsiteY133" fmla="*/ 4582 h 8250"/>
                <a:gd name="connsiteX134" fmla="*/ 6925 w 10000"/>
                <a:gd name="connsiteY134" fmla="*/ 4509 h 8250"/>
                <a:gd name="connsiteX135" fmla="*/ 6909 w 10000"/>
                <a:gd name="connsiteY135" fmla="*/ 4441 h 8250"/>
                <a:gd name="connsiteX136" fmla="*/ 6837 w 10000"/>
                <a:gd name="connsiteY136" fmla="*/ 4372 h 8250"/>
                <a:gd name="connsiteX137" fmla="*/ 6543 w 10000"/>
                <a:gd name="connsiteY137" fmla="*/ 4384 h 8250"/>
                <a:gd name="connsiteX138" fmla="*/ 6438 w 10000"/>
                <a:gd name="connsiteY138" fmla="*/ 4310 h 8250"/>
                <a:gd name="connsiteX139" fmla="*/ 6377 w 10000"/>
                <a:gd name="connsiteY139" fmla="*/ 4306 h 8250"/>
                <a:gd name="connsiteX140" fmla="*/ 6377 w 10000"/>
                <a:gd name="connsiteY140" fmla="*/ 4336 h 8250"/>
                <a:gd name="connsiteX141" fmla="*/ 6244 w 10000"/>
                <a:gd name="connsiteY141" fmla="*/ 4462 h 8250"/>
                <a:gd name="connsiteX142" fmla="*/ 6101 w 10000"/>
                <a:gd name="connsiteY142" fmla="*/ 4536 h 8250"/>
                <a:gd name="connsiteX143" fmla="*/ 5653 w 10000"/>
                <a:gd name="connsiteY143" fmla="*/ 4662 h 8250"/>
                <a:gd name="connsiteX144" fmla="*/ 5496 w 10000"/>
                <a:gd name="connsiteY144" fmla="*/ 4658 h 8250"/>
                <a:gd name="connsiteX145" fmla="*/ 5281 w 10000"/>
                <a:gd name="connsiteY145" fmla="*/ 4677 h 8250"/>
                <a:gd name="connsiteX146" fmla="*/ 5160 w 10000"/>
                <a:gd name="connsiteY146" fmla="*/ 4658 h 8250"/>
                <a:gd name="connsiteX147" fmla="*/ 5318 w 10000"/>
                <a:gd name="connsiteY147" fmla="*/ 4623 h 8250"/>
                <a:gd name="connsiteX148" fmla="*/ 5524 w 10000"/>
                <a:gd name="connsiteY148" fmla="*/ 4607 h 8250"/>
                <a:gd name="connsiteX149" fmla="*/ 5693 w 10000"/>
                <a:gd name="connsiteY149" fmla="*/ 4548 h 8250"/>
                <a:gd name="connsiteX150" fmla="*/ 5859 w 10000"/>
                <a:gd name="connsiteY150" fmla="*/ 4521 h 8250"/>
                <a:gd name="connsiteX151" fmla="*/ 6171 w 10000"/>
                <a:gd name="connsiteY151" fmla="*/ 4418 h 8250"/>
                <a:gd name="connsiteX152" fmla="*/ 6230 w 10000"/>
                <a:gd name="connsiteY152" fmla="*/ 4351 h 8250"/>
                <a:gd name="connsiteX153" fmla="*/ 6235 w 10000"/>
                <a:gd name="connsiteY153" fmla="*/ 4264 h 8250"/>
                <a:gd name="connsiteX154" fmla="*/ 6092 w 10000"/>
                <a:gd name="connsiteY154" fmla="*/ 4249 h 8250"/>
                <a:gd name="connsiteX155" fmla="*/ 6155 w 10000"/>
                <a:gd name="connsiteY155" fmla="*/ 4196 h 8250"/>
                <a:gd name="connsiteX156" fmla="*/ 6175 w 10000"/>
                <a:gd name="connsiteY156" fmla="*/ 4129 h 8250"/>
                <a:gd name="connsiteX157" fmla="*/ 6115 w 10000"/>
                <a:gd name="connsiteY157" fmla="*/ 4066 h 8250"/>
                <a:gd name="connsiteX158" fmla="*/ 6081 w 10000"/>
                <a:gd name="connsiteY158" fmla="*/ 3603 h 8250"/>
                <a:gd name="connsiteX159" fmla="*/ 6166 w 10000"/>
                <a:gd name="connsiteY159" fmla="*/ 3503 h 8250"/>
                <a:gd name="connsiteX160" fmla="*/ 6144 w 10000"/>
                <a:gd name="connsiteY160" fmla="*/ 3463 h 8250"/>
                <a:gd name="connsiteX161" fmla="*/ 6391 w 10000"/>
                <a:gd name="connsiteY161" fmla="*/ 3522 h 8250"/>
                <a:gd name="connsiteX162" fmla="*/ 6408 w 10000"/>
                <a:gd name="connsiteY162" fmla="*/ 3467 h 8250"/>
                <a:gd name="connsiteX163" fmla="*/ 6354 w 10000"/>
                <a:gd name="connsiteY163" fmla="*/ 3324 h 8250"/>
                <a:gd name="connsiteX164" fmla="*/ 6532 w 10000"/>
                <a:gd name="connsiteY164" fmla="*/ 3068 h 8250"/>
                <a:gd name="connsiteX165" fmla="*/ 6423 w 10000"/>
                <a:gd name="connsiteY165" fmla="*/ 3007 h 8250"/>
                <a:gd name="connsiteX166" fmla="*/ 6381 w 10000"/>
                <a:gd name="connsiteY166" fmla="*/ 2950 h 8250"/>
                <a:gd name="connsiteX167" fmla="*/ 6395 w 10000"/>
                <a:gd name="connsiteY167" fmla="*/ 2857 h 8250"/>
                <a:gd name="connsiteX168" fmla="*/ 6656 w 10000"/>
                <a:gd name="connsiteY168" fmla="*/ 2919 h 8250"/>
                <a:gd name="connsiteX169" fmla="*/ 6665 w 10000"/>
                <a:gd name="connsiteY169" fmla="*/ 2901 h 8250"/>
                <a:gd name="connsiteX170" fmla="*/ 6737 w 10000"/>
                <a:gd name="connsiteY170" fmla="*/ 2885 h 8250"/>
                <a:gd name="connsiteX171" fmla="*/ 6837 w 10000"/>
                <a:gd name="connsiteY171" fmla="*/ 2825 h 8250"/>
                <a:gd name="connsiteX172" fmla="*/ 6854 w 10000"/>
                <a:gd name="connsiteY172" fmla="*/ 2808 h 8250"/>
                <a:gd name="connsiteX173" fmla="*/ 6832 w 10000"/>
                <a:gd name="connsiteY173" fmla="*/ 2786 h 8250"/>
                <a:gd name="connsiteX174" fmla="*/ 6886 w 10000"/>
                <a:gd name="connsiteY174" fmla="*/ 2681 h 8250"/>
                <a:gd name="connsiteX175" fmla="*/ 6822 w 10000"/>
                <a:gd name="connsiteY175" fmla="*/ 2613 h 8250"/>
                <a:gd name="connsiteX176" fmla="*/ 6832 w 10000"/>
                <a:gd name="connsiteY176" fmla="*/ 2558 h 8250"/>
                <a:gd name="connsiteX177" fmla="*/ 6868 w 10000"/>
                <a:gd name="connsiteY177" fmla="*/ 2622 h 8250"/>
                <a:gd name="connsiteX178" fmla="*/ 7011 w 10000"/>
                <a:gd name="connsiteY178" fmla="*/ 2670 h 8250"/>
                <a:gd name="connsiteX179" fmla="*/ 7070 w 10000"/>
                <a:gd name="connsiteY179" fmla="*/ 2664 h 8250"/>
                <a:gd name="connsiteX180" fmla="*/ 7164 w 10000"/>
                <a:gd name="connsiteY180" fmla="*/ 2600 h 8250"/>
                <a:gd name="connsiteX181" fmla="*/ 7265 w 10000"/>
                <a:gd name="connsiteY181" fmla="*/ 2626 h 8250"/>
                <a:gd name="connsiteX182" fmla="*/ 7292 w 10000"/>
                <a:gd name="connsiteY182" fmla="*/ 2576 h 8250"/>
                <a:gd name="connsiteX183" fmla="*/ 7360 w 10000"/>
                <a:gd name="connsiteY183" fmla="*/ 2541 h 8250"/>
                <a:gd name="connsiteX184" fmla="*/ 7175 w 10000"/>
                <a:gd name="connsiteY184" fmla="*/ 2505 h 8250"/>
                <a:gd name="connsiteX185" fmla="*/ 7307 w 10000"/>
                <a:gd name="connsiteY185" fmla="*/ 2512 h 8250"/>
                <a:gd name="connsiteX186" fmla="*/ 7442 w 10000"/>
                <a:gd name="connsiteY186" fmla="*/ 2474 h 8250"/>
                <a:gd name="connsiteX187" fmla="*/ 7437 w 10000"/>
                <a:gd name="connsiteY187" fmla="*/ 2447 h 8250"/>
                <a:gd name="connsiteX188" fmla="*/ 7565 w 10000"/>
                <a:gd name="connsiteY188" fmla="*/ 2422 h 8250"/>
                <a:gd name="connsiteX189" fmla="*/ 7576 w 10000"/>
                <a:gd name="connsiteY189" fmla="*/ 2359 h 8250"/>
                <a:gd name="connsiteX190" fmla="*/ 7676 w 10000"/>
                <a:gd name="connsiteY190" fmla="*/ 2346 h 8250"/>
                <a:gd name="connsiteX191" fmla="*/ 7684 w 10000"/>
                <a:gd name="connsiteY191" fmla="*/ 2272 h 8250"/>
                <a:gd name="connsiteX192" fmla="*/ 7790 w 10000"/>
                <a:gd name="connsiteY192" fmla="*/ 2263 h 8250"/>
                <a:gd name="connsiteX193" fmla="*/ 7953 w 10000"/>
                <a:gd name="connsiteY193" fmla="*/ 2279 h 8250"/>
                <a:gd name="connsiteX194" fmla="*/ 8132 w 10000"/>
                <a:gd name="connsiteY194" fmla="*/ 2219 h 8250"/>
                <a:gd name="connsiteX195" fmla="*/ 8195 w 10000"/>
                <a:gd name="connsiteY195" fmla="*/ 2151 h 8250"/>
                <a:gd name="connsiteX196" fmla="*/ 8417 w 10000"/>
                <a:gd name="connsiteY196" fmla="*/ 2082 h 8250"/>
                <a:gd name="connsiteX197" fmla="*/ 8527 w 10000"/>
                <a:gd name="connsiteY197" fmla="*/ 2124 h 8250"/>
                <a:gd name="connsiteX198" fmla="*/ 8695 w 10000"/>
                <a:gd name="connsiteY198" fmla="*/ 2078 h 8250"/>
                <a:gd name="connsiteX199" fmla="*/ 8736 w 10000"/>
                <a:gd name="connsiteY199" fmla="*/ 2017 h 8250"/>
                <a:gd name="connsiteX200" fmla="*/ 8864 w 10000"/>
                <a:gd name="connsiteY200" fmla="*/ 1977 h 8250"/>
                <a:gd name="connsiteX201" fmla="*/ 8973 w 10000"/>
                <a:gd name="connsiteY201" fmla="*/ 1995 h 8250"/>
                <a:gd name="connsiteX202" fmla="*/ 9042 w 10000"/>
                <a:gd name="connsiteY202" fmla="*/ 1964 h 8250"/>
                <a:gd name="connsiteX203" fmla="*/ 9231 w 10000"/>
                <a:gd name="connsiteY203" fmla="*/ 1922 h 8250"/>
                <a:gd name="connsiteX204" fmla="*/ 9310 w 10000"/>
                <a:gd name="connsiteY204" fmla="*/ 1867 h 8250"/>
                <a:gd name="connsiteX205" fmla="*/ 9417 w 10000"/>
                <a:gd name="connsiteY205" fmla="*/ 1844 h 8250"/>
                <a:gd name="connsiteX206" fmla="*/ 10000 w 10000"/>
                <a:gd name="connsiteY206" fmla="*/ 1511 h 8250"/>
                <a:gd name="connsiteX207" fmla="*/ 5098 w 10000"/>
                <a:gd name="connsiteY207" fmla="*/ 0 h 8250"/>
                <a:gd name="connsiteX208" fmla="*/ 4837 w 10000"/>
                <a:gd name="connsiteY208" fmla="*/ 68 h 8250"/>
                <a:gd name="connsiteX209" fmla="*/ 4671 w 10000"/>
                <a:gd name="connsiteY209" fmla="*/ 64 h 8250"/>
                <a:gd name="connsiteX210" fmla="*/ 4571 w 10000"/>
                <a:gd name="connsiteY210" fmla="*/ 88 h 8250"/>
                <a:gd name="connsiteX211" fmla="*/ 4298 w 10000"/>
                <a:gd name="connsiteY211" fmla="*/ 753 h 8250"/>
                <a:gd name="connsiteX212" fmla="*/ 3668 w 10000"/>
                <a:gd name="connsiteY212" fmla="*/ 1141 h 8250"/>
                <a:gd name="connsiteX213" fmla="*/ 3672 w 10000"/>
                <a:gd name="connsiteY213" fmla="*/ 1202 h 8250"/>
                <a:gd name="connsiteX214" fmla="*/ 3952 w 10000"/>
                <a:gd name="connsiteY214" fmla="*/ 1376 h 8250"/>
                <a:gd name="connsiteX215" fmla="*/ 3861 w 10000"/>
                <a:gd name="connsiteY215" fmla="*/ 1564 h 8250"/>
                <a:gd name="connsiteX216" fmla="*/ 3698 w 10000"/>
                <a:gd name="connsiteY216" fmla="*/ 1633 h 8250"/>
                <a:gd name="connsiteX217" fmla="*/ 3208 w 10000"/>
                <a:gd name="connsiteY217" fmla="*/ 1587 h 8250"/>
                <a:gd name="connsiteX218" fmla="*/ 2871 w 10000"/>
                <a:gd name="connsiteY218" fmla="*/ 1613 h 8250"/>
                <a:gd name="connsiteX219" fmla="*/ 2601 w 10000"/>
                <a:gd name="connsiteY219" fmla="*/ 1669 h 8250"/>
                <a:gd name="connsiteX220" fmla="*/ 2163 w 10000"/>
                <a:gd name="connsiteY220" fmla="*/ 1842 h 8250"/>
                <a:gd name="connsiteX221" fmla="*/ 1931 w 10000"/>
                <a:gd name="connsiteY221" fmla="*/ 2052 h 8250"/>
                <a:gd name="connsiteX222" fmla="*/ 1951 w 10000"/>
                <a:gd name="connsiteY222" fmla="*/ 2169 h 8250"/>
                <a:gd name="connsiteX223" fmla="*/ 2032 w 10000"/>
                <a:gd name="connsiteY223" fmla="*/ 2259 h 8250"/>
                <a:gd name="connsiteX224" fmla="*/ 2093 w 10000"/>
                <a:gd name="connsiteY224" fmla="*/ 2295 h 8250"/>
                <a:gd name="connsiteX225" fmla="*/ 1979 w 10000"/>
                <a:gd name="connsiteY225" fmla="*/ 2353 h 8250"/>
                <a:gd name="connsiteX226" fmla="*/ 1731 w 10000"/>
                <a:gd name="connsiteY226" fmla="*/ 2747 h 8250"/>
                <a:gd name="connsiteX227" fmla="*/ 1779 w 10000"/>
                <a:gd name="connsiteY227" fmla="*/ 2770 h 8250"/>
                <a:gd name="connsiteX228" fmla="*/ 1815 w 10000"/>
                <a:gd name="connsiteY228" fmla="*/ 2870 h 8250"/>
                <a:gd name="connsiteX229" fmla="*/ 1700 w 10000"/>
                <a:gd name="connsiteY229" fmla="*/ 3285 h 8250"/>
                <a:gd name="connsiteX230" fmla="*/ 1815 w 10000"/>
                <a:gd name="connsiteY230" fmla="*/ 3391 h 8250"/>
                <a:gd name="connsiteX231" fmla="*/ 2131 w 10000"/>
                <a:gd name="connsiteY231" fmla="*/ 3507 h 8250"/>
                <a:gd name="connsiteX232" fmla="*/ 2145 w 10000"/>
                <a:gd name="connsiteY232" fmla="*/ 3649 h 8250"/>
                <a:gd name="connsiteX233" fmla="*/ 2010 w 10000"/>
                <a:gd name="connsiteY233" fmla="*/ 3767 h 8250"/>
                <a:gd name="connsiteX234" fmla="*/ 1815 w 10000"/>
                <a:gd name="connsiteY234" fmla="*/ 3838 h 8250"/>
                <a:gd name="connsiteX235" fmla="*/ 1557 w 10000"/>
                <a:gd name="connsiteY235" fmla="*/ 3867 h 8250"/>
                <a:gd name="connsiteX236" fmla="*/ 1490 w 10000"/>
                <a:gd name="connsiteY236" fmla="*/ 3908 h 8250"/>
                <a:gd name="connsiteX237" fmla="*/ 1640 w 10000"/>
                <a:gd name="connsiteY237" fmla="*/ 4005 h 8250"/>
                <a:gd name="connsiteX238" fmla="*/ 1726 w 10000"/>
                <a:gd name="connsiteY238" fmla="*/ 4237 h 8250"/>
                <a:gd name="connsiteX239" fmla="*/ 1531 w 10000"/>
                <a:gd name="connsiteY239" fmla="*/ 4435 h 8250"/>
                <a:gd name="connsiteX240" fmla="*/ 1599 w 10000"/>
                <a:gd name="connsiteY240" fmla="*/ 4497 h 8250"/>
                <a:gd name="connsiteX241" fmla="*/ 1537 w 10000"/>
                <a:gd name="connsiteY241" fmla="*/ 4601 h 8250"/>
                <a:gd name="connsiteX242" fmla="*/ 1412 w 10000"/>
                <a:gd name="connsiteY242" fmla="*/ 4672 h 8250"/>
                <a:gd name="connsiteX243" fmla="*/ 915 w 10000"/>
                <a:gd name="connsiteY243" fmla="*/ 4727 h 8250"/>
                <a:gd name="connsiteX244" fmla="*/ 885 w 10000"/>
                <a:gd name="connsiteY244" fmla="*/ 4823 h 8250"/>
                <a:gd name="connsiteX245" fmla="*/ 617 w 10000"/>
                <a:gd name="connsiteY245" fmla="*/ 4966 h 8250"/>
                <a:gd name="connsiteX246" fmla="*/ 652 w 10000"/>
                <a:gd name="connsiteY246" fmla="*/ 5171 h 8250"/>
                <a:gd name="connsiteX247" fmla="*/ 427 w 10000"/>
                <a:gd name="connsiteY247" fmla="*/ 5434 h 8250"/>
                <a:gd name="connsiteX248" fmla="*/ 274 w 10000"/>
                <a:gd name="connsiteY248" fmla="*/ 5465 h 8250"/>
                <a:gd name="connsiteX249" fmla="*/ 210 w 10000"/>
                <a:gd name="connsiteY249" fmla="*/ 5402 h 8250"/>
                <a:gd name="connsiteX250" fmla="*/ 132 w 10000"/>
                <a:gd name="connsiteY250" fmla="*/ 5497 h 8250"/>
                <a:gd name="connsiteX251" fmla="*/ 183 w 10000"/>
                <a:gd name="connsiteY251" fmla="*/ 5334 h 8250"/>
                <a:gd name="connsiteX252" fmla="*/ 151 w 10000"/>
                <a:gd name="connsiteY252" fmla="*/ 5302 h 825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6880 w 10000"/>
                <a:gd name="connsiteY207" fmla="*/ 600 h 10000"/>
                <a:gd name="connsiteX208" fmla="*/ 5098 w 10000"/>
                <a:gd name="connsiteY208" fmla="*/ 0 h 10000"/>
                <a:gd name="connsiteX209" fmla="*/ 4837 w 10000"/>
                <a:gd name="connsiteY209" fmla="*/ 82 h 10000"/>
                <a:gd name="connsiteX210" fmla="*/ 4671 w 10000"/>
                <a:gd name="connsiteY210" fmla="*/ 78 h 10000"/>
                <a:gd name="connsiteX211" fmla="*/ 4571 w 10000"/>
                <a:gd name="connsiteY211" fmla="*/ 107 h 10000"/>
                <a:gd name="connsiteX212" fmla="*/ 4298 w 10000"/>
                <a:gd name="connsiteY212" fmla="*/ 913 h 10000"/>
                <a:gd name="connsiteX213" fmla="*/ 3668 w 10000"/>
                <a:gd name="connsiteY213" fmla="*/ 1383 h 10000"/>
                <a:gd name="connsiteX214" fmla="*/ 3672 w 10000"/>
                <a:gd name="connsiteY214" fmla="*/ 1457 h 10000"/>
                <a:gd name="connsiteX215" fmla="*/ 3952 w 10000"/>
                <a:gd name="connsiteY215" fmla="*/ 1668 h 10000"/>
                <a:gd name="connsiteX216" fmla="*/ 3861 w 10000"/>
                <a:gd name="connsiteY216" fmla="*/ 1896 h 10000"/>
                <a:gd name="connsiteX217" fmla="*/ 3698 w 10000"/>
                <a:gd name="connsiteY217" fmla="*/ 1979 h 10000"/>
                <a:gd name="connsiteX218" fmla="*/ 3208 w 10000"/>
                <a:gd name="connsiteY218" fmla="*/ 1924 h 10000"/>
                <a:gd name="connsiteX219" fmla="*/ 2871 w 10000"/>
                <a:gd name="connsiteY219" fmla="*/ 1955 h 10000"/>
                <a:gd name="connsiteX220" fmla="*/ 2601 w 10000"/>
                <a:gd name="connsiteY220" fmla="*/ 2023 h 10000"/>
                <a:gd name="connsiteX221" fmla="*/ 2163 w 10000"/>
                <a:gd name="connsiteY221" fmla="*/ 2233 h 10000"/>
                <a:gd name="connsiteX222" fmla="*/ 1931 w 10000"/>
                <a:gd name="connsiteY222" fmla="*/ 2487 h 10000"/>
                <a:gd name="connsiteX223" fmla="*/ 1951 w 10000"/>
                <a:gd name="connsiteY223" fmla="*/ 2629 h 10000"/>
                <a:gd name="connsiteX224" fmla="*/ 2032 w 10000"/>
                <a:gd name="connsiteY224" fmla="*/ 2738 h 10000"/>
                <a:gd name="connsiteX225" fmla="*/ 2093 w 10000"/>
                <a:gd name="connsiteY225" fmla="*/ 2782 h 10000"/>
                <a:gd name="connsiteX226" fmla="*/ 1979 w 10000"/>
                <a:gd name="connsiteY226" fmla="*/ 2852 h 10000"/>
                <a:gd name="connsiteX227" fmla="*/ 1731 w 10000"/>
                <a:gd name="connsiteY227" fmla="*/ 3330 h 10000"/>
                <a:gd name="connsiteX228" fmla="*/ 1779 w 10000"/>
                <a:gd name="connsiteY228" fmla="*/ 3358 h 10000"/>
                <a:gd name="connsiteX229" fmla="*/ 1815 w 10000"/>
                <a:gd name="connsiteY229" fmla="*/ 3479 h 10000"/>
                <a:gd name="connsiteX230" fmla="*/ 1700 w 10000"/>
                <a:gd name="connsiteY230" fmla="*/ 3982 h 10000"/>
                <a:gd name="connsiteX231" fmla="*/ 1815 w 10000"/>
                <a:gd name="connsiteY231" fmla="*/ 4110 h 10000"/>
                <a:gd name="connsiteX232" fmla="*/ 2131 w 10000"/>
                <a:gd name="connsiteY232" fmla="*/ 4251 h 10000"/>
                <a:gd name="connsiteX233" fmla="*/ 2145 w 10000"/>
                <a:gd name="connsiteY233" fmla="*/ 4423 h 10000"/>
                <a:gd name="connsiteX234" fmla="*/ 2010 w 10000"/>
                <a:gd name="connsiteY234" fmla="*/ 4566 h 10000"/>
                <a:gd name="connsiteX235" fmla="*/ 1815 w 10000"/>
                <a:gd name="connsiteY235" fmla="*/ 4652 h 10000"/>
                <a:gd name="connsiteX236" fmla="*/ 1557 w 10000"/>
                <a:gd name="connsiteY236" fmla="*/ 4687 h 10000"/>
                <a:gd name="connsiteX237" fmla="*/ 1490 w 10000"/>
                <a:gd name="connsiteY237" fmla="*/ 4737 h 10000"/>
                <a:gd name="connsiteX238" fmla="*/ 1640 w 10000"/>
                <a:gd name="connsiteY238" fmla="*/ 4855 h 10000"/>
                <a:gd name="connsiteX239" fmla="*/ 1726 w 10000"/>
                <a:gd name="connsiteY239" fmla="*/ 5136 h 10000"/>
                <a:gd name="connsiteX240" fmla="*/ 1531 w 10000"/>
                <a:gd name="connsiteY240" fmla="*/ 5376 h 10000"/>
                <a:gd name="connsiteX241" fmla="*/ 1599 w 10000"/>
                <a:gd name="connsiteY241" fmla="*/ 5451 h 10000"/>
                <a:gd name="connsiteX242" fmla="*/ 1537 w 10000"/>
                <a:gd name="connsiteY242" fmla="*/ 5577 h 10000"/>
                <a:gd name="connsiteX243" fmla="*/ 1412 w 10000"/>
                <a:gd name="connsiteY243" fmla="*/ 5663 h 10000"/>
                <a:gd name="connsiteX244" fmla="*/ 915 w 10000"/>
                <a:gd name="connsiteY244" fmla="*/ 5730 h 10000"/>
                <a:gd name="connsiteX245" fmla="*/ 885 w 10000"/>
                <a:gd name="connsiteY245" fmla="*/ 5846 h 10000"/>
                <a:gd name="connsiteX246" fmla="*/ 617 w 10000"/>
                <a:gd name="connsiteY246" fmla="*/ 6019 h 10000"/>
                <a:gd name="connsiteX247" fmla="*/ 652 w 10000"/>
                <a:gd name="connsiteY247" fmla="*/ 6268 h 10000"/>
                <a:gd name="connsiteX248" fmla="*/ 427 w 10000"/>
                <a:gd name="connsiteY248" fmla="*/ 6587 h 10000"/>
                <a:gd name="connsiteX249" fmla="*/ 274 w 10000"/>
                <a:gd name="connsiteY249" fmla="*/ 6624 h 10000"/>
                <a:gd name="connsiteX250" fmla="*/ 210 w 10000"/>
                <a:gd name="connsiteY250" fmla="*/ 6548 h 10000"/>
                <a:gd name="connsiteX251" fmla="*/ 132 w 10000"/>
                <a:gd name="connsiteY251" fmla="*/ 6663 h 10000"/>
                <a:gd name="connsiteX252" fmla="*/ 183 w 10000"/>
                <a:gd name="connsiteY252" fmla="*/ 6465 h 10000"/>
                <a:gd name="connsiteX253" fmla="*/ 151 w 10000"/>
                <a:gd name="connsiteY253"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6880 w 10000"/>
                <a:gd name="connsiteY207" fmla="*/ 600 h 10000"/>
                <a:gd name="connsiteX208" fmla="*/ 5098 w 10000"/>
                <a:gd name="connsiteY208" fmla="*/ 0 h 10000"/>
                <a:gd name="connsiteX209" fmla="*/ 4837 w 10000"/>
                <a:gd name="connsiteY209" fmla="*/ 82 h 10000"/>
                <a:gd name="connsiteX210" fmla="*/ 4671 w 10000"/>
                <a:gd name="connsiteY210" fmla="*/ 78 h 10000"/>
                <a:gd name="connsiteX211" fmla="*/ 4571 w 10000"/>
                <a:gd name="connsiteY211" fmla="*/ 107 h 10000"/>
                <a:gd name="connsiteX212" fmla="*/ 4298 w 10000"/>
                <a:gd name="connsiteY212" fmla="*/ 913 h 10000"/>
                <a:gd name="connsiteX213" fmla="*/ 3668 w 10000"/>
                <a:gd name="connsiteY213" fmla="*/ 1383 h 10000"/>
                <a:gd name="connsiteX214" fmla="*/ 3672 w 10000"/>
                <a:gd name="connsiteY214" fmla="*/ 1457 h 10000"/>
                <a:gd name="connsiteX215" fmla="*/ 3952 w 10000"/>
                <a:gd name="connsiteY215" fmla="*/ 1668 h 10000"/>
                <a:gd name="connsiteX216" fmla="*/ 3861 w 10000"/>
                <a:gd name="connsiteY216" fmla="*/ 1896 h 10000"/>
                <a:gd name="connsiteX217" fmla="*/ 3698 w 10000"/>
                <a:gd name="connsiteY217" fmla="*/ 1979 h 10000"/>
                <a:gd name="connsiteX218" fmla="*/ 3208 w 10000"/>
                <a:gd name="connsiteY218" fmla="*/ 1924 h 10000"/>
                <a:gd name="connsiteX219" fmla="*/ 2871 w 10000"/>
                <a:gd name="connsiteY219" fmla="*/ 1955 h 10000"/>
                <a:gd name="connsiteX220" fmla="*/ 2601 w 10000"/>
                <a:gd name="connsiteY220" fmla="*/ 2023 h 10000"/>
                <a:gd name="connsiteX221" fmla="*/ 2163 w 10000"/>
                <a:gd name="connsiteY221" fmla="*/ 2233 h 10000"/>
                <a:gd name="connsiteX222" fmla="*/ 1931 w 10000"/>
                <a:gd name="connsiteY222" fmla="*/ 2487 h 10000"/>
                <a:gd name="connsiteX223" fmla="*/ 1951 w 10000"/>
                <a:gd name="connsiteY223" fmla="*/ 2629 h 10000"/>
                <a:gd name="connsiteX224" fmla="*/ 2032 w 10000"/>
                <a:gd name="connsiteY224" fmla="*/ 2738 h 10000"/>
                <a:gd name="connsiteX225" fmla="*/ 2093 w 10000"/>
                <a:gd name="connsiteY225" fmla="*/ 2782 h 10000"/>
                <a:gd name="connsiteX226" fmla="*/ 1979 w 10000"/>
                <a:gd name="connsiteY226" fmla="*/ 2852 h 10000"/>
                <a:gd name="connsiteX227" fmla="*/ 1731 w 10000"/>
                <a:gd name="connsiteY227" fmla="*/ 3330 h 10000"/>
                <a:gd name="connsiteX228" fmla="*/ 1779 w 10000"/>
                <a:gd name="connsiteY228" fmla="*/ 3358 h 10000"/>
                <a:gd name="connsiteX229" fmla="*/ 1815 w 10000"/>
                <a:gd name="connsiteY229" fmla="*/ 3479 h 10000"/>
                <a:gd name="connsiteX230" fmla="*/ 1700 w 10000"/>
                <a:gd name="connsiteY230" fmla="*/ 3982 h 10000"/>
                <a:gd name="connsiteX231" fmla="*/ 1815 w 10000"/>
                <a:gd name="connsiteY231" fmla="*/ 4110 h 10000"/>
                <a:gd name="connsiteX232" fmla="*/ 2131 w 10000"/>
                <a:gd name="connsiteY232" fmla="*/ 4251 h 10000"/>
                <a:gd name="connsiteX233" fmla="*/ 2145 w 10000"/>
                <a:gd name="connsiteY233" fmla="*/ 4423 h 10000"/>
                <a:gd name="connsiteX234" fmla="*/ 2010 w 10000"/>
                <a:gd name="connsiteY234" fmla="*/ 4566 h 10000"/>
                <a:gd name="connsiteX235" fmla="*/ 1815 w 10000"/>
                <a:gd name="connsiteY235" fmla="*/ 4652 h 10000"/>
                <a:gd name="connsiteX236" fmla="*/ 1557 w 10000"/>
                <a:gd name="connsiteY236" fmla="*/ 4687 h 10000"/>
                <a:gd name="connsiteX237" fmla="*/ 1490 w 10000"/>
                <a:gd name="connsiteY237" fmla="*/ 4737 h 10000"/>
                <a:gd name="connsiteX238" fmla="*/ 1640 w 10000"/>
                <a:gd name="connsiteY238" fmla="*/ 4855 h 10000"/>
                <a:gd name="connsiteX239" fmla="*/ 1726 w 10000"/>
                <a:gd name="connsiteY239" fmla="*/ 5136 h 10000"/>
                <a:gd name="connsiteX240" fmla="*/ 1531 w 10000"/>
                <a:gd name="connsiteY240" fmla="*/ 5376 h 10000"/>
                <a:gd name="connsiteX241" fmla="*/ 1599 w 10000"/>
                <a:gd name="connsiteY241" fmla="*/ 5451 h 10000"/>
                <a:gd name="connsiteX242" fmla="*/ 1537 w 10000"/>
                <a:gd name="connsiteY242" fmla="*/ 5577 h 10000"/>
                <a:gd name="connsiteX243" fmla="*/ 1412 w 10000"/>
                <a:gd name="connsiteY243" fmla="*/ 5663 h 10000"/>
                <a:gd name="connsiteX244" fmla="*/ 915 w 10000"/>
                <a:gd name="connsiteY244" fmla="*/ 5730 h 10000"/>
                <a:gd name="connsiteX245" fmla="*/ 885 w 10000"/>
                <a:gd name="connsiteY245" fmla="*/ 5846 h 10000"/>
                <a:gd name="connsiteX246" fmla="*/ 617 w 10000"/>
                <a:gd name="connsiteY246" fmla="*/ 6019 h 10000"/>
                <a:gd name="connsiteX247" fmla="*/ 652 w 10000"/>
                <a:gd name="connsiteY247" fmla="*/ 6268 h 10000"/>
                <a:gd name="connsiteX248" fmla="*/ 427 w 10000"/>
                <a:gd name="connsiteY248" fmla="*/ 6587 h 10000"/>
                <a:gd name="connsiteX249" fmla="*/ 274 w 10000"/>
                <a:gd name="connsiteY249" fmla="*/ 6624 h 10000"/>
                <a:gd name="connsiteX250" fmla="*/ 210 w 10000"/>
                <a:gd name="connsiteY250" fmla="*/ 6548 h 10000"/>
                <a:gd name="connsiteX251" fmla="*/ 132 w 10000"/>
                <a:gd name="connsiteY251" fmla="*/ 6663 h 10000"/>
                <a:gd name="connsiteX252" fmla="*/ 183 w 10000"/>
                <a:gd name="connsiteY252" fmla="*/ 6465 h 10000"/>
                <a:gd name="connsiteX253" fmla="*/ 151 w 10000"/>
                <a:gd name="connsiteY253"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6880 w 10000"/>
                <a:gd name="connsiteY207" fmla="*/ 600 h 10000"/>
                <a:gd name="connsiteX208" fmla="*/ 5098 w 10000"/>
                <a:gd name="connsiteY208" fmla="*/ 0 h 10000"/>
                <a:gd name="connsiteX209" fmla="*/ 4837 w 10000"/>
                <a:gd name="connsiteY209" fmla="*/ 82 h 10000"/>
                <a:gd name="connsiteX210" fmla="*/ 4671 w 10000"/>
                <a:gd name="connsiteY210" fmla="*/ 78 h 10000"/>
                <a:gd name="connsiteX211" fmla="*/ 4571 w 10000"/>
                <a:gd name="connsiteY211" fmla="*/ 107 h 10000"/>
                <a:gd name="connsiteX212" fmla="*/ 4298 w 10000"/>
                <a:gd name="connsiteY212" fmla="*/ 913 h 10000"/>
                <a:gd name="connsiteX213" fmla="*/ 3668 w 10000"/>
                <a:gd name="connsiteY213" fmla="*/ 1383 h 10000"/>
                <a:gd name="connsiteX214" fmla="*/ 3672 w 10000"/>
                <a:gd name="connsiteY214" fmla="*/ 1457 h 10000"/>
                <a:gd name="connsiteX215" fmla="*/ 3952 w 10000"/>
                <a:gd name="connsiteY215" fmla="*/ 1668 h 10000"/>
                <a:gd name="connsiteX216" fmla="*/ 3861 w 10000"/>
                <a:gd name="connsiteY216" fmla="*/ 1896 h 10000"/>
                <a:gd name="connsiteX217" fmla="*/ 3698 w 10000"/>
                <a:gd name="connsiteY217" fmla="*/ 1979 h 10000"/>
                <a:gd name="connsiteX218" fmla="*/ 3208 w 10000"/>
                <a:gd name="connsiteY218" fmla="*/ 1924 h 10000"/>
                <a:gd name="connsiteX219" fmla="*/ 2871 w 10000"/>
                <a:gd name="connsiteY219" fmla="*/ 1955 h 10000"/>
                <a:gd name="connsiteX220" fmla="*/ 2601 w 10000"/>
                <a:gd name="connsiteY220" fmla="*/ 2023 h 10000"/>
                <a:gd name="connsiteX221" fmla="*/ 2163 w 10000"/>
                <a:gd name="connsiteY221" fmla="*/ 2233 h 10000"/>
                <a:gd name="connsiteX222" fmla="*/ 1931 w 10000"/>
                <a:gd name="connsiteY222" fmla="*/ 2487 h 10000"/>
                <a:gd name="connsiteX223" fmla="*/ 1951 w 10000"/>
                <a:gd name="connsiteY223" fmla="*/ 2629 h 10000"/>
                <a:gd name="connsiteX224" fmla="*/ 2032 w 10000"/>
                <a:gd name="connsiteY224" fmla="*/ 2738 h 10000"/>
                <a:gd name="connsiteX225" fmla="*/ 2093 w 10000"/>
                <a:gd name="connsiteY225" fmla="*/ 2782 h 10000"/>
                <a:gd name="connsiteX226" fmla="*/ 1979 w 10000"/>
                <a:gd name="connsiteY226" fmla="*/ 2852 h 10000"/>
                <a:gd name="connsiteX227" fmla="*/ 1731 w 10000"/>
                <a:gd name="connsiteY227" fmla="*/ 3330 h 10000"/>
                <a:gd name="connsiteX228" fmla="*/ 1779 w 10000"/>
                <a:gd name="connsiteY228" fmla="*/ 3358 h 10000"/>
                <a:gd name="connsiteX229" fmla="*/ 1815 w 10000"/>
                <a:gd name="connsiteY229" fmla="*/ 3479 h 10000"/>
                <a:gd name="connsiteX230" fmla="*/ 1700 w 10000"/>
                <a:gd name="connsiteY230" fmla="*/ 3982 h 10000"/>
                <a:gd name="connsiteX231" fmla="*/ 1815 w 10000"/>
                <a:gd name="connsiteY231" fmla="*/ 4110 h 10000"/>
                <a:gd name="connsiteX232" fmla="*/ 2131 w 10000"/>
                <a:gd name="connsiteY232" fmla="*/ 4251 h 10000"/>
                <a:gd name="connsiteX233" fmla="*/ 2145 w 10000"/>
                <a:gd name="connsiteY233" fmla="*/ 4423 h 10000"/>
                <a:gd name="connsiteX234" fmla="*/ 2010 w 10000"/>
                <a:gd name="connsiteY234" fmla="*/ 4566 h 10000"/>
                <a:gd name="connsiteX235" fmla="*/ 1815 w 10000"/>
                <a:gd name="connsiteY235" fmla="*/ 4652 h 10000"/>
                <a:gd name="connsiteX236" fmla="*/ 1557 w 10000"/>
                <a:gd name="connsiteY236" fmla="*/ 4687 h 10000"/>
                <a:gd name="connsiteX237" fmla="*/ 1490 w 10000"/>
                <a:gd name="connsiteY237" fmla="*/ 4737 h 10000"/>
                <a:gd name="connsiteX238" fmla="*/ 1640 w 10000"/>
                <a:gd name="connsiteY238" fmla="*/ 4855 h 10000"/>
                <a:gd name="connsiteX239" fmla="*/ 1726 w 10000"/>
                <a:gd name="connsiteY239" fmla="*/ 5136 h 10000"/>
                <a:gd name="connsiteX240" fmla="*/ 1531 w 10000"/>
                <a:gd name="connsiteY240" fmla="*/ 5376 h 10000"/>
                <a:gd name="connsiteX241" fmla="*/ 1599 w 10000"/>
                <a:gd name="connsiteY241" fmla="*/ 5451 h 10000"/>
                <a:gd name="connsiteX242" fmla="*/ 1537 w 10000"/>
                <a:gd name="connsiteY242" fmla="*/ 5577 h 10000"/>
                <a:gd name="connsiteX243" fmla="*/ 1412 w 10000"/>
                <a:gd name="connsiteY243" fmla="*/ 5663 h 10000"/>
                <a:gd name="connsiteX244" fmla="*/ 915 w 10000"/>
                <a:gd name="connsiteY244" fmla="*/ 5730 h 10000"/>
                <a:gd name="connsiteX245" fmla="*/ 885 w 10000"/>
                <a:gd name="connsiteY245" fmla="*/ 5846 h 10000"/>
                <a:gd name="connsiteX246" fmla="*/ 617 w 10000"/>
                <a:gd name="connsiteY246" fmla="*/ 6019 h 10000"/>
                <a:gd name="connsiteX247" fmla="*/ 652 w 10000"/>
                <a:gd name="connsiteY247" fmla="*/ 6268 h 10000"/>
                <a:gd name="connsiteX248" fmla="*/ 427 w 10000"/>
                <a:gd name="connsiteY248" fmla="*/ 6587 h 10000"/>
                <a:gd name="connsiteX249" fmla="*/ 274 w 10000"/>
                <a:gd name="connsiteY249" fmla="*/ 6624 h 10000"/>
                <a:gd name="connsiteX250" fmla="*/ 210 w 10000"/>
                <a:gd name="connsiteY250" fmla="*/ 6548 h 10000"/>
                <a:gd name="connsiteX251" fmla="*/ 132 w 10000"/>
                <a:gd name="connsiteY251" fmla="*/ 6663 h 10000"/>
                <a:gd name="connsiteX252" fmla="*/ 183 w 10000"/>
                <a:gd name="connsiteY252" fmla="*/ 6465 h 10000"/>
                <a:gd name="connsiteX253" fmla="*/ 151 w 10000"/>
                <a:gd name="connsiteY253"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6181 w 10000"/>
                <a:gd name="connsiteY207" fmla="*/ 353 h 10000"/>
                <a:gd name="connsiteX208" fmla="*/ 5098 w 10000"/>
                <a:gd name="connsiteY208" fmla="*/ 0 h 10000"/>
                <a:gd name="connsiteX209" fmla="*/ 4837 w 10000"/>
                <a:gd name="connsiteY209" fmla="*/ 82 h 10000"/>
                <a:gd name="connsiteX210" fmla="*/ 4671 w 10000"/>
                <a:gd name="connsiteY210" fmla="*/ 78 h 10000"/>
                <a:gd name="connsiteX211" fmla="*/ 4571 w 10000"/>
                <a:gd name="connsiteY211" fmla="*/ 107 h 10000"/>
                <a:gd name="connsiteX212" fmla="*/ 4298 w 10000"/>
                <a:gd name="connsiteY212" fmla="*/ 913 h 10000"/>
                <a:gd name="connsiteX213" fmla="*/ 3668 w 10000"/>
                <a:gd name="connsiteY213" fmla="*/ 1383 h 10000"/>
                <a:gd name="connsiteX214" fmla="*/ 3672 w 10000"/>
                <a:gd name="connsiteY214" fmla="*/ 1457 h 10000"/>
                <a:gd name="connsiteX215" fmla="*/ 3952 w 10000"/>
                <a:gd name="connsiteY215" fmla="*/ 1668 h 10000"/>
                <a:gd name="connsiteX216" fmla="*/ 3861 w 10000"/>
                <a:gd name="connsiteY216" fmla="*/ 1896 h 10000"/>
                <a:gd name="connsiteX217" fmla="*/ 3698 w 10000"/>
                <a:gd name="connsiteY217" fmla="*/ 1979 h 10000"/>
                <a:gd name="connsiteX218" fmla="*/ 3208 w 10000"/>
                <a:gd name="connsiteY218" fmla="*/ 1924 h 10000"/>
                <a:gd name="connsiteX219" fmla="*/ 2871 w 10000"/>
                <a:gd name="connsiteY219" fmla="*/ 1955 h 10000"/>
                <a:gd name="connsiteX220" fmla="*/ 2601 w 10000"/>
                <a:gd name="connsiteY220" fmla="*/ 2023 h 10000"/>
                <a:gd name="connsiteX221" fmla="*/ 2163 w 10000"/>
                <a:gd name="connsiteY221" fmla="*/ 2233 h 10000"/>
                <a:gd name="connsiteX222" fmla="*/ 1931 w 10000"/>
                <a:gd name="connsiteY222" fmla="*/ 2487 h 10000"/>
                <a:gd name="connsiteX223" fmla="*/ 1951 w 10000"/>
                <a:gd name="connsiteY223" fmla="*/ 2629 h 10000"/>
                <a:gd name="connsiteX224" fmla="*/ 2032 w 10000"/>
                <a:gd name="connsiteY224" fmla="*/ 2738 h 10000"/>
                <a:gd name="connsiteX225" fmla="*/ 2093 w 10000"/>
                <a:gd name="connsiteY225" fmla="*/ 2782 h 10000"/>
                <a:gd name="connsiteX226" fmla="*/ 1979 w 10000"/>
                <a:gd name="connsiteY226" fmla="*/ 2852 h 10000"/>
                <a:gd name="connsiteX227" fmla="*/ 1731 w 10000"/>
                <a:gd name="connsiteY227" fmla="*/ 3330 h 10000"/>
                <a:gd name="connsiteX228" fmla="*/ 1779 w 10000"/>
                <a:gd name="connsiteY228" fmla="*/ 3358 h 10000"/>
                <a:gd name="connsiteX229" fmla="*/ 1815 w 10000"/>
                <a:gd name="connsiteY229" fmla="*/ 3479 h 10000"/>
                <a:gd name="connsiteX230" fmla="*/ 1700 w 10000"/>
                <a:gd name="connsiteY230" fmla="*/ 3982 h 10000"/>
                <a:gd name="connsiteX231" fmla="*/ 1815 w 10000"/>
                <a:gd name="connsiteY231" fmla="*/ 4110 h 10000"/>
                <a:gd name="connsiteX232" fmla="*/ 2131 w 10000"/>
                <a:gd name="connsiteY232" fmla="*/ 4251 h 10000"/>
                <a:gd name="connsiteX233" fmla="*/ 2145 w 10000"/>
                <a:gd name="connsiteY233" fmla="*/ 4423 h 10000"/>
                <a:gd name="connsiteX234" fmla="*/ 2010 w 10000"/>
                <a:gd name="connsiteY234" fmla="*/ 4566 h 10000"/>
                <a:gd name="connsiteX235" fmla="*/ 1815 w 10000"/>
                <a:gd name="connsiteY235" fmla="*/ 4652 h 10000"/>
                <a:gd name="connsiteX236" fmla="*/ 1557 w 10000"/>
                <a:gd name="connsiteY236" fmla="*/ 4687 h 10000"/>
                <a:gd name="connsiteX237" fmla="*/ 1490 w 10000"/>
                <a:gd name="connsiteY237" fmla="*/ 4737 h 10000"/>
                <a:gd name="connsiteX238" fmla="*/ 1640 w 10000"/>
                <a:gd name="connsiteY238" fmla="*/ 4855 h 10000"/>
                <a:gd name="connsiteX239" fmla="*/ 1726 w 10000"/>
                <a:gd name="connsiteY239" fmla="*/ 5136 h 10000"/>
                <a:gd name="connsiteX240" fmla="*/ 1531 w 10000"/>
                <a:gd name="connsiteY240" fmla="*/ 5376 h 10000"/>
                <a:gd name="connsiteX241" fmla="*/ 1599 w 10000"/>
                <a:gd name="connsiteY241" fmla="*/ 5451 h 10000"/>
                <a:gd name="connsiteX242" fmla="*/ 1537 w 10000"/>
                <a:gd name="connsiteY242" fmla="*/ 5577 h 10000"/>
                <a:gd name="connsiteX243" fmla="*/ 1412 w 10000"/>
                <a:gd name="connsiteY243" fmla="*/ 5663 h 10000"/>
                <a:gd name="connsiteX244" fmla="*/ 915 w 10000"/>
                <a:gd name="connsiteY244" fmla="*/ 5730 h 10000"/>
                <a:gd name="connsiteX245" fmla="*/ 885 w 10000"/>
                <a:gd name="connsiteY245" fmla="*/ 5846 h 10000"/>
                <a:gd name="connsiteX246" fmla="*/ 617 w 10000"/>
                <a:gd name="connsiteY246" fmla="*/ 6019 h 10000"/>
                <a:gd name="connsiteX247" fmla="*/ 652 w 10000"/>
                <a:gd name="connsiteY247" fmla="*/ 6268 h 10000"/>
                <a:gd name="connsiteX248" fmla="*/ 427 w 10000"/>
                <a:gd name="connsiteY248" fmla="*/ 6587 h 10000"/>
                <a:gd name="connsiteX249" fmla="*/ 274 w 10000"/>
                <a:gd name="connsiteY249" fmla="*/ 6624 h 10000"/>
                <a:gd name="connsiteX250" fmla="*/ 210 w 10000"/>
                <a:gd name="connsiteY250" fmla="*/ 6548 h 10000"/>
                <a:gd name="connsiteX251" fmla="*/ 132 w 10000"/>
                <a:gd name="connsiteY251" fmla="*/ 6663 h 10000"/>
                <a:gd name="connsiteX252" fmla="*/ 183 w 10000"/>
                <a:gd name="connsiteY252" fmla="*/ 6465 h 10000"/>
                <a:gd name="connsiteX253" fmla="*/ 151 w 10000"/>
                <a:gd name="connsiteY253"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6413 w 10000"/>
                <a:gd name="connsiteY207" fmla="*/ 332 h 10000"/>
                <a:gd name="connsiteX208" fmla="*/ 5098 w 10000"/>
                <a:gd name="connsiteY208" fmla="*/ 0 h 10000"/>
                <a:gd name="connsiteX209" fmla="*/ 4837 w 10000"/>
                <a:gd name="connsiteY209" fmla="*/ 82 h 10000"/>
                <a:gd name="connsiteX210" fmla="*/ 4671 w 10000"/>
                <a:gd name="connsiteY210" fmla="*/ 78 h 10000"/>
                <a:gd name="connsiteX211" fmla="*/ 4571 w 10000"/>
                <a:gd name="connsiteY211" fmla="*/ 107 h 10000"/>
                <a:gd name="connsiteX212" fmla="*/ 4298 w 10000"/>
                <a:gd name="connsiteY212" fmla="*/ 913 h 10000"/>
                <a:gd name="connsiteX213" fmla="*/ 3668 w 10000"/>
                <a:gd name="connsiteY213" fmla="*/ 1383 h 10000"/>
                <a:gd name="connsiteX214" fmla="*/ 3672 w 10000"/>
                <a:gd name="connsiteY214" fmla="*/ 1457 h 10000"/>
                <a:gd name="connsiteX215" fmla="*/ 3952 w 10000"/>
                <a:gd name="connsiteY215" fmla="*/ 1668 h 10000"/>
                <a:gd name="connsiteX216" fmla="*/ 3861 w 10000"/>
                <a:gd name="connsiteY216" fmla="*/ 1896 h 10000"/>
                <a:gd name="connsiteX217" fmla="*/ 3698 w 10000"/>
                <a:gd name="connsiteY217" fmla="*/ 1979 h 10000"/>
                <a:gd name="connsiteX218" fmla="*/ 3208 w 10000"/>
                <a:gd name="connsiteY218" fmla="*/ 1924 h 10000"/>
                <a:gd name="connsiteX219" fmla="*/ 2871 w 10000"/>
                <a:gd name="connsiteY219" fmla="*/ 1955 h 10000"/>
                <a:gd name="connsiteX220" fmla="*/ 2601 w 10000"/>
                <a:gd name="connsiteY220" fmla="*/ 2023 h 10000"/>
                <a:gd name="connsiteX221" fmla="*/ 2163 w 10000"/>
                <a:gd name="connsiteY221" fmla="*/ 2233 h 10000"/>
                <a:gd name="connsiteX222" fmla="*/ 1931 w 10000"/>
                <a:gd name="connsiteY222" fmla="*/ 2487 h 10000"/>
                <a:gd name="connsiteX223" fmla="*/ 1951 w 10000"/>
                <a:gd name="connsiteY223" fmla="*/ 2629 h 10000"/>
                <a:gd name="connsiteX224" fmla="*/ 2032 w 10000"/>
                <a:gd name="connsiteY224" fmla="*/ 2738 h 10000"/>
                <a:gd name="connsiteX225" fmla="*/ 2093 w 10000"/>
                <a:gd name="connsiteY225" fmla="*/ 2782 h 10000"/>
                <a:gd name="connsiteX226" fmla="*/ 1979 w 10000"/>
                <a:gd name="connsiteY226" fmla="*/ 2852 h 10000"/>
                <a:gd name="connsiteX227" fmla="*/ 1731 w 10000"/>
                <a:gd name="connsiteY227" fmla="*/ 3330 h 10000"/>
                <a:gd name="connsiteX228" fmla="*/ 1779 w 10000"/>
                <a:gd name="connsiteY228" fmla="*/ 3358 h 10000"/>
                <a:gd name="connsiteX229" fmla="*/ 1815 w 10000"/>
                <a:gd name="connsiteY229" fmla="*/ 3479 h 10000"/>
                <a:gd name="connsiteX230" fmla="*/ 1700 w 10000"/>
                <a:gd name="connsiteY230" fmla="*/ 3982 h 10000"/>
                <a:gd name="connsiteX231" fmla="*/ 1815 w 10000"/>
                <a:gd name="connsiteY231" fmla="*/ 4110 h 10000"/>
                <a:gd name="connsiteX232" fmla="*/ 2131 w 10000"/>
                <a:gd name="connsiteY232" fmla="*/ 4251 h 10000"/>
                <a:gd name="connsiteX233" fmla="*/ 2145 w 10000"/>
                <a:gd name="connsiteY233" fmla="*/ 4423 h 10000"/>
                <a:gd name="connsiteX234" fmla="*/ 2010 w 10000"/>
                <a:gd name="connsiteY234" fmla="*/ 4566 h 10000"/>
                <a:gd name="connsiteX235" fmla="*/ 1815 w 10000"/>
                <a:gd name="connsiteY235" fmla="*/ 4652 h 10000"/>
                <a:gd name="connsiteX236" fmla="*/ 1557 w 10000"/>
                <a:gd name="connsiteY236" fmla="*/ 4687 h 10000"/>
                <a:gd name="connsiteX237" fmla="*/ 1490 w 10000"/>
                <a:gd name="connsiteY237" fmla="*/ 4737 h 10000"/>
                <a:gd name="connsiteX238" fmla="*/ 1640 w 10000"/>
                <a:gd name="connsiteY238" fmla="*/ 4855 h 10000"/>
                <a:gd name="connsiteX239" fmla="*/ 1726 w 10000"/>
                <a:gd name="connsiteY239" fmla="*/ 5136 h 10000"/>
                <a:gd name="connsiteX240" fmla="*/ 1531 w 10000"/>
                <a:gd name="connsiteY240" fmla="*/ 5376 h 10000"/>
                <a:gd name="connsiteX241" fmla="*/ 1599 w 10000"/>
                <a:gd name="connsiteY241" fmla="*/ 5451 h 10000"/>
                <a:gd name="connsiteX242" fmla="*/ 1537 w 10000"/>
                <a:gd name="connsiteY242" fmla="*/ 5577 h 10000"/>
                <a:gd name="connsiteX243" fmla="*/ 1412 w 10000"/>
                <a:gd name="connsiteY243" fmla="*/ 5663 h 10000"/>
                <a:gd name="connsiteX244" fmla="*/ 915 w 10000"/>
                <a:gd name="connsiteY244" fmla="*/ 5730 h 10000"/>
                <a:gd name="connsiteX245" fmla="*/ 885 w 10000"/>
                <a:gd name="connsiteY245" fmla="*/ 5846 h 10000"/>
                <a:gd name="connsiteX246" fmla="*/ 617 w 10000"/>
                <a:gd name="connsiteY246" fmla="*/ 6019 h 10000"/>
                <a:gd name="connsiteX247" fmla="*/ 652 w 10000"/>
                <a:gd name="connsiteY247" fmla="*/ 6268 h 10000"/>
                <a:gd name="connsiteX248" fmla="*/ 427 w 10000"/>
                <a:gd name="connsiteY248" fmla="*/ 6587 h 10000"/>
                <a:gd name="connsiteX249" fmla="*/ 274 w 10000"/>
                <a:gd name="connsiteY249" fmla="*/ 6624 h 10000"/>
                <a:gd name="connsiteX250" fmla="*/ 210 w 10000"/>
                <a:gd name="connsiteY250" fmla="*/ 6548 h 10000"/>
                <a:gd name="connsiteX251" fmla="*/ 132 w 10000"/>
                <a:gd name="connsiteY251" fmla="*/ 6663 h 10000"/>
                <a:gd name="connsiteX252" fmla="*/ 183 w 10000"/>
                <a:gd name="connsiteY252" fmla="*/ 6465 h 10000"/>
                <a:gd name="connsiteX253" fmla="*/ 151 w 10000"/>
                <a:gd name="connsiteY253"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7012 w 10000"/>
                <a:gd name="connsiteY207" fmla="*/ 590 h 10000"/>
                <a:gd name="connsiteX208" fmla="*/ 6413 w 10000"/>
                <a:gd name="connsiteY208" fmla="*/ 332 h 10000"/>
                <a:gd name="connsiteX209" fmla="*/ 5098 w 10000"/>
                <a:gd name="connsiteY209" fmla="*/ 0 h 10000"/>
                <a:gd name="connsiteX210" fmla="*/ 4837 w 10000"/>
                <a:gd name="connsiteY210" fmla="*/ 82 h 10000"/>
                <a:gd name="connsiteX211" fmla="*/ 4671 w 10000"/>
                <a:gd name="connsiteY211" fmla="*/ 78 h 10000"/>
                <a:gd name="connsiteX212" fmla="*/ 4571 w 10000"/>
                <a:gd name="connsiteY212" fmla="*/ 107 h 10000"/>
                <a:gd name="connsiteX213" fmla="*/ 4298 w 10000"/>
                <a:gd name="connsiteY213" fmla="*/ 913 h 10000"/>
                <a:gd name="connsiteX214" fmla="*/ 3668 w 10000"/>
                <a:gd name="connsiteY214" fmla="*/ 1383 h 10000"/>
                <a:gd name="connsiteX215" fmla="*/ 3672 w 10000"/>
                <a:gd name="connsiteY215" fmla="*/ 1457 h 10000"/>
                <a:gd name="connsiteX216" fmla="*/ 3952 w 10000"/>
                <a:gd name="connsiteY216" fmla="*/ 1668 h 10000"/>
                <a:gd name="connsiteX217" fmla="*/ 3861 w 10000"/>
                <a:gd name="connsiteY217" fmla="*/ 1896 h 10000"/>
                <a:gd name="connsiteX218" fmla="*/ 3698 w 10000"/>
                <a:gd name="connsiteY218" fmla="*/ 1979 h 10000"/>
                <a:gd name="connsiteX219" fmla="*/ 3208 w 10000"/>
                <a:gd name="connsiteY219" fmla="*/ 1924 h 10000"/>
                <a:gd name="connsiteX220" fmla="*/ 2871 w 10000"/>
                <a:gd name="connsiteY220" fmla="*/ 1955 h 10000"/>
                <a:gd name="connsiteX221" fmla="*/ 2601 w 10000"/>
                <a:gd name="connsiteY221" fmla="*/ 2023 h 10000"/>
                <a:gd name="connsiteX222" fmla="*/ 2163 w 10000"/>
                <a:gd name="connsiteY222" fmla="*/ 2233 h 10000"/>
                <a:gd name="connsiteX223" fmla="*/ 1931 w 10000"/>
                <a:gd name="connsiteY223" fmla="*/ 2487 h 10000"/>
                <a:gd name="connsiteX224" fmla="*/ 1951 w 10000"/>
                <a:gd name="connsiteY224" fmla="*/ 2629 h 10000"/>
                <a:gd name="connsiteX225" fmla="*/ 2032 w 10000"/>
                <a:gd name="connsiteY225" fmla="*/ 2738 h 10000"/>
                <a:gd name="connsiteX226" fmla="*/ 2093 w 10000"/>
                <a:gd name="connsiteY226" fmla="*/ 2782 h 10000"/>
                <a:gd name="connsiteX227" fmla="*/ 1979 w 10000"/>
                <a:gd name="connsiteY227" fmla="*/ 2852 h 10000"/>
                <a:gd name="connsiteX228" fmla="*/ 1731 w 10000"/>
                <a:gd name="connsiteY228" fmla="*/ 3330 h 10000"/>
                <a:gd name="connsiteX229" fmla="*/ 1779 w 10000"/>
                <a:gd name="connsiteY229" fmla="*/ 3358 h 10000"/>
                <a:gd name="connsiteX230" fmla="*/ 1815 w 10000"/>
                <a:gd name="connsiteY230" fmla="*/ 3479 h 10000"/>
                <a:gd name="connsiteX231" fmla="*/ 1700 w 10000"/>
                <a:gd name="connsiteY231" fmla="*/ 3982 h 10000"/>
                <a:gd name="connsiteX232" fmla="*/ 1815 w 10000"/>
                <a:gd name="connsiteY232" fmla="*/ 4110 h 10000"/>
                <a:gd name="connsiteX233" fmla="*/ 2131 w 10000"/>
                <a:gd name="connsiteY233" fmla="*/ 4251 h 10000"/>
                <a:gd name="connsiteX234" fmla="*/ 2145 w 10000"/>
                <a:gd name="connsiteY234" fmla="*/ 4423 h 10000"/>
                <a:gd name="connsiteX235" fmla="*/ 2010 w 10000"/>
                <a:gd name="connsiteY235" fmla="*/ 4566 h 10000"/>
                <a:gd name="connsiteX236" fmla="*/ 1815 w 10000"/>
                <a:gd name="connsiteY236" fmla="*/ 4652 h 10000"/>
                <a:gd name="connsiteX237" fmla="*/ 1557 w 10000"/>
                <a:gd name="connsiteY237" fmla="*/ 4687 h 10000"/>
                <a:gd name="connsiteX238" fmla="*/ 1490 w 10000"/>
                <a:gd name="connsiteY238" fmla="*/ 4737 h 10000"/>
                <a:gd name="connsiteX239" fmla="*/ 1640 w 10000"/>
                <a:gd name="connsiteY239" fmla="*/ 4855 h 10000"/>
                <a:gd name="connsiteX240" fmla="*/ 1726 w 10000"/>
                <a:gd name="connsiteY240" fmla="*/ 5136 h 10000"/>
                <a:gd name="connsiteX241" fmla="*/ 1531 w 10000"/>
                <a:gd name="connsiteY241" fmla="*/ 5376 h 10000"/>
                <a:gd name="connsiteX242" fmla="*/ 1599 w 10000"/>
                <a:gd name="connsiteY242" fmla="*/ 5451 h 10000"/>
                <a:gd name="connsiteX243" fmla="*/ 1537 w 10000"/>
                <a:gd name="connsiteY243" fmla="*/ 5577 h 10000"/>
                <a:gd name="connsiteX244" fmla="*/ 1412 w 10000"/>
                <a:gd name="connsiteY244" fmla="*/ 5663 h 10000"/>
                <a:gd name="connsiteX245" fmla="*/ 915 w 10000"/>
                <a:gd name="connsiteY245" fmla="*/ 5730 h 10000"/>
                <a:gd name="connsiteX246" fmla="*/ 885 w 10000"/>
                <a:gd name="connsiteY246" fmla="*/ 5846 h 10000"/>
                <a:gd name="connsiteX247" fmla="*/ 617 w 10000"/>
                <a:gd name="connsiteY247" fmla="*/ 6019 h 10000"/>
                <a:gd name="connsiteX248" fmla="*/ 652 w 10000"/>
                <a:gd name="connsiteY248" fmla="*/ 6268 h 10000"/>
                <a:gd name="connsiteX249" fmla="*/ 427 w 10000"/>
                <a:gd name="connsiteY249" fmla="*/ 6587 h 10000"/>
                <a:gd name="connsiteX250" fmla="*/ 274 w 10000"/>
                <a:gd name="connsiteY250" fmla="*/ 6624 h 10000"/>
                <a:gd name="connsiteX251" fmla="*/ 210 w 10000"/>
                <a:gd name="connsiteY251" fmla="*/ 6548 h 10000"/>
                <a:gd name="connsiteX252" fmla="*/ 132 w 10000"/>
                <a:gd name="connsiteY252" fmla="*/ 6663 h 10000"/>
                <a:gd name="connsiteX253" fmla="*/ 183 w 10000"/>
                <a:gd name="connsiteY253" fmla="*/ 6465 h 10000"/>
                <a:gd name="connsiteX254" fmla="*/ 151 w 10000"/>
                <a:gd name="connsiteY254"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7289 w 10000"/>
                <a:gd name="connsiteY207" fmla="*/ 669 h 10000"/>
                <a:gd name="connsiteX208" fmla="*/ 7012 w 10000"/>
                <a:gd name="connsiteY208" fmla="*/ 590 h 10000"/>
                <a:gd name="connsiteX209" fmla="*/ 6413 w 10000"/>
                <a:gd name="connsiteY209" fmla="*/ 332 h 10000"/>
                <a:gd name="connsiteX210" fmla="*/ 5098 w 10000"/>
                <a:gd name="connsiteY210" fmla="*/ 0 h 10000"/>
                <a:gd name="connsiteX211" fmla="*/ 4837 w 10000"/>
                <a:gd name="connsiteY211" fmla="*/ 82 h 10000"/>
                <a:gd name="connsiteX212" fmla="*/ 4671 w 10000"/>
                <a:gd name="connsiteY212" fmla="*/ 78 h 10000"/>
                <a:gd name="connsiteX213" fmla="*/ 4571 w 10000"/>
                <a:gd name="connsiteY213" fmla="*/ 107 h 10000"/>
                <a:gd name="connsiteX214" fmla="*/ 4298 w 10000"/>
                <a:gd name="connsiteY214" fmla="*/ 913 h 10000"/>
                <a:gd name="connsiteX215" fmla="*/ 3668 w 10000"/>
                <a:gd name="connsiteY215" fmla="*/ 1383 h 10000"/>
                <a:gd name="connsiteX216" fmla="*/ 3672 w 10000"/>
                <a:gd name="connsiteY216" fmla="*/ 1457 h 10000"/>
                <a:gd name="connsiteX217" fmla="*/ 3952 w 10000"/>
                <a:gd name="connsiteY217" fmla="*/ 1668 h 10000"/>
                <a:gd name="connsiteX218" fmla="*/ 3861 w 10000"/>
                <a:gd name="connsiteY218" fmla="*/ 1896 h 10000"/>
                <a:gd name="connsiteX219" fmla="*/ 3698 w 10000"/>
                <a:gd name="connsiteY219" fmla="*/ 1979 h 10000"/>
                <a:gd name="connsiteX220" fmla="*/ 3208 w 10000"/>
                <a:gd name="connsiteY220" fmla="*/ 1924 h 10000"/>
                <a:gd name="connsiteX221" fmla="*/ 2871 w 10000"/>
                <a:gd name="connsiteY221" fmla="*/ 1955 h 10000"/>
                <a:gd name="connsiteX222" fmla="*/ 2601 w 10000"/>
                <a:gd name="connsiteY222" fmla="*/ 2023 h 10000"/>
                <a:gd name="connsiteX223" fmla="*/ 2163 w 10000"/>
                <a:gd name="connsiteY223" fmla="*/ 2233 h 10000"/>
                <a:gd name="connsiteX224" fmla="*/ 1931 w 10000"/>
                <a:gd name="connsiteY224" fmla="*/ 2487 h 10000"/>
                <a:gd name="connsiteX225" fmla="*/ 1951 w 10000"/>
                <a:gd name="connsiteY225" fmla="*/ 2629 h 10000"/>
                <a:gd name="connsiteX226" fmla="*/ 2032 w 10000"/>
                <a:gd name="connsiteY226" fmla="*/ 2738 h 10000"/>
                <a:gd name="connsiteX227" fmla="*/ 2093 w 10000"/>
                <a:gd name="connsiteY227" fmla="*/ 2782 h 10000"/>
                <a:gd name="connsiteX228" fmla="*/ 1979 w 10000"/>
                <a:gd name="connsiteY228" fmla="*/ 2852 h 10000"/>
                <a:gd name="connsiteX229" fmla="*/ 1731 w 10000"/>
                <a:gd name="connsiteY229" fmla="*/ 3330 h 10000"/>
                <a:gd name="connsiteX230" fmla="*/ 1779 w 10000"/>
                <a:gd name="connsiteY230" fmla="*/ 3358 h 10000"/>
                <a:gd name="connsiteX231" fmla="*/ 1815 w 10000"/>
                <a:gd name="connsiteY231" fmla="*/ 3479 h 10000"/>
                <a:gd name="connsiteX232" fmla="*/ 1700 w 10000"/>
                <a:gd name="connsiteY232" fmla="*/ 3982 h 10000"/>
                <a:gd name="connsiteX233" fmla="*/ 1815 w 10000"/>
                <a:gd name="connsiteY233" fmla="*/ 4110 h 10000"/>
                <a:gd name="connsiteX234" fmla="*/ 2131 w 10000"/>
                <a:gd name="connsiteY234" fmla="*/ 4251 h 10000"/>
                <a:gd name="connsiteX235" fmla="*/ 2145 w 10000"/>
                <a:gd name="connsiteY235" fmla="*/ 4423 h 10000"/>
                <a:gd name="connsiteX236" fmla="*/ 2010 w 10000"/>
                <a:gd name="connsiteY236" fmla="*/ 4566 h 10000"/>
                <a:gd name="connsiteX237" fmla="*/ 1815 w 10000"/>
                <a:gd name="connsiteY237" fmla="*/ 4652 h 10000"/>
                <a:gd name="connsiteX238" fmla="*/ 1557 w 10000"/>
                <a:gd name="connsiteY238" fmla="*/ 4687 h 10000"/>
                <a:gd name="connsiteX239" fmla="*/ 1490 w 10000"/>
                <a:gd name="connsiteY239" fmla="*/ 4737 h 10000"/>
                <a:gd name="connsiteX240" fmla="*/ 1640 w 10000"/>
                <a:gd name="connsiteY240" fmla="*/ 4855 h 10000"/>
                <a:gd name="connsiteX241" fmla="*/ 1726 w 10000"/>
                <a:gd name="connsiteY241" fmla="*/ 5136 h 10000"/>
                <a:gd name="connsiteX242" fmla="*/ 1531 w 10000"/>
                <a:gd name="connsiteY242" fmla="*/ 5376 h 10000"/>
                <a:gd name="connsiteX243" fmla="*/ 1599 w 10000"/>
                <a:gd name="connsiteY243" fmla="*/ 5451 h 10000"/>
                <a:gd name="connsiteX244" fmla="*/ 1537 w 10000"/>
                <a:gd name="connsiteY244" fmla="*/ 5577 h 10000"/>
                <a:gd name="connsiteX245" fmla="*/ 1412 w 10000"/>
                <a:gd name="connsiteY245" fmla="*/ 5663 h 10000"/>
                <a:gd name="connsiteX246" fmla="*/ 915 w 10000"/>
                <a:gd name="connsiteY246" fmla="*/ 5730 h 10000"/>
                <a:gd name="connsiteX247" fmla="*/ 885 w 10000"/>
                <a:gd name="connsiteY247" fmla="*/ 5846 h 10000"/>
                <a:gd name="connsiteX248" fmla="*/ 617 w 10000"/>
                <a:gd name="connsiteY248" fmla="*/ 6019 h 10000"/>
                <a:gd name="connsiteX249" fmla="*/ 652 w 10000"/>
                <a:gd name="connsiteY249" fmla="*/ 6268 h 10000"/>
                <a:gd name="connsiteX250" fmla="*/ 427 w 10000"/>
                <a:gd name="connsiteY250" fmla="*/ 6587 h 10000"/>
                <a:gd name="connsiteX251" fmla="*/ 274 w 10000"/>
                <a:gd name="connsiteY251" fmla="*/ 6624 h 10000"/>
                <a:gd name="connsiteX252" fmla="*/ 210 w 10000"/>
                <a:gd name="connsiteY252" fmla="*/ 6548 h 10000"/>
                <a:gd name="connsiteX253" fmla="*/ 132 w 10000"/>
                <a:gd name="connsiteY253" fmla="*/ 6663 h 10000"/>
                <a:gd name="connsiteX254" fmla="*/ 183 w 10000"/>
                <a:gd name="connsiteY254" fmla="*/ 6465 h 10000"/>
                <a:gd name="connsiteX255" fmla="*/ 151 w 10000"/>
                <a:gd name="connsiteY255"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7528 w 10000"/>
                <a:gd name="connsiteY207" fmla="*/ 616 h 10000"/>
                <a:gd name="connsiteX208" fmla="*/ 7012 w 10000"/>
                <a:gd name="connsiteY208" fmla="*/ 590 h 10000"/>
                <a:gd name="connsiteX209" fmla="*/ 6413 w 10000"/>
                <a:gd name="connsiteY209" fmla="*/ 332 h 10000"/>
                <a:gd name="connsiteX210" fmla="*/ 5098 w 10000"/>
                <a:gd name="connsiteY210" fmla="*/ 0 h 10000"/>
                <a:gd name="connsiteX211" fmla="*/ 4837 w 10000"/>
                <a:gd name="connsiteY211" fmla="*/ 82 h 10000"/>
                <a:gd name="connsiteX212" fmla="*/ 4671 w 10000"/>
                <a:gd name="connsiteY212" fmla="*/ 78 h 10000"/>
                <a:gd name="connsiteX213" fmla="*/ 4571 w 10000"/>
                <a:gd name="connsiteY213" fmla="*/ 107 h 10000"/>
                <a:gd name="connsiteX214" fmla="*/ 4298 w 10000"/>
                <a:gd name="connsiteY214" fmla="*/ 913 h 10000"/>
                <a:gd name="connsiteX215" fmla="*/ 3668 w 10000"/>
                <a:gd name="connsiteY215" fmla="*/ 1383 h 10000"/>
                <a:gd name="connsiteX216" fmla="*/ 3672 w 10000"/>
                <a:gd name="connsiteY216" fmla="*/ 1457 h 10000"/>
                <a:gd name="connsiteX217" fmla="*/ 3952 w 10000"/>
                <a:gd name="connsiteY217" fmla="*/ 1668 h 10000"/>
                <a:gd name="connsiteX218" fmla="*/ 3861 w 10000"/>
                <a:gd name="connsiteY218" fmla="*/ 1896 h 10000"/>
                <a:gd name="connsiteX219" fmla="*/ 3698 w 10000"/>
                <a:gd name="connsiteY219" fmla="*/ 1979 h 10000"/>
                <a:gd name="connsiteX220" fmla="*/ 3208 w 10000"/>
                <a:gd name="connsiteY220" fmla="*/ 1924 h 10000"/>
                <a:gd name="connsiteX221" fmla="*/ 2871 w 10000"/>
                <a:gd name="connsiteY221" fmla="*/ 1955 h 10000"/>
                <a:gd name="connsiteX222" fmla="*/ 2601 w 10000"/>
                <a:gd name="connsiteY222" fmla="*/ 2023 h 10000"/>
                <a:gd name="connsiteX223" fmla="*/ 2163 w 10000"/>
                <a:gd name="connsiteY223" fmla="*/ 2233 h 10000"/>
                <a:gd name="connsiteX224" fmla="*/ 1931 w 10000"/>
                <a:gd name="connsiteY224" fmla="*/ 2487 h 10000"/>
                <a:gd name="connsiteX225" fmla="*/ 1951 w 10000"/>
                <a:gd name="connsiteY225" fmla="*/ 2629 h 10000"/>
                <a:gd name="connsiteX226" fmla="*/ 2032 w 10000"/>
                <a:gd name="connsiteY226" fmla="*/ 2738 h 10000"/>
                <a:gd name="connsiteX227" fmla="*/ 2093 w 10000"/>
                <a:gd name="connsiteY227" fmla="*/ 2782 h 10000"/>
                <a:gd name="connsiteX228" fmla="*/ 1979 w 10000"/>
                <a:gd name="connsiteY228" fmla="*/ 2852 h 10000"/>
                <a:gd name="connsiteX229" fmla="*/ 1731 w 10000"/>
                <a:gd name="connsiteY229" fmla="*/ 3330 h 10000"/>
                <a:gd name="connsiteX230" fmla="*/ 1779 w 10000"/>
                <a:gd name="connsiteY230" fmla="*/ 3358 h 10000"/>
                <a:gd name="connsiteX231" fmla="*/ 1815 w 10000"/>
                <a:gd name="connsiteY231" fmla="*/ 3479 h 10000"/>
                <a:gd name="connsiteX232" fmla="*/ 1700 w 10000"/>
                <a:gd name="connsiteY232" fmla="*/ 3982 h 10000"/>
                <a:gd name="connsiteX233" fmla="*/ 1815 w 10000"/>
                <a:gd name="connsiteY233" fmla="*/ 4110 h 10000"/>
                <a:gd name="connsiteX234" fmla="*/ 2131 w 10000"/>
                <a:gd name="connsiteY234" fmla="*/ 4251 h 10000"/>
                <a:gd name="connsiteX235" fmla="*/ 2145 w 10000"/>
                <a:gd name="connsiteY235" fmla="*/ 4423 h 10000"/>
                <a:gd name="connsiteX236" fmla="*/ 2010 w 10000"/>
                <a:gd name="connsiteY236" fmla="*/ 4566 h 10000"/>
                <a:gd name="connsiteX237" fmla="*/ 1815 w 10000"/>
                <a:gd name="connsiteY237" fmla="*/ 4652 h 10000"/>
                <a:gd name="connsiteX238" fmla="*/ 1557 w 10000"/>
                <a:gd name="connsiteY238" fmla="*/ 4687 h 10000"/>
                <a:gd name="connsiteX239" fmla="*/ 1490 w 10000"/>
                <a:gd name="connsiteY239" fmla="*/ 4737 h 10000"/>
                <a:gd name="connsiteX240" fmla="*/ 1640 w 10000"/>
                <a:gd name="connsiteY240" fmla="*/ 4855 h 10000"/>
                <a:gd name="connsiteX241" fmla="*/ 1726 w 10000"/>
                <a:gd name="connsiteY241" fmla="*/ 5136 h 10000"/>
                <a:gd name="connsiteX242" fmla="*/ 1531 w 10000"/>
                <a:gd name="connsiteY242" fmla="*/ 5376 h 10000"/>
                <a:gd name="connsiteX243" fmla="*/ 1599 w 10000"/>
                <a:gd name="connsiteY243" fmla="*/ 5451 h 10000"/>
                <a:gd name="connsiteX244" fmla="*/ 1537 w 10000"/>
                <a:gd name="connsiteY244" fmla="*/ 5577 h 10000"/>
                <a:gd name="connsiteX245" fmla="*/ 1412 w 10000"/>
                <a:gd name="connsiteY245" fmla="*/ 5663 h 10000"/>
                <a:gd name="connsiteX246" fmla="*/ 915 w 10000"/>
                <a:gd name="connsiteY246" fmla="*/ 5730 h 10000"/>
                <a:gd name="connsiteX247" fmla="*/ 885 w 10000"/>
                <a:gd name="connsiteY247" fmla="*/ 5846 h 10000"/>
                <a:gd name="connsiteX248" fmla="*/ 617 w 10000"/>
                <a:gd name="connsiteY248" fmla="*/ 6019 h 10000"/>
                <a:gd name="connsiteX249" fmla="*/ 652 w 10000"/>
                <a:gd name="connsiteY249" fmla="*/ 6268 h 10000"/>
                <a:gd name="connsiteX250" fmla="*/ 427 w 10000"/>
                <a:gd name="connsiteY250" fmla="*/ 6587 h 10000"/>
                <a:gd name="connsiteX251" fmla="*/ 274 w 10000"/>
                <a:gd name="connsiteY251" fmla="*/ 6624 h 10000"/>
                <a:gd name="connsiteX252" fmla="*/ 210 w 10000"/>
                <a:gd name="connsiteY252" fmla="*/ 6548 h 10000"/>
                <a:gd name="connsiteX253" fmla="*/ 132 w 10000"/>
                <a:gd name="connsiteY253" fmla="*/ 6663 h 10000"/>
                <a:gd name="connsiteX254" fmla="*/ 183 w 10000"/>
                <a:gd name="connsiteY254" fmla="*/ 6465 h 10000"/>
                <a:gd name="connsiteX255" fmla="*/ 151 w 10000"/>
                <a:gd name="connsiteY255"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7538 w 10000"/>
                <a:gd name="connsiteY207" fmla="*/ 568 h 10000"/>
                <a:gd name="connsiteX208" fmla="*/ 7012 w 10000"/>
                <a:gd name="connsiteY208" fmla="*/ 590 h 10000"/>
                <a:gd name="connsiteX209" fmla="*/ 6413 w 10000"/>
                <a:gd name="connsiteY209" fmla="*/ 332 h 10000"/>
                <a:gd name="connsiteX210" fmla="*/ 5098 w 10000"/>
                <a:gd name="connsiteY210" fmla="*/ 0 h 10000"/>
                <a:gd name="connsiteX211" fmla="*/ 4837 w 10000"/>
                <a:gd name="connsiteY211" fmla="*/ 82 h 10000"/>
                <a:gd name="connsiteX212" fmla="*/ 4671 w 10000"/>
                <a:gd name="connsiteY212" fmla="*/ 78 h 10000"/>
                <a:gd name="connsiteX213" fmla="*/ 4571 w 10000"/>
                <a:gd name="connsiteY213" fmla="*/ 107 h 10000"/>
                <a:gd name="connsiteX214" fmla="*/ 4298 w 10000"/>
                <a:gd name="connsiteY214" fmla="*/ 913 h 10000"/>
                <a:gd name="connsiteX215" fmla="*/ 3668 w 10000"/>
                <a:gd name="connsiteY215" fmla="*/ 1383 h 10000"/>
                <a:gd name="connsiteX216" fmla="*/ 3672 w 10000"/>
                <a:gd name="connsiteY216" fmla="*/ 1457 h 10000"/>
                <a:gd name="connsiteX217" fmla="*/ 3952 w 10000"/>
                <a:gd name="connsiteY217" fmla="*/ 1668 h 10000"/>
                <a:gd name="connsiteX218" fmla="*/ 3861 w 10000"/>
                <a:gd name="connsiteY218" fmla="*/ 1896 h 10000"/>
                <a:gd name="connsiteX219" fmla="*/ 3698 w 10000"/>
                <a:gd name="connsiteY219" fmla="*/ 1979 h 10000"/>
                <a:gd name="connsiteX220" fmla="*/ 3208 w 10000"/>
                <a:gd name="connsiteY220" fmla="*/ 1924 h 10000"/>
                <a:gd name="connsiteX221" fmla="*/ 2871 w 10000"/>
                <a:gd name="connsiteY221" fmla="*/ 1955 h 10000"/>
                <a:gd name="connsiteX222" fmla="*/ 2601 w 10000"/>
                <a:gd name="connsiteY222" fmla="*/ 2023 h 10000"/>
                <a:gd name="connsiteX223" fmla="*/ 2163 w 10000"/>
                <a:gd name="connsiteY223" fmla="*/ 2233 h 10000"/>
                <a:gd name="connsiteX224" fmla="*/ 1931 w 10000"/>
                <a:gd name="connsiteY224" fmla="*/ 2487 h 10000"/>
                <a:gd name="connsiteX225" fmla="*/ 1951 w 10000"/>
                <a:gd name="connsiteY225" fmla="*/ 2629 h 10000"/>
                <a:gd name="connsiteX226" fmla="*/ 2032 w 10000"/>
                <a:gd name="connsiteY226" fmla="*/ 2738 h 10000"/>
                <a:gd name="connsiteX227" fmla="*/ 2093 w 10000"/>
                <a:gd name="connsiteY227" fmla="*/ 2782 h 10000"/>
                <a:gd name="connsiteX228" fmla="*/ 1979 w 10000"/>
                <a:gd name="connsiteY228" fmla="*/ 2852 h 10000"/>
                <a:gd name="connsiteX229" fmla="*/ 1731 w 10000"/>
                <a:gd name="connsiteY229" fmla="*/ 3330 h 10000"/>
                <a:gd name="connsiteX230" fmla="*/ 1779 w 10000"/>
                <a:gd name="connsiteY230" fmla="*/ 3358 h 10000"/>
                <a:gd name="connsiteX231" fmla="*/ 1815 w 10000"/>
                <a:gd name="connsiteY231" fmla="*/ 3479 h 10000"/>
                <a:gd name="connsiteX232" fmla="*/ 1700 w 10000"/>
                <a:gd name="connsiteY232" fmla="*/ 3982 h 10000"/>
                <a:gd name="connsiteX233" fmla="*/ 1815 w 10000"/>
                <a:gd name="connsiteY233" fmla="*/ 4110 h 10000"/>
                <a:gd name="connsiteX234" fmla="*/ 2131 w 10000"/>
                <a:gd name="connsiteY234" fmla="*/ 4251 h 10000"/>
                <a:gd name="connsiteX235" fmla="*/ 2145 w 10000"/>
                <a:gd name="connsiteY235" fmla="*/ 4423 h 10000"/>
                <a:gd name="connsiteX236" fmla="*/ 2010 w 10000"/>
                <a:gd name="connsiteY236" fmla="*/ 4566 h 10000"/>
                <a:gd name="connsiteX237" fmla="*/ 1815 w 10000"/>
                <a:gd name="connsiteY237" fmla="*/ 4652 h 10000"/>
                <a:gd name="connsiteX238" fmla="*/ 1557 w 10000"/>
                <a:gd name="connsiteY238" fmla="*/ 4687 h 10000"/>
                <a:gd name="connsiteX239" fmla="*/ 1490 w 10000"/>
                <a:gd name="connsiteY239" fmla="*/ 4737 h 10000"/>
                <a:gd name="connsiteX240" fmla="*/ 1640 w 10000"/>
                <a:gd name="connsiteY240" fmla="*/ 4855 h 10000"/>
                <a:gd name="connsiteX241" fmla="*/ 1726 w 10000"/>
                <a:gd name="connsiteY241" fmla="*/ 5136 h 10000"/>
                <a:gd name="connsiteX242" fmla="*/ 1531 w 10000"/>
                <a:gd name="connsiteY242" fmla="*/ 5376 h 10000"/>
                <a:gd name="connsiteX243" fmla="*/ 1599 w 10000"/>
                <a:gd name="connsiteY243" fmla="*/ 5451 h 10000"/>
                <a:gd name="connsiteX244" fmla="*/ 1537 w 10000"/>
                <a:gd name="connsiteY244" fmla="*/ 5577 h 10000"/>
                <a:gd name="connsiteX245" fmla="*/ 1412 w 10000"/>
                <a:gd name="connsiteY245" fmla="*/ 5663 h 10000"/>
                <a:gd name="connsiteX246" fmla="*/ 915 w 10000"/>
                <a:gd name="connsiteY246" fmla="*/ 5730 h 10000"/>
                <a:gd name="connsiteX247" fmla="*/ 885 w 10000"/>
                <a:gd name="connsiteY247" fmla="*/ 5846 h 10000"/>
                <a:gd name="connsiteX248" fmla="*/ 617 w 10000"/>
                <a:gd name="connsiteY248" fmla="*/ 6019 h 10000"/>
                <a:gd name="connsiteX249" fmla="*/ 652 w 10000"/>
                <a:gd name="connsiteY249" fmla="*/ 6268 h 10000"/>
                <a:gd name="connsiteX250" fmla="*/ 427 w 10000"/>
                <a:gd name="connsiteY250" fmla="*/ 6587 h 10000"/>
                <a:gd name="connsiteX251" fmla="*/ 274 w 10000"/>
                <a:gd name="connsiteY251" fmla="*/ 6624 h 10000"/>
                <a:gd name="connsiteX252" fmla="*/ 210 w 10000"/>
                <a:gd name="connsiteY252" fmla="*/ 6548 h 10000"/>
                <a:gd name="connsiteX253" fmla="*/ 132 w 10000"/>
                <a:gd name="connsiteY253" fmla="*/ 6663 h 10000"/>
                <a:gd name="connsiteX254" fmla="*/ 183 w 10000"/>
                <a:gd name="connsiteY254" fmla="*/ 6465 h 10000"/>
                <a:gd name="connsiteX255" fmla="*/ 151 w 10000"/>
                <a:gd name="connsiteY255"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7377 w 10000"/>
                <a:gd name="connsiteY207" fmla="*/ 560 h 10000"/>
                <a:gd name="connsiteX208" fmla="*/ 7012 w 10000"/>
                <a:gd name="connsiteY208" fmla="*/ 590 h 10000"/>
                <a:gd name="connsiteX209" fmla="*/ 6413 w 10000"/>
                <a:gd name="connsiteY209" fmla="*/ 332 h 10000"/>
                <a:gd name="connsiteX210" fmla="*/ 5098 w 10000"/>
                <a:gd name="connsiteY210" fmla="*/ 0 h 10000"/>
                <a:gd name="connsiteX211" fmla="*/ 4837 w 10000"/>
                <a:gd name="connsiteY211" fmla="*/ 82 h 10000"/>
                <a:gd name="connsiteX212" fmla="*/ 4671 w 10000"/>
                <a:gd name="connsiteY212" fmla="*/ 78 h 10000"/>
                <a:gd name="connsiteX213" fmla="*/ 4571 w 10000"/>
                <a:gd name="connsiteY213" fmla="*/ 107 h 10000"/>
                <a:gd name="connsiteX214" fmla="*/ 4298 w 10000"/>
                <a:gd name="connsiteY214" fmla="*/ 913 h 10000"/>
                <a:gd name="connsiteX215" fmla="*/ 3668 w 10000"/>
                <a:gd name="connsiteY215" fmla="*/ 1383 h 10000"/>
                <a:gd name="connsiteX216" fmla="*/ 3672 w 10000"/>
                <a:gd name="connsiteY216" fmla="*/ 1457 h 10000"/>
                <a:gd name="connsiteX217" fmla="*/ 3952 w 10000"/>
                <a:gd name="connsiteY217" fmla="*/ 1668 h 10000"/>
                <a:gd name="connsiteX218" fmla="*/ 3861 w 10000"/>
                <a:gd name="connsiteY218" fmla="*/ 1896 h 10000"/>
                <a:gd name="connsiteX219" fmla="*/ 3698 w 10000"/>
                <a:gd name="connsiteY219" fmla="*/ 1979 h 10000"/>
                <a:gd name="connsiteX220" fmla="*/ 3208 w 10000"/>
                <a:gd name="connsiteY220" fmla="*/ 1924 h 10000"/>
                <a:gd name="connsiteX221" fmla="*/ 2871 w 10000"/>
                <a:gd name="connsiteY221" fmla="*/ 1955 h 10000"/>
                <a:gd name="connsiteX222" fmla="*/ 2601 w 10000"/>
                <a:gd name="connsiteY222" fmla="*/ 2023 h 10000"/>
                <a:gd name="connsiteX223" fmla="*/ 2163 w 10000"/>
                <a:gd name="connsiteY223" fmla="*/ 2233 h 10000"/>
                <a:gd name="connsiteX224" fmla="*/ 1931 w 10000"/>
                <a:gd name="connsiteY224" fmla="*/ 2487 h 10000"/>
                <a:gd name="connsiteX225" fmla="*/ 1951 w 10000"/>
                <a:gd name="connsiteY225" fmla="*/ 2629 h 10000"/>
                <a:gd name="connsiteX226" fmla="*/ 2032 w 10000"/>
                <a:gd name="connsiteY226" fmla="*/ 2738 h 10000"/>
                <a:gd name="connsiteX227" fmla="*/ 2093 w 10000"/>
                <a:gd name="connsiteY227" fmla="*/ 2782 h 10000"/>
                <a:gd name="connsiteX228" fmla="*/ 1979 w 10000"/>
                <a:gd name="connsiteY228" fmla="*/ 2852 h 10000"/>
                <a:gd name="connsiteX229" fmla="*/ 1731 w 10000"/>
                <a:gd name="connsiteY229" fmla="*/ 3330 h 10000"/>
                <a:gd name="connsiteX230" fmla="*/ 1779 w 10000"/>
                <a:gd name="connsiteY230" fmla="*/ 3358 h 10000"/>
                <a:gd name="connsiteX231" fmla="*/ 1815 w 10000"/>
                <a:gd name="connsiteY231" fmla="*/ 3479 h 10000"/>
                <a:gd name="connsiteX232" fmla="*/ 1700 w 10000"/>
                <a:gd name="connsiteY232" fmla="*/ 3982 h 10000"/>
                <a:gd name="connsiteX233" fmla="*/ 1815 w 10000"/>
                <a:gd name="connsiteY233" fmla="*/ 4110 h 10000"/>
                <a:gd name="connsiteX234" fmla="*/ 2131 w 10000"/>
                <a:gd name="connsiteY234" fmla="*/ 4251 h 10000"/>
                <a:gd name="connsiteX235" fmla="*/ 2145 w 10000"/>
                <a:gd name="connsiteY235" fmla="*/ 4423 h 10000"/>
                <a:gd name="connsiteX236" fmla="*/ 2010 w 10000"/>
                <a:gd name="connsiteY236" fmla="*/ 4566 h 10000"/>
                <a:gd name="connsiteX237" fmla="*/ 1815 w 10000"/>
                <a:gd name="connsiteY237" fmla="*/ 4652 h 10000"/>
                <a:gd name="connsiteX238" fmla="*/ 1557 w 10000"/>
                <a:gd name="connsiteY238" fmla="*/ 4687 h 10000"/>
                <a:gd name="connsiteX239" fmla="*/ 1490 w 10000"/>
                <a:gd name="connsiteY239" fmla="*/ 4737 h 10000"/>
                <a:gd name="connsiteX240" fmla="*/ 1640 w 10000"/>
                <a:gd name="connsiteY240" fmla="*/ 4855 h 10000"/>
                <a:gd name="connsiteX241" fmla="*/ 1726 w 10000"/>
                <a:gd name="connsiteY241" fmla="*/ 5136 h 10000"/>
                <a:gd name="connsiteX242" fmla="*/ 1531 w 10000"/>
                <a:gd name="connsiteY242" fmla="*/ 5376 h 10000"/>
                <a:gd name="connsiteX243" fmla="*/ 1599 w 10000"/>
                <a:gd name="connsiteY243" fmla="*/ 5451 h 10000"/>
                <a:gd name="connsiteX244" fmla="*/ 1537 w 10000"/>
                <a:gd name="connsiteY244" fmla="*/ 5577 h 10000"/>
                <a:gd name="connsiteX245" fmla="*/ 1412 w 10000"/>
                <a:gd name="connsiteY245" fmla="*/ 5663 h 10000"/>
                <a:gd name="connsiteX246" fmla="*/ 915 w 10000"/>
                <a:gd name="connsiteY246" fmla="*/ 5730 h 10000"/>
                <a:gd name="connsiteX247" fmla="*/ 885 w 10000"/>
                <a:gd name="connsiteY247" fmla="*/ 5846 h 10000"/>
                <a:gd name="connsiteX248" fmla="*/ 617 w 10000"/>
                <a:gd name="connsiteY248" fmla="*/ 6019 h 10000"/>
                <a:gd name="connsiteX249" fmla="*/ 652 w 10000"/>
                <a:gd name="connsiteY249" fmla="*/ 6268 h 10000"/>
                <a:gd name="connsiteX250" fmla="*/ 427 w 10000"/>
                <a:gd name="connsiteY250" fmla="*/ 6587 h 10000"/>
                <a:gd name="connsiteX251" fmla="*/ 274 w 10000"/>
                <a:gd name="connsiteY251" fmla="*/ 6624 h 10000"/>
                <a:gd name="connsiteX252" fmla="*/ 210 w 10000"/>
                <a:gd name="connsiteY252" fmla="*/ 6548 h 10000"/>
                <a:gd name="connsiteX253" fmla="*/ 132 w 10000"/>
                <a:gd name="connsiteY253" fmla="*/ 6663 h 10000"/>
                <a:gd name="connsiteX254" fmla="*/ 183 w 10000"/>
                <a:gd name="connsiteY254" fmla="*/ 6465 h 10000"/>
                <a:gd name="connsiteX255" fmla="*/ 151 w 10000"/>
                <a:gd name="connsiteY255"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7547 w 10000"/>
                <a:gd name="connsiteY207" fmla="*/ 682 h 10000"/>
                <a:gd name="connsiteX208" fmla="*/ 7377 w 10000"/>
                <a:gd name="connsiteY208" fmla="*/ 560 h 10000"/>
                <a:gd name="connsiteX209" fmla="*/ 7012 w 10000"/>
                <a:gd name="connsiteY209" fmla="*/ 590 h 10000"/>
                <a:gd name="connsiteX210" fmla="*/ 6413 w 10000"/>
                <a:gd name="connsiteY210" fmla="*/ 332 h 10000"/>
                <a:gd name="connsiteX211" fmla="*/ 5098 w 10000"/>
                <a:gd name="connsiteY211" fmla="*/ 0 h 10000"/>
                <a:gd name="connsiteX212" fmla="*/ 4837 w 10000"/>
                <a:gd name="connsiteY212" fmla="*/ 82 h 10000"/>
                <a:gd name="connsiteX213" fmla="*/ 4671 w 10000"/>
                <a:gd name="connsiteY213" fmla="*/ 78 h 10000"/>
                <a:gd name="connsiteX214" fmla="*/ 4571 w 10000"/>
                <a:gd name="connsiteY214" fmla="*/ 107 h 10000"/>
                <a:gd name="connsiteX215" fmla="*/ 4298 w 10000"/>
                <a:gd name="connsiteY215" fmla="*/ 913 h 10000"/>
                <a:gd name="connsiteX216" fmla="*/ 3668 w 10000"/>
                <a:gd name="connsiteY216" fmla="*/ 1383 h 10000"/>
                <a:gd name="connsiteX217" fmla="*/ 3672 w 10000"/>
                <a:gd name="connsiteY217" fmla="*/ 1457 h 10000"/>
                <a:gd name="connsiteX218" fmla="*/ 3952 w 10000"/>
                <a:gd name="connsiteY218" fmla="*/ 1668 h 10000"/>
                <a:gd name="connsiteX219" fmla="*/ 3861 w 10000"/>
                <a:gd name="connsiteY219" fmla="*/ 1896 h 10000"/>
                <a:gd name="connsiteX220" fmla="*/ 3698 w 10000"/>
                <a:gd name="connsiteY220" fmla="*/ 1979 h 10000"/>
                <a:gd name="connsiteX221" fmla="*/ 3208 w 10000"/>
                <a:gd name="connsiteY221" fmla="*/ 1924 h 10000"/>
                <a:gd name="connsiteX222" fmla="*/ 2871 w 10000"/>
                <a:gd name="connsiteY222" fmla="*/ 1955 h 10000"/>
                <a:gd name="connsiteX223" fmla="*/ 2601 w 10000"/>
                <a:gd name="connsiteY223" fmla="*/ 2023 h 10000"/>
                <a:gd name="connsiteX224" fmla="*/ 2163 w 10000"/>
                <a:gd name="connsiteY224" fmla="*/ 2233 h 10000"/>
                <a:gd name="connsiteX225" fmla="*/ 1931 w 10000"/>
                <a:gd name="connsiteY225" fmla="*/ 2487 h 10000"/>
                <a:gd name="connsiteX226" fmla="*/ 1951 w 10000"/>
                <a:gd name="connsiteY226" fmla="*/ 2629 h 10000"/>
                <a:gd name="connsiteX227" fmla="*/ 2032 w 10000"/>
                <a:gd name="connsiteY227" fmla="*/ 2738 h 10000"/>
                <a:gd name="connsiteX228" fmla="*/ 2093 w 10000"/>
                <a:gd name="connsiteY228" fmla="*/ 2782 h 10000"/>
                <a:gd name="connsiteX229" fmla="*/ 1979 w 10000"/>
                <a:gd name="connsiteY229" fmla="*/ 2852 h 10000"/>
                <a:gd name="connsiteX230" fmla="*/ 1731 w 10000"/>
                <a:gd name="connsiteY230" fmla="*/ 3330 h 10000"/>
                <a:gd name="connsiteX231" fmla="*/ 1779 w 10000"/>
                <a:gd name="connsiteY231" fmla="*/ 3358 h 10000"/>
                <a:gd name="connsiteX232" fmla="*/ 1815 w 10000"/>
                <a:gd name="connsiteY232" fmla="*/ 3479 h 10000"/>
                <a:gd name="connsiteX233" fmla="*/ 1700 w 10000"/>
                <a:gd name="connsiteY233" fmla="*/ 3982 h 10000"/>
                <a:gd name="connsiteX234" fmla="*/ 1815 w 10000"/>
                <a:gd name="connsiteY234" fmla="*/ 4110 h 10000"/>
                <a:gd name="connsiteX235" fmla="*/ 2131 w 10000"/>
                <a:gd name="connsiteY235" fmla="*/ 4251 h 10000"/>
                <a:gd name="connsiteX236" fmla="*/ 2145 w 10000"/>
                <a:gd name="connsiteY236" fmla="*/ 4423 h 10000"/>
                <a:gd name="connsiteX237" fmla="*/ 2010 w 10000"/>
                <a:gd name="connsiteY237" fmla="*/ 4566 h 10000"/>
                <a:gd name="connsiteX238" fmla="*/ 1815 w 10000"/>
                <a:gd name="connsiteY238" fmla="*/ 4652 h 10000"/>
                <a:gd name="connsiteX239" fmla="*/ 1557 w 10000"/>
                <a:gd name="connsiteY239" fmla="*/ 4687 h 10000"/>
                <a:gd name="connsiteX240" fmla="*/ 1490 w 10000"/>
                <a:gd name="connsiteY240" fmla="*/ 4737 h 10000"/>
                <a:gd name="connsiteX241" fmla="*/ 1640 w 10000"/>
                <a:gd name="connsiteY241" fmla="*/ 4855 h 10000"/>
                <a:gd name="connsiteX242" fmla="*/ 1726 w 10000"/>
                <a:gd name="connsiteY242" fmla="*/ 5136 h 10000"/>
                <a:gd name="connsiteX243" fmla="*/ 1531 w 10000"/>
                <a:gd name="connsiteY243" fmla="*/ 5376 h 10000"/>
                <a:gd name="connsiteX244" fmla="*/ 1599 w 10000"/>
                <a:gd name="connsiteY244" fmla="*/ 5451 h 10000"/>
                <a:gd name="connsiteX245" fmla="*/ 1537 w 10000"/>
                <a:gd name="connsiteY245" fmla="*/ 5577 h 10000"/>
                <a:gd name="connsiteX246" fmla="*/ 1412 w 10000"/>
                <a:gd name="connsiteY246" fmla="*/ 5663 h 10000"/>
                <a:gd name="connsiteX247" fmla="*/ 915 w 10000"/>
                <a:gd name="connsiteY247" fmla="*/ 5730 h 10000"/>
                <a:gd name="connsiteX248" fmla="*/ 885 w 10000"/>
                <a:gd name="connsiteY248" fmla="*/ 5846 h 10000"/>
                <a:gd name="connsiteX249" fmla="*/ 617 w 10000"/>
                <a:gd name="connsiteY249" fmla="*/ 6019 h 10000"/>
                <a:gd name="connsiteX250" fmla="*/ 652 w 10000"/>
                <a:gd name="connsiteY250" fmla="*/ 6268 h 10000"/>
                <a:gd name="connsiteX251" fmla="*/ 427 w 10000"/>
                <a:gd name="connsiteY251" fmla="*/ 6587 h 10000"/>
                <a:gd name="connsiteX252" fmla="*/ 274 w 10000"/>
                <a:gd name="connsiteY252" fmla="*/ 6624 h 10000"/>
                <a:gd name="connsiteX253" fmla="*/ 210 w 10000"/>
                <a:gd name="connsiteY253" fmla="*/ 6548 h 10000"/>
                <a:gd name="connsiteX254" fmla="*/ 132 w 10000"/>
                <a:gd name="connsiteY254" fmla="*/ 6663 h 10000"/>
                <a:gd name="connsiteX255" fmla="*/ 183 w 10000"/>
                <a:gd name="connsiteY255" fmla="*/ 6465 h 10000"/>
                <a:gd name="connsiteX256" fmla="*/ 151 w 10000"/>
                <a:gd name="connsiteY256"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7497 w 10000"/>
                <a:gd name="connsiteY207" fmla="*/ 923 h 10000"/>
                <a:gd name="connsiteX208" fmla="*/ 7377 w 10000"/>
                <a:gd name="connsiteY208" fmla="*/ 560 h 10000"/>
                <a:gd name="connsiteX209" fmla="*/ 7012 w 10000"/>
                <a:gd name="connsiteY209" fmla="*/ 590 h 10000"/>
                <a:gd name="connsiteX210" fmla="*/ 6413 w 10000"/>
                <a:gd name="connsiteY210" fmla="*/ 332 h 10000"/>
                <a:gd name="connsiteX211" fmla="*/ 5098 w 10000"/>
                <a:gd name="connsiteY211" fmla="*/ 0 h 10000"/>
                <a:gd name="connsiteX212" fmla="*/ 4837 w 10000"/>
                <a:gd name="connsiteY212" fmla="*/ 82 h 10000"/>
                <a:gd name="connsiteX213" fmla="*/ 4671 w 10000"/>
                <a:gd name="connsiteY213" fmla="*/ 78 h 10000"/>
                <a:gd name="connsiteX214" fmla="*/ 4571 w 10000"/>
                <a:gd name="connsiteY214" fmla="*/ 107 h 10000"/>
                <a:gd name="connsiteX215" fmla="*/ 4298 w 10000"/>
                <a:gd name="connsiteY215" fmla="*/ 913 h 10000"/>
                <a:gd name="connsiteX216" fmla="*/ 3668 w 10000"/>
                <a:gd name="connsiteY216" fmla="*/ 1383 h 10000"/>
                <a:gd name="connsiteX217" fmla="*/ 3672 w 10000"/>
                <a:gd name="connsiteY217" fmla="*/ 1457 h 10000"/>
                <a:gd name="connsiteX218" fmla="*/ 3952 w 10000"/>
                <a:gd name="connsiteY218" fmla="*/ 1668 h 10000"/>
                <a:gd name="connsiteX219" fmla="*/ 3861 w 10000"/>
                <a:gd name="connsiteY219" fmla="*/ 1896 h 10000"/>
                <a:gd name="connsiteX220" fmla="*/ 3698 w 10000"/>
                <a:gd name="connsiteY220" fmla="*/ 1979 h 10000"/>
                <a:gd name="connsiteX221" fmla="*/ 3208 w 10000"/>
                <a:gd name="connsiteY221" fmla="*/ 1924 h 10000"/>
                <a:gd name="connsiteX222" fmla="*/ 2871 w 10000"/>
                <a:gd name="connsiteY222" fmla="*/ 1955 h 10000"/>
                <a:gd name="connsiteX223" fmla="*/ 2601 w 10000"/>
                <a:gd name="connsiteY223" fmla="*/ 2023 h 10000"/>
                <a:gd name="connsiteX224" fmla="*/ 2163 w 10000"/>
                <a:gd name="connsiteY224" fmla="*/ 2233 h 10000"/>
                <a:gd name="connsiteX225" fmla="*/ 1931 w 10000"/>
                <a:gd name="connsiteY225" fmla="*/ 2487 h 10000"/>
                <a:gd name="connsiteX226" fmla="*/ 1951 w 10000"/>
                <a:gd name="connsiteY226" fmla="*/ 2629 h 10000"/>
                <a:gd name="connsiteX227" fmla="*/ 2032 w 10000"/>
                <a:gd name="connsiteY227" fmla="*/ 2738 h 10000"/>
                <a:gd name="connsiteX228" fmla="*/ 2093 w 10000"/>
                <a:gd name="connsiteY228" fmla="*/ 2782 h 10000"/>
                <a:gd name="connsiteX229" fmla="*/ 1979 w 10000"/>
                <a:gd name="connsiteY229" fmla="*/ 2852 h 10000"/>
                <a:gd name="connsiteX230" fmla="*/ 1731 w 10000"/>
                <a:gd name="connsiteY230" fmla="*/ 3330 h 10000"/>
                <a:gd name="connsiteX231" fmla="*/ 1779 w 10000"/>
                <a:gd name="connsiteY231" fmla="*/ 3358 h 10000"/>
                <a:gd name="connsiteX232" fmla="*/ 1815 w 10000"/>
                <a:gd name="connsiteY232" fmla="*/ 3479 h 10000"/>
                <a:gd name="connsiteX233" fmla="*/ 1700 w 10000"/>
                <a:gd name="connsiteY233" fmla="*/ 3982 h 10000"/>
                <a:gd name="connsiteX234" fmla="*/ 1815 w 10000"/>
                <a:gd name="connsiteY234" fmla="*/ 4110 h 10000"/>
                <a:gd name="connsiteX235" fmla="*/ 2131 w 10000"/>
                <a:gd name="connsiteY235" fmla="*/ 4251 h 10000"/>
                <a:gd name="connsiteX236" fmla="*/ 2145 w 10000"/>
                <a:gd name="connsiteY236" fmla="*/ 4423 h 10000"/>
                <a:gd name="connsiteX237" fmla="*/ 2010 w 10000"/>
                <a:gd name="connsiteY237" fmla="*/ 4566 h 10000"/>
                <a:gd name="connsiteX238" fmla="*/ 1815 w 10000"/>
                <a:gd name="connsiteY238" fmla="*/ 4652 h 10000"/>
                <a:gd name="connsiteX239" fmla="*/ 1557 w 10000"/>
                <a:gd name="connsiteY239" fmla="*/ 4687 h 10000"/>
                <a:gd name="connsiteX240" fmla="*/ 1490 w 10000"/>
                <a:gd name="connsiteY240" fmla="*/ 4737 h 10000"/>
                <a:gd name="connsiteX241" fmla="*/ 1640 w 10000"/>
                <a:gd name="connsiteY241" fmla="*/ 4855 h 10000"/>
                <a:gd name="connsiteX242" fmla="*/ 1726 w 10000"/>
                <a:gd name="connsiteY242" fmla="*/ 5136 h 10000"/>
                <a:gd name="connsiteX243" fmla="*/ 1531 w 10000"/>
                <a:gd name="connsiteY243" fmla="*/ 5376 h 10000"/>
                <a:gd name="connsiteX244" fmla="*/ 1599 w 10000"/>
                <a:gd name="connsiteY244" fmla="*/ 5451 h 10000"/>
                <a:gd name="connsiteX245" fmla="*/ 1537 w 10000"/>
                <a:gd name="connsiteY245" fmla="*/ 5577 h 10000"/>
                <a:gd name="connsiteX246" fmla="*/ 1412 w 10000"/>
                <a:gd name="connsiteY246" fmla="*/ 5663 h 10000"/>
                <a:gd name="connsiteX247" fmla="*/ 915 w 10000"/>
                <a:gd name="connsiteY247" fmla="*/ 5730 h 10000"/>
                <a:gd name="connsiteX248" fmla="*/ 885 w 10000"/>
                <a:gd name="connsiteY248" fmla="*/ 5846 h 10000"/>
                <a:gd name="connsiteX249" fmla="*/ 617 w 10000"/>
                <a:gd name="connsiteY249" fmla="*/ 6019 h 10000"/>
                <a:gd name="connsiteX250" fmla="*/ 652 w 10000"/>
                <a:gd name="connsiteY250" fmla="*/ 6268 h 10000"/>
                <a:gd name="connsiteX251" fmla="*/ 427 w 10000"/>
                <a:gd name="connsiteY251" fmla="*/ 6587 h 10000"/>
                <a:gd name="connsiteX252" fmla="*/ 274 w 10000"/>
                <a:gd name="connsiteY252" fmla="*/ 6624 h 10000"/>
                <a:gd name="connsiteX253" fmla="*/ 210 w 10000"/>
                <a:gd name="connsiteY253" fmla="*/ 6548 h 10000"/>
                <a:gd name="connsiteX254" fmla="*/ 132 w 10000"/>
                <a:gd name="connsiteY254" fmla="*/ 6663 h 10000"/>
                <a:gd name="connsiteX255" fmla="*/ 183 w 10000"/>
                <a:gd name="connsiteY255" fmla="*/ 6465 h 10000"/>
                <a:gd name="connsiteX256" fmla="*/ 151 w 10000"/>
                <a:gd name="connsiteY256"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7890 w 10000"/>
                <a:gd name="connsiteY207" fmla="*/ 1074 h 10000"/>
                <a:gd name="connsiteX208" fmla="*/ 7497 w 10000"/>
                <a:gd name="connsiteY208" fmla="*/ 923 h 10000"/>
                <a:gd name="connsiteX209" fmla="*/ 7377 w 10000"/>
                <a:gd name="connsiteY209" fmla="*/ 560 h 10000"/>
                <a:gd name="connsiteX210" fmla="*/ 7012 w 10000"/>
                <a:gd name="connsiteY210" fmla="*/ 590 h 10000"/>
                <a:gd name="connsiteX211" fmla="*/ 6413 w 10000"/>
                <a:gd name="connsiteY211" fmla="*/ 332 h 10000"/>
                <a:gd name="connsiteX212" fmla="*/ 5098 w 10000"/>
                <a:gd name="connsiteY212" fmla="*/ 0 h 10000"/>
                <a:gd name="connsiteX213" fmla="*/ 4837 w 10000"/>
                <a:gd name="connsiteY213" fmla="*/ 82 h 10000"/>
                <a:gd name="connsiteX214" fmla="*/ 4671 w 10000"/>
                <a:gd name="connsiteY214" fmla="*/ 78 h 10000"/>
                <a:gd name="connsiteX215" fmla="*/ 4571 w 10000"/>
                <a:gd name="connsiteY215" fmla="*/ 107 h 10000"/>
                <a:gd name="connsiteX216" fmla="*/ 4298 w 10000"/>
                <a:gd name="connsiteY216" fmla="*/ 913 h 10000"/>
                <a:gd name="connsiteX217" fmla="*/ 3668 w 10000"/>
                <a:gd name="connsiteY217" fmla="*/ 1383 h 10000"/>
                <a:gd name="connsiteX218" fmla="*/ 3672 w 10000"/>
                <a:gd name="connsiteY218" fmla="*/ 1457 h 10000"/>
                <a:gd name="connsiteX219" fmla="*/ 3952 w 10000"/>
                <a:gd name="connsiteY219" fmla="*/ 1668 h 10000"/>
                <a:gd name="connsiteX220" fmla="*/ 3861 w 10000"/>
                <a:gd name="connsiteY220" fmla="*/ 1896 h 10000"/>
                <a:gd name="connsiteX221" fmla="*/ 3698 w 10000"/>
                <a:gd name="connsiteY221" fmla="*/ 1979 h 10000"/>
                <a:gd name="connsiteX222" fmla="*/ 3208 w 10000"/>
                <a:gd name="connsiteY222" fmla="*/ 1924 h 10000"/>
                <a:gd name="connsiteX223" fmla="*/ 2871 w 10000"/>
                <a:gd name="connsiteY223" fmla="*/ 1955 h 10000"/>
                <a:gd name="connsiteX224" fmla="*/ 2601 w 10000"/>
                <a:gd name="connsiteY224" fmla="*/ 2023 h 10000"/>
                <a:gd name="connsiteX225" fmla="*/ 2163 w 10000"/>
                <a:gd name="connsiteY225" fmla="*/ 2233 h 10000"/>
                <a:gd name="connsiteX226" fmla="*/ 1931 w 10000"/>
                <a:gd name="connsiteY226" fmla="*/ 2487 h 10000"/>
                <a:gd name="connsiteX227" fmla="*/ 1951 w 10000"/>
                <a:gd name="connsiteY227" fmla="*/ 2629 h 10000"/>
                <a:gd name="connsiteX228" fmla="*/ 2032 w 10000"/>
                <a:gd name="connsiteY228" fmla="*/ 2738 h 10000"/>
                <a:gd name="connsiteX229" fmla="*/ 2093 w 10000"/>
                <a:gd name="connsiteY229" fmla="*/ 2782 h 10000"/>
                <a:gd name="connsiteX230" fmla="*/ 1979 w 10000"/>
                <a:gd name="connsiteY230" fmla="*/ 2852 h 10000"/>
                <a:gd name="connsiteX231" fmla="*/ 1731 w 10000"/>
                <a:gd name="connsiteY231" fmla="*/ 3330 h 10000"/>
                <a:gd name="connsiteX232" fmla="*/ 1779 w 10000"/>
                <a:gd name="connsiteY232" fmla="*/ 3358 h 10000"/>
                <a:gd name="connsiteX233" fmla="*/ 1815 w 10000"/>
                <a:gd name="connsiteY233" fmla="*/ 3479 h 10000"/>
                <a:gd name="connsiteX234" fmla="*/ 1700 w 10000"/>
                <a:gd name="connsiteY234" fmla="*/ 3982 h 10000"/>
                <a:gd name="connsiteX235" fmla="*/ 1815 w 10000"/>
                <a:gd name="connsiteY235" fmla="*/ 4110 h 10000"/>
                <a:gd name="connsiteX236" fmla="*/ 2131 w 10000"/>
                <a:gd name="connsiteY236" fmla="*/ 4251 h 10000"/>
                <a:gd name="connsiteX237" fmla="*/ 2145 w 10000"/>
                <a:gd name="connsiteY237" fmla="*/ 4423 h 10000"/>
                <a:gd name="connsiteX238" fmla="*/ 2010 w 10000"/>
                <a:gd name="connsiteY238" fmla="*/ 4566 h 10000"/>
                <a:gd name="connsiteX239" fmla="*/ 1815 w 10000"/>
                <a:gd name="connsiteY239" fmla="*/ 4652 h 10000"/>
                <a:gd name="connsiteX240" fmla="*/ 1557 w 10000"/>
                <a:gd name="connsiteY240" fmla="*/ 4687 h 10000"/>
                <a:gd name="connsiteX241" fmla="*/ 1490 w 10000"/>
                <a:gd name="connsiteY241" fmla="*/ 4737 h 10000"/>
                <a:gd name="connsiteX242" fmla="*/ 1640 w 10000"/>
                <a:gd name="connsiteY242" fmla="*/ 4855 h 10000"/>
                <a:gd name="connsiteX243" fmla="*/ 1726 w 10000"/>
                <a:gd name="connsiteY243" fmla="*/ 5136 h 10000"/>
                <a:gd name="connsiteX244" fmla="*/ 1531 w 10000"/>
                <a:gd name="connsiteY244" fmla="*/ 5376 h 10000"/>
                <a:gd name="connsiteX245" fmla="*/ 1599 w 10000"/>
                <a:gd name="connsiteY245" fmla="*/ 5451 h 10000"/>
                <a:gd name="connsiteX246" fmla="*/ 1537 w 10000"/>
                <a:gd name="connsiteY246" fmla="*/ 5577 h 10000"/>
                <a:gd name="connsiteX247" fmla="*/ 1412 w 10000"/>
                <a:gd name="connsiteY247" fmla="*/ 5663 h 10000"/>
                <a:gd name="connsiteX248" fmla="*/ 915 w 10000"/>
                <a:gd name="connsiteY248" fmla="*/ 5730 h 10000"/>
                <a:gd name="connsiteX249" fmla="*/ 885 w 10000"/>
                <a:gd name="connsiteY249" fmla="*/ 5846 h 10000"/>
                <a:gd name="connsiteX250" fmla="*/ 617 w 10000"/>
                <a:gd name="connsiteY250" fmla="*/ 6019 h 10000"/>
                <a:gd name="connsiteX251" fmla="*/ 652 w 10000"/>
                <a:gd name="connsiteY251" fmla="*/ 6268 h 10000"/>
                <a:gd name="connsiteX252" fmla="*/ 427 w 10000"/>
                <a:gd name="connsiteY252" fmla="*/ 6587 h 10000"/>
                <a:gd name="connsiteX253" fmla="*/ 274 w 10000"/>
                <a:gd name="connsiteY253" fmla="*/ 6624 h 10000"/>
                <a:gd name="connsiteX254" fmla="*/ 210 w 10000"/>
                <a:gd name="connsiteY254" fmla="*/ 6548 h 10000"/>
                <a:gd name="connsiteX255" fmla="*/ 132 w 10000"/>
                <a:gd name="connsiteY255" fmla="*/ 6663 h 10000"/>
                <a:gd name="connsiteX256" fmla="*/ 183 w 10000"/>
                <a:gd name="connsiteY256" fmla="*/ 6465 h 10000"/>
                <a:gd name="connsiteX257" fmla="*/ 151 w 10000"/>
                <a:gd name="connsiteY257"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8631 w 10000"/>
                <a:gd name="connsiteY207" fmla="*/ 1274 h 10000"/>
                <a:gd name="connsiteX208" fmla="*/ 7497 w 10000"/>
                <a:gd name="connsiteY208" fmla="*/ 923 h 10000"/>
                <a:gd name="connsiteX209" fmla="*/ 7377 w 10000"/>
                <a:gd name="connsiteY209" fmla="*/ 560 h 10000"/>
                <a:gd name="connsiteX210" fmla="*/ 7012 w 10000"/>
                <a:gd name="connsiteY210" fmla="*/ 590 h 10000"/>
                <a:gd name="connsiteX211" fmla="*/ 6413 w 10000"/>
                <a:gd name="connsiteY211" fmla="*/ 332 h 10000"/>
                <a:gd name="connsiteX212" fmla="*/ 5098 w 10000"/>
                <a:gd name="connsiteY212" fmla="*/ 0 h 10000"/>
                <a:gd name="connsiteX213" fmla="*/ 4837 w 10000"/>
                <a:gd name="connsiteY213" fmla="*/ 82 h 10000"/>
                <a:gd name="connsiteX214" fmla="*/ 4671 w 10000"/>
                <a:gd name="connsiteY214" fmla="*/ 78 h 10000"/>
                <a:gd name="connsiteX215" fmla="*/ 4571 w 10000"/>
                <a:gd name="connsiteY215" fmla="*/ 107 h 10000"/>
                <a:gd name="connsiteX216" fmla="*/ 4298 w 10000"/>
                <a:gd name="connsiteY216" fmla="*/ 913 h 10000"/>
                <a:gd name="connsiteX217" fmla="*/ 3668 w 10000"/>
                <a:gd name="connsiteY217" fmla="*/ 1383 h 10000"/>
                <a:gd name="connsiteX218" fmla="*/ 3672 w 10000"/>
                <a:gd name="connsiteY218" fmla="*/ 1457 h 10000"/>
                <a:gd name="connsiteX219" fmla="*/ 3952 w 10000"/>
                <a:gd name="connsiteY219" fmla="*/ 1668 h 10000"/>
                <a:gd name="connsiteX220" fmla="*/ 3861 w 10000"/>
                <a:gd name="connsiteY220" fmla="*/ 1896 h 10000"/>
                <a:gd name="connsiteX221" fmla="*/ 3698 w 10000"/>
                <a:gd name="connsiteY221" fmla="*/ 1979 h 10000"/>
                <a:gd name="connsiteX222" fmla="*/ 3208 w 10000"/>
                <a:gd name="connsiteY222" fmla="*/ 1924 h 10000"/>
                <a:gd name="connsiteX223" fmla="*/ 2871 w 10000"/>
                <a:gd name="connsiteY223" fmla="*/ 1955 h 10000"/>
                <a:gd name="connsiteX224" fmla="*/ 2601 w 10000"/>
                <a:gd name="connsiteY224" fmla="*/ 2023 h 10000"/>
                <a:gd name="connsiteX225" fmla="*/ 2163 w 10000"/>
                <a:gd name="connsiteY225" fmla="*/ 2233 h 10000"/>
                <a:gd name="connsiteX226" fmla="*/ 1931 w 10000"/>
                <a:gd name="connsiteY226" fmla="*/ 2487 h 10000"/>
                <a:gd name="connsiteX227" fmla="*/ 1951 w 10000"/>
                <a:gd name="connsiteY227" fmla="*/ 2629 h 10000"/>
                <a:gd name="connsiteX228" fmla="*/ 2032 w 10000"/>
                <a:gd name="connsiteY228" fmla="*/ 2738 h 10000"/>
                <a:gd name="connsiteX229" fmla="*/ 2093 w 10000"/>
                <a:gd name="connsiteY229" fmla="*/ 2782 h 10000"/>
                <a:gd name="connsiteX230" fmla="*/ 1979 w 10000"/>
                <a:gd name="connsiteY230" fmla="*/ 2852 h 10000"/>
                <a:gd name="connsiteX231" fmla="*/ 1731 w 10000"/>
                <a:gd name="connsiteY231" fmla="*/ 3330 h 10000"/>
                <a:gd name="connsiteX232" fmla="*/ 1779 w 10000"/>
                <a:gd name="connsiteY232" fmla="*/ 3358 h 10000"/>
                <a:gd name="connsiteX233" fmla="*/ 1815 w 10000"/>
                <a:gd name="connsiteY233" fmla="*/ 3479 h 10000"/>
                <a:gd name="connsiteX234" fmla="*/ 1700 w 10000"/>
                <a:gd name="connsiteY234" fmla="*/ 3982 h 10000"/>
                <a:gd name="connsiteX235" fmla="*/ 1815 w 10000"/>
                <a:gd name="connsiteY235" fmla="*/ 4110 h 10000"/>
                <a:gd name="connsiteX236" fmla="*/ 2131 w 10000"/>
                <a:gd name="connsiteY236" fmla="*/ 4251 h 10000"/>
                <a:gd name="connsiteX237" fmla="*/ 2145 w 10000"/>
                <a:gd name="connsiteY237" fmla="*/ 4423 h 10000"/>
                <a:gd name="connsiteX238" fmla="*/ 2010 w 10000"/>
                <a:gd name="connsiteY238" fmla="*/ 4566 h 10000"/>
                <a:gd name="connsiteX239" fmla="*/ 1815 w 10000"/>
                <a:gd name="connsiteY239" fmla="*/ 4652 h 10000"/>
                <a:gd name="connsiteX240" fmla="*/ 1557 w 10000"/>
                <a:gd name="connsiteY240" fmla="*/ 4687 h 10000"/>
                <a:gd name="connsiteX241" fmla="*/ 1490 w 10000"/>
                <a:gd name="connsiteY241" fmla="*/ 4737 h 10000"/>
                <a:gd name="connsiteX242" fmla="*/ 1640 w 10000"/>
                <a:gd name="connsiteY242" fmla="*/ 4855 h 10000"/>
                <a:gd name="connsiteX243" fmla="*/ 1726 w 10000"/>
                <a:gd name="connsiteY243" fmla="*/ 5136 h 10000"/>
                <a:gd name="connsiteX244" fmla="*/ 1531 w 10000"/>
                <a:gd name="connsiteY244" fmla="*/ 5376 h 10000"/>
                <a:gd name="connsiteX245" fmla="*/ 1599 w 10000"/>
                <a:gd name="connsiteY245" fmla="*/ 5451 h 10000"/>
                <a:gd name="connsiteX246" fmla="*/ 1537 w 10000"/>
                <a:gd name="connsiteY246" fmla="*/ 5577 h 10000"/>
                <a:gd name="connsiteX247" fmla="*/ 1412 w 10000"/>
                <a:gd name="connsiteY247" fmla="*/ 5663 h 10000"/>
                <a:gd name="connsiteX248" fmla="*/ 915 w 10000"/>
                <a:gd name="connsiteY248" fmla="*/ 5730 h 10000"/>
                <a:gd name="connsiteX249" fmla="*/ 885 w 10000"/>
                <a:gd name="connsiteY249" fmla="*/ 5846 h 10000"/>
                <a:gd name="connsiteX250" fmla="*/ 617 w 10000"/>
                <a:gd name="connsiteY250" fmla="*/ 6019 h 10000"/>
                <a:gd name="connsiteX251" fmla="*/ 652 w 10000"/>
                <a:gd name="connsiteY251" fmla="*/ 6268 h 10000"/>
                <a:gd name="connsiteX252" fmla="*/ 427 w 10000"/>
                <a:gd name="connsiteY252" fmla="*/ 6587 h 10000"/>
                <a:gd name="connsiteX253" fmla="*/ 274 w 10000"/>
                <a:gd name="connsiteY253" fmla="*/ 6624 h 10000"/>
                <a:gd name="connsiteX254" fmla="*/ 210 w 10000"/>
                <a:gd name="connsiteY254" fmla="*/ 6548 h 10000"/>
                <a:gd name="connsiteX255" fmla="*/ 132 w 10000"/>
                <a:gd name="connsiteY255" fmla="*/ 6663 h 10000"/>
                <a:gd name="connsiteX256" fmla="*/ 183 w 10000"/>
                <a:gd name="connsiteY256" fmla="*/ 6465 h 10000"/>
                <a:gd name="connsiteX257" fmla="*/ 151 w 10000"/>
                <a:gd name="connsiteY257"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8631 w 10000"/>
                <a:gd name="connsiteY207" fmla="*/ 1274 h 10000"/>
                <a:gd name="connsiteX208" fmla="*/ 9237 w 10000"/>
                <a:gd name="connsiteY208" fmla="*/ 1500 h 10000"/>
                <a:gd name="connsiteX209" fmla="*/ 7497 w 10000"/>
                <a:gd name="connsiteY209" fmla="*/ 923 h 10000"/>
                <a:gd name="connsiteX210" fmla="*/ 7377 w 10000"/>
                <a:gd name="connsiteY210" fmla="*/ 560 h 10000"/>
                <a:gd name="connsiteX211" fmla="*/ 7012 w 10000"/>
                <a:gd name="connsiteY211" fmla="*/ 590 h 10000"/>
                <a:gd name="connsiteX212" fmla="*/ 6413 w 10000"/>
                <a:gd name="connsiteY212" fmla="*/ 332 h 10000"/>
                <a:gd name="connsiteX213" fmla="*/ 5098 w 10000"/>
                <a:gd name="connsiteY213" fmla="*/ 0 h 10000"/>
                <a:gd name="connsiteX214" fmla="*/ 4837 w 10000"/>
                <a:gd name="connsiteY214" fmla="*/ 82 h 10000"/>
                <a:gd name="connsiteX215" fmla="*/ 4671 w 10000"/>
                <a:gd name="connsiteY215" fmla="*/ 78 h 10000"/>
                <a:gd name="connsiteX216" fmla="*/ 4571 w 10000"/>
                <a:gd name="connsiteY216" fmla="*/ 107 h 10000"/>
                <a:gd name="connsiteX217" fmla="*/ 4298 w 10000"/>
                <a:gd name="connsiteY217" fmla="*/ 913 h 10000"/>
                <a:gd name="connsiteX218" fmla="*/ 3668 w 10000"/>
                <a:gd name="connsiteY218" fmla="*/ 1383 h 10000"/>
                <a:gd name="connsiteX219" fmla="*/ 3672 w 10000"/>
                <a:gd name="connsiteY219" fmla="*/ 1457 h 10000"/>
                <a:gd name="connsiteX220" fmla="*/ 3952 w 10000"/>
                <a:gd name="connsiteY220" fmla="*/ 1668 h 10000"/>
                <a:gd name="connsiteX221" fmla="*/ 3861 w 10000"/>
                <a:gd name="connsiteY221" fmla="*/ 1896 h 10000"/>
                <a:gd name="connsiteX222" fmla="*/ 3698 w 10000"/>
                <a:gd name="connsiteY222" fmla="*/ 1979 h 10000"/>
                <a:gd name="connsiteX223" fmla="*/ 3208 w 10000"/>
                <a:gd name="connsiteY223" fmla="*/ 1924 h 10000"/>
                <a:gd name="connsiteX224" fmla="*/ 2871 w 10000"/>
                <a:gd name="connsiteY224" fmla="*/ 1955 h 10000"/>
                <a:gd name="connsiteX225" fmla="*/ 2601 w 10000"/>
                <a:gd name="connsiteY225" fmla="*/ 2023 h 10000"/>
                <a:gd name="connsiteX226" fmla="*/ 2163 w 10000"/>
                <a:gd name="connsiteY226" fmla="*/ 2233 h 10000"/>
                <a:gd name="connsiteX227" fmla="*/ 1931 w 10000"/>
                <a:gd name="connsiteY227" fmla="*/ 2487 h 10000"/>
                <a:gd name="connsiteX228" fmla="*/ 1951 w 10000"/>
                <a:gd name="connsiteY228" fmla="*/ 2629 h 10000"/>
                <a:gd name="connsiteX229" fmla="*/ 2032 w 10000"/>
                <a:gd name="connsiteY229" fmla="*/ 2738 h 10000"/>
                <a:gd name="connsiteX230" fmla="*/ 2093 w 10000"/>
                <a:gd name="connsiteY230" fmla="*/ 2782 h 10000"/>
                <a:gd name="connsiteX231" fmla="*/ 1979 w 10000"/>
                <a:gd name="connsiteY231" fmla="*/ 2852 h 10000"/>
                <a:gd name="connsiteX232" fmla="*/ 1731 w 10000"/>
                <a:gd name="connsiteY232" fmla="*/ 3330 h 10000"/>
                <a:gd name="connsiteX233" fmla="*/ 1779 w 10000"/>
                <a:gd name="connsiteY233" fmla="*/ 3358 h 10000"/>
                <a:gd name="connsiteX234" fmla="*/ 1815 w 10000"/>
                <a:gd name="connsiteY234" fmla="*/ 3479 h 10000"/>
                <a:gd name="connsiteX235" fmla="*/ 1700 w 10000"/>
                <a:gd name="connsiteY235" fmla="*/ 3982 h 10000"/>
                <a:gd name="connsiteX236" fmla="*/ 1815 w 10000"/>
                <a:gd name="connsiteY236" fmla="*/ 4110 h 10000"/>
                <a:gd name="connsiteX237" fmla="*/ 2131 w 10000"/>
                <a:gd name="connsiteY237" fmla="*/ 4251 h 10000"/>
                <a:gd name="connsiteX238" fmla="*/ 2145 w 10000"/>
                <a:gd name="connsiteY238" fmla="*/ 4423 h 10000"/>
                <a:gd name="connsiteX239" fmla="*/ 2010 w 10000"/>
                <a:gd name="connsiteY239" fmla="*/ 4566 h 10000"/>
                <a:gd name="connsiteX240" fmla="*/ 1815 w 10000"/>
                <a:gd name="connsiteY240" fmla="*/ 4652 h 10000"/>
                <a:gd name="connsiteX241" fmla="*/ 1557 w 10000"/>
                <a:gd name="connsiteY241" fmla="*/ 4687 h 10000"/>
                <a:gd name="connsiteX242" fmla="*/ 1490 w 10000"/>
                <a:gd name="connsiteY242" fmla="*/ 4737 h 10000"/>
                <a:gd name="connsiteX243" fmla="*/ 1640 w 10000"/>
                <a:gd name="connsiteY243" fmla="*/ 4855 h 10000"/>
                <a:gd name="connsiteX244" fmla="*/ 1726 w 10000"/>
                <a:gd name="connsiteY244" fmla="*/ 5136 h 10000"/>
                <a:gd name="connsiteX245" fmla="*/ 1531 w 10000"/>
                <a:gd name="connsiteY245" fmla="*/ 5376 h 10000"/>
                <a:gd name="connsiteX246" fmla="*/ 1599 w 10000"/>
                <a:gd name="connsiteY246" fmla="*/ 5451 h 10000"/>
                <a:gd name="connsiteX247" fmla="*/ 1537 w 10000"/>
                <a:gd name="connsiteY247" fmla="*/ 5577 h 10000"/>
                <a:gd name="connsiteX248" fmla="*/ 1412 w 10000"/>
                <a:gd name="connsiteY248" fmla="*/ 5663 h 10000"/>
                <a:gd name="connsiteX249" fmla="*/ 915 w 10000"/>
                <a:gd name="connsiteY249" fmla="*/ 5730 h 10000"/>
                <a:gd name="connsiteX250" fmla="*/ 885 w 10000"/>
                <a:gd name="connsiteY250" fmla="*/ 5846 h 10000"/>
                <a:gd name="connsiteX251" fmla="*/ 617 w 10000"/>
                <a:gd name="connsiteY251" fmla="*/ 6019 h 10000"/>
                <a:gd name="connsiteX252" fmla="*/ 652 w 10000"/>
                <a:gd name="connsiteY252" fmla="*/ 6268 h 10000"/>
                <a:gd name="connsiteX253" fmla="*/ 427 w 10000"/>
                <a:gd name="connsiteY253" fmla="*/ 6587 h 10000"/>
                <a:gd name="connsiteX254" fmla="*/ 274 w 10000"/>
                <a:gd name="connsiteY254" fmla="*/ 6624 h 10000"/>
                <a:gd name="connsiteX255" fmla="*/ 210 w 10000"/>
                <a:gd name="connsiteY255" fmla="*/ 6548 h 10000"/>
                <a:gd name="connsiteX256" fmla="*/ 132 w 10000"/>
                <a:gd name="connsiteY256" fmla="*/ 6663 h 10000"/>
                <a:gd name="connsiteX257" fmla="*/ 183 w 10000"/>
                <a:gd name="connsiteY257" fmla="*/ 6465 h 10000"/>
                <a:gd name="connsiteX258" fmla="*/ 151 w 10000"/>
                <a:gd name="connsiteY258"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8631 w 10000"/>
                <a:gd name="connsiteY207" fmla="*/ 1274 h 10000"/>
                <a:gd name="connsiteX208" fmla="*/ 8068 w 10000"/>
                <a:gd name="connsiteY208" fmla="*/ 1164 h 10000"/>
                <a:gd name="connsiteX209" fmla="*/ 7497 w 10000"/>
                <a:gd name="connsiteY209" fmla="*/ 923 h 10000"/>
                <a:gd name="connsiteX210" fmla="*/ 7377 w 10000"/>
                <a:gd name="connsiteY210" fmla="*/ 560 h 10000"/>
                <a:gd name="connsiteX211" fmla="*/ 7012 w 10000"/>
                <a:gd name="connsiteY211" fmla="*/ 590 h 10000"/>
                <a:gd name="connsiteX212" fmla="*/ 6413 w 10000"/>
                <a:gd name="connsiteY212" fmla="*/ 332 h 10000"/>
                <a:gd name="connsiteX213" fmla="*/ 5098 w 10000"/>
                <a:gd name="connsiteY213" fmla="*/ 0 h 10000"/>
                <a:gd name="connsiteX214" fmla="*/ 4837 w 10000"/>
                <a:gd name="connsiteY214" fmla="*/ 82 h 10000"/>
                <a:gd name="connsiteX215" fmla="*/ 4671 w 10000"/>
                <a:gd name="connsiteY215" fmla="*/ 78 h 10000"/>
                <a:gd name="connsiteX216" fmla="*/ 4571 w 10000"/>
                <a:gd name="connsiteY216" fmla="*/ 107 h 10000"/>
                <a:gd name="connsiteX217" fmla="*/ 4298 w 10000"/>
                <a:gd name="connsiteY217" fmla="*/ 913 h 10000"/>
                <a:gd name="connsiteX218" fmla="*/ 3668 w 10000"/>
                <a:gd name="connsiteY218" fmla="*/ 1383 h 10000"/>
                <a:gd name="connsiteX219" fmla="*/ 3672 w 10000"/>
                <a:gd name="connsiteY219" fmla="*/ 1457 h 10000"/>
                <a:gd name="connsiteX220" fmla="*/ 3952 w 10000"/>
                <a:gd name="connsiteY220" fmla="*/ 1668 h 10000"/>
                <a:gd name="connsiteX221" fmla="*/ 3861 w 10000"/>
                <a:gd name="connsiteY221" fmla="*/ 1896 h 10000"/>
                <a:gd name="connsiteX222" fmla="*/ 3698 w 10000"/>
                <a:gd name="connsiteY222" fmla="*/ 1979 h 10000"/>
                <a:gd name="connsiteX223" fmla="*/ 3208 w 10000"/>
                <a:gd name="connsiteY223" fmla="*/ 1924 h 10000"/>
                <a:gd name="connsiteX224" fmla="*/ 2871 w 10000"/>
                <a:gd name="connsiteY224" fmla="*/ 1955 h 10000"/>
                <a:gd name="connsiteX225" fmla="*/ 2601 w 10000"/>
                <a:gd name="connsiteY225" fmla="*/ 2023 h 10000"/>
                <a:gd name="connsiteX226" fmla="*/ 2163 w 10000"/>
                <a:gd name="connsiteY226" fmla="*/ 2233 h 10000"/>
                <a:gd name="connsiteX227" fmla="*/ 1931 w 10000"/>
                <a:gd name="connsiteY227" fmla="*/ 2487 h 10000"/>
                <a:gd name="connsiteX228" fmla="*/ 1951 w 10000"/>
                <a:gd name="connsiteY228" fmla="*/ 2629 h 10000"/>
                <a:gd name="connsiteX229" fmla="*/ 2032 w 10000"/>
                <a:gd name="connsiteY229" fmla="*/ 2738 h 10000"/>
                <a:gd name="connsiteX230" fmla="*/ 2093 w 10000"/>
                <a:gd name="connsiteY230" fmla="*/ 2782 h 10000"/>
                <a:gd name="connsiteX231" fmla="*/ 1979 w 10000"/>
                <a:gd name="connsiteY231" fmla="*/ 2852 h 10000"/>
                <a:gd name="connsiteX232" fmla="*/ 1731 w 10000"/>
                <a:gd name="connsiteY232" fmla="*/ 3330 h 10000"/>
                <a:gd name="connsiteX233" fmla="*/ 1779 w 10000"/>
                <a:gd name="connsiteY233" fmla="*/ 3358 h 10000"/>
                <a:gd name="connsiteX234" fmla="*/ 1815 w 10000"/>
                <a:gd name="connsiteY234" fmla="*/ 3479 h 10000"/>
                <a:gd name="connsiteX235" fmla="*/ 1700 w 10000"/>
                <a:gd name="connsiteY235" fmla="*/ 3982 h 10000"/>
                <a:gd name="connsiteX236" fmla="*/ 1815 w 10000"/>
                <a:gd name="connsiteY236" fmla="*/ 4110 h 10000"/>
                <a:gd name="connsiteX237" fmla="*/ 2131 w 10000"/>
                <a:gd name="connsiteY237" fmla="*/ 4251 h 10000"/>
                <a:gd name="connsiteX238" fmla="*/ 2145 w 10000"/>
                <a:gd name="connsiteY238" fmla="*/ 4423 h 10000"/>
                <a:gd name="connsiteX239" fmla="*/ 2010 w 10000"/>
                <a:gd name="connsiteY239" fmla="*/ 4566 h 10000"/>
                <a:gd name="connsiteX240" fmla="*/ 1815 w 10000"/>
                <a:gd name="connsiteY240" fmla="*/ 4652 h 10000"/>
                <a:gd name="connsiteX241" fmla="*/ 1557 w 10000"/>
                <a:gd name="connsiteY241" fmla="*/ 4687 h 10000"/>
                <a:gd name="connsiteX242" fmla="*/ 1490 w 10000"/>
                <a:gd name="connsiteY242" fmla="*/ 4737 h 10000"/>
                <a:gd name="connsiteX243" fmla="*/ 1640 w 10000"/>
                <a:gd name="connsiteY243" fmla="*/ 4855 h 10000"/>
                <a:gd name="connsiteX244" fmla="*/ 1726 w 10000"/>
                <a:gd name="connsiteY244" fmla="*/ 5136 h 10000"/>
                <a:gd name="connsiteX245" fmla="*/ 1531 w 10000"/>
                <a:gd name="connsiteY245" fmla="*/ 5376 h 10000"/>
                <a:gd name="connsiteX246" fmla="*/ 1599 w 10000"/>
                <a:gd name="connsiteY246" fmla="*/ 5451 h 10000"/>
                <a:gd name="connsiteX247" fmla="*/ 1537 w 10000"/>
                <a:gd name="connsiteY247" fmla="*/ 5577 h 10000"/>
                <a:gd name="connsiteX248" fmla="*/ 1412 w 10000"/>
                <a:gd name="connsiteY248" fmla="*/ 5663 h 10000"/>
                <a:gd name="connsiteX249" fmla="*/ 915 w 10000"/>
                <a:gd name="connsiteY249" fmla="*/ 5730 h 10000"/>
                <a:gd name="connsiteX250" fmla="*/ 885 w 10000"/>
                <a:gd name="connsiteY250" fmla="*/ 5846 h 10000"/>
                <a:gd name="connsiteX251" fmla="*/ 617 w 10000"/>
                <a:gd name="connsiteY251" fmla="*/ 6019 h 10000"/>
                <a:gd name="connsiteX252" fmla="*/ 652 w 10000"/>
                <a:gd name="connsiteY252" fmla="*/ 6268 h 10000"/>
                <a:gd name="connsiteX253" fmla="*/ 427 w 10000"/>
                <a:gd name="connsiteY253" fmla="*/ 6587 h 10000"/>
                <a:gd name="connsiteX254" fmla="*/ 274 w 10000"/>
                <a:gd name="connsiteY254" fmla="*/ 6624 h 10000"/>
                <a:gd name="connsiteX255" fmla="*/ 210 w 10000"/>
                <a:gd name="connsiteY255" fmla="*/ 6548 h 10000"/>
                <a:gd name="connsiteX256" fmla="*/ 132 w 10000"/>
                <a:gd name="connsiteY256" fmla="*/ 6663 h 10000"/>
                <a:gd name="connsiteX257" fmla="*/ 183 w 10000"/>
                <a:gd name="connsiteY257" fmla="*/ 6465 h 10000"/>
                <a:gd name="connsiteX258" fmla="*/ 151 w 10000"/>
                <a:gd name="connsiteY258"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8126 w 10000"/>
                <a:gd name="connsiteY207" fmla="*/ 1671 h 10000"/>
                <a:gd name="connsiteX208" fmla="*/ 8068 w 10000"/>
                <a:gd name="connsiteY208" fmla="*/ 1164 h 10000"/>
                <a:gd name="connsiteX209" fmla="*/ 7497 w 10000"/>
                <a:gd name="connsiteY209" fmla="*/ 923 h 10000"/>
                <a:gd name="connsiteX210" fmla="*/ 7377 w 10000"/>
                <a:gd name="connsiteY210" fmla="*/ 560 h 10000"/>
                <a:gd name="connsiteX211" fmla="*/ 7012 w 10000"/>
                <a:gd name="connsiteY211" fmla="*/ 590 h 10000"/>
                <a:gd name="connsiteX212" fmla="*/ 6413 w 10000"/>
                <a:gd name="connsiteY212" fmla="*/ 332 h 10000"/>
                <a:gd name="connsiteX213" fmla="*/ 5098 w 10000"/>
                <a:gd name="connsiteY213" fmla="*/ 0 h 10000"/>
                <a:gd name="connsiteX214" fmla="*/ 4837 w 10000"/>
                <a:gd name="connsiteY214" fmla="*/ 82 h 10000"/>
                <a:gd name="connsiteX215" fmla="*/ 4671 w 10000"/>
                <a:gd name="connsiteY215" fmla="*/ 78 h 10000"/>
                <a:gd name="connsiteX216" fmla="*/ 4571 w 10000"/>
                <a:gd name="connsiteY216" fmla="*/ 107 h 10000"/>
                <a:gd name="connsiteX217" fmla="*/ 4298 w 10000"/>
                <a:gd name="connsiteY217" fmla="*/ 913 h 10000"/>
                <a:gd name="connsiteX218" fmla="*/ 3668 w 10000"/>
                <a:gd name="connsiteY218" fmla="*/ 1383 h 10000"/>
                <a:gd name="connsiteX219" fmla="*/ 3672 w 10000"/>
                <a:gd name="connsiteY219" fmla="*/ 1457 h 10000"/>
                <a:gd name="connsiteX220" fmla="*/ 3952 w 10000"/>
                <a:gd name="connsiteY220" fmla="*/ 1668 h 10000"/>
                <a:gd name="connsiteX221" fmla="*/ 3861 w 10000"/>
                <a:gd name="connsiteY221" fmla="*/ 1896 h 10000"/>
                <a:gd name="connsiteX222" fmla="*/ 3698 w 10000"/>
                <a:gd name="connsiteY222" fmla="*/ 1979 h 10000"/>
                <a:gd name="connsiteX223" fmla="*/ 3208 w 10000"/>
                <a:gd name="connsiteY223" fmla="*/ 1924 h 10000"/>
                <a:gd name="connsiteX224" fmla="*/ 2871 w 10000"/>
                <a:gd name="connsiteY224" fmla="*/ 1955 h 10000"/>
                <a:gd name="connsiteX225" fmla="*/ 2601 w 10000"/>
                <a:gd name="connsiteY225" fmla="*/ 2023 h 10000"/>
                <a:gd name="connsiteX226" fmla="*/ 2163 w 10000"/>
                <a:gd name="connsiteY226" fmla="*/ 2233 h 10000"/>
                <a:gd name="connsiteX227" fmla="*/ 1931 w 10000"/>
                <a:gd name="connsiteY227" fmla="*/ 2487 h 10000"/>
                <a:gd name="connsiteX228" fmla="*/ 1951 w 10000"/>
                <a:gd name="connsiteY228" fmla="*/ 2629 h 10000"/>
                <a:gd name="connsiteX229" fmla="*/ 2032 w 10000"/>
                <a:gd name="connsiteY229" fmla="*/ 2738 h 10000"/>
                <a:gd name="connsiteX230" fmla="*/ 2093 w 10000"/>
                <a:gd name="connsiteY230" fmla="*/ 2782 h 10000"/>
                <a:gd name="connsiteX231" fmla="*/ 1979 w 10000"/>
                <a:gd name="connsiteY231" fmla="*/ 2852 h 10000"/>
                <a:gd name="connsiteX232" fmla="*/ 1731 w 10000"/>
                <a:gd name="connsiteY232" fmla="*/ 3330 h 10000"/>
                <a:gd name="connsiteX233" fmla="*/ 1779 w 10000"/>
                <a:gd name="connsiteY233" fmla="*/ 3358 h 10000"/>
                <a:gd name="connsiteX234" fmla="*/ 1815 w 10000"/>
                <a:gd name="connsiteY234" fmla="*/ 3479 h 10000"/>
                <a:gd name="connsiteX235" fmla="*/ 1700 w 10000"/>
                <a:gd name="connsiteY235" fmla="*/ 3982 h 10000"/>
                <a:gd name="connsiteX236" fmla="*/ 1815 w 10000"/>
                <a:gd name="connsiteY236" fmla="*/ 4110 h 10000"/>
                <a:gd name="connsiteX237" fmla="*/ 2131 w 10000"/>
                <a:gd name="connsiteY237" fmla="*/ 4251 h 10000"/>
                <a:gd name="connsiteX238" fmla="*/ 2145 w 10000"/>
                <a:gd name="connsiteY238" fmla="*/ 4423 h 10000"/>
                <a:gd name="connsiteX239" fmla="*/ 2010 w 10000"/>
                <a:gd name="connsiteY239" fmla="*/ 4566 h 10000"/>
                <a:gd name="connsiteX240" fmla="*/ 1815 w 10000"/>
                <a:gd name="connsiteY240" fmla="*/ 4652 h 10000"/>
                <a:gd name="connsiteX241" fmla="*/ 1557 w 10000"/>
                <a:gd name="connsiteY241" fmla="*/ 4687 h 10000"/>
                <a:gd name="connsiteX242" fmla="*/ 1490 w 10000"/>
                <a:gd name="connsiteY242" fmla="*/ 4737 h 10000"/>
                <a:gd name="connsiteX243" fmla="*/ 1640 w 10000"/>
                <a:gd name="connsiteY243" fmla="*/ 4855 h 10000"/>
                <a:gd name="connsiteX244" fmla="*/ 1726 w 10000"/>
                <a:gd name="connsiteY244" fmla="*/ 5136 h 10000"/>
                <a:gd name="connsiteX245" fmla="*/ 1531 w 10000"/>
                <a:gd name="connsiteY245" fmla="*/ 5376 h 10000"/>
                <a:gd name="connsiteX246" fmla="*/ 1599 w 10000"/>
                <a:gd name="connsiteY246" fmla="*/ 5451 h 10000"/>
                <a:gd name="connsiteX247" fmla="*/ 1537 w 10000"/>
                <a:gd name="connsiteY247" fmla="*/ 5577 h 10000"/>
                <a:gd name="connsiteX248" fmla="*/ 1412 w 10000"/>
                <a:gd name="connsiteY248" fmla="*/ 5663 h 10000"/>
                <a:gd name="connsiteX249" fmla="*/ 915 w 10000"/>
                <a:gd name="connsiteY249" fmla="*/ 5730 h 10000"/>
                <a:gd name="connsiteX250" fmla="*/ 885 w 10000"/>
                <a:gd name="connsiteY250" fmla="*/ 5846 h 10000"/>
                <a:gd name="connsiteX251" fmla="*/ 617 w 10000"/>
                <a:gd name="connsiteY251" fmla="*/ 6019 h 10000"/>
                <a:gd name="connsiteX252" fmla="*/ 652 w 10000"/>
                <a:gd name="connsiteY252" fmla="*/ 6268 h 10000"/>
                <a:gd name="connsiteX253" fmla="*/ 427 w 10000"/>
                <a:gd name="connsiteY253" fmla="*/ 6587 h 10000"/>
                <a:gd name="connsiteX254" fmla="*/ 274 w 10000"/>
                <a:gd name="connsiteY254" fmla="*/ 6624 h 10000"/>
                <a:gd name="connsiteX255" fmla="*/ 210 w 10000"/>
                <a:gd name="connsiteY255" fmla="*/ 6548 h 10000"/>
                <a:gd name="connsiteX256" fmla="*/ 132 w 10000"/>
                <a:gd name="connsiteY256" fmla="*/ 6663 h 10000"/>
                <a:gd name="connsiteX257" fmla="*/ 183 w 10000"/>
                <a:gd name="connsiteY257" fmla="*/ 6465 h 10000"/>
                <a:gd name="connsiteX258" fmla="*/ 151 w 10000"/>
                <a:gd name="connsiteY258"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8126 w 10000"/>
                <a:gd name="connsiteY207" fmla="*/ 1671 h 10000"/>
                <a:gd name="connsiteX208" fmla="*/ 8367 w 10000"/>
                <a:gd name="connsiteY208" fmla="*/ 1293 h 10000"/>
                <a:gd name="connsiteX209" fmla="*/ 7497 w 10000"/>
                <a:gd name="connsiteY209" fmla="*/ 923 h 10000"/>
                <a:gd name="connsiteX210" fmla="*/ 7377 w 10000"/>
                <a:gd name="connsiteY210" fmla="*/ 560 h 10000"/>
                <a:gd name="connsiteX211" fmla="*/ 7012 w 10000"/>
                <a:gd name="connsiteY211" fmla="*/ 590 h 10000"/>
                <a:gd name="connsiteX212" fmla="*/ 6413 w 10000"/>
                <a:gd name="connsiteY212" fmla="*/ 332 h 10000"/>
                <a:gd name="connsiteX213" fmla="*/ 5098 w 10000"/>
                <a:gd name="connsiteY213" fmla="*/ 0 h 10000"/>
                <a:gd name="connsiteX214" fmla="*/ 4837 w 10000"/>
                <a:gd name="connsiteY214" fmla="*/ 82 h 10000"/>
                <a:gd name="connsiteX215" fmla="*/ 4671 w 10000"/>
                <a:gd name="connsiteY215" fmla="*/ 78 h 10000"/>
                <a:gd name="connsiteX216" fmla="*/ 4571 w 10000"/>
                <a:gd name="connsiteY216" fmla="*/ 107 h 10000"/>
                <a:gd name="connsiteX217" fmla="*/ 4298 w 10000"/>
                <a:gd name="connsiteY217" fmla="*/ 913 h 10000"/>
                <a:gd name="connsiteX218" fmla="*/ 3668 w 10000"/>
                <a:gd name="connsiteY218" fmla="*/ 1383 h 10000"/>
                <a:gd name="connsiteX219" fmla="*/ 3672 w 10000"/>
                <a:gd name="connsiteY219" fmla="*/ 1457 h 10000"/>
                <a:gd name="connsiteX220" fmla="*/ 3952 w 10000"/>
                <a:gd name="connsiteY220" fmla="*/ 1668 h 10000"/>
                <a:gd name="connsiteX221" fmla="*/ 3861 w 10000"/>
                <a:gd name="connsiteY221" fmla="*/ 1896 h 10000"/>
                <a:gd name="connsiteX222" fmla="*/ 3698 w 10000"/>
                <a:gd name="connsiteY222" fmla="*/ 1979 h 10000"/>
                <a:gd name="connsiteX223" fmla="*/ 3208 w 10000"/>
                <a:gd name="connsiteY223" fmla="*/ 1924 h 10000"/>
                <a:gd name="connsiteX224" fmla="*/ 2871 w 10000"/>
                <a:gd name="connsiteY224" fmla="*/ 1955 h 10000"/>
                <a:gd name="connsiteX225" fmla="*/ 2601 w 10000"/>
                <a:gd name="connsiteY225" fmla="*/ 2023 h 10000"/>
                <a:gd name="connsiteX226" fmla="*/ 2163 w 10000"/>
                <a:gd name="connsiteY226" fmla="*/ 2233 h 10000"/>
                <a:gd name="connsiteX227" fmla="*/ 1931 w 10000"/>
                <a:gd name="connsiteY227" fmla="*/ 2487 h 10000"/>
                <a:gd name="connsiteX228" fmla="*/ 1951 w 10000"/>
                <a:gd name="connsiteY228" fmla="*/ 2629 h 10000"/>
                <a:gd name="connsiteX229" fmla="*/ 2032 w 10000"/>
                <a:gd name="connsiteY229" fmla="*/ 2738 h 10000"/>
                <a:gd name="connsiteX230" fmla="*/ 2093 w 10000"/>
                <a:gd name="connsiteY230" fmla="*/ 2782 h 10000"/>
                <a:gd name="connsiteX231" fmla="*/ 1979 w 10000"/>
                <a:gd name="connsiteY231" fmla="*/ 2852 h 10000"/>
                <a:gd name="connsiteX232" fmla="*/ 1731 w 10000"/>
                <a:gd name="connsiteY232" fmla="*/ 3330 h 10000"/>
                <a:gd name="connsiteX233" fmla="*/ 1779 w 10000"/>
                <a:gd name="connsiteY233" fmla="*/ 3358 h 10000"/>
                <a:gd name="connsiteX234" fmla="*/ 1815 w 10000"/>
                <a:gd name="connsiteY234" fmla="*/ 3479 h 10000"/>
                <a:gd name="connsiteX235" fmla="*/ 1700 w 10000"/>
                <a:gd name="connsiteY235" fmla="*/ 3982 h 10000"/>
                <a:gd name="connsiteX236" fmla="*/ 1815 w 10000"/>
                <a:gd name="connsiteY236" fmla="*/ 4110 h 10000"/>
                <a:gd name="connsiteX237" fmla="*/ 2131 w 10000"/>
                <a:gd name="connsiteY237" fmla="*/ 4251 h 10000"/>
                <a:gd name="connsiteX238" fmla="*/ 2145 w 10000"/>
                <a:gd name="connsiteY238" fmla="*/ 4423 h 10000"/>
                <a:gd name="connsiteX239" fmla="*/ 2010 w 10000"/>
                <a:gd name="connsiteY239" fmla="*/ 4566 h 10000"/>
                <a:gd name="connsiteX240" fmla="*/ 1815 w 10000"/>
                <a:gd name="connsiteY240" fmla="*/ 4652 h 10000"/>
                <a:gd name="connsiteX241" fmla="*/ 1557 w 10000"/>
                <a:gd name="connsiteY241" fmla="*/ 4687 h 10000"/>
                <a:gd name="connsiteX242" fmla="*/ 1490 w 10000"/>
                <a:gd name="connsiteY242" fmla="*/ 4737 h 10000"/>
                <a:gd name="connsiteX243" fmla="*/ 1640 w 10000"/>
                <a:gd name="connsiteY243" fmla="*/ 4855 h 10000"/>
                <a:gd name="connsiteX244" fmla="*/ 1726 w 10000"/>
                <a:gd name="connsiteY244" fmla="*/ 5136 h 10000"/>
                <a:gd name="connsiteX245" fmla="*/ 1531 w 10000"/>
                <a:gd name="connsiteY245" fmla="*/ 5376 h 10000"/>
                <a:gd name="connsiteX246" fmla="*/ 1599 w 10000"/>
                <a:gd name="connsiteY246" fmla="*/ 5451 h 10000"/>
                <a:gd name="connsiteX247" fmla="*/ 1537 w 10000"/>
                <a:gd name="connsiteY247" fmla="*/ 5577 h 10000"/>
                <a:gd name="connsiteX248" fmla="*/ 1412 w 10000"/>
                <a:gd name="connsiteY248" fmla="*/ 5663 h 10000"/>
                <a:gd name="connsiteX249" fmla="*/ 915 w 10000"/>
                <a:gd name="connsiteY249" fmla="*/ 5730 h 10000"/>
                <a:gd name="connsiteX250" fmla="*/ 885 w 10000"/>
                <a:gd name="connsiteY250" fmla="*/ 5846 h 10000"/>
                <a:gd name="connsiteX251" fmla="*/ 617 w 10000"/>
                <a:gd name="connsiteY251" fmla="*/ 6019 h 10000"/>
                <a:gd name="connsiteX252" fmla="*/ 652 w 10000"/>
                <a:gd name="connsiteY252" fmla="*/ 6268 h 10000"/>
                <a:gd name="connsiteX253" fmla="*/ 427 w 10000"/>
                <a:gd name="connsiteY253" fmla="*/ 6587 h 10000"/>
                <a:gd name="connsiteX254" fmla="*/ 274 w 10000"/>
                <a:gd name="connsiteY254" fmla="*/ 6624 h 10000"/>
                <a:gd name="connsiteX255" fmla="*/ 210 w 10000"/>
                <a:gd name="connsiteY255" fmla="*/ 6548 h 10000"/>
                <a:gd name="connsiteX256" fmla="*/ 132 w 10000"/>
                <a:gd name="connsiteY256" fmla="*/ 6663 h 10000"/>
                <a:gd name="connsiteX257" fmla="*/ 183 w 10000"/>
                <a:gd name="connsiteY257" fmla="*/ 6465 h 10000"/>
                <a:gd name="connsiteX258" fmla="*/ 151 w 10000"/>
                <a:gd name="connsiteY258"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8075 w 10000"/>
                <a:gd name="connsiteY207" fmla="*/ 1603 h 10000"/>
                <a:gd name="connsiteX208" fmla="*/ 8367 w 10000"/>
                <a:gd name="connsiteY208" fmla="*/ 1293 h 10000"/>
                <a:gd name="connsiteX209" fmla="*/ 7497 w 10000"/>
                <a:gd name="connsiteY209" fmla="*/ 923 h 10000"/>
                <a:gd name="connsiteX210" fmla="*/ 7377 w 10000"/>
                <a:gd name="connsiteY210" fmla="*/ 560 h 10000"/>
                <a:gd name="connsiteX211" fmla="*/ 7012 w 10000"/>
                <a:gd name="connsiteY211" fmla="*/ 590 h 10000"/>
                <a:gd name="connsiteX212" fmla="*/ 6413 w 10000"/>
                <a:gd name="connsiteY212" fmla="*/ 332 h 10000"/>
                <a:gd name="connsiteX213" fmla="*/ 5098 w 10000"/>
                <a:gd name="connsiteY213" fmla="*/ 0 h 10000"/>
                <a:gd name="connsiteX214" fmla="*/ 4837 w 10000"/>
                <a:gd name="connsiteY214" fmla="*/ 82 h 10000"/>
                <a:gd name="connsiteX215" fmla="*/ 4671 w 10000"/>
                <a:gd name="connsiteY215" fmla="*/ 78 h 10000"/>
                <a:gd name="connsiteX216" fmla="*/ 4571 w 10000"/>
                <a:gd name="connsiteY216" fmla="*/ 107 h 10000"/>
                <a:gd name="connsiteX217" fmla="*/ 4298 w 10000"/>
                <a:gd name="connsiteY217" fmla="*/ 913 h 10000"/>
                <a:gd name="connsiteX218" fmla="*/ 3668 w 10000"/>
                <a:gd name="connsiteY218" fmla="*/ 1383 h 10000"/>
                <a:gd name="connsiteX219" fmla="*/ 3672 w 10000"/>
                <a:gd name="connsiteY219" fmla="*/ 1457 h 10000"/>
                <a:gd name="connsiteX220" fmla="*/ 3952 w 10000"/>
                <a:gd name="connsiteY220" fmla="*/ 1668 h 10000"/>
                <a:gd name="connsiteX221" fmla="*/ 3861 w 10000"/>
                <a:gd name="connsiteY221" fmla="*/ 1896 h 10000"/>
                <a:gd name="connsiteX222" fmla="*/ 3698 w 10000"/>
                <a:gd name="connsiteY222" fmla="*/ 1979 h 10000"/>
                <a:gd name="connsiteX223" fmla="*/ 3208 w 10000"/>
                <a:gd name="connsiteY223" fmla="*/ 1924 h 10000"/>
                <a:gd name="connsiteX224" fmla="*/ 2871 w 10000"/>
                <a:gd name="connsiteY224" fmla="*/ 1955 h 10000"/>
                <a:gd name="connsiteX225" fmla="*/ 2601 w 10000"/>
                <a:gd name="connsiteY225" fmla="*/ 2023 h 10000"/>
                <a:gd name="connsiteX226" fmla="*/ 2163 w 10000"/>
                <a:gd name="connsiteY226" fmla="*/ 2233 h 10000"/>
                <a:gd name="connsiteX227" fmla="*/ 1931 w 10000"/>
                <a:gd name="connsiteY227" fmla="*/ 2487 h 10000"/>
                <a:gd name="connsiteX228" fmla="*/ 1951 w 10000"/>
                <a:gd name="connsiteY228" fmla="*/ 2629 h 10000"/>
                <a:gd name="connsiteX229" fmla="*/ 2032 w 10000"/>
                <a:gd name="connsiteY229" fmla="*/ 2738 h 10000"/>
                <a:gd name="connsiteX230" fmla="*/ 2093 w 10000"/>
                <a:gd name="connsiteY230" fmla="*/ 2782 h 10000"/>
                <a:gd name="connsiteX231" fmla="*/ 1979 w 10000"/>
                <a:gd name="connsiteY231" fmla="*/ 2852 h 10000"/>
                <a:gd name="connsiteX232" fmla="*/ 1731 w 10000"/>
                <a:gd name="connsiteY232" fmla="*/ 3330 h 10000"/>
                <a:gd name="connsiteX233" fmla="*/ 1779 w 10000"/>
                <a:gd name="connsiteY233" fmla="*/ 3358 h 10000"/>
                <a:gd name="connsiteX234" fmla="*/ 1815 w 10000"/>
                <a:gd name="connsiteY234" fmla="*/ 3479 h 10000"/>
                <a:gd name="connsiteX235" fmla="*/ 1700 w 10000"/>
                <a:gd name="connsiteY235" fmla="*/ 3982 h 10000"/>
                <a:gd name="connsiteX236" fmla="*/ 1815 w 10000"/>
                <a:gd name="connsiteY236" fmla="*/ 4110 h 10000"/>
                <a:gd name="connsiteX237" fmla="*/ 2131 w 10000"/>
                <a:gd name="connsiteY237" fmla="*/ 4251 h 10000"/>
                <a:gd name="connsiteX238" fmla="*/ 2145 w 10000"/>
                <a:gd name="connsiteY238" fmla="*/ 4423 h 10000"/>
                <a:gd name="connsiteX239" fmla="*/ 2010 w 10000"/>
                <a:gd name="connsiteY239" fmla="*/ 4566 h 10000"/>
                <a:gd name="connsiteX240" fmla="*/ 1815 w 10000"/>
                <a:gd name="connsiteY240" fmla="*/ 4652 h 10000"/>
                <a:gd name="connsiteX241" fmla="*/ 1557 w 10000"/>
                <a:gd name="connsiteY241" fmla="*/ 4687 h 10000"/>
                <a:gd name="connsiteX242" fmla="*/ 1490 w 10000"/>
                <a:gd name="connsiteY242" fmla="*/ 4737 h 10000"/>
                <a:gd name="connsiteX243" fmla="*/ 1640 w 10000"/>
                <a:gd name="connsiteY243" fmla="*/ 4855 h 10000"/>
                <a:gd name="connsiteX244" fmla="*/ 1726 w 10000"/>
                <a:gd name="connsiteY244" fmla="*/ 5136 h 10000"/>
                <a:gd name="connsiteX245" fmla="*/ 1531 w 10000"/>
                <a:gd name="connsiteY245" fmla="*/ 5376 h 10000"/>
                <a:gd name="connsiteX246" fmla="*/ 1599 w 10000"/>
                <a:gd name="connsiteY246" fmla="*/ 5451 h 10000"/>
                <a:gd name="connsiteX247" fmla="*/ 1537 w 10000"/>
                <a:gd name="connsiteY247" fmla="*/ 5577 h 10000"/>
                <a:gd name="connsiteX248" fmla="*/ 1412 w 10000"/>
                <a:gd name="connsiteY248" fmla="*/ 5663 h 10000"/>
                <a:gd name="connsiteX249" fmla="*/ 915 w 10000"/>
                <a:gd name="connsiteY249" fmla="*/ 5730 h 10000"/>
                <a:gd name="connsiteX250" fmla="*/ 885 w 10000"/>
                <a:gd name="connsiteY250" fmla="*/ 5846 h 10000"/>
                <a:gd name="connsiteX251" fmla="*/ 617 w 10000"/>
                <a:gd name="connsiteY251" fmla="*/ 6019 h 10000"/>
                <a:gd name="connsiteX252" fmla="*/ 652 w 10000"/>
                <a:gd name="connsiteY252" fmla="*/ 6268 h 10000"/>
                <a:gd name="connsiteX253" fmla="*/ 427 w 10000"/>
                <a:gd name="connsiteY253" fmla="*/ 6587 h 10000"/>
                <a:gd name="connsiteX254" fmla="*/ 274 w 10000"/>
                <a:gd name="connsiteY254" fmla="*/ 6624 h 10000"/>
                <a:gd name="connsiteX255" fmla="*/ 210 w 10000"/>
                <a:gd name="connsiteY255" fmla="*/ 6548 h 10000"/>
                <a:gd name="connsiteX256" fmla="*/ 132 w 10000"/>
                <a:gd name="connsiteY256" fmla="*/ 6663 h 10000"/>
                <a:gd name="connsiteX257" fmla="*/ 183 w 10000"/>
                <a:gd name="connsiteY257" fmla="*/ 6465 h 10000"/>
                <a:gd name="connsiteX258" fmla="*/ 151 w 10000"/>
                <a:gd name="connsiteY258"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8939 w 10000"/>
                <a:gd name="connsiteY207" fmla="*/ 1680 h 10000"/>
                <a:gd name="connsiteX208" fmla="*/ 8075 w 10000"/>
                <a:gd name="connsiteY208" fmla="*/ 1603 h 10000"/>
                <a:gd name="connsiteX209" fmla="*/ 8367 w 10000"/>
                <a:gd name="connsiteY209" fmla="*/ 1293 h 10000"/>
                <a:gd name="connsiteX210" fmla="*/ 7497 w 10000"/>
                <a:gd name="connsiteY210" fmla="*/ 923 h 10000"/>
                <a:gd name="connsiteX211" fmla="*/ 7377 w 10000"/>
                <a:gd name="connsiteY211" fmla="*/ 560 h 10000"/>
                <a:gd name="connsiteX212" fmla="*/ 7012 w 10000"/>
                <a:gd name="connsiteY212" fmla="*/ 590 h 10000"/>
                <a:gd name="connsiteX213" fmla="*/ 6413 w 10000"/>
                <a:gd name="connsiteY213" fmla="*/ 332 h 10000"/>
                <a:gd name="connsiteX214" fmla="*/ 5098 w 10000"/>
                <a:gd name="connsiteY214" fmla="*/ 0 h 10000"/>
                <a:gd name="connsiteX215" fmla="*/ 4837 w 10000"/>
                <a:gd name="connsiteY215" fmla="*/ 82 h 10000"/>
                <a:gd name="connsiteX216" fmla="*/ 4671 w 10000"/>
                <a:gd name="connsiteY216" fmla="*/ 78 h 10000"/>
                <a:gd name="connsiteX217" fmla="*/ 4571 w 10000"/>
                <a:gd name="connsiteY217" fmla="*/ 107 h 10000"/>
                <a:gd name="connsiteX218" fmla="*/ 4298 w 10000"/>
                <a:gd name="connsiteY218" fmla="*/ 913 h 10000"/>
                <a:gd name="connsiteX219" fmla="*/ 3668 w 10000"/>
                <a:gd name="connsiteY219" fmla="*/ 1383 h 10000"/>
                <a:gd name="connsiteX220" fmla="*/ 3672 w 10000"/>
                <a:gd name="connsiteY220" fmla="*/ 1457 h 10000"/>
                <a:gd name="connsiteX221" fmla="*/ 3952 w 10000"/>
                <a:gd name="connsiteY221" fmla="*/ 1668 h 10000"/>
                <a:gd name="connsiteX222" fmla="*/ 3861 w 10000"/>
                <a:gd name="connsiteY222" fmla="*/ 1896 h 10000"/>
                <a:gd name="connsiteX223" fmla="*/ 3698 w 10000"/>
                <a:gd name="connsiteY223" fmla="*/ 1979 h 10000"/>
                <a:gd name="connsiteX224" fmla="*/ 3208 w 10000"/>
                <a:gd name="connsiteY224" fmla="*/ 1924 h 10000"/>
                <a:gd name="connsiteX225" fmla="*/ 2871 w 10000"/>
                <a:gd name="connsiteY225" fmla="*/ 1955 h 10000"/>
                <a:gd name="connsiteX226" fmla="*/ 2601 w 10000"/>
                <a:gd name="connsiteY226" fmla="*/ 2023 h 10000"/>
                <a:gd name="connsiteX227" fmla="*/ 2163 w 10000"/>
                <a:gd name="connsiteY227" fmla="*/ 2233 h 10000"/>
                <a:gd name="connsiteX228" fmla="*/ 1931 w 10000"/>
                <a:gd name="connsiteY228" fmla="*/ 2487 h 10000"/>
                <a:gd name="connsiteX229" fmla="*/ 1951 w 10000"/>
                <a:gd name="connsiteY229" fmla="*/ 2629 h 10000"/>
                <a:gd name="connsiteX230" fmla="*/ 2032 w 10000"/>
                <a:gd name="connsiteY230" fmla="*/ 2738 h 10000"/>
                <a:gd name="connsiteX231" fmla="*/ 2093 w 10000"/>
                <a:gd name="connsiteY231" fmla="*/ 2782 h 10000"/>
                <a:gd name="connsiteX232" fmla="*/ 1979 w 10000"/>
                <a:gd name="connsiteY232" fmla="*/ 2852 h 10000"/>
                <a:gd name="connsiteX233" fmla="*/ 1731 w 10000"/>
                <a:gd name="connsiteY233" fmla="*/ 3330 h 10000"/>
                <a:gd name="connsiteX234" fmla="*/ 1779 w 10000"/>
                <a:gd name="connsiteY234" fmla="*/ 3358 h 10000"/>
                <a:gd name="connsiteX235" fmla="*/ 1815 w 10000"/>
                <a:gd name="connsiteY235" fmla="*/ 3479 h 10000"/>
                <a:gd name="connsiteX236" fmla="*/ 1700 w 10000"/>
                <a:gd name="connsiteY236" fmla="*/ 3982 h 10000"/>
                <a:gd name="connsiteX237" fmla="*/ 1815 w 10000"/>
                <a:gd name="connsiteY237" fmla="*/ 4110 h 10000"/>
                <a:gd name="connsiteX238" fmla="*/ 2131 w 10000"/>
                <a:gd name="connsiteY238" fmla="*/ 4251 h 10000"/>
                <a:gd name="connsiteX239" fmla="*/ 2145 w 10000"/>
                <a:gd name="connsiteY239" fmla="*/ 4423 h 10000"/>
                <a:gd name="connsiteX240" fmla="*/ 2010 w 10000"/>
                <a:gd name="connsiteY240" fmla="*/ 4566 h 10000"/>
                <a:gd name="connsiteX241" fmla="*/ 1815 w 10000"/>
                <a:gd name="connsiteY241" fmla="*/ 4652 h 10000"/>
                <a:gd name="connsiteX242" fmla="*/ 1557 w 10000"/>
                <a:gd name="connsiteY242" fmla="*/ 4687 h 10000"/>
                <a:gd name="connsiteX243" fmla="*/ 1490 w 10000"/>
                <a:gd name="connsiteY243" fmla="*/ 4737 h 10000"/>
                <a:gd name="connsiteX244" fmla="*/ 1640 w 10000"/>
                <a:gd name="connsiteY244" fmla="*/ 4855 h 10000"/>
                <a:gd name="connsiteX245" fmla="*/ 1726 w 10000"/>
                <a:gd name="connsiteY245" fmla="*/ 5136 h 10000"/>
                <a:gd name="connsiteX246" fmla="*/ 1531 w 10000"/>
                <a:gd name="connsiteY246" fmla="*/ 5376 h 10000"/>
                <a:gd name="connsiteX247" fmla="*/ 1599 w 10000"/>
                <a:gd name="connsiteY247" fmla="*/ 5451 h 10000"/>
                <a:gd name="connsiteX248" fmla="*/ 1537 w 10000"/>
                <a:gd name="connsiteY248" fmla="*/ 5577 h 10000"/>
                <a:gd name="connsiteX249" fmla="*/ 1412 w 10000"/>
                <a:gd name="connsiteY249" fmla="*/ 5663 h 10000"/>
                <a:gd name="connsiteX250" fmla="*/ 915 w 10000"/>
                <a:gd name="connsiteY250" fmla="*/ 5730 h 10000"/>
                <a:gd name="connsiteX251" fmla="*/ 885 w 10000"/>
                <a:gd name="connsiteY251" fmla="*/ 5846 h 10000"/>
                <a:gd name="connsiteX252" fmla="*/ 617 w 10000"/>
                <a:gd name="connsiteY252" fmla="*/ 6019 h 10000"/>
                <a:gd name="connsiteX253" fmla="*/ 652 w 10000"/>
                <a:gd name="connsiteY253" fmla="*/ 6268 h 10000"/>
                <a:gd name="connsiteX254" fmla="*/ 427 w 10000"/>
                <a:gd name="connsiteY254" fmla="*/ 6587 h 10000"/>
                <a:gd name="connsiteX255" fmla="*/ 274 w 10000"/>
                <a:gd name="connsiteY255" fmla="*/ 6624 h 10000"/>
                <a:gd name="connsiteX256" fmla="*/ 210 w 10000"/>
                <a:gd name="connsiteY256" fmla="*/ 6548 h 10000"/>
                <a:gd name="connsiteX257" fmla="*/ 132 w 10000"/>
                <a:gd name="connsiteY257" fmla="*/ 6663 h 10000"/>
                <a:gd name="connsiteX258" fmla="*/ 183 w 10000"/>
                <a:gd name="connsiteY258" fmla="*/ 6465 h 10000"/>
                <a:gd name="connsiteX259" fmla="*/ 151 w 10000"/>
                <a:gd name="connsiteY259"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8658 w 10000"/>
                <a:gd name="connsiteY207" fmla="*/ 1779 h 10000"/>
                <a:gd name="connsiteX208" fmla="*/ 8075 w 10000"/>
                <a:gd name="connsiteY208" fmla="*/ 1603 h 10000"/>
                <a:gd name="connsiteX209" fmla="*/ 8367 w 10000"/>
                <a:gd name="connsiteY209" fmla="*/ 1293 h 10000"/>
                <a:gd name="connsiteX210" fmla="*/ 7497 w 10000"/>
                <a:gd name="connsiteY210" fmla="*/ 923 h 10000"/>
                <a:gd name="connsiteX211" fmla="*/ 7377 w 10000"/>
                <a:gd name="connsiteY211" fmla="*/ 560 h 10000"/>
                <a:gd name="connsiteX212" fmla="*/ 7012 w 10000"/>
                <a:gd name="connsiteY212" fmla="*/ 590 h 10000"/>
                <a:gd name="connsiteX213" fmla="*/ 6413 w 10000"/>
                <a:gd name="connsiteY213" fmla="*/ 332 h 10000"/>
                <a:gd name="connsiteX214" fmla="*/ 5098 w 10000"/>
                <a:gd name="connsiteY214" fmla="*/ 0 h 10000"/>
                <a:gd name="connsiteX215" fmla="*/ 4837 w 10000"/>
                <a:gd name="connsiteY215" fmla="*/ 82 h 10000"/>
                <a:gd name="connsiteX216" fmla="*/ 4671 w 10000"/>
                <a:gd name="connsiteY216" fmla="*/ 78 h 10000"/>
                <a:gd name="connsiteX217" fmla="*/ 4571 w 10000"/>
                <a:gd name="connsiteY217" fmla="*/ 107 h 10000"/>
                <a:gd name="connsiteX218" fmla="*/ 4298 w 10000"/>
                <a:gd name="connsiteY218" fmla="*/ 913 h 10000"/>
                <a:gd name="connsiteX219" fmla="*/ 3668 w 10000"/>
                <a:gd name="connsiteY219" fmla="*/ 1383 h 10000"/>
                <a:gd name="connsiteX220" fmla="*/ 3672 w 10000"/>
                <a:gd name="connsiteY220" fmla="*/ 1457 h 10000"/>
                <a:gd name="connsiteX221" fmla="*/ 3952 w 10000"/>
                <a:gd name="connsiteY221" fmla="*/ 1668 h 10000"/>
                <a:gd name="connsiteX222" fmla="*/ 3861 w 10000"/>
                <a:gd name="connsiteY222" fmla="*/ 1896 h 10000"/>
                <a:gd name="connsiteX223" fmla="*/ 3698 w 10000"/>
                <a:gd name="connsiteY223" fmla="*/ 1979 h 10000"/>
                <a:gd name="connsiteX224" fmla="*/ 3208 w 10000"/>
                <a:gd name="connsiteY224" fmla="*/ 1924 h 10000"/>
                <a:gd name="connsiteX225" fmla="*/ 2871 w 10000"/>
                <a:gd name="connsiteY225" fmla="*/ 1955 h 10000"/>
                <a:gd name="connsiteX226" fmla="*/ 2601 w 10000"/>
                <a:gd name="connsiteY226" fmla="*/ 2023 h 10000"/>
                <a:gd name="connsiteX227" fmla="*/ 2163 w 10000"/>
                <a:gd name="connsiteY227" fmla="*/ 2233 h 10000"/>
                <a:gd name="connsiteX228" fmla="*/ 1931 w 10000"/>
                <a:gd name="connsiteY228" fmla="*/ 2487 h 10000"/>
                <a:gd name="connsiteX229" fmla="*/ 1951 w 10000"/>
                <a:gd name="connsiteY229" fmla="*/ 2629 h 10000"/>
                <a:gd name="connsiteX230" fmla="*/ 2032 w 10000"/>
                <a:gd name="connsiteY230" fmla="*/ 2738 h 10000"/>
                <a:gd name="connsiteX231" fmla="*/ 2093 w 10000"/>
                <a:gd name="connsiteY231" fmla="*/ 2782 h 10000"/>
                <a:gd name="connsiteX232" fmla="*/ 1979 w 10000"/>
                <a:gd name="connsiteY232" fmla="*/ 2852 h 10000"/>
                <a:gd name="connsiteX233" fmla="*/ 1731 w 10000"/>
                <a:gd name="connsiteY233" fmla="*/ 3330 h 10000"/>
                <a:gd name="connsiteX234" fmla="*/ 1779 w 10000"/>
                <a:gd name="connsiteY234" fmla="*/ 3358 h 10000"/>
                <a:gd name="connsiteX235" fmla="*/ 1815 w 10000"/>
                <a:gd name="connsiteY235" fmla="*/ 3479 h 10000"/>
                <a:gd name="connsiteX236" fmla="*/ 1700 w 10000"/>
                <a:gd name="connsiteY236" fmla="*/ 3982 h 10000"/>
                <a:gd name="connsiteX237" fmla="*/ 1815 w 10000"/>
                <a:gd name="connsiteY237" fmla="*/ 4110 h 10000"/>
                <a:gd name="connsiteX238" fmla="*/ 2131 w 10000"/>
                <a:gd name="connsiteY238" fmla="*/ 4251 h 10000"/>
                <a:gd name="connsiteX239" fmla="*/ 2145 w 10000"/>
                <a:gd name="connsiteY239" fmla="*/ 4423 h 10000"/>
                <a:gd name="connsiteX240" fmla="*/ 2010 w 10000"/>
                <a:gd name="connsiteY240" fmla="*/ 4566 h 10000"/>
                <a:gd name="connsiteX241" fmla="*/ 1815 w 10000"/>
                <a:gd name="connsiteY241" fmla="*/ 4652 h 10000"/>
                <a:gd name="connsiteX242" fmla="*/ 1557 w 10000"/>
                <a:gd name="connsiteY242" fmla="*/ 4687 h 10000"/>
                <a:gd name="connsiteX243" fmla="*/ 1490 w 10000"/>
                <a:gd name="connsiteY243" fmla="*/ 4737 h 10000"/>
                <a:gd name="connsiteX244" fmla="*/ 1640 w 10000"/>
                <a:gd name="connsiteY244" fmla="*/ 4855 h 10000"/>
                <a:gd name="connsiteX245" fmla="*/ 1726 w 10000"/>
                <a:gd name="connsiteY245" fmla="*/ 5136 h 10000"/>
                <a:gd name="connsiteX246" fmla="*/ 1531 w 10000"/>
                <a:gd name="connsiteY246" fmla="*/ 5376 h 10000"/>
                <a:gd name="connsiteX247" fmla="*/ 1599 w 10000"/>
                <a:gd name="connsiteY247" fmla="*/ 5451 h 10000"/>
                <a:gd name="connsiteX248" fmla="*/ 1537 w 10000"/>
                <a:gd name="connsiteY248" fmla="*/ 5577 h 10000"/>
                <a:gd name="connsiteX249" fmla="*/ 1412 w 10000"/>
                <a:gd name="connsiteY249" fmla="*/ 5663 h 10000"/>
                <a:gd name="connsiteX250" fmla="*/ 915 w 10000"/>
                <a:gd name="connsiteY250" fmla="*/ 5730 h 10000"/>
                <a:gd name="connsiteX251" fmla="*/ 885 w 10000"/>
                <a:gd name="connsiteY251" fmla="*/ 5846 h 10000"/>
                <a:gd name="connsiteX252" fmla="*/ 617 w 10000"/>
                <a:gd name="connsiteY252" fmla="*/ 6019 h 10000"/>
                <a:gd name="connsiteX253" fmla="*/ 652 w 10000"/>
                <a:gd name="connsiteY253" fmla="*/ 6268 h 10000"/>
                <a:gd name="connsiteX254" fmla="*/ 427 w 10000"/>
                <a:gd name="connsiteY254" fmla="*/ 6587 h 10000"/>
                <a:gd name="connsiteX255" fmla="*/ 274 w 10000"/>
                <a:gd name="connsiteY255" fmla="*/ 6624 h 10000"/>
                <a:gd name="connsiteX256" fmla="*/ 210 w 10000"/>
                <a:gd name="connsiteY256" fmla="*/ 6548 h 10000"/>
                <a:gd name="connsiteX257" fmla="*/ 132 w 10000"/>
                <a:gd name="connsiteY257" fmla="*/ 6663 h 10000"/>
                <a:gd name="connsiteX258" fmla="*/ 183 w 10000"/>
                <a:gd name="connsiteY258" fmla="*/ 6465 h 10000"/>
                <a:gd name="connsiteX259" fmla="*/ 151 w 10000"/>
                <a:gd name="connsiteY259"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8658 w 10000"/>
                <a:gd name="connsiteY207" fmla="*/ 1779 h 10000"/>
                <a:gd name="connsiteX208" fmla="*/ 9171 w 10000"/>
                <a:gd name="connsiteY208" fmla="*/ 1822 h 10000"/>
                <a:gd name="connsiteX209" fmla="*/ 8075 w 10000"/>
                <a:gd name="connsiteY209" fmla="*/ 1603 h 10000"/>
                <a:gd name="connsiteX210" fmla="*/ 8367 w 10000"/>
                <a:gd name="connsiteY210" fmla="*/ 1293 h 10000"/>
                <a:gd name="connsiteX211" fmla="*/ 7497 w 10000"/>
                <a:gd name="connsiteY211" fmla="*/ 923 h 10000"/>
                <a:gd name="connsiteX212" fmla="*/ 7377 w 10000"/>
                <a:gd name="connsiteY212" fmla="*/ 560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8658 w 10000"/>
                <a:gd name="connsiteY207" fmla="*/ 1779 h 10000"/>
                <a:gd name="connsiteX208" fmla="*/ 9713 w 10000"/>
                <a:gd name="connsiteY208" fmla="*/ 1720 h 10000"/>
                <a:gd name="connsiteX209" fmla="*/ 8075 w 10000"/>
                <a:gd name="connsiteY209" fmla="*/ 1603 h 10000"/>
                <a:gd name="connsiteX210" fmla="*/ 8367 w 10000"/>
                <a:gd name="connsiteY210" fmla="*/ 1293 h 10000"/>
                <a:gd name="connsiteX211" fmla="*/ 7497 w 10000"/>
                <a:gd name="connsiteY211" fmla="*/ 923 h 10000"/>
                <a:gd name="connsiteX212" fmla="*/ 7377 w 10000"/>
                <a:gd name="connsiteY212" fmla="*/ 560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277"/>
                <a:gd name="connsiteY0" fmla="*/ 6427 h 10000"/>
                <a:gd name="connsiteX1" fmla="*/ 0 w 10277"/>
                <a:gd name="connsiteY1" fmla="*/ 6530 h 10000"/>
                <a:gd name="connsiteX2" fmla="*/ 0 w 10277"/>
                <a:gd name="connsiteY2" fmla="*/ 7039 h 10000"/>
                <a:gd name="connsiteX3" fmla="*/ 83 w 10277"/>
                <a:gd name="connsiteY3" fmla="*/ 7053 h 10000"/>
                <a:gd name="connsiteX4" fmla="*/ 103 w 10277"/>
                <a:gd name="connsiteY4" fmla="*/ 7092 h 10000"/>
                <a:gd name="connsiteX5" fmla="*/ 99 w 10277"/>
                <a:gd name="connsiteY5" fmla="*/ 7161 h 10000"/>
                <a:gd name="connsiteX6" fmla="*/ 68 w 10277"/>
                <a:gd name="connsiteY6" fmla="*/ 7192 h 10000"/>
                <a:gd name="connsiteX7" fmla="*/ 195 w 10277"/>
                <a:gd name="connsiteY7" fmla="*/ 7133 h 10000"/>
                <a:gd name="connsiteX8" fmla="*/ 249 w 10277"/>
                <a:gd name="connsiteY8" fmla="*/ 7075 h 10000"/>
                <a:gd name="connsiteX9" fmla="*/ 315 w 10277"/>
                <a:gd name="connsiteY9" fmla="*/ 7115 h 10000"/>
                <a:gd name="connsiteX10" fmla="*/ 242 w 10277"/>
                <a:gd name="connsiteY10" fmla="*/ 7198 h 10000"/>
                <a:gd name="connsiteX11" fmla="*/ 320 w 10277"/>
                <a:gd name="connsiteY11" fmla="*/ 7200 h 10000"/>
                <a:gd name="connsiteX12" fmla="*/ 358 w 10277"/>
                <a:gd name="connsiteY12" fmla="*/ 7221 h 10000"/>
                <a:gd name="connsiteX13" fmla="*/ 257 w 10277"/>
                <a:gd name="connsiteY13" fmla="*/ 7248 h 10000"/>
                <a:gd name="connsiteX14" fmla="*/ 99 w 10277"/>
                <a:gd name="connsiteY14" fmla="*/ 7333 h 10000"/>
                <a:gd name="connsiteX15" fmla="*/ 381 w 10277"/>
                <a:gd name="connsiteY15" fmla="*/ 7400 h 10000"/>
                <a:gd name="connsiteX16" fmla="*/ 416 w 10277"/>
                <a:gd name="connsiteY16" fmla="*/ 7496 h 10000"/>
                <a:gd name="connsiteX17" fmla="*/ 320 w 10277"/>
                <a:gd name="connsiteY17" fmla="*/ 7636 h 10000"/>
                <a:gd name="connsiteX18" fmla="*/ 526 w 10277"/>
                <a:gd name="connsiteY18" fmla="*/ 7627 h 10000"/>
                <a:gd name="connsiteX19" fmla="*/ 541 w 10277"/>
                <a:gd name="connsiteY19" fmla="*/ 7733 h 10000"/>
                <a:gd name="connsiteX20" fmla="*/ 404 w 10277"/>
                <a:gd name="connsiteY20" fmla="*/ 7805 h 10000"/>
                <a:gd name="connsiteX21" fmla="*/ 427 w 10277"/>
                <a:gd name="connsiteY21" fmla="*/ 7945 h 10000"/>
                <a:gd name="connsiteX22" fmla="*/ 374 w 10277"/>
                <a:gd name="connsiteY22" fmla="*/ 8053 h 10000"/>
                <a:gd name="connsiteX23" fmla="*/ 536 w 10277"/>
                <a:gd name="connsiteY23" fmla="*/ 8063 h 10000"/>
                <a:gd name="connsiteX24" fmla="*/ 695 w 10277"/>
                <a:gd name="connsiteY24" fmla="*/ 8478 h 10000"/>
                <a:gd name="connsiteX25" fmla="*/ 878 w 10277"/>
                <a:gd name="connsiteY25" fmla="*/ 8583 h 10000"/>
                <a:gd name="connsiteX26" fmla="*/ 958 w 10277"/>
                <a:gd name="connsiteY26" fmla="*/ 8695 h 10000"/>
                <a:gd name="connsiteX27" fmla="*/ 1157 w 10277"/>
                <a:gd name="connsiteY27" fmla="*/ 8776 h 10000"/>
                <a:gd name="connsiteX28" fmla="*/ 1285 w 10277"/>
                <a:gd name="connsiteY28" fmla="*/ 8881 h 10000"/>
                <a:gd name="connsiteX29" fmla="*/ 1269 w 10277"/>
                <a:gd name="connsiteY29" fmla="*/ 8955 h 10000"/>
                <a:gd name="connsiteX30" fmla="*/ 1142 w 10277"/>
                <a:gd name="connsiteY30" fmla="*/ 8983 h 10000"/>
                <a:gd name="connsiteX31" fmla="*/ 1004 w 10277"/>
                <a:gd name="connsiteY31" fmla="*/ 8965 h 10000"/>
                <a:gd name="connsiteX32" fmla="*/ 962 w 10277"/>
                <a:gd name="connsiteY32" fmla="*/ 8996 h 10000"/>
                <a:gd name="connsiteX33" fmla="*/ 1067 w 10277"/>
                <a:gd name="connsiteY33" fmla="*/ 9158 h 10000"/>
                <a:gd name="connsiteX34" fmla="*/ 920 w 10277"/>
                <a:gd name="connsiteY34" fmla="*/ 9144 h 10000"/>
                <a:gd name="connsiteX35" fmla="*/ 795 w 10277"/>
                <a:gd name="connsiteY35" fmla="*/ 9105 h 10000"/>
                <a:gd name="connsiteX36" fmla="*/ 772 w 10277"/>
                <a:gd name="connsiteY36" fmla="*/ 9165 h 10000"/>
                <a:gd name="connsiteX37" fmla="*/ 1188 w 10277"/>
                <a:gd name="connsiteY37" fmla="*/ 9718 h 10000"/>
                <a:gd name="connsiteX38" fmla="*/ 1122 w 10277"/>
                <a:gd name="connsiteY38" fmla="*/ 9770 h 10000"/>
                <a:gd name="connsiteX39" fmla="*/ 1075 w 10277"/>
                <a:gd name="connsiteY39" fmla="*/ 9876 h 10000"/>
                <a:gd name="connsiteX40" fmla="*/ 1015 w 10277"/>
                <a:gd name="connsiteY40" fmla="*/ 9885 h 10000"/>
                <a:gd name="connsiteX41" fmla="*/ 978 w 10277"/>
                <a:gd name="connsiteY41" fmla="*/ 9931 h 10000"/>
                <a:gd name="connsiteX42" fmla="*/ 1229 w 10277"/>
                <a:gd name="connsiteY42" fmla="*/ 9936 h 10000"/>
                <a:gd name="connsiteX43" fmla="*/ 1451 w 10277"/>
                <a:gd name="connsiteY43" fmla="*/ 9982 h 10000"/>
                <a:gd name="connsiteX44" fmla="*/ 1820 w 10277"/>
                <a:gd name="connsiteY44" fmla="*/ 9933 h 10000"/>
                <a:gd name="connsiteX45" fmla="*/ 2151 w 10277"/>
                <a:gd name="connsiteY45" fmla="*/ 9941 h 10000"/>
                <a:gd name="connsiteX46" fmla="*/ 2346 w 10277"/>
                <a:gd name="connsiteY46" fmla="*/ 10000 h 10000"/>
                <a:gd name="connsiteX47" fmla="*/ 2454 w 10277"/>
                <a:gd name="connsiteY47" fmla="*/ 9961 h 10000"/>
                <a:gd name="connsiteX48" fmla="*/ 2557 w 10277"/>
                <a:gd name="connsiteY48" fmla="*/ 9834 h 10000"/>
                <a:gd name="connsiteX49" fmla="*/ 2530 w 10277"/>
                <a:gd name="connsiteY49" fmla="*/ 9625 h 10000"/>
                <a:gd name="connsiteX50" fmla="*/ 2782 w 10277"/>
                <a:gd name="connsiteY50" fmla="*/ 9392 h 10000"/>
                <a:gd name="connsiteX51" fmla="*/ 2966 w 10277"/>
                <a:gd name="connsiteY51" fmla="*/ 9428 h 10000"/>
                <a:gd name="connsiteX52" fmla="*/ 3073 w 10277"/>
                <a:gd name="connsiteY52" fmla="*/ 9335 h 10000"/>
                <a:gd name="connsiteX53" fmla="*/ 3278 w 10277"/>
                <a:gd name="connsiteY53" fmla="*/ 9282 h 10000"/>
                <a:gd name="connsiteX54" fmla="*/ 3557 w 10277"/>
                <a:gd name="connsiteY54" fmla="*/ 9295 h 10000"/>
                <a:gd name="connsiteX55" fmla="*/ 3724 w 10277"/>
                <a:gd name="connsiteY55" fmla="*/ 9332 h 10000"/>
                <a:gd name="connsiteX56" fmla="*/ 3948 w 10277"/>
                <a:gd name="connsiteY56" fmla="*/ 9315 h 10000"/>
                <a:gd name="connsiteX57" fmla="*/ 4173 w 10277"/>
                <a:gd name="connsiteY57" fmla="*/ 9356 h 10000"/>
                <a:gd name="connsiteX58" fmla="*/ 4398 w 10277"/>
                <a:gd name="connsiteY58" fmla="*/ 9361 h 10000"/>
                <a:gd name="connsiteX59" fmla="*/ 4902 w 10277"/>
                <a:gd name="connsiteY59" fmla="*/ 8817 h 10000"/>
                <a:gd name="connsiteX60" fmla="*/ 5030 w 10277"/>
                <a:gd name="connsiteY60" fmla="*/ 8375 h 10000"/>
                <a:gd name="connsiteX61" fmla="*/ 5235 w 10277"/>
                <a:gd name="connsiteY61" fmla="*/ 8177 h 10000"/>
                <a:gd name="connsiteX62" fmla="*/ 5235 w 10277"/>
                <a:gd name="connsiteY62" fmla="*/ 8073 h 10000"/>
                <a:gd name="connsiteX63" fmla="*/ 5160 w 10277"/>
                <a:gd name="connsiteY63" fmla="*/ 8015 h 10000"/>
                <a:gd name="connsiteX64" fmla="*/ 5281 w 10277"/>
                <a:gd name="connsiteY64" fmla="*/ 7922 h 10000"/>
                <a:gd name="connsiteX65" fmla="*/ 5259 w 10277"/>
                <a:gd name="connsiteY65" fmla="*/ 7844 h 10000"/>
                <a:gd name="connsiteX66" fmla="*/ 5177 w 10277"/>
                <a:gd name="connsiteY66" fmla="*/ 7776 h 10000"/>
                <a:gd name="connsiteX67" fmla="*/ 5160 w 10277"/>
                <a:gd name="connsiteY67" fmla="*/ 7728 h 10000"/>
                <a:gd name="connsiteX68" fmla="*/ 5181 w 10277"/>
                <a:gd name="connsiteY68" fmla="*/ 7691 h 10000"/>
                <a:gd name="connsiteX69" fmla="*/ 5292 w 10277"/>
                <a:gd name="connsiteY69" fmla="*/ 7721 h 10000"/>
                <a:gd name="connsiteX70" fmla="*/ 5381 w 10277"/>
                <a:gd name="connsiteY70" fmla="*/ 7719 h 10000"/>
                <a:gd name="connsiteX71" fmla="*/ 5333 w 10277"/>
                <a:gd name="connsiteY71" fmla="*/ 7655 h 10000"/>
                <a:gd name="connsiteX72" fmla="*/ 5348 w 10277"/>
                <a:gd name="connsiteY72" fmla="*/ 7619 h 10000"/>
                <a:gd name="connsiteX73" fmla="*/ 5414 w 10277"/>
                <a:gd name="connsiteY73" fmla="*/ 7565 h 10000"/>
                <a:gd name="connsiteX74" fmla="*/ 5401 w 10277"/>
                <a:gd name="connsiteY74" fmla="*/ 7521 h 10000"/>
                <a:gd name="connsiteX75" fmla="*/ 5462 w 10277"/>
                <a:gd name="connsiteY75" fmla="*/ 7373 h 10000"/>
                <a:gd name="connsiteX76" fmla="*/ 5445 w 10277"/>
                <a:gd name="connsiteY76" fmla="*/ 7327 h 10000"/>
                <a:gd name="connsiteX77" fmla="*/ 5140 w 10277"/>
                <a:gd name="connsiteY77" fmla="*/ 7216 h 10000"/>
                <a:gd name="connsiteX78" fmla="*/ 5181 w 10277"/>
                <a:gd name="connsiteY78" fmla="*/ 7211 h 10000"/>
                <a:gd name="connsiteX79" fmla="*/ 5344 w 10277"/>
                <a:gd name="connsiteY79" fmla="*/ 7241 h 10000"/>
                <a:gd name="connsiteX80" fmla="*/ 5520 w 10277"/>
                <a:gd name="connsiteY80" fmla="*/ 7230 h 10000"/>
                <a:gd name="connsiteX81" fmla="*/ 5571 w 10277"/>
                <a:gd name="connsiteY81" fmla="*/ 7189 h 10000"/>
                <a:gd name="connsiteX82" fmla="*/ 5401 w 10277"/>
                <a:gd name="connsiteY82" fmla="*/ 7113 h 10000"/>
                <a:gd name="connsiteX83" fmla="*/ 4898 w 10277"/>
                <a:gd name="connsiteY83" fmla="*/ 7062 h 10000"/>
                <a:gd name="connsiteX84" fmla="*/ 4932 w 10277"/>
                <a:gd name="connsiteY84" fmla="*/ 7039 h 10000"/>
                <a:gd name="connsiteX85" fmla="*/ 5344 w 10277"/>
                <a:gd name="connsiteY85" fmla="*/ 7023 h 10000"/>
                <a:gd name="connsiteX86" fmla="*/ 5571 w 10277"/>
                <a:gd name="connsiteY86" fmla="*/ 7069 h 10000"/>
                <a:gd name="connsiteX87" fmla="*/ 5702 w 10277"/>
                <a:gd name="connsiteY87" fmla="*/ 7039 h 10000"/>
                <a:gd name="connsiteX88" fmla="*/ 5750 w 10277"/>
                <a:gd name="connsiteY88" fmla="*/ 6959 h 10000"/>
                <a:gd name="connsiteX89" fmla="*/ 5987 w 10277"/>
                <a:gd name="connsiteY89" fmla="*/ 6959 h 10000"/>
                <a:gd name="connsiteX90" fmla="*/ 6308 w 10277"/>
                <a:gd name="connsiteY90" fmla="*/ 6799 h 10000"/>
                <a:gd name="connsiteX91" fmla="*/ 6319 w 10277"/>
                <a:gd name="connsiteY91" fmla="*/ 6693 h 10000"/>
                <a:gd name="connsiteX92" fmla="*/ 6455 w 10277"/>
                <a:gd name="connsiteY92" fmla="*/ 6718 h 10000"/>
                <a:gd name="connsiteX93" fmla="*/ 6449 w 10277"/>
                <a:gd name="connsiteY93" fmla="*/ 6824 h 10000"/>
                <a:gd name="connsiteX94" fmla="*/ 6665 w 10277"/>
                <a:gd name="connsiteY94" fmla="*/ 6817 h 10000"/>
                <a:gd name="connsiteX95" fmla="*/ 6807 w 10277"/>
                <a:gd name="connsiteY95" fmla="*/ 6707 h 10000"/>
                <a:gd name="connsiteX96" fmla="*/ 7070 w 10277"/>
                <a:gd name="connsiteY96" fmla="*/ 6607 h 10000"/>
                <a:gd name="connsiteX97" fmla="*/ 7029 w 10277"/>
                <a:gd name="connsiteY97" fmla="*/ 6493 h 10000"/>
                <a:gd name="connsiteX98" fmla="*/ 7107 w 10277"/>
                <a:gd name="connsiteY98" fmla="*/ 6538 h 10000"/>
                <a:gd name="connsiteX99" fmla="*/ 7227 w 10277"/>
                <a:gd name="connsiteY99" fmla="*/ 6538 h 10000"/>
                <a:gd name="connsiteX100" fmla="*/ 7227 w 10277"/>
                <a:gd name="connsiteY100" fmla="*/ 6486 h 10000"/>
                <a:gd name="connsiteX101" fmla="*/ 7340 w 10277"/>
                <a:gd name="connsiteY101" fmla="*/ 6446 h 10000"/>
                <a:gd name="connsiteX102" fmla="*/ 7324 w 10277"/>
                <a:gd name="connsiteY102" fmla="*/ 6405 h 10000"/>
                <a:gd name="connsiteX103" fmla="*/ 6377 w 10277"/>
                <a:gd name="connsiteY103" fmla="*/ 6488 h 10000"/>
                <a:gd name="connsiteX104" fmla="*/ 6155 w 10277"/>
                <a:gd name="connsiteY104" fmla="*/ 6463 h 10000"/>
                <a:gd name="connsiteX105" fmla="*/ 6065 w 10277"/>
                <a:gd name="connsiteY105" fmla="*/ 6493 h 10000"/>
                <a:gd name="connsiteX106" fmla="*/ 6035 w 10277"/>
                <a:gd name="connsiteY106" fmla="*/ 6436 h 10000"/>
                <a:gd name="connsiteX107" fmla="*/ 5930 w 10277"/>
                <a:gd name="connsiteY107" fmla="*/ 6384 h 10000"/>
                <a:gd name="connsiteX108" fmla="*/ 5508 w 10277"/>
                <a:gd name="connsiteY108" fmla="*/ 6282 h 10000"/>
                <a:gd name="connsiteX109" fmla="*/ 5259 w 10277"/>
                <a:gd name="connsiteY109" fmla="*/ 6298 h 10000"/>
                <a:gd name="connsiteX110" fmla="*/ 5160 w 10277"/>
                <a:gd name="connsiteY110" fmla="*/ 6270 h 10000"/>
                <a:gd name="connsiteX111" fmla="*/ 5265 w 10277"/>
                <a:gd name="connsiteY111" fmla="*/ 6245 h 10000"/>
                <a:gd name="connsiteX112" fmla="*/ 5344 w 10277"/>
                <a:gd name="connsiteY112" fmla="*/ 6190 h 10000"/>
                <a:gd name="connsiteX113" fmla="*/ 5462 w 10277"/>
                <a:gd name="connsiteY113" fmla="*/ 6208 h 10000"/>
                <a:gd name="connsiteX114" fmla="*/ 5602 w 10277"/>
                <a:gd name="connsiteY114" fmla="*/ 6193 h 10000"/>
                <a:gd name="connsiteX115" fmla="*/ 5813 w 10277"/>
                <a:gd name="connsiteY115" fmla="*/ 6211 h 10000"/>
                <a:gd name="connsiteX116" fmla="*/ 5838 w 10277"/>
                <a:gd name="connsiteY116" fmla="*/ 6204 h 10000"/>
                <a:gd name="connsiteX117" fmla="*/ 6002 w 10277"/>
                <a:gd name="connsiteY117" fmla="*/ 6287 h 10000"/>
                <a:gd name="connsiteX118" fmla="*/ 6122 w 10277"/>
                <a:gd name="connsiteY118" fmla="*/ 6257 h 10000"/>
                <a:gd name="connsiteX119" fmla="*/ 6133 w 10277"/>
                <a:gd name="connsiteY119" fmla="*/ 6229 h 10000"/>
                <a:gd name="connsiteX120" fmla="*/ 6244 w 10277"/>
                <a:gd name="connsiteY120" fmla="*/ 6278 h 10000"/>
                <a:gd name="connsiteX121" fmla="*/ 6391 w 10277"/>
                <a:gd name="connsiteY121" fmla="*/ 6304 h 10000"/>
                <a:gd name="connsiteX122" fmla="*/ 6449 w 10277"/>
                <a:gd name="connsiteY122" fmla="*/ 6255 h 10000"/>
                <a:gd name="connsiteX123" fmla="*/ 6496 w 10277"/>
                <a:gd name="connsiteY123" fmla="*/ 6282 h 10000"/>
                <a:gd name="connsiteX124" fmla="*/ 6565 w 10277"/>
                <a:gd name="connsiteY124" fmla="*/ 6377 h 10000"/>
                <a:gd name="connsiteX125" fmla="*/ 6707 w 10277"/>
                <a:gd name="connsiteY125" fmla="*/ 6399 h 10000"/>
                <a:gd name="connsiteX126" fmla="*/ 7286 w 10277"/>
                <a:gd name="connsiteY126" fmla="*/ 6259 h 10000"/>
                <a:gd name="connsiteX127" fmla="*/ 7571 w 10277"/>
                <a:gd name="connsiteY127" fmla="*/ 6064 h 10000"/>
                <a:gd name="connsiteX128" fmla="*/ 7637 w 10277"/>
                <a:gd name="connsiteY128" fmla="*/ 5921 h 10000"/>
                <a:gd name="connsiteX129" fmla="*/ 7534 w 10277"/>
                <a:gd name="connsiteY129" fmla="*/ 5792 h 10000"/>
                <a:gd name="connsiteX130" fmla="*/ 7318 w 10277"/>
                <a:gd name="connsiteY130" fmla="*/ 5715 h 10000"/>
                <a:gd name="connsiteX131" fmla="*/ 7164 w 10277"/>
                <a:gd name="connsiteY131" fmla="*/ 5589 h 10000"/>
                <a:gd name="connsiteX132" fmla="*/ 7307 w 10277"/>
                <a:gd name="connsiteY132" fmla="*/ 5584 h 10000"/>
                <a:gd name="connsiteX133" fmla="*/ 7297 w 10277"/>
                <a:gd name="connsiteY133" fmla="*/ 5554 h 10000"/>
                <a:gd name="connsiteX134" fmla="*/ 6925 w 10277"/>
                <a:gd name="connsiteY134" fmla="*/ 5465 h 10000"/>
                <a:gd name="connsiteX135" fmla="*/ 6909 w 10277"/>
                <a:gd name="connsiteY135" fmla="*/ 5383 h 10000"/>
                <a:gd name="connsiteX136" fmla="*/ 6837 w 10277"/>
                <a:gd name="connsiteY136" fmla="*/ 5299 h 10000"/>
                <a:gd name="connsiteX137" fmla="*/ 6543 w 10277"/>
                <a:gd name="connsiteY137" fmla="*/ 5314 h 10000"/>
                <a:gd name="connsiteX138" fmla="*/ 6438 w 10277"/>
                <a:gd name="connsiteY138" fmla="*/ 5224 h 10000"/>
                <a:gd name="connsiteX139" fmla="*/ 6377 w 10277"/>
                <a:gd name="connsiteY139" fmla="*/ 5219 h 10000"/>
                <a:gd name="connsiteX140" fmla="*/ 6377 w 10277"/>
                <a:gd name="connsiteY140" fmla="*/ 5256 h 10000"/>
                <a:gd name="connsiteX141" fmla="*/ 6244 w 10277"/>
                <a:gd name="connsiteY141" fmla="*/ 5408 h 10000"/>
                <a:gd name="connsiteX142" fmla="*/ 6101 w 10277"/>
                <a:gd name="connsiteY142" fmla="*/ 5498 h 10000"/>
                <a:gd name="connsiteX143" fmla="*/ 5653 w 10277"/>
                <a:gd name="connsiteY143" fmla="*/ 5651 h 10000"/>
                <a:gd name="connsiteX144" fmla="*/ 5496 w 10277"/>
                <a:gd name="connsiteY144" fmla="*/ 5646 h 10000"/>
                <a:gd name="connsiteX145" fmla="*/ 5281 w 10277"/>
                <a:gd name="connsiteY145" fmla="*/ 5669 h 10000"/>
                <a:gd name="connsiteX146" fmla="*/ 5160 w 10277"/>
                <a:gd name="connsiteY146" fmla="*/ 5646 h 10000"/>
                <a:gd name="connsiteX147" fmla="*/ 5318 w 10277"/>
                <a:gd name="connsiteY147" fmla="*/ 5604 h 10000"/>
                <a:gd name="connsiteX148" fmla="*/ 5524 w 10277"/>
                <a:gd name="connsiteY148" fmla="*/ 5584 h 10000"/>
                <a:gd name="connsiteX149" fmla="*/ 5693 w 10277"/>
                <a:gd name="connsiteY149" fmla="*/ 5513 h 10000"/>
                <a:gd name="connsiteX150" fmla="*/ 5859 w 10277"/>
                <a:gd name="connsiteY150" fmla="*/ 5480 h 10000"/>
                <a:gd name="connsiteX151" fmla="*/ 6171 w 10277"/>
                <a:gd name="connsiteY151" fmla="*/ 5355 h 10000"/>
                <a:gd name="connsiteX152" fmla="*/ 6230 w 10277"/>
                <a:gd name="connsiteY152" fmla="*/ 5274 h 10000"/>
                <a:gd name="connsiteX153" fmla="*/ 6235 w 10277"/>
                <a:gd name="connsiteY153" fmla="*/ 5168 h 10000"/>
                <a:gd name="connsiteX154" fmla="*/ 6092 w 10277"/>
                <a:gd name="connsiteY154" fmla="*/ 5150 h 10000"/>
                <a:gd name="connsiteX155" fmla="*/ 6155 w 10277"/>
                <a:gd name="connsiteY155" fmla="*/ 5086 h 10000"/>
                <a:gd name="connsiteX156" fmla="*/ 6175 w 10277"/>
                <a:gd name="connsiteY156" fmla="*/ 5005 h 10000"/>
                <a:gd name="connsiteX157" fmla="*/ 6115 w 10277"/>
                <a:gd name="connsiteY157" fmla="*/ 4928 h 10000"/>
                <a:gd name="connsiteX158" fmla="*/ 6081 w 10277"/>
                <a:gd name="connsiteY158" fmla="*/ 4367 h 10000"/>
                <a:gd name="connsiteX159" fmla="*/ 6166 w 10277"/>
                <a:gd name="connsiteY159" fmla="*/ 4246 h 10000"/>
                <a:gd name="connsiteX160" fmla="*/ 6144 w 10277"/>
                <a:gd name="connsiteY160" fmla="*/ 4198 h 10000"/>
                <a:gd name="connsiteX161" fmla="*/ 6391 w 10277"/>
                <a:gd name="connsiteY161" fmla="*/ 4269 h 10000"/>
                <a:gd name="connsiteX162" fmla="*/ 6408 w 10277"/>
                <a:gd name="connsiteY162" fmla="*/ 4202 h 10000"/>
                <a:gd name="connsiteX163" fmla="*/ 6354 w 10277"/>
                <a:gd name="connsiteY163" fmla="*/ 4029 h 10000"/>
                <a:gd name="connsiteX164" fmla="*/ 6532 w 10277"/>
                <a:gd name="connsiteY164" fmla="*/ 3719 h 10000"/>
                <a:gd name="connsiteX165" fmla="*/ 6423 w 10277"/>
                <a:gd name="connsiteY165" fmla="*/ 3645 h 10000"/>
                <a:gd name="connsiteX166" fmla="*/ 6381 w 10277"/>
                <a:gd name="connsiteY166" fmla="*/ 3576 h 10000"/>
                <a:gd name="connsiteX167" fmla="*/ 6395 w 10277"/>
                <a:gd name="connsiteY167" fmla="*/ 3463 h 10000"/>
                <a:gd name="connsiteX168" fmla="*/ 6656 w 10277"/>
                <a:gd name="connsiteY168" fmla="*/ 3538 h 10000"/>
                <a:gd name="connsiteX169" fmla="*/ 6665 w 10277"/>
                <a:gd name="connsiteY169" fmla="*/ 3516 h 10000"/>
                <a:gd name="connsiteX170" fmla="*/ 6737 w 10277"/>
                <a:gd name="connsiteY170" fmla="*/ 3497 h 10000"/>
                <a:gd name="connsiteX171" fmla="*/ 6837 w 10277"/>
                <a:gd name="connsiteY171" fmla="*/ 3424 h 10000"/>
                <a:gd name="connsiteX172" fmla="*/ 6854 w 10277"/>
                <a:gd name="connsiteY172" fmla="*/ 3404 h 10000"/>
                <a:gd name="connsiteX173" fmla="*/ 6832 w 10277"/>
                <a:gd name="connsiteY173" fmla="*/ 3377 h 10000"/>
                <a:gd name="connsiteX174" fmla="*/ 6886 w 10277"/>
                <a:gd name="connsiteY174" fmla="*/ 3250 h 10000"/>
                <a:gd name="connsiteX175" fmla="*/ 6822 w 10277"/>
                <a:gd name="connsiteY175" fmla="*/ 3167 h 10000"/>
                <a:gd name="connsiteX176" fmla="*/ 6832 w 10277"/>
                <a:gd name="connsiteY176" fmla="*/ 3101 h 10000"/>
                <a:gd name="connsiteX177" fmla="*/ 6868 w 10277"/>
                <a:gd name="connsiteY177" fmla="*/ 3178 h 10000"/>
                <a:gd name="connsiteX178" fmla="*/ 7011 w 10277"/>
                <a:gd name="connsiteY178" fmla="*/ 3236 h 10000"/>
                <a:gd name="connsiteX179" fmla="*/ 7070 w 10277"/>
                <a:gd name="connsiteY179" fmla="*/ 3229 h 10000"/>
                <a:gd name="connsiteX180" fmla="*/ 7164 w 10277"/>
                <a:gd name="connsiteY180" fmla="*/ 3152 h 10000"/>
                <a:gd name="connsiteX181" fmla="*/ 7265 w 10277"/>
                <a:gd name="connsiteY181" fmla="*/ 3183 h 10000"/>
                <a:gd name="connsiteX182" fmla="*/ 7292 w 10277"/>
                <a:gd name="connsiteY182" fmla="*/ 3122 h 10000"/>
                <a:gd name="connsiteX183" fmla="*/ 7360 w 10277"/>
                <a:gd name="connsiteY183" fmla="*/ 3080 h 10000"/>
                <a:gd name="connsiteX184" fmla="*/ 7175 w 10277"/>
                <a:gd name="connsiteY184" fmla="*/ 3036 h 10000"/>
                <a:gd name="connsiteX185" fmla="*/ 7307 w 10277"/>
                <a:gd name="connsiteY185" fmla="*/ 3045 h 10000"/>
                <a:gd name="connsiteX186" fmla="*/ 7442 w 10277"/>
                <a:gd name="connsiteY186" fmla="*/ 2999 h 10000"/>
                <a:gd name="connsiteX187" fmla="*/ 7437 w 10277"/>
                <a:gd name="connsiteY187" fmla="*/ 2966 h 10000"/>
                <a:gd name="connsiteX188" fmla="*/ 7565 w 10277"/>
                <a:gd name="connsiteY188" fmla="*/ 2936 h 10000"/>
                <a:gd name="connsiteX189" fmla="*/ 7576 w 10277"/>
                <a:gd name="connsiteY189" fmla="*/ 2859 h 10000"/>
                <a:gd name="connsiteX190" fmla="*/ 7676 w 10277"/>
                <a:gd name="connsiteY190" fmla="*/ 2844 h 10000"/>
                <a:gd name="connsiteX191" fmla="*/ 7684 w 10277"/>
                <a:gd name="connsiteY191" fmla="*/ 2754 h 10000"/>
                <a:gd name="connsiteX192" fmla="*/ 7790 w 10277"/>
                <a:gd name="connsiteY192" fmla="*/ 2743 h 10000"/>
                <a:gd name="connsiteX193" fmla="*/ 7953 w 10277"/>
                <a:gd name="connsiteY193" fmla="*/ 2762 h 10000"/>
                <a:gd name="connsiteX194" fmla="*/ 8132 w 10277"/>
                <a:gd name="connsiteY194" fmla="*/ 2690 h 10000"/>
                <a:gd name="connsiteX195" fmla="*/ 8195 w 10277"/>
                <a:gd name="connsiteY195" fmla="*/ 2607 h 10000"/>
                <a:gd name="connsiteX196" fmla="*/ 8417 w 10277"/>
                <a:gd name="connsiteY196" fmla="*/ 2524 h 10000"/>
                <a:gd name="connsiteX197" fmla="*/ 8527 w 10277"/>
                <a:gd name="connsiteY197" fmla="*/ 2575 h 10000"/>
                <a:gd name="connsiteX198" fmla="*/ 8695 w 10277"/>
                <a:gd name="connsiteY198" fmla="*/ 2519 h 10000"/>
                <a:gd name="connsiteX199" fmla="*/ 8736 w 10277"/>
                <a:gd name="connsiteY199" fmla="*/ 2445 h 10000"/>
                <a:gd name="connsiteX200" fmla="*/ 8864 w 10277"/>
                <a:gd name="connsiteY200" fmla="*/ 2396 h 10000"/>
                <a:gd name="connsiteX201" fmla="*/ 8973 w 10277"/>
                <a:gd name="connsiteY201" fmla="*/ 2418 h 10000"/>
                <a:gd name="connsiteX202" fmla="*/ 9042 w 10277"/>
                <a:gd name="connsiteY202" fmla="*/ 2381 h 10000"/>
                <a:gd name="connsiteX203" fmla="*/ 9231 w 10277"/>
                <a:gd name="connsiteY203" fmla="*/ 2330 h 10000"/>
                <a:gd name="connsiteX204" fmla="*/ 9310 w 10277"/>
                <a:gd name="connsiteY204" fmla="*/ 2263 h 10000"/>
                <a:gd name="connsiteX205" fmla="*/ 9417 w 10277"/>
                <a:gd name="connsiteY205" fmla="*/ 2235 h 10000"/>
                <a:gd name="connsiteX206" fmla="*/ 10000 w 10277"/>
                <a:gd name="connsiteY206" fmla="*/ 1832 h 10000"/>
                <a:gd name="connsiteX207" fmla="*/ 10277 w 10277"/>
                <a:gd name="connsiteY207" fmla="*/ 1829 h 10000"/>
                <a:gd name="connsiteX208" fmla="*/ 9713 w 10277"/>
                <a:gd name="connsiteY208" fmla="*/ 1720 h 10000"/>
                <a:gd name="connsiteX209" fmla="*/ 8075 w 10277"/>
                <a:gd name="connsiteY209" fmla="*/ 1603 h 10000"/>
                <a:gd name="connsiteX210" fmla="*/ 8367 w 10277"/>
                <a:gd name="connsiteY210" fmla="*/ 1293 h 10000"/>
                <a:gd name="connsiteX211" fmla="*/ 7497 w 10277"/>
                <a:gd name="connsiteY211" fmla="*/ 923 h 10000"/>
                <a:gd name="connsiteX212" fmla="*/ 7377 w 10277"/>
                <a:gd name="connsiteY212" fmla="*/ 560 h 10000"/>
                <a:gd name="connsiteX213" fmla="*/ 7012 w 10277"/>
                <a:gd name="connsiteY213" fmla="*/ 590 h 10000"/>
                <a:gd name="connsiteX214" fmla="*/ 6413 w 10277"/>
                <a:gd name="connsiteY214" fmla="*/ 332 h 10000"/>
                <a:gd name="connsiteX215" fmla="*/ 5098 w 10277"/>
                <a:gd name="connsiteY215" fmla="*/ 0 h 10000"/>
                <a:gd name="connsiteX216" fmla="*/ 4837 w 10277"/>
                <a:gd name="connsiteY216" fmla="*/ 82 h 10000"/>
                <a:gd name="connsiteX217" fmla="*/ 4671 w 10277"/>
                <a:gd name="connsiteY217" fmla="*/ 78 h 10000"/>
                <a:gd name="connsiteX218" fmla="*/ 4571 w 10277"/>
                <a:gd name="connsiteY218" fmla="*/ 107 h 10000"/>
                <a:gd name="connsiteX219" fmla="*/ 4298 w 10277"/>
                <a:gd name="connsiteY219" fmla="*/ 913 h 10000"/>
                <a:gd name="connsiteX220" fmla="*/ 3668 w 10277"/>
                <a:gd name="connsiteY220" fmla="*/ 1383 h 10000"/>
                <a:gd name="connsiteX221" fmla="*/ 3672 w 10277"/>
                <a:gd name="connsiteY221" fmla="*/ 1457 h 10000"/>
                <a:gd name="connsiteX222" fmla="*/ 3952 w 10277"/>
                <a:gd name="connsiteY222" fmla="*/ 1668 h 10000"/>
                <a:gd name="connsiteX223" fmla="*/ 3861 w 10277"/>
                <a:gd name="connsiteY223" fmla="*/ 1896 h 10000"/>
                <a:gd name="connsiteX224" fmla="*/ 3698 w 10277"/>
                <a:gd name="connsiteY224" fmla="*/ 1979 h 10000"/>
                <a:gd name="connsiteX225" fmla="*/ 3208 w 10277"/>
                <a:gd name="connsiteY225" fmla="*/ 1924 h 10000"/>
                <a:gd name="connsiteX226" fmla="*/ 2871 w 10277"/>
                <a:gd name="connsiteY226" fmla="*/ 1955 h 10000"/>
                <a:gd name="connsiteX227" fmla="*/ 2601 w 10277"/>
                <a:gd name="connsiteY227" fmla="*/ 2023 h 10000"/>
                <a:gd name="connsiteX228" fmla="*/ 2163 w 10277"/>
                <a:gd name="connsiteY228" fmla="*/ 2233 h 10000"/>
                <a:gd name="connsiteX229" fmla="*/ 1931 w 10277"/>
                <a:gd name="connsiteY229" fmla="*/ 2487 h 10000"/>
                <a:gd name="connsiteX230" fmla="*/ 1951 w 10277"/>
                <a:gd name="connsiteY230" fmla="*/ 2629 h 10000"/>
                <a:gd name="connsiteX231" fmla="*/ 2032 w 10277"/>
                <a:gd name="connsiteY231" fmla="*/ 2738 h 10000"/>
                <a:gd name="connsiteX232" fmla="*/ 2093 w 10277"/>
                <a:gd name="connsiteY232" fmla="*/ 2782 h 10000"/>
                <a:gd name="connsiteX233" fmla="*/ 1979 w 10277"/>
                <a:gd name="connsiteY233" fmla="*/ 2852 h 10000"/>
                <a:gd name="connsiteX234" fmla="*/ 1731 w 10277"/>
                <a:gd name="connsiteY234" fmla="*/ 3330 h 10000"/>
                <a:gd name="connsiteX235" fmla="*/ 1779 w 10277"/>
                <a:gd name="connsiteY235" fmla="*/ 3358 h 10000"/>
                <a:gd name="connsiteX236" fmla="*/ 1815 w 10277"/>
                <a:gd name="connsiteY236" fmla="*/ 3479 h 10000"/>
                <a:gd name="connsiteX237" fmla="*/ 1700 w 10277"/>
                <a:gd name="connsiteY237" fmla="*/ 3982 h 10000"/>
                <a:gd name="connsiteX238" fmla="*/ 1815 w 10277"/>
                <a:gd name="connsiteY238" fmla="*/ 4110 h 10000"/>
                <a:gd name="connsiteX239" fmla="*/ 2131 w 10277"/>
                <a:gd name="connsiteY239" fmla="*/ 4251 h 10000"/>
                <a:gd name="connsiteX240" fmla="*/ 2145 w 10277"/>
                <a:gd name="connsiteY240" fmla="*/ 4423 h 10000"/>
                <a:gd name="connsiteX241" fmla="*/ 2010 w 10277"/>
                <a:gd name="connsiteY241" fmla="*/ 4566 h 10000"/>
                <a:gd name="connsiteX242" fmla="*/ 1815 w 10277"/>
                <a:gd name="connsiteY242" fmla="*/ 4652 h 10000"/>
                <a:gd name="connsiteX243" fmla="*/ 1557 w 10277"/>
                <a:gd name="connsiteY243" fmla="*/ 4687 h 10000"/>
                <a:gd name="connsiteX244" fmla="*/ 1490 w 10277"/>
                <a:gd name="connsiteY244" fmla="*/ 4737 h 10000"/>
                <a:gd name="connsiteX245" fmla="*/ 1640 w 10277"/>
                <a:gd name="connsiteY245" fmla="*/ 4855 h 10000"/>
                <a:gd name="connsiteX246" fmla="*/ 1726 w 10277"/>
                <a:gd name="connsiteY246" fmla="*/ 5136 h 10000"/>
                <a:gd name="connsiteX247" fmla="*/ 1531 w 10277"/>
                <a:gd name="connsiteY247" fmla="*/ 5376 h 10000"/>
                <a:gd name="connsiteX248" fmla="*/ 1599 w 10277"/>
                <a:gd name="connsiteY248" fmla="*/ 5451 h 10000"/>
                <a:gd name="connsiteX249" fmla="*/ 1537 w 10277"/>
                <a:gd name="connsiteY249" fmla="*/ 5577 h 10000"/>
                <a:gd name="connsiteX250" fmla="*/ 1412 w 10277"/>
                <a:gd name="connsiteY250" fmla="*/ 5663 h 10000"/>
                <a:gd name="connsiteX251" fmla="*/ 915 w 10277"/>
                <a:gd name="connsiteY251" fmla="*/ 5730 h 10000"/>
                <a:gd name="connsiteX252" fmla="*/ 885 w 10277"/>
                <a:gd name="connsiteY252" fmla="*/ 5846 h 10000"/>
                <a:gd name="connsiteX253" fmla="*/ 617 w 10277"/>
                <a:gd name="connsiteY253" fmla="*/ 6019 h 10000"/>
                <a:gd name="connsiteX254" fmla="*/ 652 w 10277"/>
                <a:gd name="connsiteY254" fmla="*/ 6268 h 10000"/>
                <a:gd name="connsiteX255" fmla="*/ 427 w 10277"/>
                <a:gd name="connsiteY255" fmla="*/ 6587 h 10000"/>
                <a:gd name="connsiteX256" fmla="*/ 274 w 10277"/>
                <a:gd name="connsiteY256" fmla="*/ 6624 h 10000"/>
                <a:gd name="connsiteX257" fmla="*/ 210 w 10277"/>
                <a:gd name="connsiteY257" fmla="*/ 6548 h 10000"/>
                <a:gd name="connsiteX258" fmla="*/ 132 w 10277"/>
                <a:gd name="connsiteY258" fmla="*/ 6663 h 10000"/>
                <a:gd name="connsiteX259" fmla="*/ 183 w 10277"/>
                <a:gd name="connsiteY259" fmla="*/ 6465 h 10000"/>
                <a:gd name="connsiteX260" fmla="*/ 151 w 10277"/>
                <a:gd name="connsiteY260" fmla="*/ 6427 h 10000"/>
                <a:gd name="connsiteX0" fmla="*/ 151 w 10277"/>
                <a:gd name="connsiteY0" fmla="*/ 6427 h 10000"/>
                <a:gd name="connsiteX1" fmla="*/ 0 w 10277"/>
                <a:gd name="connsiteY1" fmla="*/ 6530 h 10000"/>
                <a:gd name="connsiteX2" fmla="*/ 0 w 10277"/>
                <a:gd name="connsiteY2" fmla="*/ 7039 h 10000"/>
                <a:gd name="connsiteX3" fmla="*/ 83 w 10277"/>
                <a:gd name="connsiteY3" fmla="*/ 7053 h 10000"/>
                <a:gd name="connsiteX4" fmla="*/ 103 w 10277"/>
                <a:gd name="connsiteY4" fmla="*/ 7092 h 10000"/>
                <a:gd name="connsiteX5" fmla="*/ 99 w 10277"/>
                <a:gd name="connsiteY5" fmla="*/ 7161 h 10000"/>
                <a:gd name="connsiteX6" fmla="*/ 68 w 10277"/>
                <a:gd name="connsiteY6" fmla="*/ 7192 h 10000"/>
                <a:gd name="connsiteX7" fmla="*/ 195 w 10277"/>
                <a:gd name="connsiteY7" fmla="*/ 7133 h 10000"/>
                <a:gd name="connsiteX8" fmla="*/ 249 w 10277"/>
                <a:gd name="connsiteY8" fmla="*/ 7075 h 10000"/>
                <a:gd name="connsiteX9" fmla="*/ 315 w 10277"/>
                <a:gd name="connsiteY9" fmla="*/ 7115 h 10000"/>
                <a:gd name="connsiteX10" fmla="*/ 242 w 10277"/>
                <a:gd name="connsiteY10" fmla="*/ 7198 h 10000"/>
                <a:gd name="connsiteX11" fmla="*/ 320 w 10277"/>
                <a:gd name="connsiteY11" fmla="*/ 7200 h 10000"/>
                <a:gd name="connsiteX12" fmla="*/ 358 w 10277"/>
                <a:gd name="connsiteY12" fmla="*/ 7221 h 10000"/>
                <a:gd name="connsiteX13" fmla="*/ 257 w 10277"/>
                <a:gd name="connsiteY13" fmla="*/ 7248 h 10000"/>
                <a:gd name="connsiteX14" fmla="*/ 99 w 10277"/>
                <a:gd name="connsiteY14" fmla="*/ 7333 h 10000"/>
                <a:gd name="connsiteX15" fmla="*/ 381 w 10277"/>
                <a:gd name="connsiteY15" fmla="*/ 7400 h 10000"/>
                <a:gd name="connsiteX16" fmla="*/ 416 w 10277"/>
                <a:gd name="connsiteY16" fmla="*/ 7496 h 10000"/>
                <a:gd name="connsiteX17" fmla="*/ 320 w 10277"/>
                <a:gd name="connsiteY17" fmla="*/ 7636 h 10000"/>
                <a:gd name="connsiteX18" fmla="*/ 526 w 10277"/>
                <a:gd name="connsiteY18" fmla="*/ 7627 h 10000"/>
                <a:gd name="connsiteX19" fmla="*/ 541 w 10277"/>
                <a:gd name="connsiteY19" fmla="*/ 7733 h 10000"/>
                <a:gd name="connsiteX20" fmla="*/ 404 w 10277"/>
                <a:gd name="connsiteY20" fmla="*/ 7805 h 10000"/>
                <a:gd name="connsiteX21" fmla="*/ 427 w 10277"/>
                <a:gd name="connsiteY21" fmla="*/ 7945 h 10000"/>
                <a:gd name="connsiteX22" fmla="*/ 374 w 10277"/>
                <a:gd name="connsiteY22" fmla="*/ 8053 h 10000"/>
                <a:gd name="connsiteX23" fmla="*/ 536 w 10277"/>
                <a:gd name="connsiteY23" fmla="*/ 8063 h 10000"/>
                <a:gd name="connsiteX24" fmla="*/ 695 w 10277"/>
                <a:gd name="connsiteY24" fmla="*/ 8478 h 10000"/>
                <a:gd name="connsiteX25" fmla="*/ 878 w 10277"/>
                <a:gd name="connsiteY25" fmla="*/ 8583 h 10000"/>
                <a:gd name="connsiteX26" fmla="*/ 958 w 10277"/>
                <a:gd name="connsiteY26" fmla="*/ 8695 h 10000"/>
                <a:gd name="connsiteX27" fmla="*/ 1157 w 10277"/>
                <a:gd name="connsiteY27" fmla="*/ 8776 h 10000"/>
                <a:gd name="connsiteX28" fmla="*/ 1285 w 10277"/>
                <a:gd name="connsiteY28" fmla="*/ 8881 h 10000"/>
                <a:gd name="connsiteX29" fmla="*/ 1269 w 10277"/>
                <a:gd name="connsiteY29" fmla="*/ 8955 h 10000"/>
                <a:gd name="connsiteX30" fmla="*/ 1142 w 10277"/>
                <a:gd name="connsiteY30" fmla="*/ 8983 h 10000"/>
                <a:gd name="connsiteX31" fmla="*/ 1004 w 10277"/>
                <a:gd name="connsiteY31" fmla="*/ 8965 h 10000"/>
                <a:gd name="connsiteX32" fmla="*/ 962 w 10277"/>
                <a:gd name="connsiteY32" fmla="*/ 8996 h 10000"/>
                <a:gd name="connsiteX33" fmla="*/ 1067 w 10277"/>
                <a:gd name="connsiteY33" fmla="*/ 9158 h 10000"/>
                <a:gd name="connsiteX34" fmla="*/ 920 w 10277"/>
                <a:gd name="connsiteY34" fmla="*/ 9144 h 10000"/>
                <a:gd name="connsiteX35" fmla="*/ 795 w 10277"/>
                <a:gd name="connsiteY35" fmla="*/ 9105 h 10000"/>
                <a:gd name="connsiteX36" fmla="*/ 772 w 10277"/>
                <a:gd name="connsiteY36" fmla="*/ 9165 h 10000"/>
                <a:gd name="connsiteX37" fmla="*/ 1188 w 10277"/>
                <a:gd name="connsiteY37" fmla="*/ 9718 h 10000"/>
                <a:gd name="connsiteX38" fmla="*/ 1122 w 10277"/>
                <a:gd name="connsiteY38" fmla="*/ 9770 h 10000"/>
                <a:gd name="connsiteX39" fmla="*/ 1075 w 10277"/>
                <a:gd name="connsiteY39" fmla="*/ 9876 h 10000"/>
                <a:gd name="connsiteX40" fmla="*/ 1015 w 10277"/>
                <a:gd name="connsiteY40" fmla="*/ 9885 h 10000"/>
                <a:gd name="connsiteX41" fmla="*/ 978 w 10277"/>
                <a:gd name="connsiteY41" fmla="*/ 9931 h 10000"/>
                <a:gd name="connsiteX42" fmla="*/ 1229 w 10277"/>
                <a:gd name="connsiteY42" fmla="*/ 9936 h 10000"/>
                <a:gd name="connsiteX43" fmla="*/ 1451 w 10277"/>
                <a:gd name="connsiteY43" fmla="*/ 9982 h 10000"/>
                <a:gd name="connsiteX44" fmla="*/ 1820 w 10277"/>
                <a:gd name="connsiteY44" fmla="*/ 9933 h 10000"/>
                <a:gd name="connsiteX45" fmla="*/ 2151 w 10277"/>
                <a:gd name="connsiteY45" fmla="*/ 9941 h 10000"/>
                <a:gd name="connsiteX46" fmla="*/ 2346 w 10277"/>
                <a:gd name="connsiteY46" fmla="*/ 10000 h 10000"/>
                <a:gd name="connsiteX47" fmla="*/ 2454 w 10277"/>
                <a:gd name="connsiteY47" fmla="*/ 9961 h 10000"/>
                <a:gd name="connsiteX48" fmla="*/ 2557 w 10277"/>
                <a:gd name="connsiteY48" fmla="*/ 9834 h 10000"/>
                <a:gd name="connsiteX49" fmla="*/ 2530 w 10277"/>
                <a:gd name="connsiteY49" fmla="*/ 9625 h 10000"/>
                <a:gd name="connsiteX50" fmla="*/ 2782 w 10277"/>
                <a:gd name="connsiteY50" fmla="*/ 9392 h 10000"/>
                <a:gd name="connsiteX51" fmla="*/ 2966 w 10277"/>
                <a:gd name="connsiteY51" fmla="*/ 9428 h 10000"/>
                <a:gd name="connsiteX52" fmla="*/ 3073 w 10277"/>
                <a:gd name="connsiteY52" fmla="*/ 9335 h 10000"/>
                <a:gd name="connsiteX53" fmla="*/ 3278 w 10277"/>
                <a:gd name="connsiteY53" fmla="*/ 9282 h 10000"/>
                <a:gd name="connsiteX54" fmla="*/ 3557 w 10277"/>
                <a:gd name="connsiteY54" fmla="*/ 9295 h 10000"/>
                <a:gd name="connsiteX55" fmla="*/ 3724 w 10277"/>
                <a:gd name="connsiteY55" fmla="*/ 9332 h 10000"/>
                <a:gd name="connsiteX56" fmla="*/ 3948 w 10277"/>
                <a:gd name="connsiteY56" fmla="*/ 9315 h 10000"/>
                <a:gd name="connsiteX57" fmla="*/ 4173 w 10277"/>
                <a:gd name="connsiteY57" fmla="*/ 9356 h 10000"/>
                <a:gd name="connsiteX58" fmla="*/ 4398 w 10277"/>
                <a:gd name="connsiteY58" fmla="*/ 9361 h 10000"/>
                <a:gd name="connsiteX59" fmla="*/ 4902 w 10277"/>
                <a:gd name="connsiteY59" fmla="*/ 8817 h 10000"/>
                <a:gd name="connsiteX60" fmla="*/ 5030 w 10277"/>
                <a:gd name="connsiteY60" fmla="*/ 8375 h 10000"/>
                <a:gd name="connsiteX61" fmla="*/ 5235 w 10277"/>
                <a:gd name="connsiteY61" fmla="*/ 8177 h 10000"/>
                <a:gd name="connsiteX62" fmla="*/ 5235 w 10277"/>
                <a:gd name="connsiteY62" fmla="*/ 8073 h 10000"/>
                <a:gd name="connsiteX63" fmla="*/ 5160 w 10277"/>
                <a:gd name="connsiteY63" fmla="*/ 8015 h 10000"/>
                <a:gd name="connsiteX64" fmla="*/ 5281 w 10277"/>
                <a:gd name="connsiteY64" fmla="*/ 7922 h 10000"/>
                <a:gd name="connsiteX65" fmla="*/ 5259 w 10277"/>
                <a:gd name="connsiteY65" fmla="*/ 7844 h 10000"/>
                <a:gd name="connsiteX66" fmla="*/ 5177 w 10277"/>
                <a:gd name="connsiteY66" fmla="*/ 7776 h 10000"/>
                <a:gd name="connsiteX67" fmla="*/ 5160 w 10277"/>
                <a:gd name="connsiteY67" fmla="*/ 7728 h 10000"/>
                <a:gd name="connsiteX68" fmla="*/ 5181 w 10277"/>
                <a:gd name="connsiteY68" fmla="*/ 7691 h 10000"/>
                <a:gd name="connsiteX69" fmla="*/ 5292 w 10277"/>
                <a:gd name="connsiteY69" fmla="*/ 7721 h 10000"/>
                <a:gd name="connsiteX70" fmla="*/ 5381 w 10277"/>
                <a:gd name="connsiteY70" fmla="*/ 7719 h 10000"/>
                <a:gd name="connsiteX71" fmla="*/ 5333 w 10277"/>
                <a:gd name="connsiteY71" fmla="*/ 7655 h 10000"/>
                <a:gd name="connsiteX72" fmla="*/ 5348 w 10277"/>
                <a:gd name="connsiteY72" fmla="*/ 7619 h 10000"/>
                <a:gd name="connsiteX73" fmla="*/ 5414 w 10277"/>
                <a:gd name="connsiteY73" fmla="*/ 7565 h 10000"/>
                <a:gd name="connsiteX74" fmla="*/ 5401 w 10277"/>
                <a:gd name="connsiteY74" fmla="*/ 7521 h 10000"/>
                <a:gd name="connsiteX75" fmla="*/ 5462 w 10277"/>
                <a:gd name="connsiteY75" fmla="*/ 7373 h 10000"/>
                <a:gd name="connsiteX76" fmla="*/ 5445 w 10277"/>
                <a:gd name="connsiteY76" fmla="*/ 7327 h 10000"/>
                <a:gd name="connsiteX77" fmla="*/ 5140 w 10277"/>
                <a:gd name="connsiteY77" fmla="*/ 7216 h 10000"/>
                <a:gd name="connsiteX78" fmla="*/ 5181 w 10277"/>
                <a:gd name="connsiteY78" fmla="*/ 7211 h 10000"/>
                <a:gd name="connsiteX79" fmla="*/ 5344 w 10277"/>
                <a:gd name="connsiteY79" fmla="*/ 7241 h 10000"/>
                <a:gd name="connsiteX80" fmla="*/ 5520 w 10277"/>
                <a:gd name="connsiteY80" fmla="*/ 7230 h 10000"/>
                <a:gd name="connsiteX81" fmla="*/ 5571 w 10277"/>
                <a:gd name="connsiteY81" fmla="*/ 7189 h 10000"/>
                <a:gd name="connsiteX82" fmla="*/ 5401 w 10277"/>
                <a:gd name="connsiteY82" fmla="*/ 7113 h 10000"/>
                <a:gd name="connsiteX83" fmla="*/ 4898 w 10277"/>
                <a:gd name="connsiteY83" fmla="*/ 7062 h 10000"/>
                <a:gd name="connsiteX84" fmla="*/ 4932 w 10277"/>
                <a:gd name="connsiteY84" fmla="*/ 7039 h 10000"/>
                <a:gd name="connsiteX85" fmla="*/ 5344 w 10277"/>
                <a:gd name="connsiteY85" fmla="*/ 7023 h 10000"/>
                <a:gd name="connsiteX86" fmla="*/ 5571 w 10277"/>
                <a:gd name="connsiteY86" fmla="*/ 7069 h 10000"/>
                <a:gd name="connsiteX87" fmla="*/ 5702 w 10277"/>
                <a:gd name="connsiteY87" fmla="*/ 7039 h 10000"/>
                <a:gd name="connsiteX88" fmla="*/ 5750 w 10277"/>
                <a:gd name="connsiteY88" fmla="*/ 6959 h 10000"/>
                <a:gd name="connsiteX89" fmla="*/ 5987 w 10277"/>
                <a:gd name="connsiteY89" fmla="*/ 6959 h 10000"/>
                <a:gd name="connsiteX90" fmla="*/ 6308 w 10277"/>
                <a:gd name="connsiteY90" fmla="*/ 6799 h 10000"/>
                <a:gd name="connsiteX91" fmla="*/ 6319 w 10277"/>
                <a:gd name="connsiteY91" fmla="*/ 6693 h 10000"/>
                <a:gd name="connsiteX92" fmla="*/ 6455 w 10277"/>
                <a:gd name="connsiteY92" fmla="*/ 6718 h 10000"/>
                <a:gd name="connsiteX93" fmla="*/ 6449 w 10277"/>
                <a:gd name="connsiteY93" fmla="*/ 6824 h 10000"/>
                <a:gd name="connsiteX94" fmla="*/ 6665 w 10277"/>
                <a:gd name="connsiteY94" fmla="*/ 6817 h 10000"/>
                <a:gd name="connsiteX95" fmla="*/ 6807 w 10277"/>
                <a:gd name="connsiteY95" fmla="*/ 6707 h 10000"/>
                <a:gd name="connsiteX96" fmla="*/ 7070 w 10277"/>
                <a:gd name="connsiteY96" fmla="*/ 6607 h 10000"/>
                <a:gd name="connsiteX97" fmla="*/ 7029 w 10277"/>
                <a:gd name="connsiteY97" fmla="*/ 6493 h 10000"/>
                <a:gd name="connsiteX98" fmla="*/ 7107 w 10277"/>
                <a:gd name="connsiteY98" fmla="*/ 6538 h 10000"/>
                <a:gd name="connsiteX99" fmla="*/ 7227 w 10277"/>
                <a:gd name="connsiteY99" fmla="*/ 6538 h 10000"/>
                <a:gd name="connsiteX100" fmla="*/ 7227 w 10277"/>
                <a:gd name="connsiteY100" fmla="*/ 6486 h 10000"/>
                <a:gd name="connsiteX101" fmla="*/ 7340 w 10277"/>
                <a:gd name="connsiteY101" fmla="*/ 6446 h 10000"/>
                <a:gd name="connsiteX102" fmla="*/ 7324 w 10277"/>
                <a:gd name="connsiteY102" fmla="*/ 6405 h 10000"/>
                <a:gd name="connsiteX103" fmla="*/ 6377 w 10277"/>
                <a:gd name="connsiteY103" fmla="*/ 6488 h 10000"/>
                <a:gd name="connsiteX104" fmla="*/ 6155 w 10277"/>
                <a:gd name="connsiteY104" fmla="*/ 6463 h 10000"/>
                <a:gd name="connsiteX105" fmla="*/ 6065 w 10277"/>
                <a:gd name="connsiteY105" fmla="*/ 6493 h 10000"/>
                <a:gd name="connsiteX106" fmla="*/ 6035 w 10277"/>
                <a:gd name="connsiteY106" fmla="*/ 6436 h 10000"/>
                <a:gd name="connsiteX107" fmla="*/ 5930 w 10277"/>
                <a:gd name="connsiteY107" fmla="*/ 6384 h 10000"/>
                <a:gd name="connsiteX108" fmla="*/ 5508 w 10277"/>
                <a:gd name="connsiteY108" fmla="*/ 6282 h 10000"/>
                <a:gd name="connsiteX109" fmla="*/ 5259 w 10277"/>
                <a:gd name="connsiteY109" fmla="*/ 6298 h 10000"/>
                <a:gd name="connsiteX110" fmla="*/ 5160 w 10277"/>
                <a:gd name="connsiteY110" fmla="*/ 6270 h 10000"/>
                <a:gd name="connsiteX111" fmla="*/ 5265 w 10277"/>
                <a:gd name="connsiteY111" fmla="*/ 6245 h 10000"/>
                <a:gd name="connsiteX112" fmla="*/ 5344 w 10277"/>
                <a:gd name="connsiteY112" fmla="*/ 6190 h 10000"/>
                <a:gd name="connsiteX113" fmla="*/ 5462 w 10277"/>
                <a:gd name="connsiteY113" fmla="*/ 6208 h 10000"/>
                <a:gd name="connsiteX114" fmla="*/ 5602 w 10277"/>
                <a:gd name="connsiteY114" fmla="*/ 6193 h 10000"/>
                <a:gd name="connsiteX115" fmla="*/ 5813 w 10277"/>
                <a:gd name="connsiteY115" fmla="*/ 6211 h 10000"/>
                <a:gd name="connsiteX116" fmla="*/ 5838 w 10277"/>
                <a:gd name="connsiteY116" fmla="*/ 6204 h 10000"/>
                <a:gd name="connsiteX117" fmla="*/ 6002 w 10277"/>
                <a:gd name="connsiteY117" fmla="*/ 6287 h 10000"/>
                <a:gd name="connsiteX118" fmla="*/ 6122 w 10277"/>
                <a:gd name="connsiteY118" fmla="*/ 6257 h 10000"/>
                <a:gd name="connsiteX119" fmla="*/ 6133 w 10277"/>
                <a:gd name="connsiteY119" fmla="*/ 6229 h 10000"/>
                <a:gd name="connsiteX120" fmla="*/ 6244 w 10277"/>
                <a:gd name="connsiteY120" fmla="*/ 6278 h 10000"/>
                <a:gd name="connsiteX121" fmla="*/ 6391 w 10277"/>
                <a:gd name="connsiteY121" fmla="*/ 6304 h 10000"/>
                <a:gd name="connsiteX122" fmla="*/ 6449 w 10277"/>
                <a:gd name="connsiteY122" fmla="*/ 6255 h 10000"/>
                <a:gd name="connsiteX123" fmla="*/ 6496 w 10277"/>
                <a:gd name="connsiteY123" fmla="*/ 6282 h 10000"/>
                <a:gd name="connsiteX124" fmla="*/ 6565 w 10277"/>
                <a:gd name="connsiteY124" fmla="*/ 6377 h 10000"/>
                <a:gd name="connsiteX125" fmla="*/ 6707 w 10277"/>
                <a:gd name="connsiteY125" fmla="*/ 6399 h 10000"/>
                <a:gd name="connsiteX126" fmla="*/ 7286 w 10277"/>
                <a:gd name="connsiteY126" fmla="*/ 6259 h 10000"/>
                <a:gd name="connsiteX127" fmla="*/ 7571 w 10277"/>
                <a:gd name="connsiteY127" fmla="*/ 6064 h 10000"/>
                <a:gd name="connsiteX128" fmla="*/ 7637 w 10277"/>
                <a:gd name="connsiteY128" fmla="*/ 5921 h 10000"/>
                <a:gd name="connsiteX129" fmla="*/ 7534 w 10277"/>
                <a:gd name="connsiteY129" fmla="*/ 5792 h 10000"/>
                <a:gd name="connsiteX130" fmla="*/ 7318 w 10277"/>
                <a:gd name="connsiteY130" fmla="*/ 5715 h 10000"/>
                <a:gd name="connsiteX131" fmla="*/ 7164 w 10277"/>
                <a:gd name="connsiteY131" fmla="*/ 5589 h 10000"/>
                <a:gd name="connsiteX132" fmla="*/ 7307 w 10277"/>
                <a:gd name="connsiteY132" fmla="*/ 5584 h 10000"/>
                <a:gd name="connsiteX133" fmla="*/ 7297 w 10277"/>
                <a:gd name="connsiteY133" fmla="*/ 5554 h 10000"/>
                <a:gd name="connsiteX134" fmla="*/ 6925 w 10277"/>
                <a:gd name="connsiteY134" fmla="*/ 5465 h 10000"/>
                <a:gd name="connsiteX135" fmla="*/ 6909 w 10277"/>
                <a:gd name="connsiteY135" fmla="*/ 5383 h 10000"/>
                <a:gd name="connsiteX136" fmla="*/ 6837 w 10277"/>
                <a:gd name="connsiteY136" fmla="*/ 5299 h 10000"/>
                <a:gd name="connsiteX137" fmla="*/ 6543 w 10277"/>
                <a:gd name="connsiteY137" fmla="*/ 5314 h 10000"/>
                <a:gd name="connsiteX138" fmla="*/ 6438 w 10277"/>
                <a:gd name="connsiteY138" fmla="*/ 5224 h 10000"/>
                <a:gd name="connsiteX139" fmla="*/ 6377 w 10277"/>
                <a:gd name="connsiteY139" fmla="*/ 5219 h 10000"/>
                <a:gd name="connsiteX140" fmla="*/ 6377 w 10277"/>
                <a:gd name="connsiteY140" fmla="*/ 5256 h 10000"/>
                <a:gd name="connsiteX141" fmla="*/ 6244 w 10277"/>
                <a:gd name="connsiteY141" fmla="*/ 5408 h 10000"/>
                <a:gd name="connsiteX142" fmla="*/ 6101 w 10277"/>
                <a:gd name="connsiteY142" fmla="*/ 5498 h 10000"/>
                <a:gd name="connsiteX143" fmla="*/ 5653 w 10277"/>
                <a:gd name="connsiteY143" fmla="*/ 5651 h 10000"/>
                <a:gd name="connsiteX144" fmla="*/ 5496 w 10277"/>
                <a:gd name="connsiteY144" fmla="*/ 5646 h 10000"/>
                <a:gd name="connsiteX145" fmla="*/ 5281 w 10277"/>
                <a:gd name="connsiteY145" fmla="*/ 5669 h 10000"/>
                <a:gd name="connsiteX146" fmla="*/ 5160 w 10277"/>
                <a:gd name="connsiteY146" fmla="*/ 5646 h 10000"/>
                <a:gd name="connsiteX147" fmla="*/ 5318 w 10277"/>
                <a:gd name="connsiteY147" fmla="*/ 5604 h 10000"/>
                <a:gd name="connsiteX148" fmla="*/ 5524 w 10277"/>
                <a:gd name="connsiteY148" fmla="*/ 5584 h 10000"/>
                <a:gd name="connsiteX149" fmla="*/ 5693 w 10277"/>
                <a:gd name="connsiteY149" fmla="*/ 5513 h 10000"/>
                <a:gd name="connsiteX150" fmla="*/ 5859 w 10277"/>
                <a:gd name="connsiteY150" fmla="*/ 5480 h 10000"/>
                <a:gd name="connsiteX151" fmla="*/ 6171 w 10277"/>
                <a:gd name="connsiteY151" fmla="*/ 5355 h 10000"/>
                <a:gd name="connsiteX152" fmla="*/ 6230 w 10277"/>
                <a:gd name="connsiteY152" fmla="*/ 5274 h 10000"/>
                <a:gd name="connsiteX153" fmla="*/ 6235 w 10277"/>
                <a:gd name="connsiteY153" fmla="*/ 5168 h 10000"/>
                <a:gd name="connsiteX154" fmla="*/ 6092 w 10277"/>
                <a:gd name="connsiteY154" fmla="*/ 5150 h 10000"/>
                <a:gd name="connsiteX155" fmla="*/ 6155 w 10277"/>
                <a:gd name="connsiteY155" fmla="*/ 5086 h 10000"/>
                <a:gd name="connsiteX156" fmla="*/ 6175 w 10277"/>
                <a:gd name="connsiteY156" fmla="*/ 5005 h 10000"/>
                <a:gd name="connsiteX157" fmla="*/ 6115 w 10277"/>
                <a:gd name="connsiteY157" fmla="*/ 4928 h 10000"/>
                <a:gd name="connsiteX158" fmla="*/ 6081 w 10277"/>
                <a:gd name="connsiteY158" fmla="*/ 4367 h 10000"/>
                <a:gd name="connsiteX159" fmla="*/ 6166 w 10277"/>
                <a:gd name="connsiteY159" fmla="*/ 4246 h 10000"/>
                <a:gd name="connsiteX160" fmla="*/ 6144 w 10277"/>
                <a:gd name="connsiteY160" fmla="*/ 4198 h 10000"/>
                <a:gd name="connsiteX161" fmla="*/ 6391 w 10277"/>
                <a:gd name="connsiteY161" fmla="*/ 4269 h 10000"/>
                <a:gd name="connsiteX162" fmla="*/ 6408 w 10277"/>
                <a:gd name="connsiteY162" fmla="*/ 4202 h 10000"/>
                <a:gd name="connsiteX163" fmla="*/ 6354 w 10277"/>
                <a:gd name="connsiteY163" fmla="*/ 4029 h 10000"/>
                <a:gd name="connsiteX164" fmla="*/ 6532 w 10277"/>
                <a:gd name="connsiteY164" fmla="*/ 3719 h 10000"/>
                <a:gd name="connsiteX165" fmla="*/ 6423 w 10277"/>
                <a:gd name="connsiteY165" fmla="*/ 3645 h 10000"/>
                <a:gd name="connsiteX166" fmla="*/ 6381 w 10277"/>
                <a:gd name="connsiteY166" fmla="*/ 3576 h 10000"/>
                <a:gd name="connsiteX167" fmla="*/ 6395 w 10277"/>
                <a:gd name="connsiteY167" fmla="*/ 3463 h 10000"/>
                <a:gd name="connsiteX168" fmla="*/ 6656 w 10277"/>
                <a:gd name="connsiteY168" fmla="*/ 3538 h 10000"/>
                <a:gd name="connsiteX169" fmla="*/ 6665 w 10277"/>
                <a:gd name="connsiteY169" fmla="*/ 3516 h 10000"/>
                <a:gd name="connsiteX170" fmla="*/ 6737 w 10277"/>
                <a:gd name="connsiteY170" fmla="*/ 3497 h 10000"/>
                <a:gd name="connsiteX171" fmla="*/ 6837 w 10277"/>
                <a:gd name="connsiteY171" fmla="*/ 3424 h 10000"/>
                <a:gd name="connsiteX172" fmla="*/ 6854 w 10277"/>
                <a:gd name="connsiteY172" fmla="*/ 3404 h 10000"/>
                <a:gd name="connsiteX173" fmla="*/ 6832 w 10277"/>
                <a:gd name="connsiteY173" fmla="*/ 3377 h 10000"/>
                <a:gd name="connsiteX174" fmla="*/ 6886 w 10277"/>
                <a:gd name="connsiteY174" fmla="*/ 3250 h 10000"/>
                <a:gd name="connsiteX175" fmla="*/ 6822 w 10277"/>
                <a:gd name="connsiteY175" fmla="*/ 3167 h 10000"/>
                <a:gd name="connsiteX176" fmla="*/ 6832 w 10277"/>
                <a:gd name="connsiteY176" fmla="*/ 3101 h 10000"/>
                <a:gd name="connsiteX177" fmla="*/ 6868 w 10277"/>
                <a:gd name="connsiteY177" fmla="*/ 3178 h 10000"/>
                <a:gd name="connsiteX178" fmla="*/ 7011 w 10277"/>
                <a:gd name="connsiteY178" fmla="*/ 3236 h 10000"/>
                <a:gd name="connsiteX179" fmla="*/ 7070 w 10277"/>
                <a:gd name="connsiteY179" fmla="*/ 3229 h 10000"/>
                <a:gd name="connsiteX180" fmla="*/ 7164 w 10277"/>
                <a:gd name="connsiteY180" fmla="*/ 3152 h 10000"/>
                <a:gd name="connsiteX181" fmla="*/ 7265 w 10277"/>
                <a:gd name="connsiteY181" fmla="*/ 3183 h 10000"/>
                <a:gd name="connsiteX182" fmla="*/ 7292 w 10277"/>
                <a:gd name="connsiteY182" fmla="*/ 3122 h 10000"/>
                <a:gd name="connsiteX183" fmla="*/ 7360 w 10277"/>
                <a:gd name="connsiteY183" fmla="*/ 3080 h 10000"/>
                <a:gd name="connsiteX184" fmla="*/ 7175 w 10277"/>
                <a:gd name="connsiteY184" fmla="*/ 3036 h 10000"/>
                <a:gd name="connsiteX185" fmla="*/ 7307 w 10277"/>
                <a:gd name="connsiteY185" fmla="*/ 3045 h 10000"/>
                <a:gd name="connsiteX186" fmla="*/ 7442 w 10277"/>
                <a:gd name="connsiteY186" fmla="*/ 2999 h 10000"/>
                <a:gd name="connsiteX187" fmla="*/ 7437 w 10277"/>
                <a:gd name="connsiteY187" fmla="*/ 2966 h 10000"/>
                <a:gd name="connsiteX188" fmla="*/ 7565 w 10277"/>
                <a:gd name="connsiteY188" fmla="*/ 2936 h 10000"/>
                <a:gd name="connsiteX189" fmla="*/ 7576 w 10277"/>
                <a:gd name="connsiteY189" fmla="*/ 2859 h 10000"/>
                <a:gd name="connsiteX190" fmla="*/ 7676 w 10277"/>
                <a:gd name="connsiteY190" fmla="*/ 2844 h 10000"/>
                <a:gd name="connsiteX191" fmla="*/ 7684 w 10277"/>
                <a:gd name="connsiteY191" fmla="*/ 2754 h 10000"/>
                <a:gd name="connsiteX192" fmla="*/ 7790 w 10277"/>
                <a:gd name="connsiteY192" fmla="*/ 2743 h 10000"/>
                <a:gd name="connsiteX193" fmla="*/ 7953 w 10277"/>
                <a:gd name="connsiteY193" fmla="*/ 2762 h 10000"/>
                <a:gd name="connsiteX194" fmla="*/ 8132 w 10277"/>
                <a:gd name="connsiteY194" fmla="*/ 2690 h 10000"/>
                <a:gd name="connsiteX195" fmla="*/ 8195 w 10277"/>
                <a:gd name="connsiteY195" fmla="*/ 2607 h 10000"/>
                <a:gd name="connsiteX196" fmla="*/ 8417 w 10277"/>
                <a:gd name="connsiteY196" fmla="*/ 2524 h 10000"/>
                <a:gd name="connsiteX197" fmla="*/ 8527 w 10277"/>
                <a:gd name="connsiteY197" fmla="*/ 2575 h 10000"/>
                <a:gd name="connsiteX198" fmla="*/ 8695 w 10277"/>
                <a:gd name="connsiteY198" fmla="*/ 2519 h 10000"/>
                <a:gd name="connsiteX199" fmla="*/ 8736 w 10277"/>
                <a:gd name="connsiteY199" fmla="*/ 2445 h 10000"/>
                <a:gd name="connsiteX200" fmla="*/ 8864 w 10277"/>
                <a:gd name="connsiteY200" fmla="*/ 2396 h 10000"/>
                <a:gd name="connsiteX201" fmla="*/ 8973 w 10277"/>
                <a:gd name="connsiteY201" fmla="*/ 2418 h 10000"/>
                <a:gd name="connsiteX202" fmla="*/ 9042 w 10277"/>
                <a:gd name="connsiteY202" fmla="*/ 2381 h 10000"/>
                <a:gd name="connsiteX203" fmla="*/ 9231 w 10277"/>
                <a:gd name="connsiteY203" fmla="*/ 2330 h 10000"/>
                <a:gd name="connsiteX204" fmla="*/ 9310 w 10277"/>
                <a:gd name="connsiteY204" fmla="*/ 2263 h 10000"/>
                <a:gd name="connsiteX205" fmla="*/ 9417 w 10277"/>
                <a:gd name="connsiteY205" fmla="*/ 2235 h 10000"/>
                <a:gd name="connsiteX206" fmla="*/ 10000 w 10277"/>
                <a:gd name="connsiteY206" fmla="*/ 1832 h 10000"/>
                <a:gd name="connsiteX207" fmla="*/ 10277 w 10277"/>
                <a:gd name="connsiteY207" fmla="*/ 1829 h 10000"/>
                <a:gd name="connsiteX208" fmla="*/ 8680 w 10277"/>
                <a:gd name="connsiteY208" fmla="*/ 1830 h 10000"/>
                <a:gd name="connsiteX209" fmla="*/ 8075 w 10277"/>
                <a:gd name="connsiteY209" fmla="*/ 1603 h 10000"/>
                <a:gd name="connsiteX210" fmla="*/ 8367 w 10277"/>
                <a:gd name="connsiteY210" fmla="*/ 1293 h 10000"/>
                <a:gd name="connsiteX211" fmla="*/ 7497 w 10277"/>
                <a:gd name="connsiteY211" fmla="*/ 923 h 10000"/>
                <a:gd name="connsiteX212" fmla="*/ 7377 w 10277"/>
                <a:gd name="connsiteY212" fmla="*/ 560 h 10000"/>
                <a:gd name="connsiteX213" fmla="*/ 7012 w 10277"/>
                <a:gd name="connsiteY213" fmla="*/ 590 h 10000"/>
                <a:gd name="connsiteX214" fmla="*/ 6413 w 10277"/>
                <a:gd name="connsiteY214" fmla="*/ 332 h 10000"/>
                <a:gd name="connsiteX215" fmla="*/ 5098 w 10277"/>
                <a:gd name="connsiteY215" fmla="*/ 0 h 10000"/>
                <a:gd name="connsiteX216" fmla="*/ 4837 w 10277"/>
                <a:gd name="connsiteY216" fmla="*/ 82 h 10000"/>
                <a:gd name="connsiteX217" fmla="*/ 4671 w 10277"/>
                <a:gd name="connsiteY217" fmla="*/ 78 h 10000"/>
                <a:gd name="connsiteX218" fmla="*/ 4571 w 10277"/>
                <a:gd name="connsiteY218" fmla="*/ 107 h 10000"/>
                <a:gd name="connsiteX219" fmla="*/ 4298 w 10277"/>
                <a:gd name="connsiteY219" fmla="*/ 913 h 10000"/>
                <a:gd name="connsiteX220" fmla="*/ 3668 w 10277"/>
                <a:gd name="connsiteY220" fmla="*/ 1383 h 10000"/>
                <a:gd name="connsiteX221" fmla="*/ 3672 w 10277"/>
                <a:gd name="connsiteY221" fmla="*/ 1457 h 10000"/>
                <a:gd name="connsiteX222" fmla="*/ 3952 w 10277"/>
                <a:gd name="connsiteY222" fmla="*/ 1668 h 10000"/>
                <a:gd name="connsiteX223" fmla="*/ 3861 w 10277"/>
                <a:gd name="connsiteY223" fmla="*/ 1896 h 10000"/>
                <a:gd name="connsiteX224" fmla="*/ 3698 w 10277"/>
                <a:gd name="connsiteY224" fmla="*/ 1979 h 10000"/>
                <a:gd name="connsiteX225" fmla="*/ 3208 w 10277"/>
                <a:gd name="connsiteY225" fmla="*/ 1924 h 10000"/>
                <a:gd name="connsiteX226" fmla="*/ 2871 w 10277"/>
                <a:gd name="connsiteY226" fmla="*/ 1955 h 10000"/>
                <a:gd name="connsiteX227" fmla="*/ 2601 w 10277"/>
                <a:gd name="connsiteY227" fmla="*/ 2023 h 10000"/>
                <a:gd name="connsiteX228" fmla="*/ 2163 w 10277"/>
                <a:gd name="connsiteY228" fmla="*/ 2233 h 10000"/>
                <a:gd name="connsiteX229" fmla="*/ 1931 w 10277"/>
                <a:gd name="connsiteY229" fmla="*/ 2487 h 10000"/>
                <a:gd name="connsiteX230" fmla="*/ 1951 w 10277"/>
                <a:gd name="connsiteY230" fmla="*/ 2629 h 10000"/>
                <a:gd name="connsiteX231" fmla="*/ 2032 w 10277"/>
                <a:gd name="connsiteY231" fmla="*/ 2738 h 10000"/>
                <a:gd name="connsiteX232" fmla="*/ 2093 w 10277"/>
                <a:gd name="connsiteY232" fmla="*/ 2782 h 10000"/>
                <a:gd name="connsiteX233" fmla="*/ 1979 w 10277"/>
                <a:gd name="connsiteY233" fmla="*/ 2852 h 10000"/>
                <a:gd name="connsiteX234" fmla="*/ 1731 w 10277"/>
                <a:gd name="connsiteY234" fmla="*/ 3330 h 10000"/>
                <a:gd name="connsiteX235" fmla="*/ 1779 w 10277"/>
                <a:gd name="connsiteY235" fmla="*/ 3358 h 10000"/>
                <a:gd name="connsiteX236" fmla="*/ 1815 w 10277"/>
                <a:gd name="connsiteY236" fmla="*/ 3479 h 10000"/>
                <a:gd name="connsiteX237" fmla="*/ 1700 w 10277"/>
                <a:gd name="connsiteY237" fmla="*/ 3982 h 10000"/>
                <a:gd name="connsiteX238" fmla="*/ 1815 w 10277"/>
                <a:gd name="connsiteY238" fmla="*/ 4110 h 10000"/>
                <a:gd name="connsiteX239" fmla="*/ 2131 w 10277"/>
                <a:gd name="connsiteY239" fmla="*/ 4251 h 10000"/>
                <a:gd name="connsiteX240" fmla="*/ 2145 w 10277"/>
                <a:gd name="connsiteY240" fmla="*/ 4423 h 10000"/>
                <a:gd name="connsiteX241" fmla="*/ 2010 w 10277"/>
                <a:gd name="connsiteY241" fmla="*/ 4566 h 10000"/>
                <a:gd name="connsiteX242" fmla="*/ 1815 w 10277"/>
                <a:gd name="connsiteY242" fmla="*/ 4652 h 10000"/>
                <a:gd name="connsiteX243" fmla="*/ 1557 w 10277"/>
                <a:gd name="connsiteY243" fmla="*/ 4687 h 10000"/>
                <a:gd name="connsiteX244" fmla="*/ 1490 w 10277"/>
                <a:gd name="connsiteY244" fmla="*/ 4737 h 10000"/>
                <a:gd name="connsiteX245" fmla="*/ 1640 w 10277"/>
                <a:gd name="connsiteY245" fmla="*/ 4855 h 10000"/>
                <a:gd name="connsiteX246" fmla="*/ 1726 w 10277"/>
                <a:gd name="connsiteY246" fmla="*/ 5136 h 10000"/>
                <a:gd name="connsiteX247" fmla="*/ 1531 w 10277"/>
                <a:gd name="connsiteY247" fmla="*/ 5376 h 10000"/>
                <a:gd name="connsiteX248" fmla="*/ 1599 w 10277"/>
                <a:gd name="connsiteY248" fmla="*/ 5451 h 10000"/>
                <a:gd name="connsiteX249" fmla="*/ 1537 w 10277"/>
                <a:gd name="connsiteY249" fmla="*/ 5577 h 10000"/>
                <a:gd name="connsiteX250" fmla="*/ 1412 w 10277"/>
                <a:gd name="connsiteY250" fmla="*/ 5663 h 10000"/>
                <a:gd name="connsiteX251" fmla="*/ 915 w 10277"/>
                <a:gd name="connsiteY251" fmla="*/ 5730 h 10000"/>
                <a:gd name="connsiteX252" fmla="*/ 885 w 10277"/>
                <a:gd name="connsiteY252" fmla="*/ 5846 h 10000"/>
                <a:gd name="connsiteX253" fmla="*/ 617 w 10277"/>
                <a:gd name="connsiteY253" fmla="*/ 6019 h 10000"/>
                <a:gd name="connsiteX254" fmla="*/ 652 w 10277"/>
                <a:gd name="connsiteY254" fmla="*/ 6268 h 10000"/>
                <a:gd name="connsiteX255" fmla="*/ 427 w 10277"/>
                <a:gd name="connsiteY255" fmla="*/ 6587 h 10000"/>
                <a:gd name="connsiteX256" fmla="*/ 274 w 10277"/>
                <a:gd name="connsiteY256" fmla="*/ 6624 h 10000"/>
                <a:gd name="connsiteX257" fmla="*/ 210 w 10277"/>
                <a:gd name="connsiteY257" fmla="*/ 6548 h 10000"/>
                <a:gd name="connsiteX258" fmla="*/ 132 w 10277"/>
                <a:gd name="connsiteY258" fmla="*/ 6663 h 10000"/>
                <a:gd name="connsiteX259" fmla="*/ 183 w 10277"/>
                <a:gd name="connsiteY259" fmla="*/ 6465 h 10000"/>
                <a:gd name="connsiteX260" fmla="*/ 151 w 10277"/>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416 w 10000"/>
                <a:gd name="connsiteY207" fmla="*/ 1736 h 10000"/>
                <a:gd name="connsiteX208" fmla="*/ 8680 w 10000"/>
                <a:gd name="connsiteY208" fmla="*/ 1830 h 10000"/>
                <a:gd name="connsiteX209" fmla="*/ 8075 w 10000"/>
                <a:gd name="connsiteY209" fmla="*/ 1603 h 10000"/>
                <a:gd name="connsiteX210" fmla="*/ 8367 w 10000"/>
                <a:gd name="connsiteY210" fmla="*/ 1293 h 10000"/>
                <a:gd name="connsiteX211" fmla="*/ 7497 w 10000"/>
                <a:gd name="connsiteY211" fmla="*/ 923 h 10000"/>
                <a:gd name="connsiteX212" fmla="*/ 7377 w 10000"/>
                <a:gd name="connsiteY212" fmla="*/ 560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416 w 10000"/>
                <a:gd name="connsiteY207" fmla="*/ 1736 h 10000"/>
                <a:gd name="connsiteX208" fmla="*/ 8680 w 10000"/>
                <a:gd name="connsiteY208" fmla="*/ 1830 h 10000"/>
                <a:gd name="connsiteX209" fmla="*/ 8075 w 10000"/>
                <a:gd name="connsiteY209" fmla="*/ 1603 h 10000"/>
                <a:gd name="connsiteX210" fmla="*/ 8367 w 10000"/>
                <a:gd name="connsiteY210" fmla="*/ 1293 h 10000"/>
                <a:gd name="connsiteX211" fmla="*/ 7497 w 10000"/>
                <a:gd name="connsiteY211" fmla="*/ 923 h 10000"/>
                <a:gd name="connsiteX212" fmla="*/ 7377 w 10000"/>
                <a:gd name="connsiteY212" fmla="*/ 560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416 w 10000"/>
                <a:gd name="connsiteY207" fmla="*/ 1736 h 10000"/>
                <a:gd name="connsiteX208" fmla="*/ 8680 w 10000"/>
                <a:gd name="connsiteY208" fmla="*/ 1830 h 10000"/>
                <a:gd name="connsiteX209" fmla="*/ 8217 w 10000"/>
                <a:gd name="connsiteY209" fmla="*/ 1545 h 10000"/>
                <a:gd name="connsiteX210" fmla="*/ 8367 w 10000"/>
                <a:gd name="connsiteY210" fmla="*/ 1293 h 10000"/>
                <a:gd name="connsiteX211" fmla="*/ 7497 w 10000"/>
                <a:gd name="connsiteY211" fmla="*/ 923 h 10000"/>
                <a:gd name="connsiteX212" fmla="*/ 7377 w 10000"/>
                <a:gd name="connsiteY212" fmla="*/ 560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416 w 10000"/>
                <a:gd name="connsiteY207" fmla="*/ 1736 h 10000"/>
                <a:gd name="connsiteX208" fmla="*/ 8571 w 10000"/>
                <a:gd name="connsiteY208" fmla="*/ 1727 h 10000"/>
                <a:gd name="connsiteX209" fmla="*/ 8217 w 10000"/>
                <a:gd name="connsiteY209" fmla="*/ 1545 h 10000"/>
                <a:gd name="connsiteX210" fmla="*/ 8367 w 10000"/>
                <a:gd name="connsiteY210" fmla="*/ 1293 h 10000"/>
                <a:gd name="connsiteX211" fmla="*/ 7497 w 10000"/>
                <a:gd name="connsiteY211" fmla="*/ 923 h 10000"/>
                <a:gd name="connsiteX212" fmla="*/ 7377 w 10000"/>
                <a:gd name="connsiteY212" fmla="*/ 560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400 w 10000"/>
                <a:gd name="connsiteY207" fmla="*/ 1654 h 10000"/>
                <a:gd name="connsiteX208" fmla="*/ 8571 w 10000"/>
                <a:gd name="connsiteY208" fmla="*/ 1727 h 10000"/>
                <a:gd name="connsiteX209" fmla="*/ 8217 w 10000"/>
                <a:gd name="connsiteY209" fmla="*/ 1545 h 10000"/>
                <a:gd name="connsiteX210" fmla="*/ 8367 w 10000"/>
                <a:gd name="connsiteY210" fmla="*/ 1293 h 10000"/>
                <a:gd name="connsiteX211" fmla="*/ 7497 w 10000"/>
                <a:gd name="connsiteY211" fmla="*/ 923 h 10000"/>
                <a:gd name="connsiteX212" fmla="*/ 7377 w 10000"/>
                <a:gd name="connsiteY212" fmla="*/ 560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400 w 10000"/>
                <a:gd name="connsiteY207" fmla="*/ 1654 h 10000"/>
                <a:gd name="connsiteX208" fmla="*/ 8681 w 10000"/>
                <a:gd name="connsiteY208" fmla="*/ 1668 h 10000"/>
                <a:gd name="connsiteX209" fmla="*/ 8217 w 10000"/>
                <a:gd name="connsiteY209" fmla="*/ 1545 h 10000"/>
                <a:gd name="connsiteX210" fmla="*/ 8367 w 10000"/>
                <a:gd name="connsiteY210" fmla="*/ 1293 h 10000"/>
                <a:gd name="connsiteX211" fmla="*/ 7497 w 10000"/>
                <a:gd name="connsiteY211" fmla="*/ 923 h 10000"/>
                <a:gd name="connsiteX212" fmla="*/ 7377 w 10000"/>
                <a:gd name="connsiteY212" fmla="*/ 560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400 w 10000"/>
                <a:gd name="connsiteY207" fmla="*/ 1654 h 10000"/>
                <a:gd name="connsiteX208" fmla="*/ 8681 w 10000"/>
                <a:gd name="connsiteY208" fmla="*/ 1668 h 10000"/>
                <a:gd name="connsiteX209" fmla="*/ 8420 w 10000"/>
                <a:gd name="connsiteY209" fmla="*/ 1507 h 10000"/>
                <a:gd name="connsiteX210" fmla="*/ 8367 w 10000"/>
                <a:gd name="connsiteY210" fmla="*/ 1293 h 10000"/>
                <a:gd name="connsiteX211" fmla="*/ 7497 w 10000"/>
                <a:gd name="connsiteY211" fmla="*/ 923 h 10000"/>
                <a:gd name="connsiteX212" fmla="*/ 7377 w 10000"/>
                <a:gd name="connsiteY212" fmla="*/ 560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400 w 10000"/>
                <a:gd name="connsiteY207" fmla="*/ 1654 h 10000"/>
                <a:gd name="connsiteX208" fmla="*/ 8684 w 10000"/>
                <a:gd name="connsiteY208" fmla="*/ 1652 h 10000"/>
                <a:gd name="connsiteX209" fmla="*/ 8420 w 10000"/>
                <a:gd name="connsiteY209" fmla="*/ 1507 h 10000"/>
                <a:gd name="connsiteX210" fmla="*/ 8367 w 10000"/>
                <a:gd name="connsiteY210" fmla="*/ 1293 h 10000"/>
                <a:gd name="connsiteX211" fmla="*/ 7497 w 10000"/>
                <a:gd name="connsiteY211" fmla="*/ 923 h 10000"/>
                <a:gd name="connsiteX212" fmla="*/ 7377 w 10000"/>
                <a:gd name="connsiteY212" fmla="*/ 560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400 w 10000"/>
                <a:gd name="connsiteY207" fmla="*/ 1654 h 10000"/>
                <a:gd name="connsiteX208" fmla="*/ 8684 w 10000"/>
                <a:gd name="connsiteY208" fmla="*/ 1652 h 10000"/>
                <a:gd name="connsiteX209" fmla="*/ 8420 w 10000"/>
                <a:gd name="connsiteY209" fmla="*/ 1507 h 10000"/>
                <a:gd name="connsiteX210" fmla="*/ 8367 w 10000"/>
                <a:gd name="connsiteY210" fmla="*/ 1293 h 10000"/>
                <a:gd name="connsiteX211" fmla="*/ 7497 w 10000"/>
                <a:gd name="connsiteY211" fmla="*/ 923 h 10000"/>
                <a:gd name="connsiteX212" fmla="*/ 7522 w 10000"/>
                <a:gd name="connsiteY212" fmla="*/ 649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400 w 10000"/>
                <a:gd name="connsiteY207" fmla="*/ 1654 h 10000"/>
                <a:gd name="connsiteX208" fmla="*/ 8729 w 10000"/>
                <a:gd name="connsiteY208" fmla="*/ 1589 h 10000"/>
                <a:gd name="connsiteX209" fmla="*/ 8420 w 10000"/>
                <a:gd name="connsiteY209" fmla="*/ 1507 h 10000"/>
                <a:gd name="connsiteX210" fmla="*/ 8367 w 10000"/>
                <a:gd name="connsiteY210" fmla="*/ 1293 h 10000"/>
                <a:gd name="connsiteX211" fmla="*/ 7497 w 10000"/>
                <a:gd name="connsiteY211" fmla="*/ 923 h 10000"/>
                <a:gd name="connsiteX212" fmla="*/ 7522 w 10000"/>
                <a:gd name="connsiteY212" fmla="*/ 649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349 w 10000"/>
                <a:gd name="connsiteY207" fmla="*/ 1586 h 10000"/>
                <a:gd name="connsiteX208" fmla="*/ 8729 w 10000"/>
                <a:gd name="connsiteY208" fmla="*/ 1589 h 10000"/>
                <a:gd name="connsiteX209" fmla="*/ 8420 w 10000"/>
                <a:gd name="connsiteY209" fmla="*/ 1507 h 10000"/>
                <a:gd name="connsiteX210" fmla="*/ 8367 w 10000"/>
                <a:gd name="connsiteY210" fmla="*/ 1293 h 10000"/>
                <a:gd name="connsiteX211" fmla="*/ 7497 w 10000"/>
                <a:gd name="connsiteY211" fmla="*/ 923 h 10000"/>
                <a:gd name="connsiteX212" fmla="*/ 7522 w 10000"/>
                <a:gd name="connsiteY212" fmla="*/ 649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349 w 10000"/>
                <a:gd name="connsiteY207" fmla="*/ 1586 h 10000"/>
                <a:gd name="connsiteX208" fmla="*/ 8651 w 10000"/>
                <a:gd name="connsiteY208" fmla="*/ 1650 h 10000"/>
                <a:gd name="connsiteX209" fmla="*/ 8420 w 10000"/>
                <a:gd name="connsiteY209" fmla="*/ 1507 h 10000"/>
                <a:gd name="connsiteX210" fmla="*/ 8367 w 10000"/>
                <a:gd name="connsiteY210" fmla="*/ 1293 h 10000"/>
                <a:gd name="connsiteX211" fmla="*/ 7497 w 10000"/>
                <a:gd name="connsiteY211" fmla="*/ 923 h 10000"/>
                <a:gd name="connsiteX212" fmla="*/ 7522 w 10000"/>
                <a:gd name="connsiteY212" fmla="*/ 649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652 w 10000"/>
                <a:gd name="connsiteY207" fmla="*/ 1699 h 10000"/>
                <a:gd name="connsiteX208" fmla="*/ 8651 w 10000"/>
                <a:gd name="connsiteY208" fmla="*/ 1650 h 10000"/>
                <a:gd name="connsiteX209" fmla="*/ 8420 w 10000"/>
                <a:gd name="connsiteY209" fmla="*/ 1507 h 10000"/>
                <a:gd name="connsiteX210" fmla="*/ 8367 w 10000"/>
                <a:gd name="connsiteY210" fmla="*/ 1293 h 10000"/>
                <a:gd name="connsiteX211" fmla="*/ 7497 w 10000"/>
                <a:gd name="connsiteY211" fmla="*/ 923 h 10000"/>
                <a:gd name="connsiteX212" fmla="*/ 7522 w 10000"/>
                <a:gd name="connsiteY212" fmla="*/ 649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652 w 10000"/>
                <a:gd name="connsiteY207" fmla="*/ 1699 h 10000"/>
                <a:gd name="connsiteX208" fmla="*/ 9147 w 10000"/>
                <a:gd name="connsiteY208" fmla="*/ 1773 h 10000"/>
                <a:gd name="connsiteX209" fmla="*/ 8420 w 10000"/>
                <a:gd name="connsiteY209" fmla="*/ 1507 h 10000"/>
                <a:gd name="connsiteX210" fmla="*/ 8367 w 10000"/>
                <a:gd name="connsiteY210" fmla="*/ 1293 h 10000"/>
                <a:gd name="connsiteX211" fmla="*/ 7497 w 10000"/>
                <a:gd name="connsiteY211" fmla="*/ 923 h 10000"/>
                <a:gd name="connsiteX212" fmla="*/ 7522 w 10000"/>
                <a:gd name="connsiteY212" fmla="*/ 649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652 w 10000"/>
                <a:gd name="connsiteY207" fmla="*/ 1699 h 10000"/>
                <a:gd name="connsiteX208" fmla="*/ 9147 w 10000"/>
                <a:gd name="connsiteY208" fmla="*/ 1773 h 10000"/>
                <a:gd name="connsiteX209" fmla="*/ 8784 w 10000"/>
                <a:gd name="connsiteY209" fmla="*/ 1639 h 10000"/>
                <a:gd name="connsiteX210" fmla="*/ 8367 w 10000"/>
                <a:gd name="connsiteY210" fmla="*/ 1293 h 10000"/>
                <a:gd name="connsiteX211" fmla="*/ 7497 w 10000"/>
                <a:gd name="connsiteY211" fmla="*/ 923 h 10000"/>
                <a:gd name="connsiteX212" fmla="*/ 7522 w 10000"/>
                <a:gd name="connsiteY212" fmla="*/ 649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652 w 10000"/>
                <a:gd name="connsiteY207" fmla="*/ 1699 h 10000"/>
                <a:gd name="connsiteX208" fmla="*/ 9147 w 10000"/>
                <a:gd name="connsiteY208" fmla="*/ 1773 h 10000"/>
                <a:gd name="connsiteX209" fmla="*/ 8784 w 10000"/>
                <a:gd name="connsiteY209" fmla="*/ 1639 h 10000"/>
                <a:gd name="connsiteX210" fmla="*/ 8850 w 10000"/>
                <a:gd name="connsiteY210" fmla="*/ 1480 h 10000"/>
                <a:gd name="connsiteX211" fmla="*/ 7497 w 10000"/>
                <a:gd name="connsiteY211" fmla="*/ 923 h 10000"/>
                <a:gd name="connsiteX212" fmla="*/ 7522 w 10000"/>
                <a:gd name="connsiteY212" fmla="*/ 649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Lst>
              <a:rect l="l" t="t" r="r" b="b"/>
              <a:pathLst>
                <a:path w="10000" h="10000">
                  <a:moveTo>
                    <a:pt x="151" y="6427"/>
                  </a:moveTo>
                  <a:cubicBezTo>
                    <a:pt x="100" y="6461"/>
                    <a:pt x="50" y="6496"/>
                    <a:pt x="0" y="6530"/>
                  </a:cubicBezTo>
                  <a:lnTo>
                    <a:pt x="0" y="7039"/>
                  </a:lnTo>
                  <a:lnTo>
                    <a:pt x="83" y="7053"/>
                  </a:lnTo>
                  <a:cubicBezTo>
                    <a:pt x="92" y="7065"/>
                    <a:pt x="97" y="7080"/>
                    <a:pt x="103" y="7092"/>
                  </a:cubicBezTo>
                  <a:cubicBezTo>
                    <a:pt x="102" y="7115"/>
                    <a:pt x="100" y="7139"/>
                    <a:pt x="99" y="7161"/>
                  </a:cubicBezTo>
                  <a:cubicBezTo>
                    <a:pt x="88" y="7172"/>
                    <a:pt x="79" y="7182"/>
                    <a:pt x="68" y="7192"/>
                  </a:cubicBezTo>
                  <a:cubicBezTo>
                    <a:pt x="110" y="7172"/>
                    <a:pt x="153" y="7153"/>
                    <a:pt x="195" y="7133"/>
                  </a:cubicBezTo>
                  <a:cubicBezTo>
                    <a:pt x="212" y="7114"/>
                    <a:pt x="231" y="7095"/>
                    <a:pt x="249" y="7075"/>
                  </a:cubicBezTo>
                  <a:cubicBezTo>
                    <a:pt x="271" y="7088"/>
                    <a:pt x="293" y="7101"/>
                    <a:pt x="315" y="7115"/>
                  </a:cubicBezTo>
                  <a:cubicBezTo>
                    <a:pt x="291" y="7143"/>
                    <a:pt x="266" y="7170"/>
                    <a:pt x="242" y="7198"/>
                  </a:cubicBezTo>
                  <a:cubicBezTo>
                    <a:pt x="269" y="7199"/>
                    <a:pt x="294" y="7199"/>
                    <a:pt x="320" y="7200"/>
                  </a:cubicBezTo>
                  <a:cubicBezTo>
                    <a:pt x="332" y="7207"/>
                    <a:pt x="345" y="7215"/>
                    <a:pt x="358" y="7221"/>
                  </a:cubicBezTo>
                  <a:cubicBezTo>
                    <a:pt x="323" y="7229"/>
                    <a:pt x="291" y="7240"/>
                    <a:pt x="257" y="7248"/>
                  </a:cubicBezTo>
                  <a:cubicBezTo>
                    <a:pt x="206" y="7278"/>
                    <a:pt x="151" y="7305"/>
                    <a:pt x="99" y="7333"/>
                  </a:cubicBezTo>
                  <a:lnTo>
                    <a:pt x="381" y="7400"/>
                  </a:lnTo>
                  <a:cubicBezTo>
                    <a:pt x="392" y="7432"/>
                    <a:pt x="403" y="7464"/>
                    <a:pt x="416" y="7496"/>
                  </a:cubicBezTo>
                  <a:cubicBezTo>
                    <a:pt x="386" y="7543"/>
                    <a:pt x="353" y="7590"/>
                    <a:pt x="320" y="7636"/>
                  </a:cubicBezTo>
                  <a:lnTo>
                    <a:pt x="526" y="7627"/>
                  </a:lnTo>
                  <a:cubicBezTo>
                    <a:pt x="531" y="7662"/>
                    <a:pt x="537" y="7698"/>
                    <a:pt x="541" y="7733"/>
                  </a:cubicBezTo>
                  <a:cubicBezTo>
                    <a:pt x="496" y="7758"/>
                    <a:pt x="450" y="7781"/>
                    <a:pt x="404" y="7805"/>
                  </a:cubicBezTo>
                  <a:cubicBezTo>
                    <a:pt x="413" y="7853"/>
                    <a:pt x="419" y="7898"/>
                    <a:pt x="427" y="7945"/>
                  </a:cubicBezTo>
                  <a:cubicBezTo>
                    <a:pt x="408" y="7982"/>
                    <a:pt x="392" y="8017"/>
                    <a:pt x="374" y="8053"/>
                  </a:cubicBezTo>
                  <a:lnTo>
                    <a:pt x="536" y="8063"/>
                  </a:lnTo>
                  <a:cubicBezTo>
                    <a:pt x="591" y="8200"/>
                    <a:pt x="641" y="8339"/>
                    <a:pt x="695" y="8478"/>
                  </a:cubicBezTo>
                  <a:lnTo>
                    <a:pt x="878" y="8583"/>
                  </a:lnTo>
                  <a:cubicBezTo>
                    <a:pt x="903" y="8621"/>
                    <a:pt x="931" y="8657"/>
                    <a:pt x="958" y="8695"/>
                  </a:cubicBezTo>
                  <a:lnTo>
                    <a:pt x="1157" y="8776"/>
                  </a:lnTo>
                  <a:cubicBezTo>
                    <a:pt x="1201" y="8812"/>
                    <a:pt x="1242" y="8847"/>
                    <a:pt x="1285" y="8881"/>
                  </a:cubicBezTo>
                  <a:cubicBezTo>
                    <a:pt x="1280" y="8905"/>
                    <a:pt x="1274" y="8930"/>
                    <a:pt x="1269" y="8955"/>
                  </a:cubicBezTo>
                  <a:lnTo>
                    <a:pt x="1142" y="8983"/>
                  </a:lnTo>
                  <a:lnTo>
                    <a:pt x="1004" y="8965"/>
                  </a:lnTo>
                  <a:cubicBezTo>
                    <a:pt x="990" y="8975"/>
                    <a:pt x="977" y="8987"/>
                    <a:pt x="962" y="8996"/>
                  </a:cubicBezTo>
                  <a:cubicBezTo>
                    <a:pt x="997" y="9051"/>
                    <a:pt x="1034" y="9103"/>
                    <a:pt x="1067" y="9158"/>
                  </a:cubicBezTo>
                  <a:lnTo>
                    <a:pt x="920" y="9144"/>
                  </a:lnTo>
                  <a:cubicBezTo>
                    <a:pt x="878" y="9132"/>
                    <a:pt x="836" y="9119"/>
                    <a:pt x="795" y="9105"/>
                  </a:cubicBezTo>
                  <a:cubicBezTo>
                    <a:pt x="789" y="9126"/>
                    <a:pt x="779" y="9144"/>
                    <a:pt x="772" y="9165"/>
                  </a:cubicBezTo>
                  <a:lnTo>
                    <a:pt x="1188" y="9718"/>
                  </a:lnTo>
                  <a:cubicBezTo>
                    <a:pt x="1166" y="9735"/>
                    <a:pt x="1143" y="9752"/>
                    <a:pt x="1122" y="9770"/>
                  </a:cubicBezTo>
                  <a:cubicBezTo>
                    <a:pt x="1105" y="9805"/>
                    <a:pt x="1091" y="9841"/>
                    <a:pt x="1075" y="9876"/>
                  </a:cubicBezTo>
                  <a:lnTo>
                    <a:pt x="1015" y="9885"/>
                  </a:lnTo>
                  <a:cubicBezTo>
                    <a:pt x="1002" y="9899"/>
                    <a:pt x="991" y="9915"/>
                    <a:pt x="978" y="9931"/>
                  </a:cubicBezTo>
                  <a:lnTo>
                    <a:pt x="1229" y="9936"/>
                  </a:lnTo>
                  <a:lnTo>
                    <a:pt x="1451" y="9982"/>
                  </a:lnTo>
                  <a:lnTo>
                    <a:pt x="1820" y="9933"/>
                  </a:lnTo>
                  <a:lnTo>
                    <a:pt x="2151" y="9941"/>
                  </a:lnTo>
                  <a:lnTo>
                    <a:pt x="2346" y="10000"/>
                  </a:lnTo>
                  <a:cubicBezTo>
                    <a:pt x="2383" y="9988"/>
                    <a:pt x="2419" y="9973"/>
                    <a:pt x="2454" y="9961"/>
                  </a:cubicBezTo>
                  <a:cubicBezTo>
                    <a:pt x="2487" y="9919"/>
                    <a:pt x="2522" y="9876"/>
                    <a:pt x="2557" y="9834"/>
                  </a:cubicBezTo>
                  <a:cubicBezTo>
                    <a:pt x="2549" y="9765"/>
                    <a:pt x="2537" y="9695"/>
                    <a:pt x="2530" y="9625"/>
                  </a:cubicBezTo>
                  <a:lnTo>
                    <a:pt x="2782" y="9392"/>
                  </a:lnTo>
                  <a:lnTo>
                    <a:pt x="2966" y="9428"/>
                  </a:lnTo>
                  <a:cubicBezTo>
                    <a:pt x="3001" y="9396"/>
                    <a:pt x="3038" y="9366"/>
                    <a:pt x="3073" y="9335"/>
                  </a:cubicBezTo>
                  <a:lnTo>
                    <a:pt x="3278" y="9282"/>
                  </a:lnTo>
                  <a:lnTo>
                    <a:pt x="3557" y="9295"/>
                  </a:lnTo>
                  <a:lnTo>
                    <a:pt x="3724" y="9332"/>
                  </a:lnTo>
                  <a:lnTo>
                    <a:pt x="3948" y="9315"/>
                  </a:lnTo>
                  <a:lnTo>
                    <a:pt x="4173" y="9356"/>
                  </a:lnTo>
                  <a:lnTo>
                    <a:pt x="4398" y="9361"/>
                  </a:lnTo>
                  <a:lnTo>
                    <a:pt x="4902" y="8817"/>
                  </a:lnTo>
                  <a:cubicBezTo>
                    <a:pt x="4944" y="8668"/>
                    <a:pt x="4988" y="8522"/>
                    <a:pt x="5030" y="8375"/>
                  </a:cubicBezTo>
                  <a:lnTo>
                    <a:pt x="5235" y="8177"/>
                  </a:lnTo>
                  <a:lnTo>
                    <a:pt x="5235" y="8073"/>
                  </a:lnTo>
                  <a:cubicBezTo>
                    <a:pt x="5211" y="8053"/>
                    <a:pt x="5185" y="8034"/>
                    <a:pt x="5160" y="8015"/>
                  </a:cubicBezTo>
                  <a:cubicBezTo>
                    <a:pt x="5201" y="7984"/>
                    <a:pt x="5240" y="7953"/>
                    <a:pt x="5281" y="7922"/>
                  </a:cubicBezTo>
                  <a:cubicBezTo>
                    <a:pt x="5275" y="7896"/>
                    <a:pt x="5266" y="7869"/>
                    <a:pt x="5259" y="7844"/>
                  </a:cubicBezTo>
                  <a:cubicBezTo>
                    <a:pt x="5231" y="7819"/>
                    <a:pt x="5204" y="7798"/>
                    <a:pt x="5177" y="7776"/>
                  </a:cubicBezTo>
                  <a:cubicBezTo>
                    <a:pt x="5173" y="7760"/>
                    <a:pt x="5166" y="7744"/>
                    <a:pt x="5160" y="7728"/>
                  </a:cubicBezTo>
                  <a:cubicBezTo>
                    <a:pt x="5169" y="7716"/>
                    <a:pt x="5175" y="7703"/>
                    <a:pt x="5181" y="7691"/>
                  </a:cubicBezTo>
                  <a:lnTo>
                    <a:pt x="5292" y="7721"/>
                  </a:lnTo>
                  <a:cubicBezTo>
                    <a:pt x="5322" y="7720"/>
                    <a:pt x="5350" y="7720"/>
                    <a:pt x="5381" y="7719"/>
                  </a:cubicBezTo>
                  <a:cubicBezTo>
                    <a:pt x="5365" y="7697"/>
                    <a:pt x="5348" y="7676"/>
                    <a:pt x="5333" y="7655"/>
                  </a:cubicBezTo>
                  <a:cubicBezTo>
                    <a:pt x="5337" y="7644"/>
                    <a:pt x="5344" y="7630"/>
                    <a:pt x="5348" y="7619"/>
                  </a:cubicBezTo>
                  <a:lnTo>
                    <a:pt x="5414" y="7565"/>
                  </a:lnTo>
                  <a:cubicBezTo>
                    <a:pt x="5410" y="7550"/>
                    <a:pt x="5406" y="7536"/>
                    <a:pt x="5401" y="7521"/>
                  </a:cubicBezTo>
                  <a:cubicBezTo>
                    <a:pt x="5422" y="7473"/>
                    <a:pt x="5442" y="7422"/>
                    <a:pt x="5462" y="7373"/>
                  </a:cubicBezTo>
                  <a:cubicBezTo>
                    <a:pt x="5458" y="7358"/>
                    <a:pt x="5450" y="7344"/>
                    <a:pt x="5445" y="7327"/>
                  </a:cubicBezTo>
                  <a:lnTo>
                    <a:pt x="5140" y="7216"/>
                  </a:lnTo>
                  <a:cubicBezTo>
                    <a:pt x="5153" y="7215"/>
                    <a:pt x="5168" y="7212"/>
                    <a:pt x="5181" y="7211"/>
                  </a:cubicBezTo>
                  <a:lnTo>
                    <a:pt x="5344" y="7241"/>
                  </a:lnTo>
                  <a:lnTo>
                    <a:pt x="5520" y="7230"/>
                  </a:lnTo>
                  <a:cubicBezTo>
                    <a:pt x="5536" y="7217"/>
                    <a:pt x="5552" y="7202"/>
                    <a:pt x="5571" y="7189"/>
                  </a:cubicBezTo>
                  <a:lnTo>
                    <a:pt x="5401" y="7113"/>
                  </a:lnTo>
                  <a:lnTo>
                    <a:pt x="4898" y="7062"/>
                  </a:lnTo>
                  <a:cubicBezTo>
                    <a:pt x="4909" y="7055"/>
                    <a:pt x="4921" y="7046"/>
                    <a:pt x="4932" y="7039"/>
                  </a:cubicBezTo>
                  <a:lnTo>
                    <a:pt x="5344" y="7023"/>
                  </a:lnTo>
                  <a:lnTo>
                    <a:pt x="5571" y="7069"/>
                  </a:lnTo>
                  <a:lnTo>
                    <a:pt x="5702" y="7039"/>
                  </a:lnTo>
                  <a:cubicBezTo>
                    <a:pt x="5717" y="7012"/>
                    <a:pt x="5733" y="6985"/>
                    <a:pt x="5750" y="6959"/>
                  </a:cubicBezTo>
                  <a:lnTo>
                    <a:pt x="5987" y="6959"/>
                  </a:lnTo>
                  <a:lnTo>
                    <a:pt x="6308" y="6799"/>
                  </a:lnTo>
                  <a:cubicBezTo>
                    <a:pt x="6312" y="6764"/>
                    <a:pt x="6316" y="6728"/>
                    <a:pt x="6319" y="6693"/>
                  </a:cubicBezTo>
                  <a:lnTo>
                    <a:pt x="6455" y="6718"/>
                  </a:lnTo>
                  <a:cubicBezTo>
                    <a:pt x="6454" y="6753"/>
                    <a:pt x="6451" y="6789"/>
                    <a:pt x="6449" y="6824"/>
                  </a:cubicBezTo>
                  <a:lnTo>
                    <a:pt x="6665" y="6817"/>
                  </a:lnTo>
                  <a:cubicBezTo>
                    <a:pt x="6713" y="6781"/>
                    <a:pt x="6759" y="6743"/>
                    <a:pt x="6807" y="6707"/>
                  </a:cubicBezTo>
                  <a:lnTo>
                    <a:pt x="7070" y="6607"/>
                  </a:lnTo>
                  <a:cubicBezTo>
                    <a:pt x="7057" y="6570"/>
                    <a:pt x="7041" y="6531"/>
                    <a:pt x="7029" y="6493"/>
                  </a:cubicBezTo>
                  <a:cubicBezTo>
                    <a:pt x="7055" y="6509"/>
                    <a:pt x="7081" y="6522"/>
                    <a:pt x="7107" y="6538"/>
                  </a:cubicBezTo>
                  <a:lnTo>
                    <a:pt x="7227" y="6538"/>
                  </a:lnTo>
                  <a:lnTo>
                    <a:pt x="7227" y="6486"/>
                  </a:lnTo>
                  <a:cubicBezTo>
                    <a:pt x="7265" y="6473"/>
                    <a:pt x="7302" y="6459"/>
                    <a:pt x="7340" y="6446"/>
                  </a:cubicBezTo>
                  <a:cubicBezTo>
                    <a:pt x="7334" y="6432"/>
                    <a:pt x="7328" y="6418"/>
                    <a:pt x="7324" y="6405"/>
                  </a:cubicBezTo>
                  <a:lnTo>
                    <a:pt x="6377" y="6488"/>
                  </a:lnTo>
                  <a:lnTo>
                    <a:pt x="6155" y="6463"/>
                  </a:lnTo>
                  <a:cubicBezTo>
                    <a:pt x="6125" y="6473"/>
                    <a:pt x="6095" y="6484"/>
                    <a:pt x="6065" y="6493"/>
                  </a:cubicBezTo>
                  <a:cubicBezTo>
                    <a:pt x="6056" y="6475"/>
                    <a:pt x="6044" y="6455"/>
                    <a:pt x="6035" y="6436"/>
                  </a:cubicBezTo>
                  <a:lnTo>
                    <a:pt x="5930" y="6384"/>
                  </a:lnTo>
                  <a:lnTo>
                    <a:pt x="5508" y="6282"/>
                  </a:lnTo>
                  <a:lnTo>
                    <a:pt x="5259" y="6298"/>
                  </a:lnTo>
                  <a:cubicBezTo>
                    <a:pt x="5227" y="6288"/>
                    <a:pt x="5192" y="6280"/>
                    <a:pt x="5160" y="6270"/>
                  </a:cubicBezTo>
                  <a:cubicBezTo>
                    <a:pt x="5194" y="6261"/>
                    <a:pt x="5230" y="6253"/>
                    <a:pt x="5265" y="6245"/>
                  </a:cubicBezTo>
                  <a:cubicBezTo>
                    <a:pt x="5292" y="6227"/>
                    <a:pt x="5318" y="6208"/>
                    <a:pt x="5344" y="6190"/>
                  </a:cubicBezTo>
                  <a:lnTo>
                    <a:pt x="5462" y="6208"/>
                  </a:lnTo>
                  <a:lnTo>
                    <a:pt x="5602" y="6193"/>
                  </a:lnTo>
                  <a:lnTo>
                    <a:pt x="5813" y="6211"/>
                  </a:lnTo>
                  <a:cubicBezTo>
                    <a:pt x="5821" y="6208"/>
                    <a:pt x="5830" y="6206"/>
                    <a:pt x="5838" y="6204"/>
                  </a:cubicBezTo>
                  <a:lnTo>
                    <a:pt x="6002" y="6287"/>
                  </a:lnTo>
                  <a:lnTo>
                    <a:pt x="6122" y="6257"/>
                  </a:lnTo>
                  <a:cubicBezTo>
                    <a:pt x="6127" y="6248"/>
                    <a:pt x="6130" y="6239"/>
                    <a:pt x="6133" y="6229"/>
                  </a:cubicBezTo>
                  <a:cubicBezTo>
                    <a:pt x="6169" y="6246"/>
                    <a:pt x="6208" y="6261"/>
                    <a:pt x="6244" y="6278"/>
                  </a:cubicBezTo>
                  <a:lnTo>
                    <a:pt x="6391" y="6304"/>
                  </a:lnTo>
                  <a:cubicBezTo>
                    <a:pt x="6413" y="6287"/>
                    <a:pt x="6430" y="6272"/>
                    <a:pt x="6449" y="6255"/>
                  </a:cubicBezTo>
                  <a:cubicBezTo>
                    <a:pt x="6466" y="6263"/>
                    <a:pt x="6480" y="6274"/>
                    <a:pt x="6496" y="6282"/>
                  </a:cubicBezTo>
                  <a:cubicBezTo>
                    <a:pt x="6520" y="6314"/>
                    <a:pt x="6542" y="6344"/>
                    <a:pt x="6565" y="6377"/>
                  </a:cubicBezTo>
                  <a:lnTo>
                    <a:pt x="6707" y="6399"/>
                  </a:lnTo>
                  <a:lnTo>
                    <a:pt x="7286" y="6259"/>
                  </a:lnTo>
                  <a:lnTo>
                    <a:pt x="7571" y="6064"/>
                  </a:lnTo>
                  <a:cubicBezTo>
                    <a:pt x="7591" y="6017"/>
                    <a:pt x="7614" y="5970"/>
                    <a:pt x="7637" y="5921"/>
                  </a:cubicBezTo>
                  <a:cubicBezTo>
                    <a:pt x="7603" y="5878"/>
                    <a:pt x="7568" y="5835"/>
                    <a:pt x="7534" y="5792"/>
                  </a:cubicBezTo>
                  <a:lnTo>
                    <a:pt x="7318" y="5715"/>
                  </a:lnTo>
                  <a:cubicBezTo>
                    <a:pt x="7266" y="5674"/>
                    <a:pt x="7216" y="5632"/>
                    <a:pt x="7164" y="5589"/>
                  </a:cubicBezTo>
                  <a:lnTo>
                    <a:pt x="7307" y="5584"/>
                  </a:lnTo>
                  <a:cubicBezTo>
                    <a:pt x="7303" y="5575"/>
                    <a:pt x="7300" y="5564"/>
                    <a:pt x="7297" y="5554"/>
                  </a:cubicBezTo>
                  <a:lnTo>
                    <a:pt x="6925" y="5465"/>
                  </a:lnTo>
                  <a:cubicBezTo>
                    <a:pt x="6919" y="5439"/>
                    <a:pt x="6914" y="5411"/>
                    <a:pt x="6909" y="5383"/>
                  </a:cubicBezTo>
                  <a:cubicBezTo>
                    <a:pt x="6885" y="5355"/>
                    <a:pt x="6861" y="5326"/>
                    <a:pt x="6837" y="5299"/>
                  </a:cubicBezTo>
                  <a:lnTo>
                    <a:pt x="6543" y="5314"/>
                  </a:lnTo>
                  <a:cubicBezTo>
                    <a:pt x="6509" y="5284"/>
                    <a:pt x="6473" y="5255"/>
                    <a:pt x="6438" y="5224"/>
                  </a:cubicBezTo>
                  <a:cubicBezTo>
                    <a:pt x="6419" y="5223"/>
                    <a:pt x="6395" y="5221"/>
                    <a:pt x="6377" y="5219"/>
                  </a:cubicBezTo>
                  <a:lnTo>
                    <a:pt x="6377" y="5256"/>
                  </a:lnTo>
                  <a:cubicBezTo>
                    <a:pt x="6333" y="5307"/>
                    <a:pt x="6288" y="5357"/>
                    <a:pt x="6244" y="5408"/>
                  </a:cubicBezTo>
                  <a:cubicBezTo>
                    <a:pt x="6198" y="5439"/>
                    <a:pt x="6148" y="5468"/>
                    <a:pt x="6101" y="5498"/>
                  </a:cubicBezTo>
                  <a:lnTo>
                    <a:pt x="5653" y="5651"/>
                  </a:lnTo>
                  <a:lnTo>
                    <a:pt x="5496" y="5646"/>
                  </a:lnTo>
                  <a:lnTo>
                    <a:pt x="5281" y="5669"/>
                  </a:lnTo>
                  <a:lnTo>
                    <a:pt x="5160" y="5646"/>
                  </a:lnTo>
                  <a:lnTo>
                    <a:pt x="5318" y="5604"/>
                  </a:lnTo>
                  <a:lnTo>
                    <a:pt x="5524" y="5584"/>
                  </a:lnTo>
                  <a:lnTo>
                    <a:pt x="5693" y="5513"/>
                  </a:lnTo>
                  <a:lnTo>
                    <a:pt x="5859" y="5480"/>
                  </a:lnTo>
                  <a:lnTo>
                    <a:pt x="6171" y="5355"/>
                  </a:lnTo>
                  <a:cubicBezTo>
                    <a:pt x="6190" y="5327"/>
                    <a:pt x="6210" y="5302"/>
                    <a:pt x="6230" y="5274"/>
                  </a:cubicBezTo>
                  <a:cubicBezTo>
                    <a:pt x="6231" y="5239"/>
                    <a:pt x="6234" y="5204"/>
                    <a:pt x="6235" y="5168"/>
                  </a:cubicBezTo>
                  <a:lnTo>
                    <a:pt x="6092" y="5150"/>
                  </a:lnTo>
                  <a:cubicBezTo>
                    <a:pt x="6111" y="5130"/>
                    <a:pt x="6134" y="5108"/>
                    <a:pt x="6155" y="5086"/>
                  </a:cubicBezTo>
                  <a:cubicBezTo>
                    <a:pt x="6163" y="5058"/>
                    <a:pt x="6169" y="5033"/>
                    <a:pt x="6175" y="5005"/>
                  </a:cubicBezTo>
                  <a:cubicBezTo>
                    <a:pt x="6156" y="4979"/>
                    <a:pt x="6138" y="4953"/>
                    <a:pt x="6115" y="4928"/>
                  </a:cubicBezTo>
                  <a:cubicBezTo>
                    <a:pt x="6105" y="4741"/>
                    <a:pt x="6092" y="4554"/>
                    <a:pt x="6081" y="4367"/>
                  </a:cubicBezTo>
                  <a:cubicBezTo>
                    <a:pt x="6108" y="4327"/>
                    <a:pt x="6139" y="4286"/>
                    <a:pt x="6166" y="4246"/>
                  </a:cubicBezTo>
                  <a:cubicBezTo>
                    <a:pt x="6159" y="4230"/>
                    <a:pt x="6151" y="4213"/>
                    <a:pt x="6144" y="4198"/>
                  </a:cubicBezTo>
                  <a:lnTo>
                    <a:pt x="6391" y="4269"/>
                  </a:lnTo>
                  <a:cubicBezTo>
                    <a:pt x="6395" y="4246"/>
                    <a:pt x="6402" y="4225"/>
                    <a:pt x="6408" y="4202"/>
                  </a:cubicBezTo>
                  <a:cubicBezTo>
                    <a:pt x="6389" y="4144"/>
                    <a:pt x="6372" y="4086"/>
                    <a:pt x="6354" y="4029"/>
                  </a:cubicBezTo>
                  <a:cubicBezTo>
                    <a:pt x="6414" y="3926"/>
                    <a:pt x="6472" y="3822"/>
                    <a:pt x="6532" y="3719"/>
                  </a:cubicBezTo>
                  <a:cubicBezTo>
                    <a:pt x="6496" y="3695"/>
                    <a:pt x="6459" y="3670"/>
                    <a:pt x="6423" y="3645"/>
                  </a:cubicBezTo>
                  <a:cubicBezTo>
                    <a:pt x="6410" y="3623"/>
                    <a:pt x="6394" y="3599"/>
                    <a:pt x="6381" y="3576"/>
                  </a:cubicBezTo>
                  <a:cubicBezTo>
                    <a:pt x="6386" y="3538"/>
                    <a:pt x="6391" y="3502"/>
                    <a:pt x="6395" y="3463"/>
                  </a:cubicBezTo>
                  <a:lnTo>
                    <a:pt x="6656" y="3538"/>
                  </a:lnTo>
                  <a:cubicBezTo>
                    <a:pt x="6659" y="3531"/>
                    <a:pt x="6662" y="3525"/>
                    <a:pt x="6665" y="3516"/>
                  </a:cubicBezTo>
                  <a:cubicBezTo>
                    <a:pt x="6689" y="3510"/>
                    <a:pt x="6713" y="3503"/>
                    <a:pt x="6737" y="3497"/>
                  </a:cubicBezTo>
                  <a:cubicBezTo>
                    <a:pt x="6771" y="3473"/>
                    <a:pt x="6803" y="3447"/>
                    <a:pt x="6837" y="3424"/>
                  </a:cubicBezTo>
                  <a:cubicBezTo>
                    <a:pt x="6842" y="3417"/>
                    <a:pt x="6850" y="3410"/>
                    <a:pt x="6854" y="3404"/>
                  </a:cubicBezTo>
                  <a:cubicBezTo>
                    <a:pt x="6848" y="3395"/>
                    <a:pt x="6840" y="3385"/>
                    <a:pt x="6832" y="3377"/>
                  </a:cubicBezTo>
                  <a:cubicBezTo>
                    <a:pt x="6851" y="3335"/>
                    <a:pt x="6867" y="3293"/>
                    <a:pt x="6886" y="3250"/>
                  </a:cubicBezTo>
                  <a:cubicBezTo>
                    <a:pt x="6864" y="3223"/>
                    <a:pt x="6842" y="3195"/>
                    <a:pt x="6822" y="3167"/>
                  </a:cubicBezTo>
                  <a:cubicBezTo>
                    <a:pt x="6826" y="3144"/>
                    <a:pt x="6829" y="3124"/>
                    <a:pt x="6832" y="3101"/>
                  </a:cubicBezTo>
                  <a:cubicBezTo>
                    <a:pt x="6845" y="3127"/>
                    <a:pt x="6857" y="3152"/>
                    <a:pt x="6868" y="3178"/>
                  </a:cubicBezTo>
                  <a:lnTo>
                    <a:pt x="7011" y="3236"/>
                  </a:lnTo>
                  <a:cubicBezTo>
                    <a:pt x="7031" y="3234"/>
                    <a:pt x="7050" y="3231"/>
                    <a:pt x="7070" y="3229"/>
                  </a:cubicBezTo>
                  <a:cubicBezTo>
                    <a:pt x="7102" y="3204"/>
                    <a:pt x="7134" y="3177"/>
                    <a:pt x="7164" y="3152"/>
                  </a:cubicBezTo>
                  <a:cubicBezTo>
                    <a:pt x="7198" y="3162"/>
                    <a:pt x="7230" y="3173"/>
                    <a:pt x="7265" y="3183"/>
                  </a:cubicBezTo>
                  <a:cubicBezTo>
                    <a:pt x="7274" y="3164"/>
                    <a:pt x="7283" y="3142"/>
                    <a:pt x="7292" y="3122"/>
                  </a:cubicBezTo>
                  <a:lnTo>
                    <a:pt x="7360" y="3080"/>
                  </a:lnTo>
                  <a:lnTo>
                    <a:pt x="7175" y="3036"/>
                  </a:lnTo>
                  <a:lnTo>
                    <a:pt x="7307" y="3045"/>
                  </a:lnTo>
                  <a:cubicBezTo>
                    <a:pt x="7354" y="3030"/>
                    <a:pt x="7398" y="3013"/>
                    <a:pt x="7442" y="2999"/>
                  </a:cubicBezTo>
                  <a:cubicBezTo>
                    <a:pt x="7441" y="2989"/>
                    <a:pt x="7438" y="2976"/>
                    <a:pt x="7437" y="2966"/>
                  </a:cubicBezTo>
                  <a:lnTo>
                    <a:pt x="7565" y="2936"/>
                  </a:lnTo>
                  <a:cubicBezTo>
                    <a:pt x="7569" y="2910"/>
                    <a:pt x="7573" y="2884"/>
                    <a:pt x="7576" y="2859"/>
                  </a:cubicBezTo>
                  <a:lnTo>
                    <a:pt x="7676" y="2844"/>
                  </a:lnTo>
                  <a:cubicBezTo>
                    <a:pt x="7679" y="2813"/>
                    <a:pt x="7681" y="2783"/>
                    <a:pt x="7684" y="2754"/>
                  </a:cubicBezTo>
                  <a:cubicBezTo>
                    <a:pt x="7719" y="2749"/>
                    <a:pt x="7755" y="2747"/>
                    <a:pt x="7790" y="2743"/>
                  </a:cubicBezTo>
                  <a:lnTo>
                    <a:pt x="7953" y="2762"/>
                  </a:lnTo>
                  <a:lnTo>
                    <a:pt x="8132" y="2690"/>
                  </a:lnTo>
                  <a:cubicBezTo>
                    <a:pt x="8152" y="2662"/>
                    <a:pt x="8175" y="2635"/>
                    <a:pt x="8195" y="2607"/>
                  </a:cubicBezTo>
                  <a:lnTo>
                    <a:pt x="8417" y="2524"/>
                  </a:lnTo>
                  <a:cubicBezTo>
                    <a:pt x="8456" y="2541"/>
                    <a:pt x="8492" y="2558"/>
                    <a:pt x="8527" y="2575"/>
                  </a:cubicBezTo>
                  <a:lnTo>
                    <a:pt x="8695" y="2519"/>
                  </a:lnTo>
                  <a:cubicBezTo>
                    <a:pt x="8710" y="2493"/>
                    <a:pt x="8722" y="2469"/>
                    <a:pt x="8736" y="2445"/>
                  </a:cubicBezTo>
                  <a:cubicBezTo>
                    <a:pt x="8779" y="2429"/>
                    <a:pt x="8821" y="2412"/>
                    <a:pt x="8864" y="2396"/>
                  </a:cubicBezTo>
                  <a:cubicBezTo>
                    <a:pt x="8900" y="2404"/>
                    <a:pt x="8937" y="2410"/>
                    <a:pt x="8973" y="2418"/>
                  </a:cubicBezTo>
                  <a:cubicBezTo>
                    <a:pt x="8997" y="2405"/>
                    <a:pt x="9020" y="2394"/>
                    <a:pt x="9042" y="2381"/>
                  </a:cubicBezTo>
                  <a:lnTo>
                    <a:pt x="9231" y="2330"/>
                  </a:lnTo>
                  <a:cubicBezTo>
                    <a:pt x="9257" y="2307"/>
                    <a:pt x="9285" y="2286"/>
                    <a:pt x="9310" y="2263"/>
                  </a:cubicBezTo>
                  <a:cubicBezTo>
                    <a:pt x="9346" y="2255"/>
                    <a:pt x="9381" y="2244"/>
                    <a:pt x="9417" y="2235"/>
                  </a:cubicBezTo>
                  <a:lnTo>
                    <a:pt x="10000" y="1832"/>
                  </a:lnTo>
                  <a:lnTo>
                    <a:pt x="9652" y="1699"/>
                  </a:lnTo>
                  <a:lnTo>
                    <a:pt x="9147" y="1773"/>
                  </a:lnTo>
                  <a:lnTo>
                    <a:pt x="8784" y="1639"/>
                  </a:lnTo>
                  <a:cubicBezTo>
                    <a:pt x="8766" y="1568"/>
                    <a:pt x="8868" y="1551"/>
                    <a:pt x="8850" y="1480"/>
                  </a:cubicBezTo>
                  <a:lnTo>
                    <a:pt x="7497" y="923"/>
                  </a:lnTo>
                  <a:cubicBezTo>
                    <a:pt x="7505" y="832"/>
                    <a:pt x="7514" y="740"/>
                    <a:pt x="7522" y="649"/>
                  </a:cubicBezTo>
                  <a:lnTo>
                    <a:pt x="7012" y="590"/>
                  </a:lnTo>
                  <a:lnTo>
                    <a:pt x="6413" y="332"/>
                  </a:lnTo>
                  <a:lnTo>
                    <a:pt x="5098" y="0"/>
                  </a:lnTo>
                  <a:lnTo>
                    <a:pt x="4837" y="82"/>
                  </a:lnTo>
                  <a:lnTo>
                    <a:pt x="4671" y="78"/>
                  </a:lnTo>
                  <a:cubicBezTo>
                    <a:pt x="4638" y="87"/>
                    <a:pt x="4604" y="96"/>
                    <a:pt x="4571" y="107"/>
                  </a:cubicBezTo>
                  <a:cubicBezTo>
                    <a:pt x="4479" y="375"/>
                    <a:pt x="4390" y="645"/>
                    <a:pt x="4298" y="913"/>
                  </a:cubicBezTo>
                  <a:lnTo>
                    <a:pt x="3668" y="1383"/>
                  </a:lnTo>
                  <a:cubicBezTo>
                    <a:pt x="3669" y="1407"/>
                    <a:pt x="3671" y="1432"/>
                    <a:pt x="3672" y="1457"/>
                  </a:cubicBezTo>
                  <a:lnTo>
                    <a:pt x="3952" y="1668"/>
                  </a:lnTo>
                  <a:cubicBezTo>
                    <a:pt x="3920" y="1743"/>
                    <a:pt x="3892" y="1821"/>
                    <a:pt x="3861" y="1896"/>
                  </a:cubicBezTo>
                  <a:lnTo>
                    <a:pt x="3698" y="1979"/>
                  </a:lnTo>
                  <a:lnTo>
                    <a:pt x="3208" y="1924"/>
                  </a:lnTo>
                  <a:lnTo>
                    <a:pt x="2871" y="1955"/>
                  </a:lnTo>
                  <a:lnTo>
                    <a:pt x="2601" y="2023"/>
                  </a:lnTo>
                  <a:lnTo>
                    <a:pt x="2163" y="2233"/>
                  </a:lnTo>
                  <a:cubicBezTo>
                    <a:pt x="2084" y="2318"/>
                    <a:pt x="2007" y="2402"/>
                    <a:pt x="1931" y="2487"/>
                  </a:cubicBezTo>
                  <a:cubicBezTo>
                    <a:pt x="1937" y="2535"/>
                    <a:pt x="1943" y="2582"/>
                    <a:pt x="1951" y="2629"/>
                  </a:cubicBezTo>
                  <a:cubicBezTo>
                    <a:pt x="1979" y="2665"/>
                    <a:pt x="2005" y="2702"/>
                    <a:pt x="2032" y="2738"/>
                  </a:cubicBezTo>
                  <a:cubicBezTo>
                    <a:pt x="2052" y="2754"/>
                    <a:pt x="2073" y="2767"/>
                    <a:pt x="2093" y="2782"/>
                  </a:cubicBezTo>
                  <a:lnTo>
                    <a:pt x="1979" y="2852"/>
                  </a:lnTo>
                  <a:cubicBezTo>
                    <a:pt x="1896" y="3011"/>
                    <a:pt x="1814" y="3171"/>
                    <a:pt x="1731" y="3330"/>
                  </a:cubicBezTo>
                  <a:cubicBezTo>
                    <a:pt x="1748" y="3338"/>
                    <a:pt x="1763" y="3348"/>
                    <a:pt x="1779" y="3358"/>
                  </a:cubicBezTo>
                  <a:cubicBezTo>
                    <a:pt x="1790" y="3398"/>
                    <a:pt x="1805" y="3438"/>
                    <a:pt x="1815" y="3479"/>
                  </a:cubicBezTo>
                  <a:cubicBezTo>
                    <a:pt x="1778" y="3646"/>
                    <a:pt x="1739" y="3813"/>
                    <a:pt x="1700" y="3982"/>
                  </a:cubicBezTo>
                  <a:cubicBezTo>
                    <a:pt x="1738" y="4025"/>
                    <a:pt x="1777" y="4067"/>
                    <a:pt x="1815" y="4110"/>
                  </a:cubicBezTo>
                  <a:lnTo>
                    <a:pt x="2131" y="4251"/>
                  </a:lnTo>
                  <a:cubicBezTo>
                    <a:pt x="2135" y="4309"/>
                    <a:pt x="2141" y="4366"/>
                    <a:pt x="2145" y="4423"/>
                  </a:cubicBezTo>
                  <a:cubicBezTo>
                    <a:pt x="2099" y="4472"/>
                    <a:pt x="2057" y="4519"/>
                    <a:pt x="2010" y="4566"/>
                  </a:cubicBezTo>
                  <a:lnTo>
                    <a:pt x="1815" y="4652"/>
                  </a:lnTo>
                  <a:lnTo>
                    <a:pt x="1557" y="4687"/>
                  </a:lnTo>
                  <a:cubicBezTo>
                    <a:pt x="1535" y="4704"/>
                    <a:pt x="1513" y="4720"/>
                    <a:pt x="1490" y="4737"/>
                  </a:cubicBezTo>
                  <a:lnTo>
                    <a:pt x="1640" y="4855"/>
                  </a:lnTo>
                  <a:cubicBezTo>
                    <a:pt x="1668" y="4949"/>
                    <a:pt x="1699" y="5042"/>
                    <a:pt x="1726" y="5136"/>
                  </a:cubicBezTo>
                  <a:lnTo>
                    <a:pt x="1531" y="5376"/>
                  </a:lnTo>
                  <a:cubicBezTo>
                    <a:pt x="1552" y="5401"/>
                    <a:pt x="1576" y="5425"/>
                    <a:pt x="1599" y="5451"/>
                  </a:cubicBezTo>
                  <a:cubicBezTo>
                    <a:pt x="1579" y="5492"/>
                    <a:pt x="1557" y="5536"/>
                    <a:pt x="1537" y="5577"/>
                  </a:cubicBezTo>
                  <a:lnTo>
                    <a:pt x="1412" y="5663"/>
                  </a:lnTo>
                  <a:lnTo>
                    <a:pt x="915" y="5730"/>
                  </a:lnTo>
                  <a:cubicBezTo>
                    <a:pt x="903" y="5770"/>
                    <a:pt x="895" y="5807"/>
                    <a:pt x="885" y="5846"/>
                  </a:cubicBezTo>
                  <a:lnTo>
                    <a:pt x="617" y="6019"/>
                  </a:lnTo>
                  <a:cubicBezTo>
                    <a:pt x="628" y="6103"/>
                    <a:pt x="640" y="6184"/>
                    <a:pt x="652" y="6268"/>
                  </a:cubicBezTo>
                  <a:lnTo>
                    <a:pt x="427" y="6587"/>
                  </a:lnTo>
                  <a:lnTo>
                    <a:pt x="274" y="6624"/>
                  </a:lnTo>
                  <a:cubicBezTo>
                    <a:pt x="252" y="6599"/>
                    <a:pt x="231" y="6573"/>
                    <a:pt x="210" y="6548"/>
                  </a:cubicBezTo>
                  <a:cubicBezTo>
                    <a:pt x="184" y="6587"/>
                    <a:pt x="157" y="6624"/>
                    <a:pt x="132" y="6663"/>
                  </a:cubicBezTo>
                  <a:cubicBezTo>
                    <a:pt x="148" y="6598"/>
                    <a:pt x="169" y="6531"/>
                    <a:pt x="183" y="6465"/>
                  </a:cubicBezTo>
                  <a:cubicBezTo>
                    <a:pt x="174" y="6453"/>
                    <a:pt x="164" y="6440"/>
                    <a:pt x="151" y="6427"/>
                  </a:cubicBezTo>
                </a:path>
              </a:pathLst>
            </a:custGeom>
            <a:solidFill>
              <a:srgbClr val="7359A0"/>
            </a:solidFill>
            <a:ln w="12700">
              <a:solidFill>
                <a:sysClr val="window" lastClr="FFFFFF"/>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1" u="none" strike="noStrike" kern="0" cap="none" spc="0" normalizeH="0" baseline="0" noProof="0" dirty="0">
                <a:ln>
                  <a:noFill/>
                </a:ln>
                <a:solidFill>
                  <a:prstClr val="black"/>
                </a:solidFill>
                <a:effectLst/>
                <a:uLnTx/>
                <a:uFillTx/>
                <a:latin typeface="Arial" panose="020B0604020202020204"/>
                <a:ea typeface="+mn-ea"/>
                <a:cs typeface="+mn-cs"/>
              </a:endParaRPr>
            </a:p>
          </p:txBody>
        </p:sp>
        <p:sp>
          <p:nvSpPr>
            <p:cNvPr id="481" name="Nordic 4">
              <a:extLst>
                <a:ext uri="{FF2B5EF4-FFF2-40B4-BE49-F238E27FC236}">
                  <a16:creationId xmlns:a16="http://schemas.microsoft.com/office/drawing/2014/main" id="{D2066799-F43B-5959-8BF8-F023DFB646AB}"/>
                </a:ext>
              </a:extLst>
            </p:cNvPr>
            <p:cNvSpPr>
              <a:spLocks/>
            </p:cNvSpPr>
            <p:nvPr/>
          </p:nvSpPr>
          <p:spPr bwMode="auto">
            <a:xfrm rot="21249101">
              <a:off x="7942923" y="388638"/>
              <a:ext cx="1962484" cy="2077565"/>
            </a:xfrm>
            <a:custGeom>
              <a:avLst/>
              <a:gdLst>
                <a:gd name="T0" fmla="*/ 2147483647 w 4138"/>
                <a:gd name="T1" fmla="*/ 2147483647 h 4588"/>
                <a:gd name="T2" fmla="*/ 2147483647 w 4138"/>
                <a:gd name="T3" fmla="*/ 2147483647 h 4588"/>
                <a:gd name="T4" fmla="*/ 2147483647 w 4138"/>
                <a:gd name="T5" fmla="*/ 2147483647 h 4588"/>
                <a:gd name="T6" fmla="*/ 2147483647 w 4138"/>
                <a:gd name="T7" fmla="*/ 2147483647 h 4588"/>
                <a:gd name="T8" fmla="*/ 2147483647 w 4138"/>
                <a:gd name="T9" fmla="*/ 2147483647 h 4588"/>
                <a:gd name="T10" fmla="*/ 2147483647 w 4138"/>
                <a:gd name="T11" fmla="*/ 2147483647 h 4588"/>
                <a:gd name="T12" fmla="*/ 2147483647 w 4138"/>
                <a:gd name="T13" fmla="*/ 2147483647 h 4588"/>
                <a:gd name="T14" fmla="*/ 2147483647 w 4138"/>
                <a:gd name="T15" fmla="*/ 2147483647 h 4588"/>
                <a:gd name="T16" fmla="*/ 2147483647 w 4138"/>
                <a:gd name="T17" fmla="*/ 2147483647 h 4588"/>
                <a:gd name="T18" fmla="*/ 2147483647 w 4138"/>
                <a:gd name="T19" fmla="*/ 2147483647 h 4588"/>
                <a:gd name="T20" fmla="*/ 2147483647 w 4138"/>
                <a:gd name="T21" fmla="*/ 2147483647 h 4588"/>
                <a:gd name="T22" fmla="*/ 2147483647 w 4138"/>
                <a:gd name="T23" fmla="*/ 2147483647 h 4588"/>
                <a:gd name="T24" fmla="*/ 2147483647 w 4138"/>
                <a:gd name="T25" fmla="*/ 2147483647 h 4588"/>
                <a:gd name="T26" fmla="*/ 2147483647 w 4138"/>
                <a:gd name="T27" fmla="*/ 2147483647 h 4588"/>
                <a:gd name="T28" fmla="*/ 2147483647 w 4138"/>
                <a:gd name="T29" fmla="*/ 2147483647 h 4588"/>
                <a:gd name="T30" fmla="*/ 2147483647 w 4138"/>
                <a:gd name="T31" fmla="*/ 2147483647 h 4588"/>
                <a:gd name="T32" fmla="*/ 2147483647 w 4138"/>
                <a:gd name="T33" fmla="*/ 2147483647 h 4588"/>
                <a:gd name="T34" fmla="*/ 2147483647 w 4138"/>
                <a:gd name="T35" fmla="*/ 2147483647 h 4588"/>
                <a:gd name="T36" fmla="*/ 2147483647 w 4138"/>
                <a:gd name="T37" fmla="*/ 2147483647 h 4588"/>
                <a:gd name="T38" fmla="*/ 2147483647 w 4138"/>
                <a:gd name="T39" fmla="*/ 2147483647 h 4588"/>
                <a:gd name="T40" fmla="*/ 2147483647 w 4138"/>
                <a:gd name="T41" fmla="*/ 2147483647 h 4588"/>
                <a:gd name="T42" fmla="*/ 2147483647 w 4138"/>
                <a:gd name="T43" fmla="*/ 2147483647 h 4588"/>
                <a:gd name="T44" fmla="*/ 2147483647 w 4138"/>
                <a:gd name="T45" fmla="*/ 2147483647 h 4588"/>
                <a:gd name="T46" fmla="*/ 2147483647 w 4138"/>
                <a:gd name="T47" fmla="*/ 2147483647 h 4588"/>
                <a:gd name="T48" fmla="*/ 2147483647 w 4138"/>
                <a:gd name="T49" fmla="*/ 2147483647 h 4588"/>
                <a:gd name="T50" fmla="*/ 2147483647 w 4138"/>
                <a:gd name="T51" fmla="*/ 2147483647 h 4588"/>
                <a:gd name="T52" fmla="*/ 2147483647 w 4138"/>
                <a:gd name="T53" fmla="*/ 2147483647 h 4588"/>
                <a:gd name="T54" fmla="*/ 2147483647 w 4138"/>
                <a:gd name="T55" fmla="*/ 2147483647 h 4588"/>
                <a:gd name="T56" fmla="*/ 2147483647 w 4138"/>
                <a:gd name="T57" fmla="*/ 2147483647 h 4588"/>
                <a:gd name="T58" fmla="*/ 2147483647 w 4138"/>
                <a:gd name="T59" fmla="*/ 2147483647 h 4588"/>
                <a:gd name="T60" fmla="*/ 2147483647 w 4138"/>
                <a:gd name="T61" fmla="*/ 2147483647 h 4588"/>
                <a:gd name="T62" fmla="*/ 2147483647 w 4138"/>
                <a:gd name="T63" fmla="*/ 2147483647 h 4588"/>
                <a:gd name="T64" fmla="*/ 2147483647 w 4138"/>
                <a:gd name="T65" fmla="*/ 2147483647 h 4588"/>
                <a:gd name="T66" fmla="*/ 2147483647 w 4138"/>
                <a:gd name="T67" fmla="*/ 2147483647 h 4588"/>
                <a:gd name="T68" fmla="*/ 2147483647 w 4138"/>
                <a:gd name="T69" fmla="*/ 2147483647 h 4588"/>
                <a:gd name="T70" fmla="*/ 2147483647 w 4138"/>
                <a:gd name="T71" fmla="*/ 2147483647 h 4588"/>
                <a:gd name="T72" fmla="*/ 2147483647 w 4138"/>
                <a:gd name="T73" fmla="*/ 2147483647 h 4588"/>
                <a:gd name="T74" fmla="*/ 2147483647 w 4138"/>
                <a:gd name="T75" fmla="*/ 2147483647 h 4588"/>
                <a:gd name="T76" fmla="*/ 2147483647 w 4138"/>
                <a:gd name="T77" fmla="*/ 2147483647 h 4588"/>
                <a:gd name="T78" fmla="*/ 2147483647 w 4138"/>
                <a:gd name="T79" fmla="*/ 2147483647 h 4588"/>
                <a:gd name="T80" fmla="*/ 2147483647 w 4138"/>
                <a:gd name="T81" fmla="*/ 2147483647 h 4588"/>
                <a:gd name="T82" fmla="*/ 2147483647 w 4138"/>
                <a:gd name="T83" fmla="*/ 2147483647 h 4588"/>
                <a:gd name="T84" fmla="*/ 2147483647 w 4138"/>
                <a:gd name="T85" fmla="*/ 2147483647 h 4588"/>
                <a:gd name="T86" fmla="*/ 2147483647 w 4138"/>
                <a:gd name="T87" fmla="*/ 2147483647 h 4588"/>
                <a:gd name="T88" fmla="*/ 2147483647 w 4138"/>
                <a:gd name="T89" fmla="*/ 2147483647 h 4588"/>
                <a:gd name="T90" fmla="*/ 2147483647 w 4138"/>
                <a:gd name="T91" fmla="*/ 2147483647 h 4588"/>
                <a:gd name="T92" fmla="*/ 2147483647 w 4138"/>
                <a:gd name="T93" fmla="*/ 2147483647 h 4588"/>
                <a:gd name="T94" fmla="*/ 2147483647 w 4138"/>
                <a:gd name="T95" fmla="*/ 2147483647 h 4588"/>
                <a:gd name="T96" fmla="*/ 2147483647 w 4138"/>
                <a:gd name="T97" fmla="*/ 2147483647 h 4588"/>
                <a:gd name="T98" fmla="*/ 2147483647 w 4138"/>
                <a:gd name="T99" fmla="*/ 2147483647 h 4588"/>
                <a:gd name="T100" fmla="*/ 2147483647 w 4138"/>
                <a:gd name="T101" fmla="*/ 2147483647 h 4588"/>
                <a:gd name="T102" fmla="*/ 2147483647 w 4138"/>
                <a:gd name="T103" fmla="*/ 2147483647 h 4588"/>
                <a:gd name="T104" fmla="*/ 2147483647 w 4138"/>
                <a:gd name="T105" fmla="*/ 2147483647 h 4588"/>
                <a:gd name="T106" fmla="*/ 2147483647 w 4138"/>
                <a:gd name="T107" fmla="*/ 2147483647 h 4588"/>
                <a:gd name="T108" fmla="*/ 2147483647 w 4138"/>
                <a:gd name="T109" fmla="*/ 2147483647 h 4588"/>
                <a:gd name="T110" fmla="*/ 2147483647 w 4138"/>
                <a:gd name="T111" fmla="*/ 2147483647 h 4588"/>
                <a:gd name="T112" fmla="*/ 2147483647 w 4138"/>
                <a:gd name="T113" fmla="*/ 2147483647 h 4588"/>
                <a:gd name="T114" fmla="*/ 2147483647 w 4138"/>
                <a:gd name="T115" fmla="*/ 2147483647 h 4588"/>
                <a:gd name="T116" fmla="*/ 2147483647 w 4138"/>
                <a:gd name="T117" fmla="*/ 2147483647 h 45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138"/>
                <a:gd name="T178" fmla="*/ 0 h 4588"/>
                <a:gd name="T179" fmla="*/ 4138 w 4138"/>
                <a:gd name="T180" fmla="*/ 4588 h 45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138" h="4588">
                  <a:moveTo>
                    <a:pt x="4129" y="422"/>
                  </a:moveTo>
                  <a:lnTo>
                    <a:pt x="4073" y="419"/>
                  </a:lnTo>
                  <a:lnTo>
                    <a:pt x="4076" y="468"/>
                  </a:lnTo>
                  <a:lnTo>
                    <a:pt x="4064" y="470"/>
                  </a:lnTo>
                  <a:lnTo>
                    <a:pt x="4063" y="461"/>
                  </a:lnTo>
                  <a:lnTo>
                    <a:pt x="4040" y="458"/>
                  </a:lnTo>
                  <a:lnTo>
                    <a:pt x="4029" y="444"/>
                  </a:lnTo>
                  <a:lnTo>
                    <a:pt x="4034" y="473"/>
                  </a:lnTo>
                  <a:lnTo>
                    <a:pt x="4031" y="479"/>
                  </a:lnTo>
                  <a:lnTo>
                    <a:pt x="4016" y="458"/>
                  </a:lnTo>
                  <a:lnTo>
                    <a:pt x="3987" y="467"/>
                  </a:lnTo>
                  <a:lnTo>
                    <a:pt x="3964" y="485"/>
                  </a:lnTo>
                  <a:lnTo>
                    <a:pt x="3969" y="455"/>
                  </a:lnTo>
                  <a:lnTo>
                    <a:pt x="3984" y="439"/>
                  </a:lnTo>
                  <a:lnTo>
                    <a:pt x="4000" y="432"/>
                  </a:lnTo>
                  <a:lnTo>
                    <a:pt x="4005" y="418"/>
                  </a:lnTo>
                  <a:lnTo>
                    <a:pt x="3999" y="406"/>
                  </a:lnTo>
                  <a:lnTo>
                    <a:pt x="3985" y="391"/>
                  </a:lnTo>
                  <a:lnTo>
                    <a:pt x="3938" y="403"/>
                  </a:lnTo>
                  <a:lnTo>
                    <a:pt x="3944" y="389"/>
                  </a:lnTo>
                  <a:lnTo>
                    <a:pt x="3869" y="344"/>
                  </a:lnTo>
                  <a:lnTo>
                    <a:pt x="3836" y="341"/>
                  </a:lnTo>
                  <a:lnTo>
                    <a:pt x="3824" y="329"/>
                  </a:lnTo>
                  <a:lnTo>
                    <a:pt x="3827" y="321"/>
                  </a:lnTo>
                  <a:lnTo>
                    <a:pt x="3826" y="311"/>
                  </a:lnTo>
                  <a:lnTo>
                    <a:pt x="3997" y="326"/>
                  </a:lnTo>
                  <a:lnTo>
                    <a:pt x="4068" y="248"/>
                  </a:lnTo>
                  <a:lnTo>
                    <a:pt x="4094" y="234"/>
                  </a:lnTo>
                  <a:lnTo>
                    <a:pt x="4107" y="215"/>
                  </a:lnTo>
                  <a:lnTo>
                    <a:pt x="4097" y="187"/>
                  </a:lnTo>
                  <a:lnTo>
                    <a:pt x="4068" y="178"/>
                  </a:lnTo>
                  <a:lnTo>
                    <a:pt x="4045" y="150"/>
                  </a:lnTo>
                  <a:lnTo>
                    <a:pt x="4009" y="155"/>
                  </a:lnTo>
                  <a:lnTo>
                    <a:pt x="3989" y="148"/>
                  </a:lnTo>
                  <a:lnTo>
                    <a:pt x="4006" y="132"/>
                  </a:lnTo>
                  <a:lnTo>
                    <a:pt x="3970" y="118"/>
                  </a:lnTo>
                  <a:lnTo>
                    <a:pt x="3955" y="99"/>
                  </a:lnTo>
                  <a:lnTo>
                    <a:pt x="3942" y="122"/>
                  </a:lnTo>
                  <a:lnTo>
                    <a:pt x="3930" y="130"/>
                  </a:lnTo>
                  <a:lnTo>
                    <a:pt x="3927" y="114"/>
                  </a:lnTo>
                  <a:lnTo>
                    <a:pt x="3920" y="105"/>
                  </a:lnTo>
                  <a:lnTo>
                    <a:pt x="3879" y="127"/>
                  </a:lnTo>
                  <a:lnTo>
                    <a:pt x="3875" y="122"/>
                  </a:lnTo>
                  <a:lnTo>
                    <a:pt x="3872" y="113"/>
                  </a:lnTo>
                  <a:lnTo>
                    <a:pt x="3873" y="102"/>
                  </a:lnTo>
                  <a:lnTo>
                    <a:pt x="3869" y="82"/>
                  </a:lnTo>
                  <a:lnTo>
                    <a:pt x="3858" y="75"/>
                  </a:lnTo>
                  <a:lnTo>
                    <a:pt x="3851" y="61"/>
                  </a:lnTo>
                  <a:lnTo>
                    <a:pt x="3832" y="72"/>
                  </a:lnTo>
                  <a:lnTo>
                    <a:pt x="3816" y="65"/>
                  </a:lnTo>
                  <a:lnTo>
                    <a:pt x="3800" y="73"/>
                  </a:lnTo>
                  <a:lnTo>
                    <a:pt x="3784" y="109"/>
                  </a:lnTo>
                  <a:lnTo>
                    <a:pt x="3799" y="211"/>
                  </a:lnTo>
                  <a:lnTo>
                    <a:pt x="3773" y="228"/>
                  </a:lnTo>
                  <a:lnTo>
                    <a:pt x="3750" y="216"/>
                  </a:lnTo>
                  <a:lnTo>
                    <a:pt x="3725" y="225"/>
                  </a:lnTo>
                  <a:lnTo>
                    <a:pt x="3718" y="215"/>
                  </a:lnTo>
                  <a:lnTo>
                    <a:pt x="3739" y="192"/>
                  </a:lnTo>
                  <a:lnTo>
                    <a:pt x="3755" y="158"/>
                  </a:lnTo>
                  <a:lnTo>
                    <a:pt x="3743" y="138"/>
                  </a:lnTo>
                  <a:lnTo>
                    <a:pt x="3711" y="166"/>
                  </a:lnTo>
                  <a:lnTo>
                    <a:pt x="3690" y="168"/>
                  </a:lnTo>
                  <a:lnTo>
                    <a:pt x="3720" y="139"/>
                  </a:lnTo>
                  <a:lnTo>
                    <a:pt x="3697" y="116"/>
                  </a:lnTo>
                  <a:lnTo>
                    <a:pt x="3709" y="97"/>
                  </a:lnTo>
                  <a:lnTo>
                    <a:pt x="3748" y="98"/>
                  </a:lnTo>
                  <a:lnTo>
                    <a:pt x="3760" y="65"/>
                  </a:lnTo>
                  <a:lnTo>
                    <a:pt x="3758" y="30"/>
                  </a:lnTo>
                  <a:lnTo>
                    <a:pt x="3731" y="33"/>
                  </a:lnTo>
                  <a:lnTo>
                    <a:pt x="3732" y="12"/>
                  </a:lnTo>
                  <a:lnTo>
                    <a:pt x="3715" y="0"/>
                  </a:lnTo>
                  <a:lnTo>
                    <a:pt x="3702" y="2"/>
                  </a:lnTo>
                  <a:lnTo>
                    <a:pt x="3677" y="27"/>
                  </a:lnTo>
                  <a:lnTo>
                    <a:pt x="3649" y="2"/>
                  </a:lnTo>
                  <a:lnTo>
                    <a:pt x="3636" y="112"/>
                  </a:lnTo>
                  <a:lnTo>
                    <a:pt x="3624" y="133"/>
                  </a:lnTo>
                  <a:lnTo>
                    <a:pt x="3621" y="152"/>
                  </a:lnTo>
                  <a:lnTo>
                    <a:pt x="3626" y="176"/>
                  </a:lnTo>
                  <a:lnTo>
                    <a:pt x="3610" y="180"/>
                  </a:lnTo>
                  <a:lnTo>
                    <a:pt x="3604" y="201"/>
                  </a:lnTo>
                  <a:lnTo>
                    <a:pt x="3609" y="234"/>
                  </a:lnTo>
                  <a:lnTo>
                    <a:pt x="3583" y="238"/>
                  </a:lnTo>
                  <a:lnTo>
                    <a:pt x="3554" y="274"/>
                  </a:lnTo>
                  <a:lnTo>
                    <a:pt x="3560" y="197"/>
                  </a:lnTo>
                  <a:lnTo>
                    <a:pt x="3534" y="168"/>
                  </a:lnTo>
                  <a:lnTo>
                    <a:pt x="3553" y="147"/>
                  </a:lnTo>
                  <a:lnTo>
                    <a:pt x="3542" y="76"/>
                  </a:lnTo>
                  <a:lnTo>
                    <a:pt x="3532" y="73"/>
                  </a:lnTo>
                  <a:lnTo>
                    <a:pt x="3518" y="82"/>
                  </a:lnTo>
                  <a:lnTo>
                    <a:pt x="3404" y="336"/>
                  </a:lnTo>
                  <a:lnTo>
                    <a:pt x="3422" y="314"/>
                  </a:lnTo>
                  <a:lnTo>
                    <a:pt x="3379" y="398"/>
                  </a:lnTo>
                  <a:lnTo>
                    <a:pt x="3361" y="410"/>
                  </a:lnTo>
                  <a:lnTo>
                    <a:pt x="3357" y="356"/>
                  </a:lnTo>
                  <a:lnTo>
                    <a:pt x="3367" y="336"/>
                  </a:lnTo>
                  <a:lnTo>
                    <a:pt x="3379" y="328"/>
                  </a:lnTo>
                  <a:lnTo>
                    <a:pt x="3380" y="273"/>
                  </a:lnTo>
                  <a:lnTo>
                    <a:pt x="3376" y="257"/>
                  </a:lnTo>
                  <a:lnTo>
                    <a:pt x="3444" y="114"/>
                  </a:lnTo>
                  <a:lnTo>
                    <a:pt x="3422" y="103"/>
                  </a:lnTo>
                  <a:lnTo>
                    <a:pt x="3391" y="131"/>
                  </a:lnTo>
                  <a:lnTo>
                    <a:pt x="3371" y="138"/>
                  </a:lnTo>
                  <a:lnTo>
                    <a:pt x="3366" y="111"/>
                  </a:lnTo>
                  <a:lnTo>
                    <a:pt x="3351" y="102"/>
                  </a:lnTo>
                  <a:lnTo>
                    <a:pt x="3342" y="90"/>
                  </a:lnTo>
                  <a:lnTo>
                    <a:pt x="3337" y="74"/>
                  </a:lnTo>
                  <a:lnTo>
                    <a:pt x="3318" y="102"/>
                  </a:lnTo>
                  <a:lnTo>
                    <a:pt x="3311" y="89"/>
                  </a:lnTo>
                  <a:lnTo>
                    <a:pt x="3295" y="90"/>
                  </a:lnTo>
                  <a:lnTo>
                    <a:pt x="3295" y="144"/>
                  </a:lnTo>
                  <a:lnTo>
                    <a:pt x="3263" y="135"/>
                  </a:lnTo>
                  <a:lnTo>
                    <a:pt x="3279" y="164"/>
                  </a:lnTo>
                  <a:lnTo>
                    <a:pt x="3297" y="180"/>
                  </a:lnTo>
                  <a:lnTo>
                    <a:pt x="3302" y="191"/>
                  </a:lnTo>
                  <a:lnTo>
                    <a:pt x="3271" y="209"/>
                  </a:lnTo>
                  <a:lnTo>
                    <a:pt x="3257" y="235"/>
                  </a:lnTo>
                  <a:lnTo>
                    <a:pt x="3267" y="264"/>
                  </a:lnTo>
                  <a:lnTo>
                    <a:pt x="3212" y="267"/>
                  </a:lnTo>
                  <a:lnTo>
                    <a:pt x="3184" y="300"/>
                  </a:lnTo>
                  <a:lnTo>
                    <a:pt x="3174" y="325"/>
                  </a:lnTo>
                  <a:lnTo>
                    <a:pt x="3148" y="360"/>
                  </a:lnTo>
                  <a:lnTo>
                    <a:pt x="3146" y="374"/>
                  </a:lnTo>
                  <a:lnTo>
                    <a:pt x="3152" y="392"/>
                  </a:lnTo>
                  <a:lnTo>
                    <a:pt x="3147" y="449"/>
                  </a:lnTo>
                  <a:lnTo>
                    <a:pt x="3129" y="453"/>
                  </a:lnTo>
                  <a:lnTo>
                    <a:pt x="3116" y="440"/>
                  </a:lnTo>
                  <a:lnTo>
                    <a:pt x="3115" y="419"/>
                  </a:lnTo>
                  <a:lnTo>
                    <a:pt x="3127" y="410"/>
                  </a:lnTo>
                  <a:lnTo>
                    <a:pt x="3096" y="403"/>
                  </a:lnTo>
                  <a:lnTo>
                    <a:pt x="3109" y="379"/>
                  </a:lnTo>
                  <a:lnTo>
                    <a:pt x="3106" y="374"/>
                  </a:lnTo>
                  <a:lnTo>
                    <a:pt x="3037" y="367"/>
                  </a:lnTo>
                  <a:lnTo>
                    <a:pt x="3044" y="396"/>
                  </a:lnTo>
                  <a:lnTo>
                    <a:pt x="3034" y="401"/>
                  </a:lnTo>
                  <a:lnTo>
                    <a:pt x="3016" y="394"/>
                  </a:lnTo>
                  <a:lnTo>
                    <a:pt x="3015" y="378"/>
                  </a:lnTo>
                  <a:lnTo>
                    <a:pt x="3007" y="356"/>
                  </a:lnTo>
                  <a:lnTo>
                    <a:pt x="2999" y="363"/>
                  </a:lnTo>
                  <a:lnTo>
                    <a:pt x="2994" y="341"/>
                  </a:lnTo>
                  <a:lnTo>
                    <a:pt x="2980" y="353"/>
                  </a:lnTo>
                  <a:lnTo>
                    <a:pt x="2974" y="341"/>
                  </a:lnTo>
                  <a:lnTo>
                    <a:pt x="2962" y="354"/>
                  </a:lnTo>
                  <a:lnTo>
                    <a:pt x="2962" y="392"/>
                  </a:lnTo>
                  <a:lnTo>
                    <a:pt x="2938" y="348"/>
                  </a:lnTo>
                  <a:lnTo>
                    <a:pt x="2929" y="340"/>
                  </a:lnTo>
                  <a:lnTo>
                    <a:pt x="2931" y="397"/>
                  </a:lnTo>
                  <a:lnTo>
                    <a:pt x="2971" y="419"/>
                  </a:lnTo>
                  <a:lnTo>
                    <a:pt x="2986" y="419"/>
                  </a:lnTo>
                  <a:lnTo>
                    <a:pt x="2983" y="492"/>
                  </a:lnTo>
                  <a:lnTo>
                    <a:pt x="2993" y="517"/>
                  </a:lnTo>
                  <a:lnTo>
                    <a:pt x="2994" y="551"/>
                  </a:lnTo>
                  <a:lnTo>
                    <a:pt x="2895" y="439"/>
                  </a:lnTo>
                  <a:lnTo>
                    <a:pt x="2905" y="484"/>
                  </a:lnTo>
                  <a:lnTo>
                    <a:pt x="2892" y="482"/>
                  </a:lnTo>
                  <a:lnTo>
                    <a:pt x="2886" y="507"/>
                  </a:lnTo>
                  <a:lnTo>
                    <a:pt x="2874" y="506"/>
                  </a:lnTo>
                  <a:lnTo>
                    <a:pt x="2866" y="522"/>
                  </a:lnTo>
                  <a:lnTo>
                    <a:pt x="2856" y="514"/>
                  </a:lnTo>
                  <a:lnTo>
                    <a:pt x="2854" y="500"/>
                  </a:lnTo>
                  <a:lnTo>
                    <a:pt x="2863" y="474"/>
                  </a:lnTo>
                  <a:lnTo>
                    <a:pt x="2845" y="485"/>
                  </a:lnTo>
                  <a:lnTo>
                    <a:pt x="2829" y="507"/>
                  </a:lnTo>
                  <a:lnTo>
                    <a:pt x="2821" y="536"/>
                  </a:lnTo>
                  <a:lnTo>
                    <a:pt x="2808" y="541"/>
                  </a:lnTo>
                  <a:lnTo>
                    <a:pt x="2818" y="591"/>
                  </a:lnTo>
                  <a:lnTo>
                    <a:pt x="2780" y="624"/>
                  </a:lnTo>
                  <a:lnTo>
                    <a:pt x="2764" y="671"/>
                  </a:lnTo>
                  <a:lnTo>
                    <a:pt x="2746" y="692"/>
                  </a:lnTo>
                  <a:lnTo>
                    <a:pt x="2771" y="644"/>
                  </a:lnTo>
                  <a:lnTo>
                    <a:pt x="2773" y="475"/>
                  </a:lnTo>
                  <a:lnTo>
                    <a:pt x="2748" y="485"/>
                  </a:lnTo>
                  <a:lnTo>
                    <a:pt x="2712" y="548"/>
                  </a:lnTo>
                  <a:lnTo>
                    <a:pt x="2691" y="649"/>
                  </a:lnTo>
                  <a:lnTo>
                    <a:pt x="2689" y="527"/>
                  </a:lnTo>
                  <a:lnTo>
                    <a:pt x="2629" y="536"/>
                  </a:lnTo>
                  <a:lnTo>
                    <a:pt x="2608" y="576"/>
                  </a:lnTo>
                  <a:lnTo>
                    <a:pt x="2610" y="636"/>
                  </a:lnTo>
                  <a:lnTo>
                    <a:pt x="2632" y="668"/>
                  </a:lnTo>
                  <a:lnTo>
                    <a:pt x="2653" y="676"/>
                  </a:lnTo>
                  <a:lnTo>
                    <a:pt x="2670" y="707"/>
                  </a:lnTo>
                  <a:lnTo>
                    <a:pt x="2666" y="732"/>
                  </a:lnTo>
                  <a:lnTo>
                    <a:pt x="2647" y="729"/>
                  </a:lnTo>
                  <a:lnTo>
                    <a:pt x="2631" y="691"/>
                  </a:lnTo>
                  <a:lnTo>
                    <a:pt x="2606" y="674"/>
                  </a:lnTo>
                  <a:lnTo>
                    <a:pt x="2566" y="616"/>
                  </a:lnTo>
                  <a:lnTo>
                    <a:pt x="2539" y="620"/>
                  </a:lnTo>
                  <a:lnTo>
                    <a:pt x="2554" y="660"/>
                  </a:lnTo>
                  <a:lnTo>
                    <a:pt x="2584" y="690"/>
                  </a:lnTo>
                  <a:lnTo>
                    <a:pt x="2561" y="711"/>
                  </a:lnTo>
                  <a:lnTo>
                    <a:pt x="2542" y="695"/>
                  </a:lnTo>
                  <a:lnTo>
                    <a:pt x="2531" y="709"/>
                  </a:lnTo>
                  <a:lnTo>
                    <a:pt x="2527" y="678"/>
                  </a:lnTo>
                  <a:lnTo>
                    <a:pt x="2508" y="691"/>
                  </a:lnTo>
                  <a:lnTo>
                    <a:pt x="2507" y="679"/>
                  </a:lnTo>
                  <a:lnTo>
                    <a:pt x="2514" y="647"/>
                  </a:lnTo>
                  <a:lnTo>
                    <a:pt x="2502" y="634"/>
                  </a:lnTo>
                  <a:lnTo>
                    <a:pt x="2477" y="702"/>
                  </a:lnTo>
                  <a:lnTo>
                    <a:pt x="2479" y="722"/>
                  </a:lnTo>
                  <a:lnTo>
                    <a:pt x="2491" y="740"/>
                  </a:lnTo>
                  <a:lnTo>
                    <a:pt x="2417" y="781"/>
                  </a:lnTo>
                  <a:lnTo>
                    <a:pt x="2405" y="825"/>
                  </a:lnTo>
                  <a:lnTo>
                    <a:pt x="2412" y="842"/>
                  </a:lnTo>
                  <a:lnTo>
                    <a:pt x="2433" y="835"/>
                  </a:lnTo>
                  <a:lnTo>
                    <a:pt x="2447" y="856"/>
                  </a:lnTo>
                  <a:lnTo>
                    <a:pt x="2419" y="854"/>
                  </a:lnTo>
                  <a:lnTo>
                    <a:pt x="2427" y="897"/>
                  </a:lnTo>
                  <a:lnTo>
                    <a:pt x="2396" y="884"/>
                  </a:lnTo>
                  <a:lnTo>
                    <a:pt x="2383" y="888"/>
                  </a:lnTo>
                  <a:lnTo>
                    <a:pt x="2400" y="908"/>
                  </a:lnTo>
                  <a:lnTo>
                    <a:pt x="2387" y="921"/>
                  </a:lnTo>
                  <a:lnTo>
                    <a:pt x="2361" y="910"/>
                  </a:lnTo>
                  <a:lnTo>
                    <a:pt x="2353" y="925"/>
                  </a:lnTo>
                  <a:lnTo>
                    <a:pt x="2335" y="919"/>
                  </a:lnTo>
                  <a:lnTo>
                    <a:pt x="2296" y="933"/>
                  </a:lnTo>
                  <a:lnTo>
                    <a:pt x="2283" y="954"/>
                  </a:lnTo>
                  <a:lnTo>
                    <a:pt x="2267" y="963"/>
                  </a:lnTo>
                  <a:lnTo>
                    <a:pt x="2264" y="971"/>
                  </a:lnTo>
                  <a:lnTo>
                    <a:pt x="2288" y="991"/>
                  </a:lnTo>
                  <a:lnTo>
                    <a:pt x="2313" y="983"/>
                  </a:lnTo>
                  <a:lnTo>
                    <a:pt x="2327" y="969"/>
                  </a:lnTo>
                  <a:lnTo>
                    <a:pt x="2365" y="996"/>
                  </a:lnTo>
                  <a:lnTo>
                    <a:pt x="2394" y="975"/>
                  </a:lnTo>
                  <a:lnTo>
                    <a:pt x="2402" y="984"/>
                  </a:lnTo>
                  <a:lnTo>
                    <a:pt x="2409" y="1005"/>
                  </a:lnTo>
                  <a:lnTo>
                    <a:pt x="2383" y="1004"/>
                  </a:lnTo>
                  <a:lnTo>
                    <a:pt x="2370" y="1021"/>
                  </a:lnTo>
                  <a:lnTo>
                    <a:pt x="2365" y="1054"/>
                  </a:lnTo>
                  <a:lnTo>
                    <a:pt x="2328" y="1032"/>
                  </a:lnTo>
                  <a:lnTo>
                    <a:pt x="2301" y="1030"/>
                  </a:lnTo>
                  <a:lnTo>
                    <a:pt x="2296" y="1017"/>
                  </a:lnTo>
                  <a:lnTo>
                    <a:pt x="2266" y="1007"/>
                  </a:lnTo>
                  <a:lnTo>
                    <a:pt x="2232" y="1027"/>
                  </a:lnTo>
                  <a:lnTo>
                    <a:pt x="2220" y="1046"/>
                  </a:lnTo>
                  <a:lnTo>
                    <a:pt x="2241" y="1086"/>
                  </a:lnTo>
                  <a:lnTo>
                    <a:pt x="2243" y="1105"/>
                  </a:lnTo>
                  <a:lnTo>
                    <a:pt x="2227" y="1103"/>
                  </a:lnTo>
                  <a:lnTo>
                    <a:pt x="2237" y="1139"/>
                  </a:lnTo>
                  <a:lnTo>
                    <a:pt x="2237" y="1166"/>
                  </a:lnTo>
                  <a:lnTo>
                    <a:pt x="2218" y="1159"/>
                  </a:lnTo>
                  <a:lnTo>
                    <a:pt x="2217" y="1185"/>
                  </a:lnTo>
                  <a:lnTo>
                    <a:pt x="2198" y="1188"/>
                  </a:lnTo>
                  <a:lnTo>
                    <a:pt x="2188" y="1094"/>
                  </a:lnTo>
                  <a:lnTo>
                    <a:pt x="2170" y="1097"/>
                  </a:lnTo>
                  <a:lnTo>
                    <a:pt x="2158" y="1130"/>
                  </a:lnTo>
                  <a:lnTo>
                    <a:pt x="2140" y="1122"/>
                  </a:lnTo>
                  <a:lnTo>
                    <a:pt x="2133" y="1133"/>
                  </a:lnTo>
                  <a:lnTo>
                    <a:pt x="2157" y="1145"/>
                  </a:lnTo>
                  <a:lnTo>
                    <a:pt x="2151" y="1154"/>
                  </a:lnTo>
                  <a:lnTo>
                    <a:pt x="2130" y="1157"/>
                  </a:lnTo>
                  <a:lnTo>
                    <a:pt x="2112" y="1169"/>
                  </a:lnTo>
                  <a:lnTo>
                    <a:pt x="2102" y="1190"/>
                  </a:lnTo>
                  <a:lnTo>
                    <a:pt x="2104" y="1216"/>
                  </a:lnTo>
                  <a:lnTo>
                    <a:pt x="2124" y="1234"/>
                  </a:lnTo>
                  <a:lnTo>
                    <a:pt x="2105" y="1242"/>
                  </a:lnTo>
                  <a:lnTo>
                    <a:pt x="2117" y="1256"/>
                  </a:lnTo>
                  <a:lnTo>
                    <a:pt x="2102" y="1263"/>
                  </a:lnTo>
                  <a:lnTo>
                    <a:pt x="2088" y="1292"/>
                  </a:lnTo>
                  <a:lnTo>
                    <a:pt x="2077" y="1298"/>
                  </a:lnTo>
                  <a:lnTo>
                    <a:pt x="2064" y="1296"/>
                  </a:lnTo>
                  <a:lnTo>
                    <a:pt x="2066" y="1305"/>
                  </a:lnTo>
                  <a:lnTo>
                    <a:pt x="2090" y="1316"/>
                  </a:lnTo>
                  <a:lnTo>
                    <a:pt x="2141" y="1302"/>
                  </a:lnTo>
                  <a:lnTo>
                    <a:pt x="2087" y="1348"/>
                  </a:lnTo>
                  <a:lnTo>
                    <a:pt x="2040" y="1333"/>
                  </a:lnTo>
                  <a:lnTo>
                    <a:pt x="2031" y="1322"/>
                  </a:lnTo>
                  <a:lnTo>
                    <a:pt x="2028" y="1303"/>
                  </a:lnTo>
                  <a:lnTo>
                    <a:pt x="2008" y="1305"/>
                  </a:lnTo>
                  <a:lnTo>
                    <a:pt x="1978" y="1328"/>
                  </a:lnTo>
                  <a:lnTo>
                    <a:pt x="1961" y="1369"/>
                  </a:lnTo>
                  <a:lnTo>
                    <a:pt x="1934" y="1387"/>
                  </a:lnTo>
                  <a:lnTo>
                    <a:pt x="1931" y="1411"/>
                  </a:lnTo>
                  <a:lnTo>
                    <a:pt x="1948" y="1412"/>
                  </a:lnTo>
                  <a:lnTo>
                    <a:pt x="1938" y="1445"/>
                  </a:lnTo>
                  <a:lnTo>
                    <a:pt x="1916" y="1451"/>
                  </a:lnTo>
                  <a:lnTo>
                    <a:pt x="1901" y="1499"/>
                  </a:lnTo>
                  <a:lnTo>
                    <a:pt x="1882" y="1493"/>
                  </a:lnTo>
                  <a:lnTo>
                    <a:pt x="1864" y="1501"/>
                  </a:lnTo>
                  <a:lnTo>
                    <a:pt x="1847" y="1501"/>
                  </a:lnTo>
                  <a:lnTo>
                    <a:pt x="1822" y="1529"/>
                  </a:lnTo>
                  <a:lnTo>
                    <a:pt x="1836" y="1556"/>
                  </a:lnTo>
                  <a:lnTo>
                    <a:pt x="1825" y="1567"/>
                  </a:lnTo>
                  <a:lnTo>
                    <a:pt x="1795" y="1568"/>
                  </a:lnTo>
                  <a:lnTo>
                    <a:pt x="1793" y="1594"/>
                  </a:lnTo>
                  <a:lnTo>
                    <a:pt x="1762" y="1596"/>
                  </a:lnTo>
                  <a:lnTo>
                    <a:pt x="1768" y="1611"/>
                  </a:lnTo>
                  <a:lnTo>
                    <a:pt x="1754" y="1620"/>
                  </a:lnTo>
                  <a:lnTo>
                    <a:pt x="1747" y="1642"/>
                  </a:lnTo>
                  <a:lnTo>
                    <a:pt x="1780" y="1653"/>
                  </a:lnTo>
                  <a:lnTo>
                    <a:pt x="1771" y="1667"/>
                  </a:lnTo>
                  <a:lnTo>
                    <a:pt x="1747" y="1678"/>
                  </a:lnTo>
                  <a:lnTo>
                    <a:pt x="1732" y="1665"/>
                  </a:lnTo>
                  <a:lnTo>
                    <a:pt x="1730" y="1670"/>
                  </a:lnTo>
                  <a:lnTo>
                    <a:pt x="1729" y="1709"/>
                  </a:lnTo>
                  <a:lnTo>
                    <a:pt x="1743" y="1732"/>
                  </a:lnTo>
                  <a:lnTo>
                    <a:pt x="1758" y="1713"/>
                  </a:lnTo>
                  <a:lnTo>
                    <a:pt x="1769" y="1727"/>
                  </a:lnTo>
                  <a:lnTo>
                    <a:pt x="1759" y="1750"/>
                  </a:lnTo>
                  <a:lnTo>
                    <a:pt x="1704" y="1754"/>
                  </a:lnTo>
                  <a:lnTo>
                    <a:pt x="1690" y="1763"/>
                  </a:lnTo>
                  <a:lnTo>
                    <a:pt x="1682" y="1803"/>
                  </a:lnTo>
                  <a:lnTo>
                    <a:pt x="1658" y="1818"/>
                  </a:lnTo>
                  <a:lnTo>
                    <a:pt x="1634" y="1823"/>
                  </a:lnTo>
                  <a:lnTo>
                    <a:pt x="1615" y="1859"/>
                  </a:lnTo>
                  <a:lnTo>
                    <a:pt x="1639" y="1858"/>
                  </a:lnTo>
                  <a:lnTo>
                    <a:pt x="1662" y="1838"/>
                  </a:lnTo>
                  <a:lnTo>
                    <a:pt x="1693" y="1828"/>
                  </a:lnTo>
                  <a:lnTo>
                    <a:pt x="1691" y="1853"/>
                  </a:lnTo>
                  <a:lnTo>
                    <a:pt x="1705" y="1890"/>
                  </a:lnTo>
                  <a:lnTo>
                    <a:pt x="1653" y="1865"/>
                  </a:lnTo>
                  <a:lnTo>
                    <a:pt x="1646" y="1890"/>
                  </a:lnTo>
                  <a:lnTo>
                    <a:pt x="1656" y="1901"/>
                  </a:lnTo>
                  <a:lnTo>
                    <a:pt x="1638" y="1913"/>
                  </a:lnTo>
                  <a:lnTo>
                    <a:pt x="1629" y="1929"/>
                  </a:lnTo>
                  <a:lnTo>
                    <a:pt x="1632" y="1955"/>
                  </a:lnTo>
                  <a:lnTo>
                    <a:pt x="1622" y="1959"/>
                  </a:lnTo>
                  <a:lnTo>
                    <a:pt x="1607" y="1948"/>
                  </a:lnTo>
                  <a:lnTo>
                    <a:pt x="1593" y="1963"/>
                  </a:lnTo>
                  <a:lnTo>
                    <a:pt x="1598" y="1992"/>
                  </a:lnTo>
                  <a:lnTo>
                    <a:pt x="1613" y="2007"/>
                  </a:lnTo>
                  <a:lnTo>
                    <a:pt x="1614" y="2061"/>
                  </a:lnTo>
                  <a:lnTo>
                    <a:pt x="1596" y="2036"/>
                  </a:lnTo>
                  <a:lnTo>
                    <a:pt x="1577" y="2027"/>
                  </a:lnTo>
                  <a:lnTo>
                    <a:pt x="1564" y="1990"/>
                  </a:lnTo>
                  <a:lnTo>
                    <a:pt x="1562" y="2037"/>
                  </a:lnTo>
                  <a:lnTo>
                    <a:pt x="1550" y="2051"/>
                  </a:lnTo>
                  <a:lnTo>
                    <a:pt x="1531" y="2056"/>
                  </a:lnTo>
                  <a:lnTo>
                    <a:pt x="1519" y="2082"/>
                  </a:lnTo>
                  <a:lnTo>
                    <a:pt x="1531" y="2092"/>
                  </a:lnTo>
                  <a:lnTo>
                    <a:pt x="1549" y="2085"/>
                  </a:lnTo>
                  <a:lnTo>
                    <a:pt x="1564" y="2063"/>
                  </a:lnTo>
                  <a:lnTo>
                    <a:pt x="1568" y="2075"/>
                  </a:lnTo>
                  <a:lnTo>
                    <a:pt x="1563" y="2087"/>
                  </a:lnTo>
                  <a:lnTo>
                    <a:pt x="1563" y="2127"/>
                  </a:lnTo>
                  <a:lnTo>
                    <a:pt x="1543" y="2143"/>
                  </a:lnTo>
                  <a:lnTo>
                    <a:pt x="1514" y="2125"/>
                  </a:lnTo>
                  <a:lnTo>
                    <a:pt x="1496" y="2145"/>
                  </a:lnTo>
                  <a:lnTo>
                    <a:pt x="1479" y="2133"/>
                  </a:lnTo>
                  <a:lnTo>
                    <a:pt x="1454" y="2159"/>
                  </a:lnTo>
                  <a:lnTo>
                    <a:pt x="1448" y="2184"/>
                  </a:lnTo>
                  <a:lnTo>
                    <a:pt x="1426" y="2199"/>
                  </a:lnTo>
                  <a:lnTo>
                    <a:pt x="1401" y="2204"/>
                  </a:lnTo>
                  <a:lnTo>
                    <a:pt x="1381" y="2259"/>
                  </a:lnTo>
                  <a:lnTo>
                    <a:pt x="1410" y="2255"/>
                  </a:lnTo>
                  <a:lnTo>
                    <a:pt x="1437" y="2240"/>
                  </a:lnTo>
                  <a:lnTo>
                    <a:pt x="1446" y="2252"/>
                  </a:lnTo>
                  <a:lnTo>
                    <a:pt x="1397" y="2267"/>
                  </a:lnTo>
                  <a:lnTo>
                    <a:pt x="1392" y="2296"/>
                  </a:lnTo>
                  <a:lnTo>
                    <a:pt x="1397" y="2327"/>
                  </a:lnTo>
                  <a:lnTo>
                    <a:pt x="1382" y="2346"/>
                  </a:lnTo>
                  <a:lnTo>
                    <a:pt x="1349" y="2352"/>
                  </a:lnTo>
                  <a:lnTo>
                    <a:pt x="1316" y="2314"/>
                  </a:lnTo>
                  <a:lnTo>
                    <a:pt x="1307" y="2313"/>
                  </a:lnTo>
                  <a:lnTo>
                    <a:pt x="1276" y="2352"/>
                  </a:lnTo>
                  <a:lnTo>
                    <a:pt x="1244" y="2368"/>
                  </a:lnTo>
                  <a:lnTo>
                    <a:pt x="1237" y="2385"/>
                  </a:lnTo>
                  <a:lnTo>
                    <a:pt x="1145" y="2481"/>
                  </a:lnTo>
                  <a:lnTo>
                    <a:pt x="1151" y="2512"/>
                  </a:lnTo>
                  <a:lnTo>
                    <a:pt x="1150" y="2522"/>
                  </a:lnTo>
                  <a:lnTo>
                    <a:pt x="1079" y="2548"/>
                  </a:lnTo>
                  <a:lnTo>
                    <a:pt x="1072" y="2578"/>
                  </a:lnTo>
                  <a:lnTo>
                    <a:pt x="1086" y="2594"/>
                  </a:lnTo>
                  <a:lnTo>
                    <a:pt x="1122" y="2584"/>
                  </a:lnTo>
                  <a:lnTo>
                    <a:pt x="1101" y="2626"/>
                  </a:lnTo>
                  <a:lnTo>
                    <a:pt x="1116" y="2664"/>
                  </a:lnTo>
                  <a:lnTo>
                    <a:pt x="1133" y="2676"/>
                  </a:lnTo>
                  <a:lnTo>
                    <a:pt x="1320" y="2593"/>
                  </a:lnTo>
                  <a:lnTo>
                    <a:pt x="1339" y="2574"/>
                  </a:lnTo>
                  <a:lnTo>
                    <a:pt x="1350" y="2585"/>
                  </a:lnTo>
                  <a:lnTo>
                    <a:pt x="1337" y="2601"/>
                  </a:lnTo>
                  <a:lnTo>
                    <a:pt x="1295" y="2618"/>
                  </a:lnTo>
                  <a:lnTo>
                    <a:pt x="1274" y="2617"/>
                  </a:lnTo>
                  <a:lnTo>
                    <a:pt x="1211" y="2655"/>
                  </a:lnTo>
                  <a:lnTo>
                    <a:pt x="1223" y="2679"/>
                  </a:lnTo>
                  <a:lnTo>
                    <a:pt x="1221" y="2689"/>
                  </a:lnTo>
                  <a:lnTo>
                    <a:pt x="1166" y="2701"/>
                  </a:lnTo>
                  <a:lnTo>
                    <a:pt x="1136" y="2697"/>
                  </a:lnTo>
                  <a:lnTo>
                    <a:pt x="1125" y="2707"/>
                  </a:lnTo>
                  <a:lnTo>
                    <a:pt x="1130" y="2727"/>
                  </a:lnTo>
                  <a:lnTo>
                    <a:pt x="1116" y="2731"/>
                  </a:lnTo>
                  <a:lnTo>
                    <a:pt x="1090" y="2721"/>
                  </a:lnTo>
                  <a:lnTo>
                    <a:pt x="1094" y="2694"/>
                  </a:lnTo>
                  <a:lnTo>
                    <a:pt x="1066" y="2630"/>
                  </a:lnTo>
                  <a:lnTo>
                    <a:pt x="1050" y="2629"/>
                  </a:lnTo>
                  <a:lnTo>
                    <a:pt x="1039" y="2643"/>
                  </a:lnTo>
                  <a:lnTo>
                    <a:pt x="1017" y="2643"/>
                  </a:lnTo>
                  <a:lnTo>
                    <a:pt x="994" y="2659"/>
                  </a:lnTo>
                  <a:lnTo>
                    <a:pt x="989" y="2679"/>
                  </a:lnTo>
                  <a:lnTo>
                    <a:pt x="1003" y="2697"/>
                  </a:lnTo>
                  <a:lnTo>
                    <a:pt x="1006" y="2711"/>
                  </a:lnTo>
                  <a:lnTo>
                    <a:pt x="969" y="2725"/>
                  </a:lnTo>
                  <a:lnTo>
                    <a:pt x="959" y="2703"/>
                  </a:lnTo>
                  <a:lnTo>
                    <a:pt x="963" y="2679"/>
                  </a:lnTo>
                  <a:lnTo>
                    <a:pt x="960" y="2661"/>
                  </a:lnTo>
                  <a:lnTo>
                    <a:pt x="875" y="2681"/>
                  </a:lnTo>
                  <a:lnTo>
                    <a:pt x="843" y="2724"/>
                  </a:lnTo>
                  <a:lnTo>
                    <a:pt x="824" y="2718"/>
                  </a:lnTo>
                  <a:lnTo>
                    <a:pt x="826" y="2741"/>
                  </a:lnTo>
                  <a:lnTo>
                    <a:pt x="819" y="2750"/>
                  </a:lnTo>
                  <a:lnTo>
                    <a:pt x="791" y="2748"/>
                  </a:lnTo>
                  <a:lnTo>
                    <a:pt x="795" y="2736"/>
                  </a:lnTo>
                  <a:lnTo>
                    <a:pt x="792" y="2722"/>
                  </a:lnTo>
                  <a:lnTo>
                    <a:pt x="779" y="2724"/>
                  </a:lnTo>
                  <a:lnTo>
                    <a:pt x="770" y="2735"/>
                  </a:lnTo>
                  <a:lnTo>
                    <a:pt x="769" y="2749"/>
                  </a:lnTo>
                  <a:lnTo>
                    <a:pt x="763" y="2755"/>
                  </a:lnTo>
                  <a:lnTo>
                    <a:pt x="737" y="2751"/>
                  </a:lnTo>
                  <a:lnTo>
                    <a:pt x="690" y="2763"/>
                  </a:lnTo>
                  <a:lnTo>
                    <a:pt x="656" y="2833"/>
                  </a:lnTo>
                  <a:lnTo>
                    <a:pt x="635" y="2814"/>
                  </a:lnTo>
                  <a:lnTo>
                    <a:pt x="607" y="2806"/>
                  </a:lnTo>
                  <a:lnTo>
                    <a:pt x="576" y="2823"/>
                  </a:lnTo>
                  <a:lnTo>
                    <a:pt x="566" y="2842"/>
                  </a:lnTo>
                  <a:lnTo>
                    <a:pt x="592" y="2866"/>
                  </a:lnTo>
                  <a:lnTo>
                    <a:pt x="572" y="2881"/>
                  </a:lnTo>
                  <a:lnTo>
                    <a:pt x="599" y="2894"/>
                  </a:lnTo>
                  <a:lnTo>
                    <a:pt x="634" y="2890"/>
                  </a:lnTo>
                  <a:lnTo>
                    <a:pt x="643" y="2911"/>
                  </a:lnTo>
                  <a:lnTo>
                    <a:pt x="658" y="2923"/>
                  </a:lnTo>
                  <a:lnTo>
                    <a:pt x="633" y="2943"/>
                  </a:lnTo>
                  <a:lnTo>
                    <a:pt x="639" y="2965"/>
                  </a:lnTo>
                  <a:lnTo>
                    <a:pt x="616" y="2948"/>
                  </a:lnTo>
                  <a:lnTo>
                    <a:pt x="501" y="2918"/>
                  </a:lnTo>
                  <a:lnTo>
                    <a:pt x="484" y="2928"/>
                  </a:lnTo>
                  <a:lnTo>
                    <a:pt x="465" y="2920"/>
                  </a:lnTo>
                  <a:lnTo>
                    <a:pt x="444" y="2932"/>
                  </a:lnTo>
                  <a:lnTo>
                    <a:pt x="446" y="2940"/>
                  </a:lnTo>
                  <a:lnTo>
                    <a:pt x="463" y="2951"/>
                  </a:lnTo>
                  <a:lnTo>
                    <a:pt x="443" y="2955"/>
                  </a:lnTo>
                  <a:lnTo>
                    <a:pt x="441" y="2972"/>
                  </a:lnTo>
                  <a:lnTo>
                    <a:pt x="464" y="2974"/>
                  </a:lnTo>
                  <a:lnTo>
                    <a:pt x="482" y="2967"/>
                  </a:lnTo>
                  <a:lnTo>
                    <a:pt x="453" y="2994"/>
                  </a:lnTo>
                  <a:lnTo>
                    <a:pt x="453" y="3067"/>
                  </a:lnTo>
                  <a:lnTo>
                    <a:pt x="443" y="3068"/>
                  </a:lnTo>
                  <a:lnTo>
                    <a:pt x="437" y="3024"/>
                  </a:lnTo>
                  <a:lnTo>
                    <a:pt x="427" y="3004"/>
                  </a:lnTo>
                  <a:lnTo>
                    <a:pt x="396" y="3015"/>
                  </a:lnTo>
                  <a:lnTo>
                    <a:pt x="356" y="3063"/>
                  </a:lnTo>
                  <a:lnTo>
                    <a:pt x="370" y="3082"/>
                  </a:lnTo>
                  <a:lnTo>
                    <a:pt x="369" y="3104"/>
                  </a:lnTo>
                  <a:lnTo>
                    <a:pt x="345" y="3080"/>
                  </a:lnTo>
                  <a:lnTo>
                    <a:pt x="339" y="3054"/>
                  </a:lnTo>
                  <a:lnTo>
                    <a:pt x="313" y="3058"/>
                  </a:lnTo>
                  <a:lnTo>
                    <a:pt x="273" y="3047"/>
                  </a:lnTo>
                  <a:lnTo>
                    <a:pt x="267" y="3066"/>
                  </a:lnTo>
                  <a:lnTo>
                    <a:pt x="267" y="3083"/>
                  </a:lnTo>
                  <a:lnTo>
                    <a:pt x="228" y="3034"/>
                  </a:lnTo>
                  <a:lnTo>
                    <a:pt x="213" y="3043"/>
                  </a:lnTo>
                  <a:lnTo>
                    <a:pt x="222" y="3094"/>
                  </a:lnTo>
                  <a:lnTo>
                    <a:pt x="206" y="3107"/>
                  </a:lnTo>
                  <a:lnTo>
                    <a:pt x="209" y="3116"/>
                  </a:lnTo>
                  <a:lnTo>
                    <a:pt x="378" y="3130"/>
                  </a:lnTo>
                  <a:lnTo>
                    <a:pt x="323" y="3146"/>
                  </a:lnTo>
                  <a:lnTo>
                    <a:pt x="331" y="3159"/>
                  </a:lnTo>
                  <a:lnTo>
                    <a:pt x="397" y="3160"/>
                  </a:lnTo>
                  <a:lnTo>
                    <a:pt x="402" y="3167"/>
                  </a:lnTo>
                  <a:lnTo>
                    <a:pt x="368" y="3181"/>
                  </a:lnTo>
                  <a:lnTo>
                    <a:pt x="272" y="3167"/>
                  </a:lnTo>
                  <a:lnTo>
                    <a:pt x="256" y="3150"/>
                  </a:lnTo>
                  <a:lnTo>
                    <a:pt x="238" y="3146"/>
                  </a:lnTo>
                  <a:lnTo>
                    <a:pt x="197" y="3167"/>
                  </a:lnTo>
                  <a:lnTo>
                    <a:pt x="190" y="3183"/>
                  </a:lnTo>
                  <a:lnTo>
                    <a:pt x="169" y="3177"/>
                  </a:lnTo>
                  <a:lnTo>
                    <a:pt x="159" y="3180"/>
                  </a:lnTo>
                  <a:lnTo>
                    <a:pt x="151" y="3203"/>
                  </a:lnTo>
                  <a:lnTo>
                    <a:pt x="195" y="3227"/>
                  </a:lnTo>
                  <a:lnTo>
                    <a:pt x="186" y="3246"/>
                  </a:lnTo>
                  <a:lnTo>
                    <a:pt x="184" y="3268"/>
                  </a:lnTo>
                  <a:lnTo>
                    <a:pt x="136" y="3302"/>
                  </a:lnTo>
                  <a:lnTo>
                    <a:pt x="139" y="3323"/>
                  </a:lnTo>
                  <a:lnTo>
                    <a:pt x="129" y="3335"/>
                  </a:lnTo>
                  <a:lnTo>
                    <a:pt x="122" y="3357"/>
                  </a:lnTo>
                  <a:lnTo>
                    <a:pt x="133" y="3371"/>
                  </a:lnTo>
                  <a:lnTo>
                    <a:pt x="127" y="3394"/>
                  </a:lnTo>
                  <a:lnTo>
                    <a:pt x="175" y="3413"/>
                  </a:lnTo>
                  <a:lnTo>
                    <a:pt x="279" y="3395"/>
                  </a:lnTo>
                  <a:lnTo>
                    <a:pt x="297" y="3414"/>
                  </a:lnTo>
                  <a:lnTo>
                    <a:pt x="333" y="3422"/>
                  </a:lnTo>
                  <a:lnTo>
                    <a:pt x="388" y="3344"/>
                  </a:lnTo>
                  <a:lnTo>
                    <a:pt x="387" y="3376"/>
                  </a:lnTo>
                  <a:lnTo>
                    <a:pt x="369" y="3416"/>
                  </a:lnTo>
                  <a:lnTo>
                    <a:pt x="385" y="3428"/>
                  </a:lnTo>
                  <a:lnTo>
                    <a:pt x="421" y="3435"/>
                  </a:lnTo>
                  <a:lnTo>
                    <a:pt x="444" y="3430"/>
                  </a:lnTo>
                  <a:lnTo>
                    <a:pt x="459" y="3444"/>
                  </a:lnTo>
                  <a:lnTo>
                    <a:pt x="501" y="3412"/>
                  </a:lnTo>
                  <a:lnTo>
                    <a:pt x="526" y="3343"/>
                  </a:lnTo>
                  <a:lnTo>
                    <a:pt x="569" y="3327"/>
                  </a:lnTo>
                  <a:lnTo>
                    <a:pt x="572" y="3342"/>
                  </a:lnTo>
                  <a:lnTo>
                    <a:pt x="535" y="3386"/>
                  </a:lnTo>
                  <a:lnTo>
                    <a:pt x="514" y="3435"/>
                  </a:lnTo>
                  <a:lnTo>
                    <a:pt x="534" y="3435"/>
                  </a:lnTo>
                  <a:lnTo>
                    <a:pt x="558" y="3425"/>
                  </a:lnTo>
                  <a:lnTo>
                    <a:pt x="573" y="3437"/>
                  </a:lnTo>
                  <a:lnTo>
                    <a:pt x="520" y="3466"/>
                  </a:lnTo>
                  <a:lnTo>
                    <a:pt x="462" y="3472"/>
                  </a:lnTo>
                  <a:lnTo>
                    <a:pt x="450" y="3502"/>
                  </a:lnTo>
                  <a:lnTo>
                    <a:pt x="467" y="3528"/>
                  </a:lnTo>
                  <a:lnTo>
                    <a:pt x="417" y="3548"/>
                  </a:lnTo>
                  <a:lnTo>
                    <a:pt x="424" y="3513"/>
                  </a:lnTo>
                  <a:lnTo>
                    <a:pt x="418" y="3488"/>
                  </a:lnTo>
                  <a:lnTo>
                    <a:pt x="393" y="3459"/>
                  </a:lnTo>
                  <a:lnTo>
                    <a:pt x="316" y="3456"/>
                  </a:lnTo>
                  <a:lnTo>
                    <a:pt x="283" y="3441"/>
                  </a:lnTo>
                  <a:lnTo>
                    <a:pt x="251" y="3442"/>
                  </a:lnTo>
                  <a:lnTo>
                    <a:pt x="221" y="3432"/>
                  </a:lnTo>
                  <a:lnTo>
                    <a:pt x="189" y="3451"/>
                  </a:lnTo>
                  <a:lnTo>
                    <a:pt x="133" y="3425"/>
                  </a:lnTo>
                  <a:lnTo>
                    <a:pt x="107" y="3459"/>
                  </a:lnTo>
                  <a:lnTo>
                    <a:pt x="96" y="3491"/>
                  </a:lnTo>
                  <a:lnTo>
                    <a:pt x="125" y="3501"/>
                  </a:lnTo>
                  <a:lnTo>
                    <a:pt x="138" y="3498"/>
                  </a:lnTo>
                  <a:lnTo>
                    <a:pt x="131" y="3544"/>
                  </a:lnTo>
                  <a:lnTo>
                    <a:pt x="106" y="3527"/>
                  </a:lnTo>
                  <a:lnTo>
                    <a:pt x="90" y="3505"/>
                  </a:lnTo>
                  <a:lnTo>
                    <a:pt x="85" y="3512"/>
                  </a:lnTo>
                  <a:lnTo>
                    <a:pt x="80" y="3511"/>
                  </a:lnTo>
                  <a:lnTo>
                    <a:pt x="77" y="3522"/>
                  </a:lnTo>
                  <a:lnTo>
                    <a:pt x="96" y="3587"/>
                  </a:lnTo>
                  <a:lnTo>
                    <a:pt x="115" y="3595"/>
                  </a:lnTo>
                  <a:lnTo>
                    <a:pt x="164" y="3575"/>
                  </a:lnTo>
                  <a:lnTo>
                    <a:pt x="192" y="3575"/>
                  </a:lnTo>
                  <a:lnTo>
                    <a:pt x="122" y="3630"/>
                  </a:lnTo>
                  <a:lnTo>
                    <a:pt x="131" y="3646"/>
                  </a:lnTo>
                  <a:lnTo>
                    <a:pt x="91" y="3657"/>
                  </a:lnTo>
                  <a:lnTo>
                    <a:pt x="72" y="3673"/>
                  </a:lnTo>
                  <a:lnTo>
                    <a:pt x="72" y="3700"/>
                  </a:lnTo>
                  <a:lnTo>
                    <a:pt x="84" y="3721"/>
                  </a:lnTo>
                  <a:lnTo>
                    <a:pt x="87" y="3743"/>
                  </a:lnTo>
                  <a:lnTo>
                    <a:pt x="136" y="3714"/>
                  </a:lnTo>
                  <a:lnTo>
                    <a:pt x="130" y="3743"/>
                  </a:lnTo>
                  <a:lnTo>
                    <a:pt x="148" y="3791"/>
                  </a:lnTo>
                  <a:lnTo>
                    <a:pt x="122" y="3790"/>
                  </a:lnTo>
                  <a:lnTo>
                    <a:pt x="90" y="3806"/>
                  </a:lnTo>
                  <a:lnTo>
                    <a:pt x="87" y="3821"/>
                  </a:lnTo>
                  <a:lnTo>
                    <a:pt x="99" y="3838"/>
                  </a:lnTo>
                  <a:lnTo>
                    <a:pt x="137" y="3823"/>
                  </a:lnTo>
                  <a:lnTo>
                    <a:pt x="165" y="3790"/>
                  </a:lnTo>
                  <a:lnTo>
                    <a:pt x="175" y="3752"/>
                  </a:lnTo>
                  <a:lnTo>
                    <a:pt x="206" y="3737"/>
                  </a:lnTo>
                  <a:lnTo>
                    <a:pt x="293" y="3647"/>
                  </a:lnTo>
                  <a:lnTo>
                    <a:pt x="330" y="3626"/>
                  </a:lnTo>
                  <a:lnTo>
                    <a:pt x="342" y="3644"/>
                  </a:lnTo>
                  <a:lnTo>
                    <a:pt x="340" y="3658"/>
                  </a:lnTo>
                  <a:lnTo>
                    <a:pt x="382" y="3655"/>
                  </a:lnTo>
                  <a:lnTo>
                    <a:pt x="411" y="3666"/>
                  </a:lnTo>
                  <a:lnTo>
                    <a:pt x="354" y="3682"/>
                  </a:lnTo>
                  <a:lnTo>
                    <a:pt x="330" y="3733"/>
                  </a:lnTo>
                  <a:lnTo>
                    <a:pt x="331" y="3696"/>
                  </a:lnTo>
                  <a:lnTo>
                    <a:pt x="317" y="3688"/>
                  </a:lnTo>
                  <a:lnTo>
                    <a:pt x="239" y="3758"/>
                  </a:lnTo>
                  <a:lnTo>
                    <a:pt x="256" y="3778"/>
                  </a:lnTo>
                  <a:lnTo>
                    <a:pt x="255" y="3788"/>
                  </a:lnTo>
                  <a:lnTo>
                    <a:pt x="216" y="3801"/>
                  </a:lnTo>
                  <a:lnTo>
                    <a:pt x="134" y="3870"/>
                  </a:lnTo>
                  <a:lnTo>
                    <a:pt x="154" y="3891"/>
                  </a:lnTo>
                  <a:lnTo>
                    <a:pt x="218" y="3902"/>
                  </a:lnTo>
                  <a:lnTo>
                    <a:pt x="239" y="3890"/>
                  </a:lnTo>
                  <a:lnTo>
                    <a:pt x="242" y="3902"/>
                  </a:lnTo>
                  <a:lnTo>
                    <a:pt x="171" y="3918"/>
                  </a:lnTo>
                  <a:lnTo>
                    <a:pt x="150" y="3934"/>
                  </a:lnTo>
                  <a:lnTo>
                    <a:pt x="142" y="3947"/>
                  </a:lnTo>
                  <a:lnTo>
                    <a:pt x="110" y="3938"/>
                  </a:lnTo>
                  <a:lnTo>
                    <a:pt x="92" y="3945"/>
                  </a:lnTo>
                  <a:lnTo>
                    <a:pt x="77" y="3932"/>
                  </a:lnTo>
                  <a:lnTo>
                    <a:pt x="16" y="3992"/>
                  </a:lnTo>
                  <a:lnTo>
                    <a:pt x="10" y="4019"/>
                  </a:lnTo>
                  <a:lnTo>
                    <a:pt x="20" y="4032"/>
                  </a:lnTo>
                  <a:lnTo>
                    <a:pt x="21" y="4047"/>
                  </a:lnTo>
                  <a:lnTo>
                    <a:pt x="52" y="4047"/>
                  </a:lnTo>
                  <a:lnTo>
                    <a:pt x="71" y="4019"/>
                  </a:lnTo>
                  <a:lnTo>
                    <a:pt x="72" y="4051"/>
                  </a:lnTo>
                  <a:lnTo>
                    <a:pt x="97" y="4053"/>
                  </a:lnTo>
                  <a:lnTo>
                    <a:pt x="107" y="4037"/>
                  </a:lnTo>
                  <a:lnTo>
                    <a:pt x="107" y="4017"/>
                  </a:lnTo>
                  <a:lnTo>
                    <a:pt x="129" y="4035"/>
                  </a:lnTo>
                  <a:lnTo>
                    <a:pt x="182" y="4019"/>
                  </a:lnTo>
                  <a:lnTo>
                    <a:pt x="204" y="4001"/>
                  </a:lnTo>
                  <a:lnTo>
                    <a:pt x="216" y="4015"/>
                  </a:lnTo>
                  <a:lnTo>
                    <a:pt x="158" y="4064"/>
                  </a:lnTo>
                  <a:lnTo>
                    <a:pt x="178" y="4066"/>
                  </a:lnTo>
                  <a:lnTo>
                    <a:pt x="171" y="4100"/>
                  </a:lnTo>
                  <a:lnTo>
                    <a:pt x="132" y="4147"/>
                  </a:lnTo>
                  <a:lnTo>
                    <a:pt x="107" y="4163"/>
                  </a:lnTo>
                  <a:lnTo>
                    <a:pt x="107" y="4188"/>
                  </a:lnTo>
                  <a:lnTo>
                    <a:pt x="102" y="4202"/>
                  </a:lnTo>
                  <a:lnTo>
                    <a:pt x="84" y="4196"/>
                  </a:lnTo>
                  <a:lnTo>
                    <a:pt x="66" y="4200"/>
                  </a:lnTo>
                  <a:lnTo>
                    <a:pt x="59" y="4173"/>
                  </a:lnTo>
                  <a:lnTo>
                    <a:pt x="48" y="4170"/>
                  </a:lnTo>
                  <a:lnTo>
                    <a:pt x="0" y="4273"/>
                  </a:lnTo>
                  <a:lnTo>
                    <a:pt x="131" y="4458"/>
                  </a:lnTo>
                  <a:lnTo>
                    <a:pt x="171" y="4472"/>
                  </a:lnTo>
                  <a:lnTo>
                    <a:pt x="205" y="4433"/>
                  </a:lnTo>
                  <a:lnTo>
                    <a:pt x="176" y="4536"/>
                  </a:lnTo>
                  <a:lnTo>
                    <a:pt x="201" y="4523"/>
                  </a:lnTo>
                  <a:lnTo>
                    <a:pt x="230" y="4547"/>
                  </a:lnTo>
                  <a:lnTo>
                    <a:pt x="249" y="4519"/>
                  </a:lnTo>
                  <a:lnTo>
                    <a:pt x="300" y="4531"/>
                  </a:lnTo>
                  <a:lnTo>
                    <a:pt x="269" y="4557"/>
                  </a:lnTo>
                  <a:lnTo>
                    <a:pt x="322" y="4588"/>
                  </a:lnTo>
                  <a:lnTo>
                    <a:pt x="367" y="4578"/>
                  </a:lnTo>
                  <a:lnTo>
                    <a:pt x="415" y="4550"/>
                  </a:lnTo>
                  <a:lnTo>
                    <a:pt x="441" y="4507"/>
                  </a:lnTo>
                  <a:lnTo>
                    <a:pt x="459" y="4548"/>
                  </a:lnTo>
                  <a:lnTo>
                    <a:pt x="535" y="4514"/>
                  </a:lnTo>
                  <a:lnTo>
                    <a:pt x="619" y="4432"/>
                  </a:lnTo>
                  <a:lnTo>
                    <a:pt x="664" y="4417"/>
                  </a:lnTo>
                  <a:lnTo>
                    <a:pt x="680" y="4383"/>
                  </a:lnTo>
                  <a:lnTo>
                    <a:pt x="706" y="4367"/>
                  </a:lnTo>
                  <a:lnTo>
                    <a:pt x="717" y="4348"/>
                  </a:lnTo>
                  <a:lnTo>
                    <a:pt x="782" y="4297"/>
                  </a:lnTo>
                  <a:lnTo>
                    <a:pt x="778" y="4267"/>
                  </a:lnTo>
                  <a:lnTo>
                    <a:pt x="818" y="4298"/>
                  </a:lnTo>
                  <a:lnTo>
                    <a:pt x="864" y="4305"/>
                  </a:lnTo>
                  <a:lnTo>
                    <a:pt x="891" y="4296"/>
                  </a:lnTo>
                  <a:lnTo>
                    <a:pt x="914" y="4233"/>
                  </a:lnTo>
                  <a:lnTo>
                    <a:pt x="944" y="4213"/>
                  </a:lnTo>
                  <a:lnTo>
                    <a:pt x="948" y="4177"/>
                  </a:lnTo>
                  <a:lnTo>
                    <a:pt x="928" y="4149"/>
                  </a:lnTo>
                  <a:lnTo>
                    <a:pt x="919" y="4120"/>
                  </a:lnTo>
                  <a:lnTo>
                    <a:pt x="929" y="4115"/>
                  </a:lnTo>
                  <a:lnTo>
                    <a:pt x="936" y="4099"/>
                  </a:lnTo>
                  <a:lnTo>
                    <a:pt x="934" y="4059"/>
                  </a:lnTo>
                  <a:lnTo>
                    <a:pt x="946" y="4072"/>
                  </a:lnTo>
                  <a:lnTo>
                    <a:pt x="956" y="4100"/>
                  </a:lnTo>
                  <a:lnTo>
                    <a:pt x="952" y="4126"/>
                  </a:lnTo>
                  <a:lnTo>
                    <a:pt x="974" y="4124"/>
                  </a:lnTo>
                  <a:lnTo>
                    <a:pt x="983" y="4102"/>
                  </a:lnTo>
                  <a:lnTo>
                    <a:pt x="971" y="4071"/>
                  </a:lnTo>
                  <a:lnTo>
                    <a:pt x="974" y="4019"/>
                  </a:lnTo>
                  <a:lnTo>
                    <a:pt x="982" y="4010"/>
                  </a:lnTo>
                  <a:lnTo>
                    <a:pt x="989" y="4014"/>
                  </a:lnTo>
                  <a:lnTo>
                    <a:pt x="1011" y="4003"/>
                  </a:lnTo>
                  <a:lnTo>
                    <a:pt x="1027" y="4016"/>
                  </a:lnTo>
                  <a:lnTo>
                    <a:pt x="1024" y="4040"/>
                  </a:lnTo>
                  <a:lnTo>
                    <a:pt x="999" y="4048"/>
                  </a:lnTo>
                  <a:lnTo>
                    <a:pt x="995" y="4246"/>
                  </a:lnTo>
                  <a:lnTo>
                    <a:pt x="1022" y="4243"/>
                  </a:lnTo>
                  <a:lnTo>
                    <a:pt x="1050" y="4275"/>
                  </a:lnTo>
                  <a:lnTo>
                    <a:pt x="1073" y="4276"/>
                  </a:lnTo>
                  <a:lnTo>
                    <a:pt x="1088" y="4317"/>
                  </a:lnTo>
                  <a:lnTo>
                    <a:pt x="1079" y="4394"/>
                  </a:lnTo>
                  <a:lnTo>
                    <a:pt x="1094" y="4349"/>
                  </a:lnTo>
                  <a:lnTo>
                    <a:pt x="1105" y="4379"/>
                  </a:lnTo>
                  <a:lnTo>
                    <a:pt x="1135" y="4364"/>
                  </a:lnTo>
                  <a:lnTo>
                    <a:pt x="1176" y="4240"/>
                  </a:lnTo>
                  <a:lnTo>
                    <a:pt x="1170" y="4143"/>
                  </a:lnTo>
                  <a:lnTo>
                    <a:pt x="1222" y="4076"/>
                  </a:lnTo>
                  <a:lnTo>
                    <a:pt x="1228" y="4030"/>
                  </a:lnTo>
                  <a:lnTo>
                    <a:pt x="1321" y="4005"/>
                  </a:lnTo>
                  <a:lnTo>
                    <a:pt x="1346" y="3971"/>
                  </a:lnTo>
                  <a:lnTo>
                    <a:pt x="1358" y="3922"/>
                  </a:lnTo>
                  <a:lnTo>
                    <a:pt x="1345" y="3893"/>
                  </a:lnTo>
                  <a:lnTo>
                    <a:pt x="1381" y="3799"/>
                  </a:lnTo>
                  <a:lnTo>
                    <a:pt x="1366" y="3690"/>
                  </a:lnTo>
                  <a:lnTo>
                    <a:pt x="1337" y="3644"/>
                  </a:lnTo>
                  <a:lnTo>
                    <a:pt x="1349" y="3625"/>
                  </a:lnTo>
                  <a:lnTo>
                    <a:pt x="1398" y="3611"/>
                  </a:lnTo>
                  <a:lnTo>
                    <a:pt x="1435" y="3577"/>
                  </a:lnTo>
                  <a:lnTo>
                    <a:pt x="1461" y="3522"/>
                  </a:lnTo>
                  <a:lnTo>
                    <a:pt x="1459" y="3455"/>
                  </a:lnTo>
                  <a:lnTo>
                    <a:pt x="1399" y="3400"/>
                  </a:lnTo>
                  <a:lnTo>
                    <a:pt x="1376" y="3350"/>
                  </a:lnTo>
                  <a:lnTo>
                    <a:pt x="1399" y="3154"/>
                  </a:lnTo>
                  <a:lnTo>
                    <a:pt x="1392" y="3107"/>
                  </a:lnTo>
                  <a:lnTo>
                    <a:pt x="1383" y="3096"/>
                  </a:lnTo>
                  <a:lnTo>
                    <a:pt x="1430" y="2910"/>
                  </a:lnTo>
                  <a:lnTo>
                    <a:pt x="1451" y="2883"/>
                  </a:lnTo>
                  <a:lnTo>
                    <a:pt x="1438" y="2866"/>
                  </a:lnTo>
                  <a:lnTo>
                    <a:pt x="1424" y="2823"/>
                  </a:lnTo>
                  <a:lnTo>
                    <a:pt x="1421" y="2768"/>
                  </a:lnTo>
                  <a:lnTo>
                    <a:pt x="1464" y="2669"/>
                  </a:lnTo>
                  <a:lnTo>
                    <a:pt x="1547" y="2587"/>
                  </a:lnTo>
                  <a:lnTo>
                    <a:pt x="1600" y="2561"/>
                  </a:lnTo>
                  <a:lnTo>
                    <a:pt x="1664" y="2549"/>
                  </a:lnTo>
                  <a:lnTo>
                    <a:pt x="1756" y="2571"/>
                  </a:lnTo>
                  <a:lnTo>
                    <a:pt x="1788" y="2538"/>
                  </a:lnTo>
                  <a:lnTo>
                    <a:pt x="1805" y="2449"/>
                  </a:lnTo>
                  <a:lnTo>
                    <a:pt x="1752" y="2367"/>
                  </a:lnTo>
                  <a:lnTo>
                    <a:pt x="1751" y="2338"/>
                  </a:lnTo>
                  <a:lnTo>
                    <a:pt x="1870" y="2155"/>
                  </a:lnTo>
                  <a:lnTo>
                    <a:pt x="1922" y="1841"/>
                  </a:lnTo>
                  <a:lnTo>
                    <a:pt x="1942" y="1830"/>
                  </a:lnTo>
                  <a:lnTo>
                    <a:pt x="1973" y="1832"/>
                  </a:lnTo>
                  <a:lnTo>
                    <a:pt x="2023" y="1800"/>
                  </a:lnTo>
                  <a:lnTo>
                    <a:pt x="2068" y="1674"/>
                  </a:lnTo>
                  <a:lnTo>
                    <a:pt x="2219" y="1477"/>
                  </a:lnTo>
                  <a:lnTo>
                    <a:pt x="2216" y="1444"/>
                  </a:lnTo>
                  <a:lnTo>
                    <a:pt x="2186" y="1384"/>
                  </a:lnTo>
                  <a:lnTo>
                    <a:pt x="2196" y="1350"/>
                  </a:lnTo>
                  <a:lnTo>
                    <a:pt x="2251" y="1283"/>
                  </a:lnTo>
                  <a:lnTo>
                    <a:pt x="2270" y="1209"/>
                  </a:lnTo>
                  <a:lnTo>
                    <a:pt x="2343" y="1135"/>
                  </a:lnTo>
                  <a:lnTo>
                    <a:pt x="2374" y="1130"/>
                  </a:lnTo>
                  <a:lnTo>
                    <a:pt x="2403" y="1147"/>
                  </a:lnTo>
                  <a:lnTo>
                    <a:pt x="2427" y="1179"/>
                  </a:lnTo>
                  <a:lnTo>
                    <a:pt x="2437" y="1184"/>
                  </a:lnTo>
                  <a:lnTo>
                    <a:pt x="2462" y="1145"/>
                  </a:lnTo>
                  <a:lnTo>
                    <a:pt x="2482" y="1069"/>
                  </a:lnTo>
                  <a:lnTo>
                    <a:pt x="2479" y="1011"/>
                  </a:lnTo>
                  <a:lnTo>
                    <a:pt x="2492" y="987"/>
                  </a:lnTo>
                  <a:lnTo>
                    <a:pt x="2506" y="978"/>
                  </a:lnTo>
                  <a:lnTo>
                    <a:pt x="2528" y="974"/>
                  </a:lnTo>
                  <a:lnTo>
                    <a:pt x="2712" y="1022"/>
                  </a:lnTo>
                  <a:lnTo>
                    <a:pt x="2734" y="1017"/>
                  </a:lnTo>
                  <a:lnTo>
                    <a:pt x="2749" y="997"/>
                  </a:lnTo>
                  <a:lnTo>
                    <a:pt x="2725" y="974"/>
                  </a:lnTo>
                  <a:lnTo>
                    <a:pt x="2722" y="949"/>
                  </a:lnTo>
                  <a:lnTo>
                    <a:pt x="2738" y="923"/>
                  </a:lnTo>
                  <a:lnTo>
                    <a:pt x="2746" y="886"/>
                  </a:lnTo>
                  <a:lnTo>
                    <a:pt x="2757" y="873"/>
                  </a:lnTo>
                  <a:lnTo>
                    <a:pt x="2761" y="852"/>
                  </a:lnTo>
                  <a:lnTo>
                    <a:pt x="2758" y="826"/>
                  </a:lnTo>
                  <a:lnTo>
                    <a:pt x="2746" y="814"/>
                  </a:lnTo>
                  <a:lnTo>
                    <a:pt x="2743" y="791"/>
                  </a:lnTo>
                  <a:lnTo>
                    <a:pt x="2756" y="784"/>
                  </a:lnTo>
                  <a:lnTo>
                    <a:pt x="2811" y="785"/>
                  </a:lnTo>
                  <a:lnTo>
                    <a:pt x="2819" y="766"/>
                  </a:lnTo>
                  <a:lnTo>
                    <a:pt x="2839" y="759"/>
                  </a:lnTo>
                  <a:lnTo>
                    <a:pt x="2858" y="768"/>
                  </a:lnTo>
                  <a:lnTo>
                    <a:pt x="2882" y="759"/>
                  </a:lnTo>
                  <a:lnTo>
                    <a:pt x="2871" y="703"/>
                  </a:lnTo>
                  <a:lnTo>
                    <a:pt x="2901" y="687"/>
                  </a:lnTo>
                  <a:lnTo>
                    <a:pt x="2934" y="700"/>
                  </a:lnTo>
                  <a:lnTo>
                    <a:pt x="3038" y="828"/>
                  </a:lnTo>
                  <a:lnTo>
                    <a:pt x="3052" y="873"/>
                  </a:lnTo>
                  <a:lnTo>
                    <a:pt x="3066" y="892"/>
                  </a:lnTo>
                  <a:lnTo>
                    <a:pt x="3129" y="899"/>
                  </a:lnTo>
                  <a:lnTo>
                    <a:pt x="3167" y="917"/>
                  </a:lnTo>
                  <a:lnTo>
                    <a:pt x="3196" y="912"/>
                  </a:lnTo>
                  <a:lnTo>
                    <a:pt x="3231" y="889"/>
                  </a:lnTo>
                  <a:lnTo>
                    <a:pt x="3271" y="839"/>
                  </a:lnTo>
                  <a:lnTo>
                    <a:pt x="3295" y="854"/>
                  </a:lnTo>
                  <a:lnTo>
                    <a:pt x="3328" y="904"/>
                  </a:lnTo>
                  <a:lnTo>
                    <a:pt x="3355" y="909"/>
                  </a:lnTo>
                  <a:lnTo>
                    <a:pt x="3420" y="865"/>
                  </a:lnTo>
                  <a:lnTo>
                    <a:pt x="3437" y="830"/>
                  </a:lnTo>
                  <a:lnTo>
                    <a:pt x="3496" y="780"/>
                  </a:lnTo>
                  <a:lnTo>
                    <a:pt x="3485" y="566"/>
                  </a:lnTo>
                  <a:lnTo>
                    <a:pt x="3509" y="490"/>
                  </a:lnTo>
                  <a:lnTo>
                    <a:pt x="3531" y="459"/>
                  </a:lnTo>
                  <a:lnTo>
                    <a:pt x="3559" y="439"/>
                  </a:lnTo>
                  <a:lnTo>
                    <a:pt x="3615" y="428"/>
                  </a:lnTo>
                  <a:lnTo>
                    <a:pt x="3752" y="362"/>
                  </a:lnTo>
                  <a:lnTo>
                    <a:pt x="3766" y="372"/>
                  </a:lnTo>
                  <a:lnTo>
                    <a:pt x="3794" y="415"/>
                  </a:lnTo>
                  <a:lnTo>
                    <a:pt x="3822" y="431"/>
                  </a:lnTo>
                  <a:lnTo>
                    <a:pt x="3865" y="442"/>
                  </a:lnTo>
                  <a:lnTo>
                    <a:pt x="3912" y="476"/>
                  </a:lnTo>
                  <a:lnTo>
                    <a:pt x="3947" y="574"/>
                  </a:lnTo>
                  <a:lnTo>
                    <a:pt x="3908" y="636"/>
                  </a:lnTo>
                  <a:lnTo>
                    <a:pt x="3903" y="666"/>
                  </a:lnTo>
                  <a:lnTo>
                    <a:pt x="3909" y="692"/>
                  </a:lnTo>
                  <a:lnTo>
                    <a:pt x="3935" y="706"/>
                  </a:lnTo>
                  <a:lnTo>
                    <a:pt x="3941" y="703"/>
                  </a:lnTo>
                  <a:lnTo>
                    <a:pt x="3958" y="679"/>
                  </a:lnTo>
                  <a:lnTo>
                    <a:pt x="3960" y="671"/>
                  </a:lnTo>
                  <a:lnTo>
                    <a:pt x="3959" y="644"/>
                  </a:lnTo>
                  <a:lnTo>
                    <a:pt x="3963" y="633"/>
                  </a:lnTo>
                  <a:lnTo>
                    <a:pt x="4032" y="577"/>
                  </a:lnTo>
                  <a:lnTo>
                    <a:pt x="4045" y="559"/>
                  </a:lnTo>
                  <a:lnTo>
                    <a:pt x="4048" y="486"/>
                  </a:lnTo>
                  <a:lnTo>
                    <a:pt x="4104" y="511"/>
                  </a:lnTo>
                  <a:lnTo>
                    <a:pt x="4131" y="498"/>
                  </a:lnTo>
                  <a:lnTo>
                    <a:pt x="4138" y="455"/>
                  </a:lnTo>
                  <a:lnTo>
                    <a:pt x="4135" y="430"/>
                  </a:lnTo>
                  <a:lnTo>
                    <a:pt x="4129" y="422"/>
                  </a:lnTo>
                </a:path>
              </a:pathLst>
            </a:custGeom>
            <a:solidFill>
              <a:srgbClr val="7359A3"/>
            </a:solidFill>
            <a:ln w="12700">
              <a:solidFill>
                <a:sysClr val="window" lastClr="FFFFFF"/>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1" u="none" strike="noStrike" kern="0" cap="none" spc="0" normalizeH="0" baseline="0" noProof="0" dirty="0">
                <a:ln>
                  <a:noFill/>
                </a:ln>
                <a:solidFill>
                  <a:prstClr val="black"/>
                </a:solidFill>
                <a:effectLst/>
                <a:uLnTx/>
                <a:uFillTx/>
                <a:latin typeface="Arial" panose="020B0604020202020204"/>
                <a:ea typeface="+mn-ea"/>
                <a:cs typeface="+mn-cs"/>
              </a:endParaRPr>
            </a:p>
          </p:txBody>
        </p:sp>
        <p:sp>
          <p:nvSpPr>
            <p:cNvPr id="482" name="Rechteck 10">
              <a:extLst>
                <a:ext uri="{FF2B5EF4-FFF2-40B4-BE49-F238E27FC236}">
                  <a16:creationId xmlns:a16="http://schemas.microsoft.com/office/drawing/2014/main" id="{522FF697-E4C7-C658-0F74-BB9EE014C357}"/>
                </a:ext>
              </a:extLst>
            </p:cNvPr>
            <p:cNvSpPr/>
            <p:nvPr/>
          </p:nvSpPr>
          <p:spPr>
            <a:xfrm>
              <a:off x="7981220" y="1528377"/>
              <a:ext cx="643410" cy="1009650"/>
            </a:xfrm>
            <a:prstGeom prst="rect">
              <a:avLst/>
            </a:prstGeom>
            <a:no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483" name="Sweden 3">
              <a:extLst>
                <a:ext uri="{FF2B5EF4-FFF2-40B4-BE49-F238E27FC236}">
                  <a16:creationId xmlns:a16="http://schemas.microsoft.com/office/drawing/2014/main" id="{86EA0435-D069-B255-6467-00DBE5422E4C}"/>
                </a:ext>
              </a:extLst>
            </p:cNvPr>
            <p:cNvSpPr>
              <a:spLocks/>
            </p:cNvSpPr>
            <p:nvPr/>
          </p:nvSpPr>
          <p:spPr bwMode="auto">
            <a:xfrm rot="21249101">
              <a:off x="8518738" y="1799753"/>
              <a:ext cx="692439" cy="919773"/>
            </a:xfrm>
            <a:custGeom>
              <a:avLst/>
              <a:gdLst>
                <a:gd name="T0" fmla="*/ 2147483647 w 2296"/>
                <a:gd name="T1" fmla="*/ 2147483647 h 4909"/>
                <a:gd name="T2" fmla="*/ 2147483647 w 2296"/>
                <a:gd name="T3" fmla="*/ 2147483647 h 4909"/>
                <a:gd name="T4" fmla="*/ 2147483647 w 2296"/>
                <a:gd name="T5" fmla="*/ 2147483647 h 4909"/>
                <a:gd name="T6" fmla="*/ 2147483647 w 2296"/>
                <a:gd name="T7" fmla="*/ 2147483647 h 4909"/>
                <a:gd name="T8" fmla="*/ 2147483647 w 2296"/>
                <a:gd name="T9" fmla="*/ 2147483647 h 4909"/>
                <a:gd name="T10" fmla="*/ 2147483647 w 2296"/>
                <a:gd name="T11" fmla="*/ 2147483647 h 4909"/>
                <a:gd name="T12" fmla="*/ 2147483647 w 2296"/>
                <a:gd name="T13" fmla="*/ 2147483647 h 4909"/>
                <a:gd name="T14" fmla="*/ 2147483647 w 2296"/>
                <a:gd name="T15" fmla="*/ 2147483647 h 4909"/>
                <a:gd name="T16" fmla="*/ 2147483647 w 2296"/>
                <a:gd name="T17" fmla="*/ 2147483647 h 4909"/>
                <a:gd name="T18" fmla="*/ 2147483647 w 2296"/>
                <a:gd name="T19" fmla="*/ 2147483647 h 4909"/>
                <a:gd name="T20" fmla="*/ 2147483647 w 2296"/>
                <a:gd name="T21" fmla="*/ 2147483647 h 4909"/>
                <a:gd name="T22" fmla="*/ 2147483647 w 2296"/>
                <a:gd name="T23" fmla="*/ 2147483647 h 4909"/>
                <a:gd name="T24" fmla="*/ 2147483647 w 2296"/>
                <a:gd name="T25" fmla="*/ 2147483647 h 4909"/>
                <a:gd name="T26" fmla="*/ 2147483647 w 2296"/>
                <a:gd name="T27" fmla="*/ 2147483647 h 4909"/>
                <a:gd name="T28" fmla="*/ 2147483647 w 2296"/>
                <a:gd name="T29" fmla="*/ 2147483647 h 4909"/>
                <a:gd name="T30" fmla="*/ 2147483647 w 2296"/>
                <a:gd name="T31" fmla="*/ 2147483647 h 4909"/>
                <a:gd name="T32" fmla="*/ 2147483647 w 2296"/>
                <a:gd name="T33" fmla="*/ 2147483647 h 4909"/>
                <a:gd name="T34" fmla="*/ 2147483647 w 2296"/>
                <a:gd name="T35" fmla="*/ 2147483647 h 4909"/>
                <a:gd name="T36" fmla="*/ 2147483647 w 2296"/>
                <a:gd name="T37" fmla="*/ 2147483647 h 4909"/>
                <a:gd name="T38" fmla="*/ 2147483647 w 2296"/>
                <a:gd name="T39" fmla="*/ 2147483647 h 4909"/>
                <a:gd name="T40" fmla="*/ 2147483647 w 2296"/>
                <a:gd name="T41" fmla="*/ 2147483647 h 4909"/>
                <a:gd name="T42" fmla="*/ 2147483647 w 2296"/>
                <a:gd name="T43" fmla="*/ 2147483647 h 4909"/>
                <a:gd name="T44" fmla="*/ 2147483647 w 2296"/>
                <a:gd name="T45" fmla="*/ 2147483647 h 4909"/>
                <a:gd name="T46" fmla="*/ 2147483647 w 2296"/>
                <a:gd name="T47" fmla="*/ 2147483647 h 4909"/>
                <a:gd name="T48" fmla="*/ 2147483647 w 2296"/>
                <a:gd name="T49" fmla="*/ 2147483647 h 4909"/>
                <a:gd name="T50" fmla="*/ 2147483647 w 2296"/>
                <a:gd name="T51" fmla="*/ 2147483647 h 4909"/>
                <a:gd name="T52" fmla="*/ 2147483647 w 2296"/>
                <a:gd name="T53" fmla="*/ 2147483647 h 4909"/>
                <a:gd name="T54" fmla="*/ 2147483647 w 2296"/>
                <a:gd name="T55" fmla="*/ 2147483647 h 4909"/>
                <a:gd name="T56" fmla="*/ 2147483647 w 2296"/>
                <a:gd name="T57" fmla="*/ 2147483647 h 4909"/>
                <a:gd name="T58" fmla="*/ 2147483647 w 2296"/>
                <a:gd name="T59" fmla="*/ 2147483647 h 4909"/>
                <a:gd name="T60" fmla="*/ 2147483647 w 2296"/>
                <a:gd name="T61" fmla="*/ 2147483647 h 4909"/>
                <a:gd name="T62" fmla="*/ 2147483647 w 2296"/>
                <a:gd name="T63" fmla="*/ 2147483647 h 4909"/>
                <a:gd name="T64" fmla="*/ 2147483647 w 2296"/>
                <a:gd name="T65" fmla="*/ 2147483647 h 4909"/>
                <a:gd name="T66" fmla="*/ 2147483647 w 2296"/>
                <a:gd name="T67" fmla="*/ 2147483647 h 4909"/>
                <a:gd name="T68" fmla="*/ 2147483647 w 2296"/>
                <a:gd name="T69" fmla="*/ 2147483647 h 4909"/>
                <a:gd name="T70" fmla="*/ 2147483647 w 2296"/>
                <a:gd name="T71" fmla="*/ 2147483647 h 4909"/>
                <a:gd name="T72" fmla="*/ 2147483647 w 2296"/>
                <a:gd name="T73" fmla="*/ 2147483647 h 4909"/>
                <a:gd name="T74" fmla="*/ 2147483647 w 2296"/>
                <a:gd name="T75" fmla="*/ 2147483647 h 4909"/>
                <a:gd name="T76" fmla="*/ 2147483647 w 2296"/>
                <a:gd name="T77" fmla="*/ 2147483647 h 4909"/>
                <a:gd name="T78" fmla="*/ 2147483647 w 2296"/>
                <a:gd name="T79" fmla="*/ 2147483647 h 4909"/>
                <a:gd name="T80" fmla="*/ 2147483647 w 2296"/>
                <a:gd name="T81" fmla="*/ 2147483647 h 4909"/>
                <a:gd name="T82" fmla="*/ 2147483647 w 2296"/>
                <a:gd name="T83" fmla="*/ 2147483647 h 4909"/>
                <a:gd name="T84" fmla="*/ 2147483647 w 2296"/>
                <a:gd name="T85" fmla="*/ 2147483647 h 4909"/>
                <a:gd name="T86" fmla="*/ 2147483647 w 2296"/>
                <a:gd name="T87" fmla="*/ 2147483647 h 4909"/>
                <a:gd name="T88" fmla="*/ 2147483647 w 2296"/>
                <a:gd name="T89" fmla="*/ 2147483647 h 4909"/>
                <a:gd name="T90" fmla="*/ 2147483647 w 2296"/>
                <a:gd name="T91" fmla="*/ 2147483647 h 4909"/>
                <a:gd name="T92" fmla="*/ 2147483647 w 2296"/>
                <a:gd name="T93" fmla="*/ 2147483647 h 4909"/>
                <a:gd name="T94" fmla="*/ 2147483647 w 2296"/>
                <a:gd name="T95" fmla="*/ 2147483647 h 4909"/>
                <a:gd name="T96" fmla="*/ 2147483647 w 2296"/>
                <a:gd name="T97" fmla="*/ 2147483647 h 4909"/>
                <a:gd name="T98" fmla="*/ 2147483647 w 2296"/>
                <a:gd name="T99" fmla="*/ 2147483647 h 4909"/>
                <a:gd name="T100" fmla="*/ 2147483647 w 2296"/>
                <a:gd name="T101" fmla="*/ 2147483647 h 4909"/>
                <a:gd name="T102" fmla="*/ 2147483647 w 2296"/>
                <a:gd name="T103" fmla="*/ 2147483647 h 4909"/>
                <a:gd name="T104" fmla="*/ 2147483647 w 2296"/>
                <a:gd name="T105" fmla="*/ 2147483647 h 4909"/>
                <a:gd name="T106" fmla="*/ 2147483647 w 2296"/>
                <a:gd name="T107" fmla="*/ 2147483647 h 4909"/>
                <a:gd name="T108" fmla="*/ 2147483647 w 2296"/>
                <a:gd name="T109" fmla="*/ 2147483647 h 4909"/>
                <a:gd name="T110" fmla="*/ 2147483647 w 2296"/>
                <a:gd name="T111" fmla="*/ 2147483647 h 4909"/>
                <a:gd name="T112" fmla="*/ 2147483647 w 2296"/>
                <a:gd name="T113" fmla="*/ 2147483647 h 4909"/>
                <a:gd name="T114" fmla="*/ 2147483647 w 2296"/>
                <a:gd name="T115" fmla="*/ 2147483647 h 490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296"/>
                <a:gd name="T175" fmla="*/ 0 h 4909"/>
                <a:gd name="T176" fmla="*/ 2296 w 2296"/>
                <a:gd name="T177" fmla="*/ 4909 h 4909"/>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75 w 10000"/>
                <a:gd name="connsiteY206" fmla="*/ 3430 h 10000"/>
                <a:gd name="connsiteX207" fmla="*/ 8293 w 10000"/>
                <a:gd name="connsiteY207" fmla="*/ 3463 h 10000"/>
                <a:gd name="connsiteX208" fmla="*/ 8280 w 10000"/>
                <a:gd name="connsiteY208" fmla="*/ 3522 h 10000"/>
                <a:gd name="connsiteX209" fmla="*/ 8410 w 10000"/>
                <a:gd name="connsiteY209" fmla="*/ 3416 h 10000"/>
                <a:gd name="connsiteX210" fmla="*/ 8332 w 10000"/>
                <a:gd name="connsiteY210" fmla="*/ 3353 h 10000"/>
                <a:gd name="connsiteX211" fmla="*/ 8145 w 10000"/>
                <a:gd name="connsiteY211" fmla="*/ 3267 h 10000"/>
                <a:gd name="connsiteX212" fmla="*/ 8123 w 10000"/>
                <a:gd name="connsiteY212" fmla="*/ 3229 h 10000"/>
                <a:gd name="connsiteX213" fmla="*/ 8153 w 10000"/>
                <a:gd name="connsiteY213" fmla="*/ 3219 h 10000"/>
                <a:gd name="connsiteX214" fmla="*/ 8136 w 10000"/>
                <a:gd name="connsiteY214" fmla="*/ 3180 h 10000"/>
                <a:gd name="connsiteX215" fmla="*/ 8075 w 10000"/>
                <a:gd name="connsiteY215" fmla="*/ 3147 h 10000"/>
                <a:gd name="connsiteX216" fmla="*/ 8079 w 10000"/>
                <a:gd name="connsiteY216" fmla="*/ 3127 h 10000"/>
                <a:gd name="connsiteX217" fmla="*/ 8132 w 10000"/>
                <a:gd name="connsiteY217" fmla="*/ 3100 h 10000"/>
                <a:gd name="connsiteX218" fmla="*/ 8145 w 10000"/>
                <a:gd name="connsiteY218" fmla="*/ 3064 h 10000"/>
                <a:gd name="connsiteX219" fmla="*/ 8258 w 10000"/>
                <a:gd name="connsiteY219" fmla="*/ 3037 h 10000"/>
                <a:gd name="connsiteX220" fmla="*/ 8380 w 10000"/>
                <a:gd name="connsiteY220" fmla="*/ 2860 h 10000"/>
                <a:gd name="connsiteX221" fmla="*/ 8253 w 10000"/>
                <a:gd name="connsiteY221" fmla="*/ 2762 h 10000"/>
                <a:gd name="connsiteX222" fmla="*/ 8267 w 10000"/>
                <a:gd name="connsiteY222" fmla="*/ 2748 h 10000"/>
                <a:gd name="connsiteX223" fmla="*/ 8397 w 10000"/>
                <a:gd name="connsiteY223" fmla="*/ 2705 h 10000"/>
                <a:gd name="connsiteX224" fmla="*/ 8402 w 10000"/>
                <a:gd name="connsiteY224" fmla="*/ 2662 h 10000"/>
                <a:gd name="connsiteX225" fmla="*/ 8449 w 10000"/>
                <a:gd name="connsiteY225" fmla="*/ 2656 h 10000"/>
                <a:gd name="connsiteX226" fmla="*/ 8558 w 10000"/>
                <a:gd name="connsiteY226" fmla="*/ 2677 h 10000"/>
                <a:gd name="connsiteX227" fmla="*/ 8593 w 10000"/>
                <a:gd name="connsiteY227" fmla="*/ 2669 h 10000"/>
                <a:gd name="connsiteX228" fmla="*/ 8606 w 10000"/>
                <a:gd name="connsiteY228" fmla="*/ 2630 h 10000"/>
                <a:gd name="connsiteX229" fmla="*/ 8567 w 10000"/>
                <a:gd name="connsiteY229" fmla="*/ 2605 h 10000"/>
                <a:gd name="connsiteX230" fmla="*/ 8685 w 10000"/>
                <a:gd name="connsiteY230" fmla="*/ 2597 h 10000"/>
                <a:gd name="connsiteX231" fmla="*/ 8698 w 10000"/>
                <a:gd name="connsiteY231" fmla="*/ 2565 h 10000"/>
                <a:gd name="connsiteX232" fmla="*/ 8558 w 10000"/>
                <a:gd name="connsiteY232" fmla="*/ 2481 h 10000"/>
                <a:gd name="connsiteX233" fmla="*/ 8558 w 10000"/>
                <a:gd name="connsiteY233" fmla="*/ 2459 h 10000"/>
                <a:gd name="connsiteX234" fmla="*/ 8698 w 10000"/>
                <a:gd name="connsiteY234" fmla="*/ 2504 h 10000"/>
                <a:gd name="connsiteX235" fmla="*/ 8763 w 10000"/>
                <a:gd name="connsiteY235" fmla="*/ 2548 h 10000"/>
                <a:gd name="connsiteX236" fmla="*/ 8815 w 10000"/>
                <a:gd name="connsiteY236" fmla="*/ 2548 h 10000"/>
                <a:gd name="connsiteX237" fmla="*/ 8789 w 10000"/>
                <a:gd name="connsiteY237" fmla="*/ 2457 h 10000"/>
                <a:gd name="connsiteX238" fmla="*/ 8798 w 10000"/>
                <a:gd name="connsiteY238" fmla="*/ 2467 h 10000"/>
                <a:gd name="connsiteX239" fmla="*/ 8841 w 10000"/>
                <a:gd name="connsiteY239" fmla="*/ 2457 h 10000"/>
                <a:gd name="connsiteX240" fmla="*/ 8855 w 10000"/>
                <a:gd name="connsiteY240" fmla="*/ 2341 h 10000"/>
                <a:gd name="connsiteX241" fmla="*/ 8898 w 10000"/>
                <a:gd name="connsiteY241" fmla="*/ 2332 h 10000"/>
                <a:gd name="connsiteX242" fmla="*/ 8946 w 10000"/>
                <a:gd name="connsiteY242" fmla="*/ 2330 h 10000"/>
                <a:gd name="connsiteX243" fmla="*/ 8946 w 10000"/>
                <a:gd name="connsiteY243" fmla="*/ 2361 h 10000"/>
                <a:gd name="connsiteX244" fmla="*/ 8994 w 10000"/>
                <a:gd name="connsiteY244" fmla="*/ 2389 h 10000"/>
                <a:gd name="connsiteX245" fmla="*/ 9051 w 10000"/>
                <a:gd name="connsiteY245" fmla="*/ 2400 h 10000"/>
                <a:gd name="connsiteX246" fmla="*/ 9094 w 10000"/>
                <a:gd name="connsiteY246" fmla="*/ 2324 h 10000"/>
                <a:gd name="connsiteX247" fmla="*/ 9164 w 10000"/>
                <a:gd name="connsiteY247" fmla="*/ 2347 h 10000"/>
                <a:gd name="connsiteX248" fmla="*/ 9247 w 10000"/>
                <a:gd name="connsiteY248" fmla="*/ 2402 h 10000"/>
                <a:gd name="connsiteX249" fmla="*/ 9286 w 10000"/>
                <a:gd name="connsiteY249" fmla="*/ 2400 h 10000"/>
                <a:gd name="connsiteX250" fmla="*/ 9355 w 10000"/>
                <a:gd name="connsiteY250" fmla="*/ 2428 h 10000"/>
                <a:gd name="connsiteX251" fmla="*/ 9408 w 10000"/>
                <a:gd name="connsiteY251" fmla="*/ 2359 h 10000"/>
                <a:gd name="connsiteX252" fmla="*/ 9717 w 10000"/>
                <a:gd name="connsiteY252" fmla="*/ 2343 h 10000"/>
                <a:gd name="connsiteX253" fmla="*/ 9830 w 10000"/>
                <a:gd name="connsiteY253" fmla="*/ 2369 h 10000"/>
                <a:gd name="connsiteX254" fmla="*/ 9909 w 10000"/>
                <a:gd name="connsiteY254" fmla="*/ 2410 h 10000"/>
                <a:gd name="connsiteX255" fmla="*/ 9948 w 10000"/>
                <a:gd name="connsiteY255" fmla="*/ 2365 h 10000"/>
                <a:gd name="connsiteX256" fmla="*/ 10000 w 10000"/>
                <a:gd name="connsiteY256" fmla="*/ 2349 h 10000"/>
                <a:gd name="connsiteX257" fmla="*/ 9704 w 10000"/>
                <a:gd name="connsiteY257" fmla="*/ 1992 h 10000"/>
                <a:gd name="connsiteX258" fmla="*/ 9743 w 10000"/>
                <a:gd name="connsiteY258" fmla="*/ 1897 h 10000"/>
                <a:gd name="connsiteX259" fmla="*/ 9830 w 10000"/>
                <a:gd name="connsiteY259" fmla="*/ 1819 h 10000"/>
                <a:gd name="connsiteX260" fmla="*/ 9830 w 10000"/>
                <a:gd name="connsiteY260" fmla="*/ 1699 h 10000"/>
                <a:gd name="connsiteX261" fmla="*/ 9556 w 10000"/>
                <a:gd name="connsiteY261" fmla="*/ 1465 h 10000"/>
                <a:gd name="connsiteX262" fmla="*/ 9512 w 10000"/>
                <a:gd name="connsiteY262" fmla="*/ 1379 h 10000"/>
                <a:gd name="connsiteX263" fmla="*/ 9573 w 10000"/>
                <a:gd name="connsiteY263" fmla="*/ 1271 h 10000"/>
                <a:gd name="connsiteX264" fmla="*/ 9543 w 10000"/>
                <a:gd name="connsiteY264" fmla="*/ 1194 h 10000"/>
                <a:gd name="connsiteX265" fmla="*/ 9486 w 10000"/>
                <a:gd name="connsiteY265" fmla="*/ 1159 h 10000"/>
                <a:gd name="connsiteX266" fmla="*/ 9438 w 10000"/>
                <a:gd name="connsiteY266" fmla="*/ 978 h 10000"/>
                <a:gd name="connsiteX267" fmla="*/ 9495 w 10000"/>
                <a:gd name="connsiteY267" fmla="*/ 831 h 10000"/>
                <a:gd name="connsiteX268" fmla="*/ 9077 w 10000"/>
                <a:gd name="connsiteY268" fmla="*/ 517 h 10000"/>
                <a:gd name="connsiteX269" fmla="*/ 8872 w 10000"/>
                <a:gd name="connsiteY269" fmla="*/ 440 h 10000"/>
                <a:gd name="connsiteX270" fmla="*/ 8493 w 10000"/>
                <a:gd name="connsiteY270" fmla="*/ 389 h 10000"/>
                <a:gd name="connsiteX271" fmla="*/ 7709 w 10000"/>
                <a:gd name="connsiteY271" fmla="*/ 26 h 10000"/>
                <a:gd name="connsiteX272" fmla="*/ 7683 w 10000"/>
                <a:gd name="connsiteY272" fmla="*/ 2 h 10000"/>
                <a:gd name="connsiteX273" fmla="*/ 7417 w 10000"/>
                <a:gd name="connsiteY273" fmla="*/ 0 h 10000"/>
                <a:gd name="connsiteX274" fmla="*/ 7356 w 10000"/>
                <a:gd name="connsiteY274" fmla="*/ 14 h 10000"/>
                <a:gd name="connsiteX275" fmla="*/ 7369 w 10000"/>
                <a:gd name="connsiteY275" fmla="*/ 61 h 10000"/>
                <a:gd name="connsiteX276" fmla="*/ 7422 w 10000"/>
                <a:gd name="connsiteY276" fmla="*/ 86 h 10000"/>
                <a:gd name="connsiteX277" fmla="*/ 7435 w 10000"/>
                <a:gd name="connsiteY277" fmla="*/ 139 h 10000"/>
                <a:gd name="connsiteX278" fmla="*/ 7417 w 10000"/>
                <a:gd name="connsiteY278" fmla="*/ 181 h 10000"/>
                <a:gd name="connsiteX279" fmla="*/ 7369 w 10000"/>
                <a:gd name="connsiteY279" fmla="*/ 208 h 10000"/>
                <a:gd name="connsiteX280" fmla="*/ 7334 w 10000"/>
                <a:gd name="connsiteY280" fmla="*/ 283 h 10000"/>
                <a:gd name="connsiteX281" fmla="*/ 7269 w 10000"/>
                <a:gd name="connsiteY281" fmla="*/ 336 h 10000"/>
                <a:gd name="connsiteX282" fmla="*/ 7282 w 10000"/>
                <a:gd name="connsiteY282" fmla="*/ 387 h 10000"/>
                <a:gd name="connsiteX283" fmla="*/ 7382 w 10000"/>
                <a:gd name="connsiteY283" fmla="*/ 434 h 10000"/>
                <a:gd name="connsiteX284" fmla="*/ 7317 w 10000"/>
                <a:gd name="connsiteY284" fmla="*/ 475 h 10000"/>
                <a:gd name="connsiteX285" fmla="*/ 7221 w 10000"/>
                <a:gd name="connsiteY285" fmla="*/ 485 h 10000"/>
                <a:gd name="connsiteX286" fmla="*/ 6420 w 10000"/>
                <a:gd name="connsiteY286" fmla="*/ 387 h 10000"/>
                <a:gd name="connsiteX287" fmla="*/ 6324 w 10000"/>
                <a:gd name="connsiteY287" fmla="*/ 395 h 10000"/>
                <a:gd name="connsiteX288" fmla="*/ 6267 w 10000"/>
                <a:gd name="connsiteY288" fmla="*/ 414 h 10000"/>
                <a:gd name="connsiteX289" fmla="*/ 6211 w 10000"/>
                <a:gd name="connsiteY289" fmla="*/ 462 h 10000"/>
                <a:gd name="connsiteX290" fmla="*/ 6220 w 10000"/>
                <a:gd name="connsiteY290" fmla="*/ 581 h 10000"/>
                <a:gd name="connsiteX291" fmla="*/ 6132 w 10000"/>
                <a:gd name="connsiteY291" fmla="*/ 735 h 10000"/>
                <a:gd name="connsiteX292" fmla="*/ 6024 w 10000"/>
                <a:gd name="connsiteY292" fmla="*/ 815 h 10000"/>
                <a:gd name="connsiteX293" fmla="*/ 5980 w 10000"/>
                <a:gd name="connsiteY293" fmla="*/ 805 h 10000"/>
                <a:gd name="connsiteX294" fmla="*/ 5880 w 10000"/>
                <a:gd name="connsiteY294" fmla="*/ 739 h 10000"/>
                <a:gd name="connsiteX295" fmla="*/ 5753 w 10000"/>
                <a:gd name="connsiteY295" fmla="*/ 705 h 10000"/>
                <a:gd name="connsiteX296" fmla="*/ 5618 w 10000"/>
                <a:gd name="connsiteY296" fmla="*/ 715 h 10000"/>
                <a:gd name="connsiteX297" fmla="*/ 5301 w 10000"/>
                <a:gd name="connsiteY297" fmla="*/ 866 h 10000"/>
                <a:gd name="connsiteX298" fmla="*/ 5218 w 10000"/>
                <a:gd name="connsiteY298" fmla="*/ 1017 h 10000"/>
                <a:gd name="connsiteX299" fmla="*/ 4978 w 10000"/>
                <a:gd name="connsiteY299" fmla="*/ 1153 h 10000"/>
                <a:gd name="connsiteX300" fmla="*/ 4935 w 10000"/>
                <a:gd name="connsiteY300" fmla="*/ 1222 h 10000"/>
                <a:gd name="connsiteX301" fmla="*/ 5061 w 10000"/>
                <a:gd name="connsiteY301" fmla="*/ 1344 h 10000"/>
                <a:gd name="connsiteX302" fmla="*/ 5074 w 10000"/>
                <a:gd name="connsiteY302" fmla="*/ 1412 h 10000"/>
                <a:gd name="connsiteX303" fmla="*/ 4421 w 10000"/>
                <a:gd name="connsiteY303" fmla="*/ 1813 h 10000"/>
                <a:gd name="connsiteX304" fmla="*/ 4220 w 10000"/>
                <a:gd name="connsiteY304" fmla="*/ 2070 h 10000"/>
                <a:gd name="connsiteX305" fmla="*/ 4003 w 10000"/>
                <a:gd name="connsiteY305" fmla="*/ 2135 h 10000"/>
                <a:gd name="connsiteX306" fmla="*/ 3868 w 10000"/>
                <a:gd name="connsiteY306" fmla="*/ 2131 h 10000"/>
                <a:gd name="connsiteX307" fmla="*/ 3785 w 10000"/>
                <a:gd name="connsiteY307" fmla="*/ 2153 h 10000"/>
                <a:gd name="connsiteX308" fmla="*/ 3558 w 10000"/>
                <a:gd name="connsiteY308" fmla="*/ 2793 h 10000"/>
                <a:gd name="connsiteX309" fmla="*/ 3036 w 10000"/>
                <a:gd name="connsiteY309" fmla="*/ 3166 h 10000"/>
                <a:gd name="connsiteX310" fmla="*/ 3040 w 10000"/>
                <a:gd name="connsiteY310" fmla="*/ 3225 h 10000"/>
                <a:gd name="connsiteX311" fmla="*/ 3271 w 10000"/>
                <a:gd name="connsiteY311" fmla="*/ 3392 h 10000"/>
                <a:gd name="connsiteX312" fmla="*/ 3197 w 10000"/>
                <a:gd name="connsiteY312" fmla="*/ 3573 h 10000"/>
                <a:gd name="connsiteX313" fmla="*/ 3062 w 10000"/>
                <a:gd name="connsiteY313" fmla="*/ 3640 h 10000"/>
                <a:gd name="connsiteX314" fmla="*/ 2657 w 10000"/>
                <a:gd name="connsiteY314" fmla="*/ 3595 h 10000"/>
                <a:gd name="connsiteX315" fmla="*/ 2378 w 10000"/>
                <a:gd name="connsiteY315" fmla="*/ 3620 h 10000"/>
                <a:gd name="connsiteX316" fmla="*/ 2152 w 10000"/>
                <a:gd name="connsiteY316" fmla="*/ 3673 h 10000"/>
                <a:gd name="connsiteX317" fmla="*/ 1790 w 10000"/>
                <a:gd name="connsiteY317" fmla="*/ 3840 h 10000"/>
                <a:gd name="connsiteX318" fmla="*/ 1598 w 10000"/>
                <a:gd name="connsiteY318" fmla="*/ 4042 h 10000"/>
                <a:gd name="connsiteX319" fmla="*/ 1616 w 10000"/>
                <a:gd name="connsiteY319" fmla="*/ 4154 h 10000"/>
                <a:gd name="connsiteX320" fmla="*/ 1681 w 10000"/>
                <a:gd name="connsiteY320" fmla="*/ 4241 h 10000"/>
                <a:gd name="connsiteX321" fmla="*/ 1733 w 10000"/>
                <a:gd name="connsiteY321" fmla="*/ 4276 h 10000"/>
                <a:gd name="connsiteX322" fmla="*/ 1638 w 10000"/>
                <a:gd name="connsiteY322" fmla="*/ 4331 h 10000"/>
                <a:gd name="connsiteX323" fmla="*/ 1433 w 10000"/>
                <a:gd name="connsiteY323" fmla="*/ 4710 h 10000"/>
                <a:gd name="connsiteX324" fmla="*/ 1472 w 10000"/>
                <a:gd name="connsiteY324" fmla="*/ 4732 h 10000"/>
                <a:gd name="connsiteX325" fmla="*/ 1503 w 10000"/>
                <a:gd name="connsiteY325" fmla="*/ 4828 h 10000"/>
                <a:gd name="connsiteX326" fmla="*/ 1407 w 10000"/>
                <a:gd name="connsiteY326" fmla="*/ 5227 h 10000"/>
                <a:gd name="connsiteX327" fmla="*/ 1503 w 10000"/>
                <a:gd name="connsiteY327" fmla="*/ 5329 h 10000"/>
                <a:gd name="connsiteX328" fmla="*/ 1764 w 10000"/>
                <a:gd name="connsiteY328" fmla="*/ 5441 h 10000"/>
                <a:gd name="connsiteX329" fmla="*/ 1777 w 10000"/>
                <a:gd name="connsiteY329" fmla="*/ 5578 h 10000"/>
                <a:gd name="connsiteX330" fmla="*/ 1664 w 10000"/>
                <a:gd name="connsiteY330" fmla="*/ 5690 h 10000"/>
                <a:gd name="connsiteX331" fmla="*/ 1503 w 10000"/>
                <a:gd name="connsiteY331" fmla="*/ 5759 h 10000"/>
                <a:gd name="connsiteX332" fmla="*/ 1289 w 10000"/>
                <a:gd name="connsiteY332" fmla="*/ 5787 h 10000"/>
                <a:gd name="connsiteX333" fmla="*/ 1233 w 10000"/>
                <a:gd name="connsiteY333" fmla="*/ 5826 h 10000"/>
                <a:gd name="connsiteX334" fmla="*/ 1359 w 10000"/>
                <a:gd name="connsiteY334" fmla="*/ 5920 h 10000"/>
                <a:gd name="connsiteX335" fmla="*/ 1429 w 10000"/>
                <a:gd name="connsiteY335" fmla="*/ 6142 h 10000"/>
                <a:gd name="connsiteX336" fmla="*/ 1267 w 10000"/>
                <a:gd name="connsiteY336" fmla="*/ 6333 h 10000"/>
                <a:gd name="connsiteX337" fmla="*/ 1324 w 10000"/>
                <a:gd name="connsiteY337" fmla="*/ 6392 h 10000"/>
                <a:gd name="connsiteX338" fmla="*/ 1272 w 10000"/>
                <a:gd name="connsiteY338" fmla="*/ 6492 h 10000"/>
                <a:gd name="connsiteX339" fmla="*/ 1167 w 10000"/>
                <a:gd name="connsiteY339" fmla="*/ 6561 h 10000"/>
                <a:gd name="connsiteX340" fmla="*/ 758 w 10000"/>
                <a:gd name="connsiteY340" fmla="*/ 6614 h 10000"/>
                <a:gd name="connsiteX341" fmla="*/ 732 w 10000"/>
                <a:gd name="connsiteY341" fmla="*/ 6706 h 10000"/>
                <a:gd name="connsiteX342" fmla="*/ 510 w 10000"/>
                <a:gd name="connsiteY342" fmla="*/ 6843 h 10000"/>
                <a:gd name="connsiteX343" fmla="*/ 540 w 10000"/>
                <a:gd name="connsiteY343" fmla="*/ 7040 h 10000"/>
                <a:gd name="connsiteX344" fmla="*/ 353 w 10000"/>
                <a:gd name="connsiteY344" fmla="*/ 7293 h 10000"/>
                <a:gd name="connsiteX345" fmla="*/ 226 w 10000"/>
                <a:gd name="connsiteY345" fmla="*/ 7323 h 10000"/>
                <a:gd name="connsiteX346" fmla="*/ 174 w 10000"/>
                <a:gd name="connsiteY346" fmla="*/ 7262 h 10000"/>
                <a:gd name="connsiteX347" fmla="*/ 109 w 10000"/>
                <a:gd name="connsiteY347" fmla="*/ 7354 h 10000"/>
                <a:gd name="connsiteX348" fmla="*/ 152 w 10000"/>
                <a:gd name="connsiteY348" fmla="*/ 7197 h 10000"/>
                <a:gd name="connsiteX349" fmla="*/ 126 w 10000"/>
                <a:gd name="connsiteY349"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75 w 10000"/>
                <a:gd name="connsiteY206" fmla="*/ 3430 h 10000"/>
                <a:gd name="connsiteX207" fmla="*/ 8293 w 10000"/>
                <a:gd name="connsiteY207" fmla="*/ 3463 h 10000"/>
                <a:gd name="connsiteX208" fmla="*/ 8280 w 10000"/>
                <a:gd name="connsiteY208" fmla="*/ 3522 h 10000"/>
                <a:gd name="connsiteX209" fmla="*/ 8410 w 10000"/>
                <a:gd name="connsiteY209" fmla="*/ 3416 h 10000"/>
                <a:gd name="connsiteX210" fmla="*/ 8145 w 10000"/>
                <a:gd name="connsiteY210" fmla="*/ 3267 h 10000"/>
                <a:gd name="connsiteX211" fmla="*/ 8123 w 10000"/>
                <a:gd name="connsiteY211" fmla="*/ 3229 h 10000"/>
                <a:gd name="connsiteX212" fmla="*/ 8153 w 10000"/>
                <a:gd name="connsiteY212" fmla="*/ 3219 h 10000"/>
                <a:gd name="connsiteX213" fmla="*/ 8136 w 10000"/>
                <a:gd name="connsiteY213" fmla="*/ 3180 h 10000"/>
                <a:gd name="connsiteX214" fmla="*/ 8075 w 10000"/>
                <a:gd name="connsiteY214" fmla="*/ 3147 h 10000"/>
                <a:gd name="connsiteX215" fmla="*/ 8079 w 10000"/>
                <a:gd name="connsiteY215" fmla="*/ 3127 h 10000"/>
                <a:gd name="connsiteX216" fmla="*/ 8132 w 10000"/>
                <a:gd name="connsiteY216" fmla="*/ 3100 h 10000"/>
                <a:gd name="connsiteX217" fmla="*/ 8145 w 10000"/>
                <a:gd name="connsiteY217" fmla="*/ 3064 h 10000"/>
                <a:gd name="connsiteX218" fmla="*/ 8258 w 10000"/>
                <a:gd name="connsiteY218" fmla="*/ 3037 h 10000"/>
                <a:gd name="connsiteX219" fmla="*/ 8380 w 10000"/>
                <a:gd name="connsiteY219" fmla="*/ 2860 h 10000"/>
                <a:gd name="connsiteX220" fmla="*/ 8253 w 10000"/>
                <a:gd name="connsiteY220" fmla="*/ 2762 h 10000"/>
                <a:gd name="connsiteX221" fmla="*/ 8267 w 10000"/>
                <a:gd name="connsiteY221" fmla="*/ 2748 h 10000"/>
                <a:gd name="connsiteX222" fmla="*/ 8397 w 10000"/>
                <a:gd name="connsiteY222" fmla="*/ 2705 h 10000"/>
                <a:gd name="connsiteX223" fmla="*/ 8402 w 10000"/>
                <a:gd name="connsiteY223" fmla="*/ 2662 h 10000"/>
                <a:gd name="connsiteX224" fmla="*/ 8449 w 10000"/>
                <a:gd name="connsiteY224" fmla="*/ 2656 h 10000"/>
                <a:gd name="connsiteX225" fmla="*/ 8558 w 10000"/>
                <a:gd name="connsiteY225" fmla="*/ 2677 h 10000"/>
                <a:gd name="connsiteX226" fmla="*/ 8593 w 10000"/>
                <a:gd name="connsiteY226" fmla="*/ 2669 h 10000"/>
                <a:gd name="connsiteX227" fmla="*/ 8606 w 10000"/>
                <a:gd name="connsiteY227" fmla="*/ 2630 h 10000"/>
                <a:gd name="connsiteX228" fmla="*/ 8567 w 10000"/>
                <a:gd name="connsiteY228" fmla="*/ 2605 h 10000"/>
                <a:gd name="connsiteX229" fmla="*/ 8685 w 10000"/>
                <a:gd name="connsiteY229" fmla="*/ 2597 h 10000"/>
                <a:gd name="connsiteX230" fmla="*/ 8698 w 10000"/>
                <a:gd name="connsiteY230" fmla="*/ 2565 h 10000"/>
                <a:gd name="connsiteX231" fmla="*/ 8558 w 10000"/>
                <a:gd name="connsiteY231" fmla="*/ 2481 h 10000"/>
                <a:gd name="connsiteX232" fmla="*/ 8558 w 10000"/>
                <a:gd name="connsiteY232" fmla="*/ 2459 h 10000"/>
                <a:gd name="connsiteX233" fmla="*/ 8698 w 10000"/>
                <a:gd name="connsiteY233" fmla="*/ 2504 h 10000"/>
                <a:gd name="connsiteX234" fmla="*/ 8763 w 10000"/>
                <a:gd name="connsiteY234" fmla="*/ 2548 h 10000"/>
                <a:gd name="connsiteX235" fmla="*/ 8815 w 10000"/>
                <a:gd name="connsiteY235" fmla="*/ 2548 h 10000"/>
                <a:gd name="connsiteX236" fmla="*/ 8789 w 10000"/>
                <a:gd name="connsiteY236" fmla="*/ 2457 h 10000"/>
                <a:gd name="connsiteX237" fmla="*/ 8798 w 10000"/>
                <a:gd name="connsiteY237" fmla="*/ 2467 h 10000"/>
                <a:gd name="connsiteX238" fmla="*/ 8841 w 10000"/>
                <a:gd name="connsiteY238" fmla="*/ 2457 h 10000"/>
                <a:gd name="connsiteX239" fmla="*/ 8855 w 10000"/>
                <a:gd name="connsiteY239" fmla="*/ 2341 h 10000"/>
                <a:gd name="connsiteX240" fmla="*/ 8898 w 10000"/>
                <a:gd name="connsiteY240" fmla="*/ 2332 h 10000"/>
                <a:gd name="connsiteX241" fmla="*/ 8946 w 10000"/>
                <a:gd name="connsiteY241" fmla="*/ 2330 h 10000"/>
                <a:gd name="connsiteX242" fmla="*/ 8946 w 10000"/>
                <a:gd name="connsiteY242" fmla="*/ 2361 h 10000"/>
                <a:gd name="connsiteX243" fmla="*/ 8994 w 10000"/>
                <a:gd name="connsiteY243" fmla="*/ 2389 h 10000"/>
                <a:gd name="connsiteX244" fmla="*/ 9051 w 10000"/>
                <a:gd name="connsiteY244" fmla="*/ 2400 h 10000"/>
                <a:gd name="connsiteX245" fmla="*/ 9094 w 10000"/>
                <a:gd name="connsiteY245" fmla="*/ 2324 h 10000"/>
                <a:gd name="connsiteX246" fmla="*/ 9164 w 10000"/>
                <a:gd name="connsiteY246" fmla="*/ 2347 h 10000"/>
                <a:gd name="connsiteX247" fmla="*/ 9247 w 10000"/>
                <a:gd name="connsiteY247" fmla="*/ 2402 h 10000"/>
                <a:gd name="connsiteX248" fmla="*/ 9286 w 10000"/>
                <a:gd name="connsiteY248" fmla="*/ 2400 h 10000"/>
                <a:gd name="connsiteX249" fmla="*/ 9355 w 10000"/>
                <a:gd name="connsiteY249" fmla="*/ 2428 h 10000"/>
                <a:gd name="connsiteX250" fmla="*/ 9408 w 10000"/>
                <a:gd name="connsiteY250" fmla="*/ 2359 h 10000"/>
                <a:gd name="connsiteX251" fmla="*/ 9717 w 10000"/>
                <a:gd name="connsiteY251" fmla="*/ 2343 h 10000"/>
                <a:gd name="connsiteX252" fmla="*/ 9830 w 10000"/>
                <a:gd name="connsiteY252" fmla="*/ 2369 h 10000"/>
                <a:gd name="connsiteX253" fmla="*/ 9909 w 10000"/>
                <a:gd name="connsiteY253" fmla="*/ 2410 h 10000"/>
                <a:gd name="connsiteX254" fmla="*/ 9948 w 10000"/>
                <a:gd name="connsiteY254" fmla="*/ 2365 h 10000"/>
                <a:gd name="connsiteX255" fmla="*/ 10000 w 10000"/>
                <a:gd name="connsiteY255" fmla="*/ 2349 h 10000"/>
                <a:gd name="connsiteX256" fmla="*/ 9704 w 10000"/>
                <a:gd name="connsiteY256" fmla="*/ 1992 h 10000"/>
                <a:gd name="connsiteX257" fmla="*/ 9743 w 10000"/>
                <a:gd name="connsiteY257" fmla="*/ 1897 h 10000"/>
                <a:gd name="connsiteX258" fmla="*/ 9830 w 10000"/>
                <a:gd name="connsiteY258" fmla="*/ 1819 h 10000"/>
                <a:gd name="connsiteX259" fmla="*/ 9830 w 10000"/>
                <a:gd name="connsiteY259" fmla="*/ 1699 h 10000"/>
                <a:gd name="connsiteX260" fmla="*/ 9556 w 10000"/>
                <a:gd name="connsiteY260" fmla="*/ 1465 h 10000"/>
                <a:gd name="connsiteX261" fmla="*/ 9512 w 10000"/>
                <a:gd name="connsiteY261" fmla="*/ 1379 h 10000"/>
                <a:gd name="connsiteX262" fmla="*/ 9573 w 10000"/>
                <a:gd name="connsiteY262" fmla="*/ 1271 h 10000"/>
                <a:gd name="connsiteX263" fmla="*/ 9543 w 10000"/>
                <a:gd name="connsiteY263" fmla="*/ 1194 h 10000"/>
                <a:gd name="connsiteX264" fmla="*/ 9486 w 10000"/>
                <a:gd name="connsiteY264" fmla="*/ 1159 h 10000"/>
                <a:gd name="connsiteX265" fmla="*/ 9438 w 10000"/>
                <a:gd name="connsiteY265" fmla="*/ 978 h 10000"/>
                <a:gd name="connsiteX266" fmla="*/ 9495 w 10000"/>
                <a:gd name="connsiteY266" fmla="*/ 831 h 10000"/>
                <a:gd name="connsiteX267" fmla="*/ 9077 w 10000"/>
                <a:gd name="connsiteY267" fmla="*/ 517 h 10000"/>
                <a:gd name="connsiteX268" fmla="*/ 8872 w 10000"/>
                <a:gd name="connsiteY268" fmla="*/ 440 h 10000"/>
                <a:gd name="connsiteX269" fmla="*/ 8493 w 10000"/>
                <a:gd name="connsiteY269" fmla="*/ 389 h 10000"/>
                <a:gd name="connsiteX270" fmla="*/ 7709 w 10000"/>
                <a:gd name="connsiteY270" fmla="*/ 26 h 10000"/>
                <a:gd name="connsiteX271" fmla="*/ 7683 w 10000"/>
                <a:gd name="connsiteY271" fmla="*/ 2 h 10000"/>
                <a:gd name="connsiteX272" fmla="*/ 7417 w 10000"/>
                <a:gd name="connsiteY272" fmla="*/ 0 h 10000"/>
                <a:gd name="connsiteX273" fmla="*/ 7356 w 10000"/>
                <a:gd name="connsiteY273" fmla="*/ 14 h 10000"/>
                <a:gd name="connsiteX274" fmla="*/ 7369 w 10000"/>
                <a:gd name="connsiteY274" fmla="*/ 61 h 10000"/>
                <a:gd name="connsiteX275" fmla="*/ 7422 w 10000"/>
                <a:gd name="connsiteY275" fmla="*/ 86 h 10000"/>
                <a:gd name="connsiteX276" fmla="*/ 7435 w 10000"/>
                <a:gd name="connsiteY276" fmla="*/ 139 h 10000"/>
                <a:gd name="connsiteX277" fmla="*/ 7417 w 10000"/>
                <a:gd name="connsiteY277" fmla="*/ 181 h 10000"/>
                <a:gd name="connsiteX278" fmla="*/ 7369 w 10000"/>
                <a:gd name="connsiteY278" fmla="*/ 208 h 10000"/>
                <a:gd name="connsiteX279" fmla="*/ 7334 w 10000"/>
                <a:gd name="connsiteY279" fmla="*/ 283 h 10000"/>
                <a:gd name="connsiteX280" fmla="*/ 7269 w 10000"/>
                <a:gd name="connsiteY280" fmla="*/ 336 h 10000"/>
                <a:gd name="connsiteX281" fmla="*/ 7282 w 10000"/>
                <a:gd name="connsiteY281" fmla="*/ 387 h 10000"/>
                <a:gd name="connsiteX282" fmla="*/ 7382 w 10000"/>
                <a:gd name="connsiteY282" fmla="*/ 434 h 10000"/>
                <a:gd name="connsiteX283" fmla="*/ 7317 w 10000"/>
                <a:gd name="connsiteY283" fmla="*/ 475 h 10000"/>
                <a:gd name="connsiteX284" fmla="*/ 7221 w 10000"/>
                <a:gd name="connsiteY284" fmla="*/ 485 h 10000"/>
                <a:gd name="connsiteX285" fmla="*/ 6420 w 10000"/>
                <a:gd name="connsiteY285" fmla="*/ 387 h 10000"/>
                <a:gd name="connsiteX286" fmla="*/ 6324 w 10000"/>
                <a:gd name="connsiteY286" fmla="*/ 395 h 10000"/>
                <a:gd name="connsiteX287" fmla="*/ 6267 w 10000"/>
                <a:gd name="connsiteY287" fmla="*/ 414 h 10000"/>
                <a:gd name="connsiteX288" fmla="*/ 6211 w 10000"/>
                <a:gd name="connsiteY288" fmla="*/ 462 h 10000"/>
                <a:gd name="connsiteX289" fmla="*/ 6220 w 10000"/>
                <a:gd name="connsiteY289" fmla="*/ 581 h 10000"/>
                <a:gd name="connsiteX290" fmla="*/ 6132 w 10000"/>
                <a:gd name="connsiteY290" fmla="*/ 735 h 10000"/>
                <a:gd name="connsiteX291" fmla="*/ 6024 w 10000"/>
                <a:gd name="connsiteY291" fmla="*/ 815 h 10000"/>
                <a:gd name="connsiteX292" fmla="*/ 5980 w 10000"/>
                <a:gd name="connsiteY292" fmla="*/ 805 h 10000"/>
                <a:gd name="connsiteX293" fmla="*/ 5880 w 10000"/>
                <a:gd name="connsiteY293" fmla="*/ 739 h 10000"/>
                <a:gd name="connsiteX294" fmla="*/ 5753 w 10000"/>
                <a:gd name="connsiteY294" fmla="*/ 705 h 10000"/>
                <a:gd name="connsiteX295" fmla="*/ 5618 w 10000"/>
                <a:gd name="connsiteY295" fmla="*/ 715 h 10000"/>
                <a:gd name="connsiteX296" fmla="*/ 5301 w 10000"/>
                <a:gd name="connsiteY296" fmla="*/ 866 h 10000"/>
                <a:gd name="connsiteX297" fmla="*/ 5218 w 10000"/>
                <a:gd name="connsiteY297" fmla="*/ 1017 h 10000"/>
                <a:gd name="connsiteX298" fmla="*/ 4978 w 10000"/>
                <a:gd name="connsiteY298" fmla="*/ 1153 h 10000"/>
                <a:gd name="connsiteX299" fmla="*/ 4935 w 10000"/>
                <a:gd name="connsiteY299" fmla="*/ 1222 h 10000"/>
                <a:gd name="connsiteX300" fmla="*/ 5061 w 10000"/>
                <a:gd name="connsiteY300" fmla="*/ 1344 h 10000"/>
                <a:gd name="connsiteX301" fmla="*/ 5074 w 10000"/>
                <a:gd name="connsiteY301" fmla="*/ 1412 h 10000"/>
                <a:gd name="connsiteX302" fmla="*/ 4421 w 10000"/>
                <a:gd name="connsiteY302" fmla="*/ 1813 h 10000"/>
                <a:gd name="connsiteX303" fmla="*/ 4220 w 10000"/>
                <a:gd name="connsiteY303" fmla="*/ 2070 h 10000"/>
                <a:gd name="connsiteX304" fmla="*/ 4003 w 10000"/>
                <a:gd name="connsiteY304" fmla="*/ 2135 h 10000"/>
                <a:gd name="connsiteX305" fmla="*/ 3868 w 10000"/>
                <a:gd name="connsiteY305" fmla="*/ 2131 h 10000"/>
                <a:gd name="connsiteX306" fmla="*/ 3785 w 10000"/>
                <a:gd name="connsiteY306" fmla="*/ 2153 h 10000"/>
                <a:gd name="connsiteX307" fmla="*/ 3558 w 10000"/>
                <a:gd name="connsiteY307" fmla="*/ 2793 h 10000"/>
                <a:gd name="connsiteX308" fmla="*/ 3036 w 10000"/>
                <a:gd name="connsiteY308" fmla="*/ 3166 h 10000"/>
                <a:gd name="connsiteX309" fmla="*/ 3040 w 10000"/>
                <a:gd name="connsiteY309" fmla="*/ 3225 h 10000"/>
                <a:gd name="connsiteX310" fmla="*/ 3271 w 10000"/>
                <a:gd name="connsiteY310" fmla="*/ 3392 h 10000"/>
                <a:gd name="connsiteX311" fmla="*/ 3197 w 10000"/>
                <a:gd name="connsiteY311" fmla="*/ 3573 h 10000"/>
                <a:gd name="connsiteX312" fmla="*/ 3062 w 10000"/>
                <a:gd name="connsiteY312" fmla="*/ 3640 h 10000"/>
                <a:gd name="connsiteX313" fmla="*/ 2657 w 10000"/>
                <a:gd name="connsiteY313" fmla="*/ 3595 h 10000"/>
                <a:gd name="connsiteX314" fmla="*/ 2378 w 10000"/>
                <a:gd name="connsiteY314" fmla="*/ 3620 h 10000"/>
                <a:gd name="connsiteX315" fmla="*/ 2152 w 10000"/>
                <a:gd name="connsiteY315" fmla="*/ 3673 h 10000"/>
                <a:gd name="connsiteX316" fmla="*/ 1790 w 10000"/>
                <a:gd name="connsiteY316" fmla="*/ 3840 h 10000"/>
                <a:gd name="connsiteX317" fmla="*/ 1598 w 10000"/>
                <a:gd name="connsiteY317" fmla="*/ 4042 h 10000"/>
                <a:gd name="connsiteX318" fmla="*/ 1616 w 10000"/>
                <a:gd name="connsiteY318" fmla="*/ 4154 h 10000"/>
                <a:gd name="connsiteX319" fmla="*/ 1681 w 10000"/>
                <a:gd name="connsiteY319" fmla="*/ 4241 h 10000"/>
                <a:gd name="connsiteX320" fmla="*/ 1733 w 10000"/>
                <a:gd name="connsiteY320" fmla="*/ 4276 h 10000"/>
                <a:gd name="connsiteX321" fmla="*/ 1638 w 10000"/>
                <a:gd name="connsiteY321" fmla="*/ 4331 h 10000"/>
                <a:gd name="connsiteX322" fmla="*/ 1433 w 10000"/>
                <a:gd name="connsiteY322" fmla="*/ 4710 h 10000"/>
                <a:gd name="connsiteX323" fmla="*/ 1472 w 10000"/>
                <a:gd name="connsiteY323" fmla="*/ 4732 h 10000"/>
                <a:gd name="connsiteX324" fmla="*/ 1503 w 10000"/>
                <a:gd name="connsiteY324" fmla="*/ 4828 h 10000"/>
                <a:gd name="connsiteX325" fmla="*/ 1407 w 10000"/>
                <a:gd name="connsiteY325" fmla="*/ 5227 h 10000"/>
                <a:gd name="connsiteX326" fmla="*/ 1503 w 10000"/>
                <a:gd name="connsiteY326" fmla="*/ 5329 h 10000"/>
                <a:gd name="connsiteX327" fmla="*/ 1764 w 10000"/>
                <a:gd name="connsiteY327" fmla="*/ 5441 h 10000"/>
                <a:gd name="connsiteX328" fmla="*/ 1777 w 10000"/>
                <a:gd name="connsiteY328" fmla="*/ 5578 h 10000"/>
                <a:gd name="connsiteX329" fmla="*/ 1664 w 10000"/>
                <a:gd name="connsiteY329" fmla="*/ 5690 h 10000"/>
                <a:gd name="connsiteX330" fmla="*/ 1503 w 10000"/>
                <a:gd name="connsiteY330" fmla="*/ 5759 h 10000"/>
                <a:gd name="connsiteX331" fmla="*/ 1289 w 10000"/>
                <a:gd name="connsiteY331" fmla="*/ 5787 h 10000"/>
                <a:gd name="connsiteX332" fmla="*/ 1233 w 10000"/>
                <a:gd name="connsiteY332" fmla="*/ 5826 h 10000"/>
                <a:gd name="connsiteX333" fmla="*/ 1359 w 10000"/>
                <a:gd name="connsiteY333" fmla="*/ 5920 h 10000"/>
                <a:gd name="connsiteX334" fmla="*/ 1429 w 10000"/>
                <a:gd name="connsiteY334" fmla="*/ 6142 h 10000"/>
                <a:gd name="connsiteX335" fmla="*/ 1267 w 10000"/>
                <a:gd name="connsiteY335" fmla="*/ 6333 h 10000"/>
                <a:gd name="connsiteX336" fmla="*/ 1324 w 10000"/>
                <a:gd name="connsiteY336" fmla="*/ 6392 h 10000"/>
                <a:gd name="connsiteX337" fmla="*/ 1272 w 10000"/>
                <a:gd name="connsiteY337" fmla="*/ 6492 h 10000"/>
                <a:gd name="connsiteX338" fmla="*/ 1167 w 10000"/>
                <a:gd name="connsiteY338" fmla="*/ 6561 h 10000"/>
                <a:gd name="connsiteX339" fmla="*/ 758 w 10000"/>
                <a:gd name="connsiteY339" fmla="*/ 6614 h 10000"/>
                <a:gd name="connsiteX340" fmla="*/ 732 w 10000"/>
                <a:gd name="connsiteY340" fmla="*/ 6706 h 10000"/>
                <a:gd name="connsiteX341" fmla="*/ 510 w 10000"/>
                <a:gd name="connsiteY341" fmla="*/ 6843 h 10000"/>
                <a:gd name="connsiteX342" fmla="*/ 540 w 10000"/>
                <a:gd name="connsiteY342" fmla="*/ 7040 h 10000"/>
                <a:gd name="connsiteX343" fmla="*/ 353 w 10000"/>
                <a:gd name="connsiteY343" fmla="*/ 7293 h 10000"/>
                <a:gd name="connsiteX344" fmla="*/ 226 w 10000"/>
                <a:gd name="connsiteY344" fmla="*/ 7323 h 10000"/>
                <a:gd name="connsiteX345" fmla="*/ 174 w 10000"/>
                <a:gd name="connsiteY345" fmla="*/ 7262 h 10000"/>
                <a:gd name="connsiteX346" fmla="*/ 109 w 10000"/>
                <a:gd name="connsiteY346" fmla="*/ 7354 h 10000"/>
                <a:gd name="connsiteX347" fmla="*/ 152 w 10000"/>
                <a:gd name="connsiteY347" fmla="*/ 7197 h 10000"/>
                <a:gd name="connsiteX348" fmla="*/ 126 w 10000"/>
                <a:gd name="connsiteY348"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75 w 10000"/>
                <a:gd name="connsiteY206" fmla="*/ 3430 h 10000"/>
                <a:gd name="connsiteX207" fmla="*/ 8293 w 10000"/>
                <a:gd name="connsiteY207" fmla="*/ 3463 h 10000"/>
                <a:gd name="connsiteX208" fmla="*/ 8280 w 10000"/>
                <a:gd name="connsiteY208" fmla="*/ 3522 h 10000"/>
                <a:gd name="connsiteX209" fmla="*/ 8410 w 10000"/>
                <a:gd name="connsiteY209" fmla="*/ 3416 h 10000"/>
                <a:gd name="connsiteX210" fmla="*/ 8145 w 10000"/>
                <a:gd name="connsiteY210" fmla="*/ 3267 h 10000"/>
                <a:gd name="connsiteX211" fmla="*/ 8123 w 10000"/>
                <a:gd name="connsiteY211" fmla="*/ 3229 h 10000"/>
                <a:gd name="connsiteX212" fmla="*/ 8153 w 10000"/>
                <a:gd name="connsiteY212" fmla="*/ 3219 h 10000"/>
                <a:gd name="connsiteX213" fmla="*/ 8075 w 10000"/>
                <a:gd name="connsiteY213" fmla="*/ 3147 h 10000"/>
                <a:gd name="connsiteX214" fmla="*/ 8079 w 10000"/>
                <a:gd name="connsiteY214" fmla="*/ 3127 h 10000"/>
                <a:gd name="connsiteX215" fmla="*/ 8132 w 10000"/>
                <a:gd name="connsiteY215" fmla="*/ 3100 h 10000"/>
                <a:gd name="connsiteX216" fmla="*/ 8145 w 10000"/>
                <a:gd name="connsiteY216" fmla="*/ 3064 h 10000"/>
                <a:gd name="connsiteX217" fmla="*/ 8258 w 10000"/>
                <a:gd name="connsiteY217" fmla="*/ 3037 h 10000"/>
                <a:gd name="connsiteX218" fmla="*/ 8380 w 10000"/>
                <a:gd name="connsiteY218" fmla="*/ 2860 h 10000"/>
                <a:gd name="connsiteX219" fmla="*/ 8253 w 10000"/>
                <a:gd name="connsiteY219" fmla="*/ 2762 h 10000"/>
                <a:gd name="connsiteX220" fmla="*/ 8267 w 10000"/>
                <a:gd name="connsiteY220" fmla="*/ 2748 h 10000"/>
                <a:gd name="connsiteX221" fmla="*/ 8397 w 10000"/>
                <a:gd name="connsiteY221" fmla="*/ 2705 h 10000"/>
                <a:gd name="connsiteX222" fmla="*/ 8402 w 10000"/>
                <a:gd name="connsiteY222" fmla="*/ 2662 h 10000"/>
                <a:gd name="connsiteX223" fmla="*/ 8449 w 10000"/>
                <a:gd name="connsiteY223" fmla="*/ 2656 h 10000"/>
                <a:gd name="connsiteX224" fmla="*/ 8558 w 10000"/>
                <a:gd name="connsiteY224" fmla="*/ 2677 h 10000"/>
                <a:gd name="connsiteX225" fmla="*/ 8593 w 10000"/>
                <a:gd name="connsiteY225" fmla="*/ 2669 h 10000"/>
                <a:gd name="connsiteX226" fmla="*/ 8606 w 10000"/>
                <a:gd name="connsiteY226" fmla="*/ 2630 h 10000"/>
                <a:gd name="connsiteX227" fmla="*/ 8567 w 10000"/>
                <a:gd name="connsiteY227" fmla="*/ 2605 h 10000"/>
                <a:gd name="connsiteX228" fmla="*/ 8685 w 10000"/>
                <a:gd name="connsiteY228" fmla="*/ 2597 h 10000"/>
                <a:gd name="connsiteX229" fmla="*/ 8698 w 10000"/>
                <a:gd name="connsiteY229" fmla="*/ 2565 h 10000"/>
                <a:gd name="connsiteX230" fmla="*/ 8558 w 10000"/>
                <a:gd name="connsiteY230" fmla="*/ 2481 h 10000"/>
                <a:gd name="connsiteX231" fmla="*/ 8558 w 10000"/>
                <a:gd name="connsiteY231" fmla="*/ 2459 h 10000"/>
                <a:gd name="connsiteX232" fmla="*/ 8698 w 10000"/>
                <a:gd name="connsiteY232" fmla="*/ 2504 h 10000"/>
                <a:gd name="connsiteX233" fmla="*/ 8763 w 10000"/>
                <a:gd name="connsiteY233" fmla="*/ 2548 h 10000"/>
                <a:gd name="connsiteX234" fmla="*/ 8815 w 10000"/>
                <a:gd name="connsiteY234" fmla="*/ 2548 h 10000"/>
                <a:gd name="connsiteX235" fmla="*/ 8789 w 10000"/>
                <a:gd name="connsiteY235" fmla="*/ 2457 h 10000"/>
                <a:gd name="connsiteX236" fmla="*/ 8798 w 10000"/>
                <a:gd name="connsiteY236" fmla="*/ 2467 h 10000"/>
                <a:gd name="connsiteX237" fmla="*/ 8841 w 10000"/>
                <a:gd name="connsiteY237" fmla="*/ 2457 h 10000"/>
                <a:gd name="connsiteX238" fmla="*/ 8855 w 10000"/>
                <a:gd name="connsiteY238" fmla="*/ 2341 h 10000"/>
                <a:gd name="connsiteX239" fmla="*/ 8898 w 10000"/>
                <a:gd name="connsiteY239" fmla="*/ 2332 h 10000"/>
                <a:gd name="connsiteX240" fmla="*/ 8946 w 10000"/>
                <a:gd name="connsiteY240" fmla="*/ 2330 h 10000"/>
                <a:gd name="connsiteX241" fmla="*/ 8946 w 10000"/>
                <a:gd name="connsiteY241" fmla="*/ 2361 h 10000"/>
                <a:gd name="connsiteX242" fmla="*/ 8994 w 10000"/>
                <a:gd name="connsiteY242" fmla="*/ 2389 h 10000"/>
                <a:gd name="connsiteX243" fmla="*/ 9051 w 10000"/>
                <a:gd name="connsiteY243" fmla="*/ 2400 h 10000"/>
                <a:gd name="connsiteX244" fmla="*/ 9094 w 10000"/>
                <a:gd name="connsiteY244" fmla="*/ 2324 h 10000"/>
                <a:gd name="connsiteX245" fmla="*/ 9164 w 10000"/>
                <a:gd name="connsiteY245" fmla="*/ 2347 h 10000"/>
                <a:gd name="connsiteX246" fmla="*/ 9247 w 10000"/>
                <a:gd name="connsiteY246" fmla="*/ 2402 h 10000"/>
                <a:gd name="connsiteX247" fmla="*/ 9286 w 10000"/>
                <a:gd name="connsiteY247" fmla="*/ 2400 h 10000"/>
                <a:gd name="connsiteX248" fmla="*/ 9355 w 10000"/>
                <a:gd name="connsiteY248" fmla="*/ 2428 h 10000"/>
                <a:gd name="connsiteX249" fmla="*/ 9408 w 10000"/>
                <a:gd name="connsiteY249" fmla="*/ 2359 h 10000"/>
                <a:gd name="connsiteX250" fmla="*/ 9717 w 10000"/>
                <a:gd name="connsiteY250" fmla="*/ 2343 h 10000"/>
                <a:gd name="connsiteX251" fmla="*/ 9830 w 10000"/>
                <a:gd name="connsiteY251" fmla="*/ 2369 h 10000"/>
                <a:gd name="connsiteX252" fmla="*/ 9909 w 10000"/>
                <a:gd name="connsiteY252" fmla="*/ 2410 h 10000"/>
                <a:gd name="connsiteX253" fmla="*/ 9948 w 10000"/>
                <a:gd name="connsiteY253" fmla="*/ 2365 h 10000"/>
                <a:gd name="connsiteX254" fmla="*/ 10000 w 10000"/>
                <a:gd name="connsiteY254" fmla="*/ 2349 h 10000"/>
                <a:gd name="connsiteX255" fmla="*/ 9704 w 10000"/>
                <a:gd name="connsiteY255" fmla="*/ 1992 h 10000"/>
                <a:gd name="connsiteX256" fmla="*/ 9743 w 10000"/>
                <a:gd name="connsiteY256" fmla="*/ 1897 h 10000"/>
                <a:gd name="connsiteX257" fmla="*/ 9830 w 10000"/>
                <a:gd name="connsiteY257" fmla="*/ 1819 h 10000"/>
                <a:gd name="connsiteX258" fmla="*/ 9830 w 10000"/>
                <a:gd name="connsiteY258" fmla="*/ 1699 h 10000"/>
                <a:gd name="connsiteX259" fmla="*/ 9556 w 10000"/>
                <a:gd name="connsiteY259" fmla="*/ 1465 h 10000"/>
                <a:gd name="connsiteX260" fmla="*/ 9512 w 10000"/>
                <a:gd name="connsiteY260" fmla="*/ 1379 h 10000"/>
                <a:gd name="connsiteX261" fmla="*/ 9573 w 10000"/>
                <a:gd name="connsiteY261" fmla="*/ 1271 h 10000"/>
                <a:gd name="connsiteX262" fmla="*/ 9543 w 10000"/>
                <a:gd name="connsiteY262" fmla="*/ 1194 h 10000"/>
                <a:gd name="connsiteX263" fmla="*/ 9486 w 10000"/>
                <a:gd name="connsiteY263" fmla="*/ 1159 h 10000"/>
                <a:gd name="connsiteX264" fmla="*/ 9438 w 10000"/>
                <a:gd name="connsiteY264" fmla="*/ 978 h 10000"/>
                <a:gd name="connsiteX265" fmla="*/ 9495 w 10000"/>
                <a:gd name="connsiteY265" fmla="*/ 831 h 10000"/>
                <a:gd name="connsiteX266" fmla="*/ 9077 w 10000"/>
                <a:gd name="connsiteY266" fmla="*/ 517 h 10000"/>
                <a:gd name="connsiteX267" fmla="*/ 8872 w 10000"/>
                <a:gd name="connsiteY267" fmla="*/ 440 h 10000"/>
                <a:gd name="connsiteX268" fmla="*/ 8493 w 10000"/>
                <a:gd name="connsiteY268" fmla="*/ 389 h 10000"/>
                <a:gd name="connsiteX269" fmla="*/ 7709 w 10000"/>
                <a:gd name="connsiteY269" fmla="*/ 26 h 10000"/>
                <a:gd name="connsiteX270" fmla="*/ 7683 w 10000"/>
                <a:gd name="connsiteY270" fmla="*/ 2 h 10000"/>
                <a:gd name="connsiteX271" fmla="*/ 7417 w 10000"/>
                <a:gd name="connsiteY271" fmla="*/ 0 h 10000"/>
                <a:gd name="connsiteX272" fmla="*/ 7356 w 10000"/>
                <a:gd name="connsiteY272" fmla="*/ 14 h 10000"/>
                <a:gd name="connsiteX273" fmla="*/ 7369 w 10000"/>
                <a:gd name="connsiteY273" fmla="*/ 61 h 10000"/>
                <a:gd name="connsiteX274" fmla="*/ 7422 w 10000"/>
                <a:gd name="connsiteY274" fmla="*/ 86 h 10000"/>
                <a:gd name="connsiteX275" fmla="*/ 7435 w 10000"/>
                <a:gd name="connsiteY275" fmla="*/ 139 h 10000"/>
                <a:gd name="connsiteX276" fmla="*/ 7417 w 10000"/>
                <a:gd name="connsiteY276" fmla="*/ 181 h 10000"/>
                <a:gd name="connsiteX277" fmla="*/ 7369 w 10000"/>
                <a:gd name="connsiteY277" fmla="*/ 208 h 10000"/>
                <a:gd name="connsiteX278" fmla="*/ 7334 w 10000"/>
                <a:gd name="connsiteY278" fmla="*/ 283 h 10000"/>
                <a:gd name="connsiteX279" fmla="*/ 7269 w 10000"/>
                <a:gd name="connsiteY279" fmla="*/ 336 h 10000"/>
                <a:gd name="connsiteX280" fmla="*/ 7282 w 10000"/>
                <a:gd name="connsiteY280" fmla="*/ 387 h 10000"/>
                <a:gd name="connsiteX281" fmla="*/ 7382 w 10000"/>
                <a:gd name="connsiteY281" fmla="*/ 434 h 10000"/>
                <a:gd name="connsiteX282" fmla="*/ 7317 w 10000"/>
                <a:gd name="connsiteY282" fmla="*/ 475 h 10000"/>
                <a:gd name="connsiteX283" fmla="*/ 7221 w 10000"/>
                <a:gd name="connsiteY283" fmla="*/ 485 h 10000"/>
                <a:gd name="connsiteX284" fmla="*/ 6420 w 10000"/>
                <a:gd name="connsiteY284" fmla="*/ 387 h 10000"/>
                <a:gd name="connsiteX285" fmla="*/ 6324 w 10000"/>
                <a:gd name="connsiteY285" fmla="*/ 395 h 10000"/>
                <a:gd name="connsiteX286" fmla="*/ 6267 w 10000"/>
                <a:gd name="connsiteY286" fmla="*/ 414 h 10000"/>
                <a:gd name="connsiteX287" fmla="*/ 6211 w 10000"/>
                <a:gd name="connsiteY287" fmla="*/ 462 h 10000"/>
                <a:gd name="connsiteX288" fmla="*/ 6220 w 10000"/>
                <a:gd name="connsiteY288" fmla="*/ 581 h 10000"/>
                <a:gd name="connsiteX289" fmla="*/ 6132 w 10000"/>
                <a:gd name="connsiteY289" fmla="*/ 735 h 10000"/>
                <a:gd name="connsiteX290" fmla="*/ 6024 w 10000"/>
                <a:gd name="connsiteY290" fmla="*/ 815 h 10000"/>
                <a:gd name="connsiteX291" fmla="*/ 5980 w 10000"/>
                <a:gd name="connsiteY291" fmla="*/ 805 h 10000"/>
                <a:gd name="connsiteX292" fmla="*/ 5880 w 10000"/>
                <a:gd name="connsiteY292" fmla="*/ 739 h 10000"/>
                <a:gd name="connsiteX293" fmla="*/ 5753 w 10000"/>
                <a:gd name="connsiteY293" fmla="*/ 705 h 10000"/>
                <a:gd name="connsiteX294" fmla="*/ 5618 w 10000"/>
                <a:gd name="connsiteY294" fmla="*/ 715 h 10000"/>
                <a:gd name="connsiteX295" fmla="*/ 5301 w 10000"/>
                <a:gd name="connsiteY295" fmla="*/ 866 h 10000"/>
                <a:gd name="connsiteX296" fmla="*/ 5218 w 10000"/>
                <a:gd name="connsiteY296" fmla="*/ 1017 h 10000"/>
                <a:gd name="connsiteX297" fmla="*/ 4978 w 10000"/>
                <a:gd name="connsiteY297" fmla="*/ 1153 h 10000"/>
                <a:gd name="connsiteX298" fmla="*/ 4935 w 10000"/>
                <a:gd name="connsiteY298" fmla="*/ 1222 h 10000"/>
                <a:gd name="connsiteX299" fmla="*/ 5061 w 10000"/>
                <a:gd name="connsiteY299" fmla="*/ 1344 h 10000"/>
                <a:gd name="connsiteX300" fmla="*/ 5074 w 10000"/>
                <a:gd name="connsiteY300" fmla="*/ 1412 h 10000"/>
                <a:gd name="connsiteX301" fmla="*/ 4421 w 10000"/>
                <a:gd name="connsiteY301" fmla="*/ 1813 h 10000"/>
                <a:gd name="connsiteX302" fmla="*/ 4220 w 10000"/>
                <a:gd name="connsiteY302" fmla="*/ 2070 h 10000"/>
                <a:gd name="connsiteX303" fmla="*/ 4003 w 10000"/>
                <a:gd name="connsiteY303" fmla="*/ 2135 h 10000"/>
                <a:gd name="connsiteX304" fmla="*/ 3868 w 10000"/>
                <a:gd name="connsiteY304" fmla="*/ 2131 h 10000"/>
                <a:gd name="connsiteX305" fmla="*/ 3785 w 10000"/>
                <a:gd name="connsiteY305" fmla="*/ 2153 h 10000"/>
                <a:gd name="connsiteX306" fmla="*/ 3558 w 10000"/>
                <a:gd name="connsiteY306" fmla="*/ 2793 h 10000"/>
                <a:gd name="connsiteX307" fmla="*/ 3036 w 10000"/>
                <a:gd name="connsiteY307" fmla="*/ 3166 h 10000"/>
                <a:gd name="connsiteX308" fmla="*/ 3040 w 10000"/>
                <a:gd name="connsiteY308" fmla="*/ 3225 h 10000"/>
                <a:gd name="connsiteX309" fmla="*/ 3271 w 10000"/>
                <a:gd name="connsiteY309" fmla="*/ 3392 h 10000"/>
                <a:gd name="connsiteX310" fmla="*/ 3197 w 10000"/>
                <a:gd name="connsiteY310" fmla="*/ 3573 h 10000"/>
                <a:gd name="connsiteX311" fmla="*/ 3062 w 10000"/>
                <a:gd name="connsiteY311" fmla="*/ 3640 h 10000"/>
                <a:gd name="connsiteX312" fmla="*/ 2657 w 10000"/>
                <a:gd name="connsiteY312" fmla="*/ 3595 h 10000"/>
                <a:gd name="connsiteX313" fmla="*/ 2378 w 10000"/>
                <a:gd name="connsiteY313" fmla="*/ 3620 h 10000"/>
                <a:gd name="connsiteX314" fmla="*/ 2152 w 10000"/>
                <a:gd name="connsiteY314" fmla="*/ 3673 h 10000"/>
                <a:gd name="connsiteX315" fmla="*/ 1790 w 10000"/>
                <a:gd name="connsiteY315" fmla="*/ 3840 h 10000"/>
                <a:gd name="connsiteX316" fmla="*/ 1598 w 10000"/>
                <a:gd name="connsiteY316" fmla="*/ 4042 h 10000"/>
                <a:gd name="connsiteX317" fmla="*/ 1616 w 10000"/>
                <a:gd name="connsiteY317" fmla="*/ 4154 h 10000"/>
                <a:gd name="connsiteX318" fmla="*/ 1681 w 10000"/>
                <a:gd name="connsiteY318" fmla="*/ 4241 h 10000"/>
                <a:gd name="connsiteX319" fmla="*/ 1733 w 10000"/>
                <a:gd name="connsiteY319" fmla="*/ 4276 h 10000"/>
                <a:gd name="connsiteX320" fmla="*/ 1638 w 10000"/>
                <a:gd name="connsiteY320" fmla="*/ 4331 h 10000"/>
                <a:gd name="connsiteX321" fmla="*/ 1433 w 10000"/>
                <a:gd name="connsiteY321" fmla="*/ 4710 h 10000"/>
                <a:gd name="connsiteX322" fmla="*/ 1472 w 10000"/>
                <a:gd name="connsiteY322" fmla="*/ 4732 h 10000"/>
                <a:gd name="connsiteX323" fmla="*/ 1503 w 10000"/>
                <a:gd name="connsiteY323" fmla="*/ 4828 h 10000"/>
                <a:gd name="connsiteX324" fmla="*/ 1407 w 10000"/>
                <a:gd name="connsiteY324" fmla="*/ 5227 h 10000"/>
                <a:gd name="connsiteX325" fmla="*/ 1503 w 10000"/>
                <a:gd name="connsiteY325" fmla="*/ 5329 h 10000"/>
                <a:gd name="connsiteX326" fmla="*/ 1764 w 10000"/>
                <a:gd name="connsiteY326" fmla="*/ 5441 h 10000"/>
                <a:gd name="connsiteX327" fmla="*/ 1777 w 10000"/>
                <a:gd name="connsiteY327" fmla="*/ 5578 h 10000"/>
                <a:gd name="connsiteX328" fmla="*/ 1664 w 10000"/>
                <a:gd name="connsiteY328" fmla="*/ 5690 h 10000"/>
                <a:gd name="connsiteX329" fmla="*/ 1503 w 10000"/>
                <a:gd name="connsiteY329" fmla="*/ 5759 h 10000"/>
                <a:gd name="connsiteX330" fmla="*/ 1289 w 10000"/>
                <a:gd name="connsiteY330" fmla="*/ 5787 h 10000"/>
                <a:gd name="connsiteX331" fmla="*/ 1233 w 10000"/>
                <a:gd name="connsiteY331" fmla="*/ 5826 h 10000"/>
                <a:gd name="connsiteX332" fmla="*/ 1359 w 10000"/>
                <a:gd name="connsiteY332" fmla="*/ 5920 h 10000"/>
                <a:gd name="connsiteX333" fmla="*/ 1429 w 10000"/>
                <a:gd name="connsiteY333" fmla="*/ 6142 h 10000"/>
                <a:gd name="connsiteX334" fmla="*/ 1267 w 10000"/>
                <a:gd name="connsiteY334" fmla="*/ 6333 h 10000"/>
                <a:gd name="connsiteX335" fmla="*/ 1324 w 10000"/>
                <a:gd name="connsiteY335" fmla="*/ 6392 h 10000"/>
                <a:gd name="connsiteX336" fmla="*/ 1272 w 10000"/>
                <a:gd name="connsiteY336" fmla="*/ 6492 h 10000"/>
                <a:gd name="connsiteX337" fmla="*/ 1167 w 10000"/>
                <a:gd name="connsiteY337" fmla="*/ 6561 h 10000"/>
                <a:gd name="connsiteX338" fmla="*/ 758 w 10000"/>
                <a:gd name="connsiteY338" fmla="*/ 6614 h 10000"/>
                <a:gd name="connsiteX339" fmla="*/ 732 w 10000"/>
                <a:gd name="connsiteY339" fmla="*/ 6706 h 10000"/>
                <a:gd name="connsiteX340" fmla="*/ 510 w 10000"/>
                <a:gd name="connsiteY340" fmla="*/ 6843 h 10000"/>
                <a:gd name="connsiteX341" fmla="*/ 540 w 10000"/>
                <a:gd name="connsiteY341" fmla="*/ 7040 h 10000"/>
                <a:gd name="connsiteX342" fmla="*/ 353 w 10000"/>
                <a:gd name="connsiteY342" fmla="*/ 7293 h 10000"/>
                <a:gd name="connsiteX343" fmla="*/ 226 w 10000"/>
                <a:gd name="connsiteY343" fmla="*/ 7323 h 10000"/>
                <a:gd name="connsiteX344" fmla="*/ 174 w 10000"/>
                <a:gd name="connsiteY344" fmla="*/ 7262 h 10000"/>
                <a:gd name="connsiteX345" fmla="*/ 109 w 10000"/>
                <a:gd name="connsiteY345" fmla="*/ 7354 h 10000"/>
                <a:gd name="connsiteX346" fmla="*/ 152 w 10000"/>
                <a:gd name="connsiteY346" fmla="*/ 7197 h 10000"/>
                <a:gd name="connsiteX347" fmla="*/ 126 w 10000"/>
                <a:gd name="connsiteY347"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75 w 10000"/>
                <a:gd name="connsiteY206" fmla="*/ 3430 h 10000"/>
                <a:gd name="connsiteX207" fmla="*/ 8293 w 10000"/>
                <a:gd name="connsiteY207" fmla="*/ 3463 h 10000"/>
                <a:gd name="connsiteX208" fmla="*/ 8280 w 10000"/>
                <a:gd name="connsiteY208" fmla="*/ 3522 h 10000"/>
                <a:gd name="connsiteX209" fmla="*/ 8145 w 10000"/>
                <a:gd name="connsiteY209" fmla="*/ 3267 h 10000"/>
                <a:gd name="connsiteX210" fmla="*/ 8123 w 10000"/>
                <a:gd name="connsiteY210" fmla="*/ 3229 h 10000"/>
                <a:gd name="connsiteX211" fmla="*/ 8153 w 10000"/>
                <a:gd name="connsiteY211" fmla="*/ 3219 h 10000"/>
                <a:gd name="connsiteX212" fmla="*/ 8075 w 10000"/>
                <a:gd name="connsiteY212" fmla="*/ 3147 h 10000"/>
                <a:gd name="connsiteX213" fmla="*/ 8079 w 10000"/>
                <a:gd name="connsiteY213" fmla="*/ 3127 h 10000"/>
                <a:gd name="connsiteX214" fmla="*/ 8132 w 10000"/>
                <a:gd name="connsiteY214" fmla="*/ 3100 h 10000"/>
                <a:gd name="connsiteX215" fmla="*/ 8145 w 10000"/>
                <a:gd name="connsiteY215" fmla="*/ 3064 h 10000"/>
                <a:gd name="connsiteX216" fmla="*/ 8258 w 10000"/>
                <a:gd name="connsiteY216" fmla="*/ 3037 h 10000"/>
                <a:gd name="connsiteX217" fmla="*/ 8380 w 10000"/>
                <a:gd name="connsiteY217" fmla="*/ 2860 h 10000"/>
                <a:gd name="connsiteX218" fmla="*/ 8253 w 10000"/>
                <a:gd name="connsiteY218" fmla="*/ 2762 h 10000"/>
                <a:gd name="connsiteX219" fmla="*/ 8267 w 10000"/>
                <a:gd name="connsiteY219" fmla="*/ 2748 h 10000"/>
                <a:gd name="connsiteX220" fmla="*/ 8397 w 10000"/>
                <a:gd name="connsiteY220" fmla="*/ 2705 h 10000"/>
                <a:gd name="connsiteX221" fmla="*/ 8402 w 10000"/>
                <a:gd name="connsiteY221" fmla="*/ 2662 h 10000"/>
                <a:gd name="connsiteX222" fmla="*/ 8449 w 10000"/>
                <a:gd name="connsiteY222" fmla="*/ 2656 h 10000"/>
                <a:gd name="connsiteX223" fmla="*/ 8558 w 10000"/>
                <a:gd name="connsiteY223" fmla="*/ 2677 h 10000"/>
                <a:gd name="connsiteX224" fmla="*/ 8593 w 10000"/>
                <a:gd name="connsiteY224" fmla="*/ 2669 h 10000"/>
                <a:gd name="connsiteX225" fmla="*/ 8606 w 10000"/>
                <a:gd name="connsiteY225" fmla="*/ 2630 h 10000"/>
                <a:gd name="connsiteX226" fmla="*/ 8567 w 10000"/>
                <a:gd name="connsiteY226" fmla="*/ 2605 h 10000"/>
                <a:gd name="connsiteX227" fmla="*/ 8685 w 10000"/>
                <a:gd name="connsiteY227" fmla="*/ 2597 h 10000"/>
                <a:gd name="connsiteX228" fmla="*/ 8698 w 10000"/>
                <a:gd name="connsiteY228" fmla="*/ 2565 h 10000"/>
                <a:gd name="connsiteX229" fmla="*/ 8558 w 10000"/>
                <a:gd name="connsiteY229" fmla="*/ 2481 h 10000"/>
                <a:gd name="connsiteX230" fmla="*/ 8558 w 10000"/>
                <a:gd name="connsiteY230" fmla="*/ 2459 h 10000"/>
                <a:gd name="connsiteX231" fmla="*/ 8698 w 10000"/>
                <a:gd name="connsiteY231" fmla="*/ 2504 h 10000"/>
                <a:gd name="connsiteX232" fmla="*/ 8763 w 10000"/>
                <a:gd name="connsiteY232" fmla="*/ 2548 h 10000"/>
                <a:gd name="connsiteX233" fmla="*/ 8815 w 10000"/>
                <a:gd name="connsiteY233" fmla="*/ 2548 h 10000"/>
                <a:gd name="connsiteX234" fmla="*/ 8789 w 10000"/>
                <a:gd name="connsiteY234" fmla="*/ 2457 h 10000"/>
                <a:gd name="connsiteX235" fmla="*/ 8798 w 10000"/>
                <a:gd name="connsiteY235" fmla="*/ 2467 h 10000"/>
                <a:gd name="connsiteX236" fmla="*/ 8841 w 10000"/>
                <a:gd name="connsiteY236" fmla="*/ 2457 h 10000"/>
                <a:gd name="connsiteX237" fmla="*/ 8855 w 10000"/>
                <a:gd name="connsiteY237" fmla="*/ 2341 h 10000"/>
                <a:gd name="connsiteX238" fmla="*/ 8898 w 10000"/>
                <a:gd name="connsiteY238" fmla="*/ 2332 h 10000"/>
                <a:gd name="connsiteX239" fmla="*/ 8946 w 10000"/>
                <a:gd name="connsiteY239" fmla="*/ 2330 h 10000"/>
                <a:gd name="connsiteX240" fmla="*/ 8946 w 10000"/>
                <a:gd name="connsiteY240" fmla="*/ 2361 h 10000"/>
                <a:gd name="connsiteX241" fmla="*/ 8994 w 10000"/>
                <a:gd name="connsiteY241" fmla="*/ 2389 h 10000"/>
                <a:gd name="connsiteX242" fmla="*/ 9051 w 10000"/>
                <a:gd name="connsiteY242" fmla="*/ 2400 h 10000"/>
                <a:gd name="connsiteX243" fmla="*/ 9094 w 10000"/>
                <a:gd name="connsiteY243" fmla="*/ 2324 h 10000"/>
                <a:gd name="connsiteX244" fmla="*/ 9164 w 10000"/>
                <a:gd name="connsiteY244" fmla="*/ 2347 h 10000"/>
                <a:gd name="connsiteX245" fmla="*/ 9247 w 10000"/>
                <a:gd name="connsiteY245" fmla="*/ 2402 h 10000"/>
                <a:gd name="connsiteX246" fmla="*/ 9286 w 10000"/>
                <a:gd name="connsiteY246" fmla="*/ 2400 h 10000"/>
                <a:gd name="connsiteX247" fmla="*/ 9355 w 10000"/>
                <a:gd name="connsiteY247" fmla="*/ 2428 h 10000"/>
                <a:gd name="connsiteX248" fmla="*/ 9408 w 10000"/>
                <a:gd name="connsiteY248" fmla="*/ 2359 h 10000"/>
                <a:gd name="connsiteX249" fmla="*/ 9717 w 10000"/>
                <a:gd name="connsiteY249" fmla="*/ 2343 h 10000"/>
                <a:gd name="connsiteX250" fmla="*/ 9830 w 10000"/>
                <a:gd name="connsiteY250" fmla="*/ 2369 h 10000"/>
                <a:gd name="connsiteX251" fmla="*/ 9909 w 10000"/>
                <a:gd name="connsiteY251" fmla="*/ 2410 h 10000"/>
                <a:gd name="connsiteX252" fmla="*/ 9948 w 10000"/>
                <a:gd name="connsiteY252" fmla="*/ 2365 h 10000"/>
                <a:gd name="connsiteX253" fmla="*/ 10000 w 10000"/>
                <a:gd name="connsiteY253" fmla="*/ 2349 h 10000"/>
                <a:gd name="connsiteX254" fmla="*/ 9704 w 10000"/>
                <a:gd name="connsiteY254" fmla="*/ 1992 h 10000"/>
                <a:gd name="connsiteX255" fmla="*/ 9743 w 10000"/>
                <a:gd name="connsiteY255" fmla="*/ 1897 h 10000"/>
                <a:gd name="connsiteX256" fmla="*/ 9830 w 10000"/>
                <a:gd name="connsiteY256" fmla="*/ 1819 h 10000"/>
                <a:gd name="connsiteX257" fmla="*/ 9830 w 10000"/>
                <a:gd name="connsiteY257" fmla="*/ 1699 h 10000"/>
                <a:gd name="connsiteX258" fmla="*/ 9556 w 10000"/>
                <a:gd name="connsiteY258" fmla="*/ 1465 h 10000"/>
                <a:gd name="connsiteX259" fmla="*/ 9512 w 10000"/>
                <a:gd name="connsiteY259" fmla="*/ 1379 h 10000"/>
                <a:gd name="connsiteX260" fmla="*/ 9573 w 10000"/>
                <a:gd name="connsiteY260" fmla="*/ 1271 h 10000"/>
                <a:gd name="connsiteX261" fmla="*/ 9543 w 10000"/>
                <a:gd name="connsiteY261" fmla="*/ 1194 h 10000"/>
                <a:gd name="connsiteX262" fmla="*/ 9486 w 10000"/>
                <a:gd name="connsiteY262" fmla="*/ 1159 h 10000"/>
                <a:gd name="connsiteX263" fmla="*/ 9438 w 10000"/>
                <a:gd name="connsiteY263" fmla="*/ 978 h 10000"/>
                <a:gd name="connsiteX264" fmla="*/ 9495 w 10000"/>
                <a:gd name="connsiteY264" fmla="*/ 831 h 10000"/>
                <a:gd name="connsiteX265" fmla="*/ 9077 w 10000"/>
                <a:gd name="connsiteY265" fmla="*/ 517 h 10000"/>
                <a:gd name="connsiteX266" fmla="*/ 8872 w 10000"/>
                <a:gd name="connsiteY266" fmla="*/ 440 h 10000"/>
                <a:gd name="connsiteX267" fmla="*/ 8493 w 10000"/>
                <a:gd name="connsiteY267" fmla="*/ 389 h 10000"/>
                <a:gd name="connsiteX268" fmla="*/ 7709 w 10000"/>
                <a:gd name="connsiteY268" fmla="*/ 26 h 10000"/>
                <a:gd name="connsiteX269" fmla="*/ 7683 w 10000"/>
                <a:gd name="connsiteY269" fmla="*/ 2 h 10000"/>
                <a:gd name="connsiteX270" fmla="*/ 7417 w 10000"/>
                <a:gd name="connsiteY270" fmla="*/ 0 h 10000"/>
                <a:gd name="connsiteX271" fmla="*/ 7356 w 10000"/>
                <a:gd name="connsiteY271" fmla="*/ 14 h 10000"/>
                <a:gd name="connsiteX272" fmla="*/ 7369 w 10000"/>
                <a:gd name="connsiteY272" fmla="*/ 61 h 10000"/>
                <a:gd name="connsiteX273" fmla="*/ 7422 w 10000"/>
                <a:gd name="connsiteY273" fmla="*/ 86 h 10000"/>
                <a:gd name="connsiteX274" fmla="*/ 7435 w 10000"/>
                <a:gd name="connsiteY274" fmla="*/ 139 h 10000"/>
                <a:gd name="connsiteX275" fmla="*/ 7417 w 10000"/>
                <a:gd name="connsiteY275" fmla="*/ 181 h 10000"/>
                <a:gd name="connsiteX276" fmla="*/ 7369 w 10000"/>
                <a:gd name="connsiteY276" fmla="*/ 208 h 10000"/>
                <a:gd name="connsiteX277" fmla="*/ 7334 w 10000"/>
                <a:gd name="connsiteY277" fmla="*/ 283 h 10000"/>
                <a:gd name="connsiteX278" fmla="*/ 7269 w 10000"/>
                <a:gd name="connsiteY278" fmla="*/ 336 h 10000"/>
                <a:gd name="connsiteX279" fmla="*/ 7282 w 10000"/>
                <a:gd name="connsiteY279" fmla="*/ 387 h 10000"/>
                <a:gd name="connsiteX280" fmla="*/ 7382 w 10000"/>
                <a:gd name="connsiteY280" fmla="*/ 434 h 10000"/>
                <a:gd name="connsiteX281" fmla="*/ 7317 w 10000"/>
                <a:gd name="connsiteY281" fmla="*/ 475 h 10000"/>
                <a:gd name="connsiteX282" fmla="*/ 7221 w 10000"/>
                <a:gd name="connsiteY282" fmla="*/ 485 h 10000"/>
                <a:gd name="connsiteX283" fmla="*/ 6420 w 10000"/>
                <a:gd name="connsiteY283" fmla="*/ 387 h 10000"/>
                <a:gd name="connsiteX284" fmla="*/ 6324 w 10000"/>
                <a:gd name="connsiteY284" fmla="*/ 395 h 10000"/>
                <a:gd name="connsiteX285" fmla="*/ 6267 w 10000"/>
                <a:gd name="connsiteY285" fmla="*/ 414 h 10000"/>
                <a:gd name="connsiteX286" fmla="*/ 6211 w 10000"/>
                <a:gd name="connsiteY286" fmla="*/ 462 h 10000"/>
                <a:gd name="connsiteX287" fmla="*/ 6220 w 10000"/>
                <a:gd name="connsiteY287" fmla="*/ 581 h 10000"/>
                <a:gd name="connsiteX288" fmla="*/ 6132 w 10000"/>
                <a:gd name="connsiteY288" fmla="*/ 735 h 10000"/>
                <a:gd name="connsiteX289" fmla="*/ 6024 w 10000"/>
                <a:gd name="connsiteY289" fmla="*/ 815 h 10000"/>
                <a:gd name="connsiteX290" fmla="*/ 5980 w 10000"/>
                <a:gd name="connsiteY290" fmla="*/ 805 h 10000"/>
                <a:gd name="connsiteX291" fmla="*/ 5880 w 10000"/>
                <a:gd name="connsiteY291" fmla="*/ 739 h 10000"/>
                <a:gd name="connsiteX292" fmla="*/ 5753 w 10000"/>
                <a:gd name="connsiteY292" fmla="*/ 705 h 10000"/>
                <a:gd name="connsiteX293" fmla="*/ 5618 w 10000"/>
                <a:gd name="connsiteY293" fmla="*/ 715 h 10000"/>
                <a:gd name="connsiteX294" fmla="*/ 5301 w 10000"/>
                <a:gd name="connsiteY294" fmla="*/ 866 h 10000"/>
                <a:gd name="connsiteX295" fmla="*/ 5218 w 10000"/>
                <a:gd name="connsiteY295" fmla="*/ 1017 h 10000"/>
                <a:gd name="connsiteX296" fmla="*/ 4978 w 10000"/>
                <a:gd name="connsiteY296" fmla="*/ 1153 h 10000"/>
                <a:gd name="connsiteX297" fmla="*/ 4935 w 10000"/>
                <a:gd name="connsiteY297" fmla="*/ 1222 h 10000"/>
                <a:gd name="connsiteX298" fmla="*/ 5061 w 10000"/>
                <a:gd name="connsiteY298" fmla="*/ 1344 h 10000"/>
                <a:gd name="connsiteX299" fmla="*/ 5074 w 10000"/>
                <a:gd name="connsiteY299" fmla="*/ 1412 h 10000"/>
                <a:gd name="connsiteX300" fmla="*/ 4421 w 10000"/>
                <a:gd name="connsiteY300" fmla="*/ 1813 h 10000"/>
                <a:gd name="connsiteX301" fmla="*/ 4220 w 10000"/>
                <a:gd name="connsiteY301" fmla="*/ 2070 h 10000"/>
                <a:gd name="connsiteX302" fmla="*/ 4003 w 10000"/>
                <a:gd name="connsiteY302" fmla="*/ 2135 h 10000"/>
                <a:gd name="connsiteX303" fmla="*/ 3868 w 10000"/>
                <a:gd name="connsiteY303" fmla="*/ 2131 h 10000"/>
                <a:gd name="connsiteX304" fmla="*/ 3785 w 10000"/>
                <a:gd name="connsiteY304" fmla="*/ 2153 h 10000"/>
                <a:gd name="connsiteX305" fmla="*/ 3558 w 10000"/>
                <a:gd name="connsiteY305" fmla="*/ 2793 h 10000"/>
                <a:gd name="connsiteX306" fmla="*/ 3036 w 10000"/>
                <a:gd name="connsiteY306" fmla="*/ 3166 h 10000"/>
                <a:gd name="connsiteX307" fmla="*/ 3040 w 10000"/>
                <a:gd name="connsiteY307" fmla="*/ 3225 h 10000"/>
                <a:gd name="connsiteX308" fmla="*/ 3271 w 10000"/>
                <a:gd name="connsiteY308" fmla="*/ 3392 h 10000"/>
                <a:gd name="connsiteX309" fmla="*/ 3197 w 10000"/>
                <a:gd name="connsiteY309" fmla="*/ 3573 h 10000"/>
                <a:gd name="connsiteX310" fmla="*/ 3062 w 10000"/>
                <a:gd name="connsiteY310" fmla="*/ 3640 h 10000"/>
                <a:gd name="connsiteX311" fmla="*/ 2657 w 10000"/>
                <a:gd name="connsiteY311" fmla="*/ 3595 h 10000"/>
                <a:gd name="connsiteX312" fmla="*/ 2378 w 10000"/>
                <a:gd name="connsiteY312" fmla="*/ 3620 h 10000"/>
                <a:gd name="connsiteX313" fmla="*/ 2152 w 10000"/>
                <a:gd name="connsiteY313" fmla="*/ 3673 h 10000"/>
                <a:gd name="connsiteX314" fmla="*/ 1790 w 10000"/>
                <a:gd name="connsiteY314" fmla="*/ 3840 h 10000"/>
                <a:gd name="connsiteX315" fmla="*/ 1598 w 10000"/>
                <a:gd name="connsiteY315" fmla="*/ 4042 h 10000"/>
                <a:gd name="connsiteX316" fmla="*/ 1616 w 10000"/>
                <a:gd name="connsiteY316" fmla="*/ 4154 h 10000"/>
                <a:gd name="connsiteX317" fmla="*/ 1681 w 10000"/>
                <a:gd name="connsiteY317" fmla="*/ 4241 h 10000"/>
                <a:gd name="connsiteX318" fmla="*/ 1733 w 10000"/>
                <a:gd name="connsiteY318" fmla="*/ 4276 h 10000"/>
                <a:gd name="connsiteX319" fmla="*/ 1638 w 10000"/>
                <a:gd name="connsiteY319" fmla="*/ 4331 h 10000"/>
                <a:gd name="connsiteX320" fmla="*/ 1433 w 10000"/>
                <a:gd name="connsiteY320" fmla="*/ 4710 h 10000"/>
                <a:gd name="connsiteX321" fmla="*/ 1472 w 10000"/>
                <a:gd name="connsiteY321" fmla="*/ 4732 h 10000"/>
                <a:gd name="connsiteX322" fmla="*/ 1503 w 10000"/>
                <a:gd name="connsiteY322" fmla="*/ 4828 h 10000"/>
                <a:gd name="connsiteX323" fmla="*/ 1407 w 10000"/>
                <a:gd name="connsiteY323" fmla="*/ 5227 h 10000"/>
                <a:gd name="connsiteX324" fmla="*/ 1503 w 10000"/>
                <a:gd name="connsiteY324" fmla="*/ 5329 h 10000"/>
                <a:gd name="connsiteX325" fmla="*/ 1764 w 10000"/>
                <a:gd name="connsiteY325" fmla="*/ 5441 h 10000"/>
                <a:gd name="connsiteX326" fmla="*/ 1777 w 10000"/>
                <a:gd name="connsiteY326" fmla="*/ 5578 h 10000"/>
                <a:gd name="connsiteX327" fmla="*/ 1664 w 10000"/>
                <a:gd name="connsiteY327" fmla="*/ 5690 h 10000"/>
                <a:gd name="connsiteX328" fmla="*/ 1503 w 10000"/>
                <a:gd name="connsiteY328" fmla="*/ 5759 h 10000"/>
                <a:gd name="connsiteX329" fmla="*/ 1289 w 10000"/>
                <a:gd name="connsiteY329" fmla="*/ 5787 h 10000"/>
                <a:gd name="connsiteX330" fmla="*/ 1233 w 10000"/>
                <a:gd name="connsiteY330" fmla="*/ 5826 h 10000"/>
                <a:gd name="connsiteX331" fmla="*/ 1359 w 10000"/>
                <a:gd name="connsiteY331" fmla="*/ 5920 h 10000"/>
                <a:gd name="connsiteX332" fmla="*/ 1429 w 10000"/>
                <a:gd name="connsiteY332" fmla="*/ 6142 h 10000"/>
                <a:gd name="connsiteX333" fmla="*/ 1267 w 10000"/>
                <a:gd name="connsiteY333" fmla="*/ 6333 h 10000"/>
                <a:gd name="connsiteX334" fmla="*/ 1324 w 10000"/>
                <a:gd name="connsiteY334" fmla="*/ 6392 h 10000"/>
                <a:gd name="connsiteX335" fmla="*/ 1272 w 10000"/>
                <a:gd name="connsiteY335" fmla="*/ 6492 h 10000"/>
                <a:gd name="connsiteX336" fmla="*/ 1167 w 10000"/>
                <a:gd name="connsiteY336" fmla="*/ 6561 h 10000"/>
                <a:gd name="connsiteX337" fmla="*/ 758 w 10000"/>
                <a:gd name="connsiteY337" fmla="*/ 6614 h 10000"/>
                <a:gd name="connsiteX338" fmla="*/ 732 w 10000"/>
                <a:gd name="connsiteY338" fmla="*/ 6706 h 10000"/>
                <a:gd name="connsiteX339" fmla="*/ 510 w 10000"/>
                <a:gd name="connsiteY339" fmla="*/ 6843 h 10000"/>
                <a:gd name="connsiteX340" fmla="*/ 540 w 10000"/>
                <a:gd name="connsiteY340" fmla="*/ 7040 h 10000"/>
                <a:gd name="connsiteX341" fmla="*/ 353 w 10000"/>
                <a:gd name="connsiteY341" fmla="*/ 7293 h 10000"/>
                <a:gd name="connsiteX342" fmla="*/ 226 w 10000"/>
                <a:gd name="connsiteY342" fmla="*/ 7323 h 10000"/>
                <a:gd name="connsiteX343" fmla="*/ 174 w 10000"/>
                <a:gd name="connsiteY343" fmla="*/ 7262 h 10000"/>
                <a:gd name="connsiteX344" fmla="*/ 109 w 10000"/>
                <a:gd name="connsiteY344" fmla="*/ 7354 h 10000"/>
                <a:gd name="connsiteX345" fmla="*/ 152 w 10000"/>
                <a:gd name="connsiteY345" fmla="*/ 7197 h 10000"/>
                <a:gd name="connsiteX346" fmla="*/ 126 w 10000"/>
                <a:gd name="connsiteY346"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75 w 10000"/>
                <a:gd name="connsiteY206" fmla="*/ 3430 h 10000"/>
                <a:gd name="connsiteX207" fmla="*/ 8280 w 10000"/>
                <a:gd name="connsiteY207" fmla="*/ 3522 h 10000"/>
                <a:gd name="connsiteX208" fmla="*/ 8145 w 10000"/>
                <a:gd name="connsiteY208" fmla="*/ 3267 h 10000"/>
                <a:gd name="connsiteX209" fmla="*/ 8123 w 10000"/>
                <a:gd name="connsiteY209" fmla="*/ 3229 h 10000"/>
                <a:gd name="connsiteX210" fmla="*/ 8153 w 10000"/>
                <a:gd name="connsiteY210" fmla="*/ 3219 h 10000"/>
                <a:gd name="connsiteX211" fmla="*/ 8075 w 10000"/>
                <a:gd name="connsiteY211" fmla="*/ 3147 h 10000"/>
                <a:gd name="connsiteX212" fmla="*/ 8079 w 10000"/>
                <a:gd name="connsiteY212" fmla="*/ 3127 h 10000"/>
                <a:gd name="connsiteX213" fmla="*/ 8132 w 10000"/>
                <a:gd name="connsiteY213" fmla="*/ 3100 h 10000"/>
                <a:gd name="connsiteX214" fmla="*/ 8145 w 10000"/>
                <a:gd name="connsiteY214" fmla="*/ 3064 h 10000"/>
                <a:gd name="connsiteX215" fmla="*/ 8258 w 10000"/>
                <a:gd name="connsiteY215" fmla="*/ 3037 h 10000"/>
                <a:gd name="connsiteX216" fmla="*/ 8380 w 10000"/>
                <a:gd name="connsiteY216" fmla="*/ 2860 h 10000"/>
                <a:gd name="connsiteX217" fmla="*/ 8253 w 10000"/>
                <a:gd name="connsiteY217" fmla="*/ 2762 h 10000"/>
                <a:gd name="connsiteX218" fmla="*/ 8267 w 10000"/>
                <a:gd name="connsiteY218" fmla="*/ 2748 h 10000"/>
                <a:gd name="connsiteX219" fmla="*/ 8397 w 10000"/>
                <a:gd name="connsiteY219" fmla="*/ 2705 h 10000"/>
                <a:gd name="connsiteX220" fmla="*/ 8402 w 10000"/>
                <a:gd name="connsiteY220" fmla="*/ 2662 h 10000"/>
                <a:gd name="connsiteX221" fmla="*/ 8449 w 10000"/>
                <a:gd name="connsiteY221" fmla="*/ 2656 h 10000"/>
                <a:gd name="connsiteX222" fmla="*/ 8558 w 10000"/>
                <a:gd name="connsiteY222" fmla="*/ 2677 h 10000"/>
                <a:gd name="connsiteX223" fmla="*/ 8593 w 10000"/>
                <a:gd name="connsiteY223" fmla="*/ 2669 h 10000"/>
                <a:gd name="connsiteX224" fmla="*/ 8606 w 10000"/>
                <a:gd name="connsiteY224" fmla="*/ 2630 h 10000"/>
                <a:gd name="connsiteX225" fmla="*/ 8567 w 10000"/>
                <a:gd name="connsiteY225" fmla="*/ 2605 h 10000"/>
                <a:gd name="connsiteX226" fmla="*/ 8685 w 10000"/>
                <a:gd name="connsiteY226" fmla="*/ 2597 h 10000"/>
                <a:gd name="connsiteX227" fmla="*/ 8698 w 10000"/>
                <a:gd name="connsiteY227" fmla="*/ 2565 h 10000"/>
                <a:gd name="connsiteX228" fmla="*/ 8558 w 10000"/>
                <a:gd name="connsiteY228" fmla="*/ 2481 h 10000"/>
                <a:gd name="connsiteX229" fmla="*/ 8558 w 10000"/>
                <a:gd name="connsiteY229" fmla="*/ 2459 h 10000"/>
                <a:gd name="connsiteX230" fmla="*/ 8698 w 10000"/>
                <a:gd name="connsiteY230" fmla="*/ 2504 h 10000"/>
                <a:gd name="connsiteX231" fmla="*/ 8763 w 10000"/>
                <a:gd name="connsiteY231" fmla="*/ 2548 h 10000"/>
                <a:gd name="connsiteX232" fmla="*/ 8815 w 10000"/>
                <a:gd name="connsiteY232" fmla="*/ 2548 h 10000"/>
                <a:gd name="connsiteX233" fmla="*/ 8789 w 10000"/>
                <a:gd name="connsiteY233" fmla="*/ 2457 h 10000"/>
                <a:gd name="connsiteX234" fmla="*/ 8798 w 10000"/>
                <a:gd name="connsiteY234" fmla="*/ 2467 h 10000"/>
                <a:gd name="connsiteX235" fmla="*/ 8841 w 10000"/>
                <a:gd name="connsiteY235" fmla="*/ 2457 h 10000"/>
                <a:gd name="connsiteX236" fmla="*/ 8855 w 10000"/>
                <a:gd name="connsiteY236" fmla="*/ 2341 h 10000"/>
                <a:gd name="connsiteX237" fmla="*/ 8898 w 10000"/>
                <a:gd name="connsiteY237" fmla="*/ 2332 h 10000"/>
                <a:gd name="connsiteX238" fmla="*/ 8946 w 10000"/>
                <a:gd name="connsiteY238" fmla="*/ 2330 h 10000"/>
                <a:gd name="connsiteX239" fmla="*/ 8946 w 10000"/>
                <a:gd name="connsiteY239" fmla="*/ 2361 h 10000"/>
                <a:gd name="connsiteX240" fmla="*/ 8994 w 10000"/>
                <a:gd name="connsiteY240" fmla="*/ 2389 h 10000"/>
                <a:gd name="connsiteX241" fmla="*/ 9051 w 10000"/>
                <a:gd name="connsiteY241" fmla="*/ 2400 h 10000"/>
                <a:gd name="connsiteX242" fmla="*/ 9094 w 10000"/>
                <a:gd name="connsiteY242" fmla="*/ 2324 h 10000"/>
                <a:gd name="connsiteX243" fmla="*/ 9164 w 10000"/>
                <a:gd name="connsiteY243" fmla="*/ 2347 h 10000"/>
                <a:gd name="connsiteX244" fmla="*/ 9247 w 10000"/>
                <a:gd name="connsiteY244" fmla="*/ 2402 h 10000"/>
                <a:gd name="connsiteX245" fmla="*/ 9286 w 10000"/>
                <a:gd name="connsiteY245" fmla="*/ 2400 h 10000"/>
                <a:gd name="connsiteX246" fmla="*/ 9355 w 10000"/>
                <a:gd name="connsiteY246" fmla="*/ 2428 h 10000"/>
                <a:gd name="connsiteX247" fmla="*/ 9408 w 10000"/>
                <a:gd name="connsiteY247" fmla="*/ 2359 h 10000"/>
                <a:gd name="connsiteX248" fmla="*/ 9717 w 10000"/>
                <a:gd name="connsiteY248" fmla="*/ 2343 h 10000"/>
                <a:gd name="connsiteX249" fmla="*/ 9830 w 10000"/>
                <a:gd name="connsiteY249" fmla="*/ 2369 h 10000"/>
                <a:gd name="connsiteX250" fmla="*/ 9909 w 10000"/>
                <a:gd name="connsiteY250" fmla="*/ 2410 h 10000"/>
                <a:gd name="connsiteX251" fmla="*/ 9948 w 10000"/>
                <a:gd name="connsiteY251" fmla="*/ 2365 h 10000"/>
                <a:gd name="connsiteX252" fmla="*/ 10000 w 10000"/>
                <a:gd name="connsiteY252" fmla="*/ 2349 h 10000"/>
                <a:gd name="connsiteX253" fmla="*/ 9704 w 10000"/>
                <a:gd name="connsiteY253" fmla="*/ 1992 h 10000"/>
                <a:gd name="connsiteX254" fmla="*/ 9743 w 10000"/>
                <a:gd name="connsiteY254" fmla="*/ 1897 h 10000"/>
                <a:gd name="connsiteX255" fmla="*/ 9830 w 10000"/>
                <a:gd name="connsiteY255" fmla="*/ 1819 h 10000"/>
                <a:gd name="connsiteX256" fmla="*/ 9830 w 10000"/>
                <a:gd name="connsiteY256" fmla="*/ 1699 h 10000"/>
                <a:gd name="connsiteX257" fmla="*/ 9556 w 10000"/>
                <a:gd name="connsiteY257" fmla="*/ 1465 h 10000"/>
                <a:gd name="connsiteX258" fmla="*/ 9512 w 10000"/>
                <a:gd name="connsiteY258" fmla="*/ 1379 h 10000"/>
                <a:gd name="connsiteX259" fmla="*/ 9573 w 10000"/>
                <a:gd name="connsiteY259" fmla="*/ 1271 h 10000"/>
                <a:gd name="connsiteX260" fmla="*/ 9543 w 10000"/>
                <a:gd name="connsiteY260" fmla="*/ 1194 h 10000"/>
                <a:gd name="connsiteX261" fmla="*/ 9486 w 10000"/>
                <a:gd name="connsiteY261" fmla="*/ 1159 h 10000"/>
                <a:gd name="connsiteX262" fmla="*/ 9438 w 10000"/>
                <a:gd name="connsiteY262" fmla="*/ 978 h 10000"/>
                <a:gd name="connsiteX263" fmla="*/ 9495 w 10000"/>
                <a:gd name="connsiteY263" fmla="*/ 831 h 10000"/>
                <a:gd name="connsiteX264" fmla="*/ 9077 w 10000"/>
                <a:gd name="connsiteY264" fmla="*/ 517 h 10000"/>
                <a:gd name="connsiteX265" fmla="*/ 8872 w 10000"/>
                <a:gd name="connsiteY265" fmla="*/ 440 h 10000"/>
                <a:gd name="connsiteX266" fmla="*/ 8493 w 10000"/>
                <a:gd name="connsiteY266" fmla="*/ 389 h 10000"/>
                <a:gd name="connsiteX267" fmla="*/ 7709 w 10000"/>
                <a:gd name="connsiteY267" fmla="*/ 26 h 10000"/>
                <a:gd name="connsiteX268" fmla="*/ 7683 w 10000"/>
                <a:gd name="connsiteY268" fmla="*/ 2 h 10000"/>
                <a:gd name="connsiteX269" fmla="*/ 7417 w 10000"/>
                <a:gd name="connsiteY269" fmla="*/ 0 h 10000"/>
                <a:gd name="connsiteX270" fmla="*/ 7356 w 10000"/>
                <a:gd name="connsiteY270" fmla="*/ 14 h 10000"/>
                <a:gd name="connsiteX271" fmla="*/ 7369 w 10000"/>
                <a:gd name="connsiteY271" fmla="*/ 61 h 10000"/>
                <a:gd name="connsiteX272" fmla="*/ 7422 w 10000"/>
                <a:gd name="connsiteY272" fmla="*/ 86 h 10000"/>
                <a:gd name="connsiteX273" fmla="*/ 7435 w 10000"/>
                <a:gd name="connsiteY273" fmla="*/ 139 h 10000"/>
                <a:gd name="connsiteX274" fmla="*/ 7417 w 10000"/>
                <a:gd name="connsiteY274" fmla="*/ 181 h 10000"/>
                <a:gd name="connsiteX275" fmla="*/ 7369 w 10000"/>
                <a:gd name="connsiteY275" fmla="*/ 208 h 10000"/>
                <a:gd name="connsiteX276" fmla="*/ 7334 w 10000"/>
                <a:gd name="connsiteY276" fmla="*/ 283 h 10000"/>
                <a:gd name="connsiteX277" fmla="*/ 7269 w 10000"/>
                <a:gd name="connsiteY277" fmla="*/ 336 h 10000"/>
                <a:gd name="connsiteX278" fmla="*/ 7282 w 10000"/>
                <a:gd name="connsiteY278" fmla="*/ 387 h 10000"/>
                <a:gd name="connsiteX279" fmla="*/ 7382 w 10000"/>
                <a:gd name="connsiteY279" fmla="*/ 434 h 10000"/>
                <a:gd name="connsiteX280" fmla="*/ 7317 w 10000"/>
                <a:gd name="connsiteY280" fmla="*/ 475 h 10000"/>
                <a:gd name="connsiteX281" fmla="*/ 7221 w 10000"/>
                <a:gd name="connsiteY281" fmla="*/ 485 h 10000"/>
                <a:gd name="connsiteX282" fmla="*/ 6420 w 10000"/>
                <a:gd name="connsiteY282" fmla="*/ 387 h 10000"/>
                <a:gd name="connsiteX283" fmla="*/ 6324 w 10000"/>
                <a:gd name="connsiteY283" fmla="*/ 395 h 10000"/>
                <a:gd name="connsiteX284" fmla="*/ 6267 w 10000"/>
                <a:gd name="connsiteY284" fmla="*/ 414 h 10000"/>
                <a:gd name="connsiteX285" fmla="*/ 6211 w 10000"/>
                <a:gd name="connsiteY285" fmla="*/ 462 h 10000"/>
                <a:gd name="connsiteX286" fmla="*/ 6220 w 10000"/>
                <a:gd name="connsiteY286" fmla="*/ 581 h 10000"/>
                <a:gd name="connsiteX287" fmla="*/ 6132 w 10000"/>
                <a:gd name="connsiteY287" fmla="*/ 735 h 10000"/>
                <a:gd name="connsiteX288" fmla="*/ 6024 w 10000"/>
                <a:gd name="connsiteY288" fmla="*/ 815 h 10000"/>
                <a:gd name="connsiteX289" fmla="*/ 5980 w 10000"/>
                <a:gd name="connsiteY289" fmla="*/ 805 h 10000"/>
                <a:gd name="connsiteX290" fmla="*/ 5880 w 10000"/>
                <a:gd name="connsiteY290" fmla="*/ 739 h 10000"/>
                <a:gd name="connsiteX291" fmla="*/ 5753 w 10000"/>
                <a:gd name="connsiteY291" fmla="*/ 705 h 10000"/>
                <a:gd name="connsiteX292" fmla="*/ 5618 w 10000"/>
                <a:gd name="connsiteY292" fmla="*/ 715 h 10000"/>
                <a:gd name="connsiteX293" fmla="*/ 5301 w 10000"/>
                <a:gd name="connsiteY293" fmla="*/ 866 h 10000"/>
                <a:gd name="connsiteX294" fmla="*/ 5218 w 10000"/>
                <a:gd name="connsiteY294" fmla="*/ 1017 h 10000"/>
                <a:gd name="connsiteX295" fmla="*/ 4978 w 10000"/>
                <a:gd name="connsiteY295" fmla="*/ 1153 h 10000"/>
                <a:gd name="connsiteX296" fmla="*/ 4935 w 10000"/>
                <a:gd name="connsiteY296" fmla="*/ 1222 h 10000"/>
                <a:gd name="connsiteX297" fmla="*/ 5061 w 10000"/>
                <a:gd name="connsiteY297" fmla="*/ 1344 h 10000"/>
                <a:gd name="connsiteX298" fmla="*/ 5074 w 10000"/>
                <a:gd name="connsiteY298" fmla="*/ 1412 h 10000"/>
                <a:gd name="connsiteX299" fmla="*/ 4421 w 10000"/>
                <a:gd name="connsiteY299" fmla="*/ 1813 h 10000"/>
                <a:gd name="connsiteX300" fmla="*/ 4220 w 10000"/>
                <a:gd name="connsiteY300" fmla="*/ 2070 h 10000"/>
                <a:gd name="connsiteX301" fmla="*/ 4003 w 10000"/>
                <a:gd name="connsiteY301" fmla="*/ 2135 h 10000"/>
                <a:gd name="connsiteX302" fmla="*/ 3868 w 10000"/>
                <a:gd name="connsiteY302" fmla="*/ 2131 h 10000"/>
                <a:gd name="connsiteX303" fmla="*/ 3785 w 10000"/>
                <a:gd name="connsiteY303" fmla="*/ 2153 h 10000"/>
                <a:gd name="connsiteX304" fmla="*/ 3558 w 10000"/>
                <a:gd name="connsiteY304" fmla="*/ 2793 h 10000"/>
                <a:gd name="connsiteX305" fmla="*/ 3036 w 10000"/>
                <a:gd name="connsiteY305" fmla="*/ 3166 h 10000"/>
                <a:gd name="connsiteX306" fmla="*/ 3040 w 10000"/>
                <a:gd name="connsiteY306" fmla="*/ 3225 h 10000"/>
                <a:gd name="connsiteX307" fmla="*/ 3271 w 10000"/>
                <a:gd name="connsiteY307" fmla="*/ 3392 h 10000"/>
                <a:gd name="connsiteX308" fmla="*/ 3197 w 10000"/>
                <a:gd name="connsiteY308" fmla="*/ 3573 h 10000"/>
                <a:gd name="connsiteX309" fmla="*/ 3062 w 10000"/>
                <a:gd name="connsiteY309" fmla="*/ 3640 h 10000"/>
                <a:gd name="connsiteX310" fmla="*/ 2657 w 10000"/>
                <a:gd name="connsiteY310" fmla="*/ 3595 h 10000"/>
                <a:gd name="connsiteX311" fmla="*/ 2378 w 10000"/>
                <a:gd name="connsiteY311" fmla="*/ 3620 h 10000"/>
                <a:gd name="connsiteX312" fmla="*/ 2152 w 10000"/>
                <a:gd name="connsiteY312" fmla="*/ 3673 h 10000"/>
                <a:gd name="connsiteX313" fmla="*/ 1790 w 10000"/>
                <a:gd name="connsiteY313" fmla="*/ 3840 h 10000"/>
                <a:gd name="connsiteX314" fmla="*/ 1598 w 10000"/>
                <a:gd name="connsiteY314" fmla="*/ 4042 h 10000"/>
                <a:gd name="connsiteX315" fmla="*/ 1616 w 10000"/>
                <a:gd name="connsiteY315" fmla="*/ 4154 h 10000"/>
                <a:gd name="connsiteX316" fmla="*/ 1681 w 10000"/>
                <a:gd name="connsiteY316" fmla="*/ 4241 h 10000"/>
                <a:gd name="connsiteX317" fmla="*/ 1733 w 10000"/>
                <a:gd name="connsiteY317" fmla="*/ 4276 h 10000"/>
                <a:gd name="connsiteX318" fmla="*/ 1638 w 10000"/>
                <a:gd name="connsiteY318" fmla="*/ 4331 h 10000"/>
                <a:gd name="connsiteX319" fmla="*/ 1433 w 10000"/>
                <a:gd name="connsiteY319" fmla="*/ 4710 h 10000"/>
                <a:gd name="connsiteX320" fmla="*/ 1472 w 10000"/>
                <a:gd name="connsiteY320" fmla="*/ 4732 h 10000"/>
                <a:gd name="connsiteX321" fmla="*/ 1503 w 10000"/>
                <a:gd name="connsiteY321" fmla="*/ 4828 h 10000"/>
                <a:gd name="connsiteX322" fmla="*/ 1407 w 10000"/>
                <a:gd name="connsiteY322" fmla="*/ 5227 h 10000"/>
                <a:gd name="connsiteX323" fmla="*/ 1503 w 10000"/>
                <a:gd name="connsiteY323" fmla="*/ 5329 h 10000"/>
                <a:gd name="connsiteX324" fmla="*/ 1764 w 10000"/>
                <a:gd name="connsiteY324" fmla="*/ 5441 h 10000"/>
                <a:gd name="connsiteX325" fmla="*/ 1777 w 10000"/>
                <a:gd name="connsiteY325" fmla="*/ 5578 h 10000"/>
                <a:gd name="connsiteX326" fmla="*/ 1664 w 10000"/>
                <a:gd name="connsiteY326" fmla="*/ 5690 h 10000"/>
                <a:gd name="connsiteX327" fmla="*/ 1503 w 10000"/>
                <a:gd name="connsiteY327" fmla="*/ 5759 h 10000"/>
                <a:gd name="connsiteX328" fmla="*/ 1289 w 10000"/>
                <a:gd name="connsiteY328" fmla="*/ 5787 h 10000"/>
                <a:gd name="connsiteX329" fmla="*/ 1233 w 10000"/>
                <a:gd name="connsiteY329" fmla="*/ 5826 h 10000"/>
                <a:gd name="connsiteX330" fmla="*/ 1359 w 10000"/>
                <a:gd name="connsiteY330" fmla="*/ 5920 h 10000"/>
                <a:gd name="connsiteX331" fmla="*/ 1429 w 10000"/>
                <a:gd name="connsiteY331" fmla="*/ 6142 h 10000"/>
                <a:gd name="connsiteX332" fmla="*/ 1267 w 10000"/>
                <a:gd name="connsiteY332" fmla="*/ 6333 h 10000"/>
                <a:gd name="connsiteX333" fmla="*/ 1324 w 10000"/>
                <a:gd name="connsiteY333" fmla="*/ 6392 h 10000"/>
                <a:gd name="connsiteX334" fmla="*/ 1272 w 10000"/>
                <a:gd name="connsiteY334" fmla="*/ 6492 h 10000"/>
                <a:gd name="connsiteX335" fmla="*/ 1167 w 10000"/>
                <a:gd name="connsiteY335" fmla="*/ 6561 h 10000"/>
                <a:gd name="connsiteX336" fmla="*/ 758 w 10000"/>
                <a:gd name="connsiteY336" fmla="*/ 6614 h 10000"/>
                <a:gd name="connsiteX337" fmla="*/ 732 w 10000"/>
                <a:gd name="connsiteY337" fmla="*/ 6706 h 10000"/>
                <a:gd name="connsiteX338" fmla="*/ 510 w 10000"/>
                <a:gd name="connsiteY338" fmla="*/ 6843 h 10000"/>
                <a:gd name="connsiteX339" fmla="*/ 540 w 10000"/>
                <a:gd name="connsiteY339" fmla="*/ 7040 h 10000"/>
                <a:gd name="connsiteX340" fmla="*/ 353 w 10000"/>
                <a:gd name="connsiteY340" fmla="*/ 7293 h 10000"/>
                <a:gd name="connsiteX341" fmla="*/ 226 w 10000"/>
                <a:gd name="connsiteY341" fmla="*/ 7323 h 10000"/>
                <a:gd name="connsiteX342" fmla="*/ 174 w 10000"/>
                <a:gd name="connsiteY342" fmla="*/ 7262 h 10000"/>
                <a:gd name="connsiteX343" fmla="*/ 109 w 10000"/>
                <a:gd name="connsiteY343" fmla="*/ 7354 h 10000"/>
                <a:gd name="connsiteX344" fmla="*/ 152 w 10000"/>
                <a:gd name="connsiteY344" fmla="*/ 7197 h 10000"/>
                <a:gd name="connsiteX345" fmla="*/ 126 w 10000"/>
                <a:gd name="connsiteY345"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145 w 10000"/>
                <a:gd name="connsiteY207" fmla="*/ 3267 h 10000"/>
                <a:gd name="connsiteX208" fmla="*/ 8123 w 10000"/>
                <a:gd name="connsiteY208" fmla="*/ 3229 h 10000"/>
                <a:gd name="connsiteX209" fmla="*/ 8153 w 10000"/>
                <a:gd name="connsiteY209" fmla="*/ 3219 h 10000"/>
                <a:gd name="connsiteX210" fmla="*/ 8075 w 10000"/>
                <a:gd name="connsiteY210" fmla="*/ 3147 h 10000"/>
                <a:gd name="connsiteX211" fmla="*/ 8079 w 10000"/>
                <a:gd name="connsiteY211" fmla="*/ 3127 h 10000"/>
                <a:gd name="connsiteX212" fmla="*/ 8132 w 10000"/>
                <a:gd name="connsiteY212" fmla="*/ 3100 h 10000"/>
                <a:gd name="connsiteX213" fmla="*/ 8145 w 10000"/>
                <a:gd name="connsiteY213" fmla="*/ 3064 h 10000"/>
                <a:gd name="connsiteX214" fmla="*/ 8258 w 10000"/>
                <a:gd name="connsiteY214" fmla="*/ 3037 h 10000"/>
                <a:gd name="connsiteX215" fmla="*/ 8380 w 10000"/>
                <a:gd name="connsiteY215" fmla="*/ 2860 h 10000"/>
                <a:gd name="connsiteX216" fmla="*/ 8253 w 10000"/>
                <a:gd name="connsiteY216" fmla="*/ 2762 h 10000"/>
                <a:gd name="connsiteX217" fmla="*/ 8267 w 10000"/>
                <a:gd name="connsiteY217" fmla="*/ 2748 h 10000"/>
                <a:gd name="connsiteX218" fmla="*/ 8397 w 10000"/>
                <a:gd name="connsiteY218" fmla="*/ 2705 h 10000"/>
                <a:gd name="connsiteX219" fmla="*/ 8402 w 10000"/>
                <a:gd name="connsiteY219" fmla="*/ 2662 h 10000"/>
                <a:gd name="connsiteX220" fmla="*/ 8449 w 10000"/>
                <a:gd name="connsiteY220" fmla="*/ 2656 h 10000"/>
                <a:gd name="connsiteX221" fmla="*/ 8558 w 10000"/>
                <a:gd name="connsiteY221" fmla="*/ 2677 h 10000"/>
                <a:gd name="connsiteX222" fmla="*/ 8593 w 10000"/>
                <a:gd name="connsiteY222" fmla="*/ 2669 h 10000"/>
                <a:gd name="connsiteX223" fmla="*/ 8606 w 10000"/>
                <a:gd name="connsiteY223" fmla="*/ 2630 h 10000"/>
                <a:gd name="connsiteX224" fmla="*/ 8567 w 10000"/>
                <a:gd name="connsiteY224" fmla="*/ 2605 h 10000"/>
                <a:gd name="connsiteX225" fmla="*/ 8685 w 10000"/>
                <a:gd name="connsiteY225" fmla="*/ 2597 h 10000"/>
                <a:gd name="connsiteX226" fmla="*/ 8698 w 10000"/>
                <a:gd name="connsiteY226" fmla="*/ 2565 h 10000"/>
                <a:gd name="connsiteX227" fmla="*/ 8558 w 10000"/>
                <a:gd name="connsiteY227" fmla="*/ 2481 h 10000"/>
                <a:gd name="connsiteX228" fmla="*/ 8558 w 10000"/>
                <a:gd name="connsiteY228" fmla="*/ 2459 h 10000"/>
                <a:gd name="connsiteX229" fmla="*/ 8698 w 10000"/>
                <a:gd name="connsiteY229" fmla="*/ 2504 h 10000"/>
                <a:gd name="connsiteX230" fmla="*/ 8763 w 10000"/>
                <a:gd name="connsiteY230" fmla="*/ 2548 h 10000"/>
                <a:gd name="connsiteX231" fmla="*/ 8815 w 10000"/>
                <a:gd name="connsiteY231" fmla="*/ 2548 h 10000"/>
                <a:gd name="connsiteX232" fmla="*/ 8789 w 10000"/>
                <a:gd name="connsiteY232" fmla="*/ 2457 h 10000"/>
                <a:gd name="connsiteX233" fmla="*/ 8798 w 10000"/>
                <a:gd name="connsiteY233" fmla="*/ 2467 h 10000"/>
                <a:gd name="connsiteX234" fmla="*/ 8841 w 10000"/>
                <a:gd name="connsiteY234" fmla="*/ 2457 h 10000"/>
                <a:gd name="connsiteX235" fmla="*/ 8855 w 10000"/>
                <a:gd name="connsiteY235" fmla="*/ 2341 h 10000"/>
                <a:gd name="connsiteX236" fmla="*/ 8898 w 10000"/>
                <a:gd name="connsiteY236" fmla="*/ 2332 h 10000"/>
                <a:gd name="connsiteX237" fmla="*/ 8946 w 10000"/>
                <a:gd name="connsiteY237" fmla="*/ 2330 h 10000"/>
                <a:gd name="connsiteX238" fmla="*/ 8946 w 10000"/>
                <a:gd name="connsiteY238" fmla="*/ 2361 h 10000"/>
                <a:gd name="connsiteX239" fmla="*/ 8994 w 10000"/>
                <a:gd name="connsiteY239" fmla="*/ 2389 h 10000"/>
                <a:gd name="connsiteX240" fmla="*/ 9051 w 10000"/>
                <a:gd name="connsiteY240" fmla="*/ 2400 h 10000"/>
                <a:gd name="connsiteX241" fmla="*/ 9094 w 10000"/>
                <a:gd name="connsiteY241" fmla="*/ 2324 h 10000"/>
                <a:gd name="connsiteX242" fmla="*/ 9164 w 10000"/>
                <a:gd name="connsiteY242" fmla="*/ 2347 h 10000"/>
                <a:gd name="connsiteX243" fmla="*/ 9247 w 10000"/>
                <a:gd name="connsiteY243" fmla="*/ 2402 h 10000"/>
                <a:gd name="connsiteX244" fmla="*/ 9286 w 10000"/>
                <a:gd name="connsiteY244" fmla="*/ 2400 h 10000"/>
                <a:gd name="connsiteX245" fmla="*/ 9355 w 10000"/>
                <a:gd name="connsiteY245" fmla="*/ 2428 h 10000"/>
                <a:gd name="connsiteX246" fmla="*/ 9408 w 10000"/>
                <a:gd name="connsiteY246" fmla="*/ 2359 h 10000"/>
                <a:gd name="connsiteX247" fmla="*/ 9717 w 10000"/>
                <a:gd name="connsiteY247" fmla="*/ 2343 h 10000"/>
                <a:gd name="connsiteX248" fmla="*/ 9830 w 10000"/>
                <a:gd name="connsiteY248" fmla="*/ 2369 h 10000"/>
                <a:gd name="connsiteX249" fmla="*/ 9909 w 10000"/>
                <a:gd name="connsiteY249" fmla="*/ 2410 h 10000"/>
                <a:gd name="connsiteX250" fmla="*/ 9948 w 10000"/>
                <a:gd name="connsiteY250" fmla="*/ 2365 h 10000"/>
                <a:gd name="connsiteX251" fmla="*/ 10000 w 10000"/>
                <a:gd name="connsiteY251" fmla="*/ 2349 h 10000"/>
                <a:gd name="connsiteX252" fmla="*/ 9704 w 10000"/>
                <a:gd name="connsiteY252" fmla="*/ 1992 h 10000"/>
                <a:gd name="connsiteX253" fmla="*/ 9743 w 10000"/>
                <a:gd name="connsiteY253" fmla="*/ 1897 h 10000"/>
                <a:gd name="connsiteX254" fmla="*/ 9830 w 10000"/>
                <a:gd name="connsiteY254" fmla="*/ 1819 h 10000"/>
                <a:gd name="connsiteX255" fmla="*/ 9830 w 10000"/>
                <a:gd name="connsiteY255" fmla="*/ 1699 h 10000"/>
                <a:gd name="connsiteX256" fmla="*/ 9556 w 10000"/>
                <a:gd name="connsiteY256" fmla="*/ 1465 h 10000"/>
                <a:gd name="connsiteX257" fmla="*/ 9512 w 10000"/>
                <a:gd name="connsiteY257" fmla="*/ 1379 h 10000"/>
                <a:gd name="connsiteX258" fmla="*/ 9573 w 10000"/>
                <a:gd name="connsiteY258" fmla="*/ 1271 h 10000"/>
                <a:gd name="connsiteX259" fmla="*/ 9543 w 10000"/>
                <a:gd name="connsiteY259" fmla="*/ 1194 h 10000"/>
                <a:gd name="connsiteX260" fmla="*/ 9486 w 10000"/>
                <a:gd name="connsiteY260" fmla="*/ 1159 h 10000"/>
                <a:gd name="connsiteX261" fmla="*/ 9438 w 10000"/>
                <a:gd name="connsiteY261" fmla="*/ 978 h 10000"/>
                <a:gd name="connsiteX262" fmla="*/ 9495 w 10000"/>
                <a:gd name="connsiteY262" fmla="*/ 831 h 10000"/>
                <a:gd name="connsiteX263" fmla="*/ 9077 w 10000"/>
                <a:gd name="connsiteY263" fmla="*/ 517 h 10000"/>
                <a:gd name="connsiteX264" fmla="*/ 8872 w 10000"/>
                <a:gd name="connsiteY264" fmla="*/ 440 h 10000"/>
                <a:gd name="connsiteX265" fmla="*/ 8493 w 10000"/>
                <a:gd name="connsiteY265" fmla="*/ 389 h 10000"/>
                <a:gd name="connsiteX266" fmla="*/ 7709 w 10000"/>
                <a:gd name="connsiteY266" fmla="*/ 26 h 10000"/>
                <a:gd name="connsiteX267" fmla="*/ 7683 w 10000"/>
                <a:gd name="connsiteY267" fmla="*/ 2 h 10000"/>
                <a:gd name="connsiteX268" fmla="*/ 7417 w 10000"/>
                <a:gd name="connsiteY268" fmla="*/ 0 h 10000"/>
                <a:gd name="connsiteX269" fmla="*/ 7356 w 10000"/>
                <a:gd name="connsiteY269" fmla="*/ 14 h 10000"/>
                <a:gd name="connsiteX270" fmla="*/ 7369 w 10000"/>
                <a:gd name="connsiteY270" fmla="*/ 61 h 10000"/>
                <a:gd name="connsiteX271" fmla="*/ 7422 w 10000"/>
                <a:gd name="connsiteY271" fmla="*/ 86 h 10000"/>
                <a:gd name="connsiteX272" fmla="*/ 7435 w 10000"/>
                <a:gd name="connsiteY272" fmla="*/ 139 h 10000"/>
                <a:gd name="connsiteX273" fmla="*/ 7417 w 10000"/>
                <a:gd name="connsiteY273" fmla="*/ 181 h 10000"/>
                <a:gd name="connsiteX274" fmla="*/ 7369 w 10000"/>
                <a:gd name="connsiteY274" fmla="*/ 208 h 10000"/>
                <a:gd name="connsiteX275" fmla="*/ 7334 w 10000"/>
                <a:gd name="connsiteY275" fmla="*/ 283 h 10000"/>
                <a:gd name="connsiteX276" fmla="*/ 7269 w 10000"/>
                <a:gd name="connsiteY276" fmla="*/ 336 h 10000"/>
                <a:gd name="connsiteX277" fmla="*/ 7282 w 10000"/>
                <a:gd name="connsiteY277" fmla="*/ 387 h 10000"/>
                <a:gd name="connsiteX278" fmla="*/ 7382 w 10000"/>
                <a:gd name="connsiteY278" fmla="*/ 434 h 10000"/>
                <a:gd name="connsiteX279" fmla="*/ 7317 w 10000"/>
                <a:gd name="connsiteY279" fmla="*/ 475 h 10000"/>
                <a:gd name="connsiteX280" fmla="*/ 7221 w 10000"/>
                <a:gd name="connsiteY280" fmla="*/ 485 h 10000"/>
                <a:gd name="connsiteX281" fmla="*/ 6420 w 10000"/>
                <a:gd name="connsiteY281" fmla="*/ 387 h 10000"/>
                <a:gd name="connsiteX282" fmla="*/ 6324 w 10000"/>
                <a:gd name="connsiteY282" fmla="*/ 395 h 10000"/>
                <a:gd name="connsiteX283" fmla="*/ 6267 w 10000"/>
                <a:gd name="connsiteY283" fmla="*/ 414 h 10000"/>
                <a:gd name="connsiteX284" fmla="*/ 6211 w 10000"/>
                <a:gd name="connsiteY284" fmla="*/ 462 h 10000"/>
                <a:gd name="connsiteX285" fmla="*/ 6220 w 10000"/>
                <a:gd name="connsiteY285" fmla="*/ 581 h 10000"/>
                <a:gd name="connsiteX286" fmla="*/ 6132 w 10000"/>
                <a:gd name="connsiteY286" fmla="*/ 735 h 10000"/>
                <a:gd name="connsiteX287" fmla="*/ 6024 w 10000"/>
                <a:gd name="connsiteY287" fmla="*/ 815 h 10000"/>
                <a:gd name="connsiteX288" fmla="*/ 5980 w 10000"/>
                <a:gd name="connsiteY288" fmla="*/ 805 h 10000"/>
                <a:gd name="connsiteX289" fmla="*/ 5880 w 10000"/>
                <a:gd name="connsiteY289" fmla="*/ 739 h 10000"/>
                <a:gd name="connsiteX290" fmla="*/ 5753 w 10000"/>
                <a:gd name="connsiteY290" fmla="*/ 705 h 10000"/>
                <a:gd name="connsiteX291" fmla="*/ 5618 w 10000"/>
                <a:gd name="connsiteY291" fmla="*/ 715 h 10000"/>
                <a:gd name="connsiteX292" fmla="*/ 5301 w 10000"/>
                <a:gd name="connsiteY292" fmla="*/ 866 h 10000"/>
                <a:gd name="connsiteX293" fmla="*/ 5218 w 10000"/>
                <a:gd name="connsiteY293" fmla="*/ 1017 h 10000"/>
                <a:gd name="connsiteX294" fmla="*/ 4978 w 10000"/>
                <a:gd name="connsiteY294" fmla="*/ 1153 h 10000"/>
                <a:gd name="connsiteX295" fmla="*/ 4935 w 10000"/>
                <a:gd name="connsiteY295" fmla="*/ 1222 h 10000"/>
                <a:gd name="connsiteX296" fmla="*/ 5061 w 10000"/>
                <a:gd name="connsiteY296" fmla="*/ 1344 h 10000"/>
                <a:gd name="connsiteX297" fmla="*/ 5074 w 10000"/>
                <a:gd name="connsiteY297" fmla="*/ 1412 h 10000"/>
                <a:gd name="connsiteX298" fmla="*/ 4421 w 10000"/>
                <a:gd name="connsiteY298" fmla="*/ 1813 h 10000"/>
                <a:gd name="connsiteX299" fmla="*/ 4220 w 10000"/>
                <a:gd name="connsiteY299" fmla="*/ 2070 h 10000"/>
                <a:gd name="connsiteX300" fmla="*/ 4003 w 10000"/>
                <a:gd name="connsiteY300" fmla="*/ 2135 h 10000"/>
                <a:gd name="connsiteX301" fmla="*/ 3868 w 10000"/>
                <a:gd name="connsiteY301" fmla="*/ 2131 h 10000"/>
                <a:gd name="connsiteX302" fmla="*/ 3785 w 10000"/>
                <a:gd name="connsiteY302" fmla="*/ 2153 h 10000"/>
                <a:gd name="connsiteX303" fmla="*/ 3558 w 10000"/>
                <a:gd name="connsiteY303" fmla="*/ 2793 h 10000"/>
                <a:gd name="connsiteX304" fmla="*/ 3036 w 10000"/>
                <a:gd name="connsiteY304" fmla="*/ 3166 h 10000"/>
                <a:gd name="connsiteX305" fmla="*/ 3040 w 10000"/>
                <a:gd name="connsiteY305" fmla="*/ 3225 h 10000"/>
                <a:gd name="connsiteX306" fmla="*/ 3271 w 10000"/>
                <a:gd name="connsiteY306" fmla="*/ 3392 h 10000"/>
                <a:gd name="connsiteX307" fmla="*/ 3197 w 10000"/>
                <a:gd name="connsiteY307" fmla="*/ 3573 h 10000"/>
                <a:gd name="connsiteX308" fmla="*/ 3062 w 10000"/>
                <a:gd name="connsiteY308" fmla="*/ 3640 h 10000"/>
                <a:gd name="connsiteX309" fmla="*/ 2657 w 10000"/>
                <a:gd name="connsiteY309" fmla="*/ 3595 h 10000"/>
                <a:gd name="connsiteX310" fmla="*/ 2378 w 10000"/>
                <a:gd name="connsiteY310" fmla="*/ 3620 h 10000"/>
                <a:gd name="connsiteX311" fmla="*/ 2152 w 10000"/>
                <a:gd name="connsiteY311" fmla="*/ 3673 h 10000"/>
                <a:gd name="connsiteX312" fmla="*/ 1790 w 10000"/>
                <a:gd name="connsiteY312" fmla="*/ 3840 h 10000"/>
                <a:gd name="connsiteX313" fmla="*/ 1598 w 10000"/>
                <a:gd name="connsiteY313" fmla="*/ 4042 h 10000"/>
                <a:gd name="connsiteX314" fmla="*/ 1616 w 10000"/>
                <a:gd name="connsiteY314" fmla="*/ 4154 h 10000"/>
                <a:gd name="connsiteX315" fmla="*/ 1681 w 10000"/>
                <a:gd name="connsiteY315" fmla="*/ 4241 h 10000"/>
                <a:gd name="connsiteX316" fmla="*/ 1733 w 10000"/>
                <a:gd name="connsiteY316" fmla="*/ 4276 h 10000"/>
                <a:gd name="connsiteX317" fmla="*/ 1638 w 10000"/>
                <a:gd name="connsiteY317" fmla="*/ 4331 h 10000"/>
                <a:gd name="connsiteX318" fmla="*/ 1433 w 10000"/>
                <a:gd name="connsiteY318" fmla="*/ 4710 h 10000"/>
                <a:gd name="connsiteX319" fmla="*/ 1472 w 10000"/>
                <a:gd name="connsiteY319" fmla="*/ 4732 h 10000"/>
                <a:gd name="connsiteX320" fmla="*/ 1503 w 10000"/>
                <a:gd name="connsiteY320" fmla="*/ 4828 h 10000"/>
                <a:gd name="connsiteX321" fmla="*/ 1407 w 10000"/>
                <a:gd name="connsiteY321" fmla="*/ 5227 h 10000"/>
                <a:gd name="connsiteX322" fmla="*/ 1503 w 10000"/>
                <a:gd name="connsiteY322" fmla="*/ 5329 h 10000"/>
                <a:gd name="connsiteX323" fmla="*/ 1764 w 10000"/>
                <a:gd name="connsiteY323" fmla="*/ 5441 h 10000"/>
                <a:gd name="connsiteX324" fmla="*/ 1777 w 10000"/>
                <a:gd name="connsiteY324" fmla="*/ 5578 h 10000"/>
                <a:gd name="connsiteX325" fmla="*/ 1664 w 10000"/>
                <a:gd name="connsiteY325" fmla="*/ 5690 h 10000"/>
                <a:gd name="connsiteX326" fmla="*/ 1503 w 10000"/>
                <a:gd name="connsiteY326" fmla="*/ 5759 h 10000"/>
                <a:gd name="connsiteX327" fmla="*/ 1289 w 10000"/>
                <a:gd name="connsiteY327" fmla="*/ 5787 h 10000"/>
                <a:gd name="connsiteX328" fmla="*/ 1233 w 10000"/>
                <a:gd name="connsiteY328" fmla="*/ 5826 h 10000"/>
                <a:gd name="connsiteX329" fmla="*/ 1359 w 10000"/>
                <a:gd name="connsiteY329" fmla="*/ 5920 h 10000"/>
                <a:gd name="connsiteX330" fmla="*/ 1429 w 10000"/>
                <a:gd name="connsiteY330" fmla="*/ 6142 h 10000"/>
                <a:gd name="connsiteX331" fmla="*/ 1267 w 10000"/>
                <a:gd name="connsiteY331" fmla="*/ 6333 h 10000"/>
                <a:gd name="connsiteX332" fmla="*/ 1324 w 10000"/>
                <a:gd name="connsiteY332" fmla="*/ 6392 h 10000"/>
                <a:gd name="connsiteX333" fmla="*/ 1272 w 10000"/>
                <a:gd name="connsiteY333" fmla="*/ 6492 h 10000"/>
                <a:gd name="connsiteX334" fmla="*/ 1167 w 10000"/>
                <a:gd name="connsiteY334" fmla="*/ 6561 h 10000"/>
                <a:gd name="connsiteX335" fmla="*/ 758 w 10000"/>
                <a:gd name="connsiteY335" fmla="*/ 6614 h 10000"/>
                <a:gd name="connsiteX336" fmla="*/ 732 w 10000"/>
                <a:gd name="connsiteY336" fmla="*/ 6706 h 10000"/>
                <a:gd name="connsiteX337" fmla="*/ 510 w 10000"/>
                <a:gd name="connsiteY337" fmla="*/ 6843 h 10000"/>
                <a:gd name="connsiteX338" fmla="*/ 540 w 10000"/>
                <a:gd name="connsiteY338" fmla="*/ 7040 h 10000"/>
                <a:gd name="connsiteX339" fmla="*/ 353 w 10000"/>
                <a:gd name="connsiteY339" fmla="*/ 7293 h 10000"/>
                <a:gd name="connsiteX340" fmla="*/ 226 w 10000"/>
                <a:gd name="connsiteY340" fmla="*/ 7323 h 10000"/>
                <a:gd name="connsiteX341" fmla="*/ 174 w 10000"/>
                <a:gd name="connsiteY341" fmla="*/ 7262 h 10000"/>
                <a:gd name="connsiteX342" fmla="*/ 109 w 10000"/>
                <a:gd name="connsiteY342" fmla="*/ 7354 h 10000"/>
                <a:gd name="connsiteX343" fmla="*/ 152 w 10000"/>
                <a:gd name="connsiteY343" fmla="*/ 7197 h 10000"/>
                <a:gd name="connsiteX344" fmla="*/ 126 w 10000"/>
                <a:gd name="connsiteY344"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145 w 10000"/>
                <a:gd name="connsiteY207" fmla="*/ 3267 h 10000"/>
                <a:gd name="connsiteX208" fmla="*/ 8123 w 10000"/>
                <a:gd name="connsiteY208" fmla="*/ 3229 h 10000"/>
                <a:gd name="connsiteX209" fmla="*/ 8075 w 10000"/>
                <a:gd name="connsiteY209" fmla="*/ 3147 h 10000"/>
                <a:gd name="connsiteX210" fmla="*/ 8079 w 10000"/>
                <a:gd name="connsiteY210" fmla="*/ 3127 h 10000"/>
                <a:gd name="connsiteX211" fmla="*/ 8132 w 10000"/>
                <a:gd name="connsiteY211" fmla="*/ 3100 h 10000"/>
                <a:gd name="connsiteX212" fmla="*/ 8145 w 10000"/>
                <a:gd name="connsiteY212" fmla="*/ 3064 h 10000"/>
                <a:gd name="connsiteX213" fmla="*/ 8258 w 10000"/>
                <a:gd name="connsiteY213" fmla="*/ 3037 h 10000"/>
                <a:gd name="connsiteX214" fmla="*/ 8380 w 10000"/>
                <a:gd name="connsiteY214" fmla="*/ 2860 h 10000"/>
                <a:gd name="connsiteX215" fmla="*/ 8253 w 10000"/>
                <a:gd name="connsiteY215" fmla="*/ 2762 h 10000"/>
                <a:gd name="connsiteX216" fmla="*/ 8267 w 10000"/>
                <a:gd name="connsiteY216" fmla="*/ 2748 h 10000"/>
                <a:gd name="connsiteX217" fmla="*/ 8397 w 10000"/>
                <a:gd name="connsiteY217" fmla="*/ 2705 h 10000"/>
                <a:gd name="connsiteX218" fmla="*/ 8402 w 10000"/>
                <a:gd name="connsiteY218" fmla="*/ 2662 h 10000"/>
                <a:gd name="connsiteX219" fmla="*/ 8449 w 10000"/>
                <a:gd name="connsiteY219" fmla="*/ 2656 h 10000"/>
                <a:gd name="connsiteX220" fmla="*/ 8558 w 10000"/>
                <a:gd name="connsiteY220" fmla="*/ 2677 h 10000"/>
                <a:gd name="connsiteX221" fmla="*/ 8593 w 10000"/>
                <a:gd name="connsiteY221" fmla="*/ 2669 h 10000"/>
                <a:gd name="connsiteX222" fmla="*/ 8606 w 10000"/>
                <a:gd name="connsiteY222" fmla="*/ 2630 h 10000"/>
                <a:gd name="connsiteX223" fmla="*/ 8567 w 10000"/>
                <a:gd name="connsiteY223" fmla="*/ 2605 h 10000"/>
                <a:gd name="connsiteX224" fmla="*/ 8685 w 10000"/>
                <a:gd name="connsiteY224" fmla="*/ 2597 h 10000"/>
                <a:gd name="connsiteX225" fmla="*/ 8698 w 10000"/>
                <a:gd name="connsiteY225" fmla="*/ 2565 h 10000"/>
                <a:gd name="connsiteX226" fmla="*/ 8558 w 10000"/>
                <a:gd name="connsiteY226" fmla="*/ 2481 h 10000"/>
                <a:gd name="connsiteX227" fmla="*/ 8558 w 10000"/>
                <a:gd name="connsiteY227" fmla="*/ 2459 h 10000"/>
                <a:gd name="connsiteX228" fmla="*/ 8698 w 10000"/>
                <a:gd name="connsiteY228" fmla="*/ 2504 h 10000"/>
                <a:gd name="connsiteX229" fmla="*/ 8763 w 10000"/>
                <a:gd name="connsiteY229" fmla="*/ 2548 h 10000"/>
                <a:gd name="connsiteX230" fmla="*/ 8815 w 10000"/>
                <a:gd name="connsiteY230" fmla="*/ 2548 h 10000"/>
                <a:gd name="connsiteX231" fmla="*/ 8789 w 10000"/>
                <a:gd name="connsiteY231" fmla="*/ 2457 h 10000"/>
                <a:gd name="connsiteX232" fmla="*/ 8798 w 10000"/>
                <a:gd name="connsiteY232" fmla="*/ 2467 h 10000"/>
                <a:gd name="connsiteX233" fmla="*/ 8841 w 10000"/>
                <a:gd name="connsiteY233" fmla="*/ 2457 h 10000"/>
                <a:gd name="connsiteX234" fmla="*/ 8855 w 10000"/>
                <a:gd name="connsiteY234" fmla="*/ 2341 h 10000"/>
                <a:gd name="connsiteX235" fmla="*/ 8898 w 10000"/>
                <a:gd name="connsiteY235" fmla="*/ 2332 h 10000"/>
                <a:gd name="connsiteX236" fmla="*/ 8946 w 10000"/>
                <a:gd name="connsiteY236" fmla="*/ 2330 h 10000"/>
                <a:gd name="connsiteX237" fmla="*/ 8946 w 10000"/>
                <a:gd name="connsiteY237" fmla="*/ 2361 h 10000"/>
                <a:gd name="connsiteX238" fmla="*/ 8994 w 10000"/>
                <a:gd name="connsiteY238" fmla="*/ 2389 h 10000"/>
                <a:gd name="connsiteX239" fmla="*/ 9051 w 10000"/>
                <a:gd name="connsiteY239" fmla="*/ 2400 h 10000"/>
                <a:gd name="connsiteX240" fmla="*/ 9094 w 10000"/>
                <a:gd name="connsiteY240" fmla="*/ 2324 h 10000"/>
                <a:gd name="connsiteX241" fmla="*/ 9164 w 10000"/>
                <a:gd name="connsiteY241" fmla="*/ 2347 h 10000"/>
                <a:gd name="connsiteX242" fmla="*/ 9247 w 10000"/>
                <a:gd name="connsiteY242" fmla="*/ 2402 h 10000"/>
                <a:gd name="connsiteX243" fmla="*/ 9286 w 10000"/>
                <a:gd name="connsiteY243" fmla="*/ 2400 h 10000"/>
                <a:gd name="connsiteX244" fmla="*/ 9355 w 10000"/>
                <a:gd name="connsiteY244" fmla="*/ 2428 h 10000"/>
                <a:gd name="connsiteX245" fmla="*/ 9408 w 10000"/>
                <a:gd name="connsiteY245" fmla="*/ 2359 h 10000"/>
                <a:gd name="connsiteX246" fmla="*/ 9717 w 10000"/>
                <a:gd name="connsiteY246" fmla="*/ 2343 h 10000"/>
                <a:gd name="connsiteX247" fmla="*/ 9830 w 10000"/>
                <a:gd name="connsiteY247" fmla="*/ 2369 h 10000"/>
                <a:gd name="connsiteX248" fmla="*/ 9909 w 10000"/>
                <a:gd name="connsiteY248" fmla="*/ 2410 h 10000"/>
                <a:gd name="connsiteX249" fmla="*/ 9948 w 10000"/>
                <a:gd name="connsiteY249" fmla="*/ 2365 h 10000"/>
                <a:gd name="connsiteX250" fmla="*/ 10000 w 10000"/>
                <a:gd name="connsiteY250" fmla="*/ 2349 h 10000"/>
                <a:gd name="connsiteX251" fmla="*/ 9704 w 10000"/>
                <a:gd name="connsiteY251" fmla="*/ 1992 h 10000"/>
                <a:gd name="connsiteX252" fmla="*/ 9743 w 10000"/>
                <a:gd name="connsiteY252" fmla="*/ 1897 h 10000"/>
                <a:gd name="connsiteX253" fmla="*/ 9830 w 10000"/>
                <a:gd name="connsiteY253" fmla="*/ 1819 h 10000"/>
                <a:gd name="connsiteX254" fmla="*/ 9830 w 10000"/>
                <a:gd name="connsiteY254" fmla="*/ 1699 h 10000"/>
                <a:gd name="connsiteX255" fmla="*/ 9556 w 10000"/>
                <a:gd name="connsiteY255" fmla="*/ 1465 h 10000"/>
                <a:gd name="connsiteX256" fmla="*/ 9512 w 10000"/>
                <a:gd name="connsiteY256" fmla="*/ 1379 h 10000"/>
                <a:gd name="connsiteX257" fmla="*/ 9573 w 10000"/>
                <a:gd name="connsiteY257" fmla="*/ 1271 h 10000"/>
                <a:gd name="connsiteX258" fmla="*/ 9543 w 10000"/>
                <a:gd name="connsiteY258" fmla="*/ 1194 h 10000"/>
                <a:gd name="connsiteX259" fmla="*/ 9486 w 10000"/>
                <a:gd name="connsiteY259" fmla="*/ 1159 h 10000"/>
                <a:gd name="connsiteX260" fmla="*/ 9438 w 10000"/>
                <a:gd name="connsiteY260" fmla="*/ 978 h 10000"/>
                <a:gd name="connsiteX261" fmla="*/ 9495 w 10000"/>
                <a:gd name="connsiteY261" fmla="*/ 831 h 10000"/>
                <a:gd name="connsiteX262" fmla="*/ 9077 w 10000"/>
                <a:gd name="connsiteY262" fmla="*/ 517 h 10000"/>
                <a:gd name="connsiteX263" fmla="*/ 8872 w 10000"/>
                <a:gd name="connsiteY263" fmla="*/ 440 h 10000"/>
                <a:gd name="connsiteX264" fmla="*/ 8493 w 10000"/>
                <a:gd name="connsiteY264" fmla="*/ 389 h 10000"/>
                <a:gd name="connsiteX265" fmla="*/ 7709 w 10000"/>
                <a:gd name="connsiteY265" fmla="*/ 26 h 10000"/>
                <a:gd name="connsiteX266" fmla="*/ 7683 w 10000"/>
                <a:gd name="connsiteY266" fmla="*/ 2 h 10000"/>
                <a:gd name="connsiteX267" fmla="*/ 7417 w 10000"/>
                <a:gd name="connsiteY267" fmla="*/ 0 h 10000"/>
                <a:gd name="connsiteX268" fmla="*/ 7356 w 10000"/>
                <a:gd name="connsiteY268" fmla="*/ 14 h 10000"/>
                <a:gd name="connsiteX269" fmla="*/ 7369 w 10000"/>
                <a:gd name="connsiteY269" fmla="*/ 61 h 10000"/>
                <a:gd name="connsiteX270" fmla="*/ 7422 w 10000"/>
                <a:gd name="connsiteY270" fmla="*/ 86 h 10000"/>
                <a:gd name="connsiteX271" fmla="*/ 7435 w 10000"/>
                <a:gd name="connsiteY271" fmla="*/ 139 h 10000"/>
                <a:gd name="connsiteX272" fmla="*/ 7417 w 10000"/>
                <a:gd name="connsiteY272" fmla="*/ 181 h 10000"/>
                <a:gd name="connsiteX273" fmla="*/ 7369 w 10000"/>
                <a:gd name="connsiteY273" fmla="*/ 208 h 10000"/>
                <a:gd name="connsiteX274" fmla="*/ 7334 w 10000"/>
                <a:gd name="connsiteY274" fmla="*/ 283 h 10000"/>
                <a:gd name="connsiteX275" fmla="*/ 7269 w 10000"/>
                <a:gd name="connsiteY275" fmla="*/ 336 h 10000"/>
                <a:gd name="connsiteX276" fmla="*/ 7282 w 10000"/>
                <a:gd name="connsiteY276" fmla="*/ 387 h 10000"/>
                <a:gd name="connsiteX277" fmla="*/ 7382 w 10000"/>
                <a:gd name="connsiteY277" fmla="*/ 434 h 10000"/>
                <a:gd name="connsiteX278" fmla="*/ 7317 w 10000"/>
                <a:gd name="connsiteY278" fmla="*/ 475 h 10000"/>
                <a:gd name="connsiteX279" fmla="*/ 7221 w 10000"/>
                <a:gd name="connsiteY279" fmla="*/ 485 h 10000"/>
                <a:gd name="connsiteX280" fmla="*/ 6420 w 10000"/>
                <a:gd name="connsiteY280" fmla="*/ 387 h 10000"/>
                <a:gd name="connsiteX281" fmla="*/ 6324 w 10000"/>
                <a:gd name="connsiteY281" fmla="*/ 395 h 10000"/>
                <a:gd name="connsiteX282" fmla="*/ 6267 w 10000"/>
                <a:gd name="connsiteY282" fmla="*/ 414 h 10000"/>
                <a:gd name="connsiteX283" fmla="*/ 6211 w 10000"/>
                <a:gd name="connsiteY283" fmla="*/ 462 h 10000"/>
                <a:gd name="connsiteX284" fmla="*/ 6220 w 10000"/>
                <a:gd name="connsiteY284" fmla="*/ 581 h 10000"/>
                <a:gd name="connsiteX285" fmla="*/ 6132 w 10000"/>
                <a:gd name="connsiteY285" fmla="*/ 735 h 10000"/>
                <a:gd name="connsiteX286" fmla="*/ 6024 w 10000"/>
                <a:gd name="connsiteY286" fmla="*/ 815 h 10000"/>
                <a:gd name="connsiteX287" fmla="*/ 5980 w 10000"/>
                <a:gd name="connsiteY287" fmla="*/ 805 h 10000"/>
                <a:gd name="connsiteX288" fmla="*/ 5880 w 10000"/>
                <a:gd name="connsiteY288" fmla="*/ 739 h 10000"/>
                <a:gd name="connsiteX289" fmla="*/ 5753 w 10000"/>
                <a:gd name="connsiteY289" fmla="*/ 705 h 10000"/>
                <a:gd name="connsiteX290" fmla="*/ 5618 w 10000"/>
                <a:gd name="connsiteY290" fmla="*/ 715 h 10000"/>
                <a:gd name="connsiteX291" fmla="*/ 5301 w 10000"/>
                <a:gd name="connsiteY291" fmla="*/ 866 h 10000"/>
                <a:gd name="connsiteX292" fmla="*/ 5218 w 10000"/>
                <a:gd name="connsiteY292" fmla="*/ 1017 h 10000"/>
                <a:gd name="connsiteX293" fmla="*/ 4978 w 10000"/>
                <a:gd name="connsiteY293" fmla="*/ 1153 h 10000"/>
                <a:gd name="connsiteX294" fmla="*/ 4935 w 10000"/>
                <a:gd name="connsiteY294" fmla="*/ 1222 h 10000"/>
                <a:gd name="connsiteX295" fmla="*/ 5061 w 10000"/>
                <a:gd name="connsiteY295" fmla="*/ 1344 h 10000"/>
                <a:gd name="connsiteX296" fmla="*/ 5074 w 10000"/>
                <a:gd name="connsiteY296" fmla="*/ 1412 h 10000"/>
                <a:gd name="connsiteX297" fmla="*/ 4421 w 10000"/>
                <a:gd name="connsiteY297" fmla="*/ 1813 h 10000"/>
                <a:gd name="connsiteX298" fmla="*/ 4220 w 10000"/>
                <a:gd name="connsiteY298" fmla="*/ 2070 h 10000"/>
                <a:gd name="connsiteX299" fmla="*/ 4003 w 10000"/>
                <a:gd name="connsiteY299" fmla="*/ 2135 h 10000"/>
                <a:gd name="connsiteX300" fmla="*/ 3868 w 10000"/>
                <a:gd name="connsiteY300" fmla="*/ 2131 h 10000"/>
                <a:gd name="connsiteX301" fmla="*/ 3785 w 10000"/>
                <a:gd name="connsiteY301" fmla="*/ 2153 h 10000"/>
                <a:gd name="connsiteX302" fmla="*/ 3558 w 10000"/>
                <a:gd name="connsiteY302" fmla="*/ 2793 h 10000"/>
                <a:gd name="connsiteX303" fmla="*/ 3036 w 10000"/>
                <a:gd name="connsiteY303" fmla="*/ 3166 h 10000"/>
                <a:gd name="connsiteX304" fmla="*/ 3040 w 10000"/>
                <a:gd name="connsiteY304" fmla="*/ 3225 h 10000"/>
                <a:gd name="connsiteX305" fmla="*/ 3271 w 10000"/>
                <a:gd name="connsiteY305" fmla="*/ 3392 h 10000"/>
                <a:gd name="connsiteX306" fmla="*/ 3197 w 10000"/>
                <a:gd name="connsiteY306" fmla="*/ 3573 h 10000"/>
                <a:gd name="connsiteX307" fmla="*/ 3062 w 10000"/>
                <a:gd name="connsiteY307" fmla="*/ 3640 h 10000"/>
                <a:gd name="connsiteX308" fmla="*/ 2657 w 10000"/>
                <a:gd name="connsiteY308" fmla="*/ 3595 h 10000"/>
                <a:gd name="connsiteX309" fmla="*/ 2378 w 10000"/>
                <a:gd name="connsiteY309" fmla="*/ 3620 h 10000"/>
                <a:gd name="connsiteX310" fmla="*/ 2152 w 10000"/>
                <a:gd name="connsiteY310" fmla="*/ 3673 h 10000"/>
                <a:gd name="connsiteX311" fmla="*/ 1790 w 10000"/>
                <a:gd name="connsiteY311" fmla="*/ 3840 h 10000"/>
                <a:gd name="connsiteX312" fmla="*/ 1598 w 10000"/>
                <a:gd name="connsiteY312" fmla="*/ 4042 h 10000"/>
                <a:gd name="connsiteX313" fmla="*/ 1616 w 10000"/>
                <a:gd name="connsiteY313" fmla="*/ 4154 h 10000"/>
                <a:gd name="connsiteX314" fmla="*/ 1681 w 10000"/>
                <a:gd name="connsiteY314" fmla="*/ 4241 h 10000"/>
                <a:gd name="connsiteX315" fmla="*/ 1733 w 10000"/>
                <a:gd name="connsiteY315" fmla="*/ 4276 h 10000"/>
                <a:gd name="connsiteX316" fmla="*/ 1638 w 10000"/>
                <a:gd name="connsiteY316" fmla="*/ 4331 h 10000"/>
                <a:gd name="connsiteX317" fmla="*/ 1433 w 10000"/>
                <a:gd name="connsiteY317" fmla="*/ 4710 h 10000"/>
                <a:gd name="connsiteX318" fmla="*/ 1472 w 10000"/>
                <a:gd name="connsiteY318" fmla="*/ 4732 h 10000"/>
                <a:gd name="connsiteX319" fmla="*/ 1503 w 10000"/>
                <a:gd name="connsiteY319" fmla="*/ 4828 h 10000"/>
                <a:gd name="connsiteX320" fmla="*/ 1407 w 10000"/>
                <a:gd name="connsiteY320" fmla="*/ 5227 h 10000"/>
                <a:gd name="connsiteX321" fmla="*/ 1503 w 10000"/>
                <a:gd name="connsiteY321" fmla="*/ 5329 h 10000"/>
                <a:gd name="connsiteX322" fmla="*/ 1764 w 10000"/>
                <a:gd name="connsiteY322" fmla="*/ 5441 h 10000"/>
                <a:gd name="connsiteX323" fmla="*/ 1777 w 10000"/>
                <a:gd name="connsiteY323" fmla="*/ 5578 h 10000"/>
                <a:gd name="connsiteX324" fmla="*/ 1664 w 10000"/>
                <a:gd name="connsiteY324" fmla="*/ 5690 h 10000"/>
                <a:gd name="connsiteX325" fmla="*/ 1503 w 10000"/>
                <a:gd name="connsiteY325" fmla="*/ 5759 h 10000"/>
                <a:gd name="connsiteX326" fmla="*/ 1289 w 10000"/>
                <a:gd name="connsiteY326" fmla="*/ 5787 h 10000"/>
                <a:gd name="connsiteX327" fmla="*/ 1233 w 10000"/>
                <a:gd name="connsiteY327" fmla="*/ 5826 h 10000"/>
                <a:gd name="connsiteX328" fmla="*/ 1359 w 10000"/>
                <a:gd name="connsiteY328" fmla="*/ 5920 h 10000"/>
                <a:gd name="connsiteX329" fmla="*/ 1429 w 10000"/>
                <a:gd name="connsiteY329" fmla="*/ 6142 h 10000"/>
                <a:gd name="connsiteX330" fmla="*/ 1267 w 10000"/>
                <a:gd name="connsiteY330" fmla="*/ 6333 h 10000"/>
                <a:gd name="connsiteX331" fmla="*/ 1324 w 10000"/>
                <a:gd name="connsiteY331" fmla="*/ 6392 h 10000"/>
                <a:gd name="connsiteX332" fmla="*/ 1272 w 10000"/>
                <a:gd name="connsiteY332" fmla="*/ 6492 h 10000"/>
                <a:gd name="connsiteX333" fmla="*/ 1167 w 10000"/>
                <a:gd name="connsiteY333" fmla="*/ 6561 h 10000"/>
                <a:gd name="connsiteX334" fmla="*/ 758 w 10000"/>
                <a:gd name="connsiteY334" fmla="*/ 6614 h 10000"/>
                <a:gd name="connsiteX335" fmla="*/ 732 w 10000"/>
                <a:gd name="connsiteY335" fmla="*/ 6706 h 10000"/>
                <a:gd name="connsiteX336" fmla="*/ 510 w 10000"/>
                <a:gd name="connsiteY336" fmla="*/ 6843 h 10000"/>
                <a:gd name="connsiteX337" fmla="*/ 540 w 10000"/>
                <a:gd name="connsiteY337" fmla="*/ 7040 h 10000"/>
                <a:gd name="connsiteX338" fmla="*/ 353 w 10000"/>
                <a:gd name="connsiteY338" fmla="*/ 7293 h 10000"/>
                <a:gd name="connsiteX339" fmla="*/ 226 w 10000"/>
                <a:gd name="connsiteY339" fmla="*/ 7323 h 10000"/>
                <a:gd name="connsiteX340" fmla="*/ 174 w 10000"/>
                <a:gd name="connsiteY340" fmla="*/ 7262 h 10000"/>
                <a:gd name="connsiteX341" fmla="*/ 109 w 10000"/>
                <a:gd name="connsiteY341" fmla="*/ 7354 h 10000"/>
                <a:gd name="connsiteX342" fmla="*/ 152 w 10000"/>
                <a:gd name="connsiteY342" fmla="*/ 7197 h 10000"/>
                <a:gd name="connsiteX343" fmla="*/ 126 w 10000"/>
                <a:gd name="connsiteY343"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145 w 10000"/>
                <a:gd name="connsiteY207" fmla="*/ 3267 h 10000"/>
                <a:gd name="connsiteX208" fmla="*/ 8075 w 10000"/>
                <a:gd name="connsiteY208" fmla="*/ 3147 h 10000"/>
                <a:gd name="connsiteX209" fmla="*/ 8079 w 10000"/>
                <a:gd name="connsiteY209" fmla="*/ 3127 h 10000"/>
                <a:gd name="connsiteX210" fmla="*/ 8132 w 10000"/>
                <a:gd name="connsiteY210" fmla="*/ 3100 h 10000"/>
                <a:gd name="connsiteX211" fmla="*/ 8145 w 10000"/>
                <a:gd name="connsiteY211" fmla="*/ 3064 h 10000"/>
                <a:gd name="connsiteX212" fmla="*/ 8258 w 10000"/>
                <a:gd name="connsiteY212" fmla="*/ 3037 h 10000"/>
                <a:gd name="connsiteX213" fmla="*/ 8380 w 10000"/>
                <a:gd name="connsiteY213" fmla="*/ 2860 h 10000"/>
                <a:gd name="connsiteX214" fmla="*/ 8253 w 10000"/>
                <a:gd name="connsiteY214" fmla="*/ 2762 h 10000"/>
                <a:gd name="connsiteX215" fmla="*/ 8267 w 10000"/>
                <a:gd name="connsiteY215" fmla="*/ 2748 h 10000"/>
                <a:gd name="connsiteX216" fmla="*/ 8397 w 10000"/>
                <a:gd name="connsiteY216" fmla="*/ 2705 h 10000"/>
                <a:gd name="connsiteX217" fmla="*/ 8402 w 10000"/>
                <a:gd name="connsiteY217" fmla="*/ 2662 h 10000"/>
                <a:gd name="connsiteX218" fmla="*/ 8449 w 10000"/>
                <a:gd name="connsiteY218" fmla="*/ 2656 h 10000"/>
                <a:gd name="connsiteX219" fmla="*/ 8558 w 10000"/>
                <a:gd name="connsiteY219" fmla="*/ 2677 h 10000"/>
                <a:gd name="connsiteX220" fmla="*/ 8593 w 10000"/>
                <a:gd name="connsiteY220" fmla="*/ 2669 h 10000"/>
                <a:gd name="connsiteX221" fmla="*/ 8606 w 10000"/>
                <a:gd name="connsiteY221" fmla="*/ 2630 h 10000"/>
                <a:gd name="connsiteX222" fmla="*/ 8567 w 10000"/>
                <a:gd name="connsiteY222" fmla="*/ 2605 h 10000"/>
                <a:gd name="connsiteX223" fmla="*/ 8685 w 10000"/>
                <a:gd name="connsiteY223" fmla="*/ 2597 h 10000"/>
                <a:gd name="connsiteX224" fmla="*/ 8698 w 10000"/>
                <a:gd name="connsiteY224" fmla="*/ 2565 h 10000"/>
                <a:gd name="connsiteX225" fmla="*/ 8558 w 10000"/>
                <a:gd name="connsiteY225" fmla="*/ 2481 h 10000"/>
                <a:gd name="connsiteX226" fmla="*/ 8558 w 10000"/>
                <a:gd name="connsiteY226" fmla="*/ 2459 h 10000"/>
                <a:gd name="connsiteX227" fmla="*/ 8698 w 10000"/>
                <a:gd name="connsiteY227" fmla="*/ 2504 h 10000"/>
                <a:gd name="connsiteX228" fmla="*/ 8763 w 10000"/>
                <a:gd name="connsiteY228" fmla="*/ 2548 h 10000"/>
                <a:gd name="connsiteX229" fmla="*/ 8815 w 10000"/>
                <a:gd name="connsiteY229" fmla="*/ 2548 h 10000"/>
                <a:gd name="connsiteX230" fmla="*/ 8789 w 10000"/>
                <a:gd name="connsiteY230" fmla="*/ 2457 h 10000"/>
                <a:gd name="connsiteX231" fmla="*/ 8798 w 10000"/>
                <a:gd name="connsiteY231" fmla="*/ 2467 h 10000"/>
                <a:gd name="connsiteX232" fmla="*/ 8841 w 10000"/>
                <a:gd name="connsiteY232" fmla="*/ 2457 h 10000"/>
                <a:gd name="connsiteX233" fmla="*/ 8855 w 10000"/>
                <a:gd name="connsiteY233" fmla="*/ 2341 h 10000"/>
                <a:gd name="connsiteX234" fmla="*/ 8898 w 10000"/>
                <a:gd name="connsiteY234" fmla="*/ 2332 h 10000"/>
                <a:gd name="connsiteX235" fmla="*/ 8946 w 10000"/>
                <a:gd name="connsiteY235" fmla="*/ 2330 h 10000"/>
                <a:gd name="connsiteX236" fmla="*/ 8946 w 10000"/>
                <a:gd name="connsiteY236" fmla="*/ 2361 h 10000"/>
                <a:gd name="connsiteX237" fmla="*/ 8994 w 10000"/>
                <a:gd name="connsiteY237" fmla="*/ 2389 h 10000"/>
                <a:gd name="connsiteX238" fmla="*/ 9051 w 10000"/>
                <a:gd name="connsiteY238" fmla="*/ 2400 h 10000"/>
                <a:gd name="connsiteX239" fmla="*/ 9094 w 10000"/>
                <a:gd name="connsiteY239" fmla="*/ 2324 h 10000"/>
                <a:gd name="connsiteX240" fmla="*/ 9164 w 10000"/>
                <a:gd name="connsiteY240" fmla="*/ 2347 h 10000"/>
                <a:gd name="connsiteX241" fmla="*/ 9247 w 10000"/>
                <a:gd name="connsiteY241" fmla="*/ 2402 h 10000"/>
                <a:gd name="connsiteX242" fmla="*/ 9286 w 10000"/>
                <a:gd name="connsiteY242" fmla="*/ 2400 h 10000"/>
                <a:gd name="connsiteX243" fmla="*/ 9355 w 10000"/>
                <a:gd name="connsiteY243" fmla="*/ 2428 h 10000"/>
                <a:gd name="connsiteX244" fmla="*/ 9408 w 10000"/>
                <a:gd name="connsiteY244" fmla="*/ 2359 h 10000"/>
                <a:gd name="connsiteX245" fmla="*/ 9717 w 10000"/>
                <a:gd name="connsiteY245" fmla="*/ 2343 h 10000"/>
                <a:gd name="connsiteX246" fmla="*/ 9830 w 10000"/>
                <a:gd name="connsiteY246" fmla="*/ 2369 h 10000"/>
                <a:gd name="connsiteX247" fmla="*/ 9909 w 10000"/>
                <a:gd name="connsiteY247" fmla="*/ 2410 h 10000"/>
                <a:gd name="connsiteX248" fmla="*/ 9948 w 10000"/>
                <a:gd name="connsiteY248" fmla="*/ 2365 h 10000"/>
                <a:gd name="connsiteX249" fmla="*/ 10000 w 10000"/>
                <a:gd name="connsiteY249" fmla="*/ 2349 h 10000"/>
                <a:gd name="connsiteX250" fmla="*/ 9704 w 10000"/>
                <a:gd name="connsiteY250" fmla="*/ 1992 h 10000"/>
                <a:gd name="connsiteX251" fmla="*/ 9743 w 10000"/>
                <a:gd name="connsiteY251" fmla="*/ 1897 h 10000"/>
                <a:gd name="connsiteX252" fmla="*/ 9830 w 10000"/>
                <a:gd name="connsiteY252" fmla="*/ 1819 h 10000"/>
                <a:gd name="connsiteX253" fmla="*/ 9830 w 10000"/>
                <a:gd name="connsiteY253" fmla="*/ 1699 h 10000"/>
                <a:gd name="connsiteX254" fmla="*/ 9556 w 10000"/>
                <a:gd name="connsiteY254" fmla="*/ 1465 h 10000"/>
                <a:gd name="connsiteX255" fmla="*/ 9512 w 10000"/>
                <a:gd name="connsiteY255" fmla="*/ 1379 h 10000"/>
                <a:gd name="connsiteX256" fmla="*/ 9573 w 10000"/>
                <a:gd name="connsiteY256" fmla="*/ 1271 h 10000"/>
                <a:gd name="connsiteX257" fmla="*/ 9543 w 10000"/>
                <a:gd name="connsiteY257" fmla="*/ 1194 h 10000"/>
                <a:gd name="connsiteX258" fmla="*/ 9486 w 10000"/>
                <a:gd name="connsiteY258" fmla="*/ 1159 h 10000"/>
                <a:gd name="connsiteX259" fmla="*/ 9438 w 10000"/>
                <a:gd name="connsiteY259" fmla="*/ 978 h 10000"/>
                <a:gd name="connsiteX260" fmla="*/ 9495 w 10000"/>
                <a:gd name="connsiteY260" fmla="*/ 831 h 10000"/>
                <a:gd name="connsiteX261" fmla="*/ 9077 w 10000"/>
                <a:gd name="connsiteY261" fmla="*/ 517 h 10000"/>
                <a:gd name="connsiteX262" fmla="*/ 8872 w 10000"/>
                <a:gd name="connsiteY262" fmla="*/ 440 h 10000"/>
                <a:gd name="connsiteX263" fmla="*/ 8493 w 10000"/>
                <a:gd name="connsiteY263" fmla="*/ 389 h 10000"/>
                <a:gd name="connsiteX264" fmla="*/ 7709 w 10000"/>
                <a:gd name="connsiteY264" fmla="*/ 26 h 10000"/>
                <a:gd name="connsiteX265" fmla="*/ 7683 w 10000"/>
                <a:gd name="connsiteY265" fmla="*/ 2 h 10000"/>
                <a:gd name="connsiteX266" fmla="*/ 7417 w 10000"/>
                <a:gd name="connsiteY266" fmla="*/ 0 h 10000"/>
                <a:gd name="connsiteX267" fmla="*/ 7356 w 10000"/>
                <a:gd name="connsiteY267" fmla="*/ 14 h 10000"/>
                <a:gd name="connsiteX268" fmla="*/ 7369 w 10000"/>
                <a:gd name="connsiteY268" fmla="*/ 61 h 10000"/>
                <a:gd name="connsiteX269" fmla="*/ 7422 w 10000"/>
                <a:gd name="connsiteY269" fmla="*/ 86 h 10000"/>
                <a:gd name="connsiteX270" fmla="*/ 7435 w 10000"/>
                <a:gd name="connsiteY270" fmla="*/ 139 h 10000"/>
                <a:gd name="connsiteX271" fmla="*/ 7417 w 10000"/>
                <a:gd name="connsiteY271" fmla="*/ 181 h 10000"/>
                <a:gd name="connsiteX272" fmla="*/ 7369 w 10000"/>
                <a:gd name="connsiteY272" fmla="*/ 208 h 10000"/>
                <a:gd name="connsiteX273" fmla="*/ 7334 w 10000"/>
                <a:gd name="connsiteY273" fmla="*/ 283 h 10000"/>
                <a:gd name="connsiteX274" fmla="*/ 7269 w 10000"/>
                <a:gd name="connsiteY274" fmla="*/ 336 h 10000"/>
                <a:gd name="connsiteX275" fmla="*/ 7282 w 10000"/>
                <a:gd name="connsiteY275" fmla="*/ 387 h 10000"/>
                <a:gd name="connsiteX276" fmla="*/ 7382 w 10000"/>
                <a:gd name="connsiteY276" fmla="*/ 434 h 10000"/>
                <a:gd name="connsiteX277" fmla="*/ 7317 w 10000"/>
                <a:gd name="connsiteY277" fmla="*/ 475 h 10000"/>
                <a:gd name="connsiteX278" fmla="*/ 7221 w 10000"/>
                <a:gd name="connsiteY278" fmla="*/ 485 h 10000"/>
                <a:gd name="connsiteX279" fmla="*/ 6420 w 10000"/>
                <a:gd name="connsiteY279" fmla="*/ 387 h 10000"/>
                <a:gd name="connsiteX280" fmla="*/ 6324 w 10000"/>
                <a:gd name="connsiteY280" fmla="*/ 395 h 10000"/>
                <a:gd name="connsiteX281" fmla="*/ 6267 w 10000"/>
                <a:gd name="connsiteY281" fmla="*/ 414 h 10000"/>
                <a:gd name="connsiteX282" fmla="*/ 6211 w 10000"/>
                <a:gd name="connsiteY282" fmla="*/ 462 h 10000"/>
                <a:gd name="connsiteX283" fmla="*/ 6220 w 10000"/>
                <a:gd name="connsiteY283" fmla="*/ 581 h 10000"/>
                <a:gd name="connsiteX284" fmla="*/ 6132 w 10000"/>
                <a:gd name="connsiteY284" fmla="*/ 735 h 10000"/>
                <a:gd name="connsiteX285" fmla="*/ 6024 w 10000"/>
                <a:gd name="connsiteY285" fmla="*/ 815 h 10000"/>
                <a:gd name="connsiteX286" fmla="*/ 5980 w 10000"/>
                <a:gd name="connsiteY286" fmla="*/ 805 h 10000"/>
                <a:gd name="connsiteX287" fmla="*/ 5880 w 10000"/>
                <a:gd name="connsiteY287" fmla="*/ 739 h 10000"/>
                <a:gd name="connsiteX288" fmla="*/ 5753 w 10000"/>
                <a:gd name="connsiteY288" fmla="*/ 705 h 10000"/>
                <a:gd name="connsiteX289" fmla="*/ 5618 w 10000"/>
                <a:gd name="connsiteY289" fmla="*/ 715 h 10000"/>
                <a:gd name="connsiteX290" fmla="*/ 5301 w 10000"/>
                <a:gd name="connsiteY290" fmla="*/ 866 h 10000"/>
                <a:gd name="connsiteX291" fmla="*/ 5218 w 10000"/>
                <a:gd name="connsiteY291" fmla="*/ 1017 h 10000"/>
                <a:gd name="connsiteX292" fmla="*/ 4978 w 10000"/>
                <a:gd name="connsiteY292" fmla="*/ 1153 h 10000"/>
                <a:gd name="connsiteX293" fmla="*/ 4935 w 10000"/>
                <a:gd name="connsiteY293" fmla="*/ 1222 h 10000"/>
                <a:gd name="connsiteX294" fmla="*/ 5061 w 10000"/>
                <a:gd name="connsiteY294" fmla="*/ 1344 h 10000"/>
                <a:gd name="connsiteX295" fmla="*/ 5074 w 10000"/>
                <a:gd name="connsiteY295" fmla="*/ 1412 h 10000"/>
                <a:gd name="connsiteX296" fmla="*/ 4421 w 10000"/>
                <a:gd name="connsiteY296" fmla="*/ 1813 h 10000"/>
                <a:gd name="connsiteX297" fmla="*/ 4220 w 10000"/>
                <a:gd name="connsiteY297" fmla="*/ 2070 h 10000"/>
                <a:gd name="connsiteX298" fmla="*/ 4003 w 10000"/>
                <a:gd name="connsiteY298" fmla="*/ 2135 h 10000"/>
                <a:gd name="connsiteX299" fmla="*/ 3868 w 10000"/>
                <a:gd name="connsiteY299" fmla="*/ 2131 h 10000"/>
                <a:gd name="connsiteX300" fmla="*/ 3785 w 10000"/>
                <a:gd name="connsiteY300" fmla="*/ 2153 h 10000"/>
                <a:gd name="connsiteX301" fmla="*/ 3558 w 10000"/>
                <a:gd name="connsiteY301" fmla="*/ 2793 h 10000"/>
                <a:gd name="connsiteX302" fmla="*/ 3036 w 10000"/>
                <a:gd name="connsiteY302" fmla="*/ 3166 h 10000"/>
                <a:gd name="connsiteX303" fmla="*/ 3040 w 10000"/>
                <a:gd name="connsiteY303" fmla="*/ 3225 h 10000"/>
                <a:gd name="connsiteX304" fmla="*/ 3271 w 10000"/>
                <a:gd name="connsiteY304" fmla="*/ 3392 h 10000"/>
                <a:gd name="connsiteX305" fmla="*/ 3197 w 10000"/>
                <a:gd name="connsiteY305" fmla="*/ 3573 h 10000"/>
                <a:gd name="connsiteX306" fmla="*/ 3062 w 10000"/>
                <a:gd name="connsiteY306" fmla="*/ 3640 h 10000"/>
                <a:gd name="connsiteX307" fmla="*/ 2657 w 10000"/>
                <a:gd name="connsiteY307" fmla="*/ 3595 h 10000"/>
                <a:gd name="connsiteX308" fmla="*/ 2378 w 10000"/>
                <a:gd name="connsiteY308" fmla="*/ 3620 h 10000"/>
                <a:gd name="connsiteX309" fmla="*/ 2152 w 10000"/>
                <a:gd name="connsiteY309" fmla="*/ 3673 h 10000"/>
                <a:gd name="connsiteX310" fmla="*/ 1790 w 10000"/>
                <a:gd name="connsiteY310" fmla="*/ 3840 h 10000"/>
                <a:gd name="connsiteX311" fmla="*/ 1598 w 10000"/>
                <a:gd name="connsiteY311" fmla="*/ 4042 h 10000"/>
                <a:gd name="connsiteX312" fmla="*/ 1616 w 10000"/>
                <a:gd name="connsiteY312" fmla="*/ 4154 h 10000"/>
                <a:gd name="connsiteX313" fmla="*/ 1681 w 10000"/>
                <a:gd name="connsiteY313" fmla="*/ 4241 h 10000"/>
                <a:gd name="connsiteX314" fmla="*/ 1733 w 10000"/>
                <a:gd name="connsiteY314" fmla="*/ 4276 h 10000"/>
                <a:gd name="connsiteX315" fmla="*/ 1638 w 10000"/>
                <a:gd name="connsiteY315" fmla="*/ 4331 h 10000"/>
                <a:gd name="connsiteX316" fmla="*/ 1433 w 10000"/>
                <a:gd name="connsiteY316" fmla="*/ 4710 h 10000"/>
                <a:gd name="connsiteX317" fmla="*/ 1472 w 10000"/>
                <a:gd name="connsiteY317" fmla="*/ 4732 h 10000"/>
                <a:gd name="connsiteX318" fmla="*/ 1503 w 10000"/>
                <a:gd name="connsiteY318" fmla="*/ 4828 h 10000"/>
                <a:gd name="connsiteX319" fmla="*/ 1407 w 10000"/>
                <a:gd name="connsiteY319" fmla="*/ 5227 h 10000"/>
                <a:gd name="connsiteX320" fmla="*/ 1503 w 10000"/>
                <a:gd name="connsiteY320" fmla="*/ 5329 h 10000"/>
                <a:gd name="connsiteX321" fmla="*/ 1764 w 10000"/>
                <a:gd name="connsiteY321" fmla="*/ 5441 h 10000"/>
                <a:gd name="connsiteX322" fmla="*/ 1777 w 10000"/>
                <a:gd name="connsiteY322" fmla="*/ 5578 h 10000"/>
                <a:gd name="connsiteX323" fmla="*/ 1664 w 10000"/>
                <a:gd name="connsiteY323" fmla="*/ 5690 h 10000"/>
                <a:gd name="connsiteX324" fmla="*/ 1503 w 10000"/>
                <a:gd name="connsiteY324" fmla="*/ 5759 h 10000"/>
                <a:gd name="connsiteX325" fmla="*/ 1289 w 10000"/>
                <a:gd name="connsiteY325" fmla="*/ 5787 h 10000"/>
                <a:gd name="connsiteX326" fmla="*/ 1233 w 10000"/>
                <a:gd name="connsiteY326" fmla="*/ 5826 h 10000"/>
                <a:gd name="connsiteX327" fmla="*/ 1359 w 10000"/>
                <a:gd name="connsiteY327" fmla="*/ 5920 h 10000"/>
                <a:gd name="connsiteX328" fmla="*/ 1429 w 10000"/>
                <a:gd name="connsiteY328" fmla="*/ 6142 h 10000"/>
                <a:gd name="connsiteX329" fmla="*/ 1267 w 10000"/>
                <a:gd name="connsiteY329" fmla="*/ 6333 h 10000"/>
                <a:gd name="connsiteX330" fmla="*/ 1324 w 10000"/>
                <a:gd name="connsiteY330" fmla="*/ 6392 h 10000"/>
                <a:gd name="connsiteX331" fmla="*/ 1272 w 10000"/>
                <a:gd name="connsiteY331" fmla="*/ 6492 h 10000"/>
                <a:gd name="connsiteX332" fmla="*/ 1167 w 10000"/>
                <a:gd name="connsiteY332" fmla="*/ 6561 h 10000"/>
                <a:gd name="connsiteX333" fmla="*/ 758 w 10000"/>
                <a:gd name="connsiteY333" fmla="*/ 6614 h 10000"/>
                <a:gd name="connsiteX334" fmla="*/ 732 w 10000"/>
                <a:gd name="connsiteY334" fmla="*/ 6706 h 10000"/>
                <a:gd name="connsiteX335" fmla="*/ 510 w 10000"/>
                <a:gd name="connsiteY335" fmla="*/ 6843 h 10000"/>
                <a:gd name="connsiteX336" fmla="*/ 540 w 10000"/>
                <a:gd name="connsiteY336" fmla="*/ 7040 h 10000"/>
                <a:gd name="connsiteX337" fmla="*/ 353 w 10000"/>
                <a:gd name="connsiteY337" fmla="*/ 7293 h 10000"/>
                <a:gd name="connsiteX338" fmla="*/ 226 w 10000"/>
                <a:gd name="connsiteY338" fmla="*/ 7323 h 10000"/>
                <a:gd name="connsiteX339" fmla="*/ 174 w 10000"/>
                <a:gd name="connsiteY339" fmla="*/ 7262 h 10000"/>
                <a:gd name="connsiteX340" fmla="*/ 109 w 10000"/>
                <a:gd name="connsiteY340" fmla="*/ 7354 h 10000"/>
                <a:gd name="connsiteX341" fmla="*/ 152 w 10000"/>
                <a:gd name="connsiteY341" fmla="*/ 7197 h 10000"/>
                <a:gd name="connsiteX342" fmla="*/ 126 w 10000"/>
                <a:gd name="connsiteY342"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145 w 10000"/>
                <a:gd name="connsiteY207" fmla="*/ 3267 h 10000"/>
                <a:gd name="connsiteX208" fmla="*/ 8075 w 10000"/>
                <a:gd name="connsiteY208" fmla="*/ 3147 h 10000"/>
                <a:gd name="connsiteX209" fmla="*/ 8079 w 10000"/>
                <a:gd name="connsiteY209" fmla="*/ 3127 h 10000"/>
                <a:gd name="connsiteX210" fmla="*/ 8145 w 10000"/>
                <a:gd name="connsiteY210" fmla="*/ 3064 h 10000"/>
                <a:gd name="connsiteX211" fmla="*/ 8258 w 10000"/>
                <a:gd name="connsiteY211" fmla="*/ 3037 h 10000"/>
                <a:gd name="connsiteX212" fmla="*/ 8380 w 10000"/>
                <a:gd name="connsiteY212" fmla="*/ 2860 h 10000"/>
                <a:gd name="connsiteX213" fmla="*/ 8253 w 10000"/>
                <a:gd name="connsiteY213" fmla="*/ 2762 h 10000"/>
                <a:gd name="connsiteX214" fmla="*/ 8267 w 10000"/>
                <a:gd name="connsiteY214" fmla="*/ 2748 h 10000"/>
                <a:gd name="connsiteX215" fmla="*/ 8397 w 10000"/>
                <a:gd name="connsiteY215" fmla="*/ 2705 h 10000"/>
                <a:gd name="connsiteX216" fmla="*/ 8402 w 10000"/>
                <a:gd name="connsiteY216" fmla="*/ 2662 h 10000"/>
                <a:gd name="connsiteX217" fmla="*/ 8449 w 10000"/>
                <a:gd name="connsiteY217" fmla="*/ 2656 h 10000"/>
                <a:gd name="connsiteX218" fmla="*/ 8558 w 10000"/>
                <a:gd name="connsiteY218" fmla="*/ 2677 h 10000"/>
                <a:gd name="connsiteX219" fmla="*/ 8593 w 10000"/>
                <a:gd name="connsiteY219" fmla="*/ 2669 h 10000"/>
                <a:gd name="connsiteX220" fmla="*/ 8606 w 10000"/>
                <a:gd name="connsiteY220" fmla="*/ 2630 h 10000"/>
                <a:gd name="connsiteX221" fmla="*/ 8567 w 10000"/>
                <a:gd name="connsiteY221" fmla="*/ 2605 h 10000"/>
                <a:gd name="connsiteX222" fmla="*/ 8685 w 10000"/>
                <a:gd name="connsiteY222" fmla="*/ 2597 h 10000"/>
                <a:gd name="connsiteX223" fmla="*/ 8698 w 10000"/>
                <a:gd name="connsiteY223" fmla="*/ 2565 h 10000"/>
                <a:gd name="connsiteX224" fmla="*/ 8558 w 10000"/>
                <a:gd name="connsiteY224" fmla="*/ 2481 h 10000"/>
                <a:gd name="connsiteX225" fmla="*/ 8558 w 10000"/>
                <a:gd name="connsiteY225" fmla="*/ 2459 h 10000"/>
                <a:gd name="connsiteX226" fmla="*/ 8698 w 10000"/>
                <a:gd name="connsiteY226" fmla="*/ 2504 h 10000"/>
                <a:gd name="connsiteX227" fmla="*/ 8763 w 10000"/>
                <a:gd name="connsiteY227" fmla="*/ 2548 h 10000"/>
                <a:gd name="connsiteX228" fmla="*/ 8815 w 10000"/>
                <a:gd name="connsiteY228" fmla="*/ 2548 h 10000"/>
                <a:gd name="connsiteX229" fmla="*/ 8789 w 10000"/>
                <a:gd name="connsiteY229" fmla="*/ 2457 h 10000"/>
                <a:gd name="connsiteX230" fmla="*/ 8798 w 10000"/>
                <a:gd name="connsiteY230" fmla="*/ 2467 h 10000"/>
                <a:gd name="connsiteX231" fmla="*/ 8841 w 10000"/>
                <a:gd name="connsiteY231" fmla="*/ 2457 h 10000"/>
                <a:gd name="connsiteX232" fmla="*/ 8855 w 10000"/>
                <a:gd name="connsiteY232" fmla="*/ 2341 h 10000"/>
                <a:gd name="connsiteX233" fmla="*/ 8898 w 10000"/>
                <a:gd name="connsiteY233" fmla="*/ 2332 h 10000"/>
                <a:gd name="connsiteX234" fmla="*/ 8946 w 10000"/>
                <a:gd name="connsiteY234" fmla="*/ 2330 h 10000"/>
                <a:gd name="connsiteX235" fmla="*/ 8946 w 10000"/>
                <a:gd name="connsiteY235" fmla="*/ 2361 h 10000"/>
                <a:gd name="connsiteX236" fmla="*/ 8994 w 10000"/>
                <a:gd name="connsiteY236" fmla="*/ 2389 h 10000"/>
                <a:gd name="connsiteX237" fmla="*/ 9051 w 10000"/>
                <a:gd name="connsiteY237" fmla="*/ 2400 h 10000"/>
                <a:gd name="connsiteX238" fmla="*/ 9094 w 10000"/>
                <a:gd name="connsiteY238" fmla="*/ 2324 h 10000"/>
                <a:gd name="connsiteX239" fmla="*/ 9164 w 10000"/>
                <a:gd name="connsiteY239" fmla="*/ 2347 h 10000"/>
                <a:gd name="connsiteX240" fmla="*/ 9247 w 10000"/>
                <a:gd name="connsiteY240" fmla="*/ 2402 h 10000"/>
                <a:gd name="connsiteX241" fmla="*/ 9286 w 10000"/>
                <a:gd name="connsiteY241" fmla="*/ 2400 h 10000"/>
                <a:gd name="connsiteX242" fmla="*/ 9355 w 10000"/>
                <a:gd name="connsiteY242" fmla="*/ 2428 h 10000"/>
                <a:gd name="connsiteX243" fmla="*/ 9408 w 10000"/>
                <a:gd name="connsiteY243" fmla="*/ 2359 h 10000"/>
                <a:gd name="connsiteX244" fmla="*/ 9717 w 10000"/>
                <a:gd name="connsiteY244" fmla="*/ 2343 h 10000"/>
                <a:gd name="connsiteX245" fmla="*/ 9830 w 10000"/>
                <a:gd name="connsiteY245" fmla="*/ 2369 h 10000"/>
                <a:gd name="connsiteX246" fmla="*/ 9909 w 10000"/>
                <a:gd name="connsiteY246" fmla="*/ 2410 h 10000"/>
                <a:gd name="connsiteX247" fmla="*/ 9948 w 10000"/>
                <a:gd name="connsiteY247" fmla="*/ 2365 h 10000"/>
                <a:gd name="connsiteX248" fmla="*/ 10000 w 10000"/>
                <a:gd name="connsiteY248" fmla="*/ 2349 h 10000"/>
                <a:gd name="connsiteX249" fmla="*/ 9704 w 10000"/>
                <a:gd name="connsiteY249" fmla="*/ 1992 h 10000"/>
                <a:gd name="connsiteX250" fmla="*/ 9743 w 10000"/>
                <a:gd name="connsiteY250" fmla="*/ 1897 h 10000"/>
                <a:gd name="connsiteX251" fmla="*/ 9830 w 10000"/>
                <a:gd name="connsiteY251" fmla="*/ 1819 h 10000"/>
                <a:gd name="connsiteX252" fmla="*/ 9830 w 10000"/>
                <a:gd name="connsiteY252" fmla="*/ 1699 h 10000"/>
                <a:gd name="connsiteX253" fmla="*/ 9556 w 10000"/>
                <a:gd name="connsiteY253" fmla="*/ 1465 h 10000"/>
                <a:gd name="connsiteX254" fmla="*/ 9512 w 10000"/>
                <a:gd name="connsiteY254" fmla="*/ 1379 h 10000"/>
                <a:gd name="connsiteX255" fmla="*/ 9573 w 10000"/>
                <a:gd name="connsiteY255" fmla="*/ 1271 h 10000"/>
                <a:gd name="connsiteX256" fmla="*/ 9543 w 10000"/>
                <a:gd name="connsiteY256" fmla="*/ 1194 h 10000"/>
                <a:gd name="connsiteX257" fmla="*/ 9486 w 10000"/>
                <a:gd name="connsiteY257" fmla="*/ 1159 h 10000"/>
                <a:gd name="connsiteX258" fmla="*/ 9438 w 10000"/>
                <a:gd name="connsiteY258" fmla="*/ 978 h 10000"/>
                <a:gd name="connsiteX259" fmla="*/ 9495 w 10000"/>
                <a:gd name="connsiteY259" fmla="*/ 831 h 10000"/>
                <a:gd name="connsiteX260" fmla="*/ 9077 w 10000"/>
                <a:gd name="connsiteY260" fmla="*/ 517 h 10000"/>
                <a:gd name="connsiteX261" fmla="*/ 8872 w 10000"/>
                <a:gd name="connsiteY261" fmla="*/ 440 h 10000"/>
                <a:gd name="connsiteX262" fmla="*/ 8493 w 10000"/>
                <a:gd name="connsiteY262" fmla="*/ 389 h 10000"/>
                <a:gd name="connsiteX263" fmla="*/ 7709 w 10000"/>
                <a:gd name="connsiteY263" fmla="*/ 26 h 10000"/>
                <a:gd name="connsiteX264" fmla="*/ 7683 w 10000"/>
                <a:gd name="connsiteY264" fmla="*/ 2 h 10000"/>
                <a:gd name="connsiteX265" fmla="*/ 7417 w 10000"/>
                <a:gd name="connsiteY265" fmla="*/ 0 h 10000"/>
                <a:gd name="connsiteX266" fmla="*/ 7356 w 10000"/>
                <a:gd name="connsiteY266" fmla="*/ 14 h 10000"/>
                <a:gd name="connsiteX267" fmla="*/ 7369 w 10000"/>
                <a:gd name="connsiteY267" fmla="*/ 61 h 10000"/>
                <a:gd name="connsiteX268" fmla="*/ 7422 w 10000"/>
                <a:gd name="connsiteY268" fmla="*/ 86 h 10000"/>
                <a:gd name="connsiteX269" fmla="*/ 7435 w 10000"/>
                <a:gd name="connsiteY269" fmla="*/ 139 h 10000"/>
                <a:gd name="connsiteX270" fmla="*/ 7417 w 10000"/>
                <a:gd name="connsiteY270" fmla="*/ 181 h 10000"/>
                <a:gd name="connsiteX271" fmla="*/ 7369 w 10000"/>
                <a:gd name="connsiteY271" fmla="*/ 208 h 10000"/>
                <a:gd name="connsiteX272" fmla="*/ 7334 w 10000"/>
                <a:gd name="connsiteY272" fmla="*/ 283 h 10000"/>
                <a:gd name="connsiteX273" fmla="*/ 7269 w 10000"/>
                <a:gd name="connsiteY273" fmla="*/ 336 h 10000"/>
                <a:gd name="connsiteX274" fmla="*/ 7282 w 10000"/>
                <a:gd name="connsiteY274" fmla="*/ 387 h 10000"/>
                <a:gd name="connsiteX275" fmla="*/ 7382 w 10000"/>
                <a:gd name="connsiteY275" fmla="*/ 434 h 10000"/>
                <a:gd name="connsiteX276" fmla="*/ 7317 w 10000"/>
                <a:gd name="connsiteY276" fmla="*/ 475 h 10000"/>
                <a:gd name="connsiteX277" fmla="*/ 7221 w 10000"/>
                <a:gd name="connsiteY277" fmla="*/ 485 h 10000"/>
                <a:gd name="connsiteX278" fmla="*/ 6420 w 10000"/>
                <a:gd name="connsiteY278" fmla="*/ 387 h 10000"/>
                <a:gd name="connsiteX279" fmla="*/ 6324 w 10000"/>
                <a:gd name="connsiteY279" fmla="*/ 395 h 10000"/>
                <a:gd name="connsiteX280" fmla="*/ 6267 w 10000"/>
                <a:gd name="connsiteY280" fmla="*/ 414 h 10000"/>
                <a:gd name="connsiteX281" fmla="*/ 6211 w 10000"/>
                <a:gd name="connsiteY281" fmla="*/ 462 h 10000"/>
                <a:gd name="connsiteX282" fmla="*/ 6220 w 10000"/>
                <a:gd name="connsiteY282" fmla="*/ 581 h 10000"/>
                <a:gd name="connsiteX283" fmla="*/ 6132 w 10000"/>
                <a:gd name="connsiteY283" fmla="*/ 735 h 10000"/>
                <a:gd name="connsiteX284" fmla="*/ 6024 w 10000"/>
                <a:gd name="connsiteY284" fmla="*/ 815 h 10000"/>
                <a:gd name="connsiteX285" fmla="*/ 5980 w 10000"/>
                <a:gd name="connsiteY285" fmla="*/ 805 h 10000"/>
                <a:gd name="connsiteX286" fmla="*/ 5880 w 10000"/>
                <a:gd name="connsiteY286" fmla="*/ 739 h 10000"/>
                <a:gd name="connsiteX287" fmla="*/ 5753 w 10000"/>
                <a:gd name="connsiteY287" fmla="*/ 705 h 10000"/>
                <a:gd name="connsiteX288" fmla="*/ 5618 w 10000"/>
                <a:gd name="connsiteY288" fmla="*/ 715 h 10000"/>
                <a:gd name="connsiteX289" fmla="*/ 5301 w 10000"/>
                <a:gd name="connsiteY289" fmla="*/ 866 h 10000"/>
                <a:gd name="connsiteX290" fmla="*/ 5218 w 10000"/>
                <a:gd name="connsiteY290" fmla="*/ 1017 h 10000"/>
                <a:gd name="connsiteX291" fmla="*/ 4978 w 10000"/>
                <a:gd name="connsiteY291" fmla="*/ 1153 h 10000"/>
                <a:gd name="connsiteX292" fmla="*/ 4935 w 10000"/>
                <a:gd name="connsiteY292" fmla="*/ 1222 h 10000"/>
                <a:gd name="connsiteX293" fmla="*/ 5061 w 10000"/>
                <a:gd name="connsiteY293" fmla="*/ 1344 h 10000"/>
                <a:gd name="connsiteX294" fmla="*/ 5074 w 10000"/>
                <a:gd name="connsiteY294" fmla="*/ 1412 h 10000"/>
                <a:gd name="connsiteX295" fmla="*/ 4421 w 10000"/>
                <a:gd name="connsiteY295" fmla="*/ 1813 h 10000"/>
                <a:gd name="connsiteX296" fmla="*/ 4220 w 10000"/>
                <a:gd name="connsiteY296" fmla="*/ 2070 h 10000"/>
                <a:gd name="connsiteX297" fmla="*/ 4003 w 10000"/>
                <a:gd name="connsiteY297" fmla="*/ 2135 h 10000"/>
                <a:gd name="connsiteX298" fmla="*/ 3868 w 10000"/>
                <a:gd name="connsiteY298" fmla="*/ 2131 h 10000"/>
                <a:gd name="connsiteX299" fmla="*/ 3785 w 10000"/>
                <a:gd name="connsiteY299" fmla="*/ 2153 h 10000"/>
                <a:gd name="connsiteX300" fmla="*/ 3558 w 10000"/>
                <a:gd name="connsiteY300" fmla="*/ 2793 h 10000"/>
                <a:gd name="connsiteX301" fmla="*/ 3036 w 10000"/>
                <a:gd name="connsiteY301" fmla="*/ 3166 h 10000"/>
                <a:gd name="connsiteX302" fmla="*/ 3040 w 10000"/>
                <a:gd name="connsiteY302" fmla="*/ 3225 h 10000"/>
                <a:gd name="connsiteX303" fmla="*/ 3271 w 10000"/>
                <a:gd name="connsiteY303" fmla="*/ 3392 h 10000"/>
                <a:gd name="connsiteX304" fmla="*/ 3197 w 10000"/>
                <a:gd name="connsiteY304" fmla="*/ 3573 h 10000"/>
                <a:gd name="connsiteX305" fmla="*/ 3062 w 10000"/>
                <a:gd name="connsiteY305" fmla="*/ 3640 h 10000"/>
                <a:gd name="connsiteX306" fmla="*/ 2657 w 10000"/>
                <a:gd name="connsiteY306" fmla="*/ 3595 h 10000"/>
                <a:gd name="connsiteX307" fmla="*/ 2378 w 10000"/>
                <a:gd name="connsiteY307" fmla="*/ 3620 h 10000"/>
                <a:gd name="connsiteX308" fmla="*/ 2152 w 10000"/>
                <a:gd name="connsiteY308" fmla="*/ 3673 h 10000"/>
                <a:gd name="connsiteX309" fmla="*/ 1790 w 10000"/>
                <a:gd name="connsiteY309" fmla="*/ 3840 h 10000"/>
                <a:gd name="connsiteX310" fmla="*/ 1598 w 10000"/>
                <a:gd name="connsiteY310" fmla="*/ 4042 h 10000"/>
                <a:gd name="connsiteX311" fmla="*/ 1616 w 10000"/>
                <a:gd name="connsiteY311" fmla="*/ 4154 h 10000"/>
                <a:gd name="connsiteX312" fmla="*/ 1681 w 10000"/>
                <a:gd name="connsiteY312" fmla="*/ 4241 h 10000"/>
                <a:gd name="connsiteX313" fmla="*/ 1733 w 10000"/>
                <a:gd name="connsiteY313" fmla="*/ 4276 h 10000"/>
                <a:gd name="connsiteX314" fmla="*/ 1638 w 10000"/>
                <a:gd name="connsiteY314" fmla="*/ 4331 h 10000"/>
                <a:gd name="connsiteX315" fmla="*/ 1433 w 10000"/>
                <a:gd name="connsiteY315" fmla="*/ 4710 h 10000"/>
                <a:gd name="connsiteX316" fmla="*/ 1472 w 10000"/>
                <a:gd name="connsiteY316" fmla="*/ 4732 h 10000"/>
                <a:gd name="connsiteX317" fmla="*/ 1503 w 10000"/>
                <a:gd name="connsiteY317" fmla="*/ 4828 h 10000"/>
                <a:gd name="connsiteX318" fmla="*/ 1407 w 10000"/>
                <a:gd name="connsiteY318" fmla="*/ 5227 h 10000"/>
                <a:gd name="connsiteX319" fmla="*/ 1503 w 10000"/>
                <a:gd name="connsiteY319" fmla="*/ 5329 h 10000"/>
                <a:gd name="connsiteX320" fmla="*/ 1764 w 10000"/>
                <a:gd name="connsiteY320" fmla="*/ 5441 h 10000"/>
                <a:gd name="connsiteX321" fmla="*/ 1777 w 10000"/>
                <a:gd name="connsiteY321" fmla="*/ 5578 h 10000"/>
                <a:gd name="connsiteX322" fmla="*/ 1664 w 10000"/>
                <a:gd name="connsiteY322" fmla="*/ 5690 h 10000"/>
                <a:gd name="connsiteX323" fmla="*/ 1503 w 10000"/>
                <a:gd name="connsiteY323" fmla="*/ 5759 h 10000"/>
                <a:gd name="connsiteX324" fmla="*/ 1289 w 10000"/>
                <a:gd name="connsiteY324" fmla="*/ 5787 h 10000"/>
                <a:gd name="connsiteX325" fmla="*/ 1233 w 10000"/>
                <a:gd name="connsiteY325" fmla="*/ 5826 h 10000"/>
                <a:gd name="connsiteX326" fmla="*/ 1359 w 10000"/>
                <a:gd name="connsiteY326" fmla="*/ 5920 h 10000"/>
                <a:gd name="connsiteX327" fmla="*/ 1429 w 10000"/>
                <a:gd name="connsiteY327" fmla="*/ 6142 h 10000"/>
                <a:gd name="connsiteX328" fmla="*/ 1267 w 10000"/>
                <a:gd name="connsiteY328" fmla="*/ 6333 h 10000"/>
                <a:gd name="connsiteX329" fmla="*/ 1324 w 10000"/>
                <a:gd name="connsiteY329" fmla="*/ 6392 h 10000"/>
                <a:gd name="connsiteX330" fmla="*/ 1272 w 10000"/>
                <a:gd name="connsiteY330" fmla="*/ 6492 h 10000"/>
                <a:gd name="connsiteX331" fmla="*/ 1167 w 10000"/>
                <a:gd name="connsiteY331" fmla="*/ 6561 h 10000"/>
                <a:gd name="connsiteX332" fmla="*/ 758 w 10000"/>
                <a:gd name="connsiteY332" fmla="*/ 6614 h 10000"/>
                <a:gd name="connsiteX333" fmla="*/ 732 w 10000"/>
                <a:gd name="connsiteY333" fmla="*/ 6706 h 10000"/>
                <a:gd name="connsiteX334" fmla="*/ 510 w 10000"/>
                <a:gd name="connsiteY334" fmla="*/ 6843 h 10000"/>
                <a:gd name="connsiteX335" fmla="*/ 540 w 10000"/>
                <a:gd name="connsiteY335" fmla="*/ 7040 h 10000"/>
                <a:gd name="connsiteX336" fmla="*/ 353 w 10000"/>
                <a:gd name="connsiteY336" fmla="*/ 7293 h 10000"/>
                <a:gd name="connsiteX337" fmla="*/ 226 w 10000"/>
                <a:gd name="connsiteY337" fmla="*/ 7323 h 10000"/>
                <a:gd name="connsiteX338" fmla="*/ 174 w 10000"/>
                <a:gd name="connsiteY338" fmla="*/ 7262 h 10000"/>
                <a:gd name="connsiteX339" fmla="*/ 109 w 10000"/>
                <a:gd name="connsiteY339" fmla="*/ 7354 h 10000"/>
                <a:gd name="connsiteX340" fmla="*/ 152 w 10000"/>
                <a:gd name="connsiteY340" fmla="*/ 7197 h 10000"/>
                <a:gd name="connsiteX341" fmla="*/ 126 w 10000"/>
                <a:gd name="connsiteY341"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145 w 10000"/>
                <a:gd name="connsiteY207" fmla="*/ 3267 h 10000"/>
                <a:gd name="connsiteX208" fmla="*/ 8075 w 10000"/>
                <a:gd name="connsiteY208" fmla="*/ 3147 h 10000"/>
                <a:gd name="connsiteX209" fmla="*/ 8079 w 10000"/>
                <a:gd name="connsiteY209" fmla="*/ 3127 h 10000"/>
                <a:gd name="connsiteX210" fmla="*/ 8145 w 10000"/>
                <a:gd name="connsiteY210" fmla="*/ 3064 h 10000"/>
                <a:gd name="connsiteX211" fmla="*/ 8380 w 10000"/>
                <a:gd name="connsiteY211" fmla="*/ 2860 h 10000"/>
                <a:gd name="connsiteX212" fmla="*/ 8253 w 10000"/>
                <a:gd name="connsiteY212" fmla="*/ 2762 h 10000"/>
                <a:gd name="connsiteX213" fmla="*/ 8267 w 10000"/>
                <a:gd name="connsiteY213" fmla="*/ 2748 h 10000"/>
                <a:gd name="connsiteX214" fmla="*/ 8397 w 10000"/>
                <a:gd name="connsiteY214" fmla="*/ 2705 h 10000"/>
                <a:gd name="connsiteX215" fmla="*/ 8402 w 10000"/>
                <a:gd name="connsiteY215" fmla="*/ 2662 h 10000"/>
                <a:gd name="connsiteX216" fmla="*/ 8449 w 10000"/>
                <a:gd name="connsiteY216" fmla="*/ 2656 h 10000"/>
                <a:gd name="connsiteX217" fmla="*/ 8558 w 10000"/>
                <a:gd name="connsiteY217" fmla="*/ 2677 h 10000"/>
                <a:gd name="connsiteX218" fmla="*/ 8593 w 10000"/>
                <a:gd name="connsiteY218" fmla="*/ 2669 h 10000"/>
                <a:gd name="connsiteX219" fmla="*/ 8606 w 10000"/>
                <a:gd name="connsiteY219" fmla="*/ 2630 h 10000"/>
                <a:gd name="connsiteX220" fmla="*/ 8567 w 10000"/>
                <a:gd name="connsiteY220" fmla="*/ 2605 h 10000"/>
                <a:gd name="connsiteX221" fmla="*/ 8685 w 10000"/>
                <a:gd name="connsiteY221" fmla="*/ 2597 h 10000"/>
                <a:gd name="connsiteX222" fmla="*/ 8698 w 10000"/>
                <a:gd name="connsiteY222" fmla="*/ 2565 h 10000"/>
                <a:gd name="connsiteX223" fmla="*/ 8558 w 10000"/>
                <a:gd name="connsiteY223" fmla="*/ 2481 h 10000"/>
                <a:gd name="connsiteX224" fmla="*/ 8558 w 10000"/>
                <a:gd name="connsiteY224" fmla="*/ 2459 h 10000"/>
                <a:gd name="connsiteX225" fmla="*/ 8698 w 10000"/>
                <a:gd name="connsiteY225" fmla="*/ 2504 h 10000"/>
                <a:gd name="connsiteX226" fmla="*/ 8763 w 10000"/>
                <a:gd name="connsiteY226" fmla="*/ 2548 h 10000"/>
                <a:gd name="connsiteX227" fmla="*/ 8815 w 10000"/>
                <a:gd name="connsiteY227" fmla="*/ 2548 h 10000"/>
                <a:gd name="connsiteX228" fmla="*/ 8789 w 10000"/>
                <a:gd name="connsiteY228" fmla="*/ 2457 h 10000"/>
                <a:gd name="connsiteX229" fmla="*/ 8798 w 10000"/>
                <a:gd name="connsiteY229" fmla="*/ 2467 h 10000"/>
                <a:gd name="connsiteX230" fmla="*/ 8841 w 10000"/>
                <a:gd name="connsiteY230" fmla="*/ 2457 h 10000"/>
                <a:gd name="connsiteX231" fmla="*/ 8855 w 10000"/>
                <a:gd name="connsiteY231" fmla="*/ 2341 h 10000"/>
                <a:gd name="connsiteX232" fmla="*/ 8898 w 10000"/>
                <a:gd name="connsiteY232" fmla="*/ 2332 h 10000"/>
                <a:gd name="connsiteX233" fmla="*/ 8946 w 10000"/>
                <a:gd name="connsiteY233" fmla="*/ 2330 h 10000"/>
                <a:gd name="connsiteX234" fmla="*/ 8946 w 10000"/>
                <a:gd name="connsiteY234" fmla="*/ 2361 h 10000"/>
                <a:gd name="connsiteX235" fmla="*/ 8994 w 10000"/>
                <a:gd name="connsiteY235" fmla="*/ 2389 h 10000"/>
                <a:gd name="connsiteX236" fmla="*/ 9051 w 10000"/>
                <a:gd name="connsiteY236" fmla="*/ 2400 h 10000"/>
                <a:gd name="connsiteX237" fmla="*/ 9094 w 10000"/>
                <a:gd name="connsiteY237" fmla="*/ 2324 h 10000"/>
                <a:gd name="connsiteX238" fmla="*/ 9164 w 10000"/>
                <a:gd name="connsiteY238" fmla="*/ 2347 h 10000"/>
                <a:gd name="connsiteX239" fmla="*/ 9247 w 10000"/>
                <a:gd name="connsiteY239" fmla="*/ 2402 h 10000"/>
                <a:gd name="connsiteX240" fmla="*/ 9286 w 10000"/>
                <a:gd name="connsiteY240" fmla="*/ 2400 h 10000"/>
                <a:gd name="connsiteX241" fmla="*/ 9355 w 10000"/>
                <a:gd name="connsiteY241" fmla="*/ 2428 h 10000"/>
                <a:gd name="connsiteX242" fmla="*/ 9408 w 10000"/>
                <a:gd name="connsiteY242" fmla="*/ 2359 h 10000"/>
                <a:gd name="connsiteX243" fmla="*/ 9717 w 10000"/>
                <a:gd name="connsiteY243" fmla="*/ 2343 h 10000"/>
                <a:gd name="connsiteX244" fmla="*/ 9830 w 10000"/>
                <a:gd name="connsiteY244" fmla="*/ 2369 h 10000"/>
                <a:gd name="connsiteX245" fmla="*/ 9909 w 10000"/>
                <a:gd name="connsiteY245" fmla="*/ 2410 h 10000"/>
                <a:gd name="connsiteX246" fmla="*/ 9948 w 10000"/>
                <a:gd name="connsiteY246" fmla="*/ 2365 h 10000"/>
                <a:gd name="connsiteX247" fmla="*/ 10000 w 10000"/>
                <a:gd name="connsiteY247" fmla="*/ 2349 h 10000"/>
                <a:gd name="connsiteX248" fmla="*/ 9704 w 10000"/>
                <a:gd name="connsiteY248" fmla="*/ 1992 h 10000"/>
                <a:gd name="connsiteX249" fmla="*/ 9743 w 10000"/>
                <a:gd name="connsiteY249" fmla="*/ 1897 h 10000"/>
                <a:gd name="connsiteX250" fmla="*/ 9830 w 10000"/>
                <a:gd name="connsiteY250" fmla="*/ 1819 h 10000"/>
                <a:gd name="connsiteX251" fmla="*/ 9830 w 10000"/>
                <a:gd name="connsiteY251" fmla="*/ 1699 h 10000"/>
                <a:gd name="connsiteX252" fmla="*/ 9556 w 10000"/>
                <a:gd name="connsiteY252" fmla="*/ 1465 h 10000"/>
                <a:gd name="connsiteX253" fmla="*/ 9512 w 10000"/>
                <a:gd name="connsiteY253" fmla="*/ 1379 h 10000"/>
                <a:gd name="connsiteX254" fmla="*/ 9573 w 10000"/>
                <a:gd name="connsiteY254" fmla="*/ 1271 h 10000"/>
                <a:gd name="connsiteX255" fmla="*/ 9543 w 10000"/>
                <a:gd name="connsiteY255" fmla="*/ 1194 h 10000"/>
                <a:gd name="connsiteX256" fmla="*/ 9486 w 10000"/>
                <a:gd name="connsiteY256" fmla="*/ 1159 h 10000"/>
                <a:gd name="connsiteX257" fmla="*/ 9438 w 10000"/>
                <a:gd name="connsiteY257" fmla="*/ 978 h 10000"/>
                <a:gd name="connsiteX258" fmla="*/ 9495 w 10000"/>
                <a:gd name="connsiteY258" fmla="*/ 831 h 10000"/>
                <a:gd name="connsiteX259" fmla="*/ 9077 w 10000"/>
                <a:gd name="connsiteY259" fmla="*/ 517 h 10000"/>
                <a:gd name="connsiteX260" fmla="*/ 8872 w 10000"/>
                <a:gd name="connsiteY260" fmla="*/ 440 h 10000"/>
                <a:gd name="connsiteX261" fmla="*/ 8493 w 10000"/>
                <a:gd name="connsiteY261" fmla="*/ 389 h 10000"/>
                <a:gd name="connsiteX262" fmla="*/ 7709 w 10000"/>
                <a:gd name="connsiteY262" fmla="*/ 26 h 10000"/>
                <a:gd name="connsiteX263" fmla="*/ 7683 w 10000"/>
                <a:gd name="connsiteY263" fmla="*/ 2 h 10000"/>
                <a:gd name="connsiteX264" fmla="*/ 7417 w 10000"/>
                <a:gd name="connsiteY264" fmla="*/ 0 h 10000"/>
                <a:gd name="connsiteX265" fmla="*/ 7356 w 10000"/>
                <a:gd name="connsiteY265" fmla="*/ 14 h 10000"/>
                <a:gd name="connsiteX266" fmla="*/ 7369 w 10000"/>
                <a:gd name="connsiteY266" fmla="*/ 61 h 10000"/>
                <a:gd name="connsiteX267" fmla="*/ 7422 w 10000"/>
                <a:gd name="connsiteY267" fmla="*/ 86 h 10000"/>
                <a:gd name="connsiteX268" fmla="*/ 7435 w 10000"/>
                <a:gd name="connsiteY268" fmla="*/ 139 h 10000"/>
                <a:gd name="connsiteX269" fmla="*/ 7417 w 10000"/>
                <a:gd name="connsiteY269" fmla="*/ 181 h 10000"/>
                <a:gd name="connsiteX270" fmla="*/ 7369 w 10000"/>
                <a:gd name="connsiteY270" fmla="*/ 208 h 10000"/>
                <a:gd name="connsiteX271" fmla="*/ 7334 w 10000"/>
                <a:gd name="connsiteY271" fmla="*/ 283 h 10000"/>
                <a:gd name="connsiteX272" fmla="*/ 7269 w 10000"/>
                <a:gd name="connsiteY272" fmla="*/ 336 h 10000"/>
                <a:gd name="connsiteX273" fmla="*/ 7282 w 10000"/>
                <a:gd name="connsiteY273" fmla="*/ 387 h 10000"/>
                <a:gd name="connsiteX274" fmla="*/ 7382 w 10000"/>
                <a:gd name="connsiteY274" fmla="*/ 434 h 10000"/>
                <a:gd name="connsiteX275" fmla="*/ 7317 w 10000"/>
                <a:gd name="connsiteY275" fmla="*/ 475 h 10000"/>
                <a:gd name="connsiteX276" fmla="*/ 7221 w 10000"/>
                <a:gd name="connsiteY276" fmla="*/ 485 h 10000"/>
                <a:gd name="connsiteX277" fmla="*/ 6420 w 10000"/>
                <a:gd name="connsiteY277" fmla="*/ 387 h 10000"/>
                <a:gd name="connsiteX278" fmla="*/ 6324 w 10000"/>
                <a:gd name="connsiteY278" fmla="*/ 395 h 10000"/>
                <a:gd name="connsiteX279" fmla="*/ 6267 w 10000"/>
                <a:gd name="connsiteY279" fmla="*/ 414 h 10000"/>
                <a:gd name="connsiteX280" fmla="*/ 6211 w 10000"/>
                <a:gd name="connsiteY280" fmla="*/ 462 h 10000"/>
                <a:gd name="connsiteX281" fmla="*/ 6220 w 10000"/>
                <a:gd name="connsiteY281" fmla="*/ 581 h 10000"/>
                <a:gd name="connsiteX282" fmla="*/ 6132 w 10000"/>
                <a:gd name="connsiteY282" fmla="*/ 735 h 10000"/>
                <a:gd name="connsiteX283" fmla="*/ 6024 w 10000"/>
                <a:gd name="connsiteY283" fmla="*/ 815 h 10000"/>
                <a:gd name="connsiteX284" fmla="*/ 5980 w 10000"/>
                <a:gd name="connsiteY284" fmla="*/ 805 h 10000"/>
                <a:gd name="connsiteX285" fmla="*/ 5880 w 10000"/>
                <a:gd name="connsiteY285" fmla="*/ 739 h 10000"/>
                <a:gd name="connsiteX286" fmla="*/ 5753 w 10000"/>
                <a:gd name="connsiteY286" fmla="*/ 705 h 10000"/>
                <a:gd name="connsiteX287" fmla="*/ 5618 w 10000"/>
                <a:gd name="connsiteY287" fmla="*/ 715 h 10000"/>
                <a:gd name="connsiteX288" fmla="*/ 5301 w 10000"/>
                <a:gd name="connsiteY288" fmla="*/ 866 h 10000"/>
                <a:gd name="connsiteX289" fmla="*/ 5218 w 10000"/>
                <a:gd name="connsiteY289" fmla="*/ 1017 h 10000"/>
                <a:gd name="connsiteX290" fmla="*/ 4978 w 10000"/>
                <a:gd name="connsiteY290" fmla="*/ 1153 h 10000"/>
                <a:gd name="connsiteX291" fmla="*/ 4935 w 10000"/>
                <a:gd name="connsiteY291" fmla="*/ 1222 h 10000"/>
                <a:gd name="connsiteX292" fmla="*/ 5061 w 10000"/>
                <a:gd name="connsiteY292" fmla="*/ 1344 h 10000"/>
                <a:gd name="connsiteX293" fmla="*/ 5074 w 10000"/>
                <a:gd name="connsiteY293" fmla="*/ 1412 h 10000"/>
                <a:gd name="connsiteX294" fmla="*/ 4421 w 10000"/>
                <a:gd name="connsiteY294" fmla="*/ 1813 h 10000"/>
                <a:gd name="connsiteX295" fmla="*/ 4220 w 10000"/>
                <a:gd name="connsiteY295" fmla="*/ 2070 h 10000"/>
                <a:gd name="connsiteX296" fmla="*/ 4003 w 10000"/>
                <a:gd name="connsiteY296" fmla="*/ 2135 h 10000"/>
                <a:gd name="connsiteX297" fmla="*/ 3868 w 10000"/>
                <a:gd name="connsiteY297" fmla="*/ 2131 h 10000"/>
                <a:gd name="connsiteX298" fmla="*/ 3785 w 10000"/>
                <a:gd name="connsiteY298" fmla="*/ 2153 h 10000"/>
                <a:gd name="connsiteX299" fmla="*/ 3558 w 10000"/>
                <a:gd name="connsiteY299" fmla="*/ 2793 h 10000"/>
                <a:gd name="connsiteX300" fmla="*/ 3036 w 10000"/>
                <a:gd name="connsiteY300" fmla="*/ 3166 h 10000"/>
                <a:gd name="connsiteX301" fmla="*/ 3040 w 10000"/>
                <a:gd name="connsiteY301" fmla="*/ 3225 h 10000"/>
                <a:gd name="connsiteX302" fmla="*/ 3271 w 10000"/>
                <a:gd name="connsiteY302" fmla="*/ 3392 h 10000"/>
                <a:gd name="connsiteX303" fmla="*/ 3197 w 10000"/>
                <a:gd name="connsiteY303" fmla="*/ 3573 h 10000"/>
                <a:gd name="connsiteX304" fmla="*/ 3062 w 10000"/>
                <a:gd name="connsiteY304" fmla="*/ 3640 h 10000"/>
                <a:gd name="connsiteX305" fmla="*/ 2657 w 10000"/>
                <a:gd name="connsiteY305" fmla="*/ 3595 h 10000"/>
                <a:gd name="connsiteX306" fmla="*/ 2378 w 10000"/>
                <a:gd name="connsiteY306" fmla="*/ 3620 h 10000"/>
                <a:gd name="connsiteX307" fmla="*/ 2152 w 10000"/>
                <a:gd name="connsiteY307" fmla="*/ 3673 h 10000"/>
                <a:gd name="connsiteX308" fmla="*/ 1790 w 10000"/>
                <a:gd name="connsiteY308" fmla="*/ 3840 h 10000"/>
                <a:gd name="connsiteX309" fmla="*/ 1598 w 10000"/>
                <a:gd name="connsiteY309" fmla="*/ 4042 h 10000"/>
                <a:gd name="connsiteX310" fmla="*/ 1616 w 10000"/>
                <a:gd name="connsiteY310" fmla="*/ 4154 h 10000"/>
                <a:gd name="connsiteX311" fmla="*/ 1681 w 10000"/>
                <a:gd name="connsiteY311" fmla="*/ 4241 h 10000"/>
                <a:gd name="connsiteX312" fmla="*/ 1733 w 10000"/>
                <a:gd name="connsiteY312" fmla="*/ 4276 h 10000"/>
                <a:gd name="connsiteX313" fmla="*/ 1638 w 10000"/>
                <a:gd name="connsiteY313" fmla="*/ 4331 h 10000"/>
                <a:gd name="connsiteX314" fmla="*/ 1433 w 10000"/>
                <a:gd name="connsiteY314" fmla="*/ 4710 h 10000"/>
                <a:gd name="connsiteX315" fmla="*/ 1472 w 10000"/>
                <a:gd name="connsiteY315" fmla="*/ 4732 h 10000"/>
                <a:gd name="connsiteX316" fmla="*/ 1503 w 10000"/>
                <a:gd name="connsiteY316" fmla="*/ 4828 h 10000"/>
                <a:gd name="connsiteX317" fmla="*/ 1407 w 10000"/>
                <a:gd name="connsiteY317" fmla="*/ 5227 h 10000"/>
                <a:gd name="connsiteX318" fmla="*/ 1503 w 10000"/>
                <a:gd name="connsiteY318" fmla="*/ 5329 h 10000"/>
                <a:gd name="connsiteX319" fmla="*/ 1764 w 10000"/>
                <a:gd name="connsiteY319" fmla="*/ 5441 h 10000"/>
                <a:gd name="connsiteX320" fmla="*/ 1777 w 10000"/>
                <a:gd name="connsiteY320" fmla="*/ 5578 h 10000"/>
                <a:gd name="connsiteX321" fmla="*/ 1664 w 10000"/>
                <a:gd name="connsiteY321" fmla="*/ 5690 h 10000"/>
                <a:gd name="connsiteX322" fmla="*/ 1503 w 10000"/>
                <a:gd name="connsiteY322" fmla="*/ 5759 h 10000"/>
                <a:gd name="connsiteX323" fmla="*/ 1289 w 10000"/>
                <a:gd name="connsiteY323" fmla="*/ 5787 h 10000"/>
                <a:gd name="connsiteX324" fmla="*/ 1233 w 10000"/>
                <a:gd name="connsiteY324" fmla="*/ 5826 h 10000"/>
                <a:gd name="connsiteX325" fmla="*/ 1359 w 10000"/>
                <a:gd name="connsiteY325" fmla="*/ 5920 h 10000"/>
                <a:gd name="connsiteX326" fmla="*/ 1429 w 10000"/>
                <a:gd name="connsiteY326" fmla="*/ 6142 h 10000"/>
                <a:gd name="connsiteX327" fmla="*/ 1267 w 10000"/>
                <a:gd name="connsiteY327" fmla="*/ 6333 h 10000"/>
                <a:gd name="connsiteX328" fmla="*/ 1324 w 10000"/>
                <a:gd name="connsiteY328" fmla="*/ 6392 h 10000"/>
                <a:gd name="connsiteX329" fmla="*/ 1272 w 10000"/>
                <a:gd name="connsiteY329" fmla="*/ 6492 h 10000"/>
                <a:gd name="connsiteX330" fmla="*/ 1167 w 10000"/>
                <a:gd name="connsiteY330" fmla="*/ 6561 h 10000"/>
                <a:gd name="connsiteX331" fmla="*/ 758 w 10000"/>
                <a:gd name="connsiteY331" fmla="*/ 6614 h 10000"/>
                <a:gd name="connsiteX332" fmla="*/ 732 w 10000"/>
                <a:gd name="connsiteY332" fmla="*/ 6706 h 10000"/>
                <a:gd name="connsiteX333" fmla="*/ 510 w 10000"/>
                <a:gd name="connsiteY333" fmla="*/ 6843 h 10000"/>
                <a:gd name="connsiteX334" fmla="*/ 540 w 10000"/>
                <a:gd name="connsiteY334" fmla="*/ 7040 h 10000"/>
                <a:gd name="connsiteX335" fmla="*/ 353 w 10000"/>
                <a:gd name="connsiteY335" fmla="*/ 7293 h 10000"/>
                <a:gd name="connsiteX336" fmla="*/ 226 w 10000"/>
                <a:gd name="connsiteY336" fmla="*/ 7323 h 10000"/>
                <a:gd name="connsiteX337" fmla="*/ 174 w 10000"/>
                <a:gd name="connsiteY337" fmla="*/ 7262 h 10000"/>
                <a:gd name="connsiteX338" fmla="*/ 109 w 10000"/>
                <a:gd name="connsiteY338" fmla="*/ 7354 h 10000"/>
                <a:gd name="connsiteX339" fmla="*/ 152 w 10000"/>
                <a:gd name="connsiteY339" fmla="*/ 7197 h 10000"/>
                <a:gd name="connsiteX340" fmla="*/ 126 w 10000"/>
                <a:gd name="connsiteY340"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145 w 10000"/>
                <a:gd name="connsiteY207" fmla="*/ 3267 h 10000"/>
                <a:gd name="connsiteX208" fmla="*/ 8075 w 10000"/>
                <a:gd name="connsiteY208" fmla="*/ 3147 h 10000"/>
                <a:gd name="connsiteX209" fmla="*/ 8079 w 10000"/>
                <a:gd name="connsiteY209" fmla="*/ 3127 h 10000"/>
                <a:gd name="connsiteX210" fmla="*/ 8380 w 10000"/>
                <a:gd name="connsiteY210" fmla="*/ 2860 h 10000"/>
                <a:gd name="connsiteX211" fmla="*/ 8253 w 10000"/>
                <a:gd name="connsiteY211" fmla="*/ 2762 h 10000"/>
                <a:gd name="connsiteX212" fmla="*/ 8267 w 10000"/>
                <a:gd name="connsiteY212" fmla="*/ 2748 h 10000"/>
                <a:gd name="connsiteX213" fmla="*/ 8397 w 10000"/>
                <a:gd name="connsiteY213" fmla="*/ 2705 h 10000"/>
                <a:gd name="connsiteX214" fmla="*/ 8402 w 10000"/>
                <a:gd name="connsiteY214" fmla="*/ 2662 h 10000"/>
                <a:gd name="connsiteX215" fmla="*/ 8449 w 10000"/>
                <a:gd name="connsiteY215" fmla="*/ 2656 h 10000"/>
                <a:gd name="connsiteX216" fmla="*/ 8558 w 10000"/>
                <a:gd name="connsiteY216" fmla="*/ 2677 h 10000"/>
                <a:gd name="connsiteX217" fmla="*/ 8593 w 10000"/>
                <a:gd name="connsiteY217" fmla="*/ 2669 h 10000"/>
                <a:gd name="connsiteX218" fmla="*/ 8606 w 10000"/>
                <a:gd name="connsiteY218" fmla="*/ 2630 h 10000"/>
                <a:gd name="connsiteX219" fmla="*/ 8567 w 10000"/>
                <a:gd name="connsiteY219" fmla="*/ 2605 h 10000"/>
                <a:gd name="connsiteX220" fmla="*/ 8685 w 10000"/>
                <a:gd name="connsiteY220" fmla="*/ 2597 h 10000"/>
                <a:gd name="connsiteX221" fmla="*/ 8698 w 10000"/>
                <a:gd name="connsiteY221" fmla="*/ 2565 h 10000"/>
                <a:gd name="connsiteX222" fmla="*/ 8558 w 10000"/>
                <a:gd name="connsiteY222" fmla="*/ 2481 h 10000"/>
                <a:gd name="connsiteX223" fmla="*/ 8558 w 10000"/>
                <a:gd name="connsiteY223" fmla="*/ 2459 h 10000"/>
                <a:gd name="connsiteX224" fmla="*/ 8698 w 10000"/>
                <a:gd name="connsiteY224" fmla="*/ 2504 h 10000"/>
                <a:gd name="connsiteX225" fmla="*/ 8763 w 10000"/>
                <a:gd name="connsiteY225" fmla="*/ 2548 h 10000"/>
                <a:gd name="connsiteX226" fmla="*/ 8815 w 10000"/>
                <a:gd name="connsiteY226" fmla="*/ 2548 h 10000"/>
                <a:gd name="connsiteX227" fmla="*/ 8789 w 10000"/>
                <a:gd name="connsiteY227" fmla="*/ 2457 h 10000"/>
                <a:gd name="connsiteX228" fmla="*/ 8798 w 10000"/>
                <a:gd name="connsiteY228" fmla="*/ 2467 h 10000"/>
                <a:gd name="connsiteX229" fmla="*/ 8841 w 10000"/>
                <a:gd name="connsiteY229" fmla="*/ 2457 h 10000"/>
                <a:gd name="connsiteX230" fmla="*/ 8855 w 10000"/>
                <a:gd name="connsiteY230" fmla="*/ 2341 h 10000"/>
                <a:gd name="connsiteX231" fmla="*/ 8898 w 10000"/>
                <a:gd name="connsiteY231" fmla="*/ 2332 h 10000"/>
                <a:gd name="connsiteX232" fmla="*/ 8946 w 10000"/>
                <a:gd name="connsiteY232" fmla="*/ 2330 h 10000"/>
                <a:gd name="connsiteX233" fmla="*/ 8946 w 10000"/>
                <a:gd name="connsiteY233" fmla="*/ 2361 h 10000"/>
                <a:gd name="connsiteX234" fmla="*/ 8994 w 10000"/>
                <a:gd name="connsiteY234" fmla="*/ 2389 h 10000"/>
                <a:gd name="connsiteX235" fmla="*/ 9051 w 10000"/>
                <a:gd name="connsiteY235" fmla="*/ 2400 h 10000"/>
                <a:gd name="connsiteX236" fmla="*/ 9094 w 10000"/>
                <a:gd name="connsiteY236" fmla="*/ 2324 h 10000"/>
                <a:gd name="connsiteX237" fmla="*/ 9164 w 10000"/>
                <a:gd name="connsiteY237" fmla="*/ 2347 h 10000"/>
                <a:gd name="connsiteX238" fmla="*/ 9247 w 10000"/>
                <a:gd name="connsiteY238" fmla="*/ 2402 h 10000"/>
                <a:gd name="connsiteX239" fmla="*/ 9286 w 10000"/>
                <a:gd name="connsiteY239" fmla="*/ 2400 h 10000"/>
                <a:gd name="connsiteX240" fmla="*/ 9355 w 10000"/>
                <a:gd name="connsiteY240" fmla="*/ 2428 h 10000"/>
                <a:gd name="connsiteX241" fmla="*/ 9408 w 10000"/>
                <a:gd name="connsiteY241" fmla="*/ 2359 h 10000"/>
                <a:gd name="connsiteX242" fmla="*/ 9717 w 10000"/>
                <a:gd name="connsiteY242" fmla="*/ 2343 h 10000"/>
                <a:gd name="connsiteX243" fmla="*/ 9830 w 10000"/>
                <a:gd name="connsiteY243" fmla="*/ 2369 h 10000"/>
                <a:gd name="connsiteX244" fmla="*/ 9909 w 10000"/>
                <a:gd name="connsiteY244" fmla="*/ 2410 h 10000"/>
                <a:gd name="connsiteX245" fmla="*/ 9948 w 10000"/>
                <a:gd name="connsiteY245" fmla="*/ 2365 h 10000"/>
                <a:gd name="connsiteX246" fmla="*/ 10000 w 10000"/>
                <a:gd name="connsiteY246" fmla="*/ 2349 h 10000"/>
                <a:gd name="connsiteX247" fmla="*/ 9704 w 10000"/>
                <a:gd name="connsiteY247" fmla="*/ 1992 h 10000"/>
                <a:gd name="connsiteX248" fmla="*/ 9743 w 10000"/>
                <a:gd name="connsiteY248" fmla="*/ 1897 h 10000"/>
                <a:gd name="connsiteX249" fmla="*/ 9830 w 10000"/>
                <a:gd name="connsiteY249" fmla="*/ 1819 h 10000"/>
                <a:gd name="connsiteX250" fmla="*/ 9830 w 10000"/>
                <a:gd name="connsiteY250" fmla="*/ 1699 h 10000"/>
                <a:gd name="connsiteX251" fmla="*/ 9556 w 10000"/>
                <a:gd name="connsiteY251" fmla="*/ 1465 h 10000"/>
                <a:gd name="connsiteX252" fmla="*/ 9512 w 10000"/>
                <a:gd name="connsiteY252" fmla="*/ 1379 h 10000"/>
                <a:gd name="connsiteX253" fmla="*/ 9573 w 10000"/>
                <a:gd name="connsiteY253" fmla="*/ 1271 h 10000"/>
                <a:gd name="connsiteX254" fmla="*/ 9543 w 10000"/>
                <a:gd name="connsiteY254" fmla="*/ 1194 h 10000"/>
                <a:gd name="connsiteX255" fmla="*/ 9486 w 10000"/>
                <a:gd name="connsiteY255" fmla="*/ 1159 h 10000"/>
                <a:gd name="connsiteX256" fmla="*/ 9438 w 10000"/>
                <a:gd name="connsiteY256" fmla="*/ 978 h 10000"/>
                <a:gd name="connsiteX257" fmla="*/ 9495 w 10000"/>
                <a:gd name="connsiteY257" fmla="*/ 831 h 10000"/>
                <a:gd name="connsiteX258" fmla="*/ 9077 w 10000"/>
                <a:gd name="connsiteY258" fmla="*/ 517 h 10000"/>
                <a:gd name="connsiteX259" fmla="*/ 8872 w 10000"/>
                <a:gd name="connsiteY259" fmla="*/ 440 h 10000"/>
                <a:gd name="connsiteX260" fmla="*/ 8493 w 10000"/>
                <a:gd name="connsiteY260" fmla="*/ 389 h 10000"/>
                <a:gd name="connsiteX261" fmla="*/ 7709 w 10000"/>
                <a:gd name="connsiteY261" fmla="*/ 26 h 10000"/>
                <a:gd name="connsiteX262" fmla="*/ 7683 w 10000"/>
                <a:gd name="connsiteY262" fmla="*/ 2 h 10000"/>
                <a:gd name="connsiteX263" fmla="*/ 7417 w 10000"/>
                <a:gd name="connsiteY263" fmla="*/ 0 h 10000"/>
                <a:gd name="connsiteX264" fmla="*/ 7356 w 10000"/>
                <a:gd name="connsiteY264" fmla="*/ 14 h 10000"/>
                <a:gd name="connsiteX265" fmla="*/ 7369 w 10000"/>
                <a:gd name="connsiteY265" fmla="*/ 61 h 10000"/>
                <a:gd name="connsiteX266" fmla="*/ 7422 w 10000"/>
                <a:gd name="connsiteY266" fmla="*/ 86 h 10000"/>
                <a:gd name="connsiteX267" fmla="*/ 7435 w 10000"/>
                <a:gd name="connsiteY267" fmla="*/ 139 h 10000"/>
                <a:gd name="connsiteX268" fmla="*/ 7417 w 10000"/>
                <a:gd name="connsiteY268" fmla="*/ 181 h 10000"/>
                <a:gd name="connsiteX269" fmla="*/ 7369 w 10000"/>
                <a:gd name="connsiteY269" fmla="*/ 208 h 10000"/>
                <a:gd name="connsiteX270" fmla="*/ 7334 w 10000"/>
                <a:gd name="connsiteY270" fmla="*/ 283 h 10000"/>
                <a:gd name="connsiteX271" fmla="*/ 7269 w 10000"/>
                <a:gd name="connsiteY271" fmla="*/ 336 h 10000"/>
                <a:gd name="connsiteX272" fmla="*/ 7282 w 10000"/>
                <a:gd name="connsiteY272" fmla="*/ 387 h 10000"/>
                <a:gd name="connsiteX273" fmla="*/ 7382 w 10000"/>
                <a:gd name="connsiteY273" fmla="*/ 434 h 10000"/>
                <a:gd name="connsiteX274" fmla="*/ 7317 w 10000"/>
                <a:gd name="connsiteY274" fmla="*/ 475 h 10000"/>
                <a:gd name="connsiteX275" fmla="*/ 7221 w 10000"/>
                <a:gd name="connsiteY275" fmla="*/ 485 h 10000"/>
                <a:gd name="connsiteX276" fmla="*/ 6420 w 10000"/>
                <a:gd name="connsiteY276" fmla="*/ 387 h 10000"/>
                <a:gd name="connsiteX277" fmla="*/ 6324 w 10000"/>
                <a:gd name="connsiteY277" fmla="*/ 395 h 10000"/>
                <a:gd name="connsiteX278" fmla="*/ 6267 w 10000"/>
                <a:gd name="connsiteY278" fmla="*/ 414 h 10000"/>
                <a:gd name="connsiteX279" fmla="*/ 6211 w 10000"/>
                <a:gd name="connsiteY279" fmla="*/ 462 h 10000"/>
                <a:gd name="connsiteX280" fmla="*/ 6220 w 10000"/>
                <a:gd name="connsiteY280" fmla="*/ 581 h 10000"/>
                <a:gd name="connsiteX281" fmla="*/ 6132 w 10000"/>
                <a:gd name="connsiteY281" fmla="*/ 735 h 10000"/>
                <a:gd name="connsiteX282" fmla="*/ 6024 w 10000"/>
                <a:gd name="connsiteY282" fmla="*/ 815 h 10000"/>
                <a:gd name="connsiteX283" fmla="*/ 5980 w 10000"/>
                <a:gd name="connsiteY283" fmla="*/ 805 h 10000"/>
                <a:gd name="connsiteX284" fmla="*/ 5880 w 10000"/>
                <a:gd name="connsiteY284" fmla="*/ 739 h 10000"/>
                <a:gd name="connsiteX285" fmla="*/ 5753 w 10000"/>
                <a:gd name="connsiteY285" fmla="*/ 705 h 10000"/>
                <a:gd name="connsiteX286" fmla="*/ 5618 w 10000"/>
                <a:gd name="connsiteY286" fmla="*/ 715 h 10000"/>
                <a:gd name="connsiteX287" fmla="*/ 5301 w 10000"/>
                <a:gd name="connsiteY287" fmla="*/ 866 h 10000"/>
                <a:gd name="connsiteX288" fmla="*/ 5218 w 10000"/>
                <a:gd name="connsiteY288" fmla="*/ 1017 h 10000"/>
                <a:gd name="connsiteX289" fmla="*/ 4978 w 10000"/>
                <a:gd name="connsiteY289" fmla="*/ 1153 h 10000"/>
                <a:gd name="connsiteX290" fmla="*/ 4935 w 10000"/>
                <a:gd name="connsiteY290" fmla="*/ 1222 h 10000"/>
                <a:gd name="connsiteX291" fmla="*/ 5061 w 10000"/>
                <a:gd name="connsiteY291" fmla="*/ 1344 h 10000"/>
                <a:gd name="connsiteX292" fmla="*/ 5074 w 10000"/>
                <a:gd name="connsiteY292" fmla="*/ 1412 h 10000"/>
                <a:gd name="connsiteX293" fmla="*/ 4421 w 10000"/>
                <a:gd name="connsiteY293" fmla="*/ 1813 h 10000"/>
                <a:gd name="connsiteX294" fmla="*/ 4220 w 10000"/>
                <a:gd name="connsiteY294" fmla="*/ 2070 h 10000"/>
                <a:gd name="connsiteX295" fmla="*/ 4003 w 10000"/>
                <a:gd name="connsiteY295" fmla="*/ 2135 h 10000"/>
                <a:gd name="connsiteX296" fmla="*/ 3868 w 10000"/>
                <a:gd name="connsiteY296" fmla="*/ 2131 h 10000"/>
                <a:gd name="connsiteX297" fmla="*/ 3785 w 10000"/>
                <a:gd name="connsiteY297" fmla="*/ 2153 h 10000"/>
                <a:gd name="connsiteX298" fmla="*/ 3558 w 10000"/>
                <a:gd name="connsiteY298" fmla="*/ 2793 h 10000"/>
                <a:gd name="connsiteX299" fmla="*/ 3036 w 10000"/>
                <a:gd name="connsiteY299" fmla="*/ 3166 h 10000"/>
                <a:gd name="connsiteX300" fmla="*/ 3040 w 10000"/>
                <a:gd name="connsiteY300" fmla="*/ 3225 h 10000"/>
                <a:gd name="connsiteX301" fmla="*/ 3271 w 10000"/>
                <a:gd name="connsiteY301" fmla="*/ 3392 h 10000"/>
                <a:gd name="connsiteX302" fmla="*/ 3197 w 10000"/>
                <a:gd name="connsiteY302" fmla="*/ 3573 h 10000"/>
                <a:gd name="connsiteX303" fmla="*/ 3062 w 10000"/>
                <a:gd name="connsiteY303" fmla="*/ 3640 h 10000"/>
                <a:gd name="connsiteX304" fmla="*/ 2657 w 10000"/>
                <a:gd name="connsiteY304" fmla="*/ 3595 h 10000"/>
                <a:gd name="connsiteX305" fmla="*/ 2378 w 10000"/>
                <a:gd name="connsiteY305" fmla="*/ 3620 h 10000"/>
                <a:gd name="connsiteX306" fmla="*/ 2152 w 10000"/>
                <a:gd name="connsiteY306" fmla="*/ 3673 h 10000"/>
                <a:gd name="connsiteX307" fmla="*/ 1790 w 10000"/>
                <a:gd name="connsiteY307" fmla="*/ 3840 h 10000"/>
                <a:gd name="connsiteX308" fmla="*/ 1598 w 10000"/>
                <a:gd name="connsiteY308" fmla="*/ 4042 h 10000"/>
                <a:gd name="connsiteX309" fmla="*/ 1616 w 10000"/>
                <a:gd name="connsiteY309" fmla="*/ 4154 h 10000"/>
                <a:gd name="connsiteX310" fmla="*/ 1681 w 10000"/>
                <a:gd name="connsiteY310" fmla="*/ 4241 h 10000"/>
                <a:gd name="connsiteX311" fmla="*/ 1733 w 10000"/>
                <a:gd name="connsiteY311" fmla="*/ 4276 h 10000"/>
                <a:gd name="connsiteX312" fmla="*/ 1638 w 10000"/>
                <a:gd name="connsiteY312" fmla="*/ 4331 h 10000"/>
                <a:gd name="connsiteX313" fmla="*/ 1433 w 10000"/>
                <a:gd name="connsiteY313" fmla="*/ 4710 h 10000"/>
                <a:gd name="connsiteX314" fmla="*/ 1472 w 10000"/>
                <a:gd name="connsiteY314" fmla="*/ 4732 h 10000"/>
                <a:gd name="connsiteX315" fmla="*/ 1503 w 10000"/>
                <a:gd name="connsiteY315" fmla="*/ 4828 h 10000"/>
                <a:gd name="connsiteX316" fmla="*/ 1407 w 10000"/>
                <a:gd name="connsiteY316" fmla="*/ 5227 h 10000"/>
                <a:gd name="connsiteX317" fmla="*/ 1503 w 10000"/>
                <a:gd name="connsiteY317" fmla="*/ 5329 h 10000"/>
                <a:gd name="connsiteX318" fmla="*/ 1764 w 10000"/>
                <a:gd name="connsiteY318" fmla="*/ 5441 h 10000"/>
                <a:gd name="connsiteX319" fmla="*/ 1777 w 10000"/>
                <a:gd name="connsiteY319" fmla="*/ 5578 h 10000"/>
                <a:gd name="connsiteX320" fmla="*/ 1664 w 10000"/>
                <a:gd name="connsiteY320" fmla="*/ 5690 h 10000"/>
                <a:gd name="connsiteX321" fmla="*/ 1503 w 10000"/>
                <a:gd name="connsiteY321" fmla="*/ 5759 h 10000"/>
                <a:gd name="connsiteX322" fmla="*/ 1289 w 10000"/>
                <a:gd name="connsiteY322" fmla="*/ 5787 h 10000"/>
                <a:gd name="connsiteX323" fmla="*/ 1233 w 10000"/>
                <a:gd name="connsiteY323" fmla="*/ 5826 h 10000"/>
                <a:gd name="connsiteX324" fmla="*/ 1359 w 10000"/>
                <a:gd name="connsiteY324" fmla="*/ 5920 h 10000"/>
                <a:gd name="connsiteX325" fmla="*/ 1429 w 10000"/>
                <a:gd name="connsiteY325" fmla="*/ 6142 h 10000"/>
                <a:gd name="connsiteX326" fmla="*/ 1267 w 10000"/>
                <a:gd name="connsiteY326" fmla="*/ 6333 h 10000"/>
                <a:gd name="connsiteX327" fmla="*/ 1324 w 10000"/>
                <a:gd name="connsiteY327" fmla="*/ 6392 h 10000"/>
                <a:gd name="connsiteX328" fmla="*/ 1272 w 10000"/>
                <a:gd name="connsiteY328" fmla="*/ 6492 h 10000"/>
                <a:gd name="connsiteX329" fmla="*/ 1167 w 10000"/>
                <a:gd name="connsiteY329" fmla="*/ 6561 h 10000"/>
                <a:gd name="connsiteX330" fmla="*/ 758 w 10000"/>
                <a:gd name="connsiteY330" fmla="*/ 6614 h 10000"/>
                <a:gd name="connsiteX331" fmla="*/ 732 w 10000"/>
                <a:gd name="connsiteY331" fmla="*/ 6706 h 10000"/>
                <a:gd name="connsiteX332" fmla="*/ 510 w 10000"/>
                <a:gd name="connsiteY332" fmla="*/ 6843 h 10000"/>
                <a:gd name="connsiteX333" fmla="*/ 540 w 10000"/>
                <a:gd name="connsiteY333" fmla="*/ 7040 h 10000"/>
                <a:gd name="connsiteX334" fmla="*/ 353 w 10000"/>
                <a:gd name="connsiteY334" fmla="*/ 7293 h 10000"/>
                <a:gd name="connsiteX335" fmla="*/ 226 w 10000"/>
                <a:gd name="connsiteY335" fmla="*/ 7323 h 10000"/>
                <a:gd name="connsiteX336" fmla="*/ 174 w 10000"/>
                <a:gd name="connsiteY336" fmla="*/ 7262 h 10000"/>
                <a:gd name="connsiteX337" fmla="*/ 109 w 10000"/>
                <a:gd name="connsiteY337" fmla="*/ 7354 h 10000"/>
                <a:gd name="connsiteX338" fmla="*/ 152 w 10000"/>
                <a:gd name="connsiteY338" fmla="*/ 7197 h 10000"/>
                <a:gd name="connsiteX339" fmla="*/ 126 w 10000"/>
                <a:gd name="connsiteY339"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145 w 10000"/>
                <a:gd name="connsiteY207" fmla="*/ 3267 h 10000"/>
                <a:gd name="connsiteX208" fmla="*/ 8075 w 10000"/>
                <a:gd name="connsiteY208" fmla="*/ 3147 h 10000"/>
                <a:gd name="connsiteX209" fmla="*/ 8380 w 10000"/>
                <a:gd name="connsiteY209" fmla="*/ 2860 h 10000"/>
                <a:gd name="connsiteX210" fmla="*/ 8253 w 10000"/>
                <a:gd name="connsiteY210" fmla="*/ 2762 h 10000"/>
                <a:gd name="connsiteX211" fmla="*/ 8267 w 10000"/>
                <a:gd name="connsiteY211" fmla="*/ 2748 h 10000"/>
                <a:gd name="connsiteX212" fmla="*/ 8397 w 10000"/>
                <a:gd name="connsiteY212" fmla="*/ 2705 h 10000"/>
                <a:gd name="connsiteX213" fmla="*/ 8402 w 10000"/>
                <a:gd name="connsiteY213" fmla="*/ 2662 h 10000"/>
                <a:gd name="connsiteX214" fmla="*/ 8449 w 10000"/>
                <a:gd name="connsiteY214" fmla="*/ 2656 h 10000"/>
                <a:gd name="connsiteX215" fmla="*/ 8558 w 10000"/>
                <a:gd name="connsiteY215" fmla="*/ 2677 h 10000"/>
                <a:gd name="connsiteX216" fmla="*/ 8593 w 10000"/>
                <a:gd name="connsiteY216" fmla="*/ 2669 h 10000"/>
                <a:gd name="connsiteX217" fmla="*/ 8606 w 10000"/>
                <a:gd name="connsiteY217" fmla="*/ 2630 h 10000"/>
                <a:gd name="connsiteX218" fmla="*/ 8567 w 10000"/>
                <a:gd name="connsiteY218" fmla="*/ 2605 h 10000"/>
                <a:gd name="connsiteX219" fmla="*/ 8685 w 10000"/>
                <a:gd name="connsiteY219" fmla="*/ 2597 h 10000"/>
                <a:gd name="connsiteX220" fmla="*/ 8698 w 10000"/>
                <a:gd name="connsiteY220" fmla="*/ 2565 h 10000"/>
                <a:gd name="connsiteX221" fmla="*/ 8558 w 10000"/>
                <a:gd name="connsiteY221" fmla="*/ 2481 h 10000"/>
                <a:gd name="connsiteX222" fmla="*/ 8558 w 10000"/>
                <a:gd name="connsiteY222" fmla="*/ 2459 h 10000"/>
                <a:gd name="connsiteX223" fmla="*/ 8698 w 10000"/>
                <a:gd name="connsiteY223" fmla="*/ 2504 h 10000"/>
                <a:gd name="connsiteX224" fmla="*/ 8763 w 10000"/>
                <a:gd name="connsiteY224" fmla="*/ 2548 h 10000"/>
                <a:gd name="connsiteX225" fmla="*/ 8815 w 10000"/>
                <a:gd name="connsiteY225" fmla="*/ 2548 h 10000"/>
                <a:gd name="connsiteX226" fmla="*/ 8789 w 10000"/>
                <a:gd name="connsiteY226" fmla="*/ 2457 h 10000"/>
                <a:gd name="connsiteX227" fmla="*/ 8798 w 10000"/>
                <a:gd name="connsiteY227" fmla="*/ 2467 h 10000"/>
                <a:gd name="connsiteX228" fmla="*/ 8841 w 10000"/>
                <a:gd name="connsiteY228" fmla="*/ 2457 h 10000"/>
                <a:gd name="connsiteX229" fmla="*/ 8855 w 10000"/>
                <a:gd name="connsiteY229" fmla="*/ 2341 h 10000"/>
                <a:gd name="connsiteX230" fmla="*/ 8898 w 10000"/>
                <a:gd name="connsiteY230" fmla="*/ 2332 h 10000"/>
                <a:gd name="connsiteX231" fmla="*/ 8946 w 10000"/>
                <a:gd name="connsiteY231" fmla="*/ 2330 h 10000"/>
                <a:gd name="connsiteX232" fmla="*/ 8946 w 10000"/>
                <a:gd name="connsiteY232" fmla="*/ 2361 h 10000"/>
                <a:gd name="connsiteX233" fmla="*/ 8994 w 10000"/>
                <a:gd name="connsiteY233" fmla="*/ 2389 h 10000"/>
                <a:gd name="connsiteX234" fmla="*/ 9051 w 10000"/>
                <a:gd name="connsiteY234" fmla="*/ 2400 h 10000"/>
                <a:gd name="connsiteX235" fmla="*/ 9094 w 10000"/>
                <a:gd name="connsiteY235" fmla="*/ 2324 h 10000"/>
                <a:gd name="connsiteX236" fmla="*/ 9164 w 10000"/>
                <a:gd name="connsiteY236" fmla="*/ 2347 h 10000"/>
                <a:gd name="connsiteX237" fmla="*/ 9247 w 10000"/>
                <a:gd name="connsiteY237" fmla="*/ 2402 h 10000"/>
                <a:gd name="connsiteX238" fmla="*/ 9286 w 10000"/>
                <a:gd name="connsiteY238" fmla="*/ 2400 h 10000"/>
                <a:gd name="connsiteX239" fmla="*/ 9355 w 10000"/>
                <a:gd name="connsiteY239" fmla="*/ 2428 h 10000"/>
                <a:gd name="connsiteX240" fmla="*/ 9408 w 10000"/>
                <a:gd name="connsiteY240" fmla="*/ 2359 h 10000"/>
                <a:gd name="connsiteX241" fmla="*/ 9717 w 10000"/>
                <a:gd name="connsiteY241" fmla="*/ 2343 h 10000"/>
                <a:gd name="connsiteX242" fmla="*/ 9830 w 10000"/>
                <a:gd name="connsiteY242" fmla="*/ 2369 h 10000"/>
                <a:gd name="connsiteX243" fmla="*/ 9909 w 10000"/>
                <a:gd name="connsiteY243" fmla="*/ 2410 h 10000"/>
                <a:gd name="connsiteX244" fmla="*/ 9948 w 10000"/>
                <a:gd name="connsiteY244" fmla="*/ 2365 h 10000"/>
                <a:gd name="connsiteX245" fmla="*/ 10000 w 10000"/>
                <a:gd name="connsiteY245" fmla="*/ 2349 h 10000"/>
                <a:gd name="connsiteX246" fmla="*/ 9704 w 10000"/>
                <a:gd name="connsiteY246" fmla="*/ 1992 h 10000"/>
                <a:gd name="connsiteX247" fmla="*/ 9743 w 10000"/>
                <a:gd name="connsiteY247" fmla="*/ 1897 h 10000"/>
                <a:gd name="connsiteX248" fmla="*/ 9830 w 10000"/>
                <a:gd name="connsiteY248" fmla="*/ 1819 h 10000"/>
                <a:gd name="connsiteX249" fmla="*/ 9830 w 10000"/>
                <a:gd name="connsiteY249" fmla="*/ 1699 h 10000"/>
                <a:gd name="connsiteX250" fmla="*/ 9556 w 10000"/>
                <a:gd name="connsiteY250" fmla="*/ 1465 h 10000"/>
                <a:gd name="connsiteX251" fmla="*/ 9512 w 10000"/>
                <a:gd name="connsiteY251" fmla="*/ 1379 h 10000"/>
                <a:gd name="connsiteX252" fmla="*/ 9573 w 10000"/>
                <a:gd name="connsiteY252" fmla="*/ 1271 h 10000"/>
                <a:gd name="connsiteX253" fmla="*/ 9543 w 10000"/>
                <a:gd name="connsiteY253" fmla="*/ 1194 h 10000"/>
                <a:gd name="connsiteX254" fmla="*/ 9486 w 10000"/>
                <a:gd name="connsiteY254" fmla="*/ 1159 h 10000"/>
                <a:gd name="connsiteX255" fmla="*/ 9438 w 10000"/>
                <a:gd name="connsiteY255" fmla="*/ 978 h 10000"/>
                <a:gd name="connsiteX256" fmla="*/ 9495 w 10000"/>
                <a:gd name="connsiteY256" fmla="*/ 831 h 10000"/>
                <a:gd name="connsiteX257" fmla="*/ 9077 w 10000"/>
                <a:gd name="connsiteY257" fmla="*/ 517 h 10000"/>
                <a:gd name="connsiteX258" fmla="*/ 8872 w 10000"/>
                <a:gd name="connsiteY258" fmla="*/ 440 h 10000"/>
                <a:gd name="connsiteX259" fmla="*/ 8493 w 10000"/>
                <a:gd name="connsiteY259" fmla="*/ 389 h 10000"/>
                <a:gd name="connsiteX260" fmla="*/ 7709 w 10000"/>
                <a:gd name="connsiteY260" fmla="*/ 26 h 10000"/>
                <a:gd name="connsiteX261" fmla="*/ 7683 w 10000"/>
                <a:gd name="connsiteY261" fmla="*/ 2 h 10000"/>
                <a:gd name="connsiteX262" fmla="*/ 7417 w 10000"/>
                <a:gd name="connsiteY262" fmla="*/ 0 h 10000"/>
                <a:gd name="connsiteX263" fmla="*/ 7356 w 10000"/>
                <a:gd name="connsiteY263" fmla="*/ 14 h 10000"/>
                <a:gd name="connsiteX264" fmla="*/ 7369 w 10000"/>
                <a:gd name="connsiteY264" fmla="*/ 61 h 10000"/>
                <a:gd name="connsiteX265" fmla="*/ 7422 w 10000"/>
                <a:gd name="connsiteY265" fmla="*/ 86 h 10000"/>
                <a:gd name="connsiteX266" fmla="*/ 7435 w 10000"/>
                <a:gd name="connsiteY266" fmla="*/ 139 h 10000"/>
                <a:gd name="connsiteX267" fmla="*/ 7417 w 10000"/>
                <a:gd name="connsiteY267" fmla="*/ 181 h 10000"/>
                <a:gd name="connsiteX268" fmla="*/ 7369 w 10000"/>
                <a:gd name="connsiteY268" fmla="*/ 208 h 10000"/>
                <a:gd name="connsiteX269" fmla="*/ 7334 w 10000"/>
                <a:gd name="connsiteY269" fmla="*/ 283 h 10000"/>
                <a:gd name="connsiteX270" fmla="*/ 7269 w 10000"/>
                <a:gd name="connsiteY270" fmla="*/ 336 h 10000"/>
                <a:gd name="connsiteX271" fmla="*/ 7282 w 10000"/>
                <a:gd name="connsiteY271" fmla="*/ 387 h 10000"/>
                <a:gd name="connsiteX272" fmla="*/ 7382 w 10000"/>
                <a:gd name="connsiteY272" fmla="*/ 434 h 10000"/>
                <a:gd name="connsiteX273" fmla="*/ 7317 w 10000"/>
                <a:gd name="connsiteY273" fmla="*/ 475 h 10000"/>
                <a:gd name="connsiteX274" fmla="*/ 7221 w 10000"/>
                <a:gd name="connsiteY274" fmla="*/ 485 h 10000"/>
                <a:gd name="connsiteX275" fmla="*/ 6420 w 10000"/>
                <a:gd name="connsiteY275" fmla="*/ 387 h 10000"/>
                <a:gd name="connsiteX276" fmla="*/ 6324 w 10000"/>
                <a:gd name="connsiteY276" fmla="*/ 395 h 10000"/>
                <a:gd name="connsiteX277" fmla="*/ 6267 w 10000"/>
                <a:gd name="connsiteY277" fmla="*/ 414 h 10000"/>
                <a:gd name="connsiteX278" fmla="*/ 6211 w 10000"/>
                <a:gd name="connsiteY278" fmla="*/ 462 h 10000"/>
                <a:gd name="connsiteX279" fmla="*/ 6220 w 10000"/>
                <a:gd name="connsiteY279" fmla="*/ 581 h 10000"/>
                <a:gd name="connsiteX280" fmla="*/ 6132 w 10000"/>
                <a:gd name="connsiteY280" fmla="*/ 735 h 10000"/>
                <a:gd name="connsiteX281" fmla="*/ 6024 w 10000"/>
                <a:gd name="connsiteY281" fmla="*/ 815 h 10000"/>
                <a:gd name="connsiteX282" fmla="*/ 5980 w 10000"/>
                <a:gd name="connsiteY282" fmla="*/ 805 h 10000"/>
                <a:gd name="connsiteX283" fmla="*/ 5880 w 10000"/>
                <a:gd name="connsiteY283" fmla="*/ 739 h 10000"/>
                <a:gd name="connsiteX284" fmla="*/ 5753 w 10000"/>
                <a:gd name="connsiteY284" fmla="*/ 705 h 10000"/>
                <a:gd name="connsiteX285" fmla="*/ 5618 w 10000"/>
                <a:gd name="connsiteY285" fmla="*/ 715 h 10000"/>
                <a:gd name="connsiteX286" fmla="*/ 5301 w 10000"/>
                <a:gd name="connsiteY286" fmla="*/ 866 h 10000"/>
                <a:gd name="connsiteX287" fmla="*/ 5218 w 10000"/>
                <a:gd name="connsiteY287" fmla="*/ 1017 h 10000"/>
                <a:gd name="connsiteX288" fmla="*/ 4978 w 10000"/>
                <a:gd name="connsiteY288" fmla="*/ 1153 h 10000"/>
                <a:gd name="connsiteX289" fmla="*/ 4935 w 10000"/>
                <a:gd name="connsiteY289" fmla="*/ 1222 h 10000"/>
                <a:gd name="connsiteX290" fmla="*/ 5061 w 10000"/>
                <a:gd name="connsiteY290" fmla="*/ 1344 h 10000"/>
                <a:gd name="connsiteX291" fmla="*/ 5074 w 10000"/>
                <a:gd name="connsiteY291" fmla="*/ 1412 h 10000"/>
                <a:gd name="connsiteX292" fmla="*/ 4421 w 10000"/>
                <a:gd name="connsiteY292" fmla="*/ 1813 h 10000"/>
                <a:gd name="connsiteX293" fmla="*/ 4220 w 10000"/>
                <a:gd name="connsiteY293" fmla="*/ 2070 h 10000"/>
                <a:gd name="connsiteX294" fmla="*/ 4003 w 10000"/>
                <a:gd name="connsiteY294" fmla="*/ 2135 h 10000"/>
                <a:gd name="connsiteX295" fmla="*/ 3868 w 10000"/>
                <a:gd name="connsiteY295" fmla="*/ 2131 h 10000"/>
                <a:gd name="connsiteX296" fmla="*/ 3785 w 10000"/>
                <a:gd name="connsiteY296" fmla="*/ 2153 h 10000"/>
                <a:gd name="connsiteX297" fmla="*/ 3558 w 10000"/>
                <a:gd name="connsiteY297" fmla="*/ 2793 h 10000"/>
                <a:gd name="connsiteX298" fmla="*/ 3036 w 10000"/>
                <a:gd name="connsiteY298" fmla="*/ 3166 h 10000"/>
                <a:gd name="connsiteX299" fmla="*/ 3040 w 10000"/>
                <a:gd name="connsiteY299" fmla="*/ 3225 h 10000"/>
                <a:gd name="connsiteX300" fmla="*/ 3271 w 10000"/>
                <a:gd name="connsiteY300" fmla="*/ 3392 h 10000"/>
                <a:gd name="connsiteX301" fmla="*/ 3197 w 10000"/>
                <a:gd name="connsiteY301" fmla="*/ 3573 h 10000"/>
                <a:gd name="connsiteX302" fmla="*/ 3062 w 10000"/>
                <a:gd name="connsiteY302" fmla="*/ 3640 h 10000"/>
                <a:gd name="connsiteX303" fmla="*/ 2657 w 10000"/>
                <a:gd name="connsiteY303" fmla="*/ 3595 h 10000"/>
                <a:gd name="connsiteX304" fmla="*/ 2378 w 10000"/>
                <a:gd name="connsiteY304" fmla="*/ 3620 h 10000"/>
                <a:gd name="connsiteX305" fmla="*/ 2152 w 10000"/>
                <a:gd name="connsiteY305" fmla="*/ 3673 h 10000"/>
                <a:gd name="connsiteX306" fmla="*/ 1790 w 10000"/>
                <a:gd name="connsiteY306" fmla="*/ 3840 h 10000"/>
                <a:gd name="connsiteX307" fmla="*/ 1598 w 10000"/>
                <a:gd name="connsiteY307" fmla="*/ 4042 h 10000"/>
                <a:gd name="connsiteX308" fmla="*/ 1616 w 10000"/>
                <a:gd name="connsiteY308" fmla="*/ 4154 h 10000"/>
                <a:gd name="connsiteX309" fmla="*/ 1681 w 10000"/>
                <a:gd name="connsiteY309" fmla="*/ 4241 h 10000"/>
                <a:gd name="connsiteX310" fmla="*/ 1733 w 10000"/>
                <a:gd name="connsiteY310" fmla="*/ 4276 h 10000"/>
                <a:gd name="connsiteX311" fmla="*/ 1638 w 10000"/>
                <a:gd name="connsiteY311" fmla="*/ 4331 h 10000"/>
                <a:gd name="connsiteX312" fmla="*/ 1433 w 10000"/>
                <a:gd name="connsiteY312" fmla="*/ 4710 h 10000"/>
                <a:gd name="connsiteX313" fmla="*/ 1472 w 10000"/>
                <a:gd name="connsiteY313" fmla="*/ 4732 h 10000"/>
                <a:gd name="connsiteX314" fmla="*/ 1503 w 10000"/>
                <a:gd name="connsiteY314" fmla="*/ 4828 h 10000"/>
                <a:gd name="connsiteX315" fmla="*/ 1407 w 10000"/>
                <a:gd name="connsiteY315" fmla="*/ 5227 h 10000"/>
                <a:gd name="connsiteX316" fmla="*/ 1503 w 10000"/>
                <a:gd name="connsiteY316" fmla="*/ 5329 h 10000"/>
                <a:gd name="connsiteX317" fmla="*/ 1764 w 10000"/>
                <a:gd name="connsiteY317" fmla="*/ 5441 h 10000"/>
                <a:gd name="connsiteX318" fmla="*/ 1777 w 10000"/>
                <a:gd name="connsiteY318" fmla="*/ 5578 h 10000"/>
                <a:gd name="connsiteX319" fmla="*/ 1664 w 10000"/>
                <a:gd name="connsiteY319" fmla="*/ 5690 h 10000"/>
                <a:gd name="connsiteX320" fmla="*/ 1503 w 10000"/>
                <a:gd name="connsiteY320" fmla="*/ 5759 h 10000"/>
                <a:gd name="connsiteX321" fmla="*/ 1289 w 10000"/>
                <a:gd name="connsiteY321" fmla="*/ 5787 h 10000"/>
                <a:gd name="connsiteX322" fmla="*/ 1233 w 10000"/>
                <a:gd name="connsiteY322" fmla="*/ 5826 h 10000"/>
                <a:gd name="connsiteX323" fmla="*/ 1359 w 10000"/>
                <a:gd name="connsiteY323" fmla="*/ 5920 h 10000"/>
                <a:gd name="connsiteX324" fmla="*/ 1429 w 10000"/>
                <a:gd name="connsiteY324" fmla="*/ 6142 h 10000"/>
                <a:gd name="connsiteX325" fmla="*/ 1267 w 10000"/>
                <a:gd name="connsiteY325" fmla="*/ 6333 h 10000"/>
                <a:gd name="connsiteX326" fmla="*/ 1324 w 10000"/>
                <a:gd name="connsiteY326" fmla="*/ 6392 h 10000"/>
                <a:gd name="connsiteX327" fmla="*/ 1272 w 10000"/>
                <a:gd name="connsiteY327" fmla="*/ 6492 h 10000"/>
                <a:gd name="connsiteX328" fmla="*/ 1167 w 10000"/>
                <a:gd name="connsiteY328" fmla="*/ 6561 h 10000"/>
                <a:gd name="connsiteX329" fmla="*/ 758 w 10000"/>
                <a:gd name="connsiteY329" fmla="*/ 6614 h 10000"/>
                <a:gd name="connsiteX330" fmla="*/ 732 w 10000"/>
                <a:gd name="connsiteY330" fmla="*/ 6706 h 10000"/>
                <a:gd name="connsiteX331" fmla="*/ 510 w 10000"/>
                <a:gd name="connsiteY331" fmla="*/ 6843 h 10000"/>
                <a:gd name="connsiteX332" fmla="*/ 540 w 10000"/>
                <a:gd name="connsiteY332" fmla="*/ 7040 h 10000"/>
                <a:gd name="connsiteX333" fmla="*/ 353 w 10000"/>
                <a:gd name="connsiteY333" fmla="*/ 7293 h 10000"/>
                <a:gd name="connsiteX334" fmla="*/ 226 w 10000"/>
                <a:gd name="connsiteY334" fmla="*/ 7323 h 10000"/>
                <a:gd name="connsiteX335" fmla="*/ 174 w 10000"/>
                <a:gd name="connsiteY335" fmla="*/ 7262 h 10000"/>
                <a:gd name="connsiteX336" fmla="*/ 109 w 10000"/>
                <a:gd name="connsiteY336" fmla="*/ 7354 h 10000"/>
                <a:gd name="connsiteX337" fmla="*/ 152 w 10000"/>
                <a:gd name="connsiteY337" fmla="*/ 7197 h 10000"/>
                <a:gd name="connsiteX338" fmla="*/ 126 w 10000"/>
                <a:gd name="connsiteY338"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145 w 10000"/>
                <a:gd name="connsiteY207" fmla="*/ 3267 h 10000"/>
                <a:gd name="connsiteX208" fmla="*/ 8380 w 10000"/>
                <a:gd name="connsiteY208" fmla="*/ 2860 h 10000"/>
                <a:gd name="connsiteX209" fmla="*/ 8253 w 10000"/>
                <a:gd name="connsiteY209" fmla="*/ 2762 h 10000"/>
                <a:gd name="connsiteX210" fmla="*/ 8267 w 10000"/>
                <a:gd name="connsiteY210" fmla="*/ 2748 h 10000"/>
                <a:gd name="connsiteX211" fmla="*/ 8397 w 10000"/>
                <a:gd name="connsiteY211" fmla="*/ 2705 h 10000"/>
                <a:gd name="connsiteX212" fmla="*/ 8402 w 10000"/>
                <a:gd name="connsiteY212" fmla="*/ 2662 h 10000"/>
                <a:gd name="connsiteX213" fmla="*/ 8449 w 10000"/>
                <a:gd name="connsiteY213" fmla="*/ 2656 h 10000"/>
                <a:gd name="connsiteX214" fmla="*/ 8558 w 10000"/>
                <a:gd name="connsiteY214" fmla="*/ 2677 h 10000"/>
                <a:gd name="connsiteX215" fmla="*/ 8593 w 10000"/>
                <a:gd name="connsiteY215" fmla="*/ 2669 h 10000"/>
                <a:gd name="connsiteX216" fmla="*/ 8606 w 10000"/>
                <a:gd name="connsiteY216" fmla="*/ 2630 h 10000"/>
                <a:gd name="connsiteX217" fmla="*/ 8567 w 10000"/>
                <a:gd name="connsiteY217" fmla="*/ 2605 h 10000"/>
                <a:gd name="connsiteX218" fmla="*/ 8685 w 10000"/>
                <a:gd name="connsiteY218" fmla="*/ 2597 h 10000"/>
                <a:gd name="connsiteX219" fmla="*/ 8698 w 10000"/>
                <a:gd name="connsiteY219" fmla="*/ 2565 h 10000"/>
                <a:gd name="connsiteX220" fmla="*/ 8558 w 10000"/>
                <a:gd name="connsiteY220" fmla="*/ 2481 h 10000"/>
                <a:gd name="connsiteX221" fmla="*/ 8558 w 10000"/>
                <a:gd name="connsiteY221" fmla="*/ 2459 h 10000"/>
                <a:gd name="connsiteX222" fmla="*/ 8698 w 10000"/>
                <a:gd name="connsiteY222" fmla="*/ 2504 h 10000"/>
                <a:gd name="connsiteX223" fmla="*/ 8763 w 10000"/>
                <a:gd name="connsiteY223" fmla="*/ 2548 h 10000"/>
                <a:gd name="connsiteX224" fmla="*/ 8815 w 10000"/>
                <a:gd name="connsiteY224" fmla="*/ 2548 h 10000"/>
                <a:gd name="connsiteX225" fmla="*/ 8789 w 10000"/>
                <a:gd name="connsiteY225" fmla="*/ 2457 h 10000"/>
                <a:gd name="connsiteX226" fmla="*/ 8798 w 10000"/>
                <a:gd name="connsiteY226" fmla="*/ 2467 h 10000"/>
                <a:gd name="connsiteX227" fmla="*/ 8841 w 10000"/>
                <a:gd name="connsiteY227" fmla="*/ 2457 h 10000"/>
                <a:gd name="connsiteX228" fmla="*/ 8855 w 10000"/>
                <a:gd name="connsiteY228" fmla="*/ 2341 h 10000"/>
                <a:gd name="connsiteX229" fmla="*/ 8898 w 10000"/>
                <a:gd name="connsiteY229" fmla="*/ 2332 h 10000"/>
                <a:gd name="connsiteX230" fmla="*/ 8946 w 10000"/>
                <a:gd name="connsiteY230" fmla="*/ 2330 h 10000"/>
                <a:gd name="connsiteX231" fmla="*/ 8946 w 10000"/>
                <a:gd name="connsiteY231" fmla="*/ 2361 h 10000"/>
                <a:gd name="connsiteX232" fmla="*/ 8994 w 10000"/>
                <a:gd name="connsiteY232" fmla="*/ 2389 h 10000"/>
                <a:gd name="connsiteX233" fmla="*/ 9051 w 10000"/>
                <a:gd name="connsiteY233" fmla="*/ 2400 h 10000"/>
                <a:gd name="connsiteX234" fmla="*/ 9094 w 10000"/>
                <a:gd name="connsiteY234" fmla="*/ 2324 h 10000"/>
                <a:gd name="connsiteX235" fmla="*/ 9164 w 10000"/>
                <a:gd name="connsiteY235" fmla="*/ 2347 h 10000"/>
                <a:gd name="connsiteX236" fmla="*/ 9247 w 10000"/>
                <a:gd name="connsiteY236" fmla="*/ 2402 h 10000"/>
                <a:gd name="connsiteX237" fmla="*/ 9286 w 10000"/>
                <a:gd name="connsiteY237" fmla="*/ 2400 h 10000"/>
                <a:gd name="connsiteX238" fmla="*/ 9355 w 10000"/>
                <a:gd name="connsiteY238" fmla="*/ 2428 h 10000"/>
                <a:gd name="connsiteX239" fmla="*/ 9408 w 10000"/>
                <a:gd name="connsiteY239" fmla="*/ 2359 h 10000"/>
                <a:gd name="connsiteX240" fmla="*/ 9717 w 10000"/>
                <a:gd name="connsiteY240" fmla="*/ 2343 h 10000"/>
                <a:gd name="connsiteX241" fmla="*/ 9830 w 10000"/>
                <a:gd name="connsiteY241" fmla="*/ 2369 h 10000"/>
                <a:gd name="connsiteX242" fmla="*/ 9909 w 10000"/>
                <a:gd name="connsiteY242" fmla="*/ 2410 h 10000"/>
                <a:gd name="connsiteX243" fmla="*/ 9948 w 10000"/>
                <a:gd name="connsiteY243" fmla="*/ 2365 h 10000"/>
                <a:gd name="connsiteX244" fmla="*/ 10000 w 10000"/>
                <a:gd name="connsiteY244" fmla="*/ 2349 h 10000"/>
                <a:gd name="connsiteX245" fmla="*/ 9704 w 10000"/>
                <a:gd name="connsiteY245" fmla="*/ 1992 h 10000"/>
                <a:gd name="connsiteX246" fmla="*/ 9743 w 10000"/>
                <a:gd name="connsiteY246" fmla="*/ 1897 h 10000"/>
                <a:gd name="connsiteX247" fmla="*/ 9830 w 10000"/>
                <a:gd name="connsiteY247" fmla="*/ 1819 h 10000"/>
                <a:gd name="connsiteX248" fmla="*/ 9830 w 10000"/>
                <a:gd name="connsiteY248" fmla="*/ 1699 h 10000"/>
                <a:gd name="connsiteX249" fmla="*/ 9556 w 10000"/>
                <a:gd name="connsiteY249" fmla="*/ 1465 h 10000"/>
                <a:gd name="connsiteX250" fmla="*/ 9512 w 10000"/>
                <a:gd name="connsiteY250" fmla="*/ 1379 h 10000"/>
                <a:gd name="connsiteX251" fmla="*/ 9573 w 10000"/>
                <a:gd name="connsiteY251" fmla="*/ 1271 h 10000"/>
                <a:gd name="connsiteX252" fmla="*/ 9543 w 10000"/>
                <a:gd name="connsiteY252" fmla="*/ 1194 h 10000"/>
                <a:gd name="connsiteX253" fmla="*/ 9486 w 10000"/>
                <a:gd name="connsiteY253" fmla="*/ 1159 h 10000"/>
                <a:gd name="connsiteX254" fmla="*/ 9438 w 10000"/>
                <a:gd name="connsiteY254" fmla="*/ 978 h 10000"/>
                <a:gd name="connsiteX255" fmla="*/ 9495 w 10000"/>
                <a:gd name="connsiteY255" fmla="*/ 831 h 10000"/>
                <a:gd name="connsiteX256" fmla="*/ 9077 w 10000"/>
                <a:gd name="connsiteY256" fmla="*/ 517 h 10000"/>
                <a:gd name="connsiteX257" fmla="*/ 8872 w 10000"/>
                <a:gd name="connsiteY257" fmla="*/ 440 h 10000"/>
                <a:gd name="connsiteX258" fmla="*/ 8493 w 10000"/>
                <a:gd name="connsiteY258" fmla="*/ 389 h 10000"/>
                <a:gd name="connsiteX259" fmla="*/ 7709 w 10000"/>
                <a:gd name="connsiteY259" fmla="*/ 26 h 10000"/>
                <a:gd name="connsiteX260" fmla="*/ 7683 w 10000"/>
                <a:gd name="connsiteY260" fmla="*/ 2 h 10000"/>
                <a:gd name="connsiteX261" fmla="*/ 7417 w 10000"/>
                <a:gd name="connsiteY261" fmla="*/ 0 h 10000"/>
                <a:gd name="connsiteX262" fmla="*/ 7356 w 10000"/>
                <a:gd name="connsiteY262" fmla="*/ 14 h 10000"/>
                <a:gd name="connsiteX263" fmla="*/ 7369 w 10000"/>
                <a:gd name="connsiteY263" fmla="*/ 61 h 10000"/>
                <a:gd name="connsiteX264" fmla="*/ 7422 w 10000"/>
                <a:gd name="connsiteY264" fmla="*/ 86 h 10000"/>
                <a:gd name="connsiteX265" fmla="*/ 7435 w 10000"/>
                <a:gd name="connsiteY265" fmla="*/ 139 h 10000"/>
                <a:gd name="connsiteX266" fmla="*/ 7417 w 10000"/>
                <a:gd name="connsiteY266" fmla="*/ 181 h 10000"/>
                <a:gd name="connsiteX267" fmla="*/ 7369 w 10000"/>
                <a:gd name="connsiteY267" fmla="*/ 208 h 10000"/>
                <a:gd name="connsiteX268" fmla="*/ 7334 w 10000"/>
                <a:gd name="connsiteY268" fmla="*/ 283 h 10000"/>
                <a:gd name="connsiteX269" fmla="*/ 7269 w 10000"/>
                <a:gd name="connsiteY269" fmla="*/ 336 h 10000"/>
                <a:gd name="connsiteX270" fmla="*/ 7282 w 10000"/>
                <a:gd name="connsiteY270" fmla="*/ 387 h 10000"/>
                <a:gd name="connsiteX271" fmla="*/ 7382 w 10000"/>
                <a:gd name="connsiteY271" fmla="*/ 434 h 10000"/>
                <a:gd name="connsiteX272" fmla="*/ 7317 w 10000"/>
                <a:gd name="connsiteY272" fmla="*/ 475 h 10000"/>
                <a:gd name="connsiteX273" fmla="*/ 7221 w 10000"/>
                <a:gd name="connsiteY273" fmla="*/ 485 h 10000"/>
                <a:gd name="connsiteX274" fmla="*/ 6420 w 10000"/>
                <a:gd name="connsiteY274" fmla="*/ 387 h 10000"/>
                <a:gd name="connsiteX275" fmla="*/ 6324 w 10000"/>
                <a:gd name="connsiteY275" fmla="*/ 395 h 10000"/>
                <a:gd name="connsiteX276" fmla="*/ 6267 w 10000"/>
                <a:gd name="connsiteY276" fmla="*/ 414 h 10000"/>
                <a:gd name="connsiteX277" fmla="*/ 6211 w 10000"/>
                <a:gd name="connsiteY277" fmla="*/ 462 h 10000"/>
                <a:gd name="connsiteX278" fmla="*/ 6220 w 10000"/>
                <a:gd name="connsiteY278" fmla="*/ 581 h 10000"/>
                <a:gd name="connsiteX279" fmla="*/ 6132 w 10000"/>
                <a:gd name="connsiteY279" fmla="*/ 735 h 10000"/>
                <a:gd name="connsiteX280" fmla="*/ 6024 w 10000"/>
                <a:gd name="connsiteY280" fmla="*/ 815 h 10000"/>
                <a:gd name="connsiteX281" fmla="*/ 5980 w 10000"/>
                <a:gd name="connsiteY281" fmla="*/ 805 h 10000"/>
                <a:gd name="connsiteX282" fmla="*/ 5880 w 10000"/>
                <a:gd name="connsiteY282" fmla="*/ 739 h 10000"/>
                <a:gd name="connsiteX283" fmla="*/ 5753 w 10000"/>
                <a:gd name="connsiteY283" fmla="*/ 705 h 10000"/>
                <a:gd name="connsiteX284" fmla="*/ 5618 w 10000"/>
                <a:gd name="connsiteY284" fmla="*/ 715 h 10000"/>
                <a:gd name="connsiteX285" fmla="*/ 5301 w 10000"/>
                <a:gd name="connsiteY285" fmla="*/ 866 h 10000"/>
                <a:gd name="connsiteX286" fmla="*/ 5218 w 10000"/>
                <a:gd name="connsiteY286" fmla="*/ 1017 h 10000"/>
                <a:gd name="connsiteX287" fmla="*/ 4978 w 10000"/>
                <a:gd name="connsiteY287" fmla="*/ 1153 h 10000"/>
                <a:gd name="connsiteX288" fmla="*/ 4935 w 10000"/>
                <a:gd name="connsiteY288" fmla="*/ 1222 h 10000"/>
                <a:gd name="connsiteX289" fmla="*/ 5061 w 10000"/>
                <a:gd name="connsiteY289" fmla="*/ 1344 h 10000"/>
                <a:gd name="connsiteX290" fmla="*/ 5074 w 10000"/>
                <a:gd name="connsiteY290" fmla="*/ 1412 h 10000"/>
                <a:gd name="connsiteX291" fmla="*/ 4421 w 10000"/>
                <a:gd name="connsiteY291" fmla="*/ 1813 h 10000"/>
                <a:gd name="connsiteX292" fmla="*/ 4220 w 10000"/>
                <a:gd name="connsiteY292" fmla="*/ 2070 h 10000"/>
                <a:gd name="connsiteX293" fmla="*/ 4003 w 10000"/>
                <a:gd name="connsiteY293" fmla="*/ 2135 h 10000"/>
                <a:gd name="connsiteX294" fmla="*/ 3868 w 10000"/>
                <a:gd name="connsiteY294" fmla="*/ 2131 h 10000"/>
                <a:gd name="connsiteX295" fmla="*/ 3785 w 10000"/>
                <a:gd name="connsiteY295" fmla="*/ 2153 h 10000"/>
                <a:gd name="connsiteX296" fmla="*/ 3558 w 10000"/>
                <a:gd name="connsiteY296" fmla="*/ 2793 h 10000"/>
                <a:gd name="connsiteX297" fmla="*/ 3036 w 10000"/>
                <a:gd name="connsiteY297" fmla="*/ 3166 h 10000"/>
                <a:gd name="connsiteX298" fmla="*/ 3040 w 10000"/>
                <a:gd name="connsiteY298" fmla="*/ 3225 h 10000"/>
                <a:gd name="connsiteX299" fmla="*/ 3271 w 10000"/>
                <a:gd name="connsiteY299" fmla="*/ 3392 h 10000"/>
                <a:gd name="connsiteX300" fmla="*/ 3197 w 10000"/>
                <a:gd name="connsiteY300" fmla="*/ 3573 h 10000"/>
                <a:gd name="connsiteX301" fmla="*/ 3062 w 10000"/>
                <a:gd name="connsiteY301" fmla="*/ 3640 h 10000"/>
                <a:gd name="connsiteX302" fmla="*/ 2657 w 10000"/>
                <a:gd name="connsiteY302" fmla="*/ 3595 h 10000"/>
                <a:gd name="connsiteX303" fmla="*/ 2378 w 10000"/>
                <a:gd name="connsiteY303" fmla="*/ 3620 h 10000"/>
                <a:gd name="connsiteX304" fmla="*/ 2152 w 10000"/>
                <a:gd name="connsiteY304" fmla="*/ 3673 h 10000"/>
                <a:gd name="connsiteX305" fmla="*/ 1790 w 10000"/>
                <a:gd name="connsiteY305" fmla="*/ 3840 h 10000"/>
                <a:gd name="connsiteX306" fmla="*/ 1598 w 10000"/>
                <a:gd name="connsiteY306" fmla="*/ 4042 h 10000"/>
                <a:gd name="connsiteX307" fmla="*/ 1616 w 10000"/>
                <a:gd name="connsiteY307" fmla="*/ 4154 h 10000"/>
                <a:gd name="connsiteX308" fmla="*/ 1681 w 10000"/>
                <a:gd name="connsiteY308" fmla="*/ 4241 h 10000"/>
                <a:gd name="connsiteX309" fmla="*/ 1733 w 10000"/>
                <a:gd name="connsiteY309" fmla="*/ 4276 h 10000"/>
                <a:gd name="connsiteX310" fmla="*/ 1638 w 10000"/>
                <a:gd name="connsiteY310" fmla="*/ 4331 h 10000"/>
                <a:gd name="connsiteX311" fmla="*/ 1433 w 10000"/>
                <a:gd name="connsiteY311" fmla="*/ 4710 h 10000"/>
                <a:gd name="connsiteX312" fmla="*/ 1472 w 10000"/>
                <a:gd name="connsiteY312" fmla="*/ 4732 h 10000"/>
                <a:gd name="connsiteX313" fmla="*/ 1503 w 10000"/>
                <a:gd name="connsiteY313" fmla="*/ 4828 h 10000"/>
                <a:gd name="connsiteX314" fmla="*/ 1407 w 10000"/>
                <a:gd name="connsiteY314" fmla="*/ 5227 h 10000"/>
                <a:gd name="connsiteX315" fmla="*/ 1503 w 10000"/>
                <a:gd name="connsiteY315" fmla="*/ 5329 h 10000"/>
                <a:gd name="connsiteX316" fmla="*/ 1764 w 10000"/>
                <a:gd name="connsiteY316" fmla="*/ 5441 h 10000"/>
                <a:gd name="connsiteX317" fmla="*/ 1777 w 10000"/>
                <a:gd name="connsiteY317" fmla="*/ 5578 h 10000"/>
                <a:gd name="connsiteX318" fmla="*/ 1664 w 10000"/>
                <a:gd name="connsiteY318" fmla="*/ 5690 h 10000"/>
                <a:gd name="connsiteX319" fmla="*/ 1503 w 10000"/>
                <a:gd name="connsiteY319" fmla="*/ 5759 h 10000"/>
                <a:gd name="connsiteX320" fmla="*/ 1289 w 10000"/>
                <a:gd name="connsiteY320" fmla="*/ 5787 h 10000"/>
                <a:gd name="connsiteX321" fmla="*/ 1233 w 10000"/>
                <a:gd name="connsiteY321" fmla="*/ 5826 h 10000"/>
                <a:gd name="connsiteX322" fmla="*/ 1359 w 10000"/>
                <a:gd name="connsiteY322" fmla="*/ 5920 h 10000"/>
                <a:gd name="connsiteX323" fmla="*/ 1429 w 10000"/>
                <a:gd name="connsiteY323" fmla="*/ 6142 h 10000"/>
                <a:gd name="connsiteX324" fmla="*/ 1267 w 10000"/>
                <a:gd name="connsiteY324" fmla="*/ 6333 h 10000"/>
                <a:gd name="connsiteX325" fmla="*/ 1324 w 10000"/>
                <a:gd name="connsiteY325" fmla="*/ 6392 h 10000"/>
                <a:gd name="connsiteX326" fmla="*/ 1272 w 10000"/>
                <a:gd name="connsiteY326" fmla="*/ 6492 h 10000"/>
                <a:gd name="connsiteX327" fmla="*/ 1167 w 10000"/>
                <a:gd name="connsiteY327" fmla="*/ 6561 h 10000"/>
                <a:gd name="connsiteX328" fmla="*/ 758 w 10000"/>
                <a:gd name="connsiteY328" fmla="*/ 6614 h 10000"/>
                <a:gd name="connsiteX329" fmla="*/ 732 w 10000"/>
                <a:gd name="connsiteY329" fmla="*/ 6706 h 10000"/>
                <a:gd name="connsiteX330" fmla="*/ 510 w 10000"/>
                <a:gd name="connsiteY330" fmla="*/ 6843 h 10000"/>
                <a:gd name="connsiteX331" fmla="*/ 540 w 10000"/>
                <a:gd name="connsiteY331" fmla="*/ 7040 h 10000"/>
                <a:gd name="connsiteX332" fmla="*/ 353 w 10000"/>
                <a:gd name="connsiteY332" fmla="*/ 7293 h 10000"/>
                <a:gd name="connsiteX333" fmla="*/ 226 w 10000"/>
                <a:gd name="connsiteY333" fmla="*/ 7323 h 10000"/>
                <a:gd name="connsiteX334" fmla="*/ 174 w 10000"/>
                <a:gd name="connsiteY334" fmla="*/ 7262 h 10000"/>
                <a:gd name="connsiteX335" fmla="*/ 109 w 10000"/>
                <a:gd name="connsiteY335" fmla="*/ 7354 h 10000"/>
                <a:gd name="connsiteX336" fmla="*/ 152 w 10000"/>
                <a:gd name="connsiteY336" fmla="*/ 7197 h 10000"/>
                <a:gd name="connsiteX337" fmla="*/ 126 w 10000"/>
                <a:gd name="connsiteY337"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380 w 10000"/>
                <a:gd name="connsiteY207" fmla="*/ 2860 h 10000"/>
                <a:gd name="connsiteX208" fmla="*/ 8253 w 10000"/>
                <a:gd name="connsiteY208" fmla="*/ 2762 h 10000"/>
                <a:gd name="connsiteX209" fmla="*/ 8267 w 10000"/>
                <a:gd name="connsiteY209" fmla="*/ 2748 h 10000"/>
                <a:gd name="connsiteX210" fmla="*/ 8397 w 10000"/>
                <a:gd name="connsiteY210" fmla="*/ 2705 h 10000"/>
                <a:gd name="connsiteX211" fmla="*/ 8402 w 10000"/>
                <a:gd name="connsiteY211" fmla="*/ 2662 h 10000"/>
                <a:gd name="connsiteX212" fmla="*/ 8449 w 10000"/>
                <a:gd name="connsiteY212" fmla="*/ 2656 h 10000"/>
                <a:gd name="connsiteX213" fmla="*/ 8558 w 10000"/>
                <a:gd name="connsiteY213" fmla="*/ 2677 h 10000"/>
                <a:gd name="connsiteX214" fmla="*/ 8593 w 10000"/>
                <a:gd name="connsiteY214" fmla="*/ 2669 h 10000"/>
                <a:gd name="connsiteX215" fmla="*/ 8606 w 10000"/>
                <a:gd name="connsiteY215" fmla="*/ 2630 h 10000"/>
                <a:gd name="connsiteX216" fmla="*/ 8567 w 10000"/>
                <a:gd name="connsiteY216" fmla="*/ 2605 h 10000"/>
                <a:gd name="connsiteX217" fmla="*/ 8685 w 10000"/>
                <a:gd name="connsiteY217" fmla="*/ 2597 h 10000"/>
                <a:gd name="connsiteX218" fmla="*/ 8698 w 10000"/>
                <a:gd name="connsiteY218" fmla="*/ 2565 h 10000"/>
                <a:gd name="connsiteX219" fmla="*/ 8558 w 10000"/>
                <a:gd name="connsiteY219" fmla="*/ 2481 h 10000"/>
                <a:gd name="connsiteX220" fmla="*/ 8558 w 10000"/>
                <a:gd name="connsiteY220" fmla="*/ 2459 h 10000"/>
                <a:gd name="connsiteX221" fmla="*/ 8698 w 10000"/>
                <a:gd name="connsiteY221" fmla="*/ 2504 h 10000"/>
                <a:gd name="connsiteX222" fmla="*/ 8763 w 10000"/>
                <a:gd name="connsiteY222" fmla="*/ 2548 h 10000"/>
                <a:gd name="connsiteX223" fmla="*/ 8815 w 10000"/>
                <a:gd name="connsiteY223" fmla="*/ 2548 h 10000"/>
                <a:gd name="connsiteX224" fmla="*/ 8789 w 10000"/>
                <a:gd name="connsiteY224" fmla="*/ 2457 h 10000"/>
                <a:gd name="connsiteX225" fmla="*/ 8798 w 10000"/>
                <a:gd name="connsiteY225" fmla="*/ 2467 h 10000"/>
                <a:gd name="connsiteX226" fmla="*/ 8841 w 10000"/>
                <a:gd name="connsiteY226" fmla="*/ 2457 h 10000"/>
                <a:gd name="connsiteX227" fmla="*/ 8855 w 10000"/>
                <a:gd name="connsiteY227" fmla="*/ 2341 h 10000"/>
                <a:gd name="connsiteX228" fmla="*/ 8898 w 10000"/>
                <a:gd name="connsiteY228" fmla="*/ 2332 h 10000"/>
                <a:gd name="connsiteX229" fmla="*/ 8946 w 10000"/>
                <a:gd name="connsiteY229" fmla="*/ 2330 h 10000"/>
                <a:gd name="connsiteX230" fmla="*/ 8946 w 10000"/>
                <a:gd name="connsiteY230" fmla="*/ 2361 h 10000"/>
                <a:gd name="connsiteX231" fmla="*/ 8994 w 10000"/>
                <a:gd name="connsiteY231" fmla="*/ 2389 h 10000"/>
                <a:gd name="connsiteX232" fmla="*/ 9051 w 10000"/>
                <a:gd name="connsiteY232" fmla="*/ 2400 h 10000"/>
                <a:gd name="connsiteX233" fmla="*/ 9094 w 10000"/>
                <a:gd name="connsiteY233" fmla="*/ 2324 h 10000"/>
                <a:gd name="connsiteX234" fmla="*/ 9164 w 10000"/>
                <a:gd name="connsiteY234" fmla="*/ 2347 h 10000"/>
                <a:gd name="connsiteX235" fmla="*/ 9247 w 10000"/>
                <a:gd name="connsiteY235" fmla="*/ 2402 h 10000"/>
                <a:gd name="connsiteX236" fmla="*/ 9286 w 10000"/>
                <a:gd name="connsiteY236" fmla="*/ 2400 h 10000"/>
                <a:gd name="connsiteX237" fmla="*/ 9355 w 10000"/>
                <a:gd name="connsiteY237" fmla="*/ 2428 h 10000"/>
                <a:gd name="connsiteX238" fmla="*/ 9408 w 10000"/>
                <a:gd name="connsiteY238" fmla="*/ 2359 h 10000"/>
                <a:gd name="connsiteX239" fmla="*/ 9717 w 10000"/>
                <a:gd name="connsiteY239" fmla="*/ 2343 h 10000"/>
                <a:gd name="connsiteX240" fmla="*/ 9830 w 10000"/>
                <a:gd name="connsiteY240" fmla="*/ 2369 h 10000"/>
                <a:gd name="connsiteX241" fmla="*/ 9909 w 10000"/>
                <a:gd name="connsiteY241" fmla="*/ 2410 h 10000"/>
                <a:gd name="connsiteX242" fmla="*/ 9948 w 10000"/>
                <a:gd name="connsiteY242" fmla="*/ 2365 h 10000"/>
                <a:gd name="connsiteX243" fmla="*/ 10000 w 10000"/>
                <a:gd name="connsiteY243" fmla="*/ 2349 h 10000"/>
                <a:gd name="connsiteX244" fmla="*/ 9704 w 10000"/>
                <a:gd name="connsiteY244" fmla="*/ 1992 h 10000"/>
                <a:gd name="connsiteX245" fmla="*/ 9743 w 10000"/>
                <a:gd name="connsiteY245" fmla="*/ 1897 h 10000"/>
                <a:gd name="connsiteX246" fmla="*/ 9830 w 10000"/>
                <a:gd name="connsiteY246" fmla="*/ 1819 h 10000"/>
                <a:gd name="connsiteX247" fmla="*/ 9830 w 10000"/>
                <a:gd name="connsiteY247" fmla="*/ 1699 h 10000"/>
                <a:gd name="connsiteX248" fmla="*/ 9556 w 10000"/>
                <a:gd name="connsiteY248" fmla="*/ 1465 h 10000"/>
                <a:gd name="connsiteX249" fmla="*/ 9512 w 10000"/>
                <a:gd name="connsiteY249" fmla="*/ 1379 h 10000"/>
                <a:gd name="connsiteX250" fmla="*/ 9573 w 10000"/>
                <a:gd name="connsiteY250" fmla="*/ 1271 h 10000"/>
                <a:gd name="connsiteX251" fmla="*/ 9543 w 10000"/>
                <a:gd name="connsiteY251" fmla="*/ 1194 h 10000"/>
                <a:gd name="connsiteX252" fmla="*/ 9486 w 10000"/>
                <a:gd name="connsiteY252" fmla="*/ 1159 h 10000"/>
                <a:gd name="connsiteX253" fmla="*/ 9438 w 10000"/>
                <a:gd name="connsiteY253" fmla="*/ 978 h 10000"/>
                <a:gd name="connsiteX254" fmla="*/ 9495 w 10000"/>
                <a:gd name="connsiteY254" fmla="*/ 831 h 10000"/>
                <a:gd name="connsiteX255" fmla="*/ 9077 w 10000"/>
                <a:gd name="connsiteY255" fmla="*/ 517 h 10000"/>
                <a:gd name="connsiteX256" fmla="*/ 8872 w 10000"/>
                <a:gd name="connsiteY256" fmla="*/ 440 h 10000"/>
                <a:gd name="connsiteX257" fmla="*/ 8493 w 10000"/>
                <a:gd name="connsiteY257" fmla="*/ 389 h 10000"/>
                <a:gd name="connsiteX258" fmla="*/ 7709 w 10000"/>
                <a:gd name="connsiteY258" fmla="*/ 26 h 10000"/>
                <a:gd name="connsiteX259" fmla="*/ 7683 w 10000"/>
                <a:gd name="connsiteY259" fmla="*/ 2 h 10000"/>
                <a:gd name="connsiteX260" fmla="*/ 7417 w 10000"/>
                <a:gd name="connsiteY260" fmla="*/ 0 h 10000"/>
                <a:gd name="connsiteX261" fmla="*/ 7356 w 10000"/>
                <a:gd name="connsiteY261" fmla="*/ 14 h 10000"/>
                <a:gd name="connsiteX262" fmla="*/ 7369 w 10000"/>
                <a:gd name="connsiteY262" fmla="*/ 61 h 10000"/>
                <a:gd name="connsiteX263" fmla="*/ 7422 w 10000"/>
                <a:gd name="connsiteY263" fmla="*/ 86 h 10000"/>
                <a:gd name="connsiteX264" fmla="*/ 7435 w 10000"/>
                <a:gd name="connsiteY264" fmla="*/ 139 h 10000"/>
                <a:gd name="connsiteX265" fmla="*/ 7417 w 10000"/>
                <a:gd name="connsiteY265" fmla="*/ 181 h 10000"/>
                <a:gd name="connsiteX266" fmla="*/ 7369 w 10000"/>
                <a:gd name="connsiteY266" fmla="*/ 208 h 10000"/>
                <a:gd name="connsiteX267" fmla="*/ 7334 w 10000"/>
                <a:gd name="connsiteY267" fmla="*/ 283 h 10000"/>
                <a:gd name="connsiteX268" fmla="*/ 7269 w 10000"/>
                <a:gd name="connsiteY268" fmla="*/ 336 h 10000"/>
                <a:gd name="connsiteX269" fmla="*/ 7282 w 10000"/>
                <a:gd name="connsiteY269" fmla="*/ 387 h 10000"/>
                <a:gd name="connsiteX270" fmla="*/ 7382 w 10000"/>
                <a:gd name="connsiteY270" fmla="*/ 434 h 10000"/>
                <a:gd name="connsiteX271" fmla="*/ 7317 w 10000"/>
                <a:gd name="connsiteY271" fmla="*/ 475 h 10000"/>
                <a:gd name="connsiteX272" fmla="*/ 7221 w 10000"/>
                <a:gd name="connsiteY272" fmla="*/ 485 h 10000"/>
                <a:gd name="connsiteX273" fmla="*/ 6420 w 10000"/>
                <a:gd name="connsiteY273" fmla="*/ 387 h 10000"/>
                <a:gd name="connsiteX274" fmla="*/ 6324 w 10000"/>
                <a:gd name="connsiteY274" fmla="*/ 395 h 10000"/>
                <a:gd name="connsiteX275" fmla="*/ 6267 w 10000"/>
                <a:gd name="connsiteY275" fmla="*/ 414 h 10000"/>
                <a:gd name="connsiteX276" fmla="*/ 6211 w 10000"/>
                <a:gd name="connsiteY276" fmla="*/ 462 h 10000"/>
                <a:gd name="connsiteX277" fmla="*/ 6220 w 10000"/>
                <a:gd name="connsiteY277" fmla="*/ 581 h 10000"/>
                <a:gd name="connsiteX278" fmla="*/ 6132 w 10000"/>
                <a:gd name="connsiteY278" fmla="*/ 735 h 10000"/>
                <a:gd name="connsiteX279" fmla="*/ 6024 w 10000"/>
                <a:gd name="connsiteY279" fmla="*/ 815 h 10000"/>
                <a:gd name="connsiteX280" fmla="*/ 5980 w 10000"/>
                <a:gd name="connsiteY280" fmla="*/ 805 h 10000"/>
                <a:gd name="connsiteX281" fmla="*/ 5880 w 10000"/>
                <a:gd name="connsiteY281" fmla="*/ 739 h 10000"/>
                <a:gd name="connsiteX282" fmla="*/ 5753 w 10000"/>
                <a:gd name="connsiteY282" fmla="*/ 705 h 10000"/>
                <a:gd name="connsiteX283" fmla="*/ 5618 w 10000"/>
                <a:gd name="connsiteY283" fmla="*/ 715 h 10000"/>
                <a:gd name="connsiteX284" fmla="*/ 5301 w 10000"/>
                <a:gd name="connsiteY284" fmla="*/ 866 h 10000"/>
                <a:gd name="connsiteX285" fmla="*/ 5218 w 10000"/>
                <a:gd name="connsiteY285" fmla="*/ 1017 h 10000"/>
                <a:gd name="connsiteX286" fmla="*/ 4978 w 10000"/>
                <a:gd name="connsiteY286" fmla="*/ 1153 h 10000"/>
                <a:gd name="connsiteX287" fmla="*/ 4935 w 10000"/>
                <a:gd name="connsiteY287" fmla="*/ 1222 h 10000"/>
                <a:gd name="connsiteX288" fmla="*/ 5061 w 10000"/>
                <a:gd name="connsiteY288" fmla="*/ 1344 h 10000"/>
                <a:gd name="connsiteX289" fmla="*/ 5074 w 10000"/>
                <a:gd name="connsiteY289" fmla="*/ 1412 h 10000"/>
                <a:gd name="connsiteX290" fmla="*/ 4421 w 10000"/>
                <a:gd name="connsiteY290" fmla="*/ 1813 h 10000"/>
                <a:gd name="connsiteX291" fmla="*/ 4220 w 10000"/>
                <a:gd name="connsiteY291" fmla="*/ 2070 h 10000"/>
                <a:gd name="connsiteX292" fmla="*/ 4003 w 10000"/>
                <a:gd name="connsiteY292" fmla="*/ 2135 h 10000"/>
                <a:gd name="connsiteX293" fmla="*/ 3868 w 10000"/>
                <a:gd name="connsiteY293" fmla="*/ 2131 h 10000"/>
                <a:gd name="connsiteX294" fmla="*/ 3785 w 10000"/>
                <a:gd name="connsiteY294" fmla="*/ 2153 h 10000"/>
                <a:gd name="connsiteX295" fmla="*/ 3558 w 10000"/>
                <a:gd name="connsiteY295" fmla="*/ 2793 h 10000"/>
                <a:gd name="connsiteX296" fmla="*/ 3036 w 10000"/>
                <a:gd name="connsiteY296" fmla="*/ 3166 h 10000"/>
                <a:gd name="connsiteX297" fmla="*/ 3040 w 10000"/>
                <a:gd name="connsiteY297" fmla="*/ 3225 h 10000"/>
                <a:gd name="connsiteX298" fmla="*/ 3271 w 10000"/>
                <a:gd name="connsiteY298" fmla="*/ 3392 h 10000"/>
                <a:gd name="connsiteX299" fmla="*/ 3197 w 10000"/>
                <a:gd name="connsiteY299" fmla="*/ 3573 h 10000"/>
                <a:gd name="connsiteX300" fmla="*/ 3062 w 10000"/>
                <a:gd name="connsiteY300" fmla="*/ 3640 h 10000"/>
                <a:gd name="connsiteX301" fmla="*/ 2657 w 10000"/>
                <a:gd name="connsiteY301" fmla="*/ 3595 h 10000"/>
                <a:gd name="connsiteX302" fmla="*/ 2378 w 10000"/>
                <a:gd name="connsiteY302" fmla="*/ 3620 h 10000"/>
                <a:gd name="connsiteX303" fmla="*/ 2152 w 10000"/>
                <a:gd name="connsiteY303" fmla="*/ 3673 h 10000"/>
                <a:gd name="connsiteX304" fmla="*/ 1790 w 10000"/>
                <a:gd name="connsiteY304" fmla="*/ 3840 h 10000"/>
                <a:gd name="connsiteX305" fmla="*/ 1598 w 10000"/>
                <a:gd name="connsiteY305" fmla="*/ 4042 h 10000"/>
                <a:gd name="connsiteX306" fmla="*/ 1616 w 10000"/>
                <a:gd name="connsiteY306" fmla="*/ 4154 h 10000"/>
                <a:gd name="connsiteX307" fmla="*/ 1681 w 10000"/>
                <a:gd name="connsiteY307" fmla="*/ 4241 h 10000"/>
                <a:gd name="connsiteX308" fmla="*/ 1733 w 10000"/>
                <a:gd name="connsiteY308" fmla="*/ 4276 h 10000"/>
                <a:gd name="connsiteX309" fmla="*/ 1638 w 10000"/>
                <a:gd name="connsiteY309" fmla="*/ 4331 h 10000"/>
                <a:gd name="connsiteX310" fmla="*/ 1433 w 10000"/>
                <a:gd name="connsiteY310" fmla="*/ 4710 h 10000"/>
                <a:gd name="connsiteX311" fmla="*/ 1472 w 10000"/>
                <a:gd name="connsiteY311" fmla="*/ 4732 h 10000"/>
                <a:gd name="connsiteX312" fmla="*/ 1503 w 10000"/>
                <a:gd name="connsiteY312" fmla="*/ 4828 h 10000"/>
                <a:gd name="connsiteX313" fmla="*/ 1407 w 10000"/>
                <a:gd name="connsiteY313" fmla="*/ 5227 h 10000"/>
                <a:gd name="connsiteX314" fmla="*/ 1503 w 10000"/>
                <a:gd name="connsiteY314" fmla="*/ 5329 h 10000"/>
                <a:gd name="connsiteX315" fmla="*/ 1764 w 10000"/>
                <a:gd name="connsiteY315" fmla="*/ 5441 h 10000"/>
                <a:gd name="connsiteX316" fmla="*/ 1777 w 10000"/>
                <a:gd name="connsiteY316" fmla="*/ 5578 h 10000"/>
                <a:gd name="connsiteX317" fmla="*/ 1664 w 10000"/>
                <a:gd name="connsiteY317" fmla="*/ 5690 h 10000"/>
                <a:gd name="connsiteX318" fmla="*/ 1503 w 10000"/>
                <a:gd name="connsiteY318" fmla="*/ 5759 h 10000"/>
                <a:gd name="connsiteX319" fmla="*/ 1289 w 10000"/>
                <a:gd name="connsiteY319" fmla="*/ 5787 h 10000"/>
                <a:gd name="connsiteX320" fmla="*/ 1233 w 10000"/>
                <a:gd name="connsiteY320" fmla="*/ 5826 h 10000"/>
                <a:gd name="connsiteX321" fmla="*/ 1359 w 10000"/>
                <a:gd name="connsiteY321" fmla="*/ 5920 h 10000"/>
                <a:gd name="connsiteX322" fmla="*/ 1429 w 10000"/>
                <a:gd name="connsiteY322" fmla="*/ 6142 h 10000"/>
                <a:gd name="connsiteX323" fmla="*/ 1267 w 10000"/>
                <a:gd name="connsiteY323" fmla="*/ 6333 h 10000"/>
                <a:gd name="connsiteX324" fmla="*/ 1324 w 10000"/>
                <a:gd name="connsiteY324" fmla="*/ 6392 h 10000"/>
                <a:gd name="connsiteX325" fmla="*/ 1272 w 10000"/>
                <a:gd name="connsiteY325" fmla="*/ 6492 h 10000"/>
                <a:gd name="connsiteX326" fmla="*/ 1167 w 10000"/>
                <a:gd name="connsiteY326" fmla="*/ 6561 h 10000"/>
                <a:gd name="connsiteX327" fmla="*/ 758 w 10000"/>
                <a:gd name="connsiteY327" fmla="*/ 6614 h 10000"/>
                <a:gd name="connsiteX328" fmla="*/ 732 w 10000"/>
                <a:gd name="connsiteY328" fmla="*/ 6706 h 10000"/>
                <a:gd name="connsiteX329" fmla="*/ 510 w 10000"/>
                <a:gd name="connsiteY329" fmla="*/ 6843 h 10000"/>
                <a:gd name="connsiteX330" fmla="*/ 540 w 10000"/>
                <a:gd name="connsiteY330" fmla="*/ 7040 h 10000"/>
                <a:gd name="connsiteX331" fmla="*/ 353 w 10000"/>
                <a:gd name="connsiteY331" fmla="*/ 7293 h 10000"/>
                <a:gd name="connsiteX332" fmla="*/ 226 w 10000"/>
                <a:gd name="connsiteY332" fmla="*/ 7323 h 10000"/>
                <a:gd name="connsiteX333" fmla="*/ 174 w 10000"/>
                <a:gd name="connsiteY333" fmla="*/ 7262 h 10000"/>
                <a:gd name="connsiteX334" fmla="*/ 109 w 10000"/>
                <a:gd name="connsiteY334" fmla="*/ 7354 h 10000"/>
                <a:gd name="connsiteX335" fmla="*/ 152 w 10000"/>
                <a:gd name="connsiteY335" fmla="*/ 7197 h 10000"/>
                <a:gd name="connsiteX336" fmla="*/ 126 w 10000"/>
                <a:gd name="connsiteY336"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253 w 10000"/>
                <a:gd name="connsiteY207" fmla="*/ 2762 h 10000"/>
                <a:gd name="connsiteX208" fmla="*/ 8267 w 10000"/>
                <a:gd name="connsiteY208" fmla="*/ 2748 h 10000"/>
                <a:gd name="connsiteX209" fmla="*/ 8397 w 10000"/>
                <a:gd name="connsiteY209" fmla="*/ 2705 h 10000"/>
                <a:gd name="connsiteX210" fmla="*/ 8402 w 10000"/>
                <a:gd name="connsiteY210" fmla="*/ 2662 h 10000"/>
                <a:gd name="connsiteX211" fmla="*/ 8449 w 10000"/>
                <a:gd name="connsiteY211" fmla="*/ 2656 h 10000"/>
                <a:gd name="connsiteX212" fmla="*/ 8558 w 10000"/>
                <a:gd name="connsiteY212" fmla="*/ 2677 h 10000"/>
                <a:gd name="connsiteX213" fmla="*/ 8593 w 10000"/>
                <a:gd name="connsiteY213" fmla="*/ 2669 h 10000"/>
                <a:gd name="connsiteX214" fmla="*/ 8606 w 10000"/>
                <a:gd name="connsiteY214" fmla="*/ 2630 h 10000"/>
                <a:gd name="connsiteX215" fmla="*/ 8567 w 10000"/>
                <a:gd name="connsiteY215" fmla="*/ 2605 h 10000"/>
                <a:gd name="connsiteX216" fmla="*/ 8685 w 10000"/>
                <a:gd name="connsiteY216" fmla="*/ 2597 h 10000"/>
                <a:gd name="connsiteX217" fmla="*/ 8698 w 10000"/>
                <a:gd name="connsiteY217" fmla="*/ 2565 h 10000"/>
                <a:gd name="connsiteX218" fmla="*/ 8558 w 10000"/>
                <a:gd name="connsiteY218" fmla="*/ 2481 h 10000"/>
                <a:gd name="connsiteX219" fmla="*/ 8558 w 10000"/>
                <a:gd name="connsiteY219" fmla="*/ 2459 h 10000"/>
                <a:gd name="connsiteX220" fmla="*/ 8698 w 10000"/>
                <a:gd name="connsiteY220" fmla="*/ 2504 h 10000"/>
                <a:gd name="connsiteX221" fmla="*/ 8763 w 10000"/>
                <a:gd name="connsiteY221" fmla="*/ 2548 h 10000"/>
                <a:gd name="connsiteX222" fmla="*/ 8815 w 10000"/>
                <a:gd name="connsiteY222" fmla="*/ 2548 h 10000"/>
                <a:gd name="connsiteX223" fmla="*/ 8789 w 10000"/>
                <a:gd name="connsiteY223" fmla="*/ 2457 h 10000"/>
                <a:gd name="connsiteX224" fmla="*/ 8798 w 10000"/>
                <a:gd name="connsiteY224" fmla="*/ 2467 h 10000"/>
                <a:gd name="connsiteX225" fmla="*/ 8841 w 10000"/>
                <a:gd name="connsiteY225" fmla="*/ 2457 h 10000"/>
                <a:gd name="connsiteX226" fmla="*/ 8855 w 10000"/>
                <a:gd name="connsiteY226" fmla="*/ 2341 h 10000"/>
                <a:gd name="connsiteX227" fmla="*/ 8898 w 10000"/>
                <a:gd name="connsiteY227" fmla="*/ 2332 h 10000"/>
                <a:gd name="connsiteX228" fmla="*/ 8946 w 10000"/>
                <a:gd name="connsiteY228" fmla="*/ 2330 h 10000"/>
                <a:gd name="connsiteX229" fmla="*/ 8946 w 10000"/>
                <a:gd name="connsiteY229" fmla="*/ 2361 h 10000"/>
                <a:gd name="connsiteX230" fmla="*/ 8994 w 10000"/>
                <a:gd name="connsiteY230" fmla="*/ 2389 h 10000"/>
                <a:gd name="connsiteX231" fmla="*/ 9051 w 10000"/>
                <a:gd name="connsiteY231" fmla="*/ 2400 h 10000"/>
                <a:gd name="connsiteX232" fmla="*/ 9094 w 10000"/>
                <a:gd name="connsiteY232" fmla="*/ 2324 h 10000"/>
                <a:gd name="connsiteX233" fmla="*/ 9164 w 10000"/>
                <a:gd name="connsiteY233" fmla="*/ 2347 h 10000"/>
                <a:gd name="connsiteX234" fmla="*/ 9247 w 10000"/>
                <a:gd name="connsiteY234" fmla="*/ 2402 h 10000"/>
                <a:gd name="connsiteX235" fmla="*/ 9286 w 10000"/>
                <a:gd name="connsiteY235" fmla="*/ 2400 h 10000"/>
                <a:gd name="connsiteX236" fmla="*/ 9355 w 10000"/>
                <a:gd name="connsiteY236" fmla="*/ 2428 h 10000"/>
                <a:gd name="connsiteX237" fmla="*/ 9408 w 10000"/>
                <a:gd name="connsiteY237" fmla="*/ 2359 h 10000"/>
                <a:gd name="connsiteX238" fmla="*/ 9717 w 10000"/>
                <a:gd name="connsiteY238" fmla="*/ 2343 h 10000"/>
                <a:gd name="connsiteX239" fmla="*/ 9830 w 10000"/>
                <a:gd name="connsiteY239" fmla="*/ 2369 h 10000"/>
                <a:gd name="connsiteX240" fmla="*/ 9909 w 10000"/>
                <a:gd name="connsiteY240" fmla="*/ 2410 h 10000"/>
                <a:gd name="connsiteX241" fmla="*/ 9948 w 10000"/>
                <a:gd name="connsiteY241" fmla="*/ 2365 h 10000"/>
                <a:gd name="connsiteX242" fmla="*/ 10000 w 10000"/>
                <a:gd name="connsiteY242" fmla="*/ 2349 h 10000"/>
                <a:gd name="connsiteX243" fmla="*/ 9704 w 10000"/>
                <a:gd name="connsiteY243" fmla="*/ 1992 h 10000"/>
                <a:gd name="connsiteX244" fmla="*/ 9743 w 10000"/>
                <a:gd name="connsiteY244" fmla="*/ 1897 h 10000"/>
                <a:gd name="connsiteX245" fmla="*/ 9830 w 10000"/>
                <a:gd name="connsiteY245" fmla="*/ 1819 h 10000"/>
                <a:gd name="connsiteX246" fmla="*/ 9830 w 10000"/>
                <a:gd name="connsiteY246" fmla="*/ 1699 h 10000"/>
                <a:gd name="connsiteX247" fmla="*/ 9556 w 10000"/>
                <a:gd name="connsiteY247" fmla="*/ 1465 h 10000"/>
                <a:gd name="connsiteX248" fmla="*/ 9512 w 10000"/>
                <a:gd name="connsiteY248" fmla="*/ 1379 h 10000"/>
                <a:gd name="connsiteX249" fmla="*/ 9573 w 10000"/>
                <a:gd name="connsiteY249" fmla="*/ 1271 h 10000"/>
                <a:gd name="connsiteX250" fmla="*/ 9543 w 10000"/>
                <a:gd name="connsiteY250" fmla="*/ 1194 h 10000"/>
                <a:gd name="connsiteX251" fmla="*/ 9486 w 10000"/>
                <a:gd name="connsiteY251" fmla="*/ 1159 h 10000"/>
                <a:gd name="connsiteX252" fmla="*/ 9438 w 10000"/>
                <a:gd name="connsiteY252" fmla="*/ 978 h 10000"/>
                <a:gd name="connsiteX253" fmla="*/ 9495 w 10000"/>
                <a:gd name="connsiteY253" fmla="*/ 831 h 10000"/>
                <a:gd name="connsiteX254" fmla="*/ 9077 w 10000"/>
                <a:gd name="connsiteY254" fmla="*/ 517 h 10000"/>
                <a:gd name="connsiteX255" fmla="*/ 8872 w 10000"/>
                <a:gd name="connsiteY255" fmla="*/ 440 h 10000"/>
                <a:gd name="connsiteX256" fmla="*/ 8493 w 10000"/>
                <a:gd name="connsiteY256" fmla="*/ 389 h 10000"/>
                <a:gd name="connsiteX257" fmla="*/ 7709 w 10000"/>
                <a:gd name="connsiteY257" fmla="*/ 26 h 10000"/>
                <a:gd name="connsiteX258" fmla="*/ 7683 w 10000"/>
                <a:gd name="connsiteY258" fmla="*/ 2 h 10000"/>
                <a:gd name="connsiteX259" fmla="*/ 7417 w 10000"/>
                <a:gd name="connsiteY259" fmla="*/ 0 h 10000"/>
                <a:gd name="connsiteX260" fmla="*/ 7356 w 10000"/>
                <a:gd name="connsiteY260" fmla="*/ 14 h 10000"/>
                <a:gd name="connsiteX261" fmla="*/ 7369 w 10000"/>
                <a:gd name="connsiteY261" fmla="*/ 61 h 10000"/>
                <a:gd name="connsiteX262" fmla="*/ 7422 w 10000"/>
                <a:gd name="connsiteY262" fmla="*/ 86 h 10000"/>
                <a:gd name="connsiteX263" fmla="*/ 7435 w 10000"/>
                <a:gd name="connsiteY263" fmla="*/ 139 h 10000"/>
                <a:gd name="connsiteX264" fmla="*/ 7417 w 10000"/>
                <a:gd name="connsiteY264" fmla="*/ 181 h 10000"/>
                <a:gd name="connsiteX265" fmla="*/ 7369 w 10000"/>
                <a:gd name="connsiteY265" fmla="*/ 208 h 10000"/>
                <a:gd name="connsiteX266" fmla="*/ 7334 w 10000"/>
                <a:gd name="connsiteY266" fmla="*/ 283 h 10000"/>
                <a:gd name="connsiteX267" fmla="*/ 7269 w 10000"/>
                <a:gd name="connsiteY267" fmla="*/ 336 h 10000"/>
                <a:gd name="connsiteX268" fmla="*/ 7282 w 10000"/>
                <a:gd name="connsiteY268" fmla="*/ 387 h 10000"/>
                <a:gd name="connsiteX269" fmla="*/ 7382 w 10000"/>
                <a:gd name="connsiteY269" fmla="*/ 434 h 10000"/>
                <a:gd name="connsiteX270" fmla="*/ 7317 w 10000"/>
                <a:gd name="connsiteY270" fmla="*/ 475 h 10000"/>
                <a:gd name="connsiteX271" fmla="*/ 7221 w 10000"/>
                <a:gd name="connsiteY271" fmla="*/ 485 h 10000"/>
                <a:gd name="connsiteX272" fmla="*/ 6420 w 10000"/>
                <a:gd name="connsiteY272" fmla="*/ 387 h 10000"/>
                <a:gd name="connsiteX273" fmla="*/ 6324 w 10000"/>
                <a:gd name="connsiteY273" fmla="*/ 395 h 10000"/>
                <a:gd name="connsiteX274" fmla="*/ 6267 w 10000"/>
                <a:gd name="connsiteY274" fmla="*/ 414 h 10000"/>
                <a:gd name="connsiteX275" fmla="*/ 6211 w 10000"/>
                <a:gd name="connsiteY275" fmla="*/ 462 h 10000"/>
                <a:gd name="connsiteX276" fmla="*/ 6220 w 10000"/>
                <a:gd name="connsiteY276" fmla="*/ 581 h 10000"/>
                <a:gd name="connsiteX277" fmla="*/ 6132 w 10000"/>
                <a:gd name="connsiteY277" fmla="*/ 735 h 10000"/>
                <a:gd name="connsiteX278" fmla="*/ 6024 w 10000"/>
                <a:gd name="connsiteY278" fmla="*/ 815 h 10000"/>
                <a:gd name="connsiteX279" fmla="*/ 5980 w 10000"/>
                <a:gd name="connsiteY279" fmla="*/ 805 h 10000"/>
                <a:gd name="connsiteX280" fmla="*/ 5880 w 10000"/>
                <a:gd name="connsiteY280" fmla="*/ 739 h 10000"/>
                <a:gd name="connsiteX281" fmla="*/ 5753 w 10000"/>
                <a:gd name="connsiteY281" fmla="*/ 705 h 10000"/>
                <a:gd name="connsiteX282" fmla="*/ 5618 w 10000"/>
                <a:gd name="connsiteY282" fmla="*/ 715 h 10000"/>
                <a:gd name="connsiteX283" fmla="*/ 5301 w 10000"/>
                <a:gd name="connsiteY283" fmla="*/ 866 h 10000"/>
                <a:gd name="connsiteX284" fmla="*/ 5218 w 10000"/>
                <a:gd name="connsiteY284" fmla="*/ 1017 h 10000"/>
                <a:gd name="connsiteX285" fmla="*/ 4978 w 10000"/>
                <a:gd name="connsiteY285" fmla="*/ 1153 h 10000"/>
                <a:gd name="connsiteX286" fmla="*/ 4935 w 10000"/>
                <a:gd name="connsiteY286" fmla="*/ 1222 h 10000"/>
                <a:gd name="connsiteX287" fmla="*/ 5061 w 10000"/>
                <a:gd name="connsiteY287" fmla="*/ 1344 h 10000"/>
                <a:gd name="connsiteX288" fmla="*/ 5074 w 10000"/>
                <a:gd name="connsiteY288" fmla="*/ 1412 h 10000"/>
                <a:gd name="connsiteX289" fmla="*/ 4421 w 10000"/>
                <a:gd name="connsiteY289" fmla="*/ 1813 h 10000"/>
                <a:gd name="connsiteX290" fmla="*/ 4220 w 10000"/>
                <a:gd name="connsiteY290" fmla="*/ 2070 h 10000"/>
                <a:gd name="connsiteX291" fmla="*/ 4003 w 10000"/>
                <a:gd name="connsiteY291" fmla="*/ 2135 h 10000"/>
                <a:gd name="connsiteX292" fmla="*/ 3868 w 10000"/>
                <a:gd name="connsiteY292" fmla="*/ 2131 h 10000"/>
                <a:gd name="connsiteX293" fmla="*/ 3785 w 10000"/>
                <a:gd name="connsiteY293" fmla="*/ 2153 h 10000"/>
                <a:gd name="connsiteX294" fmla="*/ 3558 w 10000"/>
                <a:gd name="connsiteY294" fmla="*/ 2793 h 10000"/>
                <a:gd name="connsiteX295" fmla="*/ 3036 w 10000"/>
                <a:gd name="connsiteY295" fmla="*/ 3166 h 10000"/>
                <a:gd name="connsiteX296" fmla="*/ 3040 w 10000"/>
                <a:gd name="connsiteY296" fmla="*/ 3225 h 10000"/>
                <a:gd name="connsiteX297" fmla="*/ 3271 w 10000"/>
                <a:gd name="connsiteY297" fmla="*/ 3392 h 10000"/>
                <a:gd name="connsiteX298" fmla="*/ 3197 w 10000"/>
                <a:gd name="connsiteY298" fmla="*/ 3573 h 10000"/>
                <a:gd name="connsiteX299" fmla="*/ 3062 w 10000"/>
                <a:gd name="connsiteY299" fmla="*/ 3640 h 10000"/>
                <a:gd name="connsiteX300" fmla="*/ 2657 w 10000"/>
                <a:gd name="connsiteY300" fmla="*/ 3595 h 10000"/>
                <a:gd name="connsiteX301" fmla="*/ 2378 w 10000"/>
                <a:gd name="connsiteY301" fmla="*/ 3620 h 10000"/>
                <a:gd name="connsiteX302" fmla="*/ 2152 w 10000"/>
                <a:gd name="connsiteY302" fmla="*/ 3673 h 10000"/>
                <a:gd name="connsiteX303" fmla="*/ 1790 w 10000"/>
                <a:gd name="connsiteY303" fmla="*/ 3840 h 10000"/>
                <a:gd name="connsiteX304" fmla="*/ 1598 w 10000"/>
                <a:gd name="connsiteY304" fmla="*/ 4042 h 10000"/>
                <a:gd name="connsiteX305" fmla="*/ 1616 w 10000"/>
                <a:gd name="connsiteY305" fmla="*/ 4154 h 10000"/>
                <a:gd name="connsiteX306" fmla="*/ 1681 w 10000"/>
                <a:gd name="connsiteY306" fmla="*/ 4241 h 10000"/>
                <a:gd name="connsiteX307" fmla="*/ 1733 w 10000"/>
                <a:gd name="connsiteY307" fmla="*/ 4276 h 10000"/>
                <a:gd name="connsiteX308" fmla="*/ 1638 w 10000"/>
                <a:gd name="connsiteY308" fmla="*/ 4331 h 10000"/>
                <a:gd name="connsiteX309" fmla="*/ 1433 w 10000"/>
                <a:gd name="connsiteY309" fmla="*/ 4710 h 10000"/>
                <a:gd name="connsiteX310" fmla="*/ 1472 w 10000"/>
                <a:gd name="connsiteY310" fmla="*/ 4732 h 10000"/>
                <a:gd name="connsiteX311" fmla="*/ 1503 w 10000"/>
                <a:gd name="connsiteY311" fmla="*/ 4828 h 10000"/>
                <a:gd name="connsiteX312" fmla="*/ 1407 w 10000"/>
                <a:gd name="connsiteY312" fmla="*/ 5227 h 10000"/>
                <a:gd name="connsiteX313" fmla="*/ 1503 w 10000"/>
                <a:gd name="connsiteY313" fmla="*/ 5329 h 10000"/>
                <a:gd name="connsiteX314" fmla="*/ 1764 w 10000"/>
                <a:gd name="connsiteY314" fmla="*/ 5441 h 10000"/>
                <a:gd name="connsiteX315" fmla="*/ 1777 w 10000"/>
                <a:gd name="connsiteY315" fmla="*/ 5578 h 10000"/>
                <a:gd name="connsiteX316" fmla="*/ 1664 w 10000"/>
                <a:gd name="connsiteY316" fmla="*/ 5690 h 10000"/>
                <a:gd name="connsiteX317" fmla="*/ 1503 w 10000"/>
                <a:gd name="connsiteY317" fmla="*/ 5759 h 10000"/>
                <a:gd name="connsiteX318" fmla="*/ 1289 w 10000"/>
                <a:gd name="connsiteY318" fmla="*/ 5787 h 10000"/>
                <a:gd name="connsiteX319" fmla="*/ 1233 w 10000"/>
                <a:gd name="connsiteY319" fmla="*/ 5826 h 10000"/>
                <a:gd name="connsiteX320" fmla="*/ 1359 w 10000"/>
                <a:gd name="connsiteY320" fmla="*/ 5920 h 10000"/>
                <a:gd name="connsiteX321" fmla="*/ 1429 w 10000"/>
                <a:gd name="connsiteY321" fmla="*/ 6142 h 10000"/>
                <a:gd name="connsiteX322" fmla="*/ 1267 w 10000"/>
                <a:gd name="connsiteY322" fmla="*/ 6333 h 10000"/>
                <a:gd name="connsiteX323" fmla="*/ 1324 w 10000"/>
                <a:gd name="connsiteY323" fmla="*/ 6392 h 10000"/>
                <a:gd name="connsiteX324" fmla="*/ 1272 w 10000"/>
                <a:gd name="connsiteY324" fmla="*/ 6492 h 10000"/>
                <a:gd name="connsiteX325" fmla="*/ 1167 w 10000"/>
                <a:gd name="connsiteY325" fmla="*/ 6561 h 10000"/>
                <a:gd name="connsiteX326" fmla="*/ 758 w 10000"/>
                <a:gd name="connsiteY326" fmla="*/ 6614 h 10000"/>
                <a:gd name="connsiteX327" fmla="*/ 732 w 10000"/>
                <a:gd name="connsiteY327" fmla="*/ 6706 h 10000"/>
                <a:gd name="connsiteX328" fmla="*/ 510 w 10000"/>
                <a:gd name="connsiteY328" fmla="*/ 6843 h 10000"/>
                <a:gd name="connsiteX329" fmla="*/ 540 w 10000"/>
                <a:gd name="connsiteY329" fmla="*/ 7040 h 10000"/>
                <a:gd name="connsiteX330" fmla="*/ 353 w 10000"/>
                <a:gd name="connsiteY330" fmla="*/ 7293 h 10000"/>
                <a:gd name="connsiteX331" fmla="*/ 226 w 10000"/>
                <a:gd name="connsiteY331" fmla="*/ 7323 h 10000"/>
                <a:gd name="connsiteX332" fmla="*/ 174 w 10000"/>
                <a:gd name="connsiteY332" fmla="*/ 7262 h 10000"/>
                <a:gd name="connsiteX333" fmla="*/ 109 w 10000"/>
                <a:gd name="connsiteY333" fmla="*/ 7354 h 10000"/>
                <a:gd name="connsiteX334" fmla="*/ 152 w 10000"/>
                <a:gd name="connsiteY334" fmla="*/ 7197 h 10000"/>
                <a:gd name="connsiteX335" fmla="*/ 126 w 10000"/>
                <a:gd name="connsiteY335"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253 w 10000"/>
                <a:gd name="connsiteY207" fmla="*/ 2762 h 10000"/>
                <a:gd name="connsiteX208" fmla="*/ 8397 w 10000"/>
                <a:gd name="connsiteY208" fmla="*/ 2705 h 10000"/>
                <a:gd name="connsiteX209" fmla="*/ 8402 w 10000"/>
                <a:gd name="connsiteY209" fmla="*/ 2662 h 10000"/>
                <a:gd name="connsiteX210" fmla="*/ 8449 w 10000"/>
                <a:gd name="connsiteY210" fmla="*/ 2656 h 10000"/>
                <a:gd name="connsiteX211" fmla="*/ 8558 w 10000"/>
                <a:gd name="connsiteY211" fmla="*/ 2677 h 10000"/>
                <a:gd name="connsiteX212" fmla="*/ 8593 w 10000"/>
                <a:gd name="connsiteY212" fmla="*/ 2669 h 10000"/>
                <a:gd name="connsiteX213" fmla="*/ 8606 w 10000"/>
                <a:gd name="connsiteY213" fmla="*/ 2630 h 10000"/>
                <a:gd name="connsiteX214" fmla="*/ 8567 w 10000"/>
                <a:gd name="connsiteY214" fmla="*/ 2605 h 10000"/>
                <a:gd name="connsiteX215" fmla="*/ 8685 w 10000"/>
                <a:gd name="connsiteY215" fmla="*/ 2597 h 10000"/>
                <a:gd name="connsiteX216" fmla="*/ 8698 w 10000"/>
                <a:gd name="connsiteY216" fmla="*/ 2565 h 10000"/>
                <a:gd name="connsiteX217" fmla="*/ 8558 w 10000"/>
                <a:gd name="connsiteY217" fmla="*/ 2481 h 10000"/>
                <a:gd name="connsiteX218" fmla="*/ 8558 w 10000"/>
                <a:gd name="connsiteY218" fmla="*/ 2459 h 10000"/>
                <a:gd name="connsiteX219" fmla="*/ 8698 w 10000"/>
                <a:gd name="connsiteY219" fmla="*/ 2504 h 10000"/>
                <a:gd name="connsiteX220" fmla="*/ 8763 w 10000"/>
                <a:gd name="connsiteY220" fmla="*/ 2548 h 10000"/>
                <a:gd name="connsiteX221" fmla="*/ 8815 w 10000"/>
                <a:gd name="connsiteY221" fmla="*/ 2548 h 10000"/>
                <a:gd name="connsiteX222" fmla="*/ 8789 w 10000"/>
                <a:gd name="connsiteY222" fmla="*/ 2457 h 10000"/>
                <a:gd name="connsiteX223" fmla="*/ 8798 w 10000"/>
                <a:gd name="connsiteY223" fmla="*/ 2467 h 10000"/>
                <a:gd name="connsiteX224" fmla="*/ 8841 w 10000"/>
                <a:gd name="connsiteY224" fmla="*/ 2457 h 10000"/>
                <a:gd name="connsiteX225" fmla="*/ 8855 w 10000"/>
                <a:gd name="connsiteY225" fmla="*/ 2341 h 10000"/>
                <a:gd name="connsiteX226" fmla="*/ 8898 w 10000"/>
                <a:gd name="connsiteY226" fmla="*/ 2332 h 10000"/>
                <a:gd name="connsiteX227" fmla="*/ 8946 w 10000"/>
                <a:gd name="connsiteY227" fmla="*/ 2330 h 10000"/>
                <a:gd name="connsiteX228" fmla="*/ 8946 w 10000"/>
                <a:gd name="connsiteY228" fmla="*/ 2361 h 10000"/>
                <a:gd name="connsiteX229" fmla="*/ 8994 w 10000"/>
                <a:gd name="connsiteY229" fmla="*/ 2389 h 10000"/>
                <a:gd name="connsiteX230" fmla="*/ 9051 w 10000"/>
                <a:gd name="connsiteY230" fmla="*/ 2400 h 10000"/>
                <a:gd name="connsiteX231" fmla="*/ 9094 w 10000"/>
                <a:gd name="connsiteY231" fmla="*/ 2324 h 10000"/>
                <a:gd name="connsiteX232" fmla="*/ 9164 w 10000"/>
                <a:gd name="connsiteY232" fmla="*/ 2347 h 10000"/>
                <a:gd name="connsiteX233" fmla="*/ 9247 w 10000"/>
                <a:gd name="connsiteY233" fmla="*/ 2402 h 10000"/>
                <a:gd name="connsiteX234" fmla="*/ 9286 w 10000"/>
                <a:gd name="connsiteY234" fmla="*/ 2400 h 10000"/>
                <a:gd name="connsiteX235" fmla="*/ 9355 w 10000"/>
                <a:gd name="connsiteY235" fmla="*/ 2428 h 10000"/>
                <a:gd name="connsiteX236" fmla="*/ 9408 w 10000"/>
                <a:gd name="connsiteY236" fmla="*/ 2359 h 10000"/>
                <a:gd name="connsiteX237" fmla="*/ 9717 w 10000"/>
                <a:gd name="connsiteY237" fmla="*/ 2343 h 10000"/>
                <a:gd name="connsiteX238" fmla="*/ 9830 w 10000"/>
                <a:gd name="connsiteY238" fmla="*/ 2369 h 10000"/>
                <a:gd name="connsiteX239" fmla="*/ 9909 w 10000"/>
                <a:gd name="connsiteY239" fmla="*/ 2410 h 10000"/>
                <a:gd name="connsiteX240" fmla="*/ 9948 w 10000"/>
                <a:gd name="connsiteY240" fmla="*/ 2365 h 10000"/>
                <a:gd name="connsiteX241" fmla="*/ 10000 w 10000"/>
                <a:gd name="connsiteY241" fmla="*/ 2349 h 10000"/>
                <a:gd name="connsiteX242" fmla="*/ 9704 w 10000"/>
                <a:gd name="connsiteY242" fmla="*/ 1992 h 10000"/>
                <a:gd name="connsiteX243" fmla="*/ 9743 w 10000"/>
                <a:gd name="connsiteY243" fmla="*/ 1897 h 10000"/>
                <a:gd name="connsiteX244" fmla="*/ 9830 w 10000"/>
                <a:gd name="connsiteY244" fmla="*/ 1819 h 10000"/>
                <a:gd name="connsiteX245" fmla="*/ 9830 w 10000"/>
                <a:gd name="connsiteY245" fmla="*/ 1699 h 10000"/>
                <a:gd name="connsiteX246" fmla="*/ 9556 w 10000"/>
                <a:gd name="connsiteY246" fmla="*/ 1465 h 10000"/>
                <a:gd name="connsiteX247" fmla="*/ 9512 w 10000"/>
                <a:gd name="connsiteY247" fmla="*/ 1379 h 10000"/>
                <a:gd name="connsiteX248" fmla="*/ 9573 w 10000"/>
                <a:gd name="connsiteY248" fmla="*/ 1271 h 10000"/>
                <a:gd name="connsiteX249" fmla="*/ 9543 w 10000"/>
                <a:gd name="connsiteY249" fmla="*/ 1194 h 10000"/>
                <a:gd name="connsiteX250" fmla="*/ 9486 w 10000"/>
                <a:gd name="connsiteY250" fmla="*/ 1159 h 10000"/>
                <a:gd name="connsiteX251" fmla="*/ 9438 w 10000"/>
                <a:gd name="connsiteY251" fmla="*/ 978 h 10000"/>
                <a:gd name="connsiteX252" fmla="*/ 9495 w 10000"/>
                <a:gd name="connsiteY252" fmla="*/ 831 h 10000"/>
                <a:gd name="connsiteX253" fmla="*/ 9077 w 10000"/>
                <a:gd name="connsiteY253" fmla="*/ 517 h 10000"/>
                <a:gd name="connsiteX254" fmla="*/ 8872 w 10000"/>
                <a:gd name="connsiteY254" fmla="*/ 440 h 10000"/>
                <a:gd name="connsiteX255" fmla="*/ 8493 w 10000"/>
                <a:gd name="connsiteY255" fmla="*/ 389 h 10000"/>
                <a:gd name="connsiteX256" fmla="*/ 7709 w 10000"/>
                <a:gd name="connsiteY256" fmla="*/ 26 h 10000"/>
                <a:gd name="connsiteX257" fmla="*/ 7683 w 10000"/>
                <a:gd name="connsiteY257" fmla="*/ 2 h 10000"/>
                <a:gd name="connsiteX258" fmla="*/ 7417 w 10000"/>
                <a:gd name="connsiteY258" fmla="*/ 0 h 10000"/>
                <a:gd name="connsiteX259" fmla="*/ 7356 w 10000"/>
                <a:gd name="connsiteY259" fmla="*/ 14 h 10000"/>
                <a:gd name="connsiteX260" fmla="*/ 7369 w 10000"/>
                <a:gd name="connsiteY260" fmla="*/ 61 h 10000"/>
                <a:gd name="connsiteX261" fmla="*/ 7422 w 10000"/>
                <a:gd name="connsiteY261" fmla="*/ 86 h 10000"/>
                <a:gd name="connsiteX262" fmla="*/ 7435 w 10000"/>
                <a:gd name="connsiteY262" fmla="*/ 139 h 10000"/>
                <a:gd name="connsiteX263" fmla="*/ 7417 w 10000"/>
                <a:gd name="connsiteY263" fmla="*/ 181 h 10000"/>
                <a:gd name="connsiteX264" fmla="*/ 7369 w 10000"/>
                <a:gd name="connsiteY264" fmla="*/ 208 h 10000"/>
                <a:gd name="connsiteX265" fmla="*/ 7334 w 10000"/>
                <a:gd name="connsiteY265" fmla="*/ 283 h 10000"/>
                <a:gd name="connsiteX266" fmla="*/ 7269 w 10000"/>
                <a:gd name="connsiteY266" fmla="*/ 336 h 10000"/>
                <a:gd name="connsiteX267" fmla="*/ 7282 w 10000"/>
                <a:gd name="connsiteY267" fmla="*/ 387 h 10000"/>
                <a:gd name="connsiteX268" fmla="*/ 7382 w 10000"/>
                <a:gd name="connsiteY268" fmla="*/ 434 h 10000"/>
                <a:gd name="connsiteX269" fmla="*/ 7317 w 10000"/>
                <a:gd name="connsiteY269" fmla="*/ 475 h 10000"/>
                <a:gd name="connsiteX270" fmla="*/ 7221 w 10000"/>
                <a:gd name="connsiteY270" fmla="*/ 485 h 10000"/>
                <a:gd name="connsiteX271" fmla="*/ 6420 w 10000"/>
                <a:gd name="connsiteY271" fmla="*/ 387 h 10000"/>
                <a:gd name="connsiteX272" fmla="*/ 6324 w 10000"/>
                <a:gd name="connsiteY272" fmla="*/ 395 h 10000"/>
                <a:gd name="connsiteX273" fmla="*/ 6267 w 10000"/>
                <a:gd name="connsiteY273" fmla="*/ 414 h 10000"/>
                <a:gd name="connsiteX274" fmla="*/ 6211 w 10000"/>
                <a:gd name="connsiteY274" fmla="*/ 462 h 10000"/>
                <a:gd name="connsiteX275" fmla="*/ 6220 w 10000"/>
                <a:gd name="connsiteY275" fmla="*/ 581 h 10000"/>
                <a:gd name="connsiteX276" fmla="*/ 6132 w 10000"/>
                <a:gd name="connsiteY276" fmla="*/ 735 h 10000"/>
                <a:gd name="connsiteX277" fmla="*/ 6024 w 10000"/>
                <a:gd name="connsiteY277" fmla="*/ 815 h 10000"/>
                <a:gd name="connsiteX278" fmla="*/ 5980 w 10000"/>
                <a:gd name="connsiteY278" fmla="*/ 805 h 10000"/>
                <a:gd name="connsiteX279" fmla="*/ 5880 w 10000"/>
                <a:gd name="connsiteY279" fmla="*/ 739 h 10000"/>
                <a:gd name="connsiteX280" fmla="*/ 5753 w 10000"/>
                <a:gd name="connsiteY280" fmla="*/ 705 h 10000"/>
                <a:gd name="connsiteX281" fmla="*/ 5618 w 10000"/>
                <a:gd name="connsiteY281" fmla="*/ 715 h 10000"/>
                <a:gd name="connsiteX282" fmla="*/ 5301 w 10000"/>
                <a:gd name="connsiteY282" fmla="*/ 866 h 10000"/>
                <a:gd name="connsiteX283" fmla="*/ 5218 w 10000"/>
                <a:gd name="connsiteY283" fmla="*/ 1017 h 10000"/>
                <a:gd name="connsiteX284" fmla="*/ 4978 w 10000"/>
                <a:gd name="connsiteY284" fmla="*/ 1153 h 10000"/>
                <a:gd name="connsiteX285" fmla="*/ 4935 w 10000"/>
                <a:gd name="connsiteY285" fmla="*/ 1222 h 10000"/>
                <a:gd name="connsiteX286" fmla="*/ 5061 w 10000"/>
                <a:gd name="connsiteY286" fmla="*/ 1344 h 10000"/>
                <a:gd name="connsiteX287" fmla="*/ 5074 w 10000"/>
                <a:gd name="connsiteY287" fmla="*/ 1412 h 10000"/>
                <a:gd name="connsiteX288" fmla="*/ 4421 w 10000"/>
                <a:gd name="connsiteY288" fmla="*/ 1813 h 10000"/>
                <a:gd name="connsiteX289" fmla="*/ 4220 w 10000"/>
                <a:gd name="connsiteY289" fmla="*/ 2070 h 10000"/>
                <a:gd name="connsiteX290" fmla="*/ 4003 w 10000"/>
                <a:gd name="connsiteY290" fmla="*/ 2135 h 10000"/>
                <a:gd name="connsiteX291" fmla="*/ 3868 w 10000"/>
                <a:gd name="connsiteY291" fmla="*/ 2131 h 10000"/>
                <a:gd name="connsiteX292" fmla="*/ 3785 w 10000"/>
                <a:gd name="connsiteY292" fmla="*/ 2153 h 10000"/>
                <a:gd name="connsiteX293" fmla="*/ 3558 w 10000"/>
                <a:gd name="connsiteY293" fmla="*/ 2793 h 10000"/>
                <a:gd name="connsiteX294" fmla="*/ 3036 w 10000"/>
                <a:gd name="connsiteY294" fmla="*/ 3166 h 10000"/>
                <a:gd name="connsiteX295" fmla="*/ 3040 w 10000"/>
                <a:gd name="connsiteY295" fmla="*/ 3225 h 10000"/>
                <a:gd name="connsiteX296" fmla="*/ 3271 w 10000"/>
                <a:gd name="connsiteY296" fmla="*/ 3392 h 10000"/>
                <a:gd name="connsiteX297" fmla="*/ 3197 w 10000"/>
                <a:gd name="connsiteY297" fmla="*/ 3573 h 10000"/>
                <a:gd name="connsiteX298" fmla="*/ 3062 w 10000"/>
                <a:gd name="connsiteY298" fmla="*/ 3640 h 10000"/>
                <a:gd name="connsiteX299" fmla="*/ 2657 w 10000"/>
                <a:gd name="connsiteY299" fmla="*/ 3595 h 10000"/>
                <a:gd name="connsiteX300" fmla="*/ 2378 w 10000"/>
                <a:gd name="connsiteY300" fmla="*/ 3620 h 10000"/>
                <a:gd name="connsiteX301" fmla="*/ 2152 w 10000"/>
                <a:gd name="connsiteY301" fmla="*/ 3673 h 10000"/>
                <a:gd name="connsiteX302" fmla="*/ 1790 w 10000"/>
                <a:gd name="connsiteY302" fmla="*/ 3840 h 10000"/>
                <a:gd name="connsiteX303" fmla="*/ 1598 w 10000"/>
                <a:gd name="connsiteY303" fmla="*/ 4042 h 10000"/>
                <a:gd name="connsiteX304" fmla="*/ 1616 w 10000"/>
                <a:gd name="connsiteY304" fmla="*/ 4154 h 10000"/>
                <a:gd name="connsiteX305" fmla="*/ 1681 w 10000"/>
                <a:gd name="connsiteY305" fmla="*/ 4241 h 10000"/>
                <a:gd name="connsiteX306" fmla="*/ 1733 w 10000"/>
                <a:gd name="connsiteY306" fmla="*/ 4276 h 10000"/>
                <a:gd name="connsiteX307" fmla="*/ 1638 w 10000"/>
                <a:gd name="connsiteY307" fmla="*/ 4331 h 10000"/>
                <a:gd name="connsiteX308" fmla="*/ 1433 w 10000"/>
                <a:gd name="connsiteY308" fmla="*/ 4710 h 10000"/>
                <a:gd name="connsiteX309" fmla="*/ 1472 w 10000"/>
                <a:gd name="connsiteY309" fmla="*/ 4732 h 10000"/>
                <a:gd name="connsiteX310" fmla="*/ 1503 w 10000"/>
                <a:gd name="connsiteY310" fmla="*/ 4828 h 10000"/>
                <a:gd name="connsiteX311" fmla="*/ 1407 w 10000"/>
                <a:gd name="connsiteY311" fmla="*/ 5227 h 10000"/>
                <a:gd name="connsiteX312" fmla="*/ 1503 w 10000"/>
                <a:gd name="connsiteY312" fmla="*/ 5329 h 10000"/>
                <a:gd name="connsiteX313" fmla="*/ 1764 w 10000"/>
                <a:gd name="connsiteY313" fmla="*/ 5441 h 10000"/>
                <a:gd name="connsiteX314" fmla="*/ 1777 w 10000"/>
                <a:gd name="connsiteY314" fmla="*/ 5578 h 10000"/>
                <a:gd name="connsiteX315" fmla="*/ 1664 w 10000"/>
                <a:gd name="connsiteY315" fmla="*/ 5690 h 10000"/>
                <a:gd name="connsiteX316" fmla="*/ 1503 w 10000"/>
                <a:gd name="connsiteY316" fmla="*/ 5759 h 10000"/>
                <a:gd name="connsiteX317" fmla="*/ 1289 w 10000"/>
                <a:gd name="connsiteY317" fmla="*/ 5787 h 10000"/>
                <a:gd name="connsiteX318" fmla="*/ 1233 w 10000"/>
                <a:gd name="connsiteY318" fmla="*/ 5826 h 10000"/>
                <a:gd name="connsiteX319" fmla="*/ 1359 w 10000"/>
                <a:gd name="connsiteY319" fmla="*/ 5920 h 10000"/>
                <a:gd name="connsiteX320" fmla="*/ 1429 w 10000"/>
                <a:gd name="connsiteY320" fmla="*/ 6142 h 10000"/>
                <a:gd name="connsiteX321" fmla="*/ 1267 w 10000"/>
                <a:gd name="connsiteY321" fmla="*/ 6333 h 10000"/>
                <a:gd name="connsiteX322" fmla="*/ 1324 w 10000"/>
                <a:gd name="connsiteY322" fmla="*/ 6392 h 10000"/>
                <a:gd name="connsiteX323" fmla="*/ 1272 w 10000"/>
                <a:gd name="connsiteY323" fmla="*/ 6492 h 10000"/>
                <a:gd name="connsiteX324" fmla="*/ 1167 w 10000"/>
                <a:gd name="connsiteY324" fmla="*/ 6561 h 10000"/>
                <a:gd name="connsiteX325" fmla="*/ 758 w 10000"/>
                <a:gd name="connsiteY325" fmla="*/ 6614 h 10000"/>
                <a:gd name="connsiteX326" fmla="*/ 732 w 10000"/>
                <a:gd name="connsiteY326" fmla="*/ 6706 h 10000"/>
                <a:gd name="connsiteX327" fmla="*/ 510 w 10000"/>
                <a:gd name="connsiteY327" fmla="*/ 6843 h 10000"/>
                <a:gd name="connsiteX328" fmla="*/ 540 w 10000"/>
                <a:gd name="connsiteY328" fmla="*/ 7040 h 10000"/>
                <a:gd name="connsiteX329" fmla="*/ 353 w 10000"/>
                <a:gd name="connsiteY329" fmla="*/ 7293 h 10000"/>
                <a:gd name="connsiteX330" fmla="*/ 226 w 10000"/>
                <a:gd name="connsiteY330" fmla="*/ 7323 h 10000"/>
                <a:gd name="connsiteX331" fmla="*/ 174 w 10000"/>
                <a:gd name="connsiteY331" fmla="*/ 7262 h 10000"/>
                <a:gd name="connsiteX332" fmla="*/ 109 w 10000"/>
                <a:gd name="connsiteY332" fmla="*/ 7354 h 10000"/>
                <a:gd name="connsiteX333" fmla="*/ 152 w 10000"/>
                <a:gd name="connsiteY333" fmla="*/ 7197 h 10000"/>
                <a:gd name="connsiteX334" fmla="*/ 126 w 10000"/>
                <a:gd name="connsiteY334"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253 w 10000"/>
                <a:gd name="connsiteY207" fmla="*/ 2762 h 10000"/>
                <a:gd name="connsiteX208" fmla="*/ 8397 w 10000"/>
                <a:gd name="connsiteY208" fmla="*/ 2705 h 10000"/>
                <a:gd name="connsiteX209" fmla="*/ 8402 w 10000"/>
                <a:gd name="connsiteY209" fmla="*/ 2662 h 10000"/>
                <a:gd name="connsiteX210" fmla="*/ 8449 w 10000"/>
                <a:gd name="connsiteY210" fmla="*/ 2656 h 10000"/>
                <a:gd name="connsiteX211" fmla="*/ 8593 w 10000"/>
                <a:gd name="connsiteY211" fmla="*/ 2669 h 10000"/>
                <a:gd name="connsiteX212" fmla="*/ 8606 w 10000"/>
                <a:gd name="connsiteY212" fmla="*/ 2630 h 10000"/>
                <a:gd name="connsiteX213" fmla="*/ 8567 w 10000"/>
                <a:gd name="connsiteY213" fmla="*/ 2605 h 10000"/>
                <a:gd name="connsiteX214" fmla="*/ 8685 w 10000"/>
                <a:gd name="connsiteY214" fmla="*/ 2597 h 10000"/>
                <a:gd name="connsiteX215" fmla="*/ 8698 w 10000"/>
                <a:gd name="connsiteY215" fmla="*/ 2565 h 10000"/>
                <a:gd name="connsiteX216" fmla="*/ 8558 w 10000"/>
                <a:gd name="connsiteY216" fmla="*/ 2481 h 10000"/>
                <a:gd name="connsiteX217" fmla="*/ 8558 w 10000"/>
                <a:gd name="connsiteY217" fmla="*/ 2459 h 10000"/>
                <a:gd name="connsiteX218" fmla="*/ 8698 w 10000"/>
                <a:gd name="connsiteY218" fmla="*/ 2504 h 10000"/>
                <a:gd name="connsiteX219" fmla="*/ 8763 w 10000"/>
                <a:gd name="connsiteY219" fmla="*/ 2548 h 10000"/>
                <a:gd name="connsiteX220" fmla="*/ 8815 w 10000"/>
                <a:gd name="connsiteY220" fmla="*/ 2548 h 10000"/>
                <a:gd name="connsiteX221" fmla="*/ 8789 w 10000"/>
                <a:gd name="connsiteY221" fmla="*/ 2457 h 10000"/>
                <a:gd name="connsiteX222" fmla="*/ 8798 w 10000"/>
                <a:gd name="connsiteY222" fmla="*/ 2467 h 10000"/>
                <a:gd name="connsiteX223" fmla="*/ 8841 w 10000"/>
                <a:gd name="connsiteY223" fmla="*/ 2457 h 10000"/>
                <a:gd name="connsiteX224" fmla="*/ 8855 w 10000"/>
                <a:gd name="connsiteY224" fmla="*/ 2341 h 10000"/>
                <a:gd name="connsiteX225" fmla="*/ 8898 w 10000"/>
                <a:gd name="connsiteY225" fmla="*/ 2332 h 10000"/>
                <a:gd name="connsiteX226" fmla="*/ 8946 w 10000"/>
                <a:gd name="connsiteY226" fmla="*/ 2330 h 10000"/>
                <a:gd name="connsiteX227" fmla="*/ 8946 w 10000"/>
                <a:gd name="connsiteY227" fmla="*/ 2361 h 10000"/>
                <a:gd name="connsiteX228" fmla="*/ 8994 w 10000"/>
                <a:gd name="connsiteY228" fmla="*/ 2389 h 10000"/>
                <a:gd name="connsiteX229" fmla="*/ 9051 w 10000"/>
                <a:gd name="connsiteY229" fmla="*/ 2400 h 10000"/>
                <a:gd name="connsiteX230" fmla="*/ 9094 w 10000"/>
                <a:gd name="connsiteY230" fmla="*/ 2324 h 10000"/>
                <a:gd name="connsiteX231" fmla="*/ 9164 w 10000"/>
                <a:gd name="connsiteY231" fmla="*/ 2347 h 10000"/>
                <a:gd name="connsiteX232" fmla="*/ 9247 w 10000"/>
                <a:gd name="connsiteY232" fmla="*/ 2402 h 10000"/>
                <a:gd name="connsiteX233" fmla="*/ 9286 w 10000"/>
                <a:gd name="connsiteY233" fmla="*/ 2400 h 10000"/>
                <a:gd name="connsiteX234" fmla="*/ 9355 w 10000"/>
                <a:gd name="connsiteY234" fmla="*/ 2428 h 10000"/>
                <a:gd name="connsiteX235" fmla="*/ 9408 w 10000"/>
                <a:gd name="connsiteY235" fmla="*/ 2359 h 10000"/>
                <a:gd name="connsiteX236" fmla="*/ 9717 w 10000"/>
                <a:gd name="connsiteY236" fmla="*/ 2343 h 10000"/>
                <a:gd name="connsiteX237" fmla="*/ 9830 w 10000"/>
                <a:gd name="connsiteY237" fmla="*/ 2369 h 10000"/>
                <a:gd name="connsiteX238" fmla="*/ 9909 w 10000"/>
                <a:gd name="connsiteY238" fmla="*/ 2410 h 10000"/>
                <a:gd name="connsiteX239" fmla="*/ 9948 w 10000"/>
                <a:gd name="connsiteY239" fmla="*/ 2365 h 10000"/>
                <a:gd name="connsiteX240" fmla="*/ 10000 w 10000"/>
                <a:gd name="connsiteY240" fmla="*/ 2349 h 10000"/>
                <a:gd name="connsiteX241" fmla="*/ 9704 w 10000"/>
                <a:gd name="connsiteY241" fmla="*/ 1992 h 10000"/>
                <a:gd name="connsiteX242" fmla="*/ 9743 w 10000"/>
                <a:gd name="connsiteY242" fmla="*/ 1897 h 10000"/>
                <a:gd name="connsiteX243" fmla="*/ 9830 w 10000"/>
                <a:gd name="connsiteY243" fmla="*/ 1819 h 10000"/>
                <a:gd name="connsiteX244" fmla="*/ 9830 w 10000"/>
                <a:gd name="connsiteY244" fmla="*/ 1699 h 10000"/>
                <a:gd name="connsiteX245" fmla="*/ 9556 w 10000"/>
                <a:gd name="connsiteY245" fmla="*/ 1465 h 10000"/>
                <a:gd name="connsiteX246" fmla="*/ 9512 w 10000"/>
                <a:gd name="connsiteY246" fmla="*/ 1379 h 10000"/>
                <a:gd name="connsiteX247" fmla="*/ 9573 w 10000"/>
                <a:gd name="connsiteY247" fmla="*/ 1271 h 10000"/>
                <a:gd name="connsiteX248" fmla="*/ 9543 w 10000"/>
                <a:gd name="connsiteY248" fmla="*/ 1194 h 10000"/>
                <a:gd name="connsiteX249" fmla="*/ 9486 w 10000"/>
                <a:gd name="connsiteY249" fmla="*/ 1159 h 10000"/>
                <a:gd name="connsiteX250" fmla="*/ 9438 w 10000"/>
                <a:gd name="connsiteY250" fmla="*/ 978 h 10000"/>
                <a:gd name="connsiteX251" fmla="*/ 9495 w 10000"/>
                <a:gd name="connsiteY251" fmla="*/ 831 h 10000"/>
                <a:gd name="connsiteX252" fmla="*/ 9077 w 10000"/>
                <a:gd name="connsiteY252" fmla="*/ 517 h 10000"/>
                <a:gd name="connsiteX253" fmla="*/ 8872 w 10000"/>
                <a:gd name="connsiteY253" fmla="*/ 440 h 10000"/>
                <a:gd name="connsiteX254" fmla="*/ 8493 w 10000"/>
                <a:gd name="connsiteY254" fmla="*/ 389 h 10000"/>
                <a:gd name="connsiteX255" fmla="*/ 7709 w 10000"/>
                <a:gd name="connsiteY255" fmla="*/ 26 h 10000"/>
                <a:gd name="connsiteX256" fmla="*/ 7683 w 10000"/>
                <a:gd name="connsiteY256" fmla="*/ 2 h 10000"/>
                <a:gd name="connsiteX257" fmla="*/ 7417 w 10000"/>
                <a:gd name="connsiteY257" fmla="*/ 0 h 10000"/>
                <a:gd name="connsiteX258" fmla="*/ 7356 w 10000"/>
                <a:gd name="connsiteY258" fmla="*/ 14 h 10000"/>
                <a:gd name="connsiteX259" fmla="*/ 7369 w 10000"/>
                <a:gd name="connsiteY259" fmla="*/ 61 h 10000"/>
                <a:gd name="connsiteX260" fmla="*/ 7422 w 10000"/>
                <a:gd name="connsiteY260" fmla="*/ 86 h 10000"/>
                <a:gd name="connsiteX261" fmla="*/ 7435 w 10000"/>
                <a:gd name="connsiteY261" fmla="*/ 139 h 10000"/>
                <a:gd name="connsiteX262" fmla="*/ 7417 w 10000"/>
                <a:gd name="connsiteY262" fmla="*/ 181 h 10000"/>
                <a:gd name="connsiteX263" fmla="*/ 7369 w 10000"/>
                <a:gd name="connsiteY263" fmla="*/ 208 h 10000"/>
                <a:gd name="connsiteX264" fmla="*/ 7334 w 10000"/>
                <a:gd name="connsiteY264" fmla="*/ 283 h 10000"/>
                <a:gd name="connsiteX265" fmla="*/ 7269 w 10000"/>
                <a:gd name="connsiteY265" fmla="*/ 336 h 10000"/>
                <a:gd name="connsiteX266" fmla="*/ 7282 w 10000"/>
                <a:gd name="connsiteY266" fmla="*/ 387 h 10000"/>
                <a:gd name="connsiteX267" fmla="*/ 7382 w 10000"/>
                <a:gd name="connsiteY267" fmla="*/ 434 h 10000"/>
                <a:gd name="connsiteX268" fmla="*/ 7317 w 10000"/>
                <a:gd name="connsiteY268" fmla="*/ 475 h 10000"/>
                <a:gd name="connsiteX269" fmla="*/ 7221 w 10000"/>
                <a:gd name="connsiteY269" fmla="*/ 485 h 10000"/>
                <a:gd name="connsiteX270" fmla="*/ 6420 w 10000"/>
                <a:gd name="connsiteY270" fmla="*/ 387 h 10000"/>
                <a:gd name="connsiteX271" fmla="*/ 6324 w 10000"/>
                <a:gd name="connsiteY271" fmla="*/ 395 h 10000"/>
                <a:gd name="connsiteX272" fmla="*/ 6267 w 10000"/>
                <a:gd name="connsiteY272" fmla="*/ 414 h 10000"/>
                <a:gd name="connsiteX273" fmla="*/ 6211 w 10000"/>
                <a:gd name="connsiteY273" fmla="*/ 462 h 10000"/>
                <a:gd name="connsiteX274" fmla="*/ 6220 w 10000"/>
                <a:gd name="connsiteY274" fmla="*/ 581 h 10000"/>
                <a:gd name="connsiteX275" fmla="*/ 6132 w 10000"/>
                <a:gd name="connsiteY275" fmla="*/ 735 h 10000"/>
                <a:gd name="connsiteX276" fmla="*/ 6024 w 10000"/>
                <a:gd name="connsiteY276" fmla="*/ 815 h 10000"/>
                <a:gd name="connsiteX277" fmla="*/ 5980 w 10000"/>
                <a:gd name="connsiteY277" fmla="*/ 805 h 10000"/>
                <a:gd name="connsiteX278" fmla="*/ 5880 w 10000"/>
                <a:gd name="connsiteY278" fmla="*/ 739 h 10000"/>
                <a:gd name="connsiteX279" fmla="*/ 5753 w 10000"/>
                <a:gd name="connsiteY279" fmla="*/ 705 h 10000"/>
                <a:gd name="connsiteX280" fmla="*/ 5618 w 10000"/>
                <a:gd name="connsiteY280" fmla="*/ 715 h 10000"/>
                <a:gd name="connsiteX281" fmla="*/ 5301 w 10000"/>
                <a:gd name="connsiteY281" fmla="*/ 866 h 10000"/>
                <a:gd name="connsiteX282" fmla="*/ 5218 w 10000"/>
                <a:gd name="connsiteY282" fmla="*/ 1017 h 10000"/>
                <a:gd name="connsiteX283" fmla="*/ 4978 w 10000"/>
                <a:gd name="connsiteY283" fmla="*/ 1153 h 10000"/>
                <a:gd name="connsiteX284" fmla="*/ 4935 w 10000"/>
                <a:gd name="connsiteY284" fmla="*/ 1222 h 10000"/>
                <a:gd name="connsiteX285" fmla="*/ 5061 w 10000"/>
                <a:gd name="connsiteY285" fmla="*/ 1344 h 10000"/>
                <a:gd name="connsiteX286" fmla="*/ 5074 w 10000"/>
                <a:gd name="connsiteY286" fmla="*/ 1412 h 10000"/>
                <a:gd name="connsiteX287" fmla="*/ 4421 w 10000"/>
                <a:gd name="connsiteY287" fmla="*/ 1813 h 10000"/>
                <a:gd name="connsiteX288" fmla="*/ 4220 w 10000"/>
                <a:gd name="connsiteY288" fmla="*/ 2070 h 10000"/>
                <a:gd name="connsiteX289" fmla="*/ 4003 w 10000"/>
                <a:gd name="connsiteY289" fmla="*/ 2135 h 10000"/>
                <a:gd name="connsiteX290" fmla="*/ 3868 w 10000"/>
                <a:gd name="connsiteY290" fmla="*/ 2131 h 10000"/>
                <a:gd name="connsiteX291" fmla="*/ 3785 w 10000"/>
                <a:gd name="connsiteY291" fmla="*/ 2153 h 10000"/>
                <a:gd name="connsiteX292" fmla="*/ 3558 w 10000"/>
                <a:gd name="connsiteY292" fmla="*/ 2793 h 10000"/>
                <a:gd name="connsiteX293" fmla="*/ 3036 w 10000"/>
                <a:gd name="connsiteY293" fmla="*/ 3166 h 10000"/>
                <a:gd name="connsiteX294" fmla="*/ 3040 w 10000"/>
                <a:gd name="connsiteY294" fmla="*/ 3225 h 10000"/>
                <a:gd name="connsiteX295" fmla="*/ 3271 w 10000"/>
                <a:gd name="connsiteY295" fmla="*/ 3392 h 10000"/>
                <a:gd name="connsiteX296" fmla="*/ 3197 w 10000"/>
                <a:gd name="connsiteY296" fmla="*/ 3573 h 10000"/>
                <a:gd name="connsiteX297" fmla="*/ 3062 w 10000"/>
                <a:gd name="connsiteY297" fmla="*/ 3640 h 10000"/>
                <a:gd name="connsiteX298" fmla="*/ 2657 w 10000"/>
                <a:gd name="connsiteY298" fmla="*/ 3595 h 10000"/>
                <a:gd name="connsiteX299" fmla="*/ 2378 w 10000"/>
                <a:gd name="connsiteY299" fmla="*/ 3620 h 10000"/>
                <a:gd name="connsiteX300" fmla="*/ 2152 w 10000"/>
                <a:gd name="connsiteY300" fmla="*/ 3673 h 10000"/>
                <a:gd name="connsiteX301" fmla="*/ 1790 w 10000"/>
                <a:gd name="connsiteY301" fmla="*/ 3840 h 10000"/>
                <a:gd name="connsiteX302" fmla="*/ 1598 w 10000"/>
                <a:gd name="connsiteY302" fmla="*/ 4042 h 10000"/>
                <a:gd name="connsiteX303" fmla="*/ 1616 w 10000"/>
                <a:gd name="connsiteY303" fmla="*/ 4154 h 10000"/>
                <a:gd name="connsiteX304" fmla="*/ 1681 w 10000"/>
                <a:gd name="connsiteY304" fmla="*/ 4241 h 10000"/>
                <a:gd name="connsiteX305" fmla="*/ 1733 w 10000"/>
                <a:gd name="connsiteY305" fmla="*/ 4276 h 10000"/>
                <a:gd name="connsiteX306" fmla="*/ 1638 w 10000"/>
                <a:gd name="connsiteY306" fmla="*/ 4331 h 10000"/>
                <a:gd name="connsiteX307" fmla="*/ 1433 w 10000"/>
                <a:gd name="connsiteY307" fmla="*/ 4710 h 10000"/>
                <a:gd name="connsiteX308" fmla="*/ 1472 w 10000"/>
                <a:gd name="connsiteY308" fmla="*/ 4732 h 10000"/>
                <a:gd name="connsiteX309" fmla="*/ 1503 w 10000"/>
                <a:gd name="connsiteY309" fmla="*/ 4828 h 10000"/>
                <a:gd name="connsiteX310" fmla="*/ 1407 w 10000"/>
                <a:gd name="connsiteY310" fmla="*/ 5227 h 10000"/>
                <a:gd name="connsiteX311" fmla="*/ 1503 w 10000"/>
                <a:gd name="connsiteY311" fmla="*/ 5329 h 10000"/>
                <a:gd name="connsiteX312" fmla="*/ 1764 w 10000"/>
                <a:gd name="connsiteY312" fmla="*/ 5441 h 10000"/>
                <a:gd name="connsiteX313" fmla="*/ 1777 w 10000"/>
                <a:gd name="connsiteY313" fmla="*/ 5578 h 10000"/>
                <a:gd name="connsiteX314" fmla="*/ 1664 w 10000"/>
                <a:gd name="connsiteY314" fmla="*/ 5690 h 10000"/>
                <a:gd name="connsiteX315" fmla="*/ 1503 w 10000"/>
                <a:gd name="connsiteY315" fmla="*/ 5759 h 10000"/>
                <a:gd name="connsiteX316" fmla="*/ 1289 w 10000"/>
                <a:gd name="connsiteY316" fmla="*/ 5787 h 10000"/>
                <a:gd name="connsiteX317" fmla="*/ 1233 w 10000"/>
                <a:gd name="connsiteY317" fmla="*/ 5826 h 10000"/>
                <a:gd name="connsiteX318" fmla="*/ 1359 w 10000"/>
                <a:gd name="connsiteY318" fmla="*/ 5920 h 10000"/>
                <a:gd name="connsiteX319" fmla="*/ 1429 w 10000"/>
                <a:gd name="connsiteY319" fmla="*/ 6142 h 10000"/>
                <a:gd name="connsiteX320" fmla="*/ 1267 w 10000"/>
                <a:gd name="connsiteY320" fmla="*/ 6333 h 10000"/>
                <a:gd name="connsiteX321" fmla="*/ 1324 w 10000"/>
                <a:gd name="connsiteY321" fmla="*/ 6392 h 10000"/>
                <a:gd name="connsiteX322" fmla="*/ 1272 w 10000"/>
                <a:gd name="connsiteY322" fmla="*/ 6492 h 10000"/>
                <a:gd name="connsiteX323" fmla="*/ 1167 w 10000"/>
                <a:gd name="connsiteY323" fmla="*/ 6561 h 10000"/>
                <a:gd name="connsiteX324" fmla="*/ 758 w 10000"/>
                <a:gd name="connsiteY324" fmla="*/ 6614 h 10000"/>
                <a:gd name="connsiteX325" fmla="*/ 732 w 10000"/>
                <a:gd name="connsiteY325" fmla="*/ 6706 h 10000"/>
                <a:gd name="connsiteX326" fmla="*/ 510 w 10000"/>
                <a:gd name="connsiteY326" fmla="*/ 6843 h 10000"/>
                <a:gd name="connsiteX327" fmla="*/ 540 w 10000"/>
                <a:gd name="connsiteY327" fmla="*/ 7040 h 10000"/>
                <a:gd name="connsiteX328" fmla="*/ 353 w 10000"/>
                <a:gd name="connsiteY328" fmla="*/ 7293 h 10000"/>
                <a:gd name="connsiteX329" fmla="*/ 226 w 10000"/>
                <a:gd name="connsiteY329" fmla="*/ 7323 h 10000"/>
                <a:gd name="connsiteX330" fmla="*/ 174 w 10000"/>
                <a:gd name="connsiteY330" fmla="*/ 7262 h 10000"/>
                <a:gd name="connsiteX331" fmla="*/ 109 w 10000"/>
                <a:gd name="connsiteY331" fmla="*/ 7354 h 10000"/>
                <a:gd name="connsiteX332" fmla="*/ 152 w 10000"/>
                <a:gd name="connsiteY332" fmla="*/ 7197 h 10000"/>
                <a:gd name="connsiteX333" fmla="*/ 126 w 10000"/>
                <a:gd name="connsiteY333"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253 w 10000"/>
                <a:gd name="connsiteY207" fmla="*/ 2762 h 10000"/>
                <a:gd name="connsiteX208" fmla="*/ 8397 w 10000"/>
                <a:gd name="connsiteY208" fmla="*/ 2705 h 10000"/>
                <a:gd name="connsiteX209" fmla="*/ 8402 w 10000"/>
                <a:gd name="connsiteY209" fmla="*/ 2662 h 10000"/>
                <a:gd name="connsiteX210" fmla="*/ 8449 w 10000"/>
                <a:gd name="connsiteY210" fmla="*/ 2656 h 10000"/>
                <a:gd name="connsiteX211" fmla="*/ 8593 w 10000"/>
                <a:gd name="connsiteY211" fmla="*/ 2669 h 10000"/>
                <a:gd name="connsiteX212" fmla="*/ 8606 w 10000"/>
                <a:gd name="connsiteY212" fmla="*/ 2630 h 10000"/>
                <a:gd name="connsiteX213" fmla="*/ 8567 w 10000"/>
                <a:gd name="connsiteY213" fmla="*/ 2605 h 10000"/>
                <a:gd name="connsiteX214" fmla="*/ 8685 w 10000"/>
                <a:gd name="connsiteY214" fmla="*/ 2597 h 10000"/>
                <a:gd name="connsiteX215" fmla="*/ 8558 w 10000"/>
                <a:gd name="connsiteY215" fmla="*/ 2481 h 10000"/>
                <a:gd name="connsiteX216" fmla="*/ 8558 w 10000"/>
                <a:gd name="connsiteY216" fmla="*/ 2459 h 10000"/>
                <a:gd name="connsiteX217" fmla="*/ 8698 w 10000"/>
                <a:gd name="connsiteY217" fmla="*/ 2504 h 10000"/>
                <a:gd name="connsiteX218" fmla="*/ 8763 w 10000"/>
                <a:gd name="connsiteY218" fmla="*/ 2548 h 10000"/>
                <a:gd name="connsiteX219" fmla="*/ 8815 w 10000"/>
                <a:gd name="connsiteY219" fmla="*/ 2548 h 10000"/>
                <a:gd name="connsiteX220" fmla="*/ 8789 w 10000"/>
                <a:gd name="connsiteY220" fmla="*/ 2457 h 10000"/>
                <a:gd name="connsiteX221" fmla="*/ 8798 w 10000"/>
                <a:gd name="connsiteY221" fmla="*/ 2467 h 10000"/>
                <a:gd name="connsiteX222" fmla="*/ 8841 w 10000"/>
                <a:gd name="connsiteY222" fmla="*/ 2457 h 10000"/>
                <a:gd name="connsiteX223" fmla="*/ 8855 w 10000"/>
                <a:gd name="connsiteY223" fmla="*/ 2341 h 10000"/>
                <a:gd name="connsiteX224" fmla="*/ 8898 w 10000"/>
                <a:gd name="connsiteY224" fmla="*/ 2332 h 10000"/>
                <a:gd name="connsiteX225" fmla="*/ 8946 w 10000"/>
                <a:gd name="connsiteY225" fmla="*/ 2330 h 10000"/>
                <a:gd name="connsiteX226" fmla="*/ 8946 w 10000"/>
                <a:gd name="connsiteY226" fmla="*/ 2361 h 10000"/>
                <a:gd name="connsiteX227" fmla="*/ 8994 w 10000"/>
                <a:gd name="connsiteY227" fmla="*/ 2389 h 10000"/>
                <a:gd name="connsiteX228" fmla="*/ 9051 w 10000"/>
                <a:gd name="connsiteY228" fmla="*/ 2400 h 10000"/>
                <a:gd name="connsiteX229" fmla="*/ 9094 w 10000"/>
                <a:gd name="connsiteY229" fmla="*/ 2324 h 10000"/>
                <a:gd name="connsiteX230" fmla="*/ 9164 w 10000"/>
                <a:gd name="connsiteY230" fmla="*/ 2347 h 10000"/>
                <a:gd name="connsiteX231" fmla="*/ 9247 w 10000"/>
                <a:gd name="connsiteY231" fmla="*/ 2402 h 10000"/>
                <a:gd name="connsiteX232" fmla="*/ 9286 w 10000"/>
                <a:gd name="connsiteY232" fmla="*/ 2400 h 10000"/>
                <a:gd name="connsiteX233" fmla="*/ 9355 w 10000"/>
                <a:gd name="connsiteY233" fmla="*/ 2428 h 10000"/>
                <a:gd name="connsiteX234" fmla="*/ 9408 w 10000"/>
                <a:gd name="connsiteY234" fmla="*/ 2359 h 10000"/>
                <a:gd name="connsiteX235" fmla="*/ 9717 w 10000"/>
                <a:gd name="connsiteY235" fmla="*/ 2343 h 10000"/>
                <a:gd name="connsiteX236" fmla="*/ 9830 w 10000"/>
                <a:gd name="connsiteY236" fmla="*/ 2369 h 10000"/>
                <a:gd name="connsiteX237" fmla="*/ 9909 w 10000"/>
                <a:gd name="connsiteY237" fmla="*/ 2410 h 10000"/>
                <a:gd name="connsiteX238" fmla="*/ 9948 w 10000"/>
                <a:gd name="connsiteY238" fmla="*/ 2365 h 10000"/>
                <a:gd name="connsiteX239" fmla="*/ 10000 w 10000"/>
                <a:gd name="connsiteY239" fmla="*/ 2349 h 10000"/>
                <a:gd name="connsiteX240" fmla="*/ 9704 w 10000"/>
                <a:gd name="connsiteY240" fmla="*/ 1992 h 10000"/>
                <a:gd name="connsiteX241" fmla="*/ 9743 w 10000"/>
                <a:gd name="connsiteY241" fmla="*/ 1897 h 10000"/>
                <a:gd name="connsiteX242" fmla="*/ 9830 w 10000"/>
                <a:gd name="connsiteY242" fmla="*/ 1819 h 10000"/>
                <a:gd name="connsiteX243" fmla="*/ 9830 w 10000"/>
                <a:gd name="connsiteY243" fmla="*/ 1699 h 10000"/>
                <a:gd name="connsiteX244" fmla="*/ 9556 w 10000"/>
                <a:gd name="connsiteY244" fmla="*/ 1465 h 10000"/>
                <a:gd name="connsiteX245" fmla="*/ 9512 w 10000"/>
                <a:gd name="connsiteY245" fmla="*/ 1379 h 10000"/>
                <a:gd name="connsiteX246" fmla="*/ 9573 w 10000"/>
                <a:gd name="connsiteY246" fmla="*/ 1271 h 10000"/>
                <a:gd name="connsiteX247" fmla="*/ 9543 w 10000"/>
                <a:gd name="connsiteY247" fmla="*/ 1194 h 10000"/>
                <a:gd name="connsiteX248" fmla="*/ 9486 w 10000"/>
                <a:gd name="connsiteY248" fmla="*/ 1159 h 10000"/>
                <a:gd name="connsiteX249" fmla="*/ 9438 w 10000"/>
                <a:gd name="connsiteY249" fmla="*/ 978 h 10000"/>
                <a:gd name="connsiteX250" fmla="*/ 9495 w 10000"/>
                <a:gd name="connsiteY250" fmla="*/ 831 h 10000"/>
                <a:gd name="connsiteX251" fmla="*/ 9077 w 10000"/>
                <a:gd name="connsiteY251" fmla="*/ 517 h 10000"/>
                <a:gd name="connsiteX252" fmla="*/ 8872 w 10000"/>
                <a:gd name="connsiteY252" fmla="*/ 440 h 10000"/>
                <a:gd name="connsiteX253" fmla="*/ 8493 w 10000"/>
                <a:gd name="connsiteY253" fmla="*/ 389 h 10000"/>
                <a:gd name="connsiteX254" fmla="*/ 7709 w 10000"/>
                <a:gd name="connsiteY254" fmla="*/ 26 h 10000"/>
                <a:gd name="connsiteX255" fmla="*/ 7683 w 10000"/>
                <a:gd name="connsiteY255" fmla="*/ 2 h 10000"/>
                <a:gd name="connsiteX256" fmla="*/ 7417 w 10000"/>
                <a:gd name="connsiteY256" fmla="*/ 0 h 10000"/>
                <a:gd name="connsiteX257" fmla="*/ 7356 w 10000"/>
                <a:gd name="connsiteY257" fmla="*/ 14 h 10000"/>
                <a:gd name="connsiteX258" fmla="*/ 7369 w 10000"/>
                <a:gd name="connsiteY258" fmla="*/ 61 h 10000"/>
                <a:gd name="connsiteX259" fmla="*/ 7422 w 10000"/>
                <a:gd name="connsiteY259" fmla="*/ 86 h 10000"/>
                <a:gd name="connsiteX260" fmla="*/ 7435 w 10000"/>
                <a:gd name="connsiteY260" fmla="*/ 139 h 10000"/>
                <a:gd name="connsiteX261" fmla="*/ 7417 w 10000"/>
                <a:gd name="connsiteY261" fmla="*/ 181 h 10000"/>
                <a:gd name="connsiteX262" fmla="*/ 7369 w 10000"/>
                <a:gd name="connsiteY262" fmla="*/ 208 h 10000"/>
                <a:gd name="connsiteX263" fmla="*/ 7334 w 10000"/>
                <a:gd name="connsiteY263" fmla="*/ 283 h 10000"/>
                <a:gd name="connsiteX264" fmla="*/ 7269 w 10000"/>
                <a:gd name="connsiteY264" fmla="*/ 336 h 10000"/>
                <a:gd name="connsiteX265" fmla="*/ 7282 w 10000"/>
                <a:gd name="connsiteY265" fmla="*/ 387 h 10000"/>
                <a:gd name="connsiteX266" fmla="*/ 7382 w 10000"/>
                <a:gd name="connsiteY266" fmla="*/ 434 h 10000"/>
                <a:gd name="connsiteX267" fmla="*/ 7317 w 10000"/>
                <a:gd name="connsiteY267" fmla="*/ 475 h 10000"/>
                <a:gd name="connsiteX268" fmla="*/ 7221 w 10000"/>
                <a:gd name="connsiteY268" fmla="*/ 485 h 10000"/>
                <a:gd name="connsiteX269" fmla="*/ 6420 w 10000"/>
                <a:gd name="connsiteY269" fmla="*/ 387 h 10000"/>
                <a:gd name="connsiteX270" fmla="*/ 6324 w 10000"/>
                <a:gd name="connsiteY270" fmla="*/ 395 h 10000"/>
                <a:gd name="connsiteX271" fmla="*/ 6267 w 10000"/>
                <a:gd name="connsiteY271" fmla="*/ 414 h 10000"/>
                <a:gd name="connsiteX272" fmla="*/ 6211 w 10000"/>
                <a:gd name="connsiteY272" fmla="*/ 462 h 10000"/>
                <a:gd name="connsiteX273" fmla="*/ 6220 w 10000"/>
                <a:gd name="connsiteY273" fmla="*/ 581 h 10000"/>
                <a:gd name="connsiteX274" fmla="*/ 6132 w 10000"/>
                <a:gd name="connsiteY274" fmla="*/ 735 h 10000"/>
                <a:gd name="connsiteX275" fmla="*/ 6024 w 10000"/>
                <a:gd name="connsiteY275" fmla="*/ 815 h 10000"/>
                <a:gd name="connsiteX276" fmla="*/ 5980 w 10000"/>
                <a:gd name="connsiteY276" fmla="*/ 805 h 10000"/>
                <a:gd name="connsiteX277" fmla="*/ 5880 w 10000"/>
                <a:gd name="connsiteY277" fmla="*/ 739 h 10000"/>
                <a:gd name="connsiteX278" fmla="*/ 5753 w 10000"/>
                <a:gd name="connsiteY278" fmla="*/ 705 h 10000"/>
                <a:gd name="connsiteX279" fmla="*/ 5618 w 10000"/>
                <a:gd name="connsiteY279" fmla="*/ 715 h 10000"/>
                <a:gd name="connsiteX280" fmla="*/ 5301 w 10000"/>
                <a:gd name="connsiteY280" fmla="*/ 866 h 10000"/>
                <a:gd name="connsiteX281" fmla="*/ 5218 w 10000"/>
                <a:gd name="connsiteY281" fmla="*/ 1017 h 10000"/>
                <a:gd name="connsiteX282" fmla="*/ 4978 w 10000"/>
                <a:gd name="connsiteY282" fmla="*/ 1153 h 10000"/>
                <a:gd name="connsiteX283" fmla="*/ 4935 w 10000"/>
                <a:gd name="connsiteY283" fmla="*/ 1222 h 10000"/>
                <a:gd name="connsiteX284" fmla="*/ 5061 w 10000"/>
                <a:gd name="connsiteY284" fmla="*/ 1344 h 10000"/>
                <a:gd name="connsiteX285" fmla="*/ 5074 w 10000"/>
                <a:gd name="connsiteY285" fmla="*/ 1412 h 10000"/>
                <a:gd name="connsiteX286" fmla="*/ 4421 w 10000"/>
                <a:gd name="connsiteY286" fmla="*/ 1813 h 10000"/>
                <a:gd name="connsiteX287" fmla="*/ 4220 w 10000"/>
                <a:gd name="connsiteY287" fmla="*/ 2070 h 10000"/>
                <a:gd name="connsiteX288" fmla="*/ 4003 w 10000"/>
                <a:gd name="connsiteY288" fmla="*/ 2135 h 10000"/>
                <a:gd name="connsiteX289" fmla="*/ 3868 w 10000"/>
                <a:gd name="connsiteY289" fmla="*/ 2131 h 10000"/>
                <a:gd name="connsiteX290" fmla="*/ 3785 w 10000"/>
                <a:gd name="connsiteY290" fmla="*/ 2153 h 10000"/>
                <a:gd name="connsiteX291" fmla="*/ 3558 w 10000"/>
                <a:gd name="connsiteY291" fmla="*/ 2793 h 10000"/>
                <a:gd name="connsiteX292" fmla="*/ 3036 w 10000"/>
                <a:gd name="connsiteY292" fmla="*/ 3166 h 10000"/>
                <a:gd name="connsiteX293" fmla="*/ 3040 w 10000"/>
                <a:gd name="connsiteY293" fmla="*/ 3225 h 10000"/>
                <a:gd name="connsiteX294" fmla="*/ 3271 w 10000"/>
                <a:gd name="connsiteY294" fmla="*/ 3392 h 10000"/>
                <a:gd name="connsiteX295" fmla="*/ 3197 w 10000"/>
                <a:gd name="connsiteY295" fmla="*/ 3573 h 10000"/>
                <a:gd name="connsiteX296" fmla="*/ 3062 w 10000"/>
                <a:gd name="connsiteY296" fmla="*/ 3640 h 10000"/>
                <a:gd name="connsiteX297" fmla="*/ 2657 w 10000"/>
                <a:gd name="connsiteY297" fmla="*/ 3595 h 10000"/>
                <a:gd name="connsiteX298" fmla="*/ 2378 w 10000"/>
                <a:gd name="connsiteY298" fmla="*/ 3620 h 10000"/>
                <a:gd name="connsiteX299" fmla="*/ 2152 w 10000"/>
                <a:gd name="connsiteY299" fmla="*/ 3673 h 10000"/>
                <a:gd name="connsiteX300" fmla="*/ 1790 w 10000"/>
                <a:gd name="connsiteY300" fmla="*/ 3840 h 10000"/>
                <a:gd name="connsiteX301" fmla="*/ 1598 w 10000"/>
                <a:gd name="connsiteY301" fmla="*/ 4042 h 10000"/>
                <a:gd name="connsiteX302" fmla="*/ 1616 w 10000"/>
                <a:gd name="connsiteY302" fmla="*/ 4154 h 10000"/>
                <a:gd name="connsiteX303" fmla="*/ 1681 w 10000"/>
                <a:gd name="connsiteY303" fmla="*/ 4241 h 10000"/>
                <a:gd name="connsiteX304" fmla="*/ 1733 w 10000"/>
                <a:gd name="connsiteY304" fmla="*/ 4276 h 10000"/>
                <a:gd name="connsiteX305" fmla="*/ 1638 w 10000"/>
                <a:gd name="connsiteY305" fmla="*/ 4331 h 10000"/>
                <a:gd name="connsiteX306" fmla="*/ 1433 w 10000"/>
                <a:gd name="connsiteY306" fmla="*/ 4710 h 10000"/>
                <a:gd name="connsiteX307" fmla="*/ 1472 w 10000"/>
                <a:gd name="connsiteY307" fmla="*/ 4732 h 10000"/>
                <a:gd name="connsiteX308" fmla="*/ 1503 w 10000"/>
                <a:gd name="connsiteY308" fmla="*/ 4828 h 10000"/>
                <a:gd name="connsiteX309" fmla="*/ 1407 w 10000"/>
                <a:gd name="connsiteY309" fmla="*/ 5227 h 10000"/>
                <a:gd name="connsiteX310" fmla="*/ 1503 w 10000"/>
                <a:gd name="connsiteY310" fmla="*/ 5329 h 10000"/>
                <a:gd name="connsiteX311" fmla="*/ 1764 w 10000"/>
                <a:gd name="connsiteY311" fmla="*/ 5441 h 10000"/>
                <a:gd name="connsiteX312" fmla="*/ 1777 w 10000"/>
                <a:gd name="connsiteY312" fmla="*/ 5578 h 10000"/>
                <a:gd name="connsiteX313" fmla="*/ 1664 w 10000"/>
                <a:gd name="connsiteY313" fmla="*/ 5690 h 10000"/>
                <a:gd name="connsiteX314" fmla="*/ 1503 w 10000"/>
                <a:gd name="connsiteY314" fmla="*/ 5759 h 10000"/>
                <a:gd name="connsiteX315" fmla="*/ 1289 w 10000"/>
                <a:gd name="connsiteY315" fmla="*/ 5787 h 10000"/>
                <a:gd name="connsiteX316" fmla="*/ 1233 w 10000"/>
                <a:gd name="connsiteY316" fmla="*/ 5826 h 10000"/>
                <a:gd name="connsiteX317" fmla="*/ 1359 w 10000"/>
                <a:gd name="connsiteY317" fmla="*/ 5920 h 10000"/>
                <a:gd name="connsiteX318" fmla="*/ 1429 w 10000"/>
                <a:gd name="connsiteY318" fmla="*/ 6142 h 10000"/>
                <a:gd name="connsiteX319" fmla="*/ 1267 w 10000"/>
                <a:gd name="connsiteY319" fmla="*/ 6333 h 10000"/>
                <a:gd name="connsiteX320" fmla="*/ 1324 w 10000"/>
                <a:gd name="connsiteY320" fmla="*/ 6392 h 10000"/>
                <a:gd name="connsiteX321" fmla="*/ 1272 w 10000"/>
                <a:gd name="connsiteY321" fmla="*/ 6492 h 10000"/>
                <a:gd name="connsiteX322" fmla="*/ 1167 w 10000"/>
                <a:gd name="connsiteY322" fmla="*/ 6561 h 10000"/>
                <a:gd name="connsiteX323" fmla="*/ 758 w 10000"/>
                <a:gd name="connsiteY323" fmla="*/ 6614 h 10000"/>
                <a:gd name="connsiteX324" fmla="*/ 732 w 10000"/>
                <a:gd name="connsiteY324" fmla="*/ 6706 h 10000"/>
                <a:gd name="connsiteX325" fmla="*/ 510 w 10000"/>
                <a:gd name="connsiteY325" fmla="*/ 6843 h 10000"/>
                <a:gd name="connsiteX326" fmla="*/ 540 w 10000"/>
                <a:gd name="connsiteY326" fmla="*/ 7040 h 10000"/>
                <a:gd name="connsiteX327" fmla="*/ 353 w 10000"/>
                <a:gd name="connsiteY327" fmla="*/ 7293 h 10000"/>
                <a:gd name="connsiteX328" fmla="*/ 226 w 10000"/>
                <a:gd name="connsiteY328" fmla="*/ 7323 h 10000"/>
                <a:gd name="connsiteX329" fmla="*/ 174 w 10000"/>
                <a:gd name="connsiteY329" fmla="*/ 7262 h 10000"/>
                <a:gd name="connsiteX330" fmla="*/ 109 w 10000"/>
                <a:gd name="connsiteY330" fmla="*/ 7354 h 10000"/>
                <a:gd name="connsiteX331" fmla="*/ 152 w 10000"/>
                <a:gd name="connsiteY331" fmla="*/ 7197 h 10000"/>
                <a:gd name="connsiteX332" fmla="*/ 126 w 10000"/>
                <a:gd name="connsiteY332"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253 w 10000"/>
                <a:gd name="connsiteY207" fmla="*/ 2762 h 10000"/>
                <a:gd name="connsiteX208" fmla="*/ 8397 w 10000"/>
                <a:gd name="connsiteY208" fmla="*/ 2705 h 10000"/>
                <a:gd name="connsiteX209" fmla="*/ 8402 w 10000"/>
                <a:gd name="connsiteY209" fmla="*/ 2662 h 10000"/>
                <a:gd name="connsiteX210" fmla="*/ 8449 w 10000"/>
                <a:gd name="connsiteY210" fmla="*/ 2656 h 10000"/>
                <a:gd name="connsiteX211" fmla="*/ 8593 w 10000"/>
                <a:gd name="connsiteY211" fmla="*/ 2669 h 10000"/>
                <a:gd name="connsiteX212" fmla="*/ 8606 w 10000"/>
                <a:gd name="connsiteY212" fmla="*/ 2630 h 10000"/>
                <a:gd name="connsiteX213" fmla="*/ 8685 w 10000"/>
                <a:gd name="connsiteY213" fmla="*/ 2597 h 10000"/>
                <a:gd name="connsiteX214" fmla="*/ 8558 w 10000"/>
                <a:gd name="connsiteY214" fmla="*/ 2481 h 10000"/>
                <a:gd name="connsiteX215" fmla="*/ 8558 w 10000"/>
                <a:gd name="connsiteY215" fmla="*/ 2459 h 10000"/>
                <a:gd name="connsiteX216" fmla="*/ 8698 w 10000"/>
                <a:gd name="connsiteY216" fmla="*/ 2504 h 10000"/>
                <a:gd name="connsiteX217" fmla="*/ 8763 w 10000"/>
                <a:gd name="connsiteY217" fmla="*/ 2548 h 10000"/>
                <a:gd name="connsiteX218" fmla="*/ 8815 w 10000"/>
                <a:gd name="connsiteY218" fmla="*/ 2548 h 10000"/>
                <a:gd name="connsiteX219" fmla="*/ 8789 w 10000"/>
                <a:gd name="connsiteY219" fmla="*/ 2457 h 10000"/>
                <a:gd name="connsiteX220" fmla="*/ 8798 w 10000"/>
                <a:gd name="connsiteY220" fmla="*/ 2467 h 10000"/>
                <a:gd name="connsiteX221" fmla="*/ 8841 w 10000"/>
                <a:gd name="connsiteY221" fmla="*/ 2457 h 10000"/>
                <a:gd name="connsiteX222" fmla="*/ 8855 w 10000"/>
                <a:gd name="connsiteY222" fmla="*/ 2341 h 10000"/>
                <a:gd name="connsiteX223" fmla="*/ 8898 w 10000"/>
                <a:gd name="connsiteY223" fmla="*/ 2332 h 10000"/>
                <a:gd name="connsiteX224" fmla="*/ 8946 w 10000"/>
                <a:gd name="connsiteY224" fmla="*/ 2330 h 10000"/>
                <a:gd name="connsiteX225" fmla="*/ 8946 w 10000"/>
                <a:gd name="connsiteY225" fmla="*/ 2361 h 10000"/>
                <a:gd name="connsiteX226" fmla="*/ 8994 w 10000"/>
                <a:gd name="connsiteY226" fmla="*/ 2389 h 10000"/>
                <a:gd name="connsiteX227" fmla="*/ 9051 w 10000"/>
                <a:gd name="connsiteY227" fmla="*/ 2400 h 10000"/>
                <a:gd name="connsiteX228" fmla="*/ 9094 w 10000"/>
                <a:gd name="connsiteY228" fmla="*/ 2324 h 10000"/>
                <a:gd name="connsiteX229" fmla="*/ 9164 w 10000"/>
                <a:gd name="connsiteY229" fmla="*/ 2347 h 10000"/>
                <a:gd name="connsiteX230" fmla="*/ 9247 w 10000"/>
                <a:gd name="connsiteY230" fmla="*/ 2402 h 10000"/>
                <a:gd name="connsiteX231" fmla="*/ 9286 w 10000"/>
                <a:gd name="connsiteY231" fmla="*/ 2400 h 10000"/>
                <a:gd name="connsiteX232" fmla="*/ 9355 w 10000"/>
                <a:gd name="connsiteY232" fmla="*/ 2428 h 10000"/>
                <a:gd name="connsiteX233" fmla="*/ 9408 w 10000"/>
                <a:gd name="connsiteY233" fmla="*/ 2359 h 10000"/>
                <a:gd name="connsiteX234" fmla="*/ 9717 w 10000"/>
                <a:gd name="connsiteY234" fmla="*/ 2343 h 10000"/>
                <a:gd name="connsiteX235" fmla="*/ 9830 w 10000"/>
                <a:gd name="connsiteY235" fmla="*/ 2369 h 10000"/>
                <a:gd name="connsiteX236" fmla="*/ 9909 w 10000"/>
                <a:gd name="connsiteY236" fmla="*/ 2410 h 10000"/>
                <a:gd name="connsiteX237" fmla="*/ 9948 w 10000"/>
                <a:gd name="connsiteY237" fmla="*/ 2365 h 10000"/>
                <a:gd name="connsiteX238" fmla="*/ 10000 w 10000"/>
                <a:gd name="connsiteY238" fmla="*/ 2349 h 10000"/>
                <a:gd name="connsiteX239" fmla="*/ 9704 w 10000"/>
                <a:gd name="connsiteY239" fmla="*/ 1992 h 10000"/>
                <a:gd name="connsiteX240" fmla="*/ 9743 w 10000"/>
                <a:gd name="connsiteY240" fmla="*/ 1897 h 10000"/>
                <a:gd name="connsiteX241" fmla="*/ 9830 w 10000"/>
                <a:gd name="connsiteY241" fmla="*/ 1819 h 10000"/>
                <a:gd name="connsiteX242" fmla="*/ 9830 w 10000"/>
                <a:gd name="connsiteY242" fmla="*/ 1699 h 10000"/>
                <a:gd name="connsiteX243" fmla="*/ 9556 w 10000"/>
                <a:gd name="connsiteY243" fmla="*/ 1465 h 10000"/>
                <a:gd name="connsiteX244" fmla="*/ 9512 w 10000"/>
                <a:gd name="connsiteY244" fmla="*/ 1379 h 10000"/>
                <a:gd name="connsiteX245" fmla="*/ 9573 w 10000"/>
                <a:gd name="connsiteY245" fmla="*/ 1271 h 10000"/>
                <a:gd name="connsiteX246" fmla="*/ 9543 w 10000"/>
                <a:gd name="connsiteY246" fmla="*/ 1194 h 10000"/>
                <a:gd name="connsiteX247" fmla="*/ 9486 w 10000"/>
                <a:gd name="connsiteY247" fmla="*/ 1159 h 10000"/>
                <a:gd name="connsiteX248" fmla="*/ 9438 w 10000"/>
                <a:gd name="connsiteY248" fmla="*/ 978 h 10000"/>
                <a:gd name="connsiteX249" fmla="*/ 9495 w 10000"/>
                <a:gd name="connsiteY249" fmla="*/ 831 h 10000"/>
                <a:gd name="connsiteX250" fmla="*/ 9077 w 10000"/>
                <a:gd name="connsiteY250" fmla="*/ 517 h 10000"/>
                <a:gd name="connsiteX251" fmla="*/ 8872 w 10000"/>
                <a:gd name="connsiteY251" fmla="*/ 440 h 10000"/>
                <a:gd name="connsiteX252" fmla="*/ 8493 w 10000"/>
                <a:gd name="connsiteY252" fmla="*/ 389 h 10000"/>
                <a:gd name="connsiteX253" fmla="*/ 7709 w 10000"/>
                <a:gd name="connsiteY253" fmla="*/ 26 h 10000"/>
                <a:gd name="connsiteX254" fmla="*/ 7683 w 10000"/>
                <a:gd name="connsiteY254" fmla="*/ 2 h 10000"/>
                <a:gd name="connsiteX255" fmla="*/ 7417 w 10000"/>
                <a:gd name="connsiteY255" fmla="*/ 0 h 10000"/>
                <a:gd name="connsiteX256" fmla="*/ 7356 w 10000"/>
                <a:gd name="connsiteY256" fmla="*/ 14 h 10000"/>
                <a:gd name="connsiteX257" fmla="*/ 7369 w 10000"/>
                <a:gd name="connsiteY257" fmla="*/ 61 h 10000"/>
                <a:gd name="connsiteX258" fmla="*/ 7422 w 10000"/>
                <a:gd name="connsiteY258" fmla="*/ 86 h 10000"/>
                <a:gd name="connsiteX259" fmla="*/ 7435 w 10000"/>
                <a:gd name="connsiteY259" fmla="*/ 139 h 10000"/>
                <a:gd name="connsiteX260" fmla="*/ 7417 w 10000"/>
                <a:gd name="connsiteY260" fmla="*/ 181 h 10000"/>
                <a:gd name="connsiteX261" fmla="*/ 7369 w 10000"/>
                <a:gd name="connsiteY261" fmla="*/ 208 h 10000"/>
                <a:gd name="connsiteX262" fmla="*/ 7334 w 10000"/>
                <a:gd name="connsiteY262" fmla="*/ 283 h 10000"/>
                <a:gd name="connsiteX263" fmla="*/ 7269 w 10000"/>
                <a:gd name="connsiteY263" fmla="*/ 336 h 10000"/>
                <a:gd name="connsiteX264" fmla="*/ 7282 w 10000"/>
                <a:gd name="connsiteY264" fmla="*/ 387 h 10000"/>
                <a:gd name="connsiteX265" fmla="*/ 7382 w 10000"/>
                <a:gd name="connsiteY265" fmla="*/ 434 h 10000"/>
                <a:gd name="connsiteX266" fmla="*/ 7317 w 10000"/>
                <a:gd name="connsiteY266" fmla="*/ 475 h 10000"/>
                <a:gd name="connsiteX267" fmla="*/ 7221 w 10000"/>
                <a:gd name="connsiteY267" fmla="*/ 485 h 10000"/>
                <a:gd name="connsiteX268" fmla="*/ 6420 w 10000"/>
                <a:gd name="connsiteY268" fmla="*/ 387 h 10000"/>
                <a:gd name="connsiteX269" fmla="*/ 6324 w 10000"/>
                <a:gd name="connsiteY269" fmla="*/ 395 h 10000"/>
                <a:gd name="connsiteX270" fmla="*/ 6267 w 10000"/>
                <a:gd name="connsiteY270" fmla="*/ 414 h 10000"/>
                <a:gd name="connsiteX271" fmla="*/ 6211 w 10000"/>
                <a:gd name="connsiteY271" fmla="*/ 462 h 10000"/>
                <a:gd name="connsiteX272" fmla="*/ 6220 w 10000"/>
                <a:gd name="connsiteY272" fmla="*/ 581 h 10000"/>
                <a:gd name="connsiteX273" fmla="*/ 6132 w 10000"/>
                <a:gd name="connsiteY273" fmla="*/ 735 h 10000"/>
                <a:gd name="connsiteX274" fmla="*/ 6024 w 10000"/>
                <a:gd name="connsiteY274" fmla="*/ 815 h 10000"/>
                <a:gd name="connsiteX275" fmla="*/ 5980 w 10000"/>
                <a:gd name="connsiteY275" fmla="*/ 805 h 10000"/>
                <a:gd name="connsiteX276" fmla="*/ 5880 w 10000"/>
                <a:gd name="connsiteY276" fmla="*/ 739 h 10000"/>
                <a:gd name="connsiteX277" fmla="*/ 5753 w 10000"/>
                <a:gd name="connsiteY277" fmla="*/ 705 h 10000"/>
                <a:gd name="connsiteX278" fmla="*/ 5618 w 10000"/>
                <a:gd name="connsiteY278" fmla="*/ 715 h 10000"/>
                <a:gd name="connsiteX279" fmla="*/ 5301 w 10000"/>
                <a:gd name="connsiteY279" fmla="*/ 866 h 10000"/>
                <a:gd name="connsiteX280" fmla="*/ 5218 w 10000"/>
                <a:gd name="connsiteY280" fmla="*/ 1017 h 10000"/>
                <a:gd name="connsiteX281" fmla="*/ 4978 w 10000"/>
                <a:gd name="connsiteY281" fmla="*/ 1153 h 10000"/>
                <a:gd name="connsiteX282" fmla="*/ 4935 w 10000"/>
                <a:gd name="connsiteY282" fmla="*/ 1222 h 10000"/>
                <a:gd name="connsiteX283" fmla="*/ 5061 w 10000"/>
                <a:gd name="connsiteY283" fmla="*/ 1344 h 10000"/>
                <a:gd name="connsiteX284" fmla="*/ 5074 w 10000"/>
                <a:gd name="connsiteY284" fmla="*/ 1412 h 10000"/>
                <a:gd name="connsiteX285" fmla="*/ 4421 w 10000"/>
                <a:gd name="connsiteY285" fmla="*/ 1813 h 10000"/>
                <a:gd name="connsiteX286" fmla="*/ 4220 w 10000"/>
                <a:gd name="connsiteY286" fmla="*/ 2070 h 10000"/>
                <a:gd name="connsiteX287" fmla="*/ 4003 w 10000"/>
                <a:gd name="connsiteY287" fmla="*/ 2135 h 10000"/>
                <a:gd name="connsiteX288" fmla="*/ 3868 w 10000"/>
                <a:gd name="connsiteY288" fmla="*/ 2131 h 10000"/>
                <a:gd name="connsiteX289" fmla="*/ 3785 w 10000"/>
                <a:gd name="connsiteY289" fmla="*/ 2153 h 10000"/>
                <a:gd name="connsiteX290" fmla="*/ 3558 w 10000"/>
                <a:gd name="connsiteY290" fmla="*/ 2793 h 10000"/>
                <a:gd name="connsiteX291" fmla="*/ 3036 w 10000"/>
                <a:gd name="connsiteY291" fmla="*/ 3166 h 10000"/>
                <a:gd name="connsiteX292" fmla="*/ 3040 w 10000"/>
                <a:gd name="connsiteY292" fmla="*/ 3225 h 10000"/>
                <a:gd name="connsiteX293" fmla="*/ 3271 w 10000"/>
                <a:gd name="connsiteY293" fmla="*/ 3392 h 10000"/>
                <a:gd name="connsiteX294" fmla="*/ 3197 w 10000"/>
                <a:gd name="connsiteY294" fmla="*/ 3573 h 10000"/>
                <a:gd name="connsiteX295" fmla="*/ 3062 w 10000"/>
                <a:gd name="connsiteY295" fmla="*/ 3640 h 10000"/>
                <a:gd name="connsiteX296" fmla="*/ 2657 w 10000"/>
                <a:gd name="connsiteY296" fmla="*/ 3595 h 10000"/>
                <a:gd name="connsiteX297" fmla="*/ 2378 w 10000"/>
                <a:gd name="connsiteY297" fmla="*/ 3620 h 10000"/>
                <a:gd name="connsiteX298" fmla="*/ 2152 w 10000"/>
                <a:gd name="connsiteY298" fmla="*/ 3673 h 10000"/>
                <a:gd name="connsiteX299" fmla="*/ 1790 w 10000"/>
                <a:gd name="connsiteY299" fmla="*/ 3840 h 10000"/>
                <a:gd name="connsiteX300" fmla="*/ 1598 w 10000"/>
                <a:gd name="connsiteY300" fmla="*/ 4042 h 10000"/>
                <a:gd name="connsiteX301" fmla="*/ 1616 w 10000"/>
                <a:gd name="connsiteY301" fmla="*/ 4154 h 10000"/>
                <a:gd name="connsiteX302" fmla="*/ 1681 w 10000"/>
                <a:gd name="connsiteY302" fmla="*/ 4241 h 10000"/>
                <a:gd name="connsiteX303" fmla="*/ 1733 w 10000"/>
                <a:gd name="connsiteY303" fmla="*/ 4276 h 10000"/>
                <a:gd name="connsiteX304" fmla="*/ 1638 w 10000"/>
                <a:gd name="connsiteY304" fmla="*/ 4331 h 10000"/>
                <a:gd name="connsiteX305" fmla="*/ 1433 w 10000"/>
                <a:gd name="connsiteY305" fmla="*/ 4710 h 10000"/>
                <a:gd name="connsiteX306" fmla="*/ 1472 w 10000"/>
                <a:gd name="connsiteY306" fmla="*/ 4732 h 10000"/>
                <a:gd name="connsiteX307" fmla="*/ 1503 w 10000"/>
                <a:gd name="connsiteY307" fmla="*/ 4828 h 10000"/>
                <a:gd name="connsiteX308" fmla="*/ 1407 w 10000"/>
                <a:gd name="connsiteY308" fmla="*/ 5227 h 10000"/>
                <a:gd name="connsiteX309" fmla="*/ 1503 w 10000"/>
                <a:gd name="connsiteY309" fmla="*/ 5329 h 10000"/>
                <a:gd name="connsiteX310" fmla="*/ 1764 w 10000"/>
                <a:gd name="connsiteY310" fmla="*/ 5441 h 10000"/>
                <a:gd name="connsiteX311" fmla="*/ 1777 w 10000"/>
                <a:gd name="connsiteY311" fmla="*/ 5578 h 10000"/>
                <a:gd name="connsiteX312" fmla="*/ 1664 w 10000"/>
                <a:gd name="connsiteY312" fmla="*/ 5690 h 10000"/>
                <a:gd name="connsiteX313" fmla="*/ 1503 w 10000"/>
                <a:gd name="connsiteY313" fmla="*/ 5759 h 10000"/>
                <a:gd name="connsiteX314" fmla="*/ 1289 w 10000"/>
                <a:gd name="connsiteY314" fmla="*/ 5787 h 10000"/>
                <a:gd name="connsiteX315" fmla="*/ 1233 w 10000"/>
                <a:gd name="connsiteY315" fmla="*/ 5826 h 10000"/>
                <a:gd name="connsiteX316" fmla="*/ 1359 w 10000"/>
                <a:gd name="connsiteY316" fmla="*/ 5920 h 10000"/>
                <a:gd name="connsiteX317" fmla="*/ 1429 w 10000"/>
                <a:gd name="connsiteY317" fmla="*/ 6142 h 10000"/>
                <a:gd name="connsiteX318" fmla="*/ 1267 w 10000"/>
                <a:gd name="connsiteY318" fmla="*/ 6333 h 10000"/>
                <a:gd name="connsiteX319" fmla="*/ 1324 w 10000"/>
                <a:gd name="connsiteY319" fmla="*/ 6392 h 10000"/>
                <a:gd name="connsiteX320" fmla="*/ 1272 w 10000"/>
                <a:gd name="connsiteY320" fmla="*/ 6492 h 10000"/>
                <a:gd name="connsiteX321" fmla="*/ 1167 w 10000"/>
                <a:gd name="connsiteY321" fmla="*/ 6561 h 10000"/>
                <a:gd name="connsiteX322" fmla="*/ 758 w 10000"/>
                <a:gd name="connsiteY322" fmla="*/ 6614 h 10000"/>
                <a:gd name="connsiteX323" fmla="*/ 732 w 10000"/>
                <a:gd name="connsiteY323" fmla="*/ 6706 h 10000"/>
                <a:gd name="connsiteX324" fmla="*/ 510 w 10000"/>
                <a:gd name="connsiteY324" fmla="*/ 6843 h 10000"/>
                <a:gd name="connsiteX325" fmla="*/ 540 w 10000"/>
                <a:gd name="connsiteY325" fmla="*/ 7040 h 10000"/>
                <a:gd name="connsiteX326" fmla="*/ 353 w 10000"/>
                <a:gd name="connsiteY326" fmla="*/ 7293 h 10000"/>
                <a:gd name="connsiteX327" fmla="*/ 226 w 10000"/>
                <a:gd name="connsiteY327" fmla="*/ 7323 h 10000"/>
                <a:gd name="connsiteX328" fmla="*/ 174 w 10000"/>
                <a:gd name="connsiteY328" fmla="*/ 7262 h 10000"/>
                <a:gd name="connsiteX329" fmla="*/ 109 w 10000"/>
                <a:gd name="connsiteY329" fmla="*/ 7354 h 10000"/>
                <a:gd name="connsiteX330" fmla="*/ 152 w 10000"/>
                <a:gd name="connsiteY330" fmla="*/ 7197 h 10000"/>
                <a:gd name="connsiteX331" fmla="*/ 126 w 10000"/>
                <a:gd name="connsiteY331"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253 w 10000"/>
                <a:gd name="connsiteY207" fmla="*/ 2762 h 10000"/>
                <a:gd name="connsiteX208" fmla="*/ 8402 w 10000"/>
                <a:gd name="connsiteY208" fmla="*/ 2662 h 10000"/>
                <a:gd name="connsiteX209" fmla="*/ 8449 w 10000"/>
                <a:gd name="connsiteY209" fmla="*/ 2656 h 10000"/>
                <a:gd name="connsiteX210" fmla="*/ 8593 w 10000"/>
                <a:gd name="connsiteY210" fmla="*/ 2669 h 10000"/>
                <a:gd name="connsiteX211" fmla="*/ 8606 w 10000"/>
                <a:gd name="connsiteY211" fmla="*/ 2630 h 10000"/>
                <a:gd name="connsiteX212" fmla="*/ 8685 w 10000"/>
                <a:gd name="connsiteY212" fmla="*/ 2597 h 10000"/>
                <a:gd name="connsiteX213" fmla="*/ 8558 w 10000"/>
                <a:gd name="connsiteY213" fmla="*/ 2481 h 10000"/>
                <a:gd name="connsiteX214" fmla="*/ 8558 w 10000"/>
                <a:gd name="connsiteY214" fmla="*/ 2459 h 10000"/>
                <a:gd name="connsiteX215" fmla="*/ 8698 w 10000"/>
                <a:gd name="connsiteY215" fmla="*/ 2504 h 10000"/>
                <a:gd name="connsiteX216" fmla="*/ 8763 w 10000"/>
                <a:gd name="connsiteY216" fmla="*/ 2548 h 10000"/>
                <a:gd name="connsiteX217" fmla="*/ 8815 w 10000"/>
                <a:gd name="connsiteY217" fmla="*/ 2548 h 10000"/>
                <a:gd name="connsiteX218" fmla="*/ 8789 w 10000"/>
                <a:gd name="connsiteY218" fmla="*/ 2457 h 10000"/>
                <a:gd name="connsiteX219" fmla="*/ 8798 w 10000"/>
                <a:gd name="connsiteY219" fmla="*/ 2467 h 10000"/>
                <a:gd name="connsiteX220" fmla="*/ 8841 w 10000"/>
                <a:gd name="connsiteY220" fmla="*/ 2457 h 10000"/>
                <a:gd name="connsiteX221" fmla="*/ 8855 w 10000"/>
                <a:gd name="connsiteY221" fmla="*/ 2341 h 10000"/>
                <a:gd name="connsiteX222" fmla="*/ 8898 w 10000"/>
                <a:gd name="connsiteY222" fmla="*/ 2332 h 10000"/>
                <a:gd name="connsiteX223" fmla="*/ 8946 w 10000"/>
                <a:gd name="connsiteY223" fmla="*/ 2330 h 10000"/>
                <a:gd name="connsiteX224" fmla="*/ 8946 w 10000"/>
                <a:gd name="connsiteY224" fmla="*/ 2361 h 10000"/>
                <a:gd name="connsiteX225" fmla="*/ 8994 w 10000"/>
                <a:gd name="connsiteY225" fmla="*/ 2389 h 10000"/>
                <a:gd name="connsiteX226" fmla="*/ 9051 w 10000"/>
                <a:gd name="connsiteY226" fmla="*/ 2400 h 10000"/>
                <a:gd name="connsiteX227" fmla="*/ 9094 w 10000"/>
                <a:gd name="connsiteY227" fmla="*/ 2324 h 10000"/>
                <a:gd name="connsiteX228" fmla="*/ 9164 w 10000"/>
                <a:gd name="connsiteY228" fmla="*/ 2347 h 10000"/>
                <a:gd name="connsiteX229" fmla="*/ 9247 w 10000"/>
                <a:gd name="connsiteY229" fmla="*/ 2402 h 10000"/>
                <a:gd name="connsiteX230" fmla="*/ 9286 w 10000"/>
                <a:gd name="connsiteY230" fmla="*/ 2400 h 10000"/>
                <a:gd name="connsiteX231" fmla="*/ 9355 w 10000"/>
                <a:gd name="connsiteY231" fmla="*/ 2428 h 10000"/>
                <a:gd name="connsiteX232" fmla="*/ 9408 w 10000"/>
                <a:gd name="connsiteY232" fmla="*/ 2359 h 10000"/>
                <a:gd name="connsiteX233" fmla="*/ 9717 w 10000"/>
                <a:gd name="connsiteY233" fmla="*/ 2343 h 10000"/>
                <a:gd name="connsiteX234" fmla="*/ 9830 w 10000"/>
                <a:gd name="connsiteY234" fmla="*/ 2369 h 10000"/>
                <a:gd name="connsiteX235" fmla="*/ 9909 w 10000"/>
                <a:gd name="connsiteY235" fmla="*/ 2410 h 10000"/>
                <a:gd name="connsiteX236" fmla="*/ 9948 w 10000"/>
                <a:gd name="connsiteY236" fmla="*/ 2365 h 10000"/>
                <a:gd name="connsiteX237" fmla="*/ 10000 w 10000"/>
                <a:gd name="connsiteY237" fmla="*/ 2349 h 10000"/>
                <a:gd name="connsiteX238" fmla="*/ 9704 w 10000"/>
                <a:gd name="connsiteY238" fmla="*/ 1992 h 10000"/>
                <a:gd name="connsiteX239" fmla="*/ 9743 w 10000"/>
                <a:gd name="connsiteY239" fmla="*/ 1897 h 10000"/>
                <a:gd name="connsiteX240" fmla="*/ 9830 w 10000"/>
                <a:gd name="connsiteY240" fmla="*/ 1819 h 10000"/>
                <a:gd name="connsiteX241" fmla="*/ 9830 w 10000"/>
                <a:gd name="connsiteY241" fmla="*/ 1699 h 10000"/>
                <a:gd name="connsiteX242" fmla="*/ 9556 w 10000"/>
                <a:gd name="connsiteY242" fmla="*/ 1465 h 10000"/>
                <a:gd name="connsiteX243" fmla="*/ 9512 w 10000"/>
                <a:gd name="connsiteY243" fmla="*/ 1379 h 10000"/>
                <a:gd name="connsiteX244" fmla="*/ 9573 w 10000"/>
                <a:gd name="connsiteY244" fmla="*/ 1271 h 10000"/>
                <a:gd name="connsiteX245" fmla="*/ 9543 w 10000"/>
                <a:gd name="connsiteY245" fmla="*/ 1194 h 10000"/>
                <a:gd name="connsiteX246" fmla="*/ 9486 w 10000"/>
                <a:gd name="connsiteY246" fmla="*/ 1159 h 10000"/>
                <a:gd name="connsiteX247" fmla="*/ 9438 w 10000"/>
                <a:gd name="connsiteY247" fmla="*/ 978 h 10000"/>
                <a:gd name="connsiteX248" fmla="*/ 9495 w 10000"/>
                <a:gd name="connsiteY248" fmla="*/ 831 h 10000"/>
                <a:gd name="connsiteX249" fmla="*/ 9077 w 10000"/>
                <a:gd name="connsiteY249" fmla="*/ 517 h 10000"/>
                <a:gd name="connsiteX250" fmla="*/ 8872 w 10000"/>
                <a:gd name="connsiteY250" fmla="*/ 440 h 10000"/>
                <a:gd name="connsiteX251" fmla="*/ 8493 w 10000"/>
                <a:gd name="connsiteY251" fmla="*/ 389 h 10000"/>
                <a:gd name="connsiteX252" fmla="*/ 7709 w 10000"/>
                <a:gd name="connsiteY252" fmla="*/ 26 h 10000"/>
                <a:gd name="connsiteX253" fmla="*/ 7683 w 10000"/>
                <a:gd name="connsiteY253" fmla="*/ 2 h 10000"/>
                <a:gd name="connsiteX254" fmla="*/ 7417 w 10000"/>
                <a:gd name="connsiteY254" fmla="*/ 0 h 10000"/>
                <a:gd name="connsiteX255" fmla="*/ 7356 w 10000"/>
                <a:gd name="connsiteY255" fmla="*/ 14 h 10000"/>
                <a:gd name="connsiteX256" fmla="*/ 7369 w 10000"/>
                <a:gd name="connsiteY256" fmla="*/ 61 h 10000"/>
                <a:gd name="connsiteX257" fmla="*/ 7422 w 10000"/>
                <a:gd name="connsiteY257" fmla="*/ 86 h 10000"/>
                <a:gd name="connsiteX258" fmla="*/ 7435 w 10000"/>
                <a:gd name="connsiteY258" fmla="*/ 139 h 10000"/>
                <a:gd name="connsiteX259" fmla="*/ 7417 w 10000"/>
                <a:gd name="connsiteY259" fmla="*/ 181 h 10000"/>
                <a:gd name="connsiteX260" fmla="*/ 7369 w 10000"/>
                <a:gd name="connsiteY260" fmla="*/ 208 h 10000"/>
                <a:gd name="connsiteX261" fmla="*/ 7334 w 10000"/>
                <a:gd name="connsiteY261" fmla="*/ 283 h 10000"/>
                <a:gd name="connsiteX262" fmla="*/ 7269 w 10000"/>
                <a:gd name="connsiteY262" fmla="*/ 336 h 10000"/>
                <a:gd name="connsiteX263" fmla="*/ 7282 w 10000"/>
                <a:gd name="connsiteY263" fmla="*/ 387 h 10000"/>
                <a:gd name="connsiteX264" fmla="*/ 7382 w 10000"/>
                <a:gd name="connsiteY264" fmla="*/ 434 h 10000"/>
                <a:gd name="connsiteX265" fmla="*/ 7317 w 10000"/>
                <a:gd name="connsiteY265" fmla="*/ 475 h 10000"/>
                <a:gd name="connsiteX266" fmla="*/ 7221 w 10000"/>
                <a:gd name="connsiteY266" fmla="*/ 485 h 10000"/>
                <a:gd name="connsiteX267" fmla="*/ 6420 w 10000"/>
                <a:gd name="connsiteY267" fmla="*/ 387 h 10000"/>
                <a:gd name="connsiteX268" fmla="*/ 6324 w 10000"/>
                <a:gd name="connsiteY268" fmla="*/ 395 h 10000"/>
                <a:gd name="connsiteX269" fmla="*/ 6267 w 10000"/>
                <a:gd name="connsiteY269" fmla="*/ 414 h 10000"/>
                <a:gd name="connsiteX270" fmla="*/ 6211 w 10000"/>
                <a:gd name="connsiteY270" fmla="*/ 462 h 10000"/>
                <a:gd name="connsiteX271" fmla="*/ 6220 w 10000"/>
                <a:gd name="connsiteY271" fmla="*/ 581 h 10000"/>
                <a:gd name="connsiteX272" fmla="*/ 6132 w 10000"/>
                <a:gd name="connsiteY272" fmla="*/ 735 h 10000"/>
                <a:gd name="connsiteX273" fmla="*/ 6024 w 10000"/>
                <a:gd name="connsiteY273" fmla="*/ 815 h 10000"/>
                <a:gd name="connsiteX274" fmla="*/ 5980 w 10000"/>
                <a:gd name="connsiteY274" fmla="*/ 805 h 10000"/>
                <a:gd name="connsiteX275" fmla="*/ 5880 w 10000"/>
                <a:gd name="connsiteY275" fmla="*/ 739 h 10000"/>
                <a:gd name="connsiteX276" fmla="*/ 5753 w 10000"/>
                <a:gd name="connsiteY276" fmla="*/ 705 h 10000"/>
                <a:gd name="connsiteX277" fmla="*/ 5618 w 10000"/>
                <a:gd name="connsiteY277" fmla="*/ 715 h 10000"/>
                <a:gd name="connsiteX278" fmla="*/ 5301 w 10000"/>
                <a:gd name="connsiteY278" fmla="*/ 866 h 10000"/>
                <a:gd name="connsiteX279" fmla="*/ 5218 w 10000"/>
                <a:gd name="connsiteY279" fmla="*/ 1017 h 10000"/>
                <a:gd name="connsiteX280" fmla="*/ 4978 w 10000"/>
                <a:gd name="connsiteY280" fmla="*/ 1153 h 10000"/>
                <a:gd name="connsiteX281" fmla="*/ 4935 w 10000"/>
                <a:gd name="connsiteY281" fmla="*/ 1222 h 10000"/>
                <a:gd name="connsiteX282" fmla="*/ 5061 w 10000"/>
                <a:gd name="connsiteY282" fmla="*/ 1344 h 10000"/>
                <a:gd name="connsiteX283" fmla="*/ 5074 w 10000"/>
                <a:gd name="connsiteY283" fmla="*/ 1412 h 10000"/>
                <a:gd name="connsiteX284" fmla="*/ 4421 w 10000"/>
                <a:gd name="connsiteY284" fmla="*/ 1813 h 10000"/>
                <a:gd name="connsiteX285" fmla="*/ 4220 w 10000"/>
                <a:gd name="connsiteY285" fmla="*/ 2070 h 10000"/>
                <a:gd name="connsiteX286" fmla="*/ 4003 w 10000"/>
                <a:gd name="connsiteY286" fmla="*/ 2135 h 10000"/>
                <a:gd name="connsiteX287" fmla="*/ 3868 w 10000"/>
                <a:gd name="connsiteY287" fmla="*/ 2131 h 10000"/>
                <a:gd name="connsiteX288" fmla="*/ 3785 w 10000"/>
                <a:gd name="connsiteY288" fmla="*/ 2153 h 10000"/>
                <a:gd name="connsiteX289" fmla="*/ 3558 w 10000"/>
                <a:gd name="connsiteY289" fmla="*/ 2793 h 10000"/>
                <a:gd name="connsiteX290" fmla="*/ 3036 w 10000"/>
                <a:gd name="connsiteY290" fmla="*/ 3166 h 10000"/>
                <a:gd name="connsiteX291" fmla="*/ 3040 w 10000"/>
                <a:gd name="connsiteY291" fmla="*/ 3225 h 10000"/>
                <a:gd name="connsiteX292" fmla="*/ 3271 w 10000"/>
                <a:gd name="connsiteY292" fmla="*/ 3392 h 10000"/>
                <a:gd name="connsiteX293" fmla="*/ 3197 w 10000"/>
                <a:gd name="connsiteY293" fmla="*/ 3573 h 10000"/>
                <a:gd name="connsiteX294" fmla="*/ 3062 w 10000"/>
                <a:gd name="connsiteY294" fmla="*/ 3640 h 10000"/>
                <a:gd name="connsiteX295" fmla="*/ 2657 w 10000"/>
                <a:gd name="connsiteY295" fmla="*/ 3595 h 10000"/>
                <a:gd name="connsiteX296" fmla="*/ 2378 w 10000"/>
                <a:gd name="connsiteY296" fmla="*/ 3620 h 10000"/>
                <a:gd name="connsiteX297" fmla="*/ 2152 w 10000"/>
                <a:gd name="connsiteY297" fmla="*/ 3673 h 10000"/>
                <a:gd name="connsiteX298" fmla="*/ 1790 w 10000"/>
                <a:gd name="connsiteY298" fmla="*/ 3840 h 10000"/>
                <a:gd name="connsiteX299" fmla="*/ 1598 w 10000"/>
                <a:gd name="connsiteY299" fmla="*/ 4042 h 10000"/>
                <a:gd name="connsiteX300" fmla="*/ 1616 w 10000"/>
                <a:gd name="connsiteY300" fmla="*/ 4154 h 10000"/>
                <a:gd name="connsiteX301" fmla="*/ 1681 w 10000"/>
                <a:gd name="connsiteY301" fmla="*/ 4241 h 10000"/>
                <a:gd name="connsiteX302" fmla="*/ 1733 w 10000"/>
                <a:gd name="connsiteY302" fmla="*/ 4276 h 10000"/>
                <a:gd name="connsiteX303" fmla="*/ 1638 w 10000"/>
                <a:gd name="connsiteY303" fmla="*/ 4331 h 10000"/>
                <a:gd name="connsiteX304" fmla="*/ 1433 w 10000"/>
                <a:gd name="connsiteY304" fmla="*/ 4710 h 10000"/>
                <a:gd name="connsiteX305" fmla="*/ 1472 w 10000"/>
                <a:gd name="connsiteY305" fmla="*/ 4732 h 10000"/>
                <a:gd name="connsiteX306" fmla="*/ 1503 w 10000"/>
                <a:gd name="connsiteY306" fmla="*/ 4828 h 10000"/>
                <a:gd name="connsiteX307" fmla="*/ 1407 w 10000"/>
                <a:gd name="connsiteY307" fmla="*/ 5227 h 10000"/>
                <a:gd name="connsiteX308" fmla="*/ 1503 w 10000"/>
                <a:gd name="connsiteY308" fmla="*/ 5329 h 10000"/>
                <a:gd name="connsiteX309" fmla="*/ 1764 w 10000"/>
                <a:gd name="connsiteY309" fmla="*/ 5441 h 10000"/>
                <a:gd name="connsiteX310" fmla="*/ 1777 w 10000"/>
                <a:gd name="connsiteY310" fmla="*/ 5578 h 10000"/>
                <a:gd name="connsiteX311" fmla="*/ 1664 w 10000"/>
                <a:gd name="connsiteY311" fmla="*/ 5690 h 10000"/>
                <a:gd name="connsiteX312" fmla="*/ 1503 w 10000"/>
                <a:gd name="connsiteY312" fmla="*/ 5759 h 10000"/>
                <a:gd name="connsiteX313" fmla="*/ 1289 w 10000"/>
                <a:gd name="connsiteY313" fmla="*/ 5787 h 10000"/>
                <a:gd name="connsiteX314" fmla="*/ 1233 w 10000"/>
                <a:gd name="connsiteY314" fmla="*/ 5826 h 10000"/>
                <a:gd name="connsiteX315" fmla="*/ 1359 w 10000"/>
                <a:gd name="connsiteY315" fmla="*/ 5920 h 10000"/>
                <a:gd name="connsiteX316" fmla="*/ 1429 w 10000"/>
                <a:gd name="connsiteY316" fmla="*/ 6142 h 10000"/>
                <a:gd name="connsiteX317" fmla="*/ 1267 w 10000"/>
                <a:gd name="connsiteY317" fmla="*/ 6333 h 10000"/>
                <a:gd name="connsiteX318" fmla="*/ 1324 w 10000"/>
                <a:gd name="connsiteY318" fmla="*/ 6392 h 10000"/>
                <a:gd name="connsiteX319" fmla="*/ 1272 w 10000"/>
                <a:gd name="connsiteY319" fmla="*/ 6492 h 10000"/>
                <a:gd name="connsiteX320" fmla="*/ 1167 w 10000"/>
                <a:gd name="connsiteY320" fmla="*/ 6561 h 10000"/>
                <a:gd name="connsiteX321" fmla="*/ 758 w 10000"/>
                <a:gd name="connsiteY321" fmla="*/ 6614 h 10000"/>
                <a:gd name="connsiteX322" fmla="*/ 732 w 10000"/>
                <a:gd name="connsiteY322" fmla="*/ 6706 h 10000"/>
                <a:gd name="connsiteX323" fmla="*/ 510 w 10000"/>
                <a:gd name="connsiteY323" fmla="*/ 6843 h 10000"/>
                <a:gd name="connsiteX324" fmla="*/ 540 w 10000"/>
                <a:gd name="connsiteY324" fmla="*/ 7040 h 10000"/>
                <a:gd name="connsiteX325" fmla="*/ 353 w 10000"/>
                <a:gd name="connsiteY325" fmla="*/ 7293 h 10000"/>
                <a:gd name="connsiteX326" fmla="*/ 226 w 10000"/>
                <a:gd name="connsiteY326" fmla="*/ 7323 h 10000"/>
                <a:gd name="connsiteX327" fmla="*/ 174 w 10000"/>
                <a:gd name="connsiteY327" fmla="*/ 7262 h 10000"/>
                <a:gd name="connsiteX328" fmla="*/ 109 w 10000"/>
                <a:gd name="connsiteY328" fmla="*/ 7354 h 10000"/>
                <a:gd name="connsiteX329" fmla="*/ 152 w 10000"/>
                <a:gd name="connsiteY329" fmla="*/ 7197 h 10000"/>
                <a:gd name="connsiteX330" fmla="*/ 126 w 10000"/>
                <a:gd name="connsiteY330"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402 w 10000"/>
                <a:gd name="connsiteY207" fmla="*/ 2662 h 10000"/>
                <a:gd name="connsiteX208" fmla="*/ 8449 w 10000"/>
                <a:gd name="connsiteY208" fmla="*/ 2656 h 10000"/>
                <a:gd name="connsiteX209" fmla="*/ 8593 w 10000"/>
                <a:gd name="connsiteY209" fmla="*/ 2669 h 10000"/>
                <a:gd name="connsiteX210" fmla="*/ 8606 w 10000"/>
                <a:gd name="connsiteY210" fmla="*/ 2630 h 10000"/>
                <a:gd name="connsiteX211" fmla="*/ 8685 w 10000"/>
                <a:gd name="connsiteY211" fmla="*/ 2597 h 10000"/>
                <a:gd name="connsiteX212" fmla="*/ 8558 w 10000"/>
                <a:gd name="connsiteY212" fmla="*/ 2481 h 10000"/>
                <a:gd name="connsiteX213" fmla="*/ 8558 w 10000"/>
                <a:gd name="connsiteY213" fmla="*/ 2459 h 10000"/>
                <a:gd name="connsiteX214" fmla="*/ 8698 w 10000"/>
                <a:gd name="connsiteY214" fmla="*/ 2504 h 10000"/>
                <a:gd name="connsiteX215" fmla="*/ 8763 w 10000"/>
                <a:gd name="connsiteY215" fmla="*/ 2548 h 10000"/>
                <a:gd name="connsiteX216" fmla="*/ 8815 w 10000"/>
                <a:gd name="connsiteY216" fmla="*/ 2548 h 10000"/>
                <a:gd name="connsiteX217" fmla="*/ 8789 w 10000"/>
                <a:gd name="connsiteY217" fmla="*/ 2457 h 10000"/>
                <a:gd name="connsiteX218" fmla="*/ 8798 w 10000"/>
                <a:gd name="connsiteY218" fmla="*/ 2467 h 10000"/>
                <a:gd name="connsiteX219" fmla="*/ 8841 w 10000"/>
                <a:gd name="connsiteY219" fmla="*/ 2457 h 10000"/>
                <a:gd name="connsiteX220" fmla="*/ 8855 w 10000"/>
                <a:gd name="connsiteY220" fmla="*/ 2341 h 10000"/>
                <a:gd name="connsiteX221" fmla="*/ 8898 w 10000"/>
                <a:gd name="connsiteY221" fmla="*/ 2332 h 10000"/>
                <a:gd name="connsiteX222" fmla="*/ 8946 w 10000"/>
                <a:gd name="connsiteY222" fmla="*/ 2330 h 10000"/>
                <a:gd name="connsiteX223" fmla="*/ 8946 w 10000"/>
                <a:gd name="connsiteY223" fmla="*/ 2361 h 10000"/>
                <a:gd name="connsiteX224" fmla="*/ 8994 w 10000"/>
                <a:gd name="connsiteY224" fmla="*/ 2389 h 10000"/>
                <a:gd name="connsiteX225" fmla="*/ 9051 w 10000"/>
                <a:gd name="connsiteY225" fmla="*/ 2400 h 10000"/>
                <a:gd name="connsiteX226" fmla="*/ 9094 w 10000"/>
                <a:gd name="connsiteY226" fmla="*/ 2324 h 10000"/>
                <a:gd name="connsiteX227" fmla="*/ 9164 w 10000"/>
                <a:gd name="connsiteY227" fmla="*/ 2347 h 10000"/>
                <a:gd name="connsiteX228" fmla="*/ 9247 w 10000"/>
                <a:gd name="connsiteY228" fmla="*/ 2402 h 10000"/>
                <a:gd name="connsiteX229" fmla="*/ 9286 w 10000"/>
                <a:gd name="connsiteY229" fmla="*/ 2400 h 10000"/>
                <a:gd name="connsiteX230" fmla="*/ 9355 w 10000"/>
                <a:gd name="connsiteY230" fmla="*/ 2428 h 10000"/>
                <a:gd name="connsiteX231" fmla="*/ 9408 w 10000"/>
                <a:gd name="connsiteY231" fmla="*/ 2359 h 10000"/>
                <a:gd name="connsiteX232" fmla="*/ 9717 w 10000"/>
                <a:gd name="connsiteY232" fmla="*/ 2343 h 10000"/>
                <a:gd name="connsiteX233" fmla="*/ 9830 w 10000"/>
                <a:gd name="connsiteY233" fmla="*/ 2369 h 10000"/>
                <a:gd name="connsiteX234" fmla="*/ 9909 w 10000"/>
                <a:gd name="connsiteY234" fmla="*/ 2410 h 10000"/>
                <a:gd name="connsiteX235" fmla="*/ 9948 w 10000"/>
                <a:gd name="connsiteY235" fmla="*/ 2365 h 10000"/>
                <a:gd name="connsiteX236" fmla="*/ 10000 w 10000"/>
                <a:gd name="connsiteY236" fmla="*/ 2349 h 10000"/>
                <a:gd name="connsiteX237" fmla="*/ 9704 w 10000"/>
                <a:gd name="connsiteY237" fmla="*/ 1992 h 10000"/>
                <a:gd name="connsiteX238" fmla="*/ 9743 w 10000"/>
                <a:gd name="connsiteY238" fmla="*/ 1897 h 10000"/>
                <a:gd name="connsiteX239" fmla="*/ 9830 w 10000"/>
                <a:gd name="connsiteY239" fmla="*/ 1819 h 10000"/>
                <a:gd name="connsiteX240" fmla="*/ 9830 w 10000"/>
                <a:gd name="connsiteY240" fmla="*/ 1699 h 10000"/>
                <a:gd name="connsiteX241" fmla="*/ 9556 w 10000"/>
                <a:gd name="connsiteY241" fmla="*/ 1465 h 10000"/>
                <a:gd name="connsiteX242" fmla="*/ 9512 w 10000"/>
                <a:gd name="connsiteY242" fmla="*/ 1379 h 10000"/>
                <a:gd name="connsiteX243" fmla="*/ 9573 w 10000"/>
                <a:gd name="connsiteY243" fmla="*/ 1271 h 10000"/>
                <a:gd name="connsiteX244" fmla="*/ 9543 w 10000"/>
                <a:gd name="connsiteY244" fmla="*/ 1194 h 10000"/>
                <a:gd name="connsiteX245" fmla="*/ 9486 w 10000"/>
                <a:gd name="connsiteY245" fmla="*/ 1159 h 10000"/>
                <a:gd name="connsiteX246" fmla="*/ 9438 w 10000"/>
                <a:gd name="connsiteY246" fmla="*/ 978 h 10000"/>
                <a:gd name="connsiteX247" fmla="*/ 9495 w 10000"/>
                <a:gd name="connsiteY247" fmla="*/ 831 h 10000"/>
                <a:gd name="connsiteX248" fmla="*/ 9077 w 10000"/>
                <a:gd name="connsiteY248" fmla="*/ 517 h 10000"/>
                <a:gd name="connsiteX249" fmla="*/ 8872 w 10000"/>
                <a:gd name="connsiteY249" fmla="*/ 440 h 10000"/>
                <a:gd name="connsiteX250" fmla="*/ 8493 w 10000"/>
                <a:gd name="connsiteY250" fmla="*/ 389 h 10000"/>
                <a:gd name="connsiteX251" fmla="*/ 7709 w 10000"/>
                <a:gd name="connsiteY251" fmla="*/ 26 h 10000"/>
                <a:gd name="connsiteX252" fmla="*/ 7683 w 10000"/>
                <a:gd name="connsiteY252" fmla="*/ 2 h 10000"/>
                <a:gd name="connsiteX253" fmla="*/ 7417 w 10000"/>
                <a:gd name="connsiteY253" fmla="*/ 0 h 10000"/>
                <a:gd name="connsiteX254" fmla="*/ 7356 w 10000"/>
                <a:gd name="connsiteY254" fmla="*/ 14 h 10000"/>
                <a:gd name="connsiteX255" fmla="*/ 7369 w 10000"/>
                <a:gd name="connsiteY255" fmla="*/ 61 h 10000"/>
                <a:gd name="connsiteX256" fmla="*/ 7422 w 10000"/>
                <a:gd name="connsiteY256" fmla="*/ 86 h 10000"/>
                <a:gd name="connsiteX257" fmla="*/ 7435 w 10000"/>
                <a:gd name="connsiteY257" fmla="*/ 139 h 10000"/>
                <a:gd name="connsiteX258" fmla="*/ 7417 w 10000"/>
                <a:gd name="connsiteY258" fmla="*/ 181 h 10000"/>
                <a:gd name="connsiteX259" fmla="*/ 7369 w 10000"/>
                <a:gd name="connsiteY259" fmla="*/ 208 h 10000"/>
                <a:gd name="connsiteX260" fmla="*/ 7334 w 10000"/>
                <a:gd name="connsiteY260" fmla="*/ 283 h 10000"/>
                <a:gd name="connsiteX261" fmla="*/ 7269 w 10000"/>
                <a:gd name="connsiteY261" fmla="*/ 336 h 10000"/>
                <a:gd name="connsiteX262" fmla="*/ 7282 w 10000"/>
                <a:gd name="connsiteY262" fmla="*/ 387 h 10000"/>
                <a:gd name="connsiteX263" fmla="*/ 7382 w 10000"/>
                <a:gd name="connsiteY263" fmla="*/ 434 h 10000"/>
                <a:gd name="connsiteX264" fmla="*/ 7317 w 10000"/>
                <a:gd name="connsiteY264" fmla="*/ 475 h 10000"/>
                <a:gd name="connsiteX265" fmla="*/ 7221 w 10000"/>
                <a:gd name="connsiteY265" fmla="*/ 485 h 10000"/>
                <a:gd name="connsiteX266" fmla="*/ 6420 w 10000"/>
                <a:gd name="connsiteY266" fmla="*/ 387 h 10000"/>
                <a:gd name="connsiteX267" fmla="*/ 6324 w 10000"/>
                <a:gd name="connsiteY267" fmla="*/ 395 h 10000"/>
                <a:gd name="connsiteX268" fmla="*/ 6267 w 10000"/>
                <a:gd name="connsiteY268" fmla="*/ 414 h 10000"/>
                <a:gd name="connsiteX269" fmla="*/ 6211 w 10000"/>
                <a:gd name="connsiteY269" fmla="*/ 462 h 10000"/>
                <a:gd name="connsiteX270" fmla="*/ 6220 w 10000"/>
                <a:gd name="connsiteY270" fmla="*/ 581 h 10000"/>
                <a:gd name="connsiteX271" fmla="*/ 6132 w 10000"/>
                <a:gd name="connsiteY271" fmla="*/ 735 h 10000"/>
                <a:gd name="connsiteX272" fmla="*/ 6024 w 10000"/>
                <a:gd name="connsiteY272" fmla="*/ 815 h 10000"/>
                <a:gd name="connsiteX273" fmla="*/ 5980 w 10000"/>
                <a:gd name="connsiteY273" fmla="*/ 805 h 10000"/>
                <a:gd name="connsiteX274" fmla="*/ 5880 w 10000"/>
                <a:gd name="connsiteY274" fmla="*/ 739 h 10000"/>
                <a:gd name="connsiteX275" fmla="*/ 5753 w 10000"/>
                <a:gd name="connsiteY275" fmla="*/ 705 h 10000"/>
                <a:gd name="connsiteX276" fmla="*/ 5618 w 10000"/>
                <a:gd name="connsiteY276" fmla="*/ 715 h 10000"/>
                <a:gd name="connsiteX277" fmla="*/ 5301 w 10000"/>
                <a:gd name="connsiteY277" fmla="*/ 866 h 10000"/>
                <a:gd name="connsiteX278" fmla="*/ 5218 w 10000"/>
                <a:gd name="connsiteY278" fmla="*/ 1017 h 10000"/>
                <a:gd name="connsiteX279" fmla="*/ 4978 w 10000"/>
                <a:gd name="connsiteY279" fmla="*/ 1153 h 10000"/>
                <a:gd name="connsiteX280" fmla="*/ 4935 w 10000"/>
                <a:gd name="connsiteY280" fmla="*/ 1222 h 10000"/>
                <a:gd name="connsiteX281" fmla="*/ 5061 w 10000"/>
                <a:gd name="connsiteY281" fmla="*/ 1344 h 10000"/>
                <a:gd name="connsiteX282" fmla="*/ 5074 w 10000"/>
                <a:gd name="connsiteY282" fmla="*/ 1412 h 10000"/>
                <a:gd name="connsiteX283" fmla="*/ 4421 w 10000"/>
                <a:gd name="connsiteY283" fmla="*/ 1813 h 10000"/>
                <a:gd name="connsiteX284" fmla="*/ 4220 w 10000"/>
                <a:gd name="connsiteY284" fmla="*/ 2070 h 10000"/>
                <a:gd name="connsiteX285" fmla="*/ 4003 w 10000"/>
                <a:gd name="connsiteY285" fmla="*/ 2135 h 10000"/>
                <a:gd name="connsiteX286" fmla="*/ 3868 w 10000"/>
                <a:gd name="connsiteY286" fmla="*/ 2131 h 10000"/>
                <a:gd name="connsiteX287" fmla="*/ 3785 w 10000"/>
                <a:gd name="connsiteY287" fmla="*/ 2153 h 10000"/>
                <a:gd name="connsiteX288" fmla="*/ 3558 w 10000"/>
                <a:gd name="connsiteY288" fmla="*/ 2793 h 10000"/>
                <a:gd name="connsiteX289" fmla="*/ 3036 w 10000"/>
                <a:gd name="connsiteY289" fmla="*/ 3166 h 10000"/>
                <a:gd name="connsiteX290" fmla="*/ 3040 w 10000"/>
                <a:gd name="connsiteY290" fmla="*/ 3225 h 10000"/>
                <a:gd name="connsiteX291" fmla="*/ 3271 w 10000"/>
                <a:gd name="connsiteY291" fmla="*/ 3392 h 10000"/>
                <a:gd name="connsiteX292" fmla="*/ 3197 w 10000"/>
                <a:gd name="connsiteY292" fmla="*/ 3573 h 10000"/>
                <a:gd name="connsiteX293" fmla="*/ 3062 w 10000"/>
                <a:gd name="connsiteY293" fmla="*/ 3640 h 10000"/>
                <a:gd name="connsiteX294" fmla="*/ 2657 w 10000"/>
                <a:gd name="connsiteY294" fmla="*/ 3595 h 10000"/>
                <a:gd name="connsiteX295" fmla="*/ 2378 w 10000"/>
                <a:gd name="connsiteY295" fmla="*/ 3620 h 10000"/>
                <a:gd name="connsiteX296" fmla="*/ 2152 w 10000"/>
                <a:gd name="connsiteY296" fmla="*/ 3673 h 10000"/>
                <a:gd name="connsiteX297" fmla="*/ 1790 w 10000"/>
                <a:gd name="connsiteY297" fmla="*/ 3840 h 10000"/>
                <a:gd name="connsiteX298" fmla="*/ 1598 w 10000"/>
                <a:gd name="connsiteY298" fmla="*/ 4042 h 10000"/>
                <a:gd name="connsiteX299" fmla="*/ 1616 w 10000"/>
                <a:gd name="connsiteY299" fmla="*/ 4154 h 10000"/>
                <a:gd name="connsiteX300" fmla="*/ 1681 w 10000"/>
                <a:gd name="connsiteY300" fmla="*/ 4241 h 10000"/>
                <a:gd name="connsiteX301" fmla="*/ 1733 w 10000"/>
                <a:gd name="connsiteY301" fmla="*/ 4276 h 10000"/>
                <a:gd name="connsiteX302" fmla="*/ 1638 w 10000"/>
                <a:gd name="connsiteY302" fmla="*/ 4331 h 10000"/>
                <a:gd name="connsiteX303" fmla="*/ 1433 w 10000"/>
                <a:gd name="connsiteY303" fmla="*/ 4710 h 10000"/>
                <a:gd name="connsiteX304" fmla="*/ 1472 w 10000"/>
                <a:gd name="connsiteY304" fmla="*/ 4732 h 10000"/>
                <a:gd name="connsiteX305" fmla="*/ 1503 w 10000"/>
                <a:gd name="connsiteY305" fmla="*/ 4828 h 10000"/>
                <a:gd name="connsiteX306" fmla="*/ 1407 w 10000"/>
                <a:gd name="connsiteY306" fmla="*/ 5227 h 10000"/>
                <a:gd name="connsiteX307" fmla="*/ 1503 w 10000"/>
                <a:gd name="connsiteY307" fmla="*/ 5329 h 10000"/>
                <a:gd name="connsiteX308" fmla="*/ 1764 w 10000"/>
                <a:gd name="connsiteY308" fmla="*/ 5441 h 10000"/>
                <a:gd name="connsiteX309" fmla="*/ 1777 w 10000"/>
                <a:gd name="connsiteY309" fmla="*/ 5578 h 10000"/>
                <a:gd name="connsiteX310" fmla="*/ 1664 w 10000"/>
                <a:gd name="connsiteY310" fmla="*/ 5690 h 10000"/>
                <a:gd name="connsiteX311" fmla="*/ 1503 w 10000"/>
                <a:gd name="connsiteY311" fmla="*/ 5759 h 10000"/>
                <a:gd name="connsiteX312" fmla="*/ 1289 w 10000"/>
                <a:gd name="connsiteY312" fmla="*/ 5787 h 10000"/>
                <a:gd name="connsiteX313" fmla="*/ 1233 w 10000"/>
                <a:gd name="connsiteY313" fmla="*/ 5826 h 10000"/>
                <a:gd name="connsiteX314" fmla="*/ 1359 w 10000"/>
                <a:gd name="connsiteY314" fmla="*/ 5920 h 10000"/>
                <a:gd name="connsiteX315" fmla="*/ 1429 w 10000"/>
                <a:gd name="connsiteY315" fmla="*/ 6142 h 10000"/>
                <a:gd name="connsiteX316" fmla="*/ 1267 w 10000"/>
                <a:gd name="connsiteY316" fmla="*/ 6333 h 10000"/>
                <a:gd name="connsiteX317" fmla="*/ 1324 w 10000"/>
                <a:gd name="connsiteY317" fmla="*/ 6392 h 10000"/>
                <a:gd name="connsiteX318" fmla="*/ 1272 w 10000"/>
                <a:gd name="connsiteY318" fmla="*/ 6492 h 10000"/>
                <a:gd name="connsiteX319" fmla="*/ 1167 w 10000"/>
                <a:gd name="connsiteY319" fmla="*/ 6561 h 10000"/>
                <a:gd name="connsiteX320" fmla="*/ 758 w 10000"/>
                <a:gd name="connsiteY320" fmla="*/ 6614 h 10000"/>
                <a:gd name="connsiteX321" fmla="*/ 732 w 10000"/>
                <a:gd name="connsiteY321" fmla="*/ 6706 h 10000"/>
                <a:gd name="connsiteX322" fmla="*/ 510 w 10000"/>
                <a:gd name="connsiteY322" fmla="*/ 6843 h 10000"/>
                <a:gd name="connsiteX323" fmla="*/ 540 w 10000"/>
                <a:gd name="connsiteY323" fmla="*/ 7040 h 10000"/>
                <a:gd name="connsiteX324" fmla="*/ 353 w 10000"/>
                <a:gd name="connsiteY324" fmla="*/ 7293 h 10000"/>
                <a:gd name="connsiteX325" fmla="*/ 226 w 10000"/>
                <a:gd name="connsiteY325" fmla="*/ 7323 h 10000"/>
                <a:gd name="connsiteX326" fmla="*/ 174 w 10000"/>
                <a:gd name="connsiteY326" fmla="*/ 7262 h 10000"/>
                <a:gd name="connsiteX327" fmla="*/ 109 w 10000"/>
                <a:gd name="connsiteY327" fmla="*/ 7354 h 10000"/>
                <a:gd name="connsiteX328" fmla="*/ 152 w 10000"/>
                <a:gd name="connsiteY328" fmla="*/ 7197 h 10000"/>
                <a:gd name="connsiteX329" fmla="*/ 126 w 10000"/>
                <a:gd name="connsiteY329"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402 w 10000"/>
                <a:gd name="connsiteY207" fmla="*/ 2662 h 10000"/>
                <a:gd name="connsiteX208" fmla="*/ 8449 w 10000"/>
                <a:gd name="connsiteY208" fmla="*/ 2656 h 10000"/>
                <a:gd name="connsiteX209" fmla="*/ 8593 w 10000"/>
                <a:gd name="connsiteY209" fmla="*/ 2669 h 10000"/>
                <a:gd name="connsiteX210" fmla="*/ 8685 w 10000"/>
                <a:gd name="connsiteY210" fmla="*/ 2597 h 10000"/>
                <a:gd name="connsiteX211" fmla="*/ 8558 w 10000"/>
                <a:gd name="connsiteY211" fmla="*/ 2481 h 10000"/>
                <a:gd name="connsiteX212" fmla="*/ 8558 w 10000"/>
                <a:gd name="connsiteY212" fmla="*/ 2459 h 10000"/>
                <a:gd name="connsiteX213" fmla="*/ 8698 w 10000"/>
                <a:gd name="connsiteY213" fmla="*/ 2504 h 10000"/>
                <a:gd name="connsiteX214" fmla="*/ 8763 w 10000"/>
                <a:gd name="connsiteY214" fmla="*/ 2548 h 10000"/>
                <a:gd name="connsiteX215" fmla="*/ 8815 w 10000"/>
                <a:gd name="connsiteY215" fmla="*/ 2548 h 10000"/>
                <a:gd name="connsiteX216" fmla="*/ 8789 w 10000"/>
                <a:gd name="connsiteY216" fmla="*/ 2457 h 10000"/>
                <a:gd name="connsiteX217" fmla="*/ 8798 w 10000"/>
                <a:gd name="connsiteY217" fmla="*/ 2467 h 10000"/>
                <a:gd name="connsiteX218" fmla="*/ 8841 w 10000"/>
                <a:gd name="connsiteY218" fmla="*/ 2457 h 10000"/>
                <a:gd name="connsiteX219" fmla="*/ 8855 w 10000"/>
                <a:gd name="connsiteY219" fmla="*/ 2341 h 10000"/>
                <a:gd name="connsiteX220" fmla="*/ 8898 w 10000"/>
                <a:gd name="connsiteY220" fmla="*/ 2332 h 10000"/>
                <a:gd name="connsiteX221" fmla="*/ 8946 w 10000"/>
                <a:gd name="connsiteY221" fmla="*/ 2330 h 10000"/>
                <a:gd name="connsiteX222" fmla="*/ 8946 w 10000"/>
                <a:gd name="connsiteY222" fmla="*/ 2361 h 10000"/>
                <a:gd name="connsiteX223" fmla="*/ 8994 w 10000"/>
                <a:gd name="connsiteY223" fmla="*/ 2389 h 10000"/>
                <a:gd name="connsiteX224" fmla="*/ 9051 w 10000"/>
                <a:gd name="connsiteY224" fmla="*/ 2400 h 10000"/>
                <a:gd name="connsiteX225" fmla="*/ 9094 w 10000"/>
                <a:gd name="connsiteY225" fmla="*/ 2324 h 10000"/>
                <a:gd name="connsiteX226" fmla="*/ 9164 w 10000"/>
                <a:gd name="connsiteY226" fmla="*/ 2347 h 10000"/>
                <a:gd name="connsiteX227" fmla="*/ 9247 w 10000"/>
                <a:gd name="connsiteY227" fmla="*/ 2402 h 10000"/>
                <a:gd name="connsiteX228" fmla="*/ 9286 w 10000"/>
                <a:gd name="connsiteY228" fmla="*/ 2400 h 10000"/>
                <a:gd name="connsiteX229" fmla="*/ 9355 w 10000"/>
                <a:gd name="connsiteY229" fmla="*/ 2428 h 10000"/>
                <a:gd name="connsiteX230" fmla="*/ 9408 w 10000"/>
                <a:gd name="connsiteY230" fmla="*/ 2359 h 10000"/>
                <a:gd name="connsiteX231" fmla="*/ 9717 w 10000"/>
                <a:gd name="connsiteY231" fmla="*/ 2343 h 10000"/>
                <a:gd name="connsiteX232" fmla="*/ 9830 w 10000"/>
                <a:gd name="connsiteY232" fmla="*/ 2369 h 10000"/>
                <a:gd name="connsiteX233" fmla="*/ 9909 w 10000"/>
                <a:gd name="connsiteY233" fmla="*/ 2410 h 10000"/>
                <a:gd name="connsiteX234" fmla="*/ 9948 w 10000"/>
                <a:gd name="connsiteY234" fmla="*/ 2365 h 10000"/>
                <a:gd name="connsiteX235" fmla="*/ 10000 w 10000"/>
                <a:gd name="connsiteY235" fmla="*/ 2349 h 10000"/>
                <a:gd name="connsiteX236" fmla="*/ 9704 w 10000"/>
                <a:gd name="connsiteY236" fmla="*/ 1992 h 10000"/>
                <a:gd name="connsiteX237" fmla="*/ 9743 w 10000"/>
                <a:gd name="connsiteY237" fmla="*/ 1897 h 10000"/>
                <a:gd name="connsiteX238" fmla="*/ 9830 w 10000"/>
                <a:gd name="connsiteY238" fmla="*/ 1819 h 10000"/>
                <a:gd name="connsiteX239" fmla="*/ 9830 w 10000"/>
                <a:gd name="connsiteY239" fmla="*/ 1699 h 10000"/>
                <a:gd name="connsiteX240" fmla="*/ 9556 w 10000"/>
                <a:gd name="connsiteY240" fmla="*/ 1465 h 10000"/>
                <a:gd name="connsiteX241" fmla="*/ 9512 w 10000"/>
                <a:gd name="connsiteY241" fmla="*/ 1379 h 10000"/>
                <a:gd name="connsiteX242" fmla="*/ 9573 w 10000"/>
                <a:gd name="connsiteY242" fmla="*/ 1271 h 10000"/>
                <a:gd name="connsiteX243" fmla="*/ 9543 w 10000"/>
                <a:gd name="connsiteY243" fmla="*/ 1194 h 10000"/>
                <a:gd name="connsiteX244" fmla="*/ 9486 w 10000"/>
                <a:gd name="connsiteY244" fmla="*/ 1159 h 10000"/>
                <a:gd name="connsiteX245" fmla="*/ 9438 w 10000"/>
                <a:gd name="connsiteY245" fmla="*/ 978 h 10000"/>
                <a:gd name="connsiteX246" fmla="*/ 9495 w 10000"/>
                <a:gd name="connsiteY246" fmla="*/ 831 h 10000"/>
                <a:gd name="connsiteX247" fmla="*/ 9077 w 10000"/>
                <a:gd name="connsiteY247" fmla="*/ 517 h 10000"/>
                <a:gd name="connsiteX248" fmla="*/ 8872 w 10000"/>
                <a:gd name="connsiteY248" fmla="*/ 440 h 10000"/>
                <a:gd name="connsiteX249" fmla="*/ 8493 w 10000"/>
                <a:gd name="connsiteY249" fmla="*/ 389 h 10000"/>
                <a:gd name="connsiteX250" fmla="*/ 7709 w 10000"/>
                <a:gd name="connsiteY250" fmla="*/ 26 h 10000"/>
                <a:gd name="connsiteX251" fmla="*/ 7683 w 10000"/>
                <a:gd name="connsiteY251" fmla="*/ 2 h 10000"/>
                <a:gd name="connsiteX252" fmla="*/ 7417 w 10000"/>
                <a:gd name="connsiteY252" fmla="*/ 0 h 10000"/>
                <a:gd name="connsiteX253" fmla="*/ 7356 w 10000"/>
                <a:gd name="connsiteY253" fmla="*/ 14 h 10000"/>
                <a:gd name="connsiteX254" fmla="*/ 7369 w 10000"/>
                <a:gd name="connsiteY254" fmla="*/ 61 h 10000"/>
                <a:gd name="connsiteX255" fmla="*/ 7422 w 10000"/>
                <a:gd name="connsiteY255" fmla="*/ 86 h 10000"/>
                <a:gd name="connsiteX256" fmla="*/ 7435 w 10000"/>
                <a:gd name="connsiteY256" fmla="*/ 139 h 10000"/>
                <a:gd name="connsiteX257" fmla="*/ 7417 w 10000"/>
                <a:gd name="connsiteY257" fmla="*/ 181 h 10000"/>
                <a:gd name="connsiteX258" fmla="*/ 7369 w 10000"/>
                <a:gd name="connsiteY258" fmla="*/ 208 h 10000"/>
                <a:gd name="connsiteX259" fmla="*/ 7334 w 10000"/>
                <a:gd name="connsiteY259" fmla="*/ 283 h 10000"/>
                <a:gd name="connsiteX260" fmla="*/ 7269 w 10000"/>
                <a:gd name="connsiteY260" fmla="*/ 336 h 10000"/>
                <a:gd name="connsiteX261" fmla="*/ 7282 w 10000"/>
                <a:gd name="connsiteY261" fmla="*/ 387 h 10000"/>
                <a:gd name="connsiteX262" fmla="*/ 7382 w 10000"/>
                <a:gd name="connsiteY262" fmla="*/ 434 h 10000"/>
                <a:gd name="connsiteX263" fmla="*/ 7317 w 10000"/>
                <a:gd name="connsiteY263" fmla="*/ 475 h 10000"/>
                <a:gd name="connsiteX264" fmla="*/ 7221 w 10000"/>
                <a:gd name="connsiteY264" fmla="*/ 485 h 10000"/>
                <a:gd name="connsiteX265" fmla="*/ 6420 w 10000"/>
                <a:gd name="connsiteY265" fmla="*/ 387 h 10000"/>
                <a:gd name="connsiteX266" fmla="*/ 6324 w 10000"/>
                <a:gd name="connsiteY266" fmla="*/ 395 h 10000"/>
                <a:gd name="connsiteX267" fmla="*/ 6267 w 10000"/>
                <a:gd name="connsiteY267" fmla="*/ 414 h 10000"/>
                <a:gd name="connsiteX268" fmla="*/ 6211 w 10000"/>
                <a:gd name="connsiteY268" fmla="*/ 462 h 10000"/>
                <a:gd name="connsiteX269" fmla="*/ 6220 w 10000"/>
                <a:gd name="connsiteY269" fmla="*/ 581 h 10000"/>
                <a:gd name="connsiteX270" fmla="*/ 6132 w 10000"/>
                <a:gd name="connsiteY270" fmla="*/ 735 h 10000"/>
                <a:gd name="connsiteX271" fmla="*/ 6024 w 10000"/>
                <a:gd name="connsiteY271" fmla="*/ 815 h 10000"/>
                <a:gd name="connsiteX272" fmla="*/ 5980 w 10000"/>
                <a:gd name="connsiteY272" fmla="*/ 805 h 10000"/>
                <a:gd name="connsiteX273" fmla="*/ 5880 w 10000"/>
                <a:gd name="connsiteY273" fmla="*/ 739 h 10000"/>
                <a:gd name="connsiteX274" fmla="*/ 5753 w 10000"/>
                <a:gd name="connsiteY274" fmla="*/ 705 h 10000"/>
                <a:gd name="connsiteX275" fmla="*/ 5618 w 10000"/>
                <a:gd name="connsiteY275" fmla="*/ 715 h 10000"/>
                <a:gd name="connsiteX276" fmla="*/ 5301 w 10000"/>
                <a:gd name="connsiteY276" fmla="*/ 866 h 10000"/>
                <a:gd name="connsiteX277" fmla="*/ 5218 w 10000"/>
                <a:gd name="connsiteY277" fmla="*/ 1017 h 10000"/>
                <a:gd name="connsiteX278" fmla="*/ 4978 w 10000"/>
                <a:gd name="connsiteY278" fmla="*/ 1153 h 10000"/>
                <a:gd name="connsiteX279" fmla="*/ 4935 w 10000"/>
                <a:gd name="connsiteY279" fmla="*/ 1222 h 10000"/>
                <a:gd name="connsiteX280" fmla="*/ 5061 w 10000"/>
                <a:gd name="connsiteY280" fmla="*/ 1344 h 10000"/>
                <a:gd name="connsiteX281" fmla="*/ 5074 w 10000"/>
                <a:gd name="connsiteY281" fmla="*/ 1412 h 10000"/>
                <a:gd name="connsiteX282" fmla="*/ 4421 w 10000"/>
                <a:gd name="connsiteY282" fmla="*/ 1813 h 10000"/>
                <a:gd name="connsiteX283" fmla="*/ 4220 w 10000"/>
                <a:gd name="connsiteY283" fmla="*/ 2070 h 10000"/>
                <a:gd name="connsiteX284" fmla="*/ 4003 w 10000"/>
                <a:gd name="connsiteY284" fmla="*/ 2135 h 10000"/>
                <a:gd name="connsiteX285" fmla="*/ 3868 w 10000"/>
                <a:gd name="connsiteY285" fmla="*/ 2131 h 10000"/>
                <a:gd name="connsiteX286" fmla="*/ 3785 w 10000"/>
                <a:gd name="connsiteY286" fmla="*/ 2153 h 10000"/>
                <a:gd name="connsiteX287" fmla="*/ 3558 w 10000"/>
                <a:gd name="connsiteY287" fmla="*/ 2793 h 10000"/>
                <a:gd name="connsiteX288" fmla="*/ 3036 w 10000"/>
                <a:gd name="connsiteY288" fmla="*/ 3166 h 10000"/>
                <a:gd name="connsiteX289" fmla="*/ 3040 w 10000"/>
                <a:gd name="connsiteY289" fmla="*/ 3225 h 10000"/>
                <a:gd name="connsiteX290" fmla="*/ 3271 w 10000"/>
                <a:gd name="connsiteY290" fmla="*/ 3392 h 10000"/>
                <a:gd name="connsiteX291" fmla="*/ 3197 w 10000"/>
                <a:gd name="connsiteY291" fmla="*/ 3573 h 10000"/>
                <a:gd name="connsiteX292" fmla="*/ 3062 w 10000"/>
                <a:gd name="connsiteY292" fmla="*/ 3640 h 10000"/>
                <a:gd name="connsiteX293" fmla="*/ 2657 w 10000"/>
                <a:gd name="connsiteY293" fmla="*/ 3595 h 10000"/>
                <a:gd name="connsiteX294" fmla="*/ 2378 w 10000"/>
                <a:gd name="connsiteY294" fmla="*/ 3620 h 10000"/>
                <a:gd name="connsiteX295" fmla="*/ 2152 w 10000"/>
                <a:gd name="connsiteY295" fmla="*/ 3673 h 10000"/>
                <a:gd name="connsiteX296" fmla="*/ 1790 w 10000"/>
                <a:gd name="connsiteY296" fmla="*/ 3840 h 10000"/>
                <a:gd name="connsiteX297" fmla="*/ 1598 w 10000"/>
                <a:gd name="connsiteY297" fmla="*/ 4042 h 10000"/>
                <a:gd name="connsiteX298" fmla="*/ 1616 w 10000"/>
                <a:gd name="connsiteY298" fmla="*/ 4154 h 10000"/>
                <a:gd name="connsiteX299" fmla="*/ 1681 w 10000"/>
                <a:gd name="connsiteY299" fmla="*/ 4241 h 10000"/>
                <a:gd name="connsiteX300" fmla="*/ 1733 w 10000"/>
                <a:gd name="connsiteY300" fmla="*/ 4276 h 10000"/>
                <a:gd name="connsiteX301" fmla="*/ 1638 w 10000"/>
                <a:gd name="connsiteY301" fmla="*/ 4331 h 10000"/>
                <a:gd name="connsiteX302" fmla="*/ 1433 w 10000"/>
                <a:gd name="connsiteY302" fmla="*/ 4710 h 10000"/>
                <a:gd name="connsiteX303" fmla="*/ 1472 w 10000"/>
                <a:gd name="connsiteY303" fmla="*/ 4732 h 10000"/>
                <a:gd name="connsiteX304" fmla="*/ 1503 w 10000"/>
                <a:gd name="connsiteY304" fmla="*/ 4828 h 10000"/>
                <a:gd name="connsiteX305" fmla="*/ 1407 w 10000"/>
                <a:gd name="connsiteY305" fmla="*/ 5227 h 10000"/>
                <a:gd name="connsiteX306" fmla="*/ 1503 w 10000"/>
                <a:gd name="connsiteY306" fmla="*/ 5329 h 10000"/>
                <a:gd name="connsiteX307" fmla="*/ 1764 w 10000"/>
                <a:gd name="connsiteY307" fmla="*/ 5441 h 10000"/>
                <a:gd name="connsiteX308" fmla="*/ 1777 w 10000"/>
                <a:gd name="connsiteY308" fmla="*/ 5578 h 10000"/>
                <a:gd name="connsiteX309" fmla="*/ 1664 w 10000"/>
                <a:gd name="connsiteY309" fmla="*/ 5690 h 10000"/>
                <a:gd name="connsiteX310" fmla="*/ 1503 w 10000"/>
                <a:gd name="connsiteY310" fmla="*/ 5759 h 10000"/>
                <a:gd name="connsiteX311" fmla="*/ 1289 w 10000"/>
                <a:gd name="connsiteY311" fmla="*/ 5787 h 10000"/>
                <a:gd name="connsiteX312" fmla="*/ 1233 w 10000"/>
                <a:gd name="connsiteY312" fmla="*/ 5826 h 10000"/>
                <a:gd name="connsiteX313" fmla="*/ 1359 w 10000"/>
                <a:gd name="connsiteY313" fmla="*/ 5920 h 10000"/>
                <a:gd name="connsiteX314" fmla="*/ 1429 w 10000"/>
                <a:gd name="connsiteY314" fmla="*/ 6142 h 10000"/>
                <a:gd name="connsiteX315" fmla="*/ 1267 w 10000"/>
                <a:gd name="connsiteY315" fmla="*/ 6333 h 10000"/>
                <a:gd name="connsiteX316" fmla="*/ 1324 w 10000"/>
                <a:gd name="connsiteY316" fmla="*/ 6392 h 10000"/>
                <a:gd name="connsiteX317" fmla="*/ 1272 w 10000"/>
                <a:gd name="connsiteY317" fmla="*/ 6492 h 10000"/>
                <a:gd name="connsiteX318" fmla="*/ 1167 w 10000"/>
                <a:gd name="connsiteY318" fmla="*/ 6561 h 10000"/>
                <a:gd name="connsiteX319" fmla="*/ 758 w 10000"/>
                <a:gd name="connsiteY319" fmla="*/ 6614 h 10000"/>
                <a:gd name="connsiteX320" fmla="*/ 732 w 10000"/>
                <a:gd name="connsiteY320" fmla="*/ 6706 h 10000"/>
                <a:gd name="connsiteX321" fmla="*/ 510 w 10000"/>
                <a:gd name="connsiteY321" fmla="*/ 6843 h 10000"/>
                <a:gd name="connsiteX322" fmla="*/ 540 w 10000"/>
                <a:gd name="connsiteY322" fmla="*/ 7040 h 10000"/>
                <a:gd name="connsiteX323" fmla="*/ 353 w 10000"/>
                <a:gd name="connsiteY323" fmla="*/ 7293 h 10000"/>
                <a:gd name="connsiteX324" fmla="*/ 226 w 10000"/>
                <a:gd name="connsiteY324" fmla="*/ 7323 h 10000"/>
                <a:gd name="connsiteX325" fmla="*/ 174 w 10000"/>
                <a:gd name="connsiteY325" fmla="*/ 7262 h 10000"/>
                <a:gd name="connsiteX326" fmla="*/ 109 w 10000"/>
                <a:gd name="connsiteY326" fmla="*/ 7354 h 10000"/>
                <a:gd name="connsiteX327" fmla="*/ 152 w 10000"/>
                <a:gd name="connsiteY327" fmla="*/ 7197 h 10000"/>
                <a:gd name="connsiteX328" fmla="*/ 126 w 10000"/>
                <a:gd name="connsiteY328"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402 w 10000"/>
                <a:gd name="connsiteY207" fmla="*/ 2662 h 10000"/>
                <a:gd name="connsiteX208" fmla="*/ 8449 w 10000"/>
                <a:gd name="connsiteY208" fmla="*/ 2656 h 10000"/>
                <a:gd name="connsiteX209" fmla="*/ 8593 w 10000"/>
                <a:gd name="connsiteY209" fmla="*/ 2669 h 10000"/>
                <a:gd name="connsiteX210" fmla="*/ 8558 w 10000"/>
                <a:gd name="connsiteY210" fmla="*/ 2481 h 10000"/>
                <a:gd name="connsiteX211" fmla="*/ 8558 w 10000"/>
                <a:gd name="connsiteY211" fmla="*/ 2459 h 10000"/>
                <a:gd name="connsiteX212" fmla="*/ 8698 w 10000"/>
                <a:gd name="connsiteY212" fmla="*/ 2504 h 10000"/>
                <a:gd name="connsiteX213" fmla="*/ 8763 w 10000"/>
                <a:gd name="connsiteY213" fmla="*/ 2548 h 10000"/>
                <a:gd name="connsiteX214" fmla="*/ 8815 w 10000"/>
                <a:gd name="connsiteY214" fmla="*/ 2548 h 10000"/>
                <a:gd name="connsiteX215" fmla="*/ 8789 w 10000"/>
                <a:gd name="connsiteY215" fmla="*/ 2457 h 10000"/>
                <a:gd name="connsiteX216" fmla="*/ 8798 w 10000"/>
                <a:gd name="connsiteY216" fmla="*/ 2467 h 10000"/>
                <a:gd name="connsiteX217" fmla="*/ 8841 w 10000"/>
                <a:gd name="connsiteY217" fmla="*/ 2457 h 10000"/>
                <a:gd name="connsiteX218" fmla="*/ 8855 w 10000"/>
                <a:gd name="connsiteY218" fmla="*/ 2341 h 10000"/>
                <a:gd name="connsiteX219" fmla="*/ 8898 w 10000"/>
                <a:gd name="connsiteY219" fmla="*/ 2332 h 10000"/>
                <a:gd name="connsiteX220" fmla="*/ 8946 w 10000"/>
                <a:gd name="connsiteY220" fmla="*/ 2330 h 10000"/>
                <a:gd name="connsiteX221" fmla="*/ 8946 w 10000"/>
                <a:gd name="connsiteY221" fmla="*/ 2361 h 10000"/>
                <a:gd name="connsiteX222" fmla="*/ 8994 w 10000"/>
                <a:gd name="connsiteY222" fmla="*/ 2389 h 10000"/>
                <a:gd name="connsiteX223" fmla="*/ 9051 w 10000"/>
                <a:gd name="connsiteY223" fmla="*/ 2400 h 10000"/>
                <a:gd name="connsiteX224" fmla="*/ 9094 w 10000"/>
                <a:gd name="connsiteY224" fmla="*/ 2324 h 10000"/>
                <a:gd name="connsiteX225" fmla="*/ 9164 w 10000"/>
                <a:gd name="connsiteY225" fmla="*/ 2347 h 10000"/>
                <a:gd name="connsiteX226" fmla="*/ 9247 w 10000"/>
                <a:gd name="connsiteY226" fmla="*/ 2402 h 10000"/>
                <a:gd name="connsiteX227" fmla="*/ 9286 w 10000"/>
                <a:gd name="connsiteY227" fmla="*/ 2400 h 10000"/>
                <a:gd name="connsiteX228" fmla="*/ 9355 w 10000"/>
                <a:gd name="connsiteY228" fmla="*/ 2428 h 10000"/>
                <a:gd name="connsiteX229" fmla="*/ 9408 w 10000"/>
                <a:gd name="connsiteY229" fmla="*/ 2359 h 10000"/>
                <a:gd name="connsiteX230" fmla="*/ 9717 w 10000"/>
                <a:gd name="connsiteY230" fmla="*/ 2343 h 10000"/>
                <a:gd name="connsiteX231" fmla="*/ 9830 w 10000"/>
                <a:gd name="connsiteY231" fmla="*/ 2369 h 10000"/>
                <a:gd name="connsiteX232" fmla="*/ 9909 w 10000"/>
                <a:gd name="connsiteY232" fmla="*/ 2410 h 10000"/>
                <a:gd name="connsiteX233" fmla="*/ 9948 w 10000"/>
                <a:gd name="connsiteY233" fmla="*/ 2365 h 10000"/>
                <a:gd name="connsiteX234" fmla="*/ 10000 w 10000"/>
                <a:gd name="connsiteY234" fmla="*/ 2349 h 10000"/>
                <a:gd name="connsiteX235" fmla="*/ 9704 w 10000"/>
                <a:gd name="connsiteY235" fmla="*/ 1992 h 10000"/>
                <a:gd name="connsiteX236" fmla="*/ 9743 w 10000"/>
                <a:gd name="connsiteY236" fmla="*/ 1897 h 10000"/>
                <a:gd name="connsiteX237" fmla="*/ 9830 w 10000"/>
                <a:gd name="connsiteY237" fmla="*/ 1819 h 10000"/>
                <a:gd name="connsiteX238" fmla="*/ 9830 w 10000"/>
                <a:gd name="connsiteY238" fmla="*/ 1699 h 10000"/>
                <a:gd name="connsiteX239" fmla="*/ 9556 w 10000"/>
                <a:gd name="connsiteY239" fmla="*/ 1465 h 10000"/>
                <a:gd name="connsiteX240" fmla="*/ 9512 w 10000"/>
                <a:gd name="connsiteY240" fmla="*/ 1379 h 10000"/>
                <a:gd name="connsiteX241" fmla="*/ 9573 w 10000"/>
                <a:gd name="connsiteY241" fmla="*/ 1271 h 10000"/>
                <a:gd name="connsiteX242" fmla="*/ 9543 w 10000"/>
                <a:gd name="connsiteY242" fmla="*/ 1194 h 10000"/>
                <a:gd name="connsiteX243" fmla="*/ 9486 w 10000"/>
                <a:gd name="connsiteY243" fmla="*/ 1159 h 10000"/>
                <a:gd name="connsiteX244" fmla="*/ 9438 w 10000"/>
                <a:gd name="connsiteY244" fmla="*/ 978 h 10000"/>
                <a:gd name="connsiteX245" fmla="*/ 9495 w 10000"/>
                <a:gd name="connsiteY245" fmla="*/ 831 h 10000"/>
                <a:gd name="connsiteX246" fmla="*/ 9077 w 10000"/>
                <a:gd name="connsiteY246" fmla="*/ 517 h 10000"/>
                <a:gd name="connsiteX247" fmla="*/ 8872 w 10000"/>
                <a:gd name="connsiteY247" fmla="*/ 440 h 10000"/>
                <a:gd name="connsiteX248" fmla="*/ 8493 w 10000"/>
                <a:gd name="connsiteY248" fmla="*/ 389 h 10000"/>
                <a:gd name="connsiteX249" fmla="*/ 7709 w 10000"/>
                <a:gd name="connsiteY249" fmla="*/ 26 h 10000"/>
                <a:gd name="connsiteX250" fmla="*/ 7683 w 10000"/>
                <a:gd name="connsiteY250" fmla="*/ 2 h 10000"/>
                <a:gd name="connsiteX251" fmla="*/ 7417 w 10000"/>
                <a:gd name="connsiteY251" fmla="*/ 0 h 10000"/>
                <a:gd name="connsiteX252" fmla="*/ 7356 w 10000"/>
                <a:gd name="connsiteY252" fmla="*/ 14 h 10000"/>
                <a:gd name="connsiteX253" fmla="*/ 7369 w 10000"/>
                <a:gd name="connsiteY253" fmla="*/ 61 h 10000"/>
                <a:gd name="connsiteX254" fmla="*/ 7422 w 10000"/>
                <a:gd name="connsiteY254" fmla="*/ 86 h 10000"/>
                <a:gd name="connsiteX255" fmla="*/ 7435 w 10000"/>
                <a:gd name="connsiteY255" fmla="*/ 139 h 10000"/>
                <a:gd name="connsiteX256" fmla="*/ 7417 w 10000"/>
                <a:gd name="connsiteY256" fmla="*/ 181 h 10000"/>
                <a:gd name="connsiteX257" fmla="*/ 7369 w 10000"/>
                <a:gd name="connsiteY257" fmla="*/ 208 h 10000"/>
                <a:gd name="connsiteX258" fmla="*/ 7334 w 10000"/>
                <a:gd name="connsiteY258" fmla="*/ 283 h 10000"/>
                <a:gd name="connsiteX259" fmla="*/ 7269 w 10000"/>
                <a:gd name="connsiteY259" fmla="*/ 336 h 10000"/>
                <a:gd name="connsiteX260" fmla="*/ 7282 w 10000"/>
                <a:gd name="connsiteY260" fmla="*/ 387 h 10000"/>
                <a:gd name="connsiteX261" fmla="*/ 7382 w 10000"/>
                <a:gd name="connsiteY261" fmla="*/ 434 h 10000"/>
                <a:gd name="connsiteX262" fmla="*/ 7317 w 10000"/>
                <a:gd name="connsiteY262" fmla="*/ 475 h 10000"/>
                <a:gd name="connsiteX263" fmla="*/ 7221 w 10000"/>
                <a:gd name="connsiteY263" fmla="*/ 485 h 10000"/>
                <a:gd name="connsiteX264" fmla="*/ 6420 w 10000"/>
                <a:gd name="connsiteY264" fmla="*/ 387 h 10000"/>
                <a:gd name="connsiteX265" fmla="*/ 6324 w 10000"/>
                <a:gd name="connsiteY265" fmla="*/ 395 h 10000"/>
                <a:gd name="connsiteX266" fmla="*/ 6267 w 10000"/>
                <a:gd name="connsiteY266" fmla="*/ 414 h 10000"/>
                <a:gd name="connsiteX267" fmla="*/ 6211 w 10000"/>
                <a:gd name="connsiteY267" fmla="*/ 462 h 10000"/>
                <a:gd name="connsiteX268" fmla="*/ 6220 w 10000"/>
                <a:gd name="connsiteY268" fmla="*/ 581 h 10000"/>
                <a:gd name="connsiteX269" fmla="*/ 6132 w 10000"/>
                <a:gd name="connsiteY269" fmla="*/ 735 h 10000"/>
                <a:gd name="connsiteX270" fmla="*/ 6024 w 10000"/>
                <a:gd name="connsiteY270" fmla="*/ 815 h 10000"/>
                <a:gd name="connsiteX271" fmla="*/ 5980 w 10000"/>
                <a:gd name="connsiteY271" fmla="*/ 805 h 10000"/>
                <a:gd name="connsiteX272" fmla="*/ 5880 w 10000"/>
                <a:gd name="connsiteY272" fmla="*/ 739 h 10000"/>
                <a:gd name="connsiteX273" fmla="*/ 5753 w 10000"/>
                <a:gd name="connsiteY273" fmla="*/ 705 h 10000"/>
                <a:gd name="connsiteX274" fmla="*/ 5618 w 10000"/>
                <a:gd name="connsiteY274" fmla="*/ 715 h 10000"/>
                <a:gd name="connsiteX275" fmla="*/ 5301 w 10000"/>
                <a:gd name="connsiteY275" fmla="*/ 866 h 10000"/>
                <a:gd name="connsiteX276" fmla="*/ 5218 w 10000"/>
                <a:gd name="connsiteY276" fmla="*/ 1017 h 10000"/>
                <a:gd name="connsiteX277" fmla="*/ 4978 w 10000"/>
                <a:gd name="connsiteY277" fmla="*/ 1153 h 10000"/>
                <a:gd name="connsiteX278" fmla="*/ 4935 w 10000"/>
                <a:gd name="connsiteY278" fmla="*/ 1222 h 10000"/>
                <a:gd name="connsiteX279" fmla="*/ 5061 w 10000"/>
                <a:gd name="connsiteY279" fmla="*/ 1344 h 10000"/>
                <a:gd name="connsiteX280" fmla="*/ 5074 w 10000"/>
                <a:gd name="connsiteY280" fmla="*/ 1412 h 10000"/>
                <a:gd name="connsiteX281" fmla="*/ 4421 w 10000"/>
                <a:gd name="connsiteY281" fmla="*/ 1813 h 10000"/>
                <a:gd name="connsiteX282" fmla="*/ 4220 w 10000"/>
                <a:gd name="connsiteY282" fmla="*/ 2070 h 10000"/>
                <a:gd name="connsiteX283" fmla="*/ 4003 w 10000"/>
                <a:gd name="connsiteY283" fmla="*/ 2135 h 10000"/>
                <a:gd name="connsiteX284" fmla="*/ 3868 w 10000"/>
                <a:gd name="connsiteY284" fmla="*/ 2131 h 10000"/>
                <a:gd name="connsiteX285" fmla="*/ 3785 w 10000"/>
                <a:gd name="connsiteY285" fmla="*/ 2153 h 10000"/>
                <a:gd name="connsiteX286" fmla="*/ 3558 w 10000"/>
                <a:gd name="connsiteY286" fmla="*/ 2793 h 10000"/>
                <a:gd name="connsiteX287" fmla="*/ 3036 w 10000"/>
                <a:gd name="connsiteY287" fmla="*/ 3166 h 10000"/>
                <a:gd name="connsiteX288" fmla="*/ 3040 w 10000"/>
                <a:gd name="connsiteY288" fmla="*/ 3225 h 10000"/>
                <a:gd name="connsiteX289" fmla="*/ 3271 w 10000"/>
                <a:gd name="connsiteY289" fmla="*/ 3392 h 10000"/>
                <a:gd name="connsiteX290" fmla="*/ 3197 w 10000"/>
                <a:gd name="connsiteY290" fmla="*/ 3573 h 10000"/>
                <a:gd name="connsiteX291" fmla="*/ 3062 w 10000"/>
                <a:gd name="connsiteY291" fmla="*/ 3640 h 10000"/>
                <a:gd name="connsiteX292" fmla="*/ 2657 w 10000"/>
                <a:gd name="connsiteY292" fmla="*/ 3595 h 10000"/>
                <a:gd name="connsiteX293" fmla="*/ 2378 w 10000"/>
                <a:gd name="connsiteY293" fmla="*/ 3620 h 10000"/>
                <a:gd name="connsiteX294" fmla="*/ 2152 w 10000"/>
                <a:gd name="connsiteY294" fmla="*/ 3673 h 10000"/>
                <a:gd name="connsiteX295" fmla="*/ 1790 w 10000"/>
                <a:gd name="connsiteY295" fmla="*/ 3840 h 10000"/>
                <a:gd name="connsiteX296" fmla="*/ 1598 w 10000"/>
                <a:gd name="connsiteY296" fmla="*/ 4042 h 10000"/>
                <a:gd name="connsiteX297" fmla="*/ 1616 w 10000"/>
                <a:gd name="connsiteY297" fmla="*/ 4154 h 10000"/>
                <a:gd name="connsiteX298" fmla="*/ 1681 w 10000"/>
                <a:gd name="connsiteY298" fmla="*/ 4241 h 10000"/>
                <a:gd name="connsiteX299" fmla="*/ 1733 w 10000"/>
                <a:gd name="connsiteY299" fmla="*/ 4276 h 10000"/>
                <a:gd name="connsiteX300" fmla="*/ 1638 w 10000"/>
                <a:gd name="connsiteY300" fmla="*/ 4331 h 10000"/>
                <a:gd name="connsiteX301" fmla="*/ 1433 w 10000"/>
                <a:gd name="connsiteY301" fmla="*/ 4710 h 10000"/>
                <a:gd name="connsiteX302" fmla="*/ 1472 w 10000"/>
                <a:gd name="connsiteY302" fmla="*/ 4732 h 10000"/>
                <a:gd name="connsiteX303" fmla="*/ 1503 w 10000"/>
                <a:gd name="connsiteY303" fmla="*/ 4828 h 10000"/>
                <a:gd name="connsiteX304" fmla="*/ 1407 w 10000"/>
                <a:gd name="connsiteY304" fmla="*/ 5227 h 10000"/>
                <a:gd name="connsiteX305" fmla="*/ 1503 w 10000"/>
                <a:gd name="connsiteY305" fmla="*/ 5329 h 10000"/>
                <a:gd name="connsiteX306" fmla="*/ 1764 w 10000"/>
                <a:gd name="connsiteY306" fmla="*/ 5441 h 10000"/>
                <a:gd name="connsiteX307" fmla="*/ 1777 w 10000"/>
                <a:gd name="connsiteY307" fmla="*/ 5578 h 10000"/>
                <a:gd name="connsiteX308" fmla="*/ 1664 w 10000"/>
                <a:gd name="connsiteY308" fmla="*/ 5690 h 10000"/>
                <a:gd name="connsiteX309" fmla="*/ 1503 w 10000"/>
                <a:gd name="connsiteY309" fmla="*/ 5759 h 10000"/>
                <a:gd name="connsiteX310" fmla="*/ 1289 w 10000"/>
                <a:gd name="connsiteY310" fmla="*/ 5787 h 10000"/>
                <a:gd name="connsiteX311" fmla="*/ 1233 w 10000"/>
                <a:gd name="connsiteY311" fmla="*/ 5826 h 10000"/>
                <a:gd name="connsiteX312" fmla="*/ 1359 w 10000"/>
                <a:gd name="connsiteY312" fmla="*/ 5920 h 10000"/>
                <a:gd name="connsiteX313" fmla="*/ 1429 w 10000"/>
                <a:gd name="connsiteY313" fmla="*/ 6142 h 10000"/>
                <a:gd name="connsiteX314" fmla="*/ 1267 w 10000"/>
                <a:gd name="connsiteY314" fmla="*/ 6333 h 10000"/>
                <a:gd name="connsiteX315" fmla="*/ 1324 w 10000"/>
                <a:gd name="connsiteY315" fmla="*/ 6392 h 10000"/>
                <a:gd name="connsiteX316" fmla="*/ 1272 w 10000"/>
                <a:gd name="connsiteY316" fmla="*/ 6492 h 10000"/>
                <a:gd name="connsiteX317" fmla="*/ 1167 w 10000"/>
                <a:gd name="connsiteY317" fmla="*/ 6561 h 10000"/>
                <a:gd name="connsiteX318" fmla="*/ 758 w 10000"/>
                <a:gd name="connsiteY318" fmla="*/ 6614 h 10000"/>
                <a:gd name="connsiteX319" fmla="*/ 732 w 10000"/>
                <a:gd name="connsiteY319" fmla="*/ 6706 h 10000"/>
                <a:gd name="connsiteX320" fmla="*/ 510 w 10000"/>
                <a:gd name="connsiteY320" fmla="*/ 6843 h 10000"/>
                <a:gd name="connsiteX321" fmla="*/ 540 w 10000"/>
                <a:gd name="connsiteY321" fmla="*/ 7040 h 10000"/>
                <a:gd name="connsiteX322" fmla="*/ 353 w 10000"/>
                <a:gd name="connsiteY322" fmla="*/ 7293 h 10000"/>
                <a:gd name="connsiteX323" fmla="*/ 226 w 10000"/>
                <a:gd name="connsiteY323" fmla="*/ 7323 h 10000"/>
                <a:gd name="connsiteX324" fmla="*/ 174 w 10000"/>
                <a:gd name="connsiteY324" fmla="*/ 7262 h 10000"/>
                <a:gd name="connsiteX325" fmla="*/ 109 w 10000"/>
                <a:gd name="connsiteY325" fmla="*/ 7354 h 10000"/>
                <a:gd name="connsiteX326" fmla="*/ 152 w 10000"/>
                <a:gd name="connsiteY326" fmla="*/ 7197 h 10000"/>
                <a:gd name="connsiteX327" fmla="*/ 126 w 10000"/>
                <a:gd name="connsiteY327"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402 w 10000"/>
                <a:gd name="connsiteY207" fmla="*/ 2662 h 10000"/>
                <a:gd name="connsiteX208" fmla="*/ 8449 w 10000"/>
                <a:gd name="connsiteY208" fmla="*/ 2656 h 10000"/>
                <a:gd name="connsiteX209" fmla="*/ 8558 w 10000"/>
                <a:gd name="connsiteY209" fmla="*/ 2481 h 10000"/>
                <a:gd name="connsiteX210" fmla="*/ 8558 w 10000"/>
                <a:gd name="connsiteY210" fmla="*/ 2459 h 10000"/>
                <a:gd name="connsiteX211" fmla="*/ 8698 w 10000"/>
                <a:gd name="connsiteY211" fmla="*/ 2504 h 10000"/>
                <a:gd name="connsiteX212" fmla="*/ 8763 w 10000"/>
                <a:gd name="connsiteY212" fmla="*/ 2548 h 10000"/>
                <a:gd name="connsiteX213" fmla="*/ 8815 w 10000"/>
                <a:gd name="connsiteY213" fmla="*/ 2548 h 10000"/>
                <a:gd name="connsiteX214" fmla="*/ 8789 w 10000"/>
                <a:gd name="connsiteY214" fmla="*/ 2457 h 10000"/>
                <a:gd name="connsiteX215" fmla="*/ 8798 w 10000"/>
                <a:gd name="connsiteY215" fmla="*/ 2467 h 10000"/>
                <a:gd name="connsiteX216" fmla="*/ 8841 w 10000"/>
                <a:gd name="connsiteY216" fmla="*/ 2457 h 10000"/>
                <a:gd name="connsiteX217" fmla="*/ 8855 w 10000"/>
                <a:gd name="connsiteY217" fmla="*/ 2341 h 10000"/>
                <a:gd name="connsiteX218" fmla="*/ 8898 w 10000"/>
                <a:gd name="connsiteY218" fmla="*/ 2332 h 10000"/>
                <a:gd name="connsiteX219" fmla="*/ 8946 w 10000"/>
                <a:gd name="connsiteY219" fmla="*/ 2330 h 10000"/>
                <a:gd name="connsiteX220" fmla="*/ 8946 w 10000"/>
                <a:gd name="connsiteY220" fmla="*/ 2361 h 10000"/>
                <a:gd name="connsiteX221" fmla="*/ 8994 w 10000"/>
                <a:gd name="connsiteY221" fmla="*/ 2389 h 10000"/>
                <a:gd name="connsiteX222" fmla="*/ 9051 w 10000"/>
                <a:gd name="connsiteY222" fmla="*/ 2400 h 10000"/>
                <a:gd name="connsiteX223" fmla="*/ 9094 w 10000"/>
                <a:gd name="connsiteY223" fmla="*/ 2324 h 10000"/>
                <a:gd name="connsiteX224" fmla="*/ 9164 w 10000"/>
                <a:gd name="connsiteY224" fmla="*/ 2347 h 10000"/>
                <a:gd name="connsiteX225" fmla="*/ 9247 w 10000"/>
                <a:gd name="connsiteY225" fmla="*/ 2402 h 10000"/>
                <a:gd name="connsiteX226" fmla="*/ 9286 w 10000"/>
                <a:gd name="connsiteY226" fmla="*/ 2400 h 10000"/>
                <a:gd name="connsiteX227" fmla="*/ 9355 w 10000"/>
                <a:gd name="connsiteY227" fmla="*/ 2428 h 10000"/>
                <a:gd name="connsiteX228" fmla="*/ 9408 w 10000"/>
                <a:gd name="connsiteY228" fmla="*/ 2359 h 10000"/>
                <a:gd name="connsiteX229" fmla="*/ 9717 w 10000"/>
                <a:gd name="connsiteY229" fmla="*/ 2343 h 10000"/>
                <a:gd name="connsiteX230" fmla="*/ 9830 w 10000"/>
                <a:gd name="connsiteY230" fmla="*/ 2369 h 10000"/>
                <a:gd name="connsiteX231" fmla="*/ 9909 w 10000"/>
                <a:gd name="connsiteY231" fmla="*/ 2410 h 10000"/>
                <a:gd name="connsiteX232" fmla="*/ 9948 w 10000"/>
                <a:gd name="connsiteY232" fmla="*/ 2365 h 10000"/>
                <a:gd name="connsiteX233" fmla="*/ 10000 w 10000"/>
                <a:gd name="connsiteY233" fmla="*/ 2349 h 10000"/>
                <a:gd name="connsiteX234" fmla="*/ 9704 w 10000"/>
                <a:gd name="connsiteY234" fmla="*/ 1992 h 10000"/>
                <a:gd name="connsiteX235" fmla="*/ 9743 w 10000"/>
                <a:gd name="connsiteY235" fmla="*/ 1897 h 10000"/>
                <a:gd name="connsiteX236" fmla="*/ 9830 w 10000"/>
                <a:gd name="connsiteY236" fmla="*/ 1819 h 10000"/>
                <a:gd name="connsiteX237" fmla="*/ 9830 w 10000"/>
                <a:gd name="connsiteY237" fmla="*/ 1699 h 10000"/>
                <a:gd name="connsiteX238" fmla="*/ 9556 w 10000"/>
                <a:gd name="connsiteY238" fmla="*/ 1465 h 10000"/>
                <a:gd name="connsiteX239" fmla="*/ 9512 w 10000"/>
                <a:gd name="connsiteY239" fmla="*/ 1379 h 10000"/>
                <a:gd name="connsiteX240" fmla="*/ 9573 w 10000"/>
                <a:gd name="connsiteY240" fmla="*/ 1271 h 10000"/>
                <a:gd name="connsiteX241" fmla="*/ 9543 w 10000"/>
                <a:gd name="connsiteY241" fmla="*/ 1194 h 10000"/>
                <a:gd name="connsiteX242" fmla="*/ 9486 w 10000"/>
                <a:gd name="connsiteY242" fmla="*/ 1159 h 10000"/>
                <a:gd name="connsiteX243" fmla="*/ 9438 w 10000"/>
                <a:gd name="connsiteY243" fmla="*/ 978 h 10000"/>
                <a:gd name="connsiteX244" fmla="*/ 9495 w 10000"/>
                <a:gd name="connsiteY244" fmla="*/ 831 h 10000"/>
                <a:gd name="connsiteX245" fmla="*/ 9077 w 10000"/>
                <a:gd name="connsiteY245" fmla="*/ 517 h 10000"/>
                <a:gd name="connsiteX246" fmla="*/ 8872 w 10000"/>
                <a:gd name="connsiteY246" fmla="*/ 440 h 10000"/>
                <a:gd name="connsiteX247" fmla="*/ 8493 w 10000"/>
                <a:gd name="connsiteY247" fmla="*/ 389 h 10000"/>
                <a:gd name="connsiteX248" fmla="*/ 7709 w 10000"/>
                <a:gd name="connsiteY248" fmla="*/ 26 h 10000"/>
                <a:gd name="connsiteX249" fmla="*/ 7683 w 10000"/>
                <a:gd name="connsiteY249" fmla="*/ 2 h 10000"/>
                <a:gd name="connsiteX250" fmla="*/ 7417 w 10000"/>
                <a:gd name="connsiteY250" fmla="*/ 0 h 10000"/>
                <a:gd name="connsiteX251" fmla="*/ 7356 w 10000"/>
                <a:gd name="connsiteY251" fmla="*/ 14 h 10000"/>
                <a:gd name="connsiteX252" fmla="*/ 7369 w 10000"/>
                <a:gd name="connsiteY252" fmla="*/ 61 h 10000"/>
                <a:gd name="connsiteX253" fmla="*/ 7422 w 10000"/>
                <a:gd name="connsiteY253" fmla="*/ 86 h 10000"/>
                <a:gd name="connsiteX254" fmla="*/ 7435 w 10000"/>
                <a:gd name="connsiteY254" fmla="*/ 139 h 10000"/>
                <a:gd name="connsiteX255" fmla="*/ 7417 w 10000"/>
                <a:gd name="connsiteY255" fmla="*/ 181 h 10000"/>
                <a:gd name="connsiteX256" fmla="*/ 7369 w 10000"/>
                <a:gd name="connsiteY256" fmla="*/ 208 h 10000"/>
                <a:gd name="connsiteX257" fmla="*/ 7334 w 10000"/>
                <a:gd name="connsiteY257" fmla="*/ 283 h 10000"/>
                <a:gd name="connsiteX258" fmla="*/ 7269 w 10000"/>
                <a:gd name="connsiteY258" fmla="*/ 336 h 10000"/>
                <a:gd name="connsiteX259" fmla="*/ 7282 w 10000"/>
                <a:gd name="connsiteY259" fmla="*/ 387 h 10000"/>
                <a:gd name="connsiteX260" fmla="*/ 7382 w 10000"/>
                <a:gd name="connsiteY260" fmla="*/ 434 h 10000"/>
                <a:gd name="connsiteX261" fmla="*/ 7317 w 10000"/>
                <a:gd name="connsiteY261" fmla="*/ 475 h 10000"/>
                <a:gd name="connsiteX262" fmla="*/ 7221 w 10000"/>
                <a:gd name="connsiteY262" fmla="*/ 485 h 10000"/>
                <a:gd name="connsiteX263" fmla="*/ 6420 w 10000"/>
                <a:gd name="connsiteY263" fmla="*/ 387 h 10000"/>
                <a:gd name="connsiteX264" fmla="*/ 6324 w 10000"/>
                <a:gd name="connsiteY264" fmla="*/ 395 h 10000"/>
                <a:gd name="connsiteX265" fmla="*/ 6267 w 10000"/>
                <a:gd name="connsiteY265" fmla="*/ 414 h 10000"/>
                <a:gd name="connsiteX266" fmla="*/ 6211 w 10000"/>
                <a:gd name="connsiteY266" fmla="*/ 462 h 10000"/>
                <a:gd name="connsiteX267" fmla="*/ 6220 w 10000"/>
                <a:gd name="connsiteY267" fmla="*/ 581 h 10000"/>
                <a:gd name="connsiteX268" fmla="*/ 6132 w 10000"/>
                <a:gd name="connsiteY268" fmla="*/ 735 h 10000"/>
                <a:gd name="connsiteX269" fmla="*/ 6024 w 10000"/>
                <a:gd name="connsiteY269" fmla="*/ 815 h 10000"/>
                <a:gd name="connsiteX270" fmla="*/ 5980 w 10000"/>
                <a:gd name="connsiteY270" fmla="*/ 805 h 10000"/>
                <a:gd name="connsiteX271" fmla="*/ 5880 w 10000"/>
                <a:gd name="connsiteY271" fmla="*/ 739 h 10000"/>
                <a:gd name="connsiteX272" fmla="*/ 5753 w 10000"/>
                <a:gd name="connsiteY272" fmla="*/ 705 h 10000"/>
                <a:gd name="connsiteX273" fmla="*/ 5618 w 10000"/>
                <a:gd name="connsiteY273" fmla="*/ 715 h 10000"/>
                <a:gd name="connsiteX274" fmla="*/ 5301 w 10000"/>
                <a:gd name="connsiteY274" fmla="*/ 866 h 10000"/>
                <a:gd name="connsiteX275" fmla="*/ 5218 w 10000"/>
                <a:gd name="connsiteY275" fmla="*/ 1017 h 10000"/>
                <a:gd name="connsiteX276" fmla="*/ 4978 w 10000"/>
                <a:gd name="connsiteY276" fmla="*/ 1153 h 10000"/>
                <a:gd name="connsiteX277" fmla="*/ 4935 w 10000"/>
                <a:gd name="connsiteY277" fmla="*/ 1222 h 10000"/>
                <a:gd name="connsiteX278" fmla="*/ 5061 w 10000"/>
                <a:gd name="connsiteY278" fmla="*/ 1344 h 10000"/>
                <a:gd name="connsiteX279" fmla="*/ 5074 w 10000"/>
                <a:gd name="connsiteY279" fmla="*/ 1412 h 10000"/>
                <a:gd name="connsiteX280" fmla="*/ 4421 w 10000"/>
                <a:gd name="connsiteY280" fmla="*/ 1813 h 10000"/>
                <a:gd name="connsiteX281" fmla="*/ 4220 w 10000"/>
                <a:gd name="connsiteY281" fmla="*/ 2070 h 10000"/>
                <a:gd name="connsiteX282" fmla="*/ 4003 w 10000"/>
                <a:gd name="connsiteY282" fmla="*/ 2135 h 10000"/>
                <a:gd name="connsiteX283" fmla="*/ 3868 w 10000"/>
                <a:gd name="connsiteY283" fmla="*/ 2131 h 10000"/>
                <a:gd name="connsiteX284" fmla="*/ 3785 w 10000"/>
                <a:gd name="connsiteY284" fmla="*/ 2153 h 10000"/>
                <a:gd name="connsiteX285" fmla="*/ 3558 w 10000"/>
                <a:gd name="connsiteY285" fmla="*/ 2793 h 10000"/>
                <a:gd name="connsiteX286" fmla="*/ 3036 w 10000"/>
                <a:gd name="connsiteY286" fmla="*/ 3166 h 10000"/>
                <a:gd name="connsiteX287" fmla="*/ 3040 w 10000"/>
                <a:gd name="connsiteY287" fmla="*/ 3225 h 10000"/>
                <a:gd name="connsiteX288" fmla="*/ 3271 w 10000"/>
                <a:gd name="connsiteY288" fmla="*/ 3392 h 10000"/>
                <a:gd name="connsiteX289" fmla="*/ 3197 w 10000"/>
                <a:gd name="connsiteY289" fmla="*/ 3573 h 10000"/>
                <a:gd name="connsiteX290" fmla="*/ 3062 w 10000"/>
                <a:gd name="connsiteY290" fmla="*/ 3640 h 10000"/>
                <a:gd name="connsiteX291" fmla="*/ 2657 w 10000"/>
                <a:gd name="connsiteY291" fmla="*/ 3595 h 10000"/>
                <a:gd name="connsiteX292" fmla="*/ 2378 w 10000"/>
                <a:gd name="connsiteY292" fmla="*/ 3620 h 10000"/>
                <a:gd name="connsiteX293" fmla="*/ 2152 w 10000"/>
                <a:gd name="connsiteY293" fmla="*/ 3673 h 10000"/>
                <a:gd name="connsiteX294" fmla="*/ 1790 w 10000"/>
                <a:gd name="connsiteY294" fmla="*/ 3840 h 10000"/>
                <a:gd name="connsiteX295" fmla="*/ 1598 w 10000"/>
                <a:gd name="connsiteY295" fmla="*/ 4042 h 10000"/>
                <a:gd name="connsiteX296" fmla="*/ 1616 w 10000"/>
                <a:gd name="connsiteY296" fmla="*/ 4154 h 10000"/>
                <a:gd name="connsiteX297" fmla="*/ 1681 w 10000"/>
                <a:gd name="connsiteY297" fmla="*/ 4241 h 10000"/>
                <a:gd name="connsiteX298" fmla="*/ 1733 w 10000"/>
                <a:gd name="connsiteY298" fmla="*/ 4276 h 10000"/>
                <a:gd name="connsiteX299" fmla="*/ 1638 w 10000"/>
                <a:gd name="connsiteY299" fmla="*/ 4331 h 10000"/>
                <a:gd name="connsiteX300" fmla="*/ 1433 w 10000"/>
                <a:gd name="connsiteY300" fmla="*/ 4710 h 10000"/>
                <a:gd name="connsiteX301" fmla="*/ 1472 w 10000"/>
                <a:gd name="connsiteY301" fmla="*/ 4732 h 10000"/>
                <a:gd name="connsiteX302" fmla="*/ 1503 w 10000"/>
                <a:gd name="connsiteY302" fmla="*/ 4828 h 10000"/>
                <a:gd name="connsiteX303" fmla="*/ 1407 w 10000"/>
                <a:gd name="connsiteY303" fmla="*/ 5227 h 10000"/>
                <a:gd name="connsiteX304" fmla="*/ 1503 w 10000"/>
                <a:gd name="connsiteY304" fmla="*/ 5329 h 10000"/>
                <a:gd name="connsiteX305" fmla="*/ 1764 w 10000"/>
                <a:gd name="connsiteY305" fmla="*/ 5441 h 10000"/>
                <a:gd name="connsiteX306" fmla="*/ 1777 w 10000"/>
                <a:gd name="connsiteY306" fmla="*/ 5578 h 10000"/>
                <a:gd name="connsiteX307" fmla="*/ 1664 w 10000"/>
                <a:gd name="connsiteY307" fmla="*/ 5690 h 10000"/>
                <a:gd name="connsiteX308" fmla="*/ 1503 w 10000"/>
                <a:gd name="connsiteY308" fmla="*/ 5759 h 10000"/>
                <a:gd name="connsiteX309" fmla="*/ 1289 w 10000"/>
                <a:gd name="connsiteY309" fmla="*/ 5787 h 10000"/>
                <a:gd name="connsiteX310" fmla="*/ 1233 w 10000"/>
                <a:gd name="connsiteY310" fmla="*/ 5826 h 10000"/>
                <a:gd name="connsiteX311" fmla="*/ 1359 w 10000"/>
                <a:gd name="connsiteY311" fmla="*/ 5920 h 10000"/>
                <a:gd name="connsiteX312" fmla="*/ 1429 w 10000"/>
                <a:gd name="connsiteY312" fmla="*/ 6142 h 10000"/>
                <a:gd name="connsiteX313" fmla="*/ 1267 w 10000"/>
                <a:gd name="connsiteY313" fmla="*/ 6333 h 10000"/>
                <a:gd name="connsiteX314" fmla="*/ 1324 w 10000"/>
                <a:gd name="connsiteY314" fmla="*/ 6392 h 10000"/>
                <a:gd name="connsiteX315" fmla="*/ 1272 w 10000"/>
                <a:gd name="connsiteY315" fmla="*/ 6492 h 10000"/>
                <a:gd name="connsiteX316" fmla="*/ 1167 w 10000"/>
                <a:gd name="connsiteY316" fmla="*/ 6561 h 10000"/>
                <a:gd name="connsiteX317" fmla="*/ 758 w 10000"/>
                <a:gd name="connsiteY317" fmla="*/ 6614 h 10000"/>
                <a:gd name="connsiteX318" fmla="*/ 732 w 10000"/>
                <a:gd name="connsiteY318" fmla="*/ 6706 h 10000"/>
                <a:gd name="connsiteX319" fmla="*/ 510 w 10000"/>
                <a:gd name="connsiteY319" fmla="*/ 6843 h 10000"/>
                <a:gd name="connsiteX320" fmla="*/ 540 w 10000"/>
                <a:gd name="connsiteY320" fmla="*/ 7040 h 10000"/>
                <a:gd name="connsiteX321" fmla="*/ 353 w 10000"/>
                <a:gd name="connsiteY321" fmla="*/ 7293 h 10000"/>
                <a:gd name="connsiteX322" fmla="*/ 226 w 10000"/>
                <a:gd name="connsiteY322" fmla="*/ 7323 h 10000"/>
                <a:gd name="connsiteX323" fmla="*/ 174 w 10000"/>
                <a:gd name="connsiteY323" fmla="*/ 7262 h 10000"/>
                <a:gd name="connsiteX324" fmla="*/ 109 w 10000"/>
                <a:gd name="connsiteY324" fmla="*/ 7354 h 10000"/>
                <a:gd name="connsiteX325" fmla="*/ 152 w 10000"/>
                <a:gd name="connsiteY325" fmla="*/ 7197 h 10000"/>
                <a:gd name="connsiteX326" fmla="*/ 126 w 10000"/>
                <a:gd name="connsiteY326"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402 w 10000"/>
                <a:gd name="connsiteY207" fmla="*/ 2662 h 10000"/>
                <a:gd name="connsiteX208" fmla="*/ 8558 w 10000"/>
                <a:gd name="connsiteY208" fmla="*/ 2481 h 10000"/>
                <a:gd name="connsiteX209" fmla="*/ 8558 w 10000"/>
                <a:gd name="connsiteY209" fmla="*/ 2459 h 10000"/>
                <a:gd name="connsiteX210" fmla="*/ 8698 w 10000"/>
                <a:gd name="connsiteY210" fmla="*/ 2504 h 10000"/>
                <a:gd name="connsiteX211" fmla="*/ 8763 w 10000"/>
                <a:gd name="connsiteY211" fmla="*/ 2548 h 10000"/>
                <a:gd name="connsiteX212" fmla="*/ 8815 w 10000"/>
                <a:gd name="connsiteY212" fmla="*/ 2548 h 10000"/>
                <a:gd name="connsiteX213" fmla="*/ 8789 w 10000"/>
                <a:gd name="connsiteY213" fmla="*/ 2457 h 10000"/>
                <a:gd name="connsiteX214" fmla="*/ 8798 w 10000"/>
                <a:gd name="connsiteY214" fmla="*/ 2467 h 10000"/>
                <a:gd name="connsiteX215" fmla="*/ 8841 w 10000"/>
                <a:gd name="connsiteY215" fmla="*/ 2457 h 10000"/>
                <a:gd name="connsiteX216" fmla="*/ 8855 w 10000"/>
                <a:gd name="connsiteY216" fmla="*/ 2341 h 10000"/>
                <a:gd name="connsiteX217" fmla="*/ 8898 w 10000"/>
                <a:gd name="connsiteY217" fmla="*/ 2332 h 10000"/>
                <a:gd name="connsiteX218" fmla="*/ 8946 w 10000"/>
                <a:gd name="connsiteY218" fmla="*/ 2330 h 10000"/>
                <a:gd name="connsiteX219" fmla="*/ 8946 w 10000"/>
                <a:gd name="connsiteY219" fmla="*/ 2361 h 10000"/>
                <a:gd name="connsiteX220" fmla="*/ 8994 w 10000"/>
                <a:gd name="connsiteY220" fmla="*/ 2389 h 10000"/>
                <a:gd name="connsiteX221" fmla="*/ 9051 w 10000"/>
                <a:gd name="connsiteY221" fmla="*/ 2400 h 10000"/>
                <a:gd name="connsiteX222" fmla="*/ 9094 w 10000"/>
                <a:gd name="connsiteY222" fmla="*/ 2324 h 10000"/>
                <a:gd name="connsiteX223" fmla="*/ 9164 w 10000"/>
                <a:gd name="connsiteY223" fmla="*/ 2347 h 10000"/>
                <a:gd name="connsiteX224" fmla="*/ 9247 w 10000"/>
                <a:gd name="connsiteY224" fmla="*/ 2402 h 10000"/>
                <a:gd name="connsiteX225" fmla="*/ 9286 w 10000"/>
                <a:gd name="connsiteY225" fmla="*/ 2400 h 10000"/>
                <a:gd name="connsiteX226" fmla="*/ 9355 w 10000"/>
                <a:gd name="connsiteY226" fmla="*/ 2428 h 10000"/>
                <a:gd name="connsiteX227" fmla="*/ 9408 w 10000"/>
                <a:gd name="connsiteY227" fmla="*/ 2359 h 10000"/>
                <a:gd name="connsiteX228" fmla="*/ 9717 w 10000"/>
                <a:gd name="connsiteY228" fmla="*/ 2343 h 10000"/>
                <a:gd name="connsiteX229" fmla="*/ 9830 w 10000"/>
                <a:gd name="connsiteY229" fmla="*/ 2369 h 10000"/>
                <a:gd name="connsiteX230" fmla="*/ 9909 w 10000"/>
                <a:gd name="connsiteY230" fmla="*/ 2410 h 10000"/>
                <a:gd name="connsiteX231" fmla="*/ 9948 w 10000"/>
                <a:gd name="connsiteY231" fmla="*/ 2365 h 10000"/>
                <a:gd name="connsiteX232" fmla="*/ 10000 w 10000"/>
                <a:gd name="connsiteY232" fmla="*/ 2349 h 10000"/>
                <a:gd name="connsiteX233" fmla="*/ 9704 w 10000"/>
                <a:gd name="connsiteY233" fmla="*/ 1992 h 10000"/>
                <a:gd name="connsiteX234" fmla="*/ 9743 w 10000"/>
                <a:gd name="connsiteY234" fmla="*/ 1897 h 10000"/>
                <a:gd name="connsiteX235" fmla="*/ 9830 w 10000"/>
                <a:gd name="connsiteY235" fmla="*/ 1819 h 10000"/>
                <a:gd name="connsiteX236" fmla="*/ 9830 w 10000"/>
                <a:gd name="connsiteY236" fmla="*/ 1699 h 10000"/>
                <a:gd name="connsiteX237" fmla="*/ 9556 w 10000"/>
                <a:gd name="connsiteY237" fmla="*/ 1465 h 10000"/>
                <a:gd name="connsiteX238" fmla="*/ 9512 w 10000"/>
                <a:gd name="connsiteY238" fmla="*/ 1379 h 10000"/>
                <a:gd name="connsiteX239" fmla="*/ 9573 w 10000"/>
                <a:gd name="connsiteY239" fmla="*/ 1271 h 10000"/>
                <a:gd name="connsiteX240" fmla="*/ 9543 w 10000"/>
                <a:gd name="connsiteY240" fmla="*/ 1194 h 10000"/>
                <a:gd name="connsiteX241" fmla="*/ 9486 w 10000"/>
                <a:gd name="connsiteY241" fmla="*/ 1159 h 10000"/>
                <a:gd name="connsiteX242" fmla="*/ 9438 w 10000"/>
                <a:gd name="connsiteY242" fmla="*/ 978 h 10000"/>
                <a:gd name="connsiteX243" fmla="*/ 9495 w 10000"/>
                <a:gd name="connsiteY243" fmla="*/ 831 h 10000"/>
                <a:gd name="connsiteX244" fmla="*/ 9077 w 10000"/>
                <a:gd name="connsiteY244" fmla="*/ 517 h 10000"/>
                <a:gd name="connsiteX245" fmla="*/ 8872 w 10000"/>
                <a:gd name="connsiteY245" fmla="*/ 440 h 10000"/>
                <a:gd name="connsiteX246" fmla="*/ 8493 w 10000"/>
                <a:gd name="connsiteY246" fmla="*/ 389 h 10000"/>
                <a:gd name="connsiteX247" fmla="*/ 7709 w 10000"/>
                <a:gd name="connsiteY247" fmla="*/ 26 h 10000"/>
                <a:gd name="connsiteX248" fmla="*/ 7683 w 10000"/>
                <a:gd name="connsiteY248" fmla="*/ 2 h 10000"/>
                <a:gd name="connsiteX249" fmla="*/ 7417 w 10000"/>
                <a:gd name="connsiteY249" fmla="*/ 0 h 10000"/>
                <a:gd name="connsiteX250" fmla="*/ 7356 w 10000"/>
                <a:gd name="connsiteY250" fmla="*/ 14 h 10000"/>
                <a:gd name="connsiteX251" fmla="*/ 7369 w 10000"/>
                <a:gd name="connsiteY251" fmla="*/ 61 h 10000"/>
                <a:gd name="connsiteX252" fmla="*/ 7422 w 10000"/>
                <a:gd name="connsiteY252" fmla="*/ 86 h 10000"/>
                <a:gd name="connsiteX253" fmla="*/ 7435 w 10000"/>
                <a:gd name="connsiteY253" fmla="*/ 139 h 10000"/>
                <a:gd name="connsiteX254" fmla="*/ 7417 w 10000"/>
                <a:gd name="connsiteY254" fmla="*/ 181 h 10000"/>
                <a:gd name="connsiteX255" fmla="*/ 7369 w 10000"/>
                <a:gd name="connsiteY255" fmla="*/ 208 h 10000"/>
                <a:gd name="connsiteX256" fmla="*/ 7334 w 10000"/>
                <a:gd name="connsiteY256" fmla="*/ 283 h 10000"/>
                <a:gd name="connsiteX257" fmla="*/ 7269 w 10000"/>
                <a:gd name="connsiteY257" fmla="*/ 336 h 10000"/>
                <a:gd name="connsiteX258" fmla="*/ 7282 w 10000"/>
                <a:gd name="connsiteY258" fmla="*/ 387 h 10000"/>
                <a:gd name="connsiteX259" fmla="*/ 7382 w 10000"/>
                <a:gd name="connsiteY259" fmla="*/ 434 h 10000"/>
                <a:gd name="connsiteX260" fmla="*/ 7317 w 10000"/>
                <a:gd name="connsiteY260" fmla="*/ 475 h 10000"/>
                <a:gd name="connsiteX261" fmla="*/ 7221 w 10000"/>
                <a:gd name="connsiteY261" fmla="*/ 485 h 10000"/>
                <a:gd name="connsiteX262" fmla="*/ 6420 w 10000"/>
                <a:gd name="connsiteY262" fmla="*/ 387 h 10000"/>
                <a:gd name="connsiteX263" fmla="*/ 6324 w 10000"/>
                <a:gd name="connsiteY263" fmla="*/ 395 h 10000"/>
                <a:gd name="connsiteX264" fmla="*/ 6267 w 10000"/>
                <a:gd name="connsiteY264" fmla="*/ 414 h 10000"/>
                <a:gd name="connsiteX265" fmla="*/ 6211 w 10000"/>
                <a:gd name="connsiteY265" fmla="*/ 462 h 10000"/>
                <a:gd name="connsiteX266" fmla="*/ 6220 w 10000"/>
                <a:gd name="connsiteY266" fmla="*/ 581 h 10000"/>
                <a:gd name="connsiteX267" fmla="*/ 6132 w 10000"/>
                <a:gd name="connsiteY267" fmla="*/ 735 h 10000"/>
                <a:gd name="connsiteX268" fmla="*/ 6024 w 10000"/>
                <a:gd name="connsiteY268" fmla="*/ 815 h 10000"/>
                <a:gd name="connsiteX269" fmla="*/ 5980 w 10000"/>
                <a:gd name="connsiteY269" fmla="*/ 805 h 10000"/>
                <a:gd name="connsiteX270" fmla="*/ 5880 w 10000"/>
                <a:gd name="connsiteY270" fmla="*/ 739 h 10000"/>
                <a:gd name="connsiteX271" fmla="*/ 5753 w 10000"/>
                <a:gd name="connsiteY271" fmla="*/ 705 h 10000"/>
                <a:gd name="connsiteX272" fmla="*/ 5618 w 10000"/>
                <a:gd name="connsiteY272" fmla="*/ 715 h 10000"/>
                <a:gd name="connsiteX273" fmla="*/ 5301 w 10000"/>
                <a:gd name="connsiteY273" fmla="*/ 866 h 10000"/>
                <a:gd name="connsiteX274" fmla="*/ 5218 w 10000"/>
                <a:gd name="connsiteY274" fmla="*/ 1017 h 10000"/>
                <a:gd name="connsiteX275" fmla="*/ 4978 w 10000"/>
                <a:gd name="connsiteY275" fmla="*/ 1153 h 10000"/>
                <a:gd name="connsiteX276" fmla="*/ 4935 w 10000"/>
                <a:gd name="connsiteY276" fmla="*/ 1222 h 10000"/>
                <a:gd name="connsiteX277" fmla="*/ 5061 w 10000"/>
                <a:gd name="connsiteY277" fmla="*/ 1344 h 10000"/>
                <a:gd name="connsiteX278" fmla="*/ 5074 w 10000"/>
                <a:gd name="connsiteY278" fmla="*/ 1412 h 10000"/>
                <a:gd name="connsiteX279" fmla="*/ 4421 w 10000"/>
                <a:gd name="connsiteY279" fmla="*/ 1813 h 10000"/>
                <a:gd name="connsiteX280" fmla="*/ 4220 w 10000"/>
                <a:gd name="connsiteY280" fmla="*/ 2070 h 10000"/>
                <a:gd name="connsiteX281" fmla="*/ 4003 w 10000"/>
                <a:gd name="connsiteY281" fmla="*/ 2135 h 10000"/>
                <a:gd name="connsiteX282" fmla="*/ 3868 w 10000"/>
                <a:gd name="connsiteY282" fmla="*/ 2131 h 10000"/>
                <a:gd name="connsiteX283" fmla="*/ 3785 w 10000"/>
                <a:gd name="connsiteY283" fmla="*/ 2153 h 10000"/>
                <a:gd name="connsiteX284" fmla="*/ 3558 w 10000"/>
                <a:gd name="connsiteY284" fmla="*/ 2793 h 10000"/>
                <a:gd name="connsiteX285" fmla="*/ 3036 w 10000"/>
                <a:gd name="connsiteY285" fmla="*/ 3166 h 10000"/>
                <a:gd name="connsiteX286" fmla="*/ 3040 w 10000"/>
                <a:gd name="connsiteY286" fmla="*/ 3225 h 10000"/>
                <a:gd name="connsiteX287" fmla="*/ 3271 w 10000"/>
                <a:gd name="connsiteY287" fmla="*/ 3392 h 10000"/>
                <a:gd name="connsiteX288" fmla="*/ 3197 w 10000"/>
                <a:gd name="connsiteY288" fmla="*/ 3573 h 10000"/>
                <a:gd name="connsiteX289" fmla="*/ 3062 w 10000"/>
                <a:gd name="connsiteY289" fmla="*/ 3640 h 10000"/>
                <a:gd name="connsiteX290" fmla="*/ 2657 w 10000"/>
                <a:gd name="connsiteY290" fmla="*/ 3595 h 10000"/>
                <a:gd name="connsiteX291" fmla="*/ 2378 w 10000"/>
                <a:gd name="connsiteY291" fmla="*/ 3620 h 10000"/>
                <a:gd name="connsiteX292" fmla="*/ 2152 w 10000"/>
                <a:gd name="connsiteY292" fmla="*/ 3673 h 10000"/>
                <a:gd name="connsiteX293" fmla="*/ 1790 w 10000"/>
                <a:gd name="connsiteY293" fmla="*/ 3840 h 10000"/>
                <a:gd name="connsiteX294" fmla="*/ 1598 w 10000"/>
                <a:gd name="connsiteY294" fmla="*/ 4042 h 10000"/>
                <a:gd name="connsiteX295" fmla="*/ 1616 w 10000"/>
                <a:gd name="connsiteY295" fmla="*/ 4154 h 10000"/>
                <a:gd name="connsiteX296" fmla="*/ 1681 w 10000"/>
                <a:gd name="connsiteY296" fmla="*/ 4241 h 10000"/>
                <a:gd name="connsiteX297" fmla="*/ 1733 w 10000"/>
                <a:gd name="connsiteY297" fmla="*/ 4276 h 10000"/>
                <a:gd name="connsiteX298" fmla="*/ 1638 w 10000"/>
                <a:gd name="connsiteY298" fmla="*/ 4331 h 10000"/>
                <a:gd name="connsiteX299" fmla="*/ 1433 w 10000"/>
                <a:gd name="connsiteY299" fmla="*/ 4710 h 10000"/>
                <a:gd name="connsiteX300" fmla="*/ 1472 w 10000"/>
                <a:gd name="connsiteY300" fmla="*/ 4732 h 10000"/>
                <a:gd name="connsiteX301" fmla="*/ 1503 w 10000"/>
                <a:gd name="connsiteY301" fmla="*/ 4828 h 10000"/>
                <a:gd name="connsiteX302" fmla="*/ 1407 w 10000"/>
                <a:gd name="connsiteY302" fmla="*/ 5227 h 10000"/>
                <a:gd name="connsiteX303" fmla="*/ 1503 w 10000"/>
                <a:gd name="connsiteY303" fmla="*/ 5329 h 10000"/>
                <a:gd name="connsiteX304" fmla="*/ 1764 w 10000"/>
                <a:gd name="connsiteY304" fmla="*/ 5441 h 10000"/>
                <a:gd name="connsiteX305" fmla="*/ 1777 w 10000"/>
                <a:gd name="connsiteY305" fmla="*/ 5578 h 10000"/>
                <a:gd name="connsiteX306" fmla="*/ 1664 w 10000"/>
                <a:gd name="connsiteY306" fmla="*/ 5690 h 10000"/>
                <a:gd name="connsiteX307" fmla="*/ 1503 w 10000"/>
                <a:gd name="connsiteY307" fmla="*/ 5759 h 10000"/>
                <a:gd name="connsiteX308" fmla="*/ 1289 w 10000"/>
                <a:gd name="connsiteY308" fmla="*/ 5787 h 10000"/>
                <a:gd name="connsiteX309" fmla="*/ 1233 w 10000"/>
                <a:gd name="connsiteY309" fmla="*/ 5826 h 10000"/>
                <a:gd name="connsiteX310" fmla="*/ 1359 w 10000"/>
                <a:gd name="connsiteY310" fmla="*/ 5920 h 10000"/>
                <a:gd name="connsiteX311" fmla="*/ 1429 w 10000"/>
                <a:gd name="connsiteY311" fmla="*/ 6142 h 10000"/>
                <a:gd name="connsiteX312" fmla="*/ 1267 w 10000"/>
                <a:gd name="connsiteY312" fmla="*/ 6333 h 10000"/>
                <a:gd name="connsiteX313" fmla="*/ 1324 w 10000"/>
                <a:gd name="connsiteY313" fmla="*/ 6392 h 10000"/>
                <a:gd name="connsiteX314" fmla="*/ 1272 w 10000"/>
                <a:gd name="connsiteY314" fmla="*/ 6492 h 10000"/>
                <a:gd name="connsiteX315" fmla="*/ 1167 w 10000"/>
                <a:gd name="connsiteY315" fmla="*/ 6561 h 10000"/>
                <a:gd name="connsiteX316" fmla="*/ 758 w 10000"/>
                <a:gd name="connsiteY316" fmla="*/ 6614 h 10000"/>
                <a:gd name="connsiteX317" fmla="*/ 732 w 10000"/>
                <a:gd name="connsiteY317" fmla="*/ 6706 h 10000"/>
                <a:gd name="connsiteX318" fmla="*/ 510 w 10000"/>
                <a:gd name="connsiteY318" fmla="*/ 6843 h 10000"/>
                <a:gd name="connsiteX319" fmla="*/ 540 w 10000"/>
                <a:gd name="connsiteY319" fmla="*/ 7040 h 10000"/>
                <a:gd name="connsiteX320" fmla="*/ 353 w 10000"/>
                <a:gd name="connsiteY320" fmla="*/ 7293 h 10000"/>
                <a:gd name="connsiteX321" fmla="*/ 226 w 10000"/>
                <a:gd name="connsiteY321" fmla="*/ 7323 h 10000"/>
                <a:gd name="connsiteX322" fmla="*/ 174 w 10000"/>
                <a:gd name="connsiteY322" fmla="*/ 7262 h 10000"/>
                <a:gd name="connsiteX323" fmla="*/ 109 w 10000"/>
                <a:gd name="connsiteY323" fmla="*/ 7354 h 10000"/>
                <a:gd name="connsiteX324" fmla="*/ 152 w 10000"/>
                <a:gd name="connsiteY324" fmla="*/ 7197 h 10000"/>
                <a:gd name="connsiteX325" fmla="*/ 126 w 10000"/>
                <a:gd name="connsiteY325"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558 w 10000"/>
                <a:gd name="connsiteY207" fmla="*/ 2481 h 10000"/>
                <a:gd name="connsiteX208" fmla="*/ 8558 w 10000"/>
                <a:gd name="connsiteY208" fmla="*/ 2459 h 10000"/>
                <a:gd name="connsiteX209" fmla="*/ 8698 w 10000"/>
                <a:gd name="connsiteY209" fmla="*/ 2504 h 10000"/>
                <a:gd name="connsiteX210" fmla="*/ 8763 w 10000"/>
                <a:gd name="connsiteY210" fmla="*/ 2548 h 10000"/>
                <a:gd name="connsiteX211" fmla="*/ 8815 w 10000"/>
                <a:gd name="connsiteY211" fmla="*/ 2548 h 10000"/>
                <a:gd name="connsiteX212" fmla="*/ 8789 w 10000"/>
                <a:gd name="connsiteY212" fmla="*/ 2457 h 10000"/>
                <a:gd name="connsiteX213" fmla="*/ 8798 w 10000"/>
                <a:gd name="connsiteY213" fmla="*/ 2467 h 10000"/>
                <a:gd name="connsiteX214" fmla="*/ 8841 w 10000"/>
                <a:gd name="connsiteY214" fmla="*/ 2457 h 10000"/>
                <a:gd name="connsiteX215" fmla="*/ 8855 w 10000"/>
                <a:gd name="connsiteY215" fmla="*/ 2341 h 10000"/>
                <a:gd name="connsiteX216" fmla="*/ 8898 w 10000"/>
                <a:gd name="connsiteY216" fmla="*/ 2332 h 10000"/>
                <a:gd name="connsiteX217" fmla="*/ 8946 w 10000"/>
                <a:gd name="connsiteY217" fmla="*/ 2330 h 10000"/>
                <a:gd name="connsiteX218" fmla="*/ 8946 w 10000"/>
                <a:gd name="connsiteY218" fmla="*/ 2361 h 10000"/>
                <a:gd name="connsiteX219" fmla="*/ 8994 w 10000"/>
                <a:gd name="connsiteY219" fmla="*/ 2389 h 10000"/>
                <a:gd name="connsiteX220" fmla="*/ 9051 w 10000"/>
                <a:gd name="connsiteY220" fmla="*/ 2400 h 10000"/>
                <a:gd name="connsiteX221" fmla="*/ 9094 w 10000"/>
                <a:gd name="connsiteY221" fmla="*/ 2324 h 10000"/>
                <a:gd name="connsiteX222" fmla="*/ 9164 w 10000"/>
                <a:gd name="connsiteY222" fmla="*/ 2347 h 10000"/>
                <a:gd name="connsiteX223" fmla="*/ 9247 w 10000"/>
                <a:gd name="connsiteY223" fmla="*/ 2402 h 10000"/>
                <a:gd name="connsiteX224" fmla="*/ 9286 w 10000"/>
                <a:gd name="connsiteY224" fmla="*/ 2400 h 10000"/>
                <a:gd name="connsiteX225" fmla="*/ 9355 w 10000"/>
                <a:gd name="connsiteY225" fmla="*/ 2428 h 10000"/>
                <a:gd name="connsiteX226" fmla="*/ 9408 w 10000"/>
                <a:gd name="connsiteY226" fmla="*/ 2359 h 10000"/>
                <a:gd name="connsiteX227" fmla="*/ 9717 w 10000"/>
                <a:gd name="connsiteY227" fmla="*/ 2343 h 10000"/>
                <a:gd name="connsiteX228" fmla="*/ 9830 w 10000"/>
                <a:gd name="connsiteY228" fmla="*/ 2369 h 10000"/>
                <a:gd name="connsiteX229" fmla="*/ 9909 w 10000"/>
                <a:gd name="connsiteY229" fmla="*/ 2410 h 10000"/>
                <a:gd name="connsiteX230" fmla="*/ 9948 w 10000"/>
                <a:gd name="connsiteY230" fmla="*/ 2365 h 10000"/>
                <a:gd name="connsiteX231" fmla="*/ 10000 w 10000"/>
                <a:gd name="connsiteY231" fmla="*/ 2349 h 10000"/>
                <a:gd name="connsiteX232" fmla="*/ 9704 w 10000"/>
                <a:gd name="connsiteY232" fmla="*/ 1992 h 10000"/>
                <a:gd name="connsiteX233" fmla="*/ 9743 w 10000"/>
                <a:gd name="connsiteY233" fmla="*/ 1897 h 10000"/>
                <a:gd name="connsiteX234" fmla="*/ 9830 w 10000"/>
                <a:gd name="connsiteY234" fmla="*/ 1819 h 10000"/>
                <a:gd name="connsiteX235" fmla="*/ 9830 w 10000"/>
                <a:gd name="connsiteY235" fmla="*/ 1699 h 10000"/>
                <a:gd name="connsiteX236" fmla="*/ 9556 w 10000"/>
                <a:gd name="connsiteY236" fmla="*/ 1465 h 10000"/>
                <a:gd name="connsiteX237" fmla="*/ 9512 w 10000"/>
                <a:gd name="connsiteY237" fmla="*/ 1379 h 10000"/>
                <a:gd name="connsiteX238" fmla="*/ 9573 w 10000"/>
                <a:gd name="connsiteY238" fmla="*/ 1271 h 10000"/>
                <a:gd name="connsiteX239" fmla="*/ 9543 w 10000"/>
                <a:gd name="connsiteY239" fmla="*/ 1194 h 10000"/>
                <a:gd name="connsiteX240" fmla="*/ 9486 w 10000"/>
                <a:gd name="connsiteY240" fmla="*/ 1159 h 10000"/>
                <a:gd name="connsiteX241" fmla="*/ 9438 w 10000"/>
                <a:gd name="connsiteY241" fmla="*/ 978 h 10000"/>
                <a:gd name="connsiteX242" fmla="*/ 9495 w 10000"/>
                <a:gd name="connsiteY242" fmla="*/ 831 h 10000"/>
                <a:gd name="connsiteX243" fmla="*/ 9077 w 10000"/>
                <a:gd name="connsiteY243" fmla="*/ 517 h 10000"/>
                <a:gd name="connsiteX244" fmla="*/ 8872 w 10000"/>
                <a:gd name="connsiteY244" fmla="*/ 440 h 10000"/>
                <a:gd name="connsiteX245" fmla="*/ 8493 w 10000"/>
                <a:gd name="connsiteY245" fmla="*/ 389 h 10000"/>
                <a:gd name="connsiteX246" fmla="*/ 7709 w 10000"/>
                <a:gd name="connsiteY246" fmla="*/ 26 h 10000"/>
                <a:gd name="connsiteX247" fmla="*/ 7683 w 10000"/>
                <a:gd name="connsiteY247" fmla="*/ 2 h 10000"/>
                <a:gd name="connsiteX248" fmla="*/ 7417 w 10000"/>
                <a:gd name="connsiteY248" fmla="*/ 0 h 10000"/>
                <a:gd name="connsiteX249" fmla="*/ 7356 w 10000"/>
                <a:gd name="connsiteY249" fmla="*/ 14 h 10000"/>
                <a:gd name="connsiteX250" fmla="*/ 7369 w 10000"/>
                <a:gd name="connsiteY250" fmla="*/ 61 h 10000"/>
                <a:gd name="connsiteX251" fmla="*/ 7422 w 10000"/>
                <a:gd name="connsiteY251" fmla="*/ 86 h 10000"/>
                <a:gd name="connsiteX252" fmla="*/ 7435 w 10000"/>
                <a:gd name="connsiteY252" fmla="*/ 139 h 10000"/>
                <a:gd name="connsiteX253" fmla="*/ 7417 w 10000"/>
                <a:gd name="connsiteY253" fmla="*/ 181 h 10000"/>
                <a:gd name="connsiteX254" fmla="*/ 7369 w 10000"/>
                <a:gd name="connsiteY254" fmla="*/ 208 h 10000"/>
                <a:gd name="connsiteX255" fmla="*/ 7334 w 10000"/>
                <a:gd name="connsiteY255" fmla="*/ 283 h 10000"/>
                <a:gd name="connsiteX256" fmla="*/ 7269 w 10000"/>
                <a:gd name="connsiteY256" fmla="*/ 336 h 10000"/>
                <a:gd name="connsiteX257" fmla="*/ 7282 w 10000"/>
                <a:gd name="connsiteY257" fmla="*/ 387 h 10000"/>
                <a:gd name="connsiteX258" fmla="*/ 7382 w 10000"/>
                <a:gd name="connsiteY258" fmla="*/ 434 h 10000"/>
                <a:gd name="connsiteX259" fmla="*/ 7317 w 10000"/>
                <a:gd name="connsiteY259" fmla="*/ 475 h 10000"/>
                <a:gd name="connsiteX260" fmla="*/ 7221 w 10000"/>
                <a:gd name="connsiteY260" fmla="*/ 485 h 10000"/>
                <a:gd name="connsiteX261" fmla="*/ 6420 w 10000"/>
                <a:gd name="connsiteY261" fmla="*/ 387 h 10000"/>
                <a:gd name="connsiteX262" fmla="*/ 6324 w 10000"/>
                <a:gd name="connsiteY262" fmla="*/ 395 h 10000"/>
                <a:gd name="connsiteX263" fmla="*/ 6267 w 10000"/>
                <a:gd name="connsiteY263" fmla="*/ 414 h 10000"/>
                <a:gd name="connsiteX264" fmla="*/ 6211 w 10000"/>
                <a:gd name="connsiteY264" fmla="*/ 462 h 10000"/>
                <a:gd name="connsiteX265" fmla="*/ 6220 w 10000"/>
                <a:gd name="connsiteY265" fmla="*/ 581 h 10000"/>
                <a:gd name="connsiteX266" fmla="*/ 6132 w 10000"/>
                <a:gd name="connsiteY266" fmla="*/ 735 h 10000"/>
                <a:gd name="connsiteX267" fmla="*/ 6024 w 10000"/>
                <a:gd name="connsiteY267" fmla="*/ 815 h 10000"/>
                <a:gd name="connsiteX268" fmla="*/ 5980 w 10000"/>
                <a:gd name="connsiteY268" fmla="*/ 805 h 10000"/>
                <a:gd name="connsiteX269" fmla="*/ 5880 w 10000"/>
                <a:gd name="connsiteY269" fmla="*/ 739 h 10000"/>
                <a:gd name="connsiteX270" fmla="*/ 5753 w 10000"/>
                <a:gd name="connsiteY270" fmla="*/ 705 h 10000"/>
                <a:gd name="connsiteX271" fmla="*/ 5618 w 10000"/>
                <a:gd name="connsiteY271" fmla="*/ 715 h 10000"/>
                <a:gd name="connsiteX272" fmla="*/ 5301 w 10000"/>
                <a:gd name="connsiteY272" fmla="*/ 866 h 10000"/>
                <a:gd name="connsiteX273" fmla="*/ 5218 w 10000"/>
                <a:gd name="connsiteY273" fmla="*/ 1017 h 10000"/>
                <a:gd name="connsiteX274" fmla="*/ 4978 w 10000"/>
                <a:gd name="connsiteY274" fmla="*/ 1153 h 10000"/>
                <a:gd name="connsiteX275" fmla="*/ 4935 w 10000"/>
                <a:gd name="connsiteY275" fmla="*/ 1222 h 10000"/>
                <a:gd name="connsiteX276" fmla="*/ 5061 w 10000"/>
                <a:gd name="connsiteY276" fmla="*/ 1344 h 10000"/>
                <a:gd name="connsiteX277" fmla="*/ 5074 w 10000"/>
                <a:gd name="connsiteY277" fmla="*/ 1412 h 10000"/>
                <a:gd name="connsiteX278" fmla="*/ 4421 w 10000"/>
                <a:gd name="connsiteY278" fmla="*/ 1813 h 10000"/>
                <a:gd name="connsiteX279" fmla="*/ 4220 w 10000"/>
                <a:gd name="connsiteY279" fmla="*/ 2070 h 10000"/>
                <a:gd name="connsiteX280" fmla="*/ 4003 w 10000"/>
                <a:gd name="connsiteY280" fmla="*/ 2135 h 10000"/>
                <a:gd name="connsiteX281" fmla="*/ 3868 w 10000"/>
                <a:gd name="connsiteY281" fmla="*/ 2131 h 10000"/>
                <a:gd name="connsiteX282" fmla="*/ 3785 w 10000"/>
                <a:gd name="connsiteY282" fmla="*/ 2153 h 10000"/>
                <a:gd name="connsiteX283" fmla="*/ 3558 w 10000"/>
                <a:gd name="connsiteY283" fmla="*/ 2793 h 10000"/>
                <a:gd name="connsiteX284" fmla="*/ 3036 w 10000"/>
                <a:gd name="connsiteY284" fmla="*/ 3166 h 10000"/>
                <a:gd name="connsiteX285" fmla="*/ 3040 w 10000"/>
                <a:gd name="connsiteY285" fmla="*/ 3225 h 10000"/>
                <a:gd name="connsiteX286" fmla="*/ 3271 w 10000"/>
                <a:gd name="connsiteY286" fmla="*/ 3392 h 10000"/>
                <a:gd name="connsiteX287" fmla="*/ 3197 w 10000"/>
                <a:gd name="connsiteY287" fmla="*/ 3573 h 10000"/>
                <a:gd name="connsiteX288" fmla="*/ 3062 w 10000"/>
                <a:gd name="connsiteY288" fmla="*/ 3640 h 10000"/>
                <a:gd name="connsiteX289" fmla="*/ 2657 w 10000"/>
                <a:gd name="connsiteY289" fmla="*/ 3595 h 10000"/>
                <a:gd name="connsiteX290" fmla="*/ 2378 w 10000"/>
                <a:gd name="connsiteY290" fmla="*/ 3620 h 10000"/>
                <a:gd name="connsiteX291" fmla="*/ 2152 w 10000"/>
                <a:gd name="connsiteY291" fmla="*/ 3673 h 10000"/>
                <a:gd name="connsiteX292" fmla="*/ 1790 w 10000"/>
                <a:gd name="connsiteY292" fmla="*/ 3840 h 10000"/>
                <a:gd name="connsiteX293" fmla="*/ 1598 w 10000"/>
                <a:gd name="connsiteY293" fmla="*/ 4042 h 10000"/>
                <a:gd name="connsiteX294" fmla="*/ 1616 w 10000"/>
                <a:gd name="connsiteY294" fmla="*/ 4154 h 10000"/>
                <a:gd name="connsiteX295" fmla="*/ 1681 w 10000"/>
                <a:gd name="connsiteY295" fmla="*/ 4241 h 10000"/>
                <a:gd name="connsiteX296" fmla="*/ 1733 w 10000"/>
                <a:gd name="connsiteY296" fmla="*/ 4276 h 10000"/>
                <a:gd name="connsiteX297" fmla="*/ 1638 w 10000"/>
                <a:gd name="connsiteY297" fmla="*/ 4331 h 10000"/>
                <a:gd name="connsiteX298" fmla="*/ 1433 w 10000"/>
                <a:gd name="connsiteY298" fmla="*/ 4710 h 10000"/>
                <a:gd name="connsiteX299" fmla="*/ 1472 w 10000"/>
                <a:gd name="connsiteY299" fmla="*/ 4732 h 10000"/>
                <a:gd name="connsiteX300" fmla="*/ 1503 w 10000"/>
                <a:gd name="connsiteY300" fmla="*/ 4828 h 10000"/>
                <a:gd name="connsiteX301" fmla="*/ 1407 w 10000"/>
                <a:gd name="connsiteY301" fmla="*/ 5227 h 10000"/>
                <a:gd name="connsiteX302" fmla="*/ 1503 w 10000"/>
                <a:gd name="connsiteY302" fmla="*/ 5329 h 10000"/>
                <a:gd name="connsiteX303" fmla="*/ 1764 w 10000"/>
                <a:gd name="connsiteY303" fmla="*/ 5441 h 10000"/>
                <a:gd name="connsiteX304" fmla="*/ 1777 w 10000"/>
                <a:gd name="connsiteY304" fmla="*/ 5578 h 10000"/>
                <a:gd name="connsiteX305" fmla="*/ 1664 w 10000"/>
                <a:gd name="connsiteY305" fmla="*/ 5690 h 10000"/>
                <a:gd name="connsiteX306" fmla="*/ 1503 w 10000"/>
                <a:gd name="connsiteY306" fmla="*/ 5759 h 10000"/>
                <a:gd name="connsiteX307" fmla="*/ 1289 w 10000"/>
                <a:gd name="connsiteY307" fmla="*/ 5787 h 10000"/>
                <a:gd name="connsiteX308" fmla="*/ 1233 w 10000"/>
                <a:gd name="connsiteY308" fmla="*/ 5826 h 10000"/>
                <a:gd name="connsiteX309" fmla="*/ 1359 w 10000"/>
                <a:gd name="connsiteY309" fmla="*/ 5920 h 10000"/>
                <a:gd name="connsiteX310" fmla="*/ 1429 w 10000"/>
                <a:gd name="connsiteY310" fmla="*/ 6142 h 10000"/>
                <a:gd name="connsiteX311" fmla="*/ 1267 w 10000"/>
                <a:gd name="connsiteY311" fmla="*/ 6333 h 10000"/>
                <a:gd name="connsiteX312" fmla="*/ 1324 w 10000"/>
                <a:gd name="connsiteY312" fmla="*/ 6392 h 10000"/>
                <a:gd name="connsiteX313" fmla="*/ 1272 w 10000"/>
                <a:gd name="connsiteY313" fmla="*/ 6492 h 10000"/>
                <a:gd name="connsiteX314" fmla="*/ 1167 w 10000"/>
                <a:gd name="connsiteY314" fmla="*/ 6561 h 10000"/>
                <a:gd name="connsiteX315" fmla="*/ 758 w 10000"/>
                <a:gd name="connsiteY315" fmla="*/ 6614 h 10000"/>
                <a:gd name="connsiteX316" fmla="*/ 732 w 10000"/>
                <a:gd name="connsiteY316" fmla="*/ 6706 h 10000"/>
                <a:gd name="connsiteX317" fmla="*/ 510 w 10000"/>
                <a:gd name="connsiteY317" fmla="*/ 6843 h 10000"/>
                <a:gd name="connsiteX318" fmla="*/ 540 w 10000"/>
                <a:gd name="connsiteY318" fmla="*/ 7040 h 10000"/>
                <a:gd name="connsiteX319" fmla="*/ 353 w 10000"/>
                <a:gd name="connsiteY319" fmla="*/ 7293 h 10000"/>
                <a:gd name="connsiteX320" fmla="*/ 226 w 10000"/>
                <a:gd name="connsiteY320" fmla="*/ 7323 h 10000"/>
                <a:gd name="connsiteX321" fmla="*/ 174 w 10000"/>
                <a:gd name="connsiteY321" fmla="*/ 7262 h 10000"/>
                <a:gd name="connsiteX322" fmla="*/ 109 w 10000"/>
                <a:gd name="connsiteY322" fmla="*/ 7354 h 10000"/>
                <a:gd name="connsiteX323" fmla="*/ 152 w 10000"/>
                <a:gd name="connsiteY323" fmla="*/ 7197 h 10000"/>
                <a:gd name="connsiteX324" fmla="*/ 126 w 10000"/>
                <a:gd name="connsiteY324"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558 w 10000"/>
                <a:gd name="connsiteY207" fmla="*/ 2481 h 10000"/>
                <a:gd name="connsiteX208" fmla="*/ 8558 w 10000"/>
                <a:gd name="connsiteY208" fmla="*/ 2459 h 10000"/>
                <a:gd name="connsiteX209" fmla="*/ 8698 w 10000"/>
                <a:gd name="connsiteY209" fmla="*/ 2504 h 10000"/>
                <a:gd name="connsiteX210" fmla="*/ 8815 w 10000"/>
                <a:gd name="connsiteY210" fmla="*/ 2548 h 10000"/>
                <a:gd name="connsiteX211" fmla="*/ 8789 w 10000"/>
                <a:gd name="connsiteY211" fmla="*/ 2457 h 10000"/>
                <a:gd name="connsiteX212" fmla="*/ 8798 w 10000"/>
                <a:gd name="connsiteY212" fmla="*/ 2467 h 10000"/>
                <a:gd name="connsiteX213" fmla="*/ 8841 w 10000"/>
                <a:gd name="connsiteY213" fmla="*/ 2457 h 10000"/>
                <a:gd name="connsiteX214" fmla="*/ 8855 w 10000"/>
                <a:gd name="connsiteY214" fmla="*/ 2341 h 10000"/>
                <a:gd name="connsiteX215" fmla="*/ 8898 w 10000"/>
                <a:gd name="connsiteY215" fmla="*/ 2332 h 10000"/>
                <a:gd name="connsiteX216" fmla="*/ 8946 w 10000"/>
                <a:gd name="connsiteY216" fmla="*/ 2330 h 10000"/>
                <a:gd name="connsiteX217" fmla="*/ 8946 w 10000"/>
                <a:gd name="connsiteY217" fmla="*/ 2361 h 10000"/>
                <a:gd name="connsiteX218" fmla="*/ 8994 w 10000"/>
                <a:gd name="connsiteY218" fmla="*/ 2389 h 10000"/>
                <a:gd name="connsiteX219" fmla="*/ 9051 w 10000"/>
                <a:gd name="connsiteY219" fmla="*/ 2400 h 10000"/>
                <a:gd name="connsiteX220" fmla="*/ 9094 w 10000"/>
                <a:gd name="connsiteY220" fmla="*/ 2324 h 10000"/>
                <a:gd name="connsiteX221" fmla="*/ 9164 w 10000"/>
                <a:gd name="connsiteY221" fmla="*/ 2347 h 10000"/>
                <a:gd name="connsiteX222" fmla="*/ 9247 w 10000"/>
                <a:gd name="connsiteY222" fmla="*/ 2402 h 10000"/>
                <a:gd name="connsiteX223" fmla="*/ 9286 w 10000"/>
                <a:gd name="connsiteY223" fmla="*/ 2400 h 10000"/>
                <a:gd name="connsiteX224" fmla="*/ 9355 w 10000"/>
                <a:gd name="connsiteY224" fmla="*/ 2428 h 10000"/>
                <a:gd name="connsiteX225" fmla="*/ 9408 w 10000"/>
                <a:gd name="connsiteY225" fmla="*/ 2359 h 10000"/>
                <a:gd name="connsiteX226" fmla="*/ 9717 w 10000"/>
                <a:gd name="connsiteY226" fmla="*/ 2343 h 10000"/>
                <a:gd name="connsiteX227" fmla="*/ 9830 w 10000"/>
                <a:gd name="connsiteY227" fmla="*/ 2369 h 10000"/>
                <a:gd name="connsiteX228" fmla="*/ 9909 w 10000"/>
                <a:gd name="connsiteY228" fmla="*/ 2410 h 10000"/>
                <a:gd name="connsiteX229" fmla="*/ 9948 w 10000"/>
                <a:gd name="connsiteY229" fmla="*/ 2365 h 10000"/>
                <a:gd name="connsiteX230" fmla="*/ 10000 w 10000"/>
                <a:gd name="connsiteY230" fmla="*/ 2349 h 10000"/>
                <a:gd name="connsiteX231" fmla="*/ 9704 w 10000"/>
                <a:gd name="connsiteY231" fmla="*/ 1992 h 10000"/>
                <a:gd name="connsiteX232" fmla="*/ 9743 w 10000"/>
                <a:gd name="connsiteY232" fmla="*/ 1897 h 10000"/>
                <a:gd name="connsiteX233" fmla="*/ 9830 w 10000"/>
                <a:gd name="connsiteY233" fmla="*/ 1819 h 10000"/>
                <a:gd name="connsiteX234" fmla="*/ 9830 w 10000"/>
                <a:gd name="connsiteY234" fmla="*/ 1699 h 10000"/>
                <a:gd name="connsiteX235" fmla="*/ 9556 w 10000"/>
                <a:gd name="connsiteY235" fmla="*/ 1465 h 10000"/>
                <a:gd name="connsiteX236" fmla="*/ 9512 w 10000"/>
                <a:gd name="connsiteY236" fmla="*/ 1379 h 10000"/>
                <a:gd name="connsiteX237" fmla="*/ 9573 w 10000"/>
                <a:gd name="connsiteY237" fmla="*/ 1271 h 10000"/>
                <a:gd name="connsiteX238" fmla="*/ 9543 w 10000"/>
                <a:gd name="connsiteY238" fmla="*/ 1194 h 10000"/>
                <a:gd name="connsiteX239" fmla="*/ 9486 w 10000"/>
                <a:gd name="connsiteY239" fmla="*/ 1159 h 10000"/>
                <a:gd name="connsiteX240" fmla="*/ 9438 w 10000"/>
                <a:gd name="connsiteY240" fmla="*/ 978 h 10000"/>
                <a:gd name="connsiteX241" fmla="*/ 9495 w 10000"/>
                <a:gd name="connsiteY241" fmla="*/ 831 h 10000"/>
                <a:gd name="connsiteX242" fmla="*/ 9077 w 10000"/>
                <a:gd name="connsiteY242" fmla="*/ 517 h 10000"/>
                <a:gd name="connsiteX243" fmla="*/ 8872 w 10000"/>
                <a:gd name="connsiteY243" fmla="*/ 440 h 10000"/>
                <a:gd name="connsiteX244" fmla="*/ 8493 w 10000"/>
                <a:gd name="connsiteY244" fmla="*/ 389 h 10000"/>
                <a:gd name="connsiteX245" fmla="*/ 7709 w 10000"/>
                <a:gd name="connsiteY245" fmla="*/ 26 h 10000"/>
                <a:gd name="connsiteX246" fmla="*/ 7683 w 10000"/>
                <a:gd name="connsiteY246" fmla="*/ 2 h 10000"/>
                <a:gd name="connsiteX247" fmla="*/ 7417 w 10000"/>
                <a:gd name="connsiteY247" fmla="*/ 0 h 10000"/>
                <a:gd name="connsiteX248" fmla="*/ 7356 w 10000"/>
                <a:gd name="connsiteY248" fmla="*/ 14 h 10000"/>
                <a:gd name="connsiteX249" fmla="*/ 7369 w 10000"/>
                <a:gd name="connsiteY249" fmla="*/ 61 h 10000"/>
                <a:gd name="connsiteX250" fmla="*/ 7422 w 10000"/>
                <a:gd name="connsiteY250" fmla="*/ 86 h 10000"/>
                <a:gd name="connsiteX251" fmla="*/ 7435 w 10000"/>
                <a:gd name="connsiteY251" fmla="*/ 139 h 10000"/>
                <a:gd name="connsiteX252" fmla="*/ 7417 w 10000"/>
                <a:gd name="connsiteY252" fmla="*/ 181 h 10000"/>
                <a:gd name="connsiteX253" fmla="*/ 7369 w 10000"/>
                <a:gd name="connsiteY253" fmla="*/ 208 h 10000"/>
                <a:gd name="connsiteX254" fmla="*/ 7334 w 10000"/>
                <a:gd name="connsiteY254" fmla="*/ 283 h 10000"/>
                <a:gd name="connsiteX255" fmla="*/ 7269 w 10000"/>
                <a:gd name="connsiteY255" fmla="*/ 336 h 10000"/>
                <a:gd name="connsiteX256" fmla="*/ 7282 w 10000"/>
                <a:gd name="connsiteY256" fmla="*/ 387 h 10000"/>
                <a:gd name="connsiteX257" fmla="*/ 7382 w 10000"/>
                <a:gd name="connsiteY257" fmla="*/ 434 h 10000"/>
                <a:gd name="connsiteX258" fmla="*/ 7317 w 10000"/>
                <a:gd name="connsiteY258" fmla="*/ 475 h 10000"/>
                <a:gd name="connsiteX259" fmla="*/ 7221 w 10000"/>
                <a:gd name="connsiteY259" fmla="*/ 485 h 10000"/>
                <a:gd name="connsiteX260" fmla="*/ 6420 w 10000"/>
                <a:gd name="connsiteY260" fmla="*/ 387 h 10000"/>
                <a:gd name="connsiteX261" fmla="*/ 6324 w 10000"/>
                <a:gd name="connsiteY261" fmla="*/ 395 h 10000"/>
                <a:gd name="connsiteX262" fmla="*/ 6267 w 10000"/>
                <a:gd name="connsiteY262" fmla="*/ 414 h 10000"/>
                <a:gd name="connsiteX263" fmla="*/ 6211 w 10000"/>
                <a:gd name="connsiteY263" fmla="*/ 462 h 10000"/>
                <a:gd name="connsiteX264" fmla="*/ 6220 w 10000"/>
                <a:gd name="connsiteY264" fmla="*/ 581 h 10000"/>
                <a:gd name="connsiteX265" fmla="*/ 6132 w 10000"/>
                <a:gd name="connsiteY265" fmla="*/ 735 h 10000"/>
                <a:gd name="connsiteX266" fmla="*/ 6024 w 10000"/>
                <a:gd name="connsiteY266" fmla="*/ 815 h 10000"/>
                <a:gd name="connsiteX267" fmla="*/ 5980 w 10000"/>
                <a:gd name="connsiteY267" fmla="*/ 805 h 10000"/>
                <a:gd name="connsiteX268" fmla="*/ 5880 w 10000"/>
                <a:gd name="connsiteY268" fmla="*/ 739 h 10000"/>
                <a:gd name="connsiteX269" fmla="*/ 5753 w 10000"/>
                <a:gd name="connsiteY269" fmla="*/ 705 h 10000"/>
                <a:gd name="connsiteX270" fmla="*/ 5618 w 10000"/>
                <a:gd name="connsiteY270" fmla="*/ 715 h 10000"/>
                <a:gd name="connsiteX271" fmla="*/ 5301 w 10000"/>
                <a:gd name="connsiteY271" fmla="*/ 866 h 10000"/>
                <a:gd name="connsiteX272" fmla="*/ 5218 w 10000"/>
                <a:gd name="connsiteY272" fmla="*/ 1017 h 10000"/>
                <a:gd name="connsiteX273" fmla="*/ 4978 w 10000"/>
                <a:gd name="connsiteY273" fmla="*/ 1153 h 10000"/>
                <a:gd name="connsiteX274" fmla="*/ 4935 w 10000"/>
                <a:gd name="connsiteY274" fmla="*/ 1222 h 10000"/>
                <a:gd name="connsiteX275" fmla="*/ 5061 w 10000"/>
                <a:gd name="connsiteY275" fmla="*/ 1344 h 10000"/>
                <a:gd name="connsiteX276" fmla="*/ 5074 w 10000"/>
                <a:gd name="connsiteY276" fmla="*/ 1412 h 10000"/>
                <a:gd name="connsiteX277" fmla="*/ 4421 w 10000"/>
                <a:gd name="connsiteY277" fmla="*/ 1813 h 10000"/>
                <a:gd name="connsiteX278" fmla="*/ 4220 w 10000"/>
                <a:gd name="connsiteY278" fmla="*/ 2070 h 10000"/>
                <a:gd name="connsiteX279" fmla="*/ 4003 w 10000"/>
                <a:gd name="connsiteY279" fmla="*/ 2135 h 10000"/>
                <a:gd name="connsiteX280" fmla="*/ 3868 w 10000"/>
                <a:gd name="connsiteY280" fmla="*/ 2131 h 10000"/>
                <a:gd name="connsiteX281" fmla="*/ 3785 w 10000"/>
                <a:gd name="connsiteY281" fmla="*/ 2153 h 10000"/>
                <a:gd name="connsiteX282" fmla="*/ 3558 w 10000"/>
                <a:gd name="connsiteY282" fmla="*/ 2793 h 10000"/>
                <a:gd name="connsiteX283" fmla="*/ 3036 w 10000"/>
                <a:gd name="connsiteY283" fmla="*/ 3166 h 10000"/>
                <a:gd name="connsiteX284" fmla="*/ 3040 w 10000"/>
                <a:gd name="connsiteY284" fmla="*/ 3225 h 10000"/>
                <a:gd name="connsiteX285" fmla="*/ 3271 w 10000"/>
                <a:gd name="connsiteY285" fmla="*/ 3392 h 10000"/>
                <a:gd name="connsiteX286" fmla="*/ 3197 w 10000"/>
                <a:gd name="connsiteY286" fmla="*/ 3573 h 10000"/>
                <a:gd name="connsiteX287" fmla="*/ 3062 w 10000"/>
                <a:gd name="connsiteY287" fmla="*/ 3640 h 10000"/>
                <a:gd name="connsiteX288" fmla="*/ 2657 w 10000"/>
                <a:gd name="connsiteY288" fmla="*/ 3595 h 10000"/>
                <a:gd name="connsiteX289" fmla="*/ 2378 w 10000"/>
                <a:gd name="connsiteY289" fmla="*/ 3620 h 10000"/>
                <a:gd name="connsiteX290" fmla="*/ 2152 w 10000"/>
                <a:gd name="connsiteY290" fmla="*/ 3673 h 10000"/>
                <a:gd name="connsiteX291" fmla="*/ 1790 w 10000"/>
                <a:gd name="connsiteY291" fmla="*/ 3840 h 10000"/>
                <a:gd name="connsiteX292" fmla="*/ 1598 w 10000"/>
                <a:gd name="connsiteY292" fmla="*/ 4042 h 10000"/>
                <a:gd name="connsiteX293" fmla="*/ 1616 w 10000"/>
                <a:gd name="connsiteY293" fmla="*/ 4154 h 10000"/>
                <a:gd name="connsiteX294" fmla="*/ 1681 w 10000"/>
                <a:gd name="connsiteY294" fmla="*/ 4241 h 10000"/>
                <a:gd name="connsiteX295" fmla="*/ 1733 w 10000"/>
                <a:gd name="connsiteY295" fmla="*/ 4276 h 10000"/>
                <a:gd name="connsiteX296" fmla="*/ 1638 w 10000"/>
                <a:gd name="connsiteY296" fmla="*/ 4331 h 10000"/>
                <a:gd name="connsiteX297" fmla="*/ 1433 w 10000"/>
                <a:gd name="connsiteY297" fmla="*/ 4710 h 10000"/>
                <a:gd name="connsiteX298" fmla="*/ 1472 w 10000"/>
                <a:gd name="connsiteY298" fmla="*/ 4732 h 10000"/>
                <a:gd name="connsiteX299" fmla="*/ 1503 w 10000"/>
                <a:gd name="connsiteY299" fmla="*/ 4828 h 10000"/>
                <a:gd name="connsiteX300" fmla="*/ 1407 w 10000"/>
                <a:gd name="connsiteY300" fmla="*/ 5227 h 10000"/>
                <a:gd name="connsiteX301" fmla="*/ 1503 w 10000"/>
                <a:gd name="connsiteY301" fmla="*/ 5329 h 10000"/>
                <a:gd name="connsiteX302" fmla="*/ 1764 w 10000"/>
                <a:gd name="connsiteY302" fmla="*/ 5441 h 10000"/>
                <a:gd name="connsiteX303" fmla="*/ 1777 w 10000"/>
                <a:gd name="connsiteY303" fmla="*/ 5578 h 10000"/>
                <a:gd name="connsiteX304" fmla="*/ 1664 w 10000"/>
                <a:gd name="connsiteY304" fmla="*/ 5690 h 10000"/>
                <a:gd name="connsiteX305" fmla="*/ 1503 w 10000"/>
                <a:gd name="connsiteY305" fmla="*/ 5759 h 10000"/>
                <a:gd name="connsiteX306" fmla="*/ 1289 w 10000"/>
                <a:gd name="connsiteY306" fmla="*/ 5787 h 10000"/>
                <a:gd name="connsiteX307" fmla="*/ 1233 w 10000"/>
                <a:gd name="connsiteY307" fmla="*/ 5826 h 10000"/>
                <a:gd name="connsiteX308" fmla="*/ 1359 w 10000"/>
                <a:gd name="connsiteY308" fmla="*/ 5920 h 10000"/>
                <a:gd name="connsiteX309" fmla="*/ 1429 w 10000"/>
                <a:gd name="connsiteY309" fmla="*/ 6142 h 10000"/>
                <a:gd name="connsiteX310" fmla="*/ 1267 w 10000"/>
                <a:gd name="connsiteY310" fmla="*/ 6333 h 10000"/>
                <a:gd name="connsiteX311" fmla="*/ 1324 w 10000"/>
                <a:gd name="connsiteY311" fmla="*/ 6392 h 10000"/>
                <a:gd name="connsiteX312" fmla="*/ 1272 w 10000"/>
                <a:gd name="connsiteY312" fmla="*/ 6492 h 10000"/>
                <a:gd name="connsiteX313" fmla="*/ 1167 w 10000"/>
                <a:gd name="connsiteY313" fmla="*/ 6561 h 10000"/>
                <a:gd name="connsiteX314" fmla="*/ 758 w 10000"/>
                <a:gd name="connsiteY314" fmla="*/ 6614 h 10000"/>
                <a:gd name="connsiteX315" fmla="*/ 732 w 10000"/>
                <a:gd name="connsiteY315" fmla="*/ 6706 h 10000"/>
                <a:gd name="connsiteX316" fmla="*/ 510 w 10000"/>
                <a:gd name="connsiteY316" fmla="*/ 6843 h 10000"/>
                <a:gd name="connsiteX317" fmla="*/ 540 w 10000"/>
                <a:gd name="connsiteY317" fmla="*/ 7040 h 10000"/>
                <a:gd name="connsiteX318" fmla="*/ 353 w 10000"/>
                <a:gd name="connsiteY318" fmla="*/ 7293 h 10000"/>
                <a:gd name="connsiteX319" fmla="*/ 226 w 10000"/>
                <a:gd name="connsiteY319" fmla="*/ 7323 h 10000"/>
                <a:gd name="connsiteX320" fmla="*/ 174 w 10000"/>
                <a:gd name="connsiteY320" fmla="*/ 7262 h 10000"/>
                <a:gd name="connsiteX321" fmla="*/ 109 w 10000"/>
                <a:gd name="connsiteY321" fmla="*/ 7354 h 10000"/>
                <a:gd name="connsiteX322" fmla="*/ 152 w 10000"/>
                <a:gd name="connsiteY322" fmla="*/ 7197 h 10000"/>
                <a:gd name="connsiteX323" fmla="*/ 126 w 10000"/>
                <a:gd name="connsiteY323"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558 w 10000"/>
                <a:gd name="connsiteY207" fmla="*/ 2481 h 10000"/>
                <a:gd name="connsiteX208" fmla="*/ 8698 w 10000"/>
                <a:gd name="connsiteY208" fmla="*/ 2504 h 10000"/>
                <a:gd name="connsiteX209" fmla="*/ 8815 w 10000"/>
                <a:gd name="connsiteY209" fmla="*/ 2548 h 10000"/>
                <a:gd name="connsiteX210" fmla="*/ 8789 w 10000"/>
                <a:gd name="connsiteY210" fmla="*/ 2457 h 10000"/>
                <a:gd name="connsiteX211" fmla="*/ 8798 w 10000"/>
                <a:gd name="connsiteY211" fmla="*/ 2467 h 10000"/>
                <a:gd name="connsiteX212" fmla="*/ 8841 w 10000"/>
                <a:gd name="connsiteY212" fmla="*/ 2457 h 10000"/>
                <a:gd name="connsiteX213" fmla="*/ 8855 w 10000"/>
                <a:gd name="connsiteY213" fmla="*/ 2341 h 10000"/>
                <a:gd name="connsiteX214" fmla="*/ 8898 w 10000"/>
                <a:gd name="connsiteY214" fmla="*/ 2332 h 10000"/>
                <a:gd name="connsiteX215" fmla="*/ 8946 w 10000"/>
                <a:gd name="connsiteY215" fmla="*/ 2330 h 10000"/>
                <a:gd name="connsiteX216" fmla="*/ 8946 w 10000"/>
                <a:gd name="connsiteY216" fmla="*/ 2361 h 10000"/>
                <a:gd name="connsiteX217" fmla="*/ 8994 w 10000"/>
                <a:gd name="connsiteY217" fmla="*/ 2389 h 10000"/>
                <a:gd name="connsiteX218" fmla="*/ 9051 w 10000"/>
                <a:gd name="connsiteY218" fmla="*/ 2400 h 10000"/>
                <a:gd name="connsiteX219" fmla="*/ 9094 w 10000"/>
                <a:gd name="connsiteY219" fmla="*/ 2324 h 10000"/>
                <a:gd name="connsiteX220" fmla="*/ 9164 w 10000"/>
                <a:gd name="connsiteY220" fmla="*/ 2347 h 10000"/>
                <a:gd name="connsiteX221" fmla="*/ 9247 w 10000"/>
                <a:gd name="connsiteY221" fmla="*/ 2402 h 10000"/>
                <a:gd name="connsiteX222" fmla="*/ 9286 w 10000"/>
                <a:gd name="connsiteY222" fmla="*/ 2400 h 10000"/>
                <a:gd name="connsiteX223" fmla="*/ 9355 w 10000"/>
                <a:gd name="connsiteY223" fmla="*/ 2428 h 10000"/>
                <a:gd name="connsiteX224" fmla="*/ 9408 w 10000"/>
                <a:gd name="connsiteY224" fmla="*/ 2359 h 10000"/>
                <a:gd name="connsiteX225" fmla="*/ 9717 w 10000"/>
                <a:gd name="connsiteY225" fmla="*/ 2343 h 10000"/>
                <a:gd name="connsiteX226" fmla="*/ 9830 w 10000"/>
                <a:gd name="connsiteY226" fmla="*/ 2369 h 10000"/>
                <a:gd name="connsiteX227" fmla="*/ 9909 w 10000"/>
                <a:gd name="connsiteY227" fmla="*/ 2410 h 10000"/>
                <a:gd name="connsiteX228" fmla="*/ 9948 w 10000"/>
                <a:gd name="connsiteY228" fmla="*/ 2365 h 10000"/>
                <a:gd name="connsiteX229" fmla="*/ 10000 w 10000"/>
                <a:gd name="connsiteY229" fmla="*/ 2349 h 10000"/>
                <a:gd name="connsiteX230" fmla="*/ 9704 w 10000"/>
                <a:gd name="connsiteY230" fmla="*/ 1992 h 10000"/>
                <a:gd name="connsiteX231" fmla="*/ 9743 w 10000"/>
                <a:gd name="connsiteY231" fmla="*/ 1897 h 10000"/>
                <a:gd name="connsiteX232" fmla="*/ 9830 w 10000"/>
                <a:gd name="connsiteY232" fmla="*/ 1819 h 10000"/>
                <a:gd name="connsiteX233" fmla="*/ 9830 w 10000"/>
                <a:gd name="connsiteY233" fmla="*/ 1699 h 10000"/>
                <a:gd name="connsiteX234" fmla="*/ 9556 w 10000"/>
                <a:gd name="connsiteY234" fmla="*/ 1465 h 10000"/>
                <a:gd name="connsiteX235" fmla="*/ 9512 w 10000"/>
                <a:gd name="connsiteY235" fmla="*/ 1379 h 10000"/>
                <a:gd name="connsiteX236" fmla="*/ 9573 w 10000"/>
                <a:gd name="connsiteY236" fmla="*/ 1271 h 10000"/>
                <a:gd name="connsiteX237" fmla="*/ 9543 w 10000"/>
                <a:gd name="connsiteY237" fmla="*/ 1194 h 10000"/>
                <a:gd name="connsiteX238" fmla="*/ 9486 w 10000"/>
                <a:gd name="connsiteY238" fmla="*/ 1159 h 10000"/>
                <a:gd name="connsiteX239" fmla="*/ 9438 w 10000"/>
                <a:gd name="connsiteY239" fmla="*/ 978 h 10000"/>
                <a:gd name="connsiteX240" fmla="*/ 9495 w 10000"/>
                <a:gd name="connsiteY240" fmla="*/ 831 h 10000"/>
                <a:gd name="connsiteX241" fmla="*/ 9077 w 10000"/>
                <a:gd name="connsiteY241" fmla="*/ 517 h 10000"/>
                <a:gd name="connsiteX242" fmla="*/ 8872 w 10000"/>
                <a:gd name="connsiteY242" fmla="*/ 440 h 10000"/>
                <a:gd name="connsiteX243" fmla="*/ 8493 w 10000"/>
                <a:gd name="connsiteY243" fmla="*/ 389 h 10000"/>
                <a:gd name="connsiteX244" fmla="*/ 7709 w 10000"/>
                <a:gd name="connsiteY244" fmla="*/ 26 h 10000"/>
                <a:gd name="connsiteX245" fmla="*/ 7683 w 10000"/>
                <a:gd name="connsiteY245" fmla="*/ 2 h 10000"/>
                <a:gd name="connsiteX246" fmla="*/ 7417 w 10000"/>
                <a:gd name="connsiteY246" fmla="*/ 0 h 10000"/>
                <a:gd name="connsiteX247" fmla="*/ 7356 w 10000"/>
                <a:gd name="connsiteY247" fmla="*/ 14 h 10000"/>
                <a:gd name="connsiteX248" fmla="*/ 7369 w 10000"/>
                <a:gd name="connsiteY248" fmla="*/ 61 h 10000"/>
                <a:gd name="connsiteX249" fmla="*/ 7422 w 10000"/>
                <a:gd name="connsiteY249" fmla="*/ 86 h 10000"/>
                <a:gd name="connsiteX250" fmla="*/ 7435 w 10000"/>
                <a:gd name="connsiteY250" fmla="*/ 139 h 10000"/>
                <a:gd name="connsiteX251" fmla="*/ 7417 w 10000"/>
                <a:gd name="connsiteY251" fmla="*/ 181 h 10000"/>
                <a:gd name="connsiteX252" fmla="*/ 7369 w 10000"/>
                <a:gd name="connsiteY252" fmla="*/ 208 h 10000"/>
                <a:gd name="connsiteX253" fmla="*/ 7334 w 10000"/>
                <a:gd name="connsiteY253" fmla="*/ 283 h 10000"/>
                <a:gd name="connsiteX254" fmla="*/ 7269 w 10000"/>
                <a:gd name="connsiteY254" fmla="*/ 336 h 10000"/>
                <a:gd name="connsiteX255" fmla="*/ 7282 w 10000"/>
                <a:gd name="connsiteY255" fmla="*/ 387 h 10000"/>
                <a:gd name="connsiteX256" fmla="*/ 7382 w 10000"/>
                <a:gd name="connsiteY256" fmla="*/ 434 h 10000"/>
                <a:gd name="connsiteX257" fmla="*/ 7317 w 10000"/>
                <a:gd name="connsiteY257" fmla="*/ 475 h 10000"/>
                <a:gd name="connsiteX258" fmla="*/ 7221 w 10000"/>
                <a:gd name="connsiteY258" fmla="*/ 485 h 10000"/>
                <a:gd name="connsiteX259" fmla="*/ 6420 w 10000"/>
                <a:gd name="connsiteY259" fmla="*/ 387 h 10000"/>
                <a:gd name="connsiteX260" fmla="*/ 6324 w 10000"/>
                <a:gd name="connsiteY260" fmla="*/ 395 h 10000"/>
                <a:gd name="connsiteX261" fmla="*/ 6267 w 10000"/>
                <a:gd name="connsiteY261" fmla="*/ 414 h 10000"/>
                <a:gd name="connsiteX262" fmla="*/ 6211 w 10000"/>
                <a:gd name="connsiteY262" fmla="*/ 462 h 10000"/>
                <a:gd name="connsiteX263" fmla="*/ 6220 w 10000"/>
                <a:gd name="connsiteY263" fmla="*/ 581 h 10000"/>
                <a:gd name="connsiteX264" fmla="*/ 6132 w 10000"/>
                <a:gd name="connsiteY264" fmla="*/ 735 h 10000"/>
                <a:gd name="connsiteX265" fmla="*/ 6024 w 10000"/>
                <a:gd name="connsiteY265" fmla="*/ 815 h 10000"/>
                <a:gd name="connsiteX266" fmla="*/ 5980 w 10000"/>
                <a:gd name="connsiteY266" fmla="*/ 805 h 10000"/>
                <a:gd name="connsiteX267" fmla="*/ 5880 w 10000"/>
                <a:gd name="connsiteY267" fmla="*/ 739 h 10000"/>
                <a:gd name="connsiteX268" fmla="*/ 5753 w 10000"/>
                <a:gd name="connsiteY268" fmla="*/ 705 h 10000"/>
                <a:gd name="connsiteX269" fmla="*/ 5618 w 10000"/>
                <a:gd name="connsiteY269" fmla="*/ 715 h 10000"/>
                <a:gd name="connsiteX270" fmla="*/ 5301 w 10000"/>
                <a:gd name="connsiteY270" fmla="*/ 866 h 10000"/>
                <a:gd name="connsiteX271" fmla="*/ 5218 w 10000"/>
                <a:gd name="connsiteY271" fmla="*/ 1017 h 10000"/>
                <a:gd name="connsiteX272" fmla="*/ 4978 w 10000"/>
                <a:gd name="connsiteY272" fmla="*/ 1153 h 10000"/>
                <a:gd name="connsiteX273" fmla="*/ 4935 w 10000"/>
                <a:gd name="connsiteY273" fmla="*/ 1222 h 10000"/>
                <a:gd name="connsiteX274" fmla="*/ 5061 w 10000"/>
                <a:gd name="connsiteY274" fmla="*/ 1344 h 10000"/>
                <a:gd name="connsiteX275" fmla="*/ 5074 w 10000"/>
                <a:gd name="connsiteY275" fmla="*/ 1412 h 10000"/>
                <a:gd name="connsiteX276" fmla="*/ 4421 w 10000"/>
                <a:gd name="connsiteY276" fmla="*/ 1813 h 10000"/>
                <a:gd name="connsiteX277" fmla="*/ 4220 w 10000"/>
                <a:gd name="connsiteY277" fmla="*/ 2070 h 10000"/>
                <a:gd name="connsiteX278" fmla="*/ 4003 w 10000"/>
                <a:gd name="connsiteY278" fmla="*/ 2135 h 10000"/>
                <a:gd name="connsiteX279" fmla="*/ 3868 w 10000"/>
                <a:gd name="connsiteY279" fmla="*/ 2131 h 10000"/>
                <a:gd name="connsiteX280" fmla="*/ 3785 w 10000"/>
                <a:gd name="connsiteY280" fmla="*/ 2153 h 10000"/>
                <a:gd name="connsiteX281" fmla="*/ 3558 w 10000"/>
                <a:gd name="connsiteY281" fmla="*/ 2793 h 10000"/>
                <a:gd name="connsiteX282" fmla="*/ 3036 w 10000"/>
                <a:gd name="connsiteY282" fmla="*/ 3166 h 10000"/>
                <a:gd name="connsiteX283" fmla="*/ 3040 w 10000"/>
                <a:gd name="connsiteY283" fmla="*/ 3225 h 10000"/>
                <a:gd name="connsiteX284" fmla="*/ 3271 w 10000"/>
                <a:gd name="connsiteY284" fmla="*/ 3392 h 10000"/>
                <a:gd name="connsiteX285" fmla="*/ 3197 w 10000"/>
                <a:gd name="connsiteY285" fmla="*/ 3573 h 10000"/>
                <a:gd name="connsiteX286" fmla="*/ 3062 w 10000"/>
                <a:gd name="connsiteY286" fmla="*/ 3640 h 10000"/>
                <a:gd name="connsiteX287" fmla="*/ 2657 w 10000"/>
                <a:gd name="connsiteY287" fmla="*/ 3595 h 10000"/>
                <a:gd name="connsiteX288" fmla="*/ 2378 w 10000"/>
                <a:gd name="connsiteY288" fmla="*/ 3620 h 10000"/>
                <a:gd name="connsiteX289" fmla="*/ 2152 w 10000"/>
                <a:gd name="connsiteY289" fmla="*/ 3673 h 10000"/>
                <a:gd name="connsiteX290" fmla="*/ 1790 w 10000"/>
                <a:gd name="connsiteY290" fmla="*/ 3840 h 10000"/>
                <a:gd name="connsiteX291" fmla="*/ 1598 w 10000"/>
                <a:gd name="connsiteY291" fmla="*/ 4042 h 10000"/>
                <a:gd name="connsiteX292" fmla="*/ 1616 w 10000"/>
                <a:gd name="connsiteY292" fmla="*/ 4154 h 10000"/>
                <a:gd name="connsiteX293" fmla="*/ 1681 w 10000"/>
                <a:gd name="connsiteY293" fmla="*/ 4241 h 10000"/>
                <a:gd name="connsiteX294" fmla="*/ 1733 w 10000"/>
                <a:gd name="connsiteY294" fmla="*/ 4276 h 10000"/>
                <a:gd name="connsiteX295" fmla="*/ 1638 w 10000"/>
                <a:gd name="connsiteY295" fmla="*/ 4331 h 10000"/>
                <a:gd name="connsiteX296" fmla="*/ 1433 w 10000"/>
                <a:gd name="connsiteY296" fmla="*/ 4710 h 10000"/>
                <a:gd name="connsiteX297" fmla="*/ 1472 w 10000"/>
                <a:gd name="connsiteY297" fmla="*/ 4732 h 10000"/>
                <a:gd name="connsiteX298" fmla="*/ 1503 w 10000"/>
                <a:gd name="connsiteY298" fmla="*/ 4828 h 10000"/>
                <a:gd name="connsiteX299" fmla="*/ 1407 w 10000"/>
                <a:gd name="connsiteY299" fmla="*/ 5227 h 10000"/>
                <a:gd name="connsiteX300" fmla="*/ 1503 w 10000"/>
                <a:gd name="connsiteY300" fmla="*/ 5329 h 10000"/>
                <a:gd name="connsiteX301" fmla="*/ 1764 w 10000"/>
                <a:gd name="connsiteY301" fmla="*/ 5441 h 10000"/>
                <a:gd name="connsiteX302" fmla="*/ 1777 w 10000"/>
                <a:gd name="connsiteY302" fmla="*/ 5578 h 10000"/>
                <a:gd name="connsiteX303" fmla="*/ 1664 w 10000"/>
                <a:gd name="connsiteY303" fmla="*/ 5690 h 10000"/>
                <a:gd name="connsiteX304" fmla="*/ 1503 w 10000"/>
                <a:gd name="connsiteY304" fmla="*/ 5759 h 10000"/>
                <a:gd name="connsiteX305" fmla="*/ 1289 w 10000"/>
                <a:gd name="connsiteY305" fmla="*/ 5787 h 10000"/>
                <a:gd name="connsiteX306" fmla="*/ 1233 w 10000"/>
                <a:gd name="connsiteY306" fmla="*/ 5826 h 10000"/>
                <a:gd name="connsiteX307" fmla="*/ 1359 w 10000"/>
                <a:gd name="connsiteY307" fmla="*/ 5920 h 10000"/>
                <a:gd name="connsiteX308" fmla="*/ 1429 w 10000"/>
                <a:gd name="connsiteY308" fmla="*/ 6142 h 10000"/>
                <a:gd name="connsiteX309" fmla="*/ 1267 w 10000"/>
                <a:gd name="connsiteY309" fmla="*/ 6333 h 10000"/>
                <a:gd name="connsiteX310" fmla="*/ 1324 w 10000"/>
                <a:gd name="connsiteY310" fmla="*/ 6392 h 10000"/>
                <a:gd name="connsiteX311" fmla="*/ 1272 w 10000"/>
                <a:gd name="connsiteY311" fmla="*/ 6492 h 10000"/>
                <a:gd name="connsiteX312" fmla="*/ 1167 w 10000"/>
                <a:gd name="connsiteY312" fmla="*/ 6561 h 10000"/>
                <a:gd name="connsiteX313" fmla="*/ 758 w 10000"/>
                <a:gd name="connsiteY313" fmla="*/ 6614 h 10000"/>
                <a:gd name="connsiteX314" fmla="*/ 732 w 10000"/>
                <a:gd name="connsiteY314" fmla="*/ 6706 h 10000"/>
                <a:gd name="connsiteX315" fmla="*/ 510 w 10000"/>
                <a:gd name="connsiteY315" fmla="*/ 6843 h 10000"/>
                <a:gd name="connsiteX316" fmla="*/ 540 w 10000"/>
                <a:gd name="connsiteY316" fmla="*/ 7040 h 10000"/>
                <a:gd name="connsiteX317" fmla="*/ 353 w 10000"/>
                <a:gd name="connsiteY317" fmla="*/ 7293 h 10000"/>
                <a:gd name="connsiteX318" fmla="*/ 226 w 10000"/>
                <a:gd name="connsiteY318" fmla="*/ 7323 h 10000"/>
                <a:gd name="connsiteX319" fmla="*/ 174 w 10000"/>
                <a:gd name="connsiteY319" fmla="*/ 7262 h 10000"/>
                <a:gd name="connsiteX320" fmla="*/ 109 w 10000"/>
                <a:gd name="connsiteY320" fmla="*/ 7354 h 10000"/>
                <a:gd name="connsiteX321" fmla="*/ 152 w 10000"/>
                <a:gd name="connsiteY321" fmla="*/ 7197 h 10000"/>
                <a:gd name="connsiteX322" fmla="*/ 126 w 10000"/>
                <a:gd name="connsiteY322"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558 w 10000"/>
                <a:gd name="connsiteY207" fmla="*/ 2481 h 10000"/>
                <a:gd name="connsiteX208" fmla="*/ 8698 w 10000"/>
                <a:gd name="connsiteY208" fmla="*/ 2504 h 10000"/>
                <a:gd name="connsiteX209" fmla="*/ 8815 w 10000"/>
                <a:gd name="connsiteY209" fmla="*/ 2548 h 10000"/>
                <a:gd name="connsiteX210" fmla="*/ 8789 w 10000"/>
                <a:gd name="connsiteY210" fmla="*/ 2457 h 10000"/>
                <a:gd name="connsiteX211" fmla="*/ 8798 w 10000"/>
                <a:gd name="connsiteY211" fmla="*/ 2467 h 10000"/>
                <a:gd name="connsiteX212" fmla="*/ 8855 w 10000"/>
                <a:gd name="connsiteY212" fmla="*/ 2341 h 10000"/>
                <a:gd name="connsiteX213" fmla="*/ 8898 w 10000"/>
                <a:gd name="connsiteY213" fmla="*/ 2332 h 10000"/>
                <a:gd name="connsiteX214" fmla="*/ 8946 w 10000"/>
                <a:gd name="connsiteY214" fmla="*/ 2330 h 10000"/>
                <a:gd name="connsiteX215" fmla="*/ 8946 w 10000"/>
                <a:gd name="connsiteY215" fmla="*/ 2361 h 10000"/>
                <a:gd name="connsiteX216" fmla="*/ 8994 w 10000"/>
                <a:gd name="connsiteY216" fmla="*/ 2389 h 10000"/>
                <a:gd name="connsiteX217" fmla="*/ 9051 w 10000"/>
                <a:gd name="connsiteY217" fmla="*/ 2400 h 10000"/>
                <a:gd name="connsiteX218" fmla="*/ 9094 w 10000"/>
                <a:gd name="connsiteY218" fmla="*/ 2324 h 10000"/>
                <a:gd name="connsiteX219" fmla="*/ 9164 w 10000"/>
                <a:gd name="connsiteY219" fmla="*/ 2347 h 10000"/>
                <a:gd name="connsiteX220" fmla="*/ 9247 w 10000"/>
                <a:gd name="connsiteY220" fmla="*/ 2402 h 10000"/>
                <a:gd name="connsiteX221" fmla="*/ 9286 w 10000"/>
                <a:gd name="connsiteY221" fmla="*/ 2400 h 10000"/>
                <a:gd name="connsiteX222" fmla="*/ 9355 w 10000"/>
                <a:gd name="connsiteY222" fmla="*/ 2428 h 10000"/>
                <a:gd name="connsiteX223" fmla="*/ 9408 w 10000"/>
                <a:gd name="connsiteY223" fmla="*/ 2359 h 10000"/>
                <a:gd name="connsiteX224" fmla="*/ 9717 w 10000"/>
                <a:gd name="connsiteY224" fmla="*/ 2343 h 10000"/>
                <a:gd name="connsiteX225" fmla="*/ 9830 w 10000"/>
                <a:gd name="connsiteY225" fmla="*/ 2369 h 10000"/>
                <a:gd name="connsiteX226" fmla="*/ 9909 w 10000"/>
                <a:gd name="connsiteY226" fmla="*/ 2410 h 10000"/>
                <a:gd name="connsiteX227" fmla="*/ 9948 w 10000"/>
                <a:gd name="connsiteY227" fmla="*/ 2365 h 10000"/>
                <a:gd name="connsiteX228" fmla="*/ 10000 w 10000"/>
                <a:gd name="connsiteY228" fmla="*/ 2349 h 10000"/>
                <a:gd name="connsiteX229" fmla="*/ 9704 w 10000"/>
                <a:gd name="connsiteY229" fmla="*/ 1992 h 10000"/>
                <a:gd name="connsiteX230" fmla="*/ 9743 w 10000"/>
                <a:gd name="connsiteY230" fmla="*/ 1897 h 10000"/>
                <a:gd name="connsiteX231" fmla="*/ 9830 w 10000"/>
                <a:gd name="connsiteY231" fmla="*/ 1819 h 10000"/>
                <a:gd name="connsiteX232" fmla="*/ 9830 w 10000"/>
                <a:gd name="connsiteY232" fmla="*/ 1699 h 10000"/>
                <a:gd name="connsiteX233" fmla="*/ 9556 w 10000"/>
                <a:gd name="connsiteY233" fmla="*/ 1465 h 10000"/>
                <a:gd name="connsiteX234" fmla="*/ 9512 w 10000"/>
                <a:gd name="connsiteY234" fmla="*/ 1379 h 10000"/>
                <a:gd name="connsiteX235" fmla="*/ 9573 w 10000"/>
                <a:gd name="connsiteY235" fmla="*/ 1271 h 10000"/>
                <a:gd name="connsiteX236" fmla="*/ 9543 w 10000"/>
                <a:gd name="connsiteY236" fmla="*/ 1194 h 10000"/>
                <a:gd name="connsiteX237" fmla="*/ 9486 w 10000"/>
                <a:gd name="connsiteY237" fmla="*/ 1159 h 10000"/>
                <a:gd name="connsiteX238" fmla="*/ 9438 w 10000"/>
                <a:gd name="connsiteY238" fmla="*/ 978 h 10000"/>
                <a:gd name="connsiteX239" fmla="*/ 9495 w 10000"/>
                <a:gd name="connsiteY239" fmla="*/ 831 h 10000"/>
                <a:gd name="connsiteX240" fmla="*/ 9077 w 10000"/>
                <a:gd name="connsiteY240" fmla="*/ 517 h 10000"/>
                <a:gd name="connsiteX241" fmla="*/ 8872 w 10000"/>
                <a:gd name="connsiteY241" fmla="*/ 440 h 10000"/>
                <a:gd name="connsiteX242" fmla="*/ 8493 w 10000"/>
                <a:gd name="connsiteY242" fmla="*/ 389 h 10000"/>
                <a:gd name="connsiteX243" fmla="*/ 7709 w 10000"/>
                <a:gd name="connsiteY243" fmla="*/ 26 h 10000"/>
                <a:gd name="connsiteX244" fmla="*/ 7683 w 10000"/>
                <a:gd name="connsiteY244" fmla="*/ 2 h 10000"/>
                <a:gd name="connsiteX245" fmla="*/ 7417 w 10000"/>
                <a:gd name="connsiteY245" fmla="*/ 0 h 10000"/>
                <a:gd name="connsiteX246" fmla="*/ 7356 w 10000"/>
                <a:gd name="connsiteY246" fmla="*/ 14 h 10000"/>
                <a:gd name="connsiteX247" fmla="*/ 7369 w 10000"/>
                <a:gd name="connsiteY247" fmla="*/ 61 h 10000"/>
                <a:gd name="connsiteX248" fmla="*/ 7422 w 10000"/>
                <a:gd name="connsiteY248" fmla="*/ 86 h 10000"/>
                <a:gd name="connsiteX249" fmla="*/ 7435 w 10000"/>
                <a:gd name="connsiteY249" fmla="*/ 139 h 10000"/>
                <a:gd name="connsiteX250" fmla="*/ 7417 w 10000"/>
                <a:gd name="connsiteY250" fmla="*/ 181 h 10000"/>
                <a:gd name="connsiteX251" fmla="*/ 7369 w 10000"/>
                <a:gd name="connsiteY251" fmla="*/ 208 h 10000"/>
                <a:gd name="connsiteX252" fmla="*/ 7334 w 10000"/>
                <a:gd name="connsiteY252" fmla="*/ 283 h 10000"/>
                <a:gd name="connsiteX253" fmla="*/ 7269 w 10000"/>
                <a:gd name="connsiteY253" fmla="*/ 336 h 10000"/>
                <a:gd name="connsiteX254" fmla="*/ 7282 w 10000"/>
                <a:gd name="connsiteY254" fmla="*/ 387 h 10000"/>
                <a:gd name="connsiteX255" fmla="*/ 7382 w 10000"/>
                <a:gd name="connsiteY255" fmla="*/ 434 h 10000"/>
                <a:gd name="connsiteX256" fmla="*/ 7317 w 10000"/>
                <a:gd name="connsiteY256" fmla="*/ 475 h 10000"/>
                <a:gd name="connsiteX257" fmla="*/ 7221 w 10000"/>
                <a:gd name="connsiteY257" fmla="*/ 485 h 10000"/>
                <a:gd name="connsiteX258" fmla="*/ 6420 w 10000"/>
                <a:gd name="connsiteY258" fmla="*/ 387 h 10000"/>
                <a:gd name="connsiteX259" fmla="*/ 6324 w 10000"/>
                <a:gd name="connsiteY259" fmla="*/ 395 h 10000"/>
                <a:gd name="connsiteX260" fmla="*/ 6267 w 10000"/>
                <a:gd name="connsiteY260" fmla="*/ 414 h 10000"/>
                <a:gd name="connsiteX261" fmla="*/ 6211 w 10000"/>
                <a:gd name="connsiteY261" fmla="*/ 462 h 10000"/>
                <a:gd name="connsiteX262" fmla="*/ 6220 w 10000"/>
                <a:gd name="connsiteY262" fmla="*/ 581 h 10000"/>
                <a:gd name="connsiteX263" fmla="*/ 6132 w 10000"/>
                <a:gd name="connsiteY263" fmla="*/ 735 h 10000"/>
                <a:gd name="connsiteX264" fmla="*/ 6024 w 10000"/>
                <a:gd name="connsiteY264" fmla="*/ 815 h 10000"/>
                <a:gd name="connsiteX265" fmla="*/ 5980 w 10000"/>
                <a:gd name="connsiteY265" fmla="*/ 805 h 10000"/>
                <a:gd name="connsiteX266" fmla="*/ 5880 w 10000"/>
                <a:gd name="connsiteY266" fmla="*/ 739 h 10000"/>
                <a:gd name="connsiteX267" fmla="*/ 5753 w 10000"/>
                <a:gd name="connsiteY267" fmla="*/ 705 h 10000"/>
                <a:gd name="connsiteX268" fmla="*/ 5618 w 10000"/>
                <a:gd name="connsiteY268" fmla="*/ 715 h 10000"/>
                <a:gd name="connsiteX269" fmla="*/ 5301 w 10000"/>
                <a:gd name="connsiteY269" fmla="*/ 866 h 10000"/>
                <a:gd name="connsiteX270" fmla="*/ 5218 w 10000"/>
                <a:gd name="connsiteY270" fmla="*/ 1017 h 10000"/>
                <a:gd name="connsiteX271" fmla="*/ 4978 w 10000"/>
                <a:gd name="connsiteY271" fmla="*/ 1153 h 10000"/>
                <a:gd name="connsiteX272" fmla="*/ 4935 w 10000"/>
                <a:gd name="connsiteY272" fmla="*/ 1222 h 10000"/>
                <a:gd name="connsiteX273" fmla="*/ 5061 w 10000"/>
                <a:gd name="connsiteY273" fmla="*/ 1344 h 10000"/>
                <a:gd name="connsiteX274" fmla="*/ 5074 w 10000"/>
                <a:gd name="connsiteY274" fmla="*/ 1412 h 10000"/>
                <a:gd name="connsiteX275" fmla="*/ 4421 w 10000"/>
                <a:gd name="connsiteY275" fmla="*/ 1813 h 10000"/>
                <a:gd name="connsiteX276" fmla="*/ 4220 w 10000"/>
                <a:gd name="connsiteY276" fmla="*/ 2070 h 10000"/>
                <a:gd name="connsiteX277" fmla="*/ 4003 w 10000"/>
                <a:gd name="connsiteY277" fmla="*/ 2135 h 10000"/>
                <a:gd name="connsiteX278" fmla="*/ 3868 w 10000"/>
                <a:gd name="connsiteY278" fmla="*/ 2131 h 10000"/>
                <a:gd name="connsiteX279" fmla="*/ 3785 w 10000"/>
                <a:gd name="connsiteY279" fmla="*/ 2153 h 10000"/>
                <a:gd name="connsiteX280" fmla="*/ 3558 w 10000"/>
                <a:gd name="connsiteY280" fmla="*/ 2793 h 10000"/>
                <a:gd name="connsiteX281" fmla="*/ 3036 w 10000"/>
                <a:gd name="connsiteY281" fmla="*/ 3166 h 10000"/>
                <a:gd name="connsiteX282" fmla="*/ 3040 w 10000"/>
                <a:gd name="connsiteY282" fmla="*/ 3225 h 10000"/>
                <a:gd name="connsiteX283" fmla="*/ 3271 w 10000"/>
                <a:gd name="connsiteY283" fmla="*/ 3392 h 10000"/>
                <a:gd name="connsiteX284" fmla="*/ 3197 w 10000"/>
                <a:gd name="connsiteY284" fmla="*/ 3573 h 10000"/>
                <a:gd name="connsiteX285" fmla="*/ 3062 w 10000"/>
                <a:gd name="connsiteY285" fmla="*/ 3640 h 10000"/>
                <a:gd name="connsiteX286" fmla="*/ 2657 w 10000"/>
                <a:gd name="connsiteY286" fmla="*/ 3595 h 10000"/>
                <a:gd name="connsiteX287" fmla="*/ 2378 w 10000"/>
                <a:gd name="connsiteY287" fmla="*/ 3620 h 10000"/>
                <a:gd name="connsiteX288" fmla="*/ 2152 w 10000"/>
                <a:gd name="connsiteY288" fmla="*/ 3673 h 10000"/>
                <a:gd name="connsiteX289" fmla="*/ 1790 w 10000"/>
                <a:gd name="connsiteY289" fmla="*/ 3840 h 10000"/>
                <a:gd name="connsiteX290" fmla="*/ 1598 w 10000"/>
                <a:gd name="connsiteY290" fmla="*/ 4042 h 10000"/>
                <a:gd name="connsiteX291" fmla="*/ 1616 w 10000"/>
                <a:gd name="connsiteY291" fmla="*/ 4154 h 10000"/>
                <a:gd name="connsiteX292" fmla="*/ 1681 w 10000"/>
                <a:gd name="connsiteY292" fmla="*/ 4241 h 10000"/>
                <a:gd name="connsiteX293" fmla="*/ 1733 w 10000"/>
                <a:gd name="connsiteY293" fmla="*/ 4276 h 10000"/>
                <a:gd name="connsiteX294" fmla="*/ 1638 w 10000"/>
                <a:gd name="connsiteY294" fmla="*/ 4331 h 10000"/>
                <a:gd name="connsiteX295" fmla="*/ 1433 w 10000"/>
                <a:gd name="connsiteY295" fmla="*/ 4710 h 10000"/>
                <a:gd name="connsiteX296" fmla="*/ 1472 w 10000"/>
                <a:gd name="connsiteY296" fmla="*/ 4732 h 10000"/>
                <a:gd name="connsiteX297" fmla="*/ 1503 w 10000"/>
                <a:gd name="connsiteY297" fmla="*/ 4828 h 10000"/>
                <a:gd name="connsiteX298" fmla="*/ 1407 w 10000"/>
                <a:gd name="connsiteY298" fmla="*/ 5227 h 10000"/>
                <a:gd name="connsiteX299" fmla="*/ 1503 w 10000"/>
                <a:gd name="connsiteY299" fmla="*/ 5329 h 10000"/>
                <a:gd name="connsiteX300" fmla="*/ 1764 w 10000"/>
                <a:gd name="connsiteY300" fmla="*/ 5441 h 10000"/>
                <a:gd name="connsiteX301" fmla="*/ 1777 w 10000"/>
                <a:gd name="connsiteY301" fmla="*/ 5578 h 10000"/>
                <a:gd name="connsiteX302" fmla="*/ 1664 w 10000"/>
                <a:gd name="connsiteY302" fmla="*/ 5690 h 10000"/>
                <a:gd name="connsiteX303" fmla="*/ 1503 w 10000"/>
                <a:gd name="connsiteY303" fmla="*/ 5759 h 10000"/>
                <a:gd name="connsiteX304" fmla="*/ 1289 w 10000"/>
                <a:gd name="connsiteY304" fmla="*/ 5787 h 10000"/>
                <a:gd name="connsiteX305" fmla="*/ 1233 w 10000"/>
                <a:gd name="connsiteY305" fmla="*/ 5826 h 10000"/>
                <a:gd name="connsiteX306" fmla="*/ 1359 w 10000"/>
                <a:gd name="connsiteY306" fmla="*/ 5920 h 10000"/>
                <a:gd name="connsiteX307" fmla="*/ 1429 w 10000"/>
                <a:gd name="connsiteY307" fmla="*/ 6142 h 10000"/>
                <a:gd name="connsiteX308" fmla="*/ 1267 w 10000"/>
                <a:gd name="connsiteY308" fmla="*/ 6333 h 10000"/>
                <a:gd name="connsiteX309" fmla="*/ 1324 w 10000"/>
                <a:gd name="connsiteY309" fmla="*/ 6392 h 10000"/>
                <a:gd name="connsiteX310" fmla="*/ 1272 w 10000"/>
                <a:gd name="connsiteY310" fmla="*/ 6492 h 10000"/>
                <a:gd name="connsiteX311" fmla="*/ 1167 w 10000"/>
                <a:gd name="connsiteY311" fmla="*/ 6561 h 10000"/>
                <a:gd name="connsiteX312" fmla="*/ 758 w 10000"/>
                <a:gd name="connsiteY312" fmla="*/ 6614 h 10000"/>
                <a:gd name="connsiteX313" fmla="*/ 732 w 10000"/>
                <a:gd name="connsiteY313" fmla="*/ 6706 h 10000"/>
                <a:gd name="connsiteX314" fmla="*/ 510 w 10000"/>
                <a:gd name="connsiteY314" fmla="*/ 6843 h 10000"/>
                <a:gd name="connsiteX315" fmla="*/ 540 w 10000"/>
                <a:gd name="connsiteY315" fmla="*/ 7040 h 10000"/>
                <a:gd name="connsiteX316" fmla="*/ 353 w 10000"/>
                <a:gd name="connsiteY316" fmla="*/ 7293 h 10000"/>
                <a:gd name="connsiteX317" fmla="*/ 226 w 10000"/>
                <a:gd name="connsiteY317" fmla="*/ 7323 h 10000"/>
                <a:gd name="connsiteX318" fmla="*/ 174 w 10000"/>
                <a:gd name="connsiteY318" fmla="*/ 7262 h 10000"/>
                <a:gd name="connsiteX319" fmla="*/ 109 w 10000"/>
                <a:gd name="connsiteY319" fmla="*/ 7354 h 10000"/>
                <a:gd name="connsiteX320" fmla="*/ 152 w 10000"/>
                <a:gd name="connsiteY320" fmla="*/ 7197 h 10000"/>
                <a:gd name="connsiteX321" fmla="*/ 126 w 10000"/>
                <a:gd name="connsiteY321"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558 w 10000"/>
                <a:gd name="connsiteY207" fmla="*/ 2481 h 10000"/>
                <a:gd name="connsiteX208" fmla="*/ 8698 w 10000"/>
                <a:gd name="connsiteY208" fmla="*/ 2504 h 10000"/>
                <a:gd name="connsiteX209" fmla="*/ 8815 w 10000"/>
                <a:gd name="connsiteY209" fmla="*/ 2548 h 10000"/>
                <a:gd name="connsiteX210" fmla="*/ 8789 w 10000"/>
                <a:gd name="connsiteY210" fmla="*/ 2457 h 10000"/>
                <a:gd name="connsiteX211" fmla="*/ 8855 w 10000"/>
                <a:gd name="connsiteY211" fmla="*/ 2341 h 10000"/>
                <a:gd name="connsiteX212" fmla="*/ 8898 w 10000"/>
                <a:gd name="connsiteY212" fmla="*/ 2332 h 10000"/>
                <a:gd name="connsiteX213" fmla="*/ 8946 w 10000"/>
                <a:gd name="connsiteY213" fmla="*/ 2330 h 10000"/>
                <a:gd name="connsiteX214" fmla="*/ 8946 w 10000"/>
                <a:gd name="connsiteY214" fmla="*/ 2361 h 10000"/>
                <a:gd name="connsiteX215" fmla="*/ 8994 w 10000"/>
                <a:gd name="connsiteY215" fmla="*/ 2389 h 10000"/>
                <a:gd name="connsiteX216" fmla="*/ 9051 w 10000"/>
                <a:gd name="connsiteY216" fmla="*/ 2400 h 10000"/>
                <a:gd name="connsiteX217" fmla="*/ 9094 w 10000"/>
                <a:gd name="connsiteY217" fmla="*/ 2324 h 10000"/>
                <a:gd name="connsiteX218" fmla="*/ 9164 w 10000"/>
                <a:gd name="connsiteY218" fmla="*/ 2347 h 10000"/>
                <a:gd name="connsiteX219" fmla="*/ 9247 w 10000"/>
                <a:gd name="connsiteY219" fmla="*/ 2402 h 10000"/>
                <a:gd name="connsiteX220" fmla="*/ 9286 w 10000"/>
                <a:gd name="connsiteY220" fmla="*/ 2400 h 10000"/>
                <a:gd name="connsiteX221" fmla="*/ 9355 w 10000"/>
                <a:gd name="connsiteY221" fmla="*/ 2428 h 10000"/>
                <a:gd name="connsiteX222" fmla="*/ 9408 w 10000"/>
                <a:gd name="connsiteY222" fmla="*/ 2359 h 10000"/>
                <a:gd name="connsiteX223" fmla="*/ 9717 w 10000"/>
                <a:gd name="connsiteY223" fmla="*/ 2343 h 10000"/>
                <a:gd name="connsiteX224" fmla="*/ 9830 w 10000"/>
                <a:gd name="connsiteY224" fmla="*/ 2369 h 10000"/>
                <a:gd name="connsiteX225" fmla="*/ 9909 w 10000"/>
                <a:gd name="connsiteY225" fmla="*/ 2410 h 10000"/>
                <a:gd name="connsiteX226" fmla="*/ 9948 w 10000"/>
                <a:gd name="connsiteY226" fmla="*/ 2365 h 10000"/>
                <a:gd name="connsiteX227" fmla="*/ 10000 w 10000"/>
                <a:gd name="connsiteY227" fmla="*/ 2349 h 10000"/>
                <a:gd name="connsiteX228" fmla="*/ 9704 w 10000"/>
                <a:gd name="connsiteY228" fmla="*/ 1992 h 10000"/>
                <a:gd name="connsiteX229" fmla="*/ 9743 w 10000"/>
                <a:gd name="connsiteY229" fmla="*/ 1897 h 10000"/>
                <a:gd name="connsiteX230" fmla="*/ 9830 w 10000"/>
                <a:gd name="connsiteY230" fmla="*/ 1819 h 10000"/>
                <a:gd name="connsiteX231" fmla="*/ 9830 w 10000"/>
                <a:gd name="connsiteY231" fmla="*/ 1699 h 10000"/>
                <a:gd name="connsiteX232" fmla="*/ 9556 w 10000"/>
                <a:gd name="connsiteY232" fmla="*/ 1465 h 10000"/>
                <a:gd name="connsiteX233" fmla="*/ 9512 w 10000"/>
                <a:gd name="connsiteY233" fmla="*/ 1379 h 10000"/>
                <a:gd name="connsiteX234" fmla="*/ 9573 w 10000"/>
                <a:gd name="connsiteY234" fmla="*/ 1271 h 10000"/>
                <a:gd name="connsiteX235" fmla="*/ 9543 w 10000"/>
                <a:gd name="connsiteY235" fmla="*/ 1194 h 10000"/>
                <a:gd name="connsiteX236" fmla="*/ 9486 w 10000"/>
                <a:gd name="connsiteY236" fmla="*/ 1159 h 10000"/>
                <a:gd name="connsiteX237" fmla="*/ 9438 w 10000"/>
                <a:gd name="connsiteY237" fmla="*/ 978 h 10000"/>
                <a:gd name="connsiteX238" fmla="*/ 9495 w 10000"/>
                <a:gd name="connsiteY238" fmla="*/ 831 h 10000"/>
                <a:gd name="connsiteX239" fmla="*/ 9077 w 10000"/>
                <a:gd name="connsiteY239" fmla="*/ 517 h 10000"/>
                <a:gd name="connsiteX240" fmla="*/ 8872 w 10000"/>
                <a:gd name="connsiteY240" fmla="*/ 440 h 10000"/>
                <a:gd name="connsiteX241" fmla="*/ 8493 w 10000"/>
                <a:gd name="connsiteY241" fmla="*/ 389 h 10000"/>
                <a:gd name="connsiteX242" fmla="*/ 7709 w 10000"/>
                <a:gd name="connsiteY242" fmla="*/ 26 h 10000"/>
                <a:gd name="connsiteX243" fmla="*/ 7683 w 10000"/>
                <a:gd name="connsiteY243" fmla="*/ 2 h 10000"/>
                <a:gd name="connsiteX244" fmla="*/ 7417 w 10000"/>
                <a:gd name="connsiteY244" fmla="*/ 0 h 10000"/>
                <a:gd name="connsiteX245" fmla="*/ 7356 w 10000"/>
                <a:gd name="connsiteY245" fmla="*/ 14 h 10000"/>
                <a:gd name="connsiteX246" fmla="*/ 7369 w 10000"/>
                <a:gd name="connsiteY246" fmla="*/ 61 h 10000"/>
                <a:gd name="connsiteX247" fmla="*/ 7422 w 10000"/>
                <a:gd name="connsiteY247" fmla="*/ 86 h 10000"/>
                <a:gd name="connsiteX248" fmla="*/ 7435 w 10000"/>
                <a:gd name="connsiteY248" fmla="*/ 139 h 10000"/>
                <a:gd name="connsiteX249" fmla="*/ 7417 w 10000"/>
                <a:gd name="connsiteY249" fmla="*/ 181 h 10000"/>
                <a:gd name="connsiteX250" fmla="*/ 7369 w 10000"/>
                <a:gd name="connsiteY250" fmla="*/ 208 h 10000"/>
                <a:gd name="connsiteX251" fmla="*/ 7334 w 10000"/>
                <a:gd name="connsiteY251" fmla="*/ 283 h 10000"/>
                <a:gd name="connsiteX252" fmla="*/ 7269 w 10000"/>
                <a:gd name="connsiteY252" fmla="*/ 336 h 10000"/>
                <a:gd name="connsiteX253" fmla="*/ 7282 w 10000"/>
                <a:gd name="connsiteY253" fmla="*/ 387 h 10000"/>
                <a:gd name="connsiteX254" fmla="*/ 7382 w 10000"/>
                <a:gd name="connsiteY254" fmla="*/ 434 h 10000"/>
                <a:gd name="connsiteX255" fmla="*/ 7317 w 10000"/>
                <a:gd name="connsiteY255" fmla="*/ 475 h 10000"/>
                <a:gd name="connsiteX256" fmla="*/ 7221 w 10000"/>
                <a:gd name="connsiteY256" fmla="*/ 485 h 10000"/>
                <a:gd name="connsiteX257" fmla="*/ 6420 w 10000"/>
                <a:gd name="connsiteY257" fmla="*/ 387 h 10000"/>
                <a:gd name="connsiteX258" fmla="*/ 6324 w 10000"/>
                <a:gd name="connsiteY258" fmla="*/ 395 h 10000"/>
                <a:gd name="connsiteX259" fmla="*/ 6267 w 10000"/>
                <a:gd name="connsiteY259" fmla="*/ 414 h 10000"/>
                <a:gd name="connsiteX260" fmla="*/ 6211 w 10000"/>
                <a:gd name="connsiteY260" fmla="*/ 462 h 10000"/>
                <a:gd name="connsiteX261" fmla="*/ 6220 w 10000"/>
                <a:gd name="connsiteY261" fmla="*/ 581 h 10000"/>
                <a:gd name="connsiteX262" fmla="*/ 6132 w 10000"/>
                <a:gd name="connsiteY262" fmla="*/ 735 h 10000"/>
                <a:gd name="connsiteX263" fmla="*/ 6024 w 10000"/>
                <a:gd name="connsiteY263" fmla="*/ 815 h 10000"/>
                <a:gd name="connsiteX264" fmla="*/ 5980 w 10000"/>
                <a:gd name="connsiteY264" fmla="*/ 805 h 10000"/>
                <a:gd name="connsiteX265" fmla="*/ 5880 w 10000"/>
                <a:gd name="connsiteY265" fmla="*/ 739 h 10000"/>
                <a:gd name="connsiteX266" fmla="*/ 5753 w 10000"/>
                <a:gd name="connsiteY266" fmla="*/ 705 h 10000"/>
                <a:gd name="connsiteX267" fmla="*/ 5618 w 10000"/>
                <a:gd name="connsiteY267" fmla="*/ 715 h 10000"/>
                <a:gd name="connsiteX268" fmla="*/ 5301 w 10000"/>
                <a:gd name="connsiteY268" fmla="*/ 866 h 10000"/>
                <a:gd name="connsiteX269" fmla="*/ 5218 w 10000"/>
                <a:gd name="connsiteY269" fmla="*/ 1017 h 10000"/>
                <a:gd name="connsiteX270" fmla="*/ 4978 w 10000"/>
                <a:gd name="connsiteY270" fmla="*/ 1153 h 10000"/>
                <a:gd name="connsiteX271" fmla="*/ 4935 w 10000"/>
                <a:gd name="connsiteY271" fmla="*/ 1222 h 10000"/>
                <a:gd name="connsiteX272" fmla="*/ 5061 w 10000"/>
                <a:gd name="connsiteY272" fmla="*/ 1344 h 10000"/>
                <a:gd name="connsiteX273" fmla="*/ 5074 w 10000"/>
                <a:gd name="connsiteY273" fmla="*/ 1412 h 10000"/>
                <a:gd name="connsiteX274" fmla="*/ 4421 w 10000"/>
                <a:gd name="connsiteY274" fmla="*/ 1813 h 10000"/>
                <a:gd name="connsiteX275" fmla="*/ 4220 w 10000"/>
                <a:gd name="connsiteY275" fmla="*/ 2070 h 10000"/>
                <a:gd name="connsiteX276" fmla="*/ 4003 w 10000"/>
                <a:gd name="connsiteY276" fmla="*/ 2135 h 10000"/>
                <a:gd name="connsiteX277" fmla="*/ 3868 w 10000"/>
                <a:gd name="connsiteY277" fmla="*/ 2131 h 10000"/>
                <a:gd name="connsiteX278" fmla="*/ 3785 w 10000"/>
                <a:gd name="connsiteY278" fmla="*/ 2153 h 10000"/>
                <a:gd name="connsiteX279" fmla="*/ 3558 w 10000"/>
                <a:gd name="connsiteY279" fmla="*/ 2793 h 10000"/>
                <a:gd name="connsiteX280" fmla="*/ 3036 w 10000"/>
                <a:gd name="connsiteY280" fmla="*/ 3166 h 10000"/>
                <a:gd name="connsiteX281" fmla="*/ 3040 w 10000"/>
                <a:gd name="connsiteY281" fmla="*/ 3225 h 10000"/>
                <a:gd name="connsiteX282" fmla="*/ 3271 w 10000"/>
                <a:gd name="connsiteY282" fmla="*/ 3392 h 10000"/>
                <a:gd name="connsiteX283" fmla="*/ 3197 w 10000"/>
                <a:gd name="connsiteY283" fmla="*/ 3573 h 10000"/>
                <a:gd name="connsiteX284" fmla="*/ 3062 w 10000"/>
                <a:gd name="connsiteY284" fmla="*/ 3640 h 10000"/>
                <a:gd name="connsiteX285" fmla="*/ 2657 w 10000"/>
                <a:gd name="connsiteY285" fmla="*/ 3595 h 10000"/>
                <a:gd name="connsiteX286" fmla="*/ 2378 w 10000"/>
                <a:gd name="connsiteY286" fmla="*/ 3620 h 10000"/>
                <a:gd name="connsiteX287" fmla="*/ 2152 w 10000"/>
                <a:gd name="connsiteY287" fmla="*/ 3673 h 10000"/>
                <a:gd name="connsiteX288" fmla="*/ 1790 w 10000"/>
                <a:gd name="connsiteY288" fmla="*/ 3840 h 10000"/>
                <a:gd name="connsiteX289" fmla="*/ 1598 w 10000"/>
                <a:gd name="connsiteY289" fmla="*/ 4042 h 10000"/>
                <a:gd name="connsiteX290" fmla="*/ 1616 w 10000"/>
                <a:gd name="connsiteY290" fmla="*/ 4154 h 10000"/>
                <a:gd name="connsiteX291" fmla="*/ 1681 w 10000"/>
                <a:gd name="connsiteY291" fmla="*/ 4241 h 10000"/>
                <a:gd name="connsiteX292" fmla="*/ 1733 w 10000"/>
                <a:gd name="connsiteY292" fmla="*/ 4276 h 10000"/>
                <a:gd name="connsiteX293" fmla="*/ 1638 w 10000"/>
                <a:gd name="connsiteY293" fmla="*/ 4331 h 10000"/>
                <a:gd name="connsiteX294" fmla="*/ 1433 w 10000"/>
                <a:gd name="connsiteY294" fmla="*/ 4710 h 10000"/>
                <a:gd name="connsiteX295" fmla="*/ 1472 w 10000"/>
                <a:gd name="connsiteY295" fmla="*/ 4732 h 10000"/>
                <a:gd name="connsiteX296" fmla="*/ 1503 w 10000"/>
                <a:gd name="connsiteY296" fmla="*/ 4828 h 10000"/>
                <a:gd name="connsiteX297" fmla="*/ 1407 w 10000"/>
                <a:gd name="connsiteY297" fmla="*/ 5227 h 10000"/>
                <a:gd name="connsiteX298" fmla="*/ 1503 w 10000"/>
                <a:gd name="connsiteY298" fmla="*/ 5329 h 10000"/>
                <a:gd name="connsiteX299" fmla="*/ 1764 w 10000"/>
                <a:gd name="connsiteY299" fmla="*/ 5441 h 10000"/>
                <a:gd name="connsiteX300" fmla="*/ 1777 w 10000"/>
                <a:gd name="connsiteY300" fmla="*/ 5578 h 10000"/>
                <a:gd name="connsiteX301" fmla="*/ 1664 w 10000"/>
                <a:gd name="connsiteY301" fmla="*/ 5690 h 10000"/>
                <a:gd name="connsiteX302" fmla="*/ 1503 w 10000"/>
                <a:gd name="connsiteY302" fmla="*/ 5759 h 10000"/>
                <a:gd name="connsiteX303" fmla="*/ 1289 w 10000"/>
                <a:gd name="connsiteY303" fmla="*/ 5787 h 10000"/>
                <a:gd name="connsiteX304" fmla="*/ 1233 w 10000"/>
                <a:gd name="connsiteY304" fmla="*/ 5826 h 10000"/>
                <a:gd name="connsiteX305" fmla="*/ 1359 w 10000"/>
                <a:gd name="connsiteY305" fmla="*/ 5920 h 10000"/>
                <a:gd name="connsiteX306" fmla="*/ 1429 w 10000"/>
                <a:gd name="connsiteY306" fmla="*/ 6142 h 10000"/>
                <a:gd name="connsiteX307" fmla="*/ 1267 w 10000"/>
                <a:gd name="connsiteY307" fmla="*/ 6333 h 10000"/>
                <a:gd name="connsiteX308" fmla="*/ 1324 w 10000"/>
                <a:gd name="connsiteY308" fmla="*/ 6392 h 10000"/>
                <a:gd name="connsiteX309" fmla="*/ 1272 w 10000"/>
                <a:gd name="connsiteY309" fmla="*/ 6492 h 10000"/>
                <a:gd name="connsiteX310" fmla="*/ 1167 w 10000"/>
                <a:gd name="connsiteY310" fmla="*/ 6561 h 10000"/>
                <a:gd name="connsiteX311" fmla="*/ 758 w 10000"/>
                <a:gd name="connsiteY311" fmla="*/ 6614 h 10000"/>
                <a:gd name="connsiteX312" fmla="*/ 732 w 10000"/>
                <a:gd name="connsiteY312" fmla="*/ 6706 h 10000"/>
                <a:gd name="connsiteX313" fmla="*/ 510 w 10000"/>
                <a:gd name="connsiteY313" fmla="*/ 6843 h 10000"/>
                <a:gd name="connsiteX314" fmla="*/ 540 w 10000"/>
                <a:gd name="connsiteY314" fmla="*/ 7040 h 10000"/>
                <a:gd name="connsiteX315" fmla="*/ 353 w 10000"/>
                <a:gd name="connsiteY315" fmla="*/ 7293 h 10000"/>
                <a:gd name="connsiteX316" fmla="*/ 226 w 10000"/>
                <a:gd name="connsiteY316" fmla="*/ 7323 h 10000"/>
                <a:gd name="connsiteX317" fmla="*/ 174 w 10000"/>
                <a:gd name="connsiteY317" fmla="*/ 7262 h 10000"/>
                <a:gd name="connsiteX318" fmla="*/ 109 w 10000"/>
                <a:gd name="connsiteY318" fmla="*/ 7354 h 10000"/>
                <a:gd name="connsiteX319" fmla="*/ 152 w 10000"/>
                <a:gd name="connsiteY319" fmla="*/ 7197 h 10000"/>
                <a:gd name="connsiteX320" fmla="*/ 126 w 10000"/>
                <a:gd name="connsiteY320"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558 w 10000"/>
                <a:gd name="connsiteY207" fmla="*/ 2481 h 10000"/>
                <a:gd name="connsiteX208" fmla="*/ 8815 w 10000"/>
                <a:gd name="connsiteY208" fmla="*/ 2548 h 10000"/>
                <a:gd name="connsiteX209" fmla="*/ 8789 w 10000"/>
                <a:gd name="connsiteY209" fmla="*/ 2457 h 10000"/>
                <a:gd name="connsiteX210" fmla="*/ 8855 w 10000"/>
                <a:gd name="connsiteY210" fmla="*/ 2341 h 10000"/>
                <a:gd name="connsiteX211" fmla="*/ 8898 w 10000"/>
                <a:gd name="connsiteY211" fmla="*/ 2332 h 10000"/>
                <a:gd name="connsiteX212" fmla="*/ 8946 w 10000"/>
                <a:gd name="connsiteY212" fmla="*/ 2330 h 10000"/>
                <a:gd name="connsiteX213" fmla="*/ 8946 w 10000"/>
                <a:gd name="connsiteY213" fmla="*/ 2361 h 10000"/>
                <a:gd name="connsiteX214" fmla="*/ 8994 w 10000"/>
                <a:gd name="connsiteY214" fmla="*/ 2389 h 10000"/>
                <a:gd name="connsiteX215" fmla="*/ 9051 w 10000"/>
                <a:gd name="connsiteY215" fmla="*/ 2400 h 10000"/>
                <a:gd name="connsiteX216" fmla="*/ 9094 w 10000"/>
                <a:gd name="connsiteY216" fmla="*/ 2324 h 10000"/>
                <a:gd name="connsiteX217" fmla="*/ 9164 w 10000"/>
                <a:gd name="connsiteY217" fmla="*/ 2347 h 10000"/>
                <a:gd name="connsiteX218" fmla="*/ 9247 w 10000"/>
                <a:gd name="connsiteY218" fmla="*/ 2402 h 10000"/>
                <a:gd name="connsiteX219" fmla="*/ 9286 w 10000"/>
                <a:gd name="connsiteY219" fmla="*/ 2400 h 10000"/>
                <a:gd name="connsiteX220" fmla="*/ 9355 w 10000"/>
                <a:gd name="connsiteY220" fmla="*/ 2428 h 10000"/>
                <a:gd name="connsiteX221" fmla="*/ 9408 w 10000"/>
                <a:gd name="connsiteY221" fmla="*/ 2359 h 10000"/>
                <a:gd name="connsiteX222" fmla="*/ 9717 w 10000"/>
                <a:gd name="connsiteY222" fmla="*/ 2343 h 10000"/>
                <a:gd name="connsiteX223" fmla="*/ 9830 w 10000"/>
                <a:gd name="connsiteY223" fmla="*/ 2369 h 10000"/>
                <a:gd name="connsiteX224" fmla="*/ 9909 w 10000"/>
                <a:gd name="connsiteY224" fmla="*/ 2410 h 10000"/>
                <a:gd name="connsiteX225" fmla="*/ 9948 w 10000"/>
                <a:gd name="connsiteY225" fmla="*/ 2365 h 10000"/>
                <a:gd name="connsiteX226" fmla="*/ 10000 w 10000"/>
                <a:gd name="connsiteY226" fmla="*/ 2349 h 10000"/>
                <a:gd name="connsiteX227" fmla="*/ 9704 w 10000"/>
                <a:gd name="connsiteY227" fmla="*/ 1992 h 10000"/>
                <a:gd name="connsiteX228" fmla="*/ 9743 w 10000"/>
                <a:gd name="connsiteY228" fmla="*/ 1897 h 10000"/>
                <a:gd name="connsiteX229" fmla="*/ 9830 w 10000"/>
                <a:gd name="connsiteY229" fmla="*/ 1819 h 10000"/>
                <a:gd name="connsiteX230" fmla="*/ 9830 w 10000"/>
                <a:gd name="connsiteY230" fmla="*/ 1699 h 10000"/>
                <a:gd name="connsiteX231" fmla="*/ 9556 w 10000"/>
                <a:gd name="connsiteY231" fmla="*/ 1465 h 10000"/>
                <a:gd name="connsiteX232" fmla="*/ 9512 w 10000"/>
                <a:gd name="connsiteY232" fmla="*/ 1379 h 10000"/>
                <a:gd name="connsiteX233" fmla="*/ 9573 w 10000"/>
                <a:gd name="connsiteY233" fmla="*/ 1271 h 10000"/>
                <a:gd name="connsiteX234" fmla="*/ 9543 w 10000"/>
                <a:gd name="connsiteY234" fmla="*/ 1194 h 10000"/>
                <a:gd name="connsiteX235" fmla="*/ 9486 w 10000"/>
                <a:gd name="connsiteY235" fmla="*/ 1159 h 10000"/>
                <a:gd name="connsiteX236" fmla="*/ 9438 w 10000"/>
                <a:gd name="connsiteY236" fmla="*/ 978 h 10000"/>
                <a:gd name="connsiteX237" fmla="*/ 9495 w 10000"/>
                <a:gd name="connsiteY237" fmla="*/ 831 h 10000"/>
                <a:gd name="connsiteX238" fmla="*/ 9077 w 10000"/>
                <a:gd name="connsiteY238" fmla="*/ 517 h 10000"/>
                <a:gd name="connsiteX239" fmla="*/ 8872 w 10000"/>
                <a:gd name="connsiteY239" fmla="*/ 440 h 10000"/>
                <a:gd name="connsiteX240" fmla="*/ 8493 w 10000"/>
                <a:gd name="connsiteY240" fmla="*/ 389 h 10000"/>
                <a:gd name="connsiteX241" fmla="*/ 7709 w 10000"/>
                <a:gd name="connsiteY241" fmla="*/ 26 h 10000"/>
                <a:gd name="connsiteX242" fmla="*/ 7683 w 10000"/>
                <a:gd name="connsiteY242" fmla="*/ 2 h 10000"/>
                <a:gd name="connsiteX243" fmla="*/ 7417 w 10000"/>
                <a:gd name="connsiteY243" fmla="*/ 0 h 10000"/>
                <a:gd name="connsiteX244" fmla="*/ 7356 w 10000"/>
                <a:gd name="connsiteY244" fmla="*/ 14 h 10000"/>
                <a:gd name="connsiteX245" fmla="*/ 7369 w 10000"/>
                <a:gd name="connsiteY245" fmla="*/ 61 h 10000"/>
                <a:gd name="connsiteX246" fmla="*/ 7422 w 10000"/>
                <a:gd name="connsiteY246" fmla="*/ 86 h 10000"/>
                <a:gd name="connsiteX247" fmla="*/ 7435 w 10000"/>
                <a:gd name="connsiteY247" fmla="*/ 139 h 10000"/>
                <a:gd name="connsiteX248" fmla="*/ 7417 w 10000"/>
                <a:gd name="connsiteY248" fmla="*/ 181 h 10000"/>
                <a:gd name="connsiteX249" fmla="*/ 7369 w 10000"/>
                <a:gd name="connsiteY249" fmla="*/ 208 h 10000"/>
                <a:gd name="connsiteX250" fmla="*/ 7334 w 10000"/>
                <a:gd name="connsiteY250" fmla="*/ 283 h 10000"/>
                <a:gd name="connsiteX251" fmla="*/ 7269 w 10000"/>
                <a:gd name="connsiteY251" fmla="*/ 336 h 10000"/>
                <a:gd name="connsiteX252" fmla="*/ 7282 w 10000"/>
                <a:gd name="connsiteY252" fmla="*/ 387 h 10000"/>
                <a:gd name="connsiteX253" fmla="*/ 7382 w 10000"/>
                <a:gd name="connsiteY253" fmla="*/ 434 h 10000"/>
                <a:gd name="connsiteX254" fmla="*/ 7317 w 10000"/>
                <a:gd name="connsiteY254" fmla="*/ 475 h 10000"/>
                <a:gd name="connsiteX255" fmla="*/ 7221 w 10000"/>
                <a:gd name="connsiteY255" fmla="*/ 485 h 10000"/>
                <a:gd name="connsiteX256" fmla="*/ 6420 w 10000"/>
                <a:gd name="connsiteY256" fmla="*/ 387 h 10000"/>
                <a:gd name="connsiteX257" fmla="*/ 6324 w 10000"/>
                <a:gd name="connsiteY257" fmla="*/ 395 h 10000"/>
                <a:gd name="connsiteX258" fmla="*/ 6267 w 10000"/>
                <a:gd name="connsiteY258" fmla="*/ 414 h 10000"/>
                <a:gd name="connsiteX259" fmla="*/ 6211 w 10000"/>
                <a:gd name="connsiteY259" fmla="*/ 462 h 10000"/>
                <a:gd name="connsiteX260" fmla="*/ 6220 w 10000"/>
                <a:gd name="connsiteY260" fmla="*/ 581 h 10000"/>
                <a:gd name="connsiteX261" fmla="*/ 6132 w 10000"/>
                <a:gd name="connsiteY261" fmla="*/ 735 h 10000"/>
                <a:gd name="connsiteX262" fmla="*/ 6024 w 10000"/>
                <a:gd name="connsiteY262" fmla="*/ 815 h 10000"/>
                <a:gd name="connsiteX263" fmla="*/ 5980 w 10000"/>
                <a:gd name="connsiteY263" fmla="*/ 805 h 10000"/>
                <a:gd name="connsiteX264" fmla="*/ 5880 w 10000"/>
                <a:gd name="connsiteY264" fmla="*/ 739 h 10000"/>
                <a:gd name="connsiteX265" fmla="*/ 5753 w 10000"/>
                <a:gd name="connsiteY265" fmla="*/ 705 h 10000"/>
                <a:gd name="connsiteX266" fmla="*/ 5618 w 10000"/>
                <a:gd name="connsiteY266" fmla="*/ 715 h 10000"/>
                <a:gd name="connsiteX267" fmla="*/ 5301 w 10000"/>
                <a:gd name="connsiteY267" fmla="*/ 866 h 10000"/>
                <a:gd name="connsiteX268" fmla="*/ 5218 w 10000"/>
                <a:gd name="connsiteY268" fmla="*/ 1017 h 10000"/>
                <a:gd name="connsiteX269" fmla="*/ 4978 w 10000"/>
                <a:gd name="connsiteY269" fmla="*/ 1153 h 10000"/>
                <a:gd name="connsiteX270" fmla="*/ 4935 w 10000"/>
                <a:gd name="connsiteY270" fmla="*/ 1222 h 10000"/>
                <a:gd name="connsiteX271" fmla="*/ 5061 w 10000"/>
                <a:gd name="connsiteY271" fmla="*/ 1344 h 10000"/>
                <a:gd name="connsiteX272" fmla="*/ 5074 w 10000"/>
                <a:gd name="connsiteY272" fmla="*/ 1412 h 10000"/>
                <a:gd name="connsiteX273" fmla="*/ 4421 w 10000"/>
                <a:gd name="connsiteY273" fmla="*/ 1813 h 10000"/>
                <a:gd name="connsiteX274" fmla="*/ 4220 w 10000"/>
                <a:gd name="connsiteY274" fmla="*/ 2070 h 10000"/>
                <a:gd name="connsiteX275" fmla="*/ 4003 w 10000"/>
                <a:gd name="connsiteY275" fmla="*/ 2135 h 10000"/>
                <a:gd name="connsiteX276" fmla="*/ 3868 w 10000"/>
                <a:gd name="connsiteY276" fmla="*/ 2131 h 10000"/>
                <a:gd name="connsiteX277" fmla="*/ 3785 w 10000"/>
                <a:gd name="connsiteY277" fmla="*/ 2153 h 10000"/>
                <a:gd name="connsiteX278" fmla="*/ 3558 w 10000"/>
                <a:gd name="connsiteY278" fmla="*/ 2793 h 10000"/>
                <a:gd name="connsiteX279" fmla="*/ 3036 w 10000"/>
                <a:gd name="connsiteY279" fmla="*/ 3166 h 10000"/>
                <a:gd name="connsiteX280" fmla="*/ 3040 w 10000"/>
                <a:gd name="connsiteY280" fmla="*/ 3225 h 10000"/>
                <a:gd name="connsiteX281" fmla="*/ 3271 w 10000"/>
                <a:gd name="connsiteY281" fmla="*/ 3392 h 10000"/>
                <a:gd name="connsiteX282" fmla="*/ 3197 w 10000"/>
                <a:gd name="connsiteY282" fmla="*/ 3573 h 10000"/>
                <a:gd name="connsiteX283" fmla="*/ 3062 w 10000"/>
                <a:gd name="connsiteY283" fmla="*/ 3640 h 10000"/>
                <a:gd name="connsiteX284" fmla="*/ 2657 w 10000"/>
                <a:gd name="connsiteY284" fmla="*/ 3595 h 10000"/>
                <a:gd name="connsiteX285" fmla="*/ 2378 w 10000"/>
                <a:gd name="connsiteY285" fmla="*/ 3620 h 10000"/>
                <a:gd name="connsiteX286" fmla="*/ 2152 w 10000"/>
                <a:gd name="connsiteY286" fmla="*/ 3673 h 10000"/>
                <a:gd name="connsiteX287" fmla="*/ 1790 w 10000"/>
                <a:gd name="connsiteY287" fmla="*/ 3840 h 10000"/>
                <a:gd name="connsiteX288" fmla="*/ 1598 w 10000"/>
                <a:gd name="connsiteY288" fmla="*/ 4042 h 10000"/>
                <a:gd name="connsiteX289" fmla="*/ 1616 w 10000"/>
                <a:gd name="connsiteY289" fmla="*/ 4154 h 10000"/>
                <a:gd name="connsiteX290" fmla="*/ 1681 w 10000"/>
                <a:gd name="connsiteY290" fmla="*/ 4241 h 10000"/>
                <a:gd name="connsiteX291" fmla="*/ 1733 w 10000"/>
                <a:gd name="connsiteY291" fmla="*/ 4276 h 10000"/>
                <a:gd name="connsiteX292" fmla="*/ 1638 w 10000"/>
                <a:gd name="connsiteY292" fmla="*/ 4331 h 10000"/>
                <a:gd name="connsiteX293" fmla="*/ 1433 w 10000"/>
                <a:gd name="connsiteY293" fmla="*/ 4710 h 10000"/>
                <a:gd name="connsiteX294" fmla="*/ 1472 w 10000"/>
                <a:gd name="connsiteY294" fmla="*/ 4732 h 10000"/>
                <a:gd name="connsiteX295" fmla="*/ 1503 w 10000"/>
                <a:gd name="connsiteY295" fmla="*/ 4828 h 10000"/>
                <a:gd name="connsiteX296" fmla="*/ 1407 w 10000"/>
                <a:gd name="connsiteY296" fmla="*/ 5227 h 10000"/>
                <a:gd name="connsiteX297" fmla="*/ 1503 w 10000"/>
                <a:gd name="connsiteY297" fmla="*/ 5329 h 10000"/>
                <a:gd name="connsiteX298" fmla="*/ 1764 w 10000"/>
                <a:gd name="connsiteY298" fmla="*/ 5441 h 10000"/>
                <a:gd name="connsiteX299" fmla="*/ 1777 w 10000"/>
                <a:gd name="connsiteY299" fmla="*/ 5578 h 10000"/>
                <a:gd name="connsiteX300" fmla="*/ 1664 w 10000"/>
                <a:gd name="connsiteY300" fmla="*/ 5690 h 10000"/>
                <a:gd name="connsiteX301" fmla="*/ 1503 w 10000"/>
                <a:gd name="connsiteY301" fmla="*/ 5759 h 10000"/>
                <a:gd name="connsiteX302" fmla="*/ 1289 w 10000"/>
                <a:gd name="connsiteY302" fmla="*/ 5787 h 10000"/>
                <a:gd name="connsiteX303" fmla="*/ 1233 w 10000"/>
                <a:gd name="connsiteY303" fmla="*/ 5826 h 10000"/>
                <a:gd name="connsiteX304" fmla="*/ 1359 w 10000"/>
                <a:gd name="connsiteY304" fmla="*/ 5920 h 10000"/>
                <a:gd name="connsiteX305" fmla="*/ 1429 w 10000"/>
                <a:gd name="connsiteY305" fmla="*/ 6142 h 10000"/>
                <a:gd name="connsiteX306" fmla="*/ 1267 w 10000"/>
                <a:gd name="connsiteY306" fmla="*/ 6333 h 10000"/>
                <a:gd name="connsiteX307" fmla="*/ 1324 w 10000"/>
                <a:gd name="connsiteY307" fmla="*/ 6392 h 10000"/>
                <a:gd name="connsiteX308" fmla="*/ 1272 w 10000"/>
                <a:gd name="connsiteY308" fmla="*/ 6492 h 10000"/>
                <a:gd name="connsiteX309" fmla="*/ 1167 w 10000"/>
                <a:gd name="connsiteY309" fmla="*/ 6561 h 10000"/>
                <a:gd name="connsiteX310" fmla="*/ 758 w 10000"/>
                <a:gd name="connsiteY310" fmla="*/ 6614 h 10000"/>
                <a:gd name="connsiteX311" fmla="*/ 732 w 10000"/>
                <a:gd name="connsiteY311" fmla="*/ 6706 h 10000"/>
                <a:gd name="connsiteX312" fmla="*/ 510 w 10000"/>
                <a:gd name="connsiteY312" fmla="*/ 6843 h 10000"/>
                <a:gd name="connsiteX313" fmla="*/ 540 w 10000"/>
                <a:gd name="connsiteY313" fmla="*/ 7040 h 10000"/>
                <a:gd name="connsiteX314" fmla="*/ 353 w 10000"/>
                <a:gd name="connsiteY314" fmla="*/ 7293 h 10000"/>
                <a:gd name="connsiteX315" fmla="*/ 226 w 10000"/>
                <a:gd name="connsiteY315" fmla="*/ 7323 h 10000"/>
                <a:gd name="connsiteX316" fmla="*/ 174 w 10000"/>
                <a:gd name="connsiteY316" fmla="*/ 7262 h 10000"/>
                <a:gd name="connsiteX317" fmla="*/ 109 w 10000"/>
                <a:gd name="connsiteY317" fmla="*/ 7354 h 10000"/>
                <a:gd name="connsiteX318" fmla="*/ 152 w 10000"/>
                <a:gd name="connsiteY318" fmla="*/ 7197 h 10000"/>
                <a:gd name="connsiteX319" fmla="*/ 126 w 10000"/>
                <a:gd name="connsiteY319"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815 w 10000"/>
                <a:gd name="connsiteY207" fmla="*/ 2548 h 10000"/>
                <a:gd name="connsiteX208" fmla="*/ 8789 w 10000"/>
                <a:gd name="connsiteY208" fmla="*/ 2457 h 10000"/>
                <a:gd name="connsiteX209" fmla="*/ 8855 w 10000"/>
                <a:gd name="connsiteY209" fmla="*/ 2341 h 10000"/>
                <a:gd name="connsiteX210" fmla="*/ 8898 w 10000"/>
                <a:gd name="connsiteY210" fmla="*/ 2332 h 10000"/>
                <a:gd name="connsiteX211" fmla="*/ 8946 w 10000"/>
                <a:gd name="connsiteY211" fmla="*/ 2330 h 10000"/>
                <a:gd name="connsiteX212" fmla="*/ 8946 w 10000"/>
                <a:gd name="connsiteY212" fmla="*/ 2361 h 10000"/>
                <a:gd name="connsiteX213" fmla="*/ 8994 w 10000"/>
                <a:gd name="connsiteY213" fmla="*/ 2389 h 10000"/>
                <a:gd name="connsiteX214" fmla="*/ 9051 w 10000"/>
                <a:gd name="connsiteY214" fmla="*/ 2400 h 10000"/>
                <a:gd name="connsiteX215" fmla="*/ 9094 w 10000"/>
                <a:gd name="connsiteY215" fmla="*/ 2324 h 10000"/>
                <a:gd name="connsiteX216" fmla="*/ 9164 w 10000"/>
                <a:gd name="connsiteY216" fmla="*/ 2347 h 10000"/>
                <a:gd name="connsiteX217" fmla="*/ 9247 w 10000"/>
                <a:gd name="connsiteY217" fmla="*/ 2402 h 10000"/>
                <a:gd name="connsiteX218" fmla="*/ 9286 w 10000"/>
                <a:gd name="connsiteY218" fmla="*/ 2400 h 10000"/>
                <a:gd name="connsiteX219" fmla="*/ 9355 w 10000"/>
                <a:gd name="connsiteY219" fmla="*/ 2428 h 10000"/>
                <a:gd name="connsiteX220" fmla="*/ 9408 w 10000"/>
                <a:gd name="connsiteY220" fmla="*/ 2359 h 10000"/>
                <a:gd name="connsiteX221" fmla="*/ 9717 w 10000"/>
                <a:gd name="connsiteY221" fmla="*/ 2343 h 10000"/>
                <a:gd name="connsiteX222" fmla="*/ 9830 w 10000"/>
                <a:gd name="connsiteY222" fmla="*/ 2369 h 10000"/>
                <a:gd name="connsiteX223" fmla="*/ 9909 w 10000"/>
                <a:gd name="connsiteY223" fmla="*/ 2410 h 10000"/>
                <a:gd name="connsiteX224" fmla="*/ 9948 w 10000"/>
                <a:gd name="connsiteY224" fmla="*/ 2365 h 10000"/>
                <a:gd name="connsiteX225" fmla="*/ 10000 w 10000"/>
                <a:gd name="connsiteY225" fmla="*/ 2349 h 10000"/>
                <a:gd name="connsiteX226" fmla="*/ 9704 w 10000"/>
                <a:gd name="connsiteY226" fmla="*/ 1992 h 10000"/>
                <a:gd name="connsiteX227" fmla="*/ 9743 w 10000"/>
                <a:gd name="connsiteY227" fmla="*/ 1897 h 10000"/>
                <a:gd name="connsiteX228" fmla="*/ 9830 w 10000"/>
                <a:gd name="connsiteY228" fmla="*/ 1819 h 10000"/>
                <a:gd name="connsiteX229" fmla="*/ 9830 w 10000"/>
                <a:gd name="connsiteY229" fmla="*/ 1699 h 10000"/>
                <a:gd name="connsiteX230" fmla="*/ 9556 w 10000"/>
                <a:gd name="connsiteY230" fmla="*/ 1465 h 10000"/>
                <a:gd name="connsiteX231" fmla="*/ 9512 w 10000"/>
                <a:gd name="connsiteY231" fmla="*/ 1379 h 10000"/>
                <a:gd name="connsiteX232" fmla="*/ 9573 w 10000"/>
                <a:gd name="connsiteY232" fmla="*/ 1271 h 10000"/>
                <a:gd name="connsiteX233" fmla="*/ 9543 w 10000"/>
                <a:gd name="connsiteY233" fmla="*/ 1194 h 10000"/>
                <a:gd name="connsiteX234" fmla="*/ 9486 w 10000"/>
                <a:gd name="connsiteY234" fmla="*/ 1159 h 10000"/>
                <a:gd name="connsiteX235" fmla="*/ 9438 w 10000"/>
                <a:gd name="connsiteY235" fmla="*/ 978 h 10000"/>
                <a:gd name="connsiteX236" fmla="*/ 9495 w 10000"/>
                <a:gd name="connsiteY236" fmla="*/ 831 h 10000"/>
                <a:gd name="connsiteX237" fmla="*/ 9077 w 10000"/>
                <a:gd name="connsiteY237" fmla="*/ 517 h 10000"/>
                <a:gd name="connsiteX238" fmla="*/ 8872 w 10000"/>
                <a:gd name="connsiteY238" fmla="*/ 440 h 10000"/>
                <a:gd name="connsiteX239" fmla="*/ 8493 w 10000"/>
                <a:gd name="connsiteY239" fmla="*/ 389 h 10000"/>
                <a:gd name="connsiteX240" fmla="*/ 7709 w 10000"/>
                <a:gd name="connsiteY240" fmla="*/ 26 h 10000"/>
                <a:gd name="connsiteX241" fmla="*/ 7683 w 10000"/>
                <a:gd name="connsiteY241" fmla="*/ 2 h 10000"/>
                <a:gd name="connsiteX242" fmla="*/ 7417 w 10000"/>
                <a:gd name="connsiteY242" fmla="*/ 0 h 10000"/>
                <a:gd name="connsiteX243" fmla="*/ 7356 w 10000"/>
                <a:gd name="connsiteY243" fmla="*/ 14 h 10000"/>
                <a:gd name="connsiteX244" fmla="*/ 7369 w 10000"/>
                <a:gd name="connsiteY244" fmla="*/ 61 h 10000"/>
                <a:gd name="connsiteX245" fmla="*/ 7422 w 10000"/>
                <a:gd name="connsiteY245" fmla="*/ 86 h 10000"/>
                <a:gd name="connsiteX246" fmla="*/ 7435 w 10000"/>
                <a:gd name="connsiteY246" fmla="*/ 139 h 10000"/>
                <a:gd name="connsiteX247" fmla="*/ 7417 w 10000"/>
                <a:gd name="connsiteY247" fmla="*/ 181 h 10000"/>
                <a:gd name="connsiteX248" fmla="*/ 7369 w 10000"/>
                <a:gd name="connsiteY248" fmla="*/ 208 h 10000"/>
                <a:gd name="connsiteX249" fmla="*/ 7334 w 10000"/>
                <a:gd name="connsiteY249" fmla="*/ 283 h 10000"/>
                <a:gd name="connsiteX250" fmla="*/ 7269 w 10000"/>
                <a:gd name="connsiteY250" fmla="*/ 336 h 10000"/>
                <a:gd name="connsiteX251" fmla="*/ 7282 w 10000"/>
                <a:gd name="connsiteY251" fmla="*/ 387 h 10000"/>
                <a:gd name="connsiteX252" fmla="*/ 7382 w 10000"/>
                <a:gd name="connsiteY252" fmla="*/ 434 h 10000"/>
                <a:gd name="connsiteX253" fmla="*/ 7317 w 10000"/>
                <a:gd name="connsiteY253" fmla="*/ 475 h 10000"/>
                <a:gd name="connsiteX254" fmla="*/ 7221 w 10000"/>
                <a:gd name="connsiteY254" fmla="*/ 485 h 10000"/>
                <a:gd name="connsiteX255" fmla="*/ 6420 w 10000"/>
                <a:gd name="connsiteY255" fmla="*/ 387 h 10000"/>
                <a:gd name="connsiteX256" fmla="*/ 6324 w 10000"/>
                <a:gd name="connsiteY256" fmla="*/ 395 h 10000"/>
                <a:gd name="connsiteX257" fmla="*/ 6267 w 10000"/>
                <a:gd name="connsiteY257" fmla="*/ 414 h 10000"/>
                <a:gd name="connsiteX258" fmla="*/ 6211 w 10000"/>
                <a:gd name="connsiteY258" fmla="*/ 462 h 10000"/>
                <a:gd name="connsiteX259" fmla="*/ 6220 w 10000"/>
                <a:gd name="connsiteY259" fmla="*/ 581 h 10000"/>
                <a:gd name="connsiteX260" fmla="*/ 6132 w 10000"/>
                <a:gd name="connsiteY260" fmla="*/ 735 h 10000"/>
                <a:gd name="connsiteX261" fmla="*/ 6024 w 10000"/>
                <a:gd name="connsiteY261" fmla="*/ 815 h 10000"/>
                <a:gd name="connsiteX262" fmla="*/ 5980 w 10000"/>
                <a:gd name="connsiteY262" fmla="*/ 805 h 10000"/>
                <a:gd name="connsiteX263" fmla="*/ 5880 w 10000"/>
                <a:gd name="connsiteY263" fmla="*/ 739 h 10000"/>
                <a:gd name="connsiteX264" fmla="*/ 5753 w 10000"/>
                <a:gd name="connsiteY264" fmla="*/ 705 h 10000"/>
                <a:gd name="connsiteX265" fmla="*/ 5618 w 10000"/>
                <a:gd name="connsiteY265" fmla="*/ 715 h 10000"/>
                <a:gd name="connsiteX266" fmla="*/ 5301 w 10000"/>
                <a:gd name="connsiteY266" fmla="*/ 866 h 10000"/>
                <a:gd name="connsiteX267" fmla="*/ 5218 w 10000"/>
                <a:gd name="connsiteY267" fmla="*/ 1017 h 10000"/>
                <a:gd name="connsiteX268" fmla="*/ 4978 w 10000"/>
                <a:gd name="connsiteY268" fmla="*/ 1153 h 10000"/>
                <a:gd name="connsiteX269" fmla="*/ 4935 w 10000"/>
                <a:gd name="connsiteY269" fmla="*/ 1222 h 10000"/>
                <a:gd name="connsiteX270" fmla="*/ 5061 w 10000"/>
                <a:gd name="connsiteY270" fmla="*/ 1344 h 10000"/>
                <a:gd name="connsiteX271" fmla="*/ 5074 w 10000"/>
                <a:gd name="connsiteY271" fmla="*/ 1412 h 10000"/>
                <a:gd name="connsiteX272" fmla="*/ 4421 w 10000"/>
                <a:gd name="connsiteY272" fmla="*/ 1813 h 10000"/>
                <a:gd name="connsiteX273" fmla="*/ 4220 w 10000"/>
                <a:gd name="connsiteY273" fmla="*/ 2070 h 10000"/>
                <a:gd name="connsiteX274" fmla="*/ 4003 w 10000"/>
                <a:gd name="connsiteY274" fmla="*/ 2135 h 10000"/>
                <a:gd name="connsiteX275" fmla="*/ 3868 w 10000"/>
                <a:gd name="connsiteY275" fmla="*/ 2131 h 10000"/>
                <a:gd name="connsiteX276" fmla="*/ 3785 w 10000"/>
                <a:gd name="connsiteY276" fmla="*/ 2153 h 10000"/>
                <a:gd name="connsiteX277" fmla="*/ 3558 w 10000"/>
                <a:gd name="connsiteY277" fmla="*/ 2793 h 10000"/>
                <a:gd name="connsiteX278" fmla="*/ 3036 w 10000"/>
                <a:gd name="connsiteY278" fmla="*/ 3166 h 10000"/>
                <a:gd name="connsiteX279" fmla="*/ 3040 w 10000"/>
                <a:gd name="connsiteY279" fmla="*/ 3225 h 10000"/>
                <a:gd name="connsiteX280" fmla="*/ 3271 w 10000"/>
                <a:gd name="connsiteY280" fmla="*/ 3392 h 10000"/>
                <a:gd name="connsiteX281" fmla="*/ 3197 w 10000"/>
                <a:gd name="connsiteY281" fmla="*/ 3573 h 10000"/>
                <a:gd name="connsiteX282" fmla="*/ 3062 w 10000"/>
                <a:gd name="connsiteY282" fmla="*/ 3640 h 10000"/>
                <a:gd name="connsiteX283" fmla="*/ 2657 w 10000"/>
                <a:gd name="connsiteY283" fmla="*/ 3595 h 10000"/>
                <a:gd name="connsiteX284" fmla="*/ 2378 w 10000"/>
                <a:gd name="connsiteY284" fmla="*/ 3620 h 10000"/>
                <a:gd name="connsiteX285" fmla="*/ 2152 w 10000"/>
                <a:gd name="connsiteY285" fmla="*/ 3673 h 10000"/>
                <a:gd name="connsiteX286" fmla="*/ 1790 w 10000"/>
                <a:gd name="connsiteY286" fmla="*/ 3840 h 10000"/>
                <a:gd name="connsiteX287" fmla="*/ 1598 w 10000"/>
                <a:gd name="connsiteY287" fmla="*/ 4042 h 10000"/>
                <a:gd name="connsiteX288" fmla="*/ 1616 w 10000"/>
                <a:gd name="connsiteY288" fmla="*/ 4154 h 10000"/>
                <a:gd name="connsiteX289" fmla="*/ 1681 w 10000"/>
                <a:gd name="connsiteY289" fmla="*/ 4241 h 10000"/>
                <a:gd name="connsiteX290" fmla="*/ 1733 w 10000"/>
                <a:gd name="connsiteY290" fmla="*/ 4276 h 10000"/>
                <a:gd name="connsiteX291" fmla="*/ 1638 w 10000"/>
                <a:gd name="connsiteY291" fmla="*/ 4331 h 10000"/>
                <a:gd name="connsiteX292" fmla="*/ 1433 w 10000"/>
                <a:gd name="connsiteY292" fmla="*/ 4710 h 10000"/>
                <a:gd name="connsiteX293" fmla="*/ 1472 w 10000"/>
                <a:gd name="connsiteY293" fmla="*/ 4732 h 10000"/>
                <a:gd name="connsiteX294" fmla="*/ 1503 w 10000"/>
                <a:gd name="connsiteY294" fmla="*/ 4828 h 10000"/>
                <a:gd name="connsiteX295" fmla="*/ 1407 w 10000"/>
                <a:gd name="connsiteY295" fmla="*/ 5227 h 10000"/>
                <a:gd name="connsiteX296" fmla="*/ 1503 w 10000"/>
                <a:gd name="connsiteY296" fmla="*/ 5329 h 10000"/>
                <a:gd name="connsiteX297" fmla="*/ 1764 w 10000"/>
                <a:gd name="connsiteY297" fmla="*/ 5441 h 10000"/>
                <a:gd name="connsiteX298" fmla="*/ 1777 w 10000"/>
                <a:gd name="connsiteY298" fmla="*/ 5578 h 10000"/>
                <a:gd name="connsiteX299" fmla="*/ 1664 w 10000"/>
                <a:gd name="connsiteY299" fmla="*/ 5690 h 10000"/>
                <a:gd name="connsiteX300" fmla="*/ 1503 w 10000"/>
                <a:gd name="connsiteY300" fmla="*/ 5759 h 10000"/>
                <a:gd name="connsiteX301" fmla="*/ 1289 w 10000"/>
                <a:gd name="connsiteY301" fmla="*/ 5787 h 10000"/>
                <a:gd name="connsiteX302" fmla="*/ 1233 w 10000"/>
                <a:gd name="connsiteY302" fmla="*/ 5826 h 10000"/>
                <a:gd name="connsiteX303" fmla="*/ 1359 w 10000"/>
                <a:gd name="connsiteY303" fmla="*/ 5920 h 10000"/>
                <a:gd name="connsiteX304" fmla="*/ 1429 w 10000"/>
                <a:gd name="connsiteY304" fmla="*/ 6142 h 10000"/>
                <a:gd name="connsiteX305" fmla="*/ 1267 w 10000"/>
                <a:gd name="connsiteY305" fmla="*/ 6333 h 10000"/>
                <a:gd name="connsiteX306" fmla="*/ 1324 w 10000"/>
                <a:gd name="connsiteY306" fmla="*/ 6392 h 10000"/>
                <a:gd name="connsiteX307" fmla="*/ 1272 w 10000"/>
                <a:gd name="connsiteY307" fmla="*/ 6492 h 10000"/>
                <a:gd name="connsiteX308" fmla="*/ 1167 w 10000"/>
                <a:gd name="connsiteY308" fmla="*/ 6561 h 10000"/>
                <a:gd name="connsiteX309" fmla="*/ 758 w 10000"/>
                <a:gd name="connsiteY309" fmla="*/ 6614 h 10000"/>
                <a:gd name="connsiteX310" fmla="*/ 732 w 10000"/>
                <a:gd name="connsiteY310" fmla="*/ 6706 h 10000"/>
                <a:gd name="connsiteX311" fmla="*/ 510 w 10000"/>
                <a:gd name="connsiteY311" fmla="*/ 6843 h 10000"/>
                <a:gd name="connsiteX312" fmla="*/ 540 w 10000"/>
                <a:gd name="connsiteY312" fmla="*/ 7040 h 10000"/>
                <a:gd name="connsiteX313" fmla="*/ 353 w 10000"/>
                <a:gd name="connsiteY313" fmla="*/ 7293 h 10000"/>
                <a:gd name="connsiteX314" fmla="*/ 226 w 10000"/>
                <a:gd name="connsiteY314" fmla="*/ 7323 h 10000"/>
                <a:gd name="connsiteX315" fmla="*/ 174 w 10000"/>
                <a:gd name="connsiteY315" fmla="*/ 7262 h 10000"/>
                <a:gd name="connsiteX316" fmla="*/ 109 w 10000"/>
                <a:gd name="connsiteY316" fmla="*/ 7354 h 10000"/>
                <a:gd name="connsiteX317" fmla="*/ 152 w 10000"/>
                <a:gd name="connsiteY317" fmla="*/ 7197 h 10000"/>
                <a:gd name="connsiteX318" fmla="*/ 126 w 10000"/>
                <a:gd name="connsiteY318"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815 w 10000"/>
                <a:gd name="connsiteY207" fmla="*/ 2548 h 10000"/>
                <a:gd name="connsiteX208" fmla="*/ 8855 w 10000"/>
                <a:gd name="connsiteY208" fmla="*/ 2341 h 10000"/>
                <a:gd name="connsiteX209" fmla="*/ 8898 w 10000"/>
                <a:gd name="connsiteY209" fmla="*/ 2332 h 10000"/>
                <a:gd name="connsiteX210" fmla="*/ 8946 w 10000"/>
                <a:gd name="connsiteY210" fmla="*/ 2330 h 10000"/>
                <a:gd name="connsiteX211" fmla="*/ 8946 w 10000"/>
                <a:gd name="connsiteY211" fmla="*/ 2361 h 10000"/>
                <a:gd name="connsiteX212" fmla="*/ 8994 w 10000"/>
                <a:gd name="connsiteY212" fmla="*/ 2389 h 10000"/>
                <a:gd name="connsiteX213" fmla="*/ 9051 w 10000"/>
                <a:gd name="connsiteY213" fmla="*/ 2400 h 10000"/>
                <a:gd name="connsiteX214" fmla="*/ 9094 w 10000"/>
                <a:gd name="connsiteY214" fmla="*/ 2324 h 10000"/>
                <a:gd name="connsiteX215" fmla="*/ 9164 w 10000"/>
                <a:gd name="connsiteY215" fmla="*/ 2347 h 10000"/>
                <a:gd name="connsiteX216" fmla="*/ 9247 w 10000"/>
                <a:gd name="connsiteY216" fmla="*/ 2402 h 10000"/>
                <a:gd name="connsiteX217" fmla="*/ 9286 w 10000"/>
                <a:gd name="connsiteY217" fmla="*/ 2400 h 10000"/>
                <a:gd name="connsiteX218" fmla="*/ 9355 w 10000"/>
                <a:gd name="connsiteY218" fmla="*/ 2428 h 10000"/>
                <a:gd name="connsiteX219" fmla="*/ 9408 w 10000"/>
                <a:gd name="connsiteY219" fmla="*/ 2359 h 10000"/>
                <a:gd name="connsiteX220" fmla="*/ 9717 w 10000"/>
                <a:gd name="connsiteY220" fmla="*/ 2343 h 10000"/>
                <a:gd name="connsiteX221" fmla="*/ 9830 w 10000"/>
                <a:gd name="connsiteY221" fmla="*/ 2369 h 10000"/>
                <a:gd name="connsiteX222" fmla="*/ 9909 w 10000"/>
                <a:gd name="connsiteY222" fmla="*/ 2410 h 10000"/>
                <a:gd name="connsiteX223" fmla="*/ 9948 w 10000"/>
                <a:gd name="connsiteY223" fmla="*/ 2365 h 10000"/>
                <a:gd name="connsiteX224" fmla="*/ 10000 w 10000"/>
                <a:gd name="connsiteY224" fmla="*/ 2349 h 10000"/>
                <a:gd name="connsiteX225" fmla="*/ 9704 w 10000"/>
                <a:gd name="connsiteY225" fmla="*/ 1992 h 10000"/>
                <a:gd name="connsiteX226" fmla="*/ 9743 w 10000"/>
                <a:gd name="connsiteY226" fmla="*/ 1897 h 10000"/>
                <a:gd name="connsiteX227" fmla="*/ 9830 w 10000"/>
                <a:gd name="connsiteY227" fmla="*/ 1819 h 10000"/>
                <a:gd name="connsiteX228" fmla="*/ 9830 w 10000"/>
                <a:gd name="connsiteY228" fmla="*/ 1699 h 10000"/>
                <a:gd name="connsiteX229" fmla="*/ 9556 w 10000"/>
                <a:gd name="connsiteY229" fmla="*/ 1465 h 10000"/>
                <a:gd name="connsiteX230" fmla="*/ 9512 w 10000"/>
                <a:gd name="connsiteY230" fmla="*/ 1379 h 10000"/>
                <a:gd name="connsiteX231" fmla="*/ 9573 w 10000"/>
                <a:gd name="connsiteY231" fmla="*/ 1271 h 10000"/>
                <a:gd name="connsiteX232" fmla="*/ 9543 w 10000"/>
                <a:gd name="connsiteY232" fmla="*/ 1194 h 10000"/>
                <a:gd name="connsiteX233" fmla="*/ 9486 w 10000"/>
                <a:gd name="connsiteY233" fmla="*/ 1159 h 10000"/>
                <a:gd name="connsiteX234" fmla="*/ 9438 w 10000"/>
                <a:gd name="connsiteY234" fmla="*/ 978 h 10000"/>
                <a:gd name="connsiteX235" fmla="*/ 9495 w 10000"/>
                <a:gd name="connsiteY235" fmla="*/ 831 h 10000"/>
                <a:gd name="connsiteX236" fmla="*/ 9077 w 10000"/>
                <a:gd name="connsiteY236" fmla="*/ 517 h 10000"/>
                <a:gd name="connsiteX237" fmla="*/ 8872 w 10000"/>
                <a:gd name="connsiteY237" fmla="*/ 440 h 10000"/>
                <a:gd name="connsiteX238" fmla="*/ 8493 w 10000"/>
                <a:gd name="connsiteY238" fmla="*/ 389 h 10000"/>
                <a:gd name="connsiteX239" fmla="*/ 7709 w 10000"/>
                <a:gd name="connsiteY239" fmla="*/ 26 h 10000"/>
                <a:gd name="connsiteX240" fmla="*/ 7683 w 10000"/>
                <a:gd name="connsiteY240" fmla="*/ 2 h 10000"/>
                <a:gd name="connsiteX241" fmla="*/ 7417 w 10000"/>
                <a:gd name="connsiteY241" fmla="*/ 0 h 10000"/>
                <a:gd name="connsiteX242" fmla="*/ 7356 w 10000"/>
                <a:gd name="connsiteY242" fmla="*/ 14 h 10000"/>
                <a:gd name="connsiteX243" fmla="*/ 7369 w 10000"/>
                <a:gd name="connsiteY243" fmla="*/ 61 h 10000"/>
                <a:gd name="connsiteX244" fmla="*/ 7422 w 10000"/>
                <a:gd name="connsiteY244" fmla="*/ 86 h 10000"/>
                <a:gd name="connsiteX245" fmla="*/ 7435 w 10000"/>
                <a:gd name="connsiteY245" fmla="*/ 139 h 10000"/>
                <a:gd name="connsiteX246" fmla="*/ 7417 w 10000"/>
                <a:gd name="connsiteY246" fmla="*/ 181 h 10000"/>
                <a:gd name="connsiteX247" fmla="*/ 7369 w 10000"/>
                <a:gd name="connsiteY247" fmla="*/ 208 h 10000"/>
                <a:gd name="connsiteX248" fmla="*/ 7334 w 10000"/>
                <a:gd name="connsiteY248" fmla="*/ 283 h 10000"/>
                <a:gd name="connsiteX249" fmla="*/ 7269 w 10000"/>
                <a:gd name="connsiteY249" fmla="*/ 336 h 10000"/>
                <a:gd name="connsiteX250" fmla="*/ 7282 w 10000"/>
                <a:gd name="connsiteY250" fmla="*/ 387 h 10000"/>
                <a:gd name="connsiteX251" fmla="*/ 7382 w 10000"/>
                <a:gd name="connsiteY251" fmla="*/ 434 h 10000"/>
                <a:gd name="connsiteX252" fmla="*/ 7317 w 10000"/>
                <a:gd name="connsiteY252" fmla="*/ 475 h 10000"/>
                <a:gd name="connsiteX253" fmla="*/ 7221 w 10000"/>
                <a:gd name="connsiteY253" fmla="*/ 485 h 10000"/>
                <a:gd name="connsiteX254" fmla="*/ 6420 w 10000"/>
                <a:gd name="connsiteY254" fmla="*/ 387 h 10000"/>
                <a:gd name="connsiteX255" fmla="*/ 6324 w 10000"/>
                <a:gd name="connsiteY255" fmla="*/ 395 h 10000"/>
                <a:gd name="connsiteX256" fmla="*/ 6267 w 10000"/>
                <a:gd name="connsiteY256" fmla="*/ 414 h 10000"/>
                <a:gd name="connsiteX257" fmla="*/ 6211 w 10000"/>
                <a:gd name="connsiteY257" fmla="*/ 462 h 10000"/>
                <a:gd name="connsiteX258" fmla="*/ 6220 w 10000"/>
                <a:gd name="connsiteY258" fmla="*/ 581 h 10000"/>
                <a:gd name="connsiteX259" fmla="*/ 6132 w 10000"/>
                <a:gd name="connsiteY259" fmla="*/ 735 h 10000"/>
                <a:gd name="connsiteX260" fmla="*/ 6024 w 10000"/>
                <a:gd name="connsiteY260" fmla="*/ 815 h 10000"/>
                <a:gd name="connsiteX261" fmla="*/ 5980 w 10000"/>
                <a:gd name="connsiteY261" fmla="*/ 805 h 10000"/>
                <a:gd name="connsiteX262" fmla="*/ 5880 w 10000"/>
                <a:gd name="connsiteY262" fmla="*/ 739 h 10000"/>
                <a:gd name="connsiteX263" fmla="*/ 5753 w 10000"/>
                <a:gd name="connsiteY263" fmla="*/ 705 h 10000"/>
                <a:gd name="connsiteX264" fmla="*/ 5618 w 10000"/>
                <a:gd name="connsiteY264" fmla="*/ 715 h 10000"/>
                <a:gd name="connsiteX265" fmla="*/ 5301 w 10000"/>
                <a:gd name="connsiteY265" fmla="*/ 866 h 10000"/>
                <a:gd name="connsiteX266" fmla="*/ 5218 w 10000"/>
                <a:gd name="connsiteY266" fmla="*/ 1017 h 10000"/>
                <a:gd name="connsiteX267" fmla="*/ 4978 w 10000"/>
                <a:gd name="connsiteY267" fmla="*/ 1153 h 10000"/>
                <a:gd name="connsiteX268" fmla="*/ 4935 w 10000"/>
                <a:gd name="connsiteY268" fmla="*/ 1222 h 10000"/>
                <a:gd name="connsiteX269" fmla="*/ 5061 w 10000"/>
                <a:gd name="connsiteY269" fmla="*/ 1344 h 10000"/>
                <a:gd name="connsiteX270" fmla="*/ 5074 w 10000"/>
                <a:gd name="connsiteY270" fmla="*/ 1412 h 10000"/>
                <a:gd name="connsiteX271" fmla="*/ 4421 w 10000"/>
                <a:gd name="connsiteY271" fmla="*/ 1813 h 10000"/>
                <a:gd name="connsiteX272" fmla="*/ 4220 w 10000"/>
                <a:gd name="connsiteY272" fmla="*/ 2070 h 10000"/>
                <a:gd name="connsiteX273" fmla="*/ 4003 w 10000"/>
                <a:gd name="connsiteY273" fmla="*/ 2135 h 10000"/>
                <a:gd name="connsiteX274" fmla="*/ 3868 w 10000"/>
                <a:gd name="connsiteY274" fmla="*/ 2131 h 10000"/>
                <a:gd name="connsiteX275" fmla="*/ 3785 w 10000"/>
                <a:gd name="connsiteY275" fmla="*/ 2153 h 10000"/>
                <a:gd name="connsiteX276" fmla="*/ 3558 w 10000"/>
                <a:gd name="connsiteY276" fmla="*/ 2793 h 10000"/>
                <a:gd name="connsiteX277" fmla="*/ 3036 w 10000"/>
                <a:gd name="connsiteY277" fmla="*/ 3166 h 10000"/>
                <a:gd name="connsiteX278" fmla="*/ 3040 w 10000"/>
                <a:gd name="connsiteY278" fmla="*/ 3225 h 10000"/>
                <a:gd name="connsiteX279" fmla="*/ 3271 w 10000"/>
                <a:gd name="connsiteY279" fmla="*/ 3392 h 10000"/>
                <a:gd name="connsiteX280" fmla="*/ 3197 w 10000"/>
                <a:gd name="connsiteY280" fmla="*/ 3573 h 10000"/>
                <a:gd name="connsiteX281" fmla="*/ 3062 w 10000"/>
                <a:gd name="connsiteY281" fmla="*/ 3640 h 10000"/>
                <a:gd name="connsiteX282" fmla="*/ 2657 w 10000"/>
                <a:gd name="connsiteY282" fmla="*/ 3595 h 10000"/>
                <a:gd name="connsiteX283" fmla="*/ 2378 w 10000"/>
                <a:gd name="connsiteY283" fmla="*/ 3620 h 10000"/>
                <a:gd name="connsiteX284" fmla="*/ 2152 w 10000"/>
                <a:gd name="connsiteY284" fmla="*/ 3673 h 10000"/>
                <a:gd name="connsiteX285" fmla="*/ 1790 w 10000"/>
                <a:gd name="connsiteY285" fmla="*/ 3840 h 10000"/>
                <a:gd name="connsiteX286" fmla="*/ 1598 w 10000"/>
                <a:gd name="connsiteY286" fmla="*/ 4042 h 10000"/>
                <a:gd name="connsiteX287" fmla="*/ 1616 w 10000"/>
                <a:gd name="connsiteY287" fmla="*/ 4154 h 10000"/>
                <a:gd name="connsiteX288" fmla="*/ 1681 w 10000"/>
                <a:gd name="connsiteY288" fmla="*/ 4241 h 10000"/>
                <a:gd name="connsiteX289" fmla="*/ 1733 w 10000"/>
                <a:gd name="connsiteY289" fmla="*/ 4276 h 10000"/>
                <a:gd name="connsiteX290" fmla="*/ 1638 w 10000"/>
                <a:gd name="connsiteY290" fmla="*/ 4331 h 10000"/>
                <a:gd name="connsiteX291" fmla="*/ 1433 w 10000"/>
                <a:gd name="connsiteY291" fmla="*/ 4710 h 10000"/>
                <a:gd name="connsiteX292" fmla="*/ 1472 w 10000"/>
                <a:gd name="connsiteY292" fmla="*/ 4732 h 10000"/>
                <a:gd name="connsiteX293" fmla="*/ 1503 w 10000"/>
                <a:gd name="connsiteY293" fmla="*/ 4828 h 10000"/>
                <a:gd name="connsiteX294" fmla="*/ 1407 w 10000"/>
                <a:gd name="connsiteY294" fmla="*/ 5227 h 10000"/>
                <a:gd name="connsiteX295" fmla="*/ 1503 w 10000"/>
                <a:gd name="connsiteY295" fmla="*/ 5329 h 10000"/>
                <a:gd name="connsiteX296" fmla="*/ 1764 w 10000"/>
                <a:gd name="connsiteY296" fmla="*/ 5441 h 10000"/>
                <a:gd name="connsiteX297" fmla="*/ 1777 w 10000"/>
                <a:gd name="connsiteY297" fmla="*/ 5578 h 10000"/>
                <a:gd name="connsiteX298" fmla="*/ 1664 w 10000"/>
                <a:gd name="connsiteY298" fmla="*/ 5690 h 10000"/>
                <a:gd name="connsiteX299" fmla="*/ 1503 w 10000"/>
                <a:gd name="connsiteY299" fmla="*/ 5759 h 10000"/>
                <a:gd name="connsiteX300" fmla="*/ 1289 w 10000"/>
                <a:gd name="connsiteY300" fmla="*/ 5787 h 10000"/>
                <a:gd name="connsiteX301" fmla="*/ 1233 w 10000"/>
                <a:gd name="connsiteY301" fmla="*/ 5826 h 10000"/>
                <a:gd name="connsiteX302" fmla="*/ 1359 w 10000"/>
                <a:gd name="connsiteY302" fmla="*/ 5920 h 10000"/>
                <a:gd name="connsiteX303" fmla="*/ 1429 w 10000"/>
                <a:gd name="connsiteY303" fmla="*/ 6142 h 10000"/>
                <a:gd name="connsiteX304" fmla="*/ 1267 w 10000"/>
                <a:gd name="connsiteY304" fmla="*/ 6333 h 10000"/>
                <a:gd name="connsiteX305" fmla="*/ 1324 w 10000"/>
                <a:gd name="connsiteY305" fmla="*/ 6392 h 10000"/>
                <a:gd name="connsiteX306" fmla="*/ 1272 w 10000"/>
                <a:gd name="connsiteY306" fmla="*/ 6492 h 10000"/>
                <a:gd name="connsiteX307" fmla="*/ 1167 w 10000"/>
                <a:gd name="connsiteY307" fmla="*/ 6561 h 10000"/>
                <a:gd name="connsiteX308" fmla="*/ 758 w 10000"/>
                <a:gd name="connsiteY308" fmla="*/ 6614 h 10000"/>
                <a:gd name="connsiteX309" fmla="*/ 732 w 10000"/>
                <a:gd name="connsiteY309" fmla="*/ 6706 h 10000"/>
                <a:gd name="connsiteX310" fmla="*/ 510 w 10000"/>
                <a:gd name="connsiteY310" fmla="*/ 6843 h 10000"/>
                <a:gd name="connsiteX311" fmla="*/ 540 w 10000"/>
                <a:gd name="connsiteY311" fmla="*/ 7040 h 10000"/>
                <a:gd name="connsiteX312" fmla="*/ 353 w 10000"/>
                <a:gd name="connsiteY312" fmla="*/ 7293 h 10000"/>
                <a:gd name="connsiteX313" fmla="*/ 226 w 10000"/>
                <a:gd name="connsiteY313" fmla="*/ 7323 h 10000"/>
                <a:gd name="connsiteX314" fmla="*/ 174 w 10000"/>
                <a:gd name="connsiteY314" fmla="*/ 7262 h 10000"/>
                <a:gd name="connsiteX315" fmla="*/ 109 w 10000"/>
                <a:gd name="connsiteY315" fmla="*/ 7354 h 10000"/>
                <a:gd name="connsiteX316" fmla="*/ 152 w 10000"/>
                <a:gd name="connsiteY316" fmla="*/ 7197 h 10000"/>
                <a:gd name="connsiteX317" fmla="*/ 126 w 10000"/>
                <a:gd name="connsiteY317"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855 w 10000"/>
                <a:gd name="connsiteY207" fmla="*/ 2341 h 10000"/>
                <a:gd name="connsiteX208" fmla="*/ 8898 w 10000"/>
                <a:gd name="connsiteY208" fmla="*/ 2332 h 10000"/>
                <a:gd name="connsiteX209" fmla="*/ 8946 w 10000"/>
                <a:gd name="connsiteY209" fmla="*/ 2330 h 10000"/>
                <a:gd name="connsiteX210" fmla="*/ 8946 w 10000"/>
                <a:gd name="connsiteY210" fmla="*/ 2361 h 10000"/>
                <a:gd name="connsiteX211" fmla="*/ 8994 w 10000"/>
                <a:gd name="connsiteY211" fmla="*/ 2389 h 10000"/>
                <a:gd name="connsiteX212" fmla="*/ 9051 w 10000"/>
                <a:gd name="connsiteY212" fmla="*/ 2400 h 10000"/>
                <a:gd name="connsiteX213" fmla="*/ 9094 w 10000"/>
                <a:gd name="connsiteY213" fmla="*/ 2324 h 10000"/>
                <a:gd name="connsiteX214" fmla="*/ 9164 w 10000"/>
                <a:gd name="connsiteY214" fmla="*/ 2347 h 10000"/>
                <a:gd name="connsiteX215" fmla="*/ 9247 w 10000"/>
                <a:gd name="connsiteY215" fmla="*/ 2402 h 10000"/>
                <a:gd name="connsiteX216" fmla="*/ 9286 w 10000"/>
                <a:gd name="connsiteY216" fmla="*/ 2400 h 10000"/>
                <a:gd name="connsiteX217" fmla="*/ 9355 w 10000"/>
                <a:gd name="connsiteY217" fmla="*/ 2428 h 10000"/>
                <a:gd name="connsiteX218" fmla="*/ 9408 w 10000"/>
                <a:gd name="connsiteY218" fmla="*/ 2359 h 10000"/>
                <a:gd name="connsiteX219" fmla="*/ 9717 w 10000"/>
                <a:gd name="connsiteY219" fmla="*/ 2343 h 10000"/>
                <a:gd name="connsiteX220" fmla="*/ 9830 w 10000"/>
                <a:gd name="connsiteY220" fmla="*/ 2369 h 10000"/>
                <a:gd name="connsiteX221" fmla="*/ 9909 w 10000"/>
                <a:gd name="connsiteY221" fmla="*/ 2410 h 10000"/>
                <a:gd name="connsiteX222" fmla="*/ 9948 w 10000"/>
                <a:gd name="connsiteY222" fmla="*/ 2365 h 10000"/>
                <a:gd name="connsiteX223" fmla="*/ 10000 w 10000"/>
                <a:gd name="connsiteY223" fmla="*/ 2349 h 10000"/>
                <a:gd name="connsiteX224" fmla="*/ 9704 w 10000"/>
                <a:gd name="connsiteY224" fmla="*/ 1992 h 10000"/>
                <a:gd name="connsiteX225" fmla="*/ 9743 w 10000"/>
                <a:gd name="connsiteY225" fmla="*/ 1897 h 10000"/>
                <a:gd name="connsiteX226" fmla="*/ 9830 w 10000"/>
                <a:gd name="connsiteY226" fmla="*/ 1819 h 10000"/>
                <a:gd name="connsiteX227" fmla="*/ 9830 w 10000"/>
                <a:gd name="connsiteY227" fmla="*/ 1699 h 10000"/>
                <a:gd name="connsiteX228" fmla="*/ 9556 w 10000"/>
                <a:gd name="connsiteY228" fmla="*/ 1465 h 10000"/>
                <a:gd name="connsiteX229" fmla="*/ 9512 w 10000"/>
                <a:gd name="connsiteY229" fmla="*/ 1379 h 10000"/>
                <a:gd name="connsiteX230" fmla="*/ 9573 w 10000"/>
                <a:gd name="connsiteY230" fmla="*/ 1271 h 10000"/>
                <a:gd name="connsiteX231" fmla="*/ 9543 w 10000"/>
                <a:gd name="connsiteY231" fmla="*/ 1194 h 10000"/>
                <a:gd name="connsiteX232" fmla="*/ 9486 w 10000"/>
                <a:gd name="connsiteY232" fmla="*/ 1159 h 10000"/>
                <a:gd name="connsiteX233" fmla="*/ 9438 w 10000"/>
                <a:gd name="connsiteY233" fmla="*/ 978 h 10000"/>
                <a:gd name="connsiteX234" fmla="*/ 9495 w 10000"/>
                <a:gd name="connsiteY234" fmla="*/ 831 h 10000"/>
                <a:gd name="connsiteX235" fmla="*/ 9077 w 10000"/>
                <a:gd name="connsiteY235" fmla="*/ 517 h 10000"/>
                <a:gd name="connsiteX236" fmla="*/ 8872 w 10000"/>
                <a:gd name="connsiteY236" fmla="*/ 440 h 10000"/>
                <a:gd name="connsiteX237" fmla="*/ 8493 w 10000"/>
                <a:gd name="connsiteY237" fmla="*/ 389 h 10000"/>
                <a:gd name="connsiteX238" fmla="*/ 7709 w 10000"/>
                <a:gd name="connsiteY238" fmla="*/ 26 h 10000"/>
                <a:gd name="connsiteX239" fmla="*/ 7683 w 10000"/>
                <a:gd name="connsiteY239" fmla="*/ 2 h 10000"/>
                <a:gd name="connsiteX240" fmla="*/ 7417 w 10000"/>
                <a:gd name="connsiteY240" fmla="*/ 0 h 10000"/>
                <a:gd name="connsiteX241" fmla="*/ 7356 w 10000"/>
                <a:gd name="connsiteY241" fmla="*/ 14 h 10000"/>
                <a:gd name="connsiteX242" fmla="*/ 7369 w 10000"/>
                <a:gd name="connsiteY242" fmla="*/ 61 h 10000"/>
                <a:gd name="connsiteX243" fmla="*/ 7422 w 10000"/>
                <a:gd name="connsiteY243" fmla="*/ 86 h 10000"/>
                <a:gd name="connsiteX244" fmla="*/ 7435 w 10000"/>
                <a:gd name="connsiteY244" fmla="*/ 139 h 10000"/>
                <a:gd name="connsiteX245" fmla="*/ 7417 w 10000"/>
                <a:gd name="connsiteY245" fmla="*/ 181 h 10000"/>
                <a:gd name="connsiteX246" fmla="*/ 7369 w 10000"/>
                <a:gd name="connsiteY246" fmla="*/ 208 h 10000"/>
                <a:gd name="connsiteX247" fmla="*/ 7334 w 10000"/>
                <a:gd name="connsiteY247" fmla="*/ 283 h 10000"/>
                <a:gd name="connsiteX248" fmla="*/ 7269 w 10000"/>
                <a:gd name="connsiteY248" fmla="*/ 336 h 10000"/>
                <a:gd name="connsiteX249" fmla="*/ 7282 w 10000"/>
                <a:gd name="connsiteY249" fmla="*/ 387 h 10000"/>
                <a:gd name="connsiteX250" fmla="*/ 7382 w 10000"/>
                <a:gd name="connsiteY250" fmla="*/ 434 h 10000"/>
                <a:gd name="connsiteX251" fmla="*/ 7317 w 10000"/>
                <a:gd name="connsiteY251" fmla="*/ 475 h 10000"/>
                <a:gd name="connsiteX252" fmla="*/ 7221 w 10000"/>
                <a:gd name="connsiteY252" fmla="*/ 485 h 10000"/>
                <a:gd name="connsiteX253" fmla="*/ 6420 w 10000"/>
                <a:gd name="connsiteY253" fmla="*/ 387 h 10000"/>
                <a:gd name="connsiteX254" fmla="*/ 6324 w 10000"/>
                <a:gd name="connsiteY254" fmla="*/ 395 h 10000"/>
                <a:gd name="connsiteX255" fmla="*/ 6267 w 10000"/>
                <a:gd name="connsiteY255" fmla="*/ 414 h 10000"/>
                <a:gd name="connsiteX256" fmla="*/ 6211 w 10000"/>
                <a:gd name="connsiteY256" fmla="*/ 462 h 10000"/>
                <a:gd name="connsiteX257" fmla="*/ 6220 w 10000"/>
                <a:gd name="connsiteY257" fmla="*/ 581 h 10000"/>
                <a:gd name="connsiteX258" fmla="*/ 6132 w 10000"/>
                <a:gd name="connsiteY258" fmla="*/ 735 h 10000"/>
                <a:gd name="connsiteX259" fmla="*/ 6024 w 10000"/>
                <a:gd name="connsiteY259" fmla="*/ 815 h 10000"/>
                <a:gd name="connsiteX260" fmla="*/ 5980 w 10000"/>
                <a:gd name="connsiteY260" fmla="*/ 805 h 10000"/>
                <a:gd name="connsiteX261" fmla="*/ 5880 w 10000"/>
                <a:gd name="connsiteY261" fmla="*/ 739 h 10000"/>
                <a:gd name="connsiteX262" fmla="*/ 5753 w 10000"/>
                <a:gd name="connsiteY262" fmla="*/ 705 h 10000"/>
                <a:gd name="connsiteX263" fmla="*/ 5618 w 10000"/>
                <a:gd name="connsiteY263" fmla="*/ 715 h 10000"/>
                <a:gd name="connsiteX264" fmla="*/ 5301 w 10000"/>
                <a:gd name="connsiteY264" fmla="*/ 866 h 10000"/>
                <a:gd name="connsiteX265" fmla="*/ 5218 w 10000"/>
                <a:gd name="connsiteY265" fmla="*/ 1017 h 10000"/>
                <a:gd name="connsiteX266" fmla="*/ 4978 w 10000"/>
                <a:gd name="connsiteY266" fmla="*/ 1153 h 10000"/>
                <a:gd name="connsiteX267" fmla="*/ 4935 w 10000"/>
                <a:gd name="connsiteY267" fmla="*/ 1222 h 10000"/>
                <a:gd name="connsiteX268" fmla="*/ 5061 w 10000"/>
                <a:gd name="connsiteY268" fmla="*/ 1344 h 10000"/>
                <a:gd name="connsiteX269" fmla="*/ 5074 w 10000"/>
                <a:gd name="connsiteY269" fmla="*/ 1412 h 10000"/>
                <a:gd name="connsiteX270" fmla="*/ 4421 w 10000"/>
                <a:gd name="connsiteY270" fmla="*/ 1813 h 10000"/>
                <a:gd name="connsiteX271" fmla="*/ 4220 w 10000"/>
                <a:gd name="connsiteY271" fmla="*/ 2070 h 10000"/>
                <a:gd name="connsiteX272" fmla="*/ 4003 w 10000"/>
                <a:gd name="connsiteY272" fmla="*/ 2135 h 10000"/>
                <a:gd name="connsiteX273" fmla="*/ 3868 w 10000"/>
                <a:gd name="connsiteY273" fmla="*/ 2131 h 10000"/>
                <a:gd name="connsiteX274" fmla="*/ 3785 w 10000"/>
                <a:gd name="connsiteY274" fmla="*/ 2153 h 10000"/>
                <a:gd name="connsiteX275" fmla="*/ 3558 w 10000"/>
                <a:gd name="connsiteY275" fmla="*/ 2793 h 10000"/>
                <a:gd name="connsiteX276" fmla="*/ 3036 w 10000"/>
                <a:gd name="connsiteY276" fmla="*/ 3166 h 10000"/>
                <a:gd name="connsiteX277" fmla="*/ 3040 w 10000"/>
                <a:gd name="connsiteY277" fmla="*/ 3225 h 10000"/>
                <a:gd name="connsiteX278" fmla="*/ 3271 w 10000"/>
                <a:gd name="connsiteY278" fmla="*/ 3392 h 10000"/>
                <a:gd name="connsiteX279" fmla="*/ 3197 w 10000"/>
                <a:gd name="connsiteY279" fmla="*/ 3573 h 10000"/>
                <a:gd name="connsiteX280" fmla="*/ 3062 w 10000"/>
                <a:gd name="connsiteY280" fmla="*/ 3640 h 10000"/>
                <a:gd name="connsiteX281" fmla="*/ 2657 w 10000"/>
                <a:gd name="connsiteY281" fmla="*/ 3595 h 10000"/>
                <a:gd name="connsiteX282" fmla="*/ 2378 w 10000"/>
                <a:gd name="connsiteY282" fmla="*/ 3620 h 10000"/>
                <a:gd name="connsiteX283" fmla="*/ 2152 w 10000"/>
                <a:gd name="connsiteY283" fmla="*/ 3673 h 10000"/>
                <a:gd name="connsiteX284" fmla="*/ 1790 w 10000"/>
                <a:gd name="connsiteY284" fmla="*/ 3840 h 10000"/>
                <a:gd name="connsiteX285" fmla="*/ 1598 w 10000"/>
                <a:gd name="connsiteY285" fmla="*/ 4042 h 10000"/>
                <a:gd name="connsiteX286" fmla="*/ 1616 w 10000"/>
                <a:gd name="connsiteY286" fmla="*/ 4154 h 10000"/>
                <a:gd name="connsiteX287" fmla="*/ 1681 w 10000"/>
                <a:gd name="connsiteY287" fmla="*/ 4241 h 10000"/>
                <a:gd name="connsiteX288" fmla="*/ 1733 w 10000"/>
                <a:gd name="connsiteY288" fmla="*/ 4276 h 10000"/>
                <a:gd name="connsiteX289" fmla="*/ 1638 w 10000"/>
                <a:gd name="connsiteY289" fmla="*/ 4331 h 10000"/>
                <a:gd name="connsiteX290" fmla="*/ 1433 w 10000"/>
                <a:gd name="connsiteY290" fmla="*/ 4710 h 10000"/>
                <a:gd name="connsiteX291" fmla="*/ 1472 w 10000"/>
                <a:gd name="connsiteY291" fmla="*/ 4732 h 10000"/>
                <a:gd name="connsiteX292" fmla="*/ 1503 w 10000"/>
                <a:gd name="connsiteY292" fmla="*/ 4828 h 10000"/>
                <a:gd name="connsiteX293" fmla="*/ 1407 w 10000"/>
                <a:gd name="connsiteY293" fmla="*/ 5227 h 10000"/>
                <a:gd name="connsiteX294" fmla="*/ 1503 w 10000"/>
                <a:gd name="connsiteY294" fmla="*/ 5329 h 10000"/>
                <a:gd name="connsiteX295" fmla="*/ 1764 w 10000"/>
                <a:gd name="connsiteY295" fmla="*/ 5441 h 10000"/>
                <a:gd name="connsiteX296" fmla="*/ 1777 w 10000"/>
                <a:gd name="connsiteY296" fmla="*/ 5578 h 10000"/>
                <a:gd name="connsiteX297" fmla="*/ 1664 w 10000"/>
                <a:gd name="connsiteY297" fmla="*/ 5690 h 10000"/>
                <a:gd name="connsiteX298" fmla="*/ 1503 w 10000"/>
                <a:gd name="connsiteY298" fmla="*/ 5759 h 10000"/>
                <a:gd name="connsiteX299" fmla="*/ 1289 w 10000"/>
                <a:gd name="connsiteY299" fmla="*/ 5787 h 10000"/>
                <a:gd name="connsiteX300" fmla="*/ 1233 w 10000"/>
                <a:gd name="connsiteY300" fmla="*/ 5826 h 10000"/>
                <a:gd name="connsiteX301" fmla="*/ 1359 w 10000"/>
                <a:gd name="connsiteY301" fmla="*/ 5920 h 10000"/>
                <a:gd name="connsiteX302" fmla="*/ 1429 w 10000"/>
                <a:gd name="connsiteY302" fmla="*/ 6142 h 10000"/>
                <a:gd name="connsiteX303" fmla="*/ 1267 w 10000"/>
                <a:gd name="connsiteY303" fmla="*/ 6333 h 10000"/>
                <a:gd name="connsiteX304" fmla="*/ 1324 w 10000"/>
                <a:gd name="connsiteY304" fmla="*/ 6392 h 10000"/>
                <a:gd name="connsiteX305" fmla="*/ 1272 w 10000"/>
                <a:gd name="connsiteY305" fmla="*/ 6492 h 10000"/>
                <a:gd name="connsiteX306" fmla="*/ 1167 w 10000"/>
                <a:gd name="connsiteY306" fmla="*/ 6561 h 10000"/>
                <a:gd name="connsiteX307" fmla="*/ 758 w 10000"/>
                <a:gd name="connsiteY307" fmla="*/ 6614 h 10000"/>
                <a:gd name="connsiteX308" fmla="*/ 732 w 10000"/>
                <a:gd name="connsiteY308" fmla="*/ 6706 h 10000"/>
                <a:gd name="connsiteX309" fmla="*/ 510 w 10000"/>
                <a:gd name="connsiteY309" fmla="*/ 6843 h 10000"/>
                <a:gd name="connsiteX310" fmla="*/ 540 w 10000"/>
                <a:gd name="connsiteY310" fmla="*/ 7040 h 10000"/>
                <a:gd name="connsiteX311" fmla="*/ 353 w 10000"/>
                <a:gd name="connsiteY311" fmla="*/ 7293 h 10000"/>
                <a:gd name="connsiteX312" fmla="*/ 226 w 10000"/>
                <a:gd name="connsiteY312" fmla="*/ 7323 h 10000"/>
                <a:gd name="connsiteX313" fmla="*/ 174 w 10000"/>
                <a:gd name="connsiteY313" fmla="*/ 7262 h 10000"/>
                <a:gd name="connsiteX314" fmla="*/ 109 w 10000"/>
                <a:gd name="connsiteY314" fmla="*/ 7354 h 10000"/>
                <a:gd name="connsiteX315" fmla="*/ 152 w 10000"/>
                <a:gd name="connsiteY315" fmla="*/ 7197 h 10000"/>
                <a:gd name="connsiteX316" fmla="*/ 126 w 10000"/>
                <a:gd name="connsiteY316"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855 w 10000"/>
                <a:gd name="connsiteY207" fmla="*/ 2341 h 10000"/>
                <a:gd name="connsiteX208" fmla="*/ 8898 w 10000"/>
                <a:gd name="connsiteY208" fmla="*/ 2332 h 10000"/>
                <a:gd name="connsiteX209" fmla="*/ 8946 w 10000"/>
                <a:gd name="connsiteY209" fmla="*/ 2330 h 10000"/>
                <a:gd name="connsiteX210" fmla="*/ 8946 w 10000"/>
                <a:gd name="connsiteY210" fmla="*/ 2361 h 10000"/>
                <a:gd name="connsiteX211" fmla="*/ 9051 w 10000"/>
                <a:gd name="connsiteY211" fmla="*/ 2400 h 10000"/>
                <a:gd name="connsiteX212" fmla="*/ 9094 w 10000"/>
                <a:gd name="connsiteY212" fmla="*/ 2324 h 10000"/>
                <a:gd name="connsiteX213" fmla="*/ 9164 w 10000"/>
                <a:gd name="connsiteY213" fmla="*/ 2347 h 10000"/>
                <a:gd name="connsiteX214" fmla="*/ 9247 w 10000"/>
                <a:gd name="connsiteY214" fmla="*/ 2402 h 10000"/>
                <a:gd name="connsiteX215" fmla="*/ 9286 w 10000"/>
                <a:gd name="connsiteY215" fmla="*/ 2400 h 10000"/>
                <a:gd name="connsiteX216" fmla="*/ 9355 w 10000"/>
                <a:gd name="connsiteY216" fmla="*/ 2428 h 10000"/>
                <a:gd name="connsiteX217" fmla="*/ 9408 w 10000"/>
                <a:gd name="connsiteY217" fmla="*/ 2359 h 10000"/>
                <a:gd name="connsiteX218" fmla="*/ 9717 w 10000"/>
                <a:gd name="connsiteY218" fmla="*/ 2343 h 10000"/>
                <a:gd name="connsiteX219" fmla="*/ 9830 w 10000"/>
                <a:gd name="connsiteY219" fmla="*/ 2369 h 10000"/>
                <a:gd name="connsiteX220" fmla="*/ 9909 w 10000"/>
                <a:gd name="connsiteY220" fmla="*/ 2410 h 10000"/>
                <a:gd name="connsiteX221" fmla="*/ 9948 w 10000"/>
                <a:gd name="connsiteY221" fmla="*/ 2365 h 10000"/>
                <a:gd name="connsiteX222" fmla="*/ 10000 w 10000"/>
                <a:gd name="connsiteY222" fmla="*/ 2349 h 10000"/>
                <a:gd name="connsiteX223" fmla="*/ 9704 w 10000"/>
                <a:gd name="connsiteY223" fmla="*/ 1992 h 10000"/>
                <a:gd name="connsiteX224" fmla="*/ 9743 w 10000"/>
                <a:gd name="connsiteY224" fmla="*/ 1897 h 10000"/>
                <a:gd name="connsiteX225" fmla="*/ 9830 w 10000"/>
                <a:gd name="connsiteY225" fmla="*/ 1819 h 10000"/>
                <a:gd name="connsiteX226" fmla="*/ 9830 w 10000"/>
                <a:gd name="connsiteY226" fmla="*/ 1699 h 10000"/>
                <a:gd name="connsiteX227" fmla="*/ 9556 w 10000"/>
                <a:gd name="connsiteY227" fmla="*/ 1465 h 10000"/>
                <a:gd name="connsiteX228" fmla="*/ 9512 w 10000"/>
                <a:gd name="connsiteY228" fmla="*/ 1379 h 10000"/>
                <a:gd name="connsiteX229" fmla="*/ 9573 w 10000"/>
                <a:gd name="connsiteY229" fmla="*/ 1271 h 10000"/>
                <a:gd name="connsiteX230" fmla="*/ 9543 w 10000"/>
                <a:gd name="connsiteY230" fmla="*/ 1194 h 10000"/>
                <a:gd name="connsiteX231" fmla="*/ 9486 w 10000"/>
                <a:gd name="connsiteY231" fmla="*/ 1159 h 10000"/>
                <a:gd name="connsiteX232" fmla="*/ 9438 w 10000"/>
                <a:gd name="connsiteY232" fmla="*/ 978 h 10000"/>
                <a:gd name="connsiteX233" fmla="*/ 9495 w 10000"/>
                <a:gd name="connsiteY233" fmla="*/ 831 h 10000"/>
                <a:gd name="connsiteX234" fmla="*/ 9077 w 10000"/>
                <a:gd name="connsiteY234" fmla="*/ 517 h 10000"/>
                <a:gd name="connsiteX235" fmla="*/ 8872 w 10000"/>
                <a:gd name="connsiteY235" fmla="*/ 440 h 10000"/>
                <a:gd name="connsiteX236" fmla="*/ 8493 w 10000"/>
                <a:gd name="connsiteY236" fmla="*/ 389 h 10000"/>
                <a:gd name="connsiteX237" fmla="*/ 7709 w 10000"/>
                <a:gd name="connsiteY237" fmla="*/ 26 h 10000"/>
                <a:gd name="connsiteX238" fmla="*/ 7683 w 10000"/>
                <a:gd name="connsiteY238" fmla="*/ 2 h 10000"/>
                <a:gd name="connsiteX239" fmla="*/ 7417 w 10000"/>
                <a:gd name="connsiteY239" fmla="*/ 0 h 10000"/>
                <a:gd name="connsiteX240" fmla="*/ 7356 w 10000"/>
                <a:gd name="connsiteY240" fmla="*/ 14 h 10000"/>
                <a:gd name="connsiteX241" fmla="*/ 7369 w 10000"/>
                <a:gd name="connsiteY241" fmla="*/ 61 h 10000"/>
                <a:gd name="connsiteX242" fmla="*/ 7422 w 10000"/>
                <a:gd name="connsiteY242" fmla="*/ 86 h 10000"/>
                <a:gd name="connsiteX243" fmla="*/ 7435 w 10000"/>
                <a:gd name="connsiteY243" fmla="*/ 139 h 10000"/>
                <a:gd name="connsiteX244" fmla="*/ 7417 w 10000"/>
                <a:gd name="connsiteY244" fmla="*/ 181 h 10000"/>
                <a:gd name="connsiteX245" fmla="*/ 7369 w 10000"/>
                <a:gd name="connsiteY245" fmla="*/ 208 h 10000"/>
                <a:gd name="connsiteX246" fmla="*/ 7334 w 10000"/>
                <a:gd name="connsiteY246" fmla="*/ 283 h 10000"/>
                <a:gd name="connsiteX247" fmla="*/ 7269 w 10000"/>
                <a:gd name="connsiteY247" fmla="*/ 336 h 10000"/>
                <a:gd name="connsiteX248" fmla="*/ 7282 w 10000"/>
                <a:gd name="connsiteY248" fmla="*/ 387 h 10000"/>
                <a:gd name="connsiteX249" fmla="*/ 7382 w 10000"/>
                <a:gd name="connsiteY249" fmla="*/ 434 h 10000"/>
                <a:gd name="connsiteX250" fmla="*/ 7317 w 10000"/>
                <a:gd name="connsiteY250" fmla="*/ 475 h 10000"/>
                <a:gd name="connsiteX251" fmla="*/ 7221 w 10000"/>
                <a:gd name="connsiteY251" fmla="*/ 485 h 10000"/>
                <a:gd name="connsiteX252" fmla="*/ 6420 w 10000"/>
                <a:gd name="connsiteY252" fmla="*/ 387 h 10000"/>
                <a:gd name="connsiteX253" fmla="*/ 6324 w 10000"/>
                <a:gd name="connsiteY253" fmla="*/ 395 h 10000"/>
                <a:gd name="connsiteX254" fmla="*/ 6267 w 10000"/>
                <a:gd name="connsiteY254" fmla="*/ 414 h 10000"/>
                <a:gd name="connsiteX255" fmla="*/ 6211 w 10000"/>
                <a:gd name="connsiteY255" fmla="*/ 462 h 10000"/>
                <a:gd name="connsiteX256" fmla="*/ 6220 w 10000"/>
                <a:gd name="connsiteY256" fmla="*/ 581 h 10000"/>
                <a:gd name="connsiteX257" fmla="*/ 6132 w 10000"/>
                <a:gd name="connsiteY257" fmla="*/ 735 h 10000"/>
                <a:gd name="connsiteX258" fmla="*/ 6024 w 10000"/>
                <a:gd name="connsiteY258" fmla="*/ 815 h 10000"/>
                <a:gd name="connsiteX259" fmla="*/ 5980 w 10000"/>
                <a:gd name="connsiteY259" fmla="*/ 805 h 10000"/>
                <a:gd name="connsiteX260" fmla="*/ 5880 w 10000"/>
                <a:gd name="connsiteY260" fmla="*/ 739 h 10000"/>
                <a:gd name="connsiteX261" fmla="*/ 5753 w 10000"/>
                <a:gd name="connsiteY261" fmla="*/ 705 h 10000"/>
                <a:gd name="connsiteX262" fmla="*/ 5618 w 10000"/>
                <a:gd name="connsiteY262" fmla="*/ 715 h 10000"/>
                <a:gd name="connsiteX263" fmla="*/ 5301 w 10000"/>
                <a:gd name="connsiteY263" fmla="*/ 866 h 10000"/>
                <a:gd name="connsiteX264" fmla="*/ 5218 w 10000"/>
                <a:gd name="connsiteY264" fmla="*/ 1017 h 10000"/>
                <a:gd name="connsiteX265" fmla="*/ 4978 w 10000"/>
                <a:gd name="connsiteY265" fmla="*/ 1153 h 10000"/>
                <a:gd name="connsiteX266" fmla="*/ 4935 w 10000"/>
                <a:gd name="connsiteY266" fmla="*/ 1222 h 10000"/>
                <a:gd name="connsiteX267" fmla="*/ 5061 w 10000"/>
                <a:gd name="connsiteY267" fmla="*/ 1344 h 10000"/>
                <a:gd name="connsiteX268" fmla="*/ 5074 w 10000"/>
                <a:gd name="connsiteY268" fmla="*/ 1412 h 10000"/>
                <a:gd name="connsiteX269" fmla="*/ 4421 w 10000"/>
                <a:gd name="connsiteY269" fmla="*/ 1813 h 10000"/>
                <a:gd name="connsiteX270" fmla="*/ 4220 w 10000"/>
                <a:gd name="connsiteY270" fmla="*/ 2070 h 10000"/>
                <a:gd name="connsiteX271" fmla="*/ 4003 w 10000"/>
                <a:gd name="connsiteY271" fmla="*/ 2135 h 10000"/>
                <a:gd name="connsiteX272" fmla="*/ 3868 w 10000"/>
                <a:gd name="connsiteY272" fmla="*/ 2131 h 10000"/>
                <a:gd name="connsiteX273" fmla="*/ 3785 w 10000"/>
                <a:gd name="connsiteY273" fmla="*/ 2153 h 10000"/>
                <a:gd name="connsiteX274" fmla="*/ 3558 w 10000"/>
                <a:gd name="connsiteY274" fmla="*/ 2793 h 10000"/>
                <a:gd name="connsiteX275" fmla="*/ 3036 w 10000"/>
                <a:gd name="connsiteY275" fmla="*/ 3166 h 10000"/>
                <a:gd name="connsiteX276" fmla="*/ 3040 w 10000"/>
                <a:gd name="connsiteY276" fmla="*/ 3225 h 10000"/>
                <a:gd name="connsiteX277" fmla="*/ 3271 w 10000"/>
                <a:gd name="connsiteY277" fmla="*/ 3392 h 10000"/>
                <a:gd name="connsiteX278" fmla="*/ 3197 w 10000"/>
                <a:gd name="connsiteY278" fmla="*/ 3573 h 10000"/>
                <a:gd name="connsiteX279" fmla="*/ 3062 w 10000"/>
                <a:gd name="connsiteY279" fmla="*/ 3640 h 10000"/>
                <a:gd name="connsiteX280" fmla="*/ 2657 w 10000"/>
                <a:gd name="connsiteY280" fmla="*/ 3595 h 10000"/>
                <a:gd name="connsiteX281" fmla="*/ 2378 w 10000"/>
                <a:gd name="connsiteY281" fmla="*/ 3620 h 10000"/>
                <a:gd name="connsiteX282" fmla="*/ 2152 w 10000"/>
                <a:gd name="connsiteY282" fmla="*/ 3673 h 10000"/>
                <a:gd name="connsiteX283" fmla="*/ 1790 w 10000"/>
                <a:gd name="connsiteY283" fmla="*/ 3840 h 10000"/>
                <a:gd name="connsiteX284" fmla="*/ 1598 w 10000"/>
                <a:gd name="connsiteY284" fmla="*/ 4042 h 10000"/>
                <a:gd name="connsiteX285" fmla="*/ 1616 w 10000"/>
                <a:gd name="connsiteY285" fmla="*/ 4154 h 10000"/>
                <a:gd name="connsiteX286" fmla="*/ 1681 w 10000"/>
                <a:gd name="connsiteY286" fmla="*/ 4241 h 10000"/>
                <a:gd name="connsiteX287" fmla="*/ 1733 w 10000"/>
                <a:gd name="connsiteY287" fmla="*/ 4276 h 10000"/>
                <a:gd name="connsiteX288" fmla="*/ 1638 w 10000"/>
                <a:gd name="connsiteY288" fmla="*/ 4331 h 10000"/>
                <a:gd name="connsiteX289" fmla="*/ 1433 w 10000"/>
                <a:gd name="connsiteY289" fmla="*/ 4710 h 10000"/>
                <a:gd name="connsiteX290" fmla="*/ 1472 w 10000"/>
                <a:gd name="connsiteY290" fmla="*/ 4732 h 10000"/>
                <a:gd name="connsiteX291" fmla="*/ 1503 w 10000"/>
                <a:gd name="connsiteY291" fmla="*/ 4828 h 10000"/>
                <a:gd name="connsiteX292" fmla="*/ 1407 w 10000"/>
                <a:gd name="connsiteY292" fmla="*/ 5227 h 10000"/>
                <a:gd name="connsiteX293" fmla="*/ 1503 w 10000"/>
                <a:gd name="connsiteY293" fmla="*/ 5329 h 10000"/>
                <a:gd name="connsiteX294" fmla="*/ 1764 w 10000"/>
                <a:gd name="connsiteY294" fmla="*/ 5441 h 10000"/>
                <a:gd name="connsiteX295" fmla="*/ 1777 w 10000"/>
                <a:gd name="connsiteY295" fmla="*/ 5578 h 10000"/>
                <a:gd name="connsiteX296" fmla="*/ 1664 w 10000"/>
                <a:gd name="connsiteY296" fmla="*/ 5690 h 10000"/>
                <a:gd name="connsiteX297" fmla="*/ 1503 w 10000"/>
                <a:gd name="connsiteY297" fmla="*/ 5759 h 10000"/>
                <a:gd name="connsiteX298" fmla="*/ 1289 w 10000"/>
                <a:gd name="connsiteY298" fmla="*/ 5787 h 10000"/>
                <a:gd name="connsiteX299" fmla="*/ 1233 w 10000"/>
                <a:gd name="connsiteY299" fmla="*/ 5826 h 10000"/>
                <a:gd name="connsiteX300" fmla="*/ 1359 w 10000"/>
                <a:gd name="connsiteY300" fmla="*/ 5920 h 10000"/>
                <a:gd name="connsiteX301" fmla="*/ 1429 w 10000"/>
                <a:gd name="connsiteY301" fmla="*/ 6142 h 10000"/>
                <a:gd name="connsiteX302" fmla="*/ 1267 w 10000"/>
                <a:gd name="connsiteY302" fmla="*/ 6333 h 10000"/>
                <a:gd name="connsiteX303" fmla="*/ 1324 w 10000"/>
                <a:gd name="connsiteY303" fmla="*/ 6392 h 10000"/>
                <a:gd name="connsiteX304" fmla="*/ 1272 w 10000"/>
                <a:gd name="connsiteY304" fmla="*/ 6492 h 10000"/>
                <a:gd name="connsiteX305" fmla="*/ 1167 w 10000"/>
                <a:gd name="connsiteY305" fmla="*/ 6561 h 10000"/>
                <a:gd name="connsiteX306" fmla="*/ 758 w 10000"/>
                <a:gd name="connsiteY306" fmla="*/ 6614 h 10000"/>
                <a:gd name="connsiteX307" fmla="*/ 732 w 10000"/>
                <a:gd name="connsiteY307" fmla="*/ 6706 h 10000"/>
                <a:gd name="connsiteX308" fmla="*/ 510 w 10000"/>
                <a:gd name="connsiteY308" fmla="*/ 6843 h 10000"/>
                <a:gd name="connsiteX309" fmla="*/ 540 w 10000"/>
                <a:gd name="connsiteY309" fmla="*/ 7040 h 10000"/>
                <a:gd name="connsiteX310" fmla="*/ 353 w 10000"/>
                <a:gd name="connsiteY310" fmla="*/ 7293 h 10000"/>
                <a:gd name="connsiteX311" fmla="*/ 226 w 10000"/>
                <a:gd name="connsiteY311" fmla="*/ 7323 h 10000"/>
                <a:gd name="connsiteX312" fmla="*/ 174 w 10000"/>
                <a:gd name="connsiteY312" fmla="*/ 7262 h 10000"/>
                <a:gd name="connsiteX313" fmla="*/ 109 w 10000"/>
                <a:gd name="connsiteY313" fmla="*/ 7354 h 10000"/>
                <a:gd name="connsiteX314" fmla="*/ 152 w 10000"/>
                <a:gd name="connsiteY314" fmla="*/ 7197 h 10000"/>
                <a:gd name="connsiteX315" fmla="*/ 126 w 10000"/>
                <a:gd name="connsiteY315"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855 w 10000"/>
                <a:gd name="connsiteY207" fmla="*/ 2341 h 10000"/>
                <a:gd name="connsiteX208" fmla="*/ 8898 w 10000"/>
                <a:gd name="connsiteY208" fmla="*/ 2332 h 10000"/>
                <a:gd name="connsiteX209" fmla="*/ 8946 w 10000"/>
                <a:gd name="connsiteY209" fmla="*/ 2330 h 10000"/>
                <a:gd name="connsiteX210" fmla="*/ 8946 w 10000"/>
                <a:gd name="connsiteY210" fmla="*/ 2361 h 10000"/>
                <a:gd name="connsiteX211" fmla="*/ 9094 w 10000"/>
                <a:gd name="connsiteY211" fmla="*/ 2324 h 10000"/>
                <a:gd name="connsiteX212" fmla="*/ 9164 w 10000"/>
                <a:gd name="connsiteY212" fmla="*/ 2347 h 10000"/>
                <a:gd name="connsiteX213" fmla="*/ 9247 w 10000"/>
                <a:gd name="connsiteY213" fmla="*/ 2402 h 10000"/>
                <a:gd name="connsiteX214" fmla="*/ 9286 w 10000"/>
                <a:gd name="connsiteY214" fmla="*/ 2400 h 10000"/>
                <a:gd name="connsiteX215" fmla="*/ 9355 w 10000"/>
                <a:gd name="connsiteY215" fmla="*/ 2428 h 10000"/>
                <a:gd name="connsiteX216" fmla="*/ 9408 w 10000"/>
                <a:gd name="connsiteY216" fmla="*/ 2359 h 10000"/>
                <a:gd name="connsiteX217" fmla="*/ 9717 w 10000"/>
                <a:gd name="connsiteY217" fmla="*/ 2343 h 10000"/>
                <a:gd name="connsiteX218" fmla="*/ 9830 w 10000"/>
                <a:gd name="connsiteY218" fmla="*/ 2369 h 10000"/>
                <a:gd name="connsiteX219" fmla="*/ 9909 w 10000"/>
                <a:gd name="connsiteY219" fmla="*/ 2410 h 10000"/>
                <a:gd name="connsiteX220" fmla="*/ 9948 w 10000"/>
                <a:gd name="connsiteY220" fmla="*/ 2365 h 10000"/>
                <a:gd name="connsiteX221" fmla="*/ 10000 w 10000"/>
                <a:gd name="connsiteY221" fmla="*/ 2349 h 10000"/>
                <a:gd name="connsiteX222" fmla="*/ 9704 w 10000"/>
                <a:gd name="connsiteY222" fmla="*/ 1992 h 10000"/>
                <a:gd name="connsiteX223" fmla="*/ 9743 w 10000"/>
                <a:gd name="connsiteY223" fmla="*/ 1897 h 10000"/>
                <a:gd name="connsiteX224" fmla="*/ 9830 w 10000"/>
                <a:gd name="connsiteY224" fmla="*/ 1819 h 10000"/>
                <a:gd name="connsiteX225" fmla="*/ 9830 w 10000"/>
                <a:gd name="connsiteY225" fmla="*/ 1699 h 10000"/>
                <a:gd name="connsiteX226" fmla="*/ 9556 w 10000"/>
                <a:gd name="connsiteY226" fmla="*/ 1465 h 10000"/>
                <a:gd name="connsiteX227" fmla="*/ 9512 w 10000"/>
                <a:gd name="connsiteY227" fmla="*/ 1379 h 10000"/>
                <a:gd name="connsiteX228" fmla="*/ 9573 w 10000"/>
                <a:gd name="connsiteY228" fmla="*/ 1271 h 10000"/>
                <a:gd name="connsiteX229" fmla="*/ 9543 w 10000"/>
                <a:gd name="connsiteY229" fmla="*/ 1194 h 10000"/>
                <a:gd name="connsiteX230" fmla="*/ 9486 w 10000"/>
                <a:gd name="connsiteY230" fmla="*/ 1159 h 10000"/>
                <a:gd name="connsiteX231" fmla="*/ 9438 w 10000"/>
                <a:gd name="connsiteY231" fmla="*/ 978 h 10000"/>
                <a:gd name="connsiteX232" fmla="*/ 9495 w 10000"/>
                <a:gd name="connsiteY232" fmla="*/ 831 h 10000"/>
                <a:gd name="connsiteX233" fmla="*/ 9077 w 10000"/>
                <a:gd name="connsiteY233" fmla="*/ 517 h 10000"/>
                <a:gd name="connsiteX234" fmla="*/ 8872 w 10000"/>
                <a:gd name="connsiteY234" fmla="*/ 440 h 10000"/>
                <a:gd name="connsiteX235" fmla="*/ 8493 w 10000"/>
                <a:gd name="connsiteY235" fmla="*/ 389 h 10000"/>
                <a:gd name="connsiteX236" fmla="*/ 7709 w 10000"/>
                <a:gd name="connsiteY236" fmla="*/ 26 h 10000"/>
                <a:gd name="connsiteX237" fmla="*/ 7683 w 10000"/>
                <a:gd name="connsiteY237" fmla="*/ 2 h 10000"/>
                <a:gd name="connsiteX238" fmla="*/ 7417 w 10000"/>
                <a:gd name="connsiteY238" fmla="*/ 0 h 10000"/>
                <a:gd name="connsiteX239" fmla="*/ 7356 w 10000"/>
                <a:gd name="connsiteY239" fmla="*/ 14 h 10000"/>
                <a:gd name="connsiteX240" fmla="*/ 7369 w 10000"/>
                <a:gd name="connsiteY240" fmla="*/ 61 h 10000"/>
                <a:gd name="connsiteX241" fmla="*/ 7422 w 10000"/>
                <a:gd name="connsiteY241" fmla="*/ 86 h 10000"/>
                <a:gd name="connsiteX242" fmla="*/ 7435 w 10000"/>
                <a:gd name="connsiteY242" fmla="*/ 139 h 10000"/>
                <a:gd name="connsiteX243" fmla="*/ 7417 w 10000"/>
                <a:gd name="connsiteY243" fmla="*/ 181 h 10000"/>
                <a:gd name="connsiteX244" fmla="*/ 7369 w 10000"/>
                <a:gd name="connsiteY244" fmla="*/ 208 h 10000"/>
                <a:gd name="connsiteX245" fmla="*/ 7334 w 10000"/>
                <a:gd name="connsiteY245" fmla="*/ 283 h 10000"/>
                <a:gd name="connsiteX246" fmla="*/ 7269 w 10000"/>
                <a:gd name="connsiteY246" fmla="*/ 336 h 10000"/>
                <a:gd name="connsiteX247" fmla="*/ 7282 w 10000"/>
                <a:gd name="connsiteY247" fmla="*/ 387 h 10000"/>
                <a:gd name="connsiteX248" fmla="*/ 7382 w 10000"/>
                <a:gd name="connsiteY248" fmla="*/ 434 h 10000"/>
                <a:gd name="connsiteX249" fmla="*/ 7317 w 10000"/>
                <a:gd name="connsiteY249" fmla="*/ 475 h 10000"/>
                <a:gd name="connsiteX250" fmla="*/ 7221 w 10000"/>
                <a:gd name="connsiteY250" fmla="*/ 485 h 10000"/>
                <a:gd name="connsiteX251" fmla="*/ 6420 w 10000"/>
                <a:gd name="connsiteY251" fmla="*/ 387 h 10000"/>
                <a:gd name="connsiteX252" fmla="*/ 6324 w 10000"/>
                <a:gd name="connsiteY252" fmla="*/ 395 h 10000"/>
                <a:gd name="connsiteX253" fmla="*/ 6267 w 10000"/>
                <a:gd name="connsiteY253" fmla="*/ 414 h 10000"/>
                <a:gd name="connsiteX254" fmla="*/ 6211 w 10000"/>
                <a:gd name="connsiteY254" fmla="*/ 462 h 10000"/>
                <a:gd name="connsiteX255" fmla="*/ 6220 w 10000"/>
                <a:gd name="connsiteY255" fmla="*/ 581 h 10000"/>
                <a:gd name="connsiteX256" fmla="*/ 6132 w 10000"/>
                <a:gd name="connsiteY256" fmla="*/ 735 h 10000"/>
                <a:gd name="connsiteX257" fmla="*/ 6024 w 10000"/>
                <a:gd name="connsiteY257" fmla="*/ 815 h 10000"/>
                <a:gd name="connsiteX258" fmla="*/ 5980 w 10000"/>
                <a:gd name="connsiteY258" fmla="*/ 805 h 10000"/>
                <a:gd name="connsiteX259" fmla="*/ 5880 w 10000"/>
                <a:gd name="connsiteY259" fmla="*/ 739 h 10000"/>
                <a:gd name="connsiteX260" fmla="*/ 5753 w 10000"/>
                <a:gd name="connsiteY260" fmla="*/ 705 h 10000"/>
                <a:gd name="connsiteX261" fmla="*/ 5618 w 10000"/>
                <a:gd name="connsiteY261" fmla="*/ 715 h 10000"/>
                <a:gd name="connsiteX262" fmla="*/ 5301 w 10000"/>
                <a:gd name="connsiteY262" fmla="*/ 866 h 10000"/>
                <a:gd name="connsiteX263" fmla="*/ 5218 w 10000"/>
                <a:gd name="connsiteY263" fmla="*/ 1017 h 10000"/>
                <a:gd name="connsiteX264" fmla="*/ 4978 w 10000"/>
                <a:gd name="connsiteY264" fmla="*/ 1153 h 10000"/>
                <a:gd name="connsiteX265" fmla="*/ 4935 w 10000"/>
                <a:gd name="connsiteY265" fmla="*/ 1222 h 10000"/>
                <a:gd name="connsiteX266" fmla="*/ 5061 w 10000"/>
                <a:gd name="connsiteY266" fmla="*/ 1344 h 10000"/>
                <a:gd name="connsiteX267" fmla="*/ 5074 w 10000"/>
                <a:gd name="connsiteY267" fmla="*/ 1412 h 10000"/>
                <a:gd name="connsiteX268" fmla="*/ 4421 w 10000"/>
                <a:gd name="connsiteY268" fmla="*/ 1813 h 10000"/>
                <a:gd name="connsiteX269" fmla="*/ 4220 w 10000"/>
                <a:gd name="connsiteY269" fmla="*/ 2070 h 10000"/>
                <a:gd name="connsiteX270" fmla="*/ 4003 w 10000"/>
                <a:gd name="connsiteY270" fmla="*/ 2135 h 10000"/>
                <a:gd name="connsiteX271" fmla="*/ 3868 w 10000"/>
                <a:gd name="connsiteY271" fmla="*/ 2131 h 10000"/>
                <a:gd name="connsiteX272" fmla="*/ 3785 w 10000"/>
                <a:gd name="connsiteY272" fmla="*/ 2153 h 10000"/>
                <a:gd name="connsiteX273" fmla="*/ 3558 w 10000"/>
                <a:gd name="connsiteY273" fmla="*/ 2793 h 10000"/>
                <a:gd name="connsiteX274" fmla="*/ 3036 w 10000"/>
                <a:gd name="connsiteY274" fmla="*/ 3166 h 10000"/>
                <a:gd name="connsiteX275" fmla="*/ 3040 w 10000"/>
                <a:gd name="connsiteY275" fmla="*/ 3225 h 10000"/>
                <a:gd name="connsiteX276" fmla="*/ 3271 w 10000"/>
                <a:gd name="connsiteY276" fmla="*/ 3392 h 10000"/>
                <a:gd name="connsiteX277" fmla="*/ 3197 w 10000"/>
                <a:gd name="connsiteY277" fmla="*/ 3573 h 10000"/>
                <a:gd name="connsiteX278" fmla="*/ 3062 w 10000"/>
                <a:gd name="connsiteY278" fmla="*/ 3640 h 10000"/>
                <a:gd name="connsiteX279" fmla="*/ 2657 w 10000"/>
                <a:gd name="connsiteY279" fmla="*/ 3595 h 10000"/>
                <a:gd name="connsiteX280" fmla="*/ 2378 w 10000"/>
                <a:gd name="connsiteY280" fmla="*/ 3620 h 10000"/>
                <a:gd name="connsiteX281" fmla="*/ 2152 w 10000"/>
                <a:gd name="connsiteY281" fmla="*/ 3673 h 10000"/>
                <a:gd name="connsiteX282" fmla="*/ 1790 w 10000"/>
                <a:gd name="connsiteY282" fmla="*/ 3840 h 10000"/>
                <a:gd name="connsiteX283" fmla="*/ 1598 w 10000"/>
                <a:gd name="connsiteY283" fmla="*/ 4042 h 10000"/>
                <a:gd name="connsiteX284" fmla="*/ 1616 w 10000"/>
                <a:gd name="connsiteY284" fmla="*/ 4154 h 10000"/>
                <a:gd name="connsiteX285" fmla="*/ 1681 w 10000"/>
                <a:gd name="connsiteY285" fmla="*/ 4241 h 10000"/>
                <a:gd name="connsiteX286" fmla="*/ 1733 w 10000"/>
                <a:gd name="connsiteY286" fmla="*/ 4276 h 10000"/>
                <a:gd name="connsiteX287" fmla="*/ 1638 w 10000"/>
                <a:gd name="connsiteY287" fmla="*/ 4331 h 10000"/>
                <a:gd name="connsiteX288" fmla="*/ 1433 w 10000"/>
                <a:gd name="connsiteY288" fmla="*/ 4710 h 10000"/>
                <a:gd name="connsiteX289" fmla="*/ 1472 w 10000"/>
                <a:gd name="connsiteY289" fmla="*/ 4732 h 10000"/>
                <a:gd name="connsiteX290" fmla="*/ 1503 w 10000"/>
                <a:gd name="connsiteY290" fmla="*/ 4828 h 10000"/>
                <a:gd name="connsiteX291" fmla="*/ 1407 w 10000"/>
                <a:gd name="connsiteY291" fmla="*/ 5227 h 10000"/>
                <a:gd name="connsiteX292" fmla="*/ 1503 w 10000"/>
                <a:gd name="connsiteY292" fmla="*/ 5329 h 10000"/>
                <a:gd name="connsiteX293" fmla="*/ 1764 w 10000"/>
                <a:gd name="connsiteY293" fmla="*/ 5441 h 10000"/>
                <a:gd name="connsiteX294" fmla="*/ 1777 w 10000"/>
                <a:gd name="connsiteY294" fmla="*/ 5578 h 10000"/>
                <a:gd name="connsiteX295" fmla="*/ 1664 w 10000"/>
                <a:gd name="connsiteY295" fmla="*/ 5690 h 10000"/>
                <a:gd name="connsiteX296" fmla="*/ 1503 w 10000"/>
                <a:gd name="connsiteY296" fmla="*/ 5759 h 10000"/>
                <a:gd name="connsiteX297" fmla="*/ 1289 w 10000"/>
                <a:gd name="connsiteY297" fmla="*/ 5787 h 10000"/>
                <a:gd name="connsiteX298" fmla="*/ 1233 w 10000"/>
                <a:gd name="connsiteY298" fmla="*/ 5826 h 10000"/>
                <a:gd name="connsiteX299" fmla="*/ 1359 w 10000"/>
                <a:gd name="connsiteY299" fmla="*/ 5920 h 10000"/>
                <a:gd name="connsiteX300" fmla="*/ 1429 w 10000"/>
                <a:gd name="connsiteY300" fmla="*/ 6142 h 10000"/>
                <a:gd name="connsiteX301" fmla="*/ 1267 w 10000"/>
                <a:gd name="connsiteY301" fmla="*/ 6333 h 10000"/>
                <a:gd name="connsiteX302" fmla="*/ 1324 w 10000"/>
                <a:gd name="connsiteY302" fmla="*/ 6392 h 10000"/>
                <a:gd name="connsiteX303" fmla="*/ 1272 w 10000"/>
                <a:gd name="connsiteY303" fmla="*/ 6492 h 10000"/>
                <a:gd name="connsiteX304" fmla="*/ 1167 w 10000"/>
                <a:gd name="connsiteY304" fmla="*/ 6561 h 10000"/>
                <a:gd name="connsiteX305" fmla="*/ 758 w 10000"/>
                <a:gd name="connsiteY305" fmla="*/ 6614 h 10000"/>
                <a:gd name="connsiteX306" fmla="*/ 732 w 10000"/>
                <a:gd name="connsiteY306" fmla="*/ 6706 h 10000"/>
                <a:gd name="connsiteX307" fmla="*/ 510 w 10000"/>
                <a:gd name="connsiteY307" fmla="*/ 6843 h 10000"/>
                <a:gd name="connsiteX308" fmla="*/ 540 w 10000"/>
                <a:gd name="connsiteY308" fmla="*/ 7040 h 10000"/>
                <a:gd name="connsiteX309" fmla="*/ 353 w 10000"/>
                <a:gd name="connsiteY309" fmla="*/ 7293 h 10000"/>
                <a:gd name="connsiteX310" fmla="*/ 226 w 10000"/>
                <a:gd name="connsiteY310" fmla="*/ 7323 h 10000"/>
                <a:gd name="connsiteX311" fmla="*/ 174 w 10000"/>
                <a:gd name="connsiteY311" fmla="*/ 7262 h 10000"/>
                <a:gd name="connsiteX312" fmla="*/ 109 w 10000"/>
                <a:gd name="connsiteY312" fmla="*/ 7354 h 10000"/>
                <a:gd name="connsiteX313" fmla="*/ 152 w 10000"/>
                <a:gd name="connsiteY313" fmla="*/ 7197 h 10000"/>
                <a:gd name="connsiteX314" fmla="*/ 126 w 10000"/>
                <a:gd name="connsiteY314"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855 w 10000"/>
                <a:gd name="connsiteY207" fmla="*/ 2341 h 10000"/>
                <a:gd name="connsiteX208" fmla="*/ 8898 w 10000"/>
                <a:gd name="connsiteY208" fmla="*/ 2332 h 10000"/>
                <a:gd name="connsiteX209" fmla="*/ 8946 w 10000"/>
                <a:gd name="connsiteY209" fmla="*/ 2330 h 10000"/>
                <a:gd name="connsiteX210" fmla="*/ 8946 w 10000"/>
                <a:gd name="connsiteY210" fmla="*/ 2361 h 10000"/>
                <a:gd name="connsiteX211" fmla="*/ 9094 w 10000"/>
                <a:gd name="connsiteY211" fmla="*/ 2324 h 10000"/>
                <a:gd name="connsiteX212" fmla="*/ 9164 w 10000"/>
                <a:gd name="connsiteY212" fmla="*/ 2347 h 10000"/>
                <a:gd name="connsiteX213" fmla="*/ 9286 w 10000"/>
                <a:gd name="connsiteY213" fmla="*/ 2400 h 10000"/>
                <a:gd name="connsiteX214" fmla="*/ 9355 w 10000"/>
                <a:gd name="connsiteY214" fmla="*/ 2428 h 10000"/>
                <a:gd name="connsiteX215" fmla="*/ 9408 w 10000"/>
                <a:gd name="connsiteY215" fmla="*/ 2359 h 10000"/>
                <a:gd name="connsiteX216" fmla="*/ 9717 w 10000"/>
                <a:gd name="connsiteY216" fmla="*/ 2343 h 10000"/>
                <a:gd name="connsiteX217" fmla="*/ 9830 w 10000"/>
                <a:gd name="connsiteY217" fmla="*/ 2369 h 10000"/>
                <a:gd name="connsiteX218" fmla="*/ 9909 w 10000"/>
                <a:gd name="connsiteY218" fmla="*/ 2410 h 10000"/>
                <a:gd name="connsiteX219" fmla="*/ 9948 w 10000"/>
                <a:gd name="connsiteY219" fmla="*/ 2365 h 10000"/>
                <a:gd name="connsiteX220" fmla="*/ 10000 w 10000"/>
                <a:gd name="connsiteY220" fmla="*/ 2349 h 10000"/>
                <a:gd name="connsiteX221" fmla="*/ 9704 w 10000"/>
                <a:gd name="connsiteY221" fmla="*/ 1992 h 10000"/>
                <a:gd name="connsiteX222" fmla="*/ 9743 w 10000"/>
                <a:gd name="connsiteY222" fmla="*/ 1897 h 10000"/>
                <a:gd name="connsiteX223" fmla="*/ 9830 w 10000"/>
                <a:gd name="connsiteY223" fmla="*/ 1819 h 10000"/>
                <a:gd name="connsiteX224" fmla="*/ 9830 w 10000"/>
                <a:gd name="connsiteY224" fmla="*/ 1699 h 10000"/>
                <a:gd name="connsiteX225" fmla="*/ 9556 w 10000"/>
                <a:gd name="connsiteY225" fmla="*/ 1465 h 10000"/>
                <a:gd name="connsiteX226" fmla="*/ 9512 w 10000"/>
                <a:gd name="connsiteY226" fmla="*/ 1379 h 10000"/>
                <a:gd name="connsiteX227" fmla="*/ 9573 w 10000"/>
                <a:gd name="connsiteY227" fmla="*/ 1271 h 10000"/>
                <a:gd name="connsiteX228" fmla="*/ 9543 w 10000"/>
                <a:gd name="connsiteY228" fmla="*/ 1194 h 10000"/>
                <a:gd name="connsiteX229" fmla="*/ 9486 w 10000"/>
                <a:gd name="connsiteY229" fmla="*/ 1159 h 10000"/>
                <a:gd name="connsiteX230" fmla="*/ 9438 w 10000"/>
                <a:gd name="connsiteY230" fmla="*/ 978 h 10000"/>
                <a:gd name="connsiteX231" fmla="*/ 9495 w 10000"/>
                <a:gd name="connsiteY231" fmla="*/ 831 h 10000"/>
                <a:gd name="connsiteX232" fmla="*/ 9077 w 10000"/>
                <a:gd name="connsiteY232" fmla="*/ 517 h 10000"/>
                <a:gd name="connsiteX233" fmla="*/ 8872 w 10000"/>
                <a:gd name="connsiteY233" fmla="*/ 440 h 10000"/>
                <a:gd name="connsiteX234" fmla="*/ 8493 w 10000"/>
                <a:gd name="connsiteY234" fmla="*/ 389 h 10000"/>
                <a:gd name="connsiteX235" fmla="*/ 7709 w 10000"/>
                <a:gd name="connsiteY235" fmla="*/ 26 h 10000"/>
                <a:gd name="connsiteX236" fmla="*/ 7683 w 10000"/>
                <a:gd name="connsiteY236" fmla="*/ 2 h 10000"/>
                <a:gd name="connsiteX237" fmla="*/ 7417 w 10000"/>
                <a:gd name="connsiteY237" fmla="*/ 0 h 10000"/>
                <a:gd name="connsiteX238" fmla="*/ 7356 w 10000"/>
                <a:gd name="connsiteY238" fmla="*/ 14 h 10000"/>
                <a:gd name="connsiteX239" fmla="*/ 7369 w 10000"/>
                <a:gd name="connsiteY239" fmla="*/ 61 h 10000"/>
                <a:gd name="connsiteX240" fmla="*/ 7422 w 10000"/>
                <a:gd name="connsiteY240" fmla="*/ 86 h 10000"/>
                <a:gd name="connsiteX241" fmla="*/ 7435 w 10000"/>
                <a:gd name="connsiteY241" fmla="*/ 139 h 10000"/>
                <a:gd name="connsiteX242" fmla="*/ 7417 w 10000"/>
                <a:gd name="connsiteY242" fmla="*/ 181 h 10000"/>
                <a:gd name="connsiteX243" fmla="*/ 7369 w 10000"/>
                <a:gd name="connsiteY243" fmla="*/ 208 h 10000"/>
                <a:gd name="connsiteX244" fmla="*/ 7334 w 10000"/>
                <a:gd name="connsiteY244" fmla="*/ 283 h 10000"/>
                <a:gd name="connsiteX245" fmla="*/ 7269 w 10000"/>
                <a:gd name="connsiteY245" fmla="*/ 336 h 10000"/>
                <a:gd name="connsiteX246" fmla="*/ 7282 w 10000"/>
                <a:gd name="connsiteY246" fmla="*/ 387 h 10000"/>
                <a:gd name="connsiteX247" fmla="*/ 7382 w 10000"/>
                <a:gd name="connsiteY247" fmla="*/ 434 h 10000"/>
                <a:gd name="connsiteX248" fmla="*/ 7317 w 10000"/>
                <a:gd name="connsiteY248" fmla="*/ 475 h 10000"/>
                <a:gd name="connsiteX249" fmla="*/ 7221 w 10000"/>
                <a:gd name="connsiteY249" fmla="*/ 485 h 10000"/>
                <a:gd name="connsiteX250" fmla="*/ 6420 w 10000"/>
                <a:gd name="connsiteY250" fmla="*/ 387 h 10000"/>
                <a:gd name="connsiteX251" fmla="*/ 6324 w 10000"/>
                <a:gd name="connsiteY251" fmla="*/ 395 h 10000"/>
                <a:gd name="connsiteX252" fmla="*/ 6267 w 10000"/>
                <a:gd name="connsiteY252" fmla="*/ 414 h 10000"/>
                <a:gd name="connsiteX253" fmla="*/ 6211 w 10000"/>
                <a:gd name="connsiteY253" fmla="*/ 462 h 10000"/>
                <a:gd name="connsiteX254" fmla="*/ 6220 w 10000"/>
                <a:gd name="connsiteY254" fmla="*/ 581 h 10000"/>
                <a:gd name="connsiteX255" fmla="*/ 6132 w 10000"/>
                <a:gd name="connsiteY255" fmla="*/ 735 h 10000"/>
                <a:gd name="connsiteX256" fmla="*/ 6024 w 10000"/>
                <a:gd name="connsiteY256" fmla="*/ 815 h 10000"/>
                <a:gd name="connsiteX257" fmla="*/ 5980 w 10000"/>
                <a:gd name="connsiteY257" fmla="*/ 805 h 10000"/>
                <a:gd name="connsiteX258" fmla="*/ 5880 w 10000"/>
                <a:gd name="connsiteY258" fmla="*/ 739 h 10000"/>
                <a:gd name="connsiteX259" fmla="*/ 5753 w 10000"/>
                <a:gd name="connsiteY259" fmla="*/ 705 h 10000"/>
                <a:gd name="connsiteX260" fmla="*/ 5618 w 10000"/>
                <a:gd name="connsiteY260" fmla="*/ 715 h 10000"/>
                <a:gd name="connsiteX261" fmla="*/ 5301 w 10000"/>
                <a:gd name="connsiteY261" fmla="*/ 866 h 10000"/>
                <a:gd name="connsiteX262" fmla="*/ 5218 w 10000"/>
                <a:gd name="connsiteY262" fmla="*/ 1017 h 10000"/>
                <a:gd name="connsiteX263" fmla="*/ 4978 w 10000"/>
                <a:gd name="connsiteY263" fmla="*/ 1153 h 10000"/>
                <a:gd name="connsiteX264" fmla="*/ 4935 w 10000"/>
                <a:gd name="connsiteY264" fmla="*/ 1222 h 10000"/>
                <a:gd name="connsiteX265" fmla="*/ 5061 w 10000"/>
                <a:gd name="connsiteY265" fmla="*/ 1344 h 10000"/>
                <a:gd name="connsiteX266" fmla="*/ 5074 w 10000"/>
                <a:gd name="connsiteY266" fmla="*/ 1412 h 10000"/>
                <a:gd name="connsiteX267" fmla="*/ 4421 w 10000"/>
                <a:gd name="connsiteY267" fmla="*/ 1813 h 10000"/>
                <a:gd name="connsiteX268" fmla="*/ 4220 w 10000"/>
                <a:gd name="connsiteY268" fmla="*/ 2070 h 10000"/>
                <a:gd name="connsiteX269" fmla="*/ 4003 w 10000"/>
                <a:gd name="connsiteY269" fmla="*/ 2135 h 10000"/>
                <a:gd name="connsiteX270" fmla="*/ 3868 w 10000"/>
                <a:gd name="connsiteY270" fmla="*/ 2131 h 10000"/>
                <a:gd name="connsiteX271" fmla="*/ 3785 w 10000"/>
                <a:gd name="connsiteY271" fmla="*/ 2153 h 10000"/>
                <a:gd name="connsiteX272" fmla="*/ 3558 w 10000"/>
                <a:gd name="connsiteY272" fmla="*/ 2793 h 10000"/>
                <a:gd name="connsiteX273" fmla="*/ 3036 w 10000"/>
                <a:gd name="connsiteY273" fmla="*/ 3166 h 10000"/>
                <a:gd name="connsiteX274" fmla="*/ 3040 w 10000"/>
                <a:gd name="connsiteY274" fmla="*/ 3225 h 10000"/>
                <a:gd name="connsiteX275" fmla="*/ 3271 w 10000"/>
                <a:gd name="connsiteY275" fmla="*/ 3392 h 10000"/>
                <a:gd name="connsiteX276" fmla="*/ 3197 w 10000"/>
                <a:gd name="connsiteY276" fmla="*/ 3573 h 10000"/>
                <a:gd name="connsiteX277" fmla="*/ 3062 w 10000"/>
                <a:gd name="connsiteY277" fmla="*/ 3640 h 10000"/>
                <a:gd name="connsiteX278" fmla="*/ 2657 w 10000"/>
                <a:gd name="connsiteY278" fmla="*/ 3595 h 10000"/>
                <a:gd name="connsiteX279" fmla="*/ 2378 w 10000"/>
                <a:gd name="connsiteY279" fmla="*/ 3620 h 10000"/>
                <a:gd name="connsiteX280" fmla="*/ 2152 w 10000"/>
                <a:gd name="connsiteY280" fmla="*/ 3673 h 10000"/>
                <a:gd name="connsiteX281" fmla="*/ 1790 w 10000"/>
                <a:gd name="connsiteY281" fmla="*/ 3840 h 10000"/>
                <a:gd name="connsiteX282" fmla="*/ 1598 w 10000"/>
                <a:gd name="connsiteY282" fmla="*/ 4042 h 10000"/>
                <a:gd name="connsiteX283" fmla="*/ 1616 w 10000"/>
                <a:gd name="connsiteY283" fmla="*/ 4154 h 10000"/>
                <a:gd name="connsiteX284" fmla="*/ 1681 w 10000"/>
                <a:gd name="connsiteY284" fmla="*/ 4241 h 10000"/>
                <a:gd name="connsiteX285" fmla="*/ 1733 w 10000"/>
                <a:gd name="connsiteY285" fmla="*/ 4276 h 10000"/>
                <a:gd name="connsiteX286" fmla="*/ 1638 w 10000"/>
                <a:gd name="connsiteY286" fmla="*/ 4331 h 10000"/>
                <a:gd name="connsiteX287" fmla="*/ 1433 w 10000"/>
                <a:gd name="connsiteY287" fmla="*/ 4710 h 10000"/>
                <a:gd name="connsiteX288" fmla="*/ 1472 w 10000"/>
                <a:gd name="connsiteY288" fmla="*/ 4732 h 10000"/>
                <a:gd name="connsiteX289" fmla="*/ 1503 w 10000"/>
                <a:gd name="connsiteY289" fmla="*/ 4828 h 10000"/>
                <a:gd name="connsiteX290" fmla="*/ 1407 w 10000"/>
                <a:gd name="connsiteY290" fmla="*/ 5227 h 10000"/>
                <a:gd name="connsiteX291" fmla="*/ 1503 w 10000"/>
                <a:gd name="connsiteY291" fmla="*/ 5329 h 10000"/>
                <a:gd name="connsiteX292" fmla="*/ 1764 w 10000"/>
                <a:gd name="connsiteY292" fmla="*/ 5441 h 10000"/>
                <a:gd name="connsiteX293" fmla="*/ 1777 w 10000"/>
                <a:gd name="connsiteY293" fmla="*/ 5578 h 10000"/>
                <a:gd name="connsiteX294" fmla="*/ 1664 w 10000"/>
                <a:gd name="connsiteY294" fmla="*/ 5690 h 10000"/>
                <a:gd name="connsiteX295" fmla="*/ 1503 w 10000"/>
                <a:gd name="connsiteY295" fmla="*/ 5759 h 10000"/>
                <a:gd name="connsiteX296" fmla="*/ 1289 w 10000"/>
                <a:gd name="connsiteY296" fmla="*/ 5787 h 10000"/>
                <a:gd name="connsiteX297" fmla="*/ 1233 w 10000"/>
                <a:gd name="connsiteY297" fmla="*/ 5826 h 10000"/>
                <a:gd name="connsiteX298" fmla="*/ 1359 w 10000"/>
                <a:gd name="connsiteY298" fmla="*/ 5920 h 10000"/>
                <a:gd name="connsiteX299" fmla="*/ 1429 w 10000"/>
                <a:gd name="connsiteY299" fmla="*/ 6142 h 10000"/>
                <a:gd name="connsiteX300" fmla="*/ 1267 w 10000"/>
                <a:gd name="connsiteY300" fmla="*/ 6333 h 10000"/>
                <a:gd name="connsiteX301" fmla="*/ 1324 w 10000"/>
                <a:gd name="connsiteY301" fmla="*/ 6392 h 10000"/>
                <a:gd name="connsiteX302" fmla="*/ 1272 w 10000"/>
                <a:gd name="connsiteY302" fmla="*/ 6492 h 10000"/>
                <a:gd name="connsiteX303" fmla="*/ 1167 w 10000"/>
                <a:gd name="connsiteY303" fmla="*/ 6561 h 10000"/>
                <a:gd name="connsiteX304" fmla="*/ 758 w 10000"/>
                <a:gd name="connsiteY304" fmla="*/ 6614 h 10000"/>
                <a:gd name="connsiteX305" fmla="*/ 732 w 10000"/>
                <a:gd name="connsiteY305" fmla="*/ 6706 h 10000"/>
                <a:gd name="connsiteX306" fmla="*/ 510 w 10000"/>
                <a:gd name="connsiteY306" fmla="*/ 6843 h 10000"/>
                <a:gd name="connsiteX307" fmla="*/ 540 w 10000"/>
                <a:gd name="connsiteY307" fmla="*/ 7040 h 10000"/>
                <a:gd name="connsiteX308" fmla="*/ 353 w 10000"/>
                <a:gd name="connsiteY308" fmla="*/ 7293 h 10000"/>
                <a:gd name="connsiteX309" fmla="*/ 226 w 10000"/>
                <a:gd name="connsiteY309" fmla="*/ 7323 h 10000"/>
                <a:gd name="connsiteX310" fmla="*/ 174 w 10000"/>
                <a:gd name="connsiteY310" fmla="*/ 7262 h 10000"/>
                <a:gd name="connsiteX311" fmla="*/ 109 w 10000"/>
                <a:gd name="connsiteY311" fmla="*/ 7354 h 10000"/>
                <a:gd name="connsiteX312" fmla="*/ 152 w 10000"/>
                <a:gd name="connsiteY312" fmla="*/ 7197 h 10000"/>
                <a:gd name="connsiteX313" fmla="*/ 126 w 10000"/>
                <a:gd name="connsiteY313"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855 w 10000"/>
                <a:gd name="connsiteY207" fmla="*/ 2341 h 10000"/>
                <a:gd name="connsiteX208" fmla="*/ 8898 w 10000"/>
                <a:gd name="connsiteY208" fmla="*/ 2332 h 10000"/>
                <a:gd name="connsiteX209" fmla="*/ 8946 w 10000"/>
                <a:gd name="connsiteY209" fmla="*/ 2330 h 10000"/>
                <a:gd name="connsiteX210" fmla="*/ 8946 w 10000"/>
                <a:gd name="connsiteY210" fmla="*/ 2361 h 10000"/>
                <a:gd name="connsiteX211" fmla="*/ 9094 w 10000"/>
                <a:gd name="connsiteY211" fmla="*/ 2324 h 10000"/>
                <a:gd name="connsiteX212" fmla="*/ 9164 w 10000"/>
                <a:gd name="connsiteY212" fmla="*/ 2347 h 10000"/>
                <a:gd name="connsiteX213" fmla="*/ 9355 w 10000"/>
                <a:gd name="connsiteY213" fmla="*/ 2428 h 10000"/>
                <a:gd name="connsiteX214" fmla="*/ 9408 w 10000"/>
                <a:gd name="connsiteY214" fmla="*/ 2359 h 10000"/>
                <a:gd name="connsiteX215" fmla="*/ 9717 w 10000"/>
                <a:gd name="connsiteY215" fmla="*/ 2343 h 10000"/>
                <a:gd name="connsiteX216" fmla="*/ 9830 w 10000"/>
                <a:gd name="connsiteY216" fmla="*/ 2369 h 10000"/>
                <a:gd name="connsiteX217" fmla="*/ 9909 w 10000"/>
                <a:gd name="connsiteY217" fmla="*/ 2410 h 10000"/>
                <a:gd name="connsiteX218" fmla="*/ 9948 w 10000"/>
                <a:gd name="connsiteY218" fmla="*/ 2365 h 10000"/>
                <a:gd name="connsiteX219" fmla="*/ 10000 w 10000"/>
                <a:gd name="connsiteY219" fmla="*/ 2349 h 10000"/>
                <a:gd name="connsiteX220" fmla="*/ 9704 w 10000"/>
                <a:gd name="connsiteY220" fmla="*/ 1992 h 10000"/>
                <a:gd name="connsiteX221" fmla="*/ 9743 w 10000"/>
                <a:gd name="connsiteY221" fmla="*/ 1897 h 10000"/>
                <a:gd name="connsiteX222" fmla="*/ 9830 w 10000"/>
                <a:gd name="connsiteY222" fmla="*/ 1819 h 10000"/>
                <a:gd name="connsiteX223" fmla="*/ 9830 w 10000"/>
                <a:gd name="connsiteY223" fmla="*/ 1699 h 10000"/>
                <a:gd name="connsiteX224" fmla="*/ 9556 w 10000"/>
                <a:gd name="connsiteY224" fmla="*/ 1465 h 10000"/>
                <a:gd name="connsiteX225" fmla="*/ 9512 w 10000"/>
                <a:gd name="connsiteY225" fmla="*/ 1379 h 10000"/>
                <a:gd name="connsiteX226" fmla="*/ 9573 w 10000"/>
                <a:gd name="connsiteY226" fmla="*/ 1271 h 10000"/>
                <a:gd name="connsiteX227" fmla="*/ 9543 w 10000"/>
                <a:gd name="connsiteY227" fmla="*/ 1194 h 10000"/>
                <a:gd name="connsiteX228" fmla="*/ 9486 w 10000"/>
                <a:gd name="connsiteY228" fmla="*/ 1159 h 10000"/>
                <a:gd name="connsiteX229" fmla="*/ 9438 w 10000"/>
                <a:gd name="connsiteY229" fmla="*/ 978 h 10000"/>
                <a:gd name="connsiteX230" fmla="*/ 9495 w 10000"/>
                <a:gd name="connsiteY230" fmla="*/ 831 h 10000"/>
                <a:gd name="connsiteX231" fmla="*/ 9077 w 10000"/>
                <a:gd name="connsiteY231" fmla="*/ 517 h 10000"/>
                <a:gd name="connsiteX232" fmla="*/ 8872 w 10000"/>
                <a:gd name="connsiteY232" fmla="*/ 440 h 10000"/>
                <a:gd name="connsiteX233" fmla="*/ 8493 w 10000"/>
                <a:gd name="connsiteY233" fmla="*/ 389 h 10000"/>
                <a:gd name="connsiteX234" fmla="*/ 7709 w 10000"/>
                <a:gd name="connsiteY234" fmla="*/ 26 h 10000"/>
                <a:gd name="connsiteX235" fmla="*/ 7683 w 10000"/>
                <a:gd name="connsiteY235" fmla="*/ 2 h 10000"/>
                <a:gd name="connsiteX236" fmla="*/ 7417 w 10000"/>
                <a:gd name="connsiteY236" fmla="*/ 0 h 10000"/>
                <a:gd name="connsiteX237" fmla="*/ 7356 w 10000"/>
                <a:gd name="connsiteY237" fmla="*/ 14 h 10000"/>
                <a:gd name="connsiteX238" fmla="*/ 7369 w 10000"/>
                <a:gd name="connsiteY238" fmla="*/ 61 h 10000"/>
                <a:gd name="connsiteX239" fmla="*/ 7422 w 10000"/>
                <a:gd name="connsiteY239" fmla="*/ 86 h 10000"/>
                <a:gd name="connsiteX240" fmla="*/ 7435 w 10000"/>
                <a:gd name="connsiteY240" fmla="*/ 139 h 10000"/>
                <a:gd name="connsiteX241" fmla="*/ 7417 w 10000"/>
                <a:gd name="connsiteY241" fmla="*/ 181 h 10000"/>
                <a:gd name="connsiteX242" fmla="*/ 7369 w 10000"/>
                <a:gd name="connsiteY242" fmla="*/ 208 h 10000"/>
                <a:gd name="connsiteX243" fmla="*/ 7334 w 10000"/>
                <a:gd name="connsiteY243" fmla="*/ 283 h 10000"/>
                <a:gd name="connsiteX244" fmla="*/ 7269 w 10000"/>
                <a:gd name="connsiteY244" fmla="*/ 336 h 10000"/>
                <a:gd name="connsiteX245" fmla="*/ 7282 w 10000"/>
                <a:gd name="connsiteY245" fmla="*/ 387 h 10000"/>
                <a:gd name="connsiteX246" fmla="*/ 7382 w 10000"/>
                <a:gd name="connsiteY246" fmla="*/ 434 h 10000"/>
                <a:gd name="connsiteX247" fmla="*/ 7317 w 10000"/>
                <a:gd name="connsiteY247" fmla="*/ 475 h 10000"/>
                <a:gd name="connsiteX248" fmla="*/ 7221 w 10000"/>
                <a:gd name="connsiteY248" fmla="*/ 485 h 10000"/>
                <a:gd name="connsiteX249" fmla="*/ 6420 w 10000"/>
                <a:gd name="connsiteY249" fmla="*/ 387 h 10000"/>
                <a:gd name="connsiteX250" fmla="*/ 6324 w 10000"/>
                <a:gd name="connsiteY250" fmla="*/ 395 h 10000"/>
                <a:gd name="connsiteX251" fmla="*/ 6267 w 10000"/>
                <a:gd name="connsiteY251" fmla="*/ 414 h 10000"/>
                <a:gd name="connsiteX252" fmla="*/ 6211 w 10000"/>
                <a:gd name="connsiteY252" fmla="*/ 462 h 10000"/>
                <a:gd name="connsiteX253" fmla="*/ 6220 w 10000"/>
                <a:gd name="connsiteY253" fmla="*/ 581 h 10000"/>
                <a:gd name="connsiteX254" fmla="*/ 6132 w 10000"/>
                <a:gd name="connsiteY254" fmla="*/ 735 h 10000"/>
                <a:gd name="connsiteX255" fmla="*/ 6024 w 10000"/>
                <a:gd name="connsiteY255" fmla="*/ 815 h 10000"/>
                <a:gd name="connsiteX256" fmla="*/ 5980 w 10000"/>
                <a:gd name="connsiteY256" fmla="*/ 805 h 10000"/>
                <a:gd name="connsiteX257" fmla="*/ 5880 w 10000"/>
                <a:gd name="connsiteY257" fmla="*/ 739 h 10000"/>
                <a:gd name="connsiteX258" fmla="*/ 5753 w 10000"/>
                <a:gd name="connsiteY258" fmla="*/ 705 h 10000"/>
                <a:gd name="connsiteX259" fmla="*/ 5618 w 10000"/>
                <a:gd name="connsiteY259" fmla="*/ 715 h 10000"/>
                <a:gd name="connsiteX260" fmla="*/ 5301 w 10000"/>
                <a:gd name="connsiteY260" fmla="*/ 866 h 10000"/>
                <a:gd name="connsiteX261" fmla="*/ 5218 w 10000"/>
                <a:gd name="connsiteY261" fmla="*/ 1017 h 10000"/>
                <a:gd name="connsiteX262" fmla="*/ 4978 w 10000"/>
                <a:gd name="connsiteY262" fmla="*/ 1153 h 10000"/>
                <a:gd name="connsiteX263" fmla="*/ 4935 w 10000"/>
                <a:gd name="connsiteY263" fmla="*/ 1222 h 10000"/>
                <a:gd name="connsiteX264" fmla="*/ 5061 w 10000"/>
                <a:gd name="connsiteY264" fmla="*/ 1344 h 10000"/>
                <a:gd name="connsiteX265" fmla="*/ 5074 w 10000"/>
                <a:gd name="connsiteY265" fmla="*/ 1412 h 10000"/>
                <a:gd name="connsiteX266" fmla="*/ 4421 w 10000"/>
                <a:gd name="connsiteY266" fmla="*/ 1813 h 10000"/>
                <a:gd name="connsiteX267" fmla="*/ 4220 w 10000"/>
                <a:gd name="connsiteY267" fmla="*/ 2070 h 10000"/>
                <a:gd name="connsiteX268" fmla="*/ 4003 w 10000"/>
                <a:gd name="connsiteY268" fmla="*/ 2135 h 10000"/>
                <a:gd name="connsiteX269" fmla="*/ 3868 w 10000"/>
                <a:gd name="connsiteY269" fmla="*/ 2131 h 10000"/>
                <a:gd name="connsiteX270" fmla="*/ 3785 w 10000"/>
                <a:gd name="connsiteY270" fmla="*/ 2153 h 10000"/>
                <a:gd name="connsiteX271" fmla="*/ 3558 w 10000"/>
                <a:gd name="connsiteY271" fmla="*/ 2793 h 10000"/>
                <a:gd name="connsiteX272" fmla="*/ 3036 w 10000"/>
                <a:gd name="connsiteY272" fmla="*/ 3166 h 10000"/>
                <a:gd name="connsiteX273" fmla="*/ 3040 w 10000"/>
                <a:gd name="connsiteY273" fmla="*/ 3225 h 10000"/>
                <a:gd name="connsiteX274" fmla="*/ 3271 w 10000"/>
                <a:gd name="connsiteY274" fmla="*/ 3392 h 10000"/>
                <a:gd name="connsiteX275" fmla="*/ 3197 w 10000"/>
                <a:gd name="connsiteY275" fmla="*/ 3573 h 10000"/>
                <a:gd name="connsiteX276" fmla="*/ 3062 w 10000"/>
                <a:gd name="connsiteY276" fmla="*/ 3640 h 10000"/>
                <a:gd name="connsiteX277" fmla="*/ 2657 w 10000"/>
                <a:gd name="connsiteY277" fmla="*/ 3595 h 10000"/>
                <a:gd name="connsiteX278" fmla="*/ 2378 w 10000"/>
                <a:gd name="connsiteY278" fmla="*/ 3620 h 10000"/>
                <a:gd name="connsiteX279" fmla="*/ 2152 w 10000"/>
                <a:gd name="connsiteY279" fmla="*/ 3673 h 10000"/>
                <a:gd name="connsiteX280" fmla="*/ 1790 w 10000"/>
                <a:gd name="connsiteY280" fmla="*/ 3840 h 10000"/>
                <a:gd name="connsiteX281" fmla="*/ 1598 w 10000"/>
                <a:gd name="connsiteY281" fmla="*/ 4042 h 10000"/>
                <a:gd name="connsiteX282" fmla="*/ 1616 w 10000"/>
                <a:gd name="connsiteY282" fmla="*/ 4154 h 10000"/>
                <a:gd name="connsiteX283" fmla="*/ 1681 w 10000"/>
                <a:gd name="connsiteY283" fmla="*/ 4241 h 10000"/>
                <a:gd name="connsiteX284" fmla="*/ 1733 w 10000"/>
                <a:gd name="connsiteY284" fmla="*/ 4276 h 10000"/>
                <a:gd name="connsiteX285" fmla="*/ 1638 w 10000"/>
                <a:gd name="connsiteY285" fmla="*/ 4331 h 10000"/>
                <a:gd name="connsiteX286" fmla="*/ 1433 w 10000"/>
                <a:gd name="connsiteY286" fmla="*/ 4710 h 10000"/>
                <a:gd name="connsiteX287" fmla="*/ 1472 w 10000"/>
                <a:gd name="connsiteY287" fmla="*/ 4732 h 10000"/>
                <a:gd name="connsiteX288" fmla="*/ 1503 w 10000"/>
                <a:gd name="connsiteY288" fmla="*/ 4828 h 10000"/>
                <a:gd name="connsiteX289" fmla="*/ 1407 w 10000"/>
                <a:gd name="connsiteY289" fmla="*/ 5227 h 10000"/>
                <a:gd name="connsiteX290" fmla="*/ 1503 w 10000"/>
                <a:gd name="connsiteY290" fmla="*/ 5329 h 10000"/>
                <a:gd name="connsiteX291" fmla="*/ 1764 w 10000"/>
                <a:gd name="connsiteY291" fmla="*/ 5441 h 10000"/>
                <a:gd name="connsiteX292" fmla="*/ 1777 w 10000"/>
                <a:gd name="connsiteY292" fmla="*/ 5578 h 10000"/>
                <a:gd name="connsiteX293" fmla="*/ 1664 w 10000"/>
                <a:gd name="connsiteY293" fmla="*/ 5690 h 10000"/>
                <a:gd name="connsiteX294" fmla="*/ 1503 w 10000"/>
                <a:gd name="connsiteY294" fmla="*/ 5759 h 10000"/>
                <a:gd name="connsiteX295" fmla="*/ 1289 w 10000"/>
                <a:gd name="connsiteY295" fmla="*/ 5787 h 10000"/>
                <a:gd name="connsiteX296" fmla="*/ 1233 w 10000"/>
                <a:gd name="connsiteY296" fmla="*/ 5826 h 10000"/>
                <a:gd name="connsiteX297" fmla="*/ 1359 w 10000"/>
                <a:gd name="connsiteY297" fmla="*/ 5920 h 10000"/>
                <a:gd name="connsiteX298" fmla="*/ 1429 w 10000"/>
                <a:gd name="connsiteY298" fmla="*/ 6142 h 10000"/>
                <a:gd name="connsiteX299" fmla="*/ 1267 w 10000"/>
                <a:gd name="connsiteY299" fmla="*/ 6333 h 10000"/>
                <a:gd name="connsiteX300" fmla="*/ 1324 w 10000"/>
                <a:gd name="connsiteY300" fmla="*/ 6392 h 10000"/>
                <a:gd name="connsiteX301" fmla="*/ 1272 w 10000"/>
                <a:gd name="connsiteY301" fmla="*/ 6492 h 10000"/>
                <a:gd name="connsiteX302" fmla="*/ 1167 w 10000"/>
                <a:gd name="connsiteY302" fmla="*/ 6561 h 10000"/>
                <a:gd name="connsiteX303" fmla="*/ 758 w 10000"/>
                <a:gd name="connsiteY303" fmla="*/ 6614 h 10000"/>
                <a:gd name="connsiteX304" fmla="*/ 732 w 10000"/>
                <a:gd name="connsiteY304" fmla="*/ 6706 h 10000"/>
                <a:gd name="connsiteX305" fmla="*/ 510 w 10000"/>
                <a:gd name="connsiteY305" fmla="*/ 6843 h 10000"/>
                <a:gd name="connsiteX306" fmla="*/ 540 w 10000"/>
                <a:gd name="connsiteY306" fmla="*/ 7040 h 10000"/>
                <a:gd name="connsiteX307" fmla="*/ 353 w 10000"/>
                <a:gd name="connsiteY307" fmla="*/ 7293 h 10000"/>
                <a:gd name="connsiteX308" fmla="*/ 226 w 10000"/>
                <a:gd name="connsiteY308" fmla="*/ 7323 h 10000"/>
                <a:gd name="connsiteX309" fmla="*/ 174 w 10000"/>
                <a:gd name="connsiteY309" fmla="*/ 7262 h 10000"/>
                <a:gd name="connsiteX310" fmla="*/ 109 w 10000"/>
                <a:gd name="connsiteY310" fmla="*/ 7354 h 10000"/>
                <a:gd name="connsiteX311" fmla="*/ 152 w 10000"/>
                <a:gd name="connsiteY311" fmla="*/ 7197 h 10000"/>
                <a:gd name="connsiteX312" fmla="*/ 126 w 10000"/>
                <a:gd name="connsiteY312"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855 w 10000"/>
                <a:gd name="connsiteY207" fmla="*/ 2341 h 10000"/>
                <a:gd name="connsiteX208" fmla="*/ 8898 w 10000"/>
                <a:gd name="connsiteY208" fmla="*/ 2332 h 10000"/>
                <a:gd name="connsiteX209" fmla="*/ 8946 w 10000"/>
                <a:gd name="connsiteY209" fmla="*/ 2330 h 10000"/>
                <a:gd name="connsiteX210" fmla="*/ 8946 w 10000"/>
                <a:gd name="connsiteY210" fmla="*/ 2361 h 10000"/>
                <a:gd name="connsiteX211" fmla="*/ 9094 w 10000"/>
                <a:gd name="connsiteY211" fmla="*/ 2324 h 10000"/>
                <a:gd name="connsiteX212" fmla="*/ 9355 w 10000"/>
                <a:gd name="connsiteY212" fmla="*/ 2428 h 10000"/>
                <a:gd name="connsiteX213" fmla="*/ 9408 w 10000"/>
                <a:gd name="connsiteY213" fmla="*/ 2359 h 10000"/>
                <a:gd name="connsiteX214" fmla="*/ 9717 w 10000"/>
                <a:gd name="connsiteY214" fmla="*/ 2343 h 10000"/>
                <a:gd name="connsiteX215" fmla="*/ 9830 w 10000"/>
                <a:gd name="connsiteY215" fmla="*/ 2369 h 10000"/>
                <a:gd name="connsiteX216" fmla="*/ 9909 w 10000"/>
                <a:gd name="connsiteY216" fmla="*/ 2410 h 10000"/>
                <a:gd name="connsiteX217" fmla="*/ 9948 w 10000"/>
                <a:gd name="connsiteY217" fmla="*/ 2365 h 10000"/>
                <a:gd name="connsiteX218" fmla="*/ 10000 w 10000"/>
                <a:gd name="connsiteY218" fmla="*/ 2349 h 10000"/>
                <a:gd name="connsiteX219" fmla="*/ 9704 w 10000"/>
                <a:gd name="connsiteY219" fmla="*/ 1992 h 10000"/>
                <a:gd name="connsiteX220" fmla="*/ 9743 w 10000"/>
                <a:gd name="connsiteY220" fmla="*/ 1897 h 10000"/>
                <a:gd name="connsiteX221" fmla="*/ 9830 w 10000"/>
                <a:gd name="connsiteY221" fmla="*/ 1819 h 10000"/>
                <a:gd name="connsiteX222" fmla="*/ 9830 w 10000"/>
                <a:gd name="connsiteY222" fmla="*/ 1699 h 10000"/>
                <a:gd name="connsiteX223" fmla="*/ 9556 w 10000"/>
                <a:gd name="connsiteY223" fmla="*/ 1465 h 10000"/>
                <a:gd name="connsiteX224" fmla="*/ 9512 w 10000"/>
                <a:gd name="connsiteY224" fmla="*/ 1379 h 10000"/>
                <a:gd name="connsiteX225" fmla="*/ 9573 w 10000"/>
                <a:gd name="connsiteY225" fmla="*/ 1271 h 10000"/>
                <a:gd name="connsiteX226" fmla="*/ 9543 w 10000"/>
                <a:gd name="connsiteY226" fmla="*/ 1194 h 10000"/>
                <a:gd name="connsiteX227" fmla="*/ 9486 w 10000"/>
                <a:gd name="connsiteY227" fmla="*/ 1159 h 10000"/>
                <a:gd name="connsiteX228" fmla="*/ 9438 w 10000"/>
                <a:gd name="connsiteY228" fmla="*/ 978 h 10000"/>
                <a:gd name="connsiteX229" fmla="*/ 9495 w 10000"/>
                <a:gd name="connsiteY229" fmla="*/ 831 h 10000"/>
                <a:gd name="connsiteX230" fmla="*/ 9077 w 10000"/>
                <a:gd name="connsiteY230" fmla="*/ 517 h 10000"/>
                <a:gd name="connsiteX231" fmla="*/ 8872 w 10000"/>
                <a:gd name="connsiteY231" fmla="*/ 440 h 10000"/>
                <a:gd name="connsiteX232" fmla="*/ 8493 w 10000"/>
                <a:gd name="connsiteY232" fmla="*/ 389 h 10000"/>
                <a:gd name="connsiteX233" fmla="*/ 7709 w 10000"/>
                <a:gd name="connsiteY233" fmla="*/ 26 h 10000"/>
                <a:gd name="connsiteX234" fmla="*/ 7683 w 10000"/>
                <a:gd name="connsiteY234" fmla="*/ 2 h 10000"/>
                <a:gd name="connsiteX235" fmla="*/ 7417 w 10000"/>
                <a:gd name="connsiteY235" fmla="*/ 0 h 10000"/>
                <a:gd name="connsiteX236" fmla="*/ 7356 w 10000"/>
                <a:gd name="connsiteY236" fmla="*/ 14 h 10000"/>
                <a:gd name="connsiteX237" fmla="*/ 7369 w 10000"/>
                <a:gd name="connsiteY237" fmla="*/ 61 h 10000"/>
                <a:gd name="connsiteX238" fmla="*/ 7422 w 10000"/>
                <a:gd name="connsiteY238" fmla="*/ 86 h 10000"/>
                <a:gd name="connsiteX239" fmla="*/ 7435 w 10000"/>
                <a:gd name="connsiteY239" fmla="*/ 139 h 10000"/>
                <a:gd name="connsiteX240" fmla="*/ 7417 w 10000"/>
                <a:gd name="connsiteY240" fmla="*/ 181 h 10000"/>
                <a:gd name="connsiteX241" fmla="*/ 7369 w 10000"/>
                <a:gd name="connsiteY241" fmla="*/ 208 h 10000"/>
                <a:gd name="connsiteX242" fmla="*/ 7334 w 10000"/>
                <a:gd name="connsiteY242" fmla="*/ 283 h 10000"/>
                <a:gd name="connsiteX243" fmla="*/ 7269 w 10000"/>
                <a:gd name="connsiteY243" fmla="*/ 336 h 10000"/>
                <a:gd name="connsiteX244" fmla="*/ 7282 w 10000"/>
                <a:gd name="connsiteY244" fmla="*/ 387 h 10000"/>
                <a:gd name="connsiteX245" fmla="*/ 7382 w 10000"/>
                <a:gd name="connsiteY245" fmla="*/ 434 h 10000"/>
                <a:gd name="connsiteX246" fmla="*/ 7317 w 10000"/>
                <a:gd name="connsiteY246" fmla="*/ 475 h 10000"/>
                <a:gd name="connsiteX247" fmla="*/ 7221 w 10000"/>
                <a:gd name="connsiteY247" fmla="*/ 485 h 10000"/>
                <a:gd name="connsiteX248" fmla="*/ 6420 w 10000"/>
                <a:gd name="connsiteY248" fmla="*/ 387 h 10000"/>
                <a:gd name="connsiteX249" fmla="*/ 6324 w 10000"/>
                <a:gd name="connsiteY249" fmla="*/ 395 h 10000"/>
                <a:gd name="connsiteX250" fmla="*/ 6267 w 10000"/>
                <a:gd name="connsiteY250" fmla="*/ 414 h 10000"/>
                <a:gd name="connsiteX251" fmla="*/ 6211 w 10000"/>
                <a:gd name="connsiteY251" fmla="*/ 462 h 10000"/>
                <a:gd name="connsiteX252" fmla="*/ 6220 w 10000"/>
                <a:gd name="connsiteY252" fmla="*/ 581 h 10000"/>
                <a:gd name="connsiteX253" fmla="*/ 6132 w 10000"/>
                <a:gd name="connsiteY253" fmla="*/ 735 h 10000"/>
                <a:gd name="connsiteX254" fmla="*/ 6024 w 10000"/>
                <a:gd name="connsiteY254" fmla="*/ 815 h 10000"/>
                <a:gd name="connsiteX255" fmla="*/ 5980 w 10000"/>
                <a:gd name="connsiteY255" fmla="*/ 805 h 10000"/>
                <a:gd name="connsiteX256" fmla="*/ 5880 w 10000"/>
                <a:gd name="connsiteY256" fmla="*/ 739 h 10000"/>
                <a:gd name="connsiteX257" fmla="*/ 5753 w 10000"/>
                <a:gd name="connsiteY257" fmla="*/ 705 h 10000"/>
                <a:gd name="connsiteX258" fmla="*/ 5618 w 10000"/>
                <a:gd name="connsiteY258" fmla="*/ 715 h 10000"/>
                <a:gd name="connsiteX259" fmla="*/ 5301 w 10000"/>
                <a:gd name="connsiteY259" fmla="*/ 866 h 10000"/>
                <a:gd name="connsiteX260" fmla="*/ 5218 w 10000"/>
                <a:gd name="connsiteY260" fmla="*/ 1017 h 10000"/>
                <a:gd name="connsiteX261" fmla="*/ 4978 w 10000"/>
                <a:gd name="connsiteY261" fmla="*/ 1153 h 10000"/>
                <a:gd name="connsiteX262" fmla="*/ 4935 w 10000"/>
                <a:gd name="connsiteY262" fmla="*/ 1222 h 10000"/>
                <a:gd name="connsiteX263" fmla="*/ 5061 w 10000"/>
                <a:gd name="connsiteY263" fmla="*/ 1344 h 10000"/>
                <a:gd name="connsiteX264" fmla="*/ 5074 w 10000"/>
                <a:gd name="connsiteY264" fmla="*/ 1412 h 10000"/>
                <a:gd name="connsiteX265" fmla="*/ 4421 w 10000"/>
                <a:gd name="connsiteY265" fmla="*/ 1813 h 10000"/>
                <a:gd name="connsiteX266" fmla="*/ 4220 w 10000"/>
                <a:gd name="connsiteY266" fmla="*/ 2070 h 10000"/>
                <a:gd name="connsiteX267" fmla="*/ 4003 w 10000"/>
                <a:gd name="connsiteY267" fmla="*/ 2135 h 10000"/>
                <a:gd name="connsiteX268" fmla="*/ 3868 w 10000"/>
                <a:gd name="connsiteY268" fmla="*/ 2131 h 10000"/>
                <a:gd name="connsiteX269" fmla="*/ 3785 w 10000"/>
                <a:gd name="connsiteY269" fmla="*/ 2153 h 10000"/>
                <a:gd name="connsiteX270" fmla="*/ 3558 w 10000"/>
                <a:gd name="connsiteY270" fmla="*/ 2793 h 10000"/>
                <a:gd name="connsiteX271" fmla="*/ 3036 w 10000"/>
                <a:gd name="connsiteY271" fmla="*/ 3166 h 10000"/>
                <a:gd name="connsiteX272" fmla="*/ 3040 w 10000"/>
                <a:gd name="connsiteY272" fmla="*/ 3225 h 10000"/>
                <a:gd name="connsiteX273" fmla="*/ 3271 w 10000"/>
                <a:gd name="connsiteY273" fmla="*/ 3392 h 10000"/>
                <a:gd name="connsiteX274" fmla="*/ 3197 w 10000"/>
                <a:gd name="connsiteY274" fmla="*/ 3573 h 10000"/>
                <a:gd name="connsiteX275" fmla="*/ 3062 w 10000"/>
                <a:gd name="connsiteY275" fmla="*/ 3640 h 10000"/>
                <a:gd name="connsiteX276" fmla="*/ 2657 w 10000"/>
                <a:gd name="connsiteY276" fmla="*/ 3595 h 10000"/>
                <a:gd name="connsiteX277" fmla="*/ 2378 w 10000"/>
                <a:gd name="connsiteY277" fmla="*/ 3620 h 10000"/>
                <a:gd name="connsiteX278" fmla="*/ 2152 w 10000"/>
                <a:gd name="connsiteY278" fmla="*/ 3673 h 10000"/>
                <a:gd name="connsiteX279" fmla="*/ 1790 w 10000"/>
                <a:gd name="connsiteY279" fmla="*/ 3840 h 10000"/>
                <a:gd name="connsiteX280" fmla="*/ 1598 w 10000"/>
                <a:gd name="connsiteY280" fmla="*/ 4042 h 10000"/>
                <a:gd name="connsiteX281" fmla="*/ 1616 w 10000"/>
                <a:gd name="connsiteY281" fmla="*/ 4154 h 10000"/>
                <a:gd name="connsiteX282" fmla="*/ 1681 w 10000"/>
                <a:gd name="connsiteY282" fmla="*/ 4241 h 10000"/>
                <a:gd name="connsiteX283" fmla="*/ 1733 w 10000"/>
                <a:gd name="connsiteY283" fmla="*/ 4276 h 10000"/>
                <a:gd name="connsiteX284" fmla="*/ 1638 w 10000"/>
                <a:gd name="connsiteY284" fmla="*/ 4331 h 10000"/>
                <a:gd name="connsiteX285" fmla="*/ 1433 w 10000"/>
                <a:gd name="connsiteY285" fmla="*/ 4710 h 10000"/>
                <a:gd name="connsiteX286" fmla="*/ 1472 w 10000"/>
                <a:gd name="connsiteY286" fmla="*/ 4732 h 10000"/>
                <a:gd name="connsiteX287" fmla="*/ 1503 w 10000"/>
                <a:gd name="connsiteY287" fmla="*/ 4828 h 10000"/>
                <a:gd name="connsiteX288" fmla="*/ 1407 w 10000"/>
                <a:gd name="connsiteY288" fmla="*/ 5227 h 10000"/>
                <a:gd name="connsiteX289" fmla="*/ 1503 w 10000"/>
                <a:gd name="connsiteY289" fmla="*/ 5329 h 10000"/>
                <a:gd name="connsiteX290" fmla="*/ 1764 w 10000"/>
                <a:gd name="connsiteY290" fmla="*/ 5441 h 10000"/>
                <a:gd name="connsiteX291" fmla="*/ 1777 w 10000"/>
                <a:gd name="connsiteY291" fmla="*/ 5578 h 10000"/>
                <a:gd name="connsiteX292" fmla="*/ 1664 w 10000"/>
                <a:gd name="connsiteY292" fmla="*/ 5690 h 10000"/>
                <a:gd name="connsiteX293" fmla="*/ 1503 w 10000"/>
                <a:gd name="connsiteY293" fmla="*/ 5759 h 10000"/>
                <a:gd name="connsiteX294" fmla="*/ 1289 w 10000"/>
                <a:gd name="connsiteY294" fmla="*/ 5787 h 10000"/>
                <a:gd name="connsiteX295" fmla="*/ 1233 w 10000"/>
                <a:gd name="connsiteY295" fmla="*/ 5826 h 10000"/>
                <a:gd name="connsiteX296" fmla="*/ 1359 w 10000"/>
                <a:gd name="connsiteY296" fmla="*/ 5920 h 10000"/>
                <a:gd name="connsiteX297" fmla="*/ 1429 w 10000"/>
                <a:gd name="connsiteY297" fmla="*/ 6142 h 10000"/>
                <a:gd name="connsiteX298" fmla="*/ 1267 w 10000"/>
                <a:gd name="connsiteY298" fmla="*/ 6333 h 10000"/>
                <a:gd name="connsiteX299" fmla="*/ 1324 w 10000"/>
                <a:gd name="connsiteY299" fmla="*/ 6392 h 10000"/>
                <a:gd name="connsiteX300" fmla="*/ 1272 w 10000"/>
                <a:gd name="connsiteY300" fmla="*/ 6492 h 10000"/>
                <a:gd name="connsiteX301" fmla="*/ 1167 w 10000"/>
                <a:gd name="connsiteY301" fmla="*/ 6561 h 10000"/>
                <a:gd name="connsiteX302" fmla="*/ 758 w 10000"/>
                <a:gd name="connsiteY302" fmla="*/ 6614 h 10000"/>
                <a:gd name="connsiteX303" fmla="*/ 732 w 10000"/>
                <a:gd name="connsiteY303" fmla="*/ 6706 h 10000"/>
                <a:gd name="connsiteX304" fmla="*/ 510 w 10000"/>
                <a:gd name="connsiteY304" fmla="*/ 6843 h 10000"/>
                <a:gd name="connsiteX305" fmla="*/ 540 w 10000"/>
                <a:gd name="connsiteY305" fmla="*/ 7040 h 10000"/>
                <a:gd name="connsiteX306" fmla="*/ 353 w 10000"/>
                <a:gd name="connsiteY306" fmla="*/ 7293 h 10000"/>
                <a:gd name="connsiteX307" fmla="*/ 226 w 10000"/>
                <a:gd name="connsiteY307" fmla="*/ 7323 h 10000"/>
                <a:gd name="connsiteX308" fmla="*/ 174 w 10000"/>
                <a:gd name="connsiteY308" fmla="*/ 7262 h 10000"/>
                <a:gd name="connsiteX309" fmla="*/ 109 w 10000"/>
                <a:gd name="connsiteY309" fmla="*/ 7354 h 10000"/>
                <a:gd name="connsiteX310" fmla="*/ 152 w 10000"/>
                <a:gd name="connsiteY310" fmla="*/ 7197 h 10000"/>
                <a:gd name="connsiteX311" fmla="*/ 126 w 10000"/>
                <a:gd name="connsiteY311"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855 w 10000"/>
                <a:gd name="connsiteY207" fmla="*/ 2341 h 10000"/>
                <a:gd name="connsiteX208" fmla="*/ 8898 w 10000"/>
                <a:gd name="connsiteY208" fmla="*/ 2332 h 10000"/>
                <a:gd name="connsiteX209" fmla="*/ 8946 w 10000"/>
                <a:gd name="connsiteY209" fmla="*/ 2330 h 10000"/>
                <a:gd name="connsiteX210" fmla="*/ 9094 w 10000"/>
                <a:gd name="connsiteY210" fmla="*/ 2324 h 10000"/>
                <a:gd name="connsiteX211" fmla="*/ 9355 w 10000"/>
                <a:gd name="connsiteY211" fmla="*/ 2428 h 10000"/>
                <a:gd name="connsiteX212" fmla="*/ 9408 w 10000"/>
                <a:gd name="connsiteY212" fmla="*/ 2359 h 10000"/>
                <a:gd name="connsiteX213" fmla="*/ 9717 w 10000"/>
                <a:gd name="connsiteY213" fmla="*/ 2343 h 10000"/>
                <a:gd name="connsiteX214" fmla="*/ 9830 w 10000"/>
                <a:gd name="connsiteY214" fmla="*/ 2369 h 10000"/>
                <a:gd name="connsiteX215" fmla="*/ 9909 w 10000"/>
                <a:gd name="connsiteY215" fmla="*/ 2410 h 10000"/>
                <a:gd name="connsiteX216" fmla="*/ 9948 w 10000"/>
                <a:gd name="connsiteY216" fmla="*/ 2365 h 10000"/>
                <a:gd name="connsiteX217" fmla="*/ 10000 w 10000"/>
                <a:gd name="connsiteY217" fmla="*/ 2349 h 10000"/>
                <a:gd name="connsiteX218" fmla="*/ 9704 w 10000"/>
                <a:gd name="connsiteY218" fmla="*/ 1992 h 10000"/>
                <a:gd name="connsiteX219" fmla="*/ 9743 w 10000"/>
                <a:gd name="connsiteY219" fmla="*/ 1897 h 10000"/>
                <a:gd name="connsiteX220" fmla="*/ 9830 w 10000"/>
                <a:gd name="connsiteY220" fmla="*/ 1819 h 10000"/>
                <a:gd name="connsiteX221" fmla="*/ 9830 w 10000"/>
                <a:gd name="connsiteY221" fmla="*/ 1699 h 10000"/>
                <a:gd name="connsiteX222" fmla="*/ 9556 w 10000"/>
                <a:gd name="connsiteY222" fmla="*/ 1465 h 10000"/>
                <a:gd name="connsiteX223" fmla="*/ 9512 w 10000"/>
                <a:gd name="connsiteY223" fmla="*/ 1379 h 10000"/>
                <a:gd name="connsiteX224" fmla="*/ 9573 w 10000"/>
                <a:gd name="connsiteY224" fmla="*/ 1271 h 10000"/>
                <a:gd name="connsiteX225" fmla="*/ 9543 w 10000"/>
                <a:gd name="connsiteY225" fmla="*/ 1194 h 10000"/>
                <a:gd name="connsiteX226" fmla="*/ 9486 w 10000"/>
                <a:gd name="connsiteY226" fmla="*/ 1159 h 10000"/>
                <a:gd name="connsiteX227" fmla="*/ 9438 w 10000"/>
                <a:gd name="connsiteY227" fmla="*/ 978 h 10000"/>
                <a:gd name="connsiteX228" fmla="*/ 9495 w 10000"/>
                <a:gd name="connsiteY228" fmla="*/ 831 h 10000"/>
                <a:gd name="connsiteX229" fmla="*/ 9077 w 10000"/>
                <a:gd name="connsiteY229" fmla="*/ 517 h 10000"/>
                <a:gd name="connsiteX230" fmla="*/ 8872 w 10000"/>
                <a:gd name="connsiteY230" fmla="*/ 440 h 10000"/>
                <a:gd name="connsiteX231" fmla="*/ 8493 w 10000"/>
                <a:gd name="connsiteY231" fmla="*/ 389 h 10000"/>
                <a:gd name="connsiteX232" fmla="*/ 7709 w 10000"/>
                <a:gd name="connsiteY232" fmla="*/ 26 h 10000"/>
                <a:gd name="connsiteX233" fmla="*/ 7683 w 10000"/>
                <a:gd name="connsiteY233" fmla="*/ 2 h 10000"/>
                <a:gd name="connsiteX234" fmla="*/ 7417 w 10000"/>
                <a:gd name="connsiteY234" fmla="*/ 0 h 10000"/>
                <a:gd name="connsiteX235" fmla="*/ 7356 w 10000"/>
                <a:gd name="connsiteY235" fmla="*/ 14 h 10000"/>
                <a:gd name="connsiteX236" fmla="*/ 7369 w 10000"/>
                <a:gd name="connsiteY236" fmla="*/ 61 h 10000"/>
                <a:gd name="connsiteX237" fmla="*/ 7422 w 10000"/>
                <a:gd name="connsiteY237" fmla="*/ 86 h 10000"/>
                <a:gd name="connsiteX238" fmla="*/ 7435 w 10000"/>
                <a:gd name="connsiteY238" fmla="*/ 139 h 10000"/>
                <a:gd name="connsiteX239" fmla="*/ 7417 w 10000"/>
                <a:gd name="connsiteY239" fmla="*/ 181 h 10000"/>
                <a:gd name="connsiteX240" fmla="*/ 7369 w 10000"/>
                <a:gd name="connsiteY240" fmla="*/ 208 h 10000"/>
                <a:gd name="connsiteX241" fmla="*/ 7334 w 10000"/>
                <a:gd name="connsiteY241" fmla="*/ 283 h 10000"/>
                <a:gd name="connsiteX242" fmla="*/ 7269 w 10000"/>
                <a:gd name="connsiteY242" fmla="*/ 336 h 10000"/>
                <a:gd name="connsiteX243" fmla="*/ 7282 w 10000"/>
                <a:gd name="connsiteY243" fmla="*/ 387 h 10000"/>
                <a:gd name="connsiteX244" fmla="*/ 7382 w 10000"/>
                <a:gd name="connsiteY244" fmla="*/ 434 h 10000"/>
                <a:gd name="connsiteX245" fmla="*/ 7317 w 10000"/>
                <a:gd name="connsiteY245" fmla="*/ 475 h 10000"/>
                <a:gd name="connsiteX246" fmla="*/ 7221 w 10000"/>
                <a:gd name="connsiteY246" fmla="*/ 485 h 10000"/>
                <a:gd name="connsiteX247" fmla="*/ 6420 w 10000"/>
                <a:gd name="connsiteY247" fmla="*/ 387 h 10000"/>
                <a:gd name="connsiteX248" fmla="*/ 6324 w 10000"/>
                <a:gd name="connsiteY248" fmla="*/ 395 h 10000"/>
                <a:gd name="connsiteX249" fmla="*/ 6267 w 10000"/>
                <a:gd name="connsiteY249" fmla="*/ 414 h 10000"/>
                <a:gd name="connsiteX250" fmla="*/ 6211 w 10000"/>
                <a:gd name="connsiteY250" fmla="*/ 462 h 10000"/>
                <a:gd name="connsiteX251" fmla="*/ 6220 w 10000"/>
                <a:gd name="connsiteY251" fmla="*/ 581 h 10000"/>
                <a:gd name="connsiteX252" fmla="*/ 6132 w 10000"/>
                <a:gd name="connsiteY252" fmla="*/ 735 h 10000"/>
                <a:gd name="connsiteX253" fmla="*/ 6024 w 10000"/>
                <a:gd name="connsiteY253" fmla="*/ 815 h 10000"/>
                <a:gd name="connsiteX254" fmla="*/ 5980 w 10000"/>
                <a:gd name="connsiteY254" fmla="*/ 805 h 10000"/>
                <a:gd name="connsiteX255" fmla="*/ 5880 w 10000"/>
                <a:gd name="connsiteY255" fmla="*/ 739 h 10000"/>
                <a:gd name="connsiteX256" fmla="*/ 5753 w 10000"/>
                <a:gd name="connsiteY256" fmla="*/ 705 h 10000"/>
                <a:gd name="connsiteX257" fmla="*/ 5618 w 10000"/>
                <a:gd name="connsiteY257" fmla="*/ 715 h 10000"/>
                <a:gd name="connsiteX258" fmla="*/ 5301 w 10000"/>
                <a:gd name="connsiteY258" fmla="*/ 866 h 10000"/>
                <a:gd name="connsiteX259" fmla="*/ 5218 w 10000"/>
                <a:gd name="connsiteY259" fmla="*/ 1017 h 10000"/>
                <a:gd name="connsiteX260" fmla="*/ 4978 w 10000"/>
                <a:gd name="connsiteY260" fmla="*/ 1153 h 10000"/>
                <a:gd name="connsiteX261" fmla="*/ 4935 w 10000"/>
                <a:gd name="connsiteY261" fmla="*/ 1222 h 10000"/>
                <a:gd name="connsiteX262" fmla="*/ 5061 w 10000"/>
                <a:gd name="connsiteY262" fmla="*/ 1344 h 10000"/>
                <a:gd name="connsiteX263" fmla="*/ 5074 w 10000"/>
                <a:gd name="connsiteY263" fmla="*/ 1412 h 10000"/>
                <a:gd name="connsiteX264" fmla="*/ 4421 w 10000"/>
                <a:gd name="connsiteY264" fmla="*/ 1813 h 10000"/>
                <a:gd name="connsiteX265" fmla="*/ 4220 w 10000"/>
                <a:gd name="connsiteY265" fmla="*/ 2070 h 10000"/>
                <a:gd name="connsiteX266" fmla="*/ 4003 w 10000"/>
                <a:gd name="connsiteY266" fmla="*/ 2135 h 10000"/>
                <a:gd name="connsiteX267" fmla="*/ 3868 w 10000"/>
                <a:gd name="connsiteY267" fmla="*/ 2131 h 10000"/>
                <a:gd name="connsiteX268" fmla="*/ 3785 w 10000"/>
                <a:gd name="connsiteY268" fmla="*/ 2153 h 10000"/>
                <a:gd name="connsiteX269" fmla="*/ 3558 w 10000"/>
                <a:gd name="connsiteY269" fmla="*/ 2793 h 10000"/>
                <a:gd name="connsiteX270" fmla="*/ 3036 w 10000"/>
                <a:gd name="connsiteY270" fmla="*/ 3166 h 10000"/>
                <a:gd name="connsiteX271" fmla="*/ 3040 w 10000"/>
                <a:gd name="connsiteY271" fmla="*/ 3225 h 10000"/>
                <a:gd name="connsiteX272" fmla="*/ 3271 w 10000"/>
                <a:gd name="connsiteY272" fmla="*/ 3392 h 10000"/>
                <a:gd name="connsiteX273" fmla="*/ 3197 w 10000"/>
                <a:gd name="connsiteY273" fmla="*/ 3573 h 10000"/>
                <a:gd name="connsiteX274" fmla="*/ 3062 w 10000"/>
                <a:gd name="connsiteY274" fmla="*/ 3640 h 10000"/>
                <a:gd name="connsiteX275" fmla="*/ 2657 w 10000"/>
                <a:gd name="connsiteY275" fmla="*/ 3595 h 10000"/>
                <a:gd name="connsiteX276" fmla="*/ 2378 w 10000"/>
                <a:gd name="connsiteY276" fmla="*/ 3620 h 10000"/>
                <a:gd name="connsiteX277" fmla="*/ 2152 w 10000"/>
                <a:gd name="connsiteY277" fmla="*/ 3673 h 10000"/>
                <a:gd name="connsiteX278" fmla="*/ 1790 w 10000"/>
                <a:gd name="connsiteY278" fmla="*/ 3840 h 10000"/>
                <a:gd name="connsiteX279" fmla="*/ 1598 w 10000"/>
                <a:gd name="connsiteY279" fmla="*/ 4042 h 10000"/>
                <a:gd name="connsiteX280" fmla="*/ 1616 w 10000"/>
                <a:gd name="connsiteY280" fmla="*/ 4154 h 10000"/>
                <a:gd name="connsiteX281" fmla="*/ 1681 w 10000"/>
                <a:gd name="connsiteY281" fmla="*/ 4241 h 10000"/>
                <a:gd name="connsiteX282" fmla="*/ 1733 w 10000"/>
                <a:gd name="connsiteY282" fmla="*/ 4276 h 10000"/>
                <a:gd name="connsiteX283" fmla="*/ 1638 w 10000"/>
                <a:gd name="connsiteY283" fmla="*/ 4331 h 10000"/>
                <a:gd name="connsiteX284" fmla="*/ 1433 w 10000"/>
                <a:gd name="connsiteY284" fmla="*/ 4710 h 10000"/>
                <a:gd name="connsiteX285" fmla="*/ 1472 w 10000"/>
                <a:gd name="connsiteY285" fmla="*/ 4732 h 10000"/>
                <a:gd name="connsiteX286" fmla="*/ 1503 w 10000"/>
                <a:gd name="connsiteY286" fmla="*/ 4828 h 10000"/>
                <a:gd name="connsiteX287" fmla="*/ 1407 w 10000"/>
                <a:gd name="connsiteY287" fmla="*/ 5227 h 10000"/>
                <a:gd name="connsiteX288" fmla="*/ 1503 w 10000"/>
                <a:gd name="connsiteY288" fmla="*/ 5329 h 10000"/>
                <a:gd name="connsiteX289" fmla="*/ 1764 w 10000"/>
                <a:gd name="connsiteY289" fmla="*/ 5441 h 10000"/>
                <a:gd name="connsiteX290" fmla="*/ 1777 w 10000"/>
                <a:gd name="connsiteY290" fmla="*/ 5578 h 10000"/>
                <a:gd name="connsiteX291" fmla="*/ 1664 w 10000"/>
                <a:gd name="connsiteY291" fmla="*/ 5690 h 10000"/>
                <a:gd name="connsiteX292" fmla="*/ 1503 w 10000"/>
                <a:gd name="connsiteY292" fmla="*/ 5759 h 10000"/>
                <a:gd name="connsiteX293" fmla="*/ 1289 w 10000"/>
                <a:gd name="connsiteY293" fmla="*/ 5787 h 10000"/>
                <a:gd name="connsiteX294" fmla="*/ 1233 w 10000"/>
                <a:gd name="connsiteY294" fmla="*/ 5826 h 10000"/>
                <a:gd name="connsiteX295" fmla="*/ 1359 w 10000"/>
                <a:gd name="connsiteY295" fmla="*/ 5920 h 10000"/>
                <a:gd name="connsiteX296" fmla="*/ 1429 w 10000"/>
                <a:gd name="connsiteY296" fmla="*/ 6142 h 10000"/>
                <a:gd name="connsiteX297" fmla="*/ 1267 w 10000"/>
                <a:gd name="connsiteY297" fmla="*/ 6333 h 10000"/>
                <a:gd name="connsiteX298" fmla="*/ 1324 w 10000"/>
                <a:gd name="connsiteY298" fmla="*/ 6392 h 10000"/>
                <a:gd name="connsiteX299" fmla="*/ 1272 w 10000"/>
                <a:gd name="connsiteY299" fmla="*/ 6492 h 10000"/>
                <a:gd name="connsiteX300" fmla="*/ 1167 w 10000"/>
                <a:gd name="connsiteY300" fmla="*/ 6561 h 10000"/>
                <a:gd name="connsiteX301" fmla="*/ 758 w 10000"/>
                <a:gd name="connsiteY301" fmla="*/ 6614 h 10000"/>
                <a:gd name="connsiteX302" fmla="*/ 732 w 10000"/>
                <a:gd name="connsiteY302" fmla="*/ 6706 h 10000"/>
                <a:gd name="connsiteX303" fmla="*/ 510 w 10000"/>
                <a:gd name="connsiteY303" fmla="*/ 6843 h 10000"/>
                <a:gd name="connsiteX304" fmla="*/ 540 w 10000"/>
                <a:gd name="connsiteY304" fmla="*/ 7040 h 10000"/>
                <a:gd name="connsiteX305" fmla="*/ 353 w 10000"/>
                <a:gd name="connsiteY305" fmla="*/ 7293 h 10000"/>
                <a:gd name="connsiteX306" fmla="*/ 226 w 10000"/>
                <a:gd name="connsiteY306" fmla="*/ 7323 h 10000"/>
                <a:gd name="connsiteX307" fmla="*/ 174 w 10000"/>
                <a:gd name="connsiteY307" fmla="*/ 7262 h 10000"/>
                <a:gd name="connsiteX308" fmla="*/ 109 w 10000"/>
                <a:gd name="connsiteY308" fmla="*/ 7354 h 10000"/>
                <a:gd name="connsiteX309" fmla="*/ 152 w 10000"/>
                <a:gd name="connsiteY309" fmla="*/ 7197 h 10000"/>
                <a:gd name="connsiteX310" fmla="*/ 126 w 10000"/>
                <a:gd name="connsiteY310"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855 w 10000"/>
                <a:gd name="connsiteY207" fmla="*/ 2341 h 10000"/>
                <a:gd name="connsiteX208" fmla="*/ 8898 w 10000"/>
                <a:gd name="connsiteY208" fmla="*/ 2332 h 10000"/>
                <a:gd name="connsiteX209" fmla="*/ 9094 w 10000"/>
                <a:gd name="connsiteY209" fmla="*/ 2324 h 10000"/>
                <a:gd name="connsiteX210" fmla="*/ 9355 w 10000"/>
                <a:gd name="connsiteY210" fmla="*/ 2428 h 10000"/>
                <a:gd name="connsiteX211" fmla="*/ 9408 w 10000"/>
                <a:gd name="connsiteY211" fmla="*/ 2359 h 10000"/>
                <a:gd name="connsiteX212" fmla="*/ 9717 w 10000"/>
                <a:gd name="connsiteY212" fmla="*/ 2343 h 10000"/>
                <a:gd name="connsiteX213" fmla="*/ 9830 w 10000"/>
                <a:gd name="connsiteY213" fmla="*/ 2369 h 10000"/>
                <a:gd name="connsiteX214" fmla="*/ 9909 w 10000"/>
                <a:gd name="connsiteY214" fmla="*/ 2410 h 10000"/>
                <a:gd name="connsiteX215" fmla="*/ 9948 w 10000"/>
                <a:gd name="connsiteY215" fmla="*/ 2365 h 10000"/>
                <a:gd name="connsiteX216" fmla="*/ 10000 w 10000"/>
                <a:gd name="connsiteY216" fmla="*/ 2349 h 10000"/>
                <a:gd name="connsiteX217" fmla="*/ 9704 w 10000"/>
                <a:gd name="connsiteY217" fmla="*/ 1992 h 10000"/>
                <a:gd name="connsiteX218" fmla="*/ 9743 w 10000"/>
                <a:gd name="connsiteY218" fmla="*/ 1897 h 10000"/>
                <a:gd name="connsiteX219" fmla="*/ 9830 w 10000"/>
                <a:gd name="connsiteY219" fmla="*/ 1819 h 10000"/>
                <a:gd name="connsiteX220" fmla="*/ 9830 w 10000"/>
                <a:gd name="connsiteY220" fmla="*/ 1699 h 10000"/>
                <a:gd name="connsiteX221" fmla="*/ 9556 w 10000"/>
                <a:gd name="connsiteY221" fmla="*/ 1465 h 10000"/>
                <a:gd name="connsiteX222" fmla="*/ 9512 w 10000"/>
                <a:gd name="connsiteY222" fmla="*/ 1379 h 10000"/>
                <a:gd name="connsiteX223" fmla="*/ 9573 w 10000"/>
                <a:gd name="connsiteY223" fmla="*/ 1271 h 10000"/>
                <a:gd name="connsiteX224" fmla="*/ 9543 w 10000"/>
                <a:gd name="connsiteY224" fmla="*/ 1194 h 10000"/>
                <a:gd name="connsiteX225" fmla="*/ 9486 w 10000"/>
                <a:gd name="connsiteY225" fmla="*/ 1159 h 10000"/>
                <a:gd name="connsiteX226" fmla="*/ 9438 w 10000"/>
                <a:gd name="connsiteY226" fmla="*/ 978 h 10000"/>
                <a:gd name="connsiteX227" fmla="*/ 9495 w 10000"/>
                <a:gd name="connsiteY227" fmla="*/ 831 h 10000"/>
                <a:gd name="connsiteX228" fmla="*/ 9077 w 10000"/>
                <a:gd name="connsiteY228" fmla="*/ 517 h 10000"/>
                <a:gd name="connsiteX229" fmla="*/ 8872 w 10000"/>
                <a:gd name="connsiteY229" fmla="*/ 440 h 10000"/>
                <a:gd name="connsiteX230" fmla="*/ 8493 w 10000"/>
                <a:gd name="connsiteY230" fmla="*/ 389 h 10000"/>
                <a:gd name="connsiteX231" fmla="*/ 7709 w 10000"/>
                <a:gd name="connsiteY231" fmla="*/ 26 h 10000"/>
                <a:gd name="connsiteX232" fmla="*/ 7683 w 10000"/>
                <a:gd name="connsiteY232" fmla="*/ 2 h 10000"/>
                <a:gd name="connsiteX233" fmla="*/ 7417 w 10000"/>
                <a:gd name="connsiteY233" fmla="*/ 0 h 10000"/>
                <a:gd name="connsiteX234" fmla="*/ 7356 w 10000"/>
                <a:gd name="connsiteY234" fmla="*/ 14 h 10000"/>
                <a:gd name="connsiteX235" fmla="*/ 7369 w 10000"/>
                <a:gd name="connsiteY235" fmla="*/ 61 h 10000"/>
                <a:gd name="connsiteX236" fmla="*/ 7422 w 10000"/>
                <a:gd name="connsiteY236" fmla="*/ 86 h 10000"/>
                <a:gd name="connsiteX237" fmla="*/ 7435 w 10000"/>
                <a:gd name="connsiteY237" fmla="*/ 139 h 10000"/>
                <a:gd name="connsiteX238" fmla="*/ 7417 w 10000"/>
                <a:gd name="connsiteY238" fmla="*/ 181 h 10000"/>
                <a:gd name="connsiteX239" fmla="*/ 7369 w 10000"/>
                <a:gd name="connsiteY239" fmla="*/ 208 h 10000"/>
                <a:gd name="connsiteX240" fmla="*/ 7334 w 10000"/>
                <a:gd name="connsiteY240" fmla="*/ 283 h 10000"/>
                <a:gd name="connsiteX241" fmla="*/ 7269 w 10000"/>
                <a:gd name="connsiteY241" fmla="*/ 336 h 10000"/>
                <a:gd name="connsiteX242" fmla="*/ 7282 w 10000"/>
                <a:gd name="connsiteY242" fmla="*/ 387 h 10000"/>
                <a:gd name="connsiteX243" fmla="*/ 7382 w 10000"/>
                <a:gd name="connsiteY243" fmla="*/ 434 h 10000"/>
                <a:gd name="connsiteX244" fmla="*/ 7317 w 10000"/>
                <a:gd name="connsiteY244" fmla="*/ 475 h 10000"/>
                <a:gd name="connsiteX245" fmla="*/ 7221 w 10000"/>
                <a:gd name="connsiteY245" fmla="*/ 485 h 10000"/>
                <a:gd name="connsiteX246" fmla="*/ 6420 w 10000"/>
                <a:gd name="connsiteY246" fmla="*/ 387 h 10000"/>
                <a:gd name="connsiteX247" fmla="*/ 6324 w 10000"/>
                <a:gd name="connsiteY247" fmla="*/ 395 h 10000"/>
                <a:gd name="connsiteX248" fmla="*/ 6267 w 10000"/>
                <a:gd name="connsiteY248" fmla="*/ 414 h 10000"/>
                <a:gd name="connsiteX249" fmla="*/ 6211 w 10000"/>
                <a:gd name="connsiteY249" fmla="*/ 462 h 10000"/>
                <a:gd name="connsiteX250" fmla="*/ 6220 w 10000"/>
                <a:gd name="connsiteY250" fmla="*/ 581 h 10000"/>
                <a:gd name="connsiteX251" fmla="*/ 6132 w 10000"/>
                <a:gd name="connsiteY251" fmla="*/ 735 h 10000"/>
                <a:gd name="connsiteX252" fmla="*/ 6024 w 10000"/>
                <a:gd name="connsiteY252" fmla="*/ 815 h 10000"/>
                <a:gd name="connsiteX253" fmla="*/ 5980 w 10000"/>
                <a:gd name="connsiteY253" fmla="*/ 805 h 10000"/>
                <a:gd name="connsiteX254" fmla="*/ 5880 w 10000"/>
                <a:gd name="connsiteY254" fmla="*/ 739 h 10000"/>
                <a:gd name="connsiteX255" fmla="*/ 5753 w 10000"/>
                <a:gd name="connsiteY255" fmla="*/ 705 h 10000"/>
                <a:gd name="connsiteX256" fmla="*/ 5618 w 10000"/>
                <a:gd name="connsiteY256" fmla="*/ 715 h 10000"/>
                <a:gd name="connsiteX257" fmla="*/ 5301 w 10000"/>
                <a:gd name="connsiteY257" fmla="*/ 866 h 10000"/>
                <a:gd name="connsiteX258" fmla="*/ 5218 w 10000"/>
                <a:gd name="connsiteY258" fmla="*/ 1017 h 10000"/>
                <a:gd name="connsiteX259" fmla="*/ 4978 w 10000"/>
                <a:gd name="connsiteY259" fmla="*/ 1153 h 10000"/>
                <a:gd name="connsiteX260" fmla="*/ 4935 w 10000"/>
                <a:gd name="connsiteY260" fmla="*/ 1222 h 10000"/>
                <a:gd name="connsiteX261" fmla="*/ 5061 w 10000"/>
                <a:gd name="connsiteY261" fmla="*/ 1344 h 10000"/>
                <a:gd name="connsiteX262" fmla="*/ 5074 w 10000"/>
                <a:gd name="connsiteY262" fmla="*/ 1412 h 10000"/>
                <a:gd name="connsiteX263" fmla="*/ 4421 w 10000"/>
                <a:gd name="connsiteY263" fmla="*/ 1813 h 10000"/>
                <a:gd name="connsiteX264" fmla="*/ 4220 w 10000"/>
                <a:gd name="connsiteY264" fmla="*/ 2070 h 10000"/>
                <a:gd name="connsiteX265" fmla="*/ 4003 w 10000"/>
                <a:gd name="connsiteY265" fmla="*/ 2135 h 10000"/>
                <a:gd name="connsiteX266" fmla="*/ 3868 w 10000"/>
                <a:gd name="connsiteY266" fmla="*/ 2131 h 10000"/>
                <a:gd name="connsiteX267" fmla="*/ 3785 w 10000"/>
                <a:gd name="connsiteY267" fmla="*/ 2153 h 10000"/>
                <a:gd name="connsiteX268" fmla="*/ 3558 w 10000"/>
                <a:gd name="connsiteY268" fmla="*/ 2793 h 10000"/>
                <a:gd name="connsiteX269" fmla="*/ 3036 w 10000"/>
                <a:gd name="connsiteY269" fmla="*/ 3166 h 10000"/>
                <a:gd name="connsiteX270" fmla="*/ 3040 w 10000"/>
                <a:gd name="connsiteY270" fmla="*/ 3225 h 10000"/>
                <a:gd name="connsiteX271" fmla="*/ 3271 w 10000"/>
                <a:gd name="connsiteY271" fmla="*/ 3392 h 10000"/>
                <a:gd name="connsiteX272" fmla="*/ 3197 w 10000"/>
                <a:gd name="connsiteY272" fmla="*/ 3573 h 10000"/>
                <a:gd name="connsiteX273" fmla="*/ 3062 w 10000"/>
                <a:gd name="connsiteY273" fmla="*/ 3640 h 10000"/>
                <a:gd name="connsiteX274" fmla="*/ 2657 w 10000"/>
                <a:gd name="connsiteY274" fmla="*/ 3595 h 10000"/>
                <a:gd name="connsiteX275" fmla="*/ 2378 w 10000"/>
                <a:gd name="connsiteY275" fmla="*/ 3620 h 10000"/>
                <a:gd name="connsiteX276" fmla="*/ 2152 w 10000"/>
                <a:gd name="connsiteY276" fmla="*/ 3673 h 10000"/>
                <a:gd name="connsiteX277" fmla="*/ 1790 w 10000"/>
                <a:gd name="connsiteY277" fmla="*/ 3840 h 10000"/>
                <a:gd name="connsiteX278" fmla="*/ 1598 w 10000"/>
                <a:gd name="connsiteY278" fmla="*/ 4042 h 10000"/>
                <a:gd name="connsiteX279" fmla="*/ 1616 w 10000"/>
                <a:gd name="connsiteY279" fmla="*/ 4154 h 10000"/>
                <a:gd name="connsiteX280" fmla="*/ 1681 w 10000"/>
                <a:gd name="connsiteY280" fmla="*/ 4241 h 10000"/>
                <a:gd name="connsiteX281" fmla="*/ 1733 w 10000"/>
                <a:gd name="connsiteY281" fmla="*/ 4276 h 10000"/>
                <a:gd name="connsiteX282" fmla="*/ 1638 w 10000"/>
                <a:gd name="connsiteY282" fmla="*/ 4331 h 10000"/>
                <a:gd name="connsiteX283" fmla="*/ 1433 w 10000"/>
                <a:gd name="connsiteY283" fmla="*/ 4710 h 10000"/>
                <a:gd name="connsiteX284" fmla="*/ 1472 w 10000"/>
                <a:gd name="connsiteY284" fmla="*/ 4732 h 10000"/>
                <a:gd name="connsiteX285" fmla="*/ 1503 w 10000"/>
                <a:gd name="connsiteY285" fmla="*/ 4828 h 10000"/>
                <a:gd name="connsiteX286" fmla="*/ 1407 w 10000"/>
                <a:gd name="connsiteY286" fmla="*/ 5227 h 10000"/>
                <a:gd name="connsiteX287" fmla="*/ 1503 w 10000"/>
                <a:gd name="connsiteY287" fmla="*/ 5329 h 10000"/>
                <a:gd name="connsiteX288" fmla="*/ 1764 w 10000"/>
                <a:gd name="connsiteY288" fmla="*/ 5441 h 10000"/>
                <a:gd name="connsiteX289" fmla="*/ 1777 w 10000"/>
                <a:gd name="connsiteY289" fmla="*/ 5578 h 10000"/>
                <a:gd name="connsiteX290" fmla="*/ 1664 w 10000"/>
                <a:gd name="connsiteY290" fmla="*/ 5690 h 10000"/>
                <a:gd name="connsiteX291" fmla="*/ 1503 w 10000"/>
                <a:gd name="connsiteY291" fmla="*/ 5759 h 10000"/>
                <a:gd name="connsiteX292" fmla="*/ 1289 w 10000"/>
                <a:gd name="connsiteY292" fmla="*/ 5787 h 10000"/>
                <a:gd name="connsiteX293" fmla="*/ 1233 w 10000"/>
                <a:gd name="connsiteY293" fmla="*/ 5826 h 10000"/>
                <a:gd name="connsiteX294" fmla="*/ 1359 w 10000"/>
                <a:gd name="connsiteY294" fmla="*/ 5920 h 10000"/>
                <a:gd name="connsiteX295" fmla="*/ 1429 w 10000"/>
                <a:gd name="connsiteY295" fmla="*/ 6142 h 10000"/>
                <a:gd name="connsiteX296" fmla="*/ 1267 w 10000"/>
                <a:gd name="connsiteY296" fmla="*/ 6333 h 10000"/>
                <a:gd name="connsiteX297" fmla="*/ 1324 w 10000"/>
                <a:gd name="connsiteY297" fmla="*/ 6392 h 10000"/>
                <a:gd name="connsiteX298" fmla="*/ 1272 w 10000"/>
                <a:gd name="connsiteY298" fmla="*/ 6492 h 10000"/>
                <a:gd name="connsiteX299" fmla="*/ 1167 w 10000"/>
                <a:gd name="connsiteY299" fmla="*/ 6561 h 10000"/>
                <a:gd name="connsiteX300" fmla="*/ 758 w 10000"/>
                <a:gd name="connsiteY300" fmla="*/ 6614 h 10000"/>
                <a:gd name="connsiteX301" fmla="*/ 732 w 10000"/>
                <a:gd name="connsiteY301" fmla="*/ 6706 h 10000"/>
                <a:gd name="connsiteX302" fmla="*/ 510 w 10000"/>
                <a:gd name="connsiteY302" fmla="*/ 6843 h 10000"/>
                <a:gd name="connsiteX303" fmla="*/ 540 w 10000"/>
                <a:gd name="connsiteY303" fmla="*/ 7040 h 10000"/>
                <a:gd name="connsiteX304" fmla="*/ 353 w 10000"/>
                <a:gd name="connsiteY304" fmla="*/ 7293 h 10000"/>
                <a:gd name="connsiteX305" fmla="*/ 226 w 10000"/>
                <a:gd name="connsiteY305" fmla="*/ 7323 h 10000"/>
                <a:gd name="connsiteX306" fmla="*/ 174 w 10000"/>
                <a:gd name="connsiteY306" fmla="*/ 7262 h 10000"/>
                <a:gd name="connsiteX307" fmla="*/ 109 w 10000"/>
                <a:gd name="connsiteY307" fmla="*/ 7354 h 10000"/>
                <a:gd name="connsiteX308" fmla="*/ 152 w 10000"/>
                <a:gd name="connsiteY308" fmla="*/ 7197 h 10000"/>
                <a:gd name="connsiteX309" fmla="*/ 126 w 10000"/>
                <a:gd name="connsiteY309"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855 w 10000"/>
                <a:gd name="connsiteY207" fmla="*/ 2341 h 10000"/>
                <a:gd name="connsiteX208" fmla="*/ 8898 w 10000"/>
                <a:gd name="connsiteY208" fmla="*/ 2332 h 10000"/>
                <a:gd name="connsiteX209" fmla="*/ 9355 w 10000"/>
                <a:gd name="connsiteY209" fmla="*/ 2428 h 10000"/>
                <a:gd name="connsiteX210" fmla="*/ 9408 w 10000"/>
                <a:gd name="connsiteY210" fmla="*/ 2359 h 10000"/>
                <a:gd name="connsiteX211" fmla="*/ 9717 w 10000"/>
                <a:gd name="connsiteY211" fmla="*/ 2343 h 10000"/>
                <a:gd name="connsiteX212" fmla="*/ 9830 w 10000"/>
                <a:gd name="connsiteY212" fmla="*/ 2369 h 10000"/>
                <a:gd name="connsiteX213" fmla="*/ 9909 w 10000"/>
                <a:gd name="connsiteY213" fmla="*/ 2410 h 10000"/>
                <a:gd name="connsiteX214" fmla="*/ 9948 w 10000"/>
                <a:gd name="connsiteY214" fmla="*/ 2365 h 10000"/>
                <a:gd name="connsiteX215" fmla="*/ 10000 w 10000"/>
                <a:gd name="connsiteY215" fmla="*/ 2349 h 10000"/>
                <a:gd name="connsiteX216" fmla="*/ 9704 w 10000"/>
                <a:gd name="connsiteY216" fmla="*/ 1992 h 10000"/>
                <a:gd name="connsiteX217" fmla="*/ 9743 w 10000"/>
                <a:gd name="connsiteY217" fmla="*/ 1897 h 10000"/>
                <a:gd name="connsiteX218" fmla="*/ 9830 w 10000"/>
                <a:gd name="connsiteY218" fmla="*/ 1819 h 10000"/>
                <a:gd name="connsiteX219" fmla="*/ 9830 w 10000"/>
                <a:gd name="connsiteY219" fmla="*/ 1699 h 10000"/>
                <a:gd name="connsiteX220" fmla="*/ 9556 w 10000"/>
                <a:gd name="connsiteY220" fmla="*/ 1465 h 10000"/>
                <a:gd name="connsiteX221" fmla="*/ 9512 w 10000"/>
                <a:gd name="connsiteY221" fmla="*/ 1379 h 10000"/>
                <a:gd name="connsiteX222" fmla="*/ 9573 w 10000"/>
                <a:gd name="connsiteY222" fmla="*/ 1271 h 10000"/>
                <a:gd name="connsiteX223" fmla="*/ 9543 w 10000"/>
                <a:gd name="connsiteY223" fmla="*/ 1194 h 10000"/>
                <a:gd name="connsiteX224" fmla="*/ 9486 w 10000"/>
                <a:gd name="connsiteY224" fmla="*/ 1159 h 10000"/>
                <a:gd name="connsiteX225" fmla="*/ 9438 w 10000"/>
                <a:gd name="connsiteY225" fmla="*/ 978 h 10000"/>
                <a:gd name="connsiteX226" fmla="*/ 9495 w 10000"/>
                <a:gd name="connsiteY226" fmla="*/ 831 h 10000"/>
                <a:gd name="connsiteX227" fmla="*/ 9077 w 10000"/>
                <a:gd name="connsiteY227" fmla="*/ 517 h 10000"/>
                <a:gd name="connsiteX228" fmla="*/ 8872 w 10000"/>
                <a:gd name="connsiteY228" fmla="*/ 440 h 10000"/>
                <a:gd name="connsiteX229" fmla="*/ 8493 w 10000"/>
                <a:gd name="connsiteY229" fmla="*/ 389 h 10000"/>
                <a:gd name="connsiteX230" fmla="*/ 7709 w 10000"/>
                <a:gd name="connsiteY230" fmla="*/ 26 h 10000"/>
                <a:gd name="connsiteX231" fmla="*/ 7683 w 10000"/>
                <a:gd name="connsiteY231" fmla="*/ 2 h 10000"/>
                <a:gd name="connsiteX232" fmla="*/ 7417 w 10000"/>
                <a:gd name="connsiteY232" fmla="*/ 0 h 10000"/>
                <a:gd name="connsiteX233" fmla="*/ 7356 w 10000"/>
                <a:gd name="connsiteY233" fmla="*/ 14 h 10000"/>
                <a:gd name="connsiteX234" fmla="*/ 7369 w 10000"/>
                <a:gd name="connsiteY234" fmla="*/ 61 h 10000"/>
                <a:gd name="connsiteX235" fmla="*/ 7422 w 10000"/>
                <a:gd name="connsiteY235" fmla="*/ 86 h 10000"/>
                <a:gd name="connsiteX236" fmla="*/ 7435 w 10000"/>
                <a:gd name="connsiteY236" fmla="*/ 139 h 10000"/>
                <a:gd name="connsiteX237" fmla="*/ 7417 w 10000"/>
                <a:gd name="connsiteY237" fmla="*/ 181 h 10000"/>
                <a:gd name="connsiteX238" fmla="*/ 7369 w 10000"/>
                <a:gd name="connsiteY238" fmla="*/ 208 h 10000"/>
                <a:gd name="connsiteX239" fmla="*/ 7334 w 10000"/>
                <a:gd name="connsiteY239" fmla="*/ 283 h 10000"/>
                <a:gd name="connsiteX240" fmla="*/ 7269 w 10000"/>
                <a:gd name="connsiteY240" fmla="*/ 336 h 10000"/>
                <a:gd name="connsiteX241" fmla="*/ 7282 w 10000"/>
                <a:gd name="connsiteY241" fmla="*/ 387 h 10000"/>
                <a:gd name="connsiteX242" fmla="*/ 7382 w 10000"/>
                <a:gd name="connsiteY242" fmla="*/ 434 h 10000"/>
                <a:gd name="connsiteX243" fmla="*/ 7317 w 10000"/>
                <a:gd name="connsiteY243" fmla="*/ 475 h 10000"/>
                <a:gd name="connsiteX244" fmla="*/ 7221 w 10000"/>
                <a:gd name="connsiteY244" fmla="*/ 485 h 10000"/>
                <a:gd name="connsiteX245" fmla="*/ 6420 w 10000"/>
                <a:gd name="connsiteY245" fmla="*/ 387 h 10000"/>
                <a:gd name="connsiteX246" fmla="*/ 6324 w 10000"/>
                <a:gd name="connsiteY246" fmla="*/ 395 h 10000"/>
                <a:gd name="connsiteX247" fmla="*/ 6267 w 10000"/>
                <a:gd name="connsiteY247" fmla="*/ 414 h 10000"/>
                <a:gd name="connsiteX248" fmla="*/ 6211 w 10000"/>
                <a:gd name="connsiteY248" fmla="*/ 462 h 10000"/>
                <a:gd name="connsiteX249" fmla="*/ 6220 w 10000"/>
                <a:gd name="connsiteY249" fmla="*/ 581 h 10000"/>
                <a:gd name="connsiteX250" fmla="*/ 6132 w 10000"/>
                <a:gd name="connsiteY250" fmla="*/ 735 h 10000"/>
                <a:gd name="connsiteX251" fmla="*/ 6024 w 10000"/>
                <a:gd name="connsiteY251" fmla="*/ 815 h 10000"/>
                <a:gd name="connsiteX252" fmla="*/ 5980 w 10000"/>
                <a:gd name="connsiteY252" fmla="*/ 805 h 10000"/>
                <a:gd name="connsiteX253" fmla="*/ 5880 w 10000"/>
                <a:gd name="connsiteY253" fmla="*/ 739 h 10000"/>
                <a:gd name="connsiteX254" fmla="*/ 5753 w 10000"/>
                <a:gd name="connsiteY254" fmla="*/ 705 h 10000"/>
                <a:gd name="connsiteX255" fmla="*/ 5618 w 10000"/>
                <a:gd name="connsiteY255" fmla="*/ 715 h 10000"/>
                <a:gd name="connsiteX256" fmla="*/ 5301 w 10000"/>
                <a:gd name="connsiteY256" fmla="*/ 866 h 10000"/>
                <a:gd name="connsiteX257" fmla="*/ 5218 w 10000"/>
                <a:gd name="connsiteY257" fmla="*/ 1017 h 10000"/>
                <a:gd name="connsiteX258" fmla="*/ 4978 w 10000"/>
                <a:gd name="connsiteY258" fmla="*/ 1153 h 10000"/>
                <a:gd name="connsiteX259" fmla="*/ 4935 w 10000"/>
                <a:gd name="connsiteY259" fmla="*/ 1222 h 10000"/>
                <a:gd name="connsiteX260" fmla="*/ 5061 w 10000"/>
                <a:gd name="connsiteY260" fmla="*/ 1344 h 10000"/>
                <a:gd name="connsiteX261" fmla="*/ 5074 w 10000"/>
                <a:gd name="connsiteY261" fmla="*/ 1412 h 10000"/>
                <a:gd name="connsiteX262" fmla="*/ 4421 w 10000"/>
                <a:gd name="connsiteY262" fmla="*/ 1813 h 10000"/>
                <a:gd name="connsiteX263" fmla="*/ 4220 w 10000"/>
                <a:gd name="connsiteY263" fmla="*/ 2070 h 10000"/>
                <a:gd name="connsiteX264" fmla="*/ 4003 w 10000"/>
                <a:gd name="connsiteY264" fmla="*/ 2135 h 10000"/>
                <a:gd name="connsiteX265" fmla="*/ 3868 w 10000"/>
                <a:gd name="connsiteY265" fmla="*/ 2131 h 10000"/>
                <a:gd name="connsiteX266" fmla="*/ 3785 w 10000"/>
                <a:gd name="connsiteY266" fmla="*/ 2153 h 10000"/>
                <a:gd name="connsiteX267" fmla="*/ 3558 w 10000"/>
                <a:gd name="connsiteY267" fmla="*/ 2793 h 10000"/>
                <a:gd name="connsiteX268" fmla="*/ 3036 w 10000"/>
                <a:gd name="connsiteY268" fmla="*/ 3166 h 10000"/>
                <a:gd name="connsiteX269" fmla="*/ 3040 w 10000"/>
                <a:gd name="connsiteY269" fmla="*/ 3225 h 10000"/>
                <a:gd name="connsiteX270" fmla="*/ 3271 w 10000"/>
                <a:gd name="connsiteY270" fmla="*/ 3392 h 10000"/>
                <a:gd name="connsiteX271" fmla="*/ 3197 w 10000"/>
                <a:gd name="connsiteY271" fmla="*/ 3573 h 10000"/>
                <a:gd name="connsiteX272" fmla="*/ 3062 w 10000"/>
                <a:gd name="connsiteY272" fmla="*/ 3640 h 10000"/>
                <a:gd name="connsiteX273" fmla="*/ 2657 w 10000"/>
                <a:gd name="connsiteY273" fmla="*/ 3595 h 10000"/>
                <a:gd name="connsiteX274" fmla="*/ 2378 w 10000"/>
                <a:gd name="connsiteY274" fmla="*/ 3620 h 10000"/>
                <a:gd name="connsiteX275" fmla="*/ 2152 w 10000"/>
                <a:gd name="connsiteY275" fmla="*/ 3673 h 10000"/>
                <a:gd name="connsiteX276" fmla="*/ 1790 w 10000"/>
                <a:gd name="connsiteY276" fmla="*/ 3840 h 10000"/>
                <a:gd name="connsiteX277" fmla="*/ 1598 w 10000"/>
                <a:gd name="connsiteY277" fmla="*/ 4042 h 10000"/>
                <a:gd name="connsiteX278" fmla="*/ 1616 w 10000"/>
                <a:gd name="connsiteY278" fmla="*/ 4154 h 10000"/>
                <a:gd name="connsiteX279" fmla="*/ 1681 w 10000"/>
                <a:gd name="connsiteY279" fmla="*/ 4241 h 10000"/>
                <a:gd name="connsiteX280" fmla="*/ 1733 w 10000"/>
                <a:gd name="connsiteY280" fmla="*/ 4276 h 10000"/>
                <a:gd name="connsiteX281" fmla="*/ 1638 w 10000"/>
                <a:gd name="connsiteY281" fmla="*/ 4331 h 10000"/>
                <a:gd name="connsiteX282" fmla="*/ 1433 w 10000"/>
                <a:gd name="connsiteY282" fmla="*/ 4710 h 10000"/>
                <a:gd name="connsiteX283" fmla="*/ 1472 w 10000"/>
                <a:gd name="connsiteY283" fmla="*/ 4732 h 10000"/>
                <a:gd name="connsiteX284" fmla="*/ 1503 w 10000"/>
                <a:gd name="connsiteY284" fmla="*/ 4828 h 10000"/>
                <a:gd name="connsiteX285" fmla="*/ 1407 w 10000"/>
                <a:gd name="connsiteY285" fmla="*/ 5227 h 10000"/>
                <a:gd name="connsiteX286" fmla="*/ 1503 w 10000"/>
                <a:gd name="connsiteY286" fmla="*/ 5329 h 10000"/>
                <a:gd name="connsiteX287" fmla="*/ 1764 w 10000"/>
                <a:gd name="connsiteY287" fmla="*/ 5441 h 10000"/>
                <a:gd name="connsiteX288" fmla="*/ 1777 w 10000"/>
                <a:gd name="connsiteY288" fmla="*/ 5578 h 10000"/>
                <a:gd name="connsiteX289" fmla="*/ 1664 w 10000"/>
                <a:gd name="connsiteY289" fmla="*/ 5690 h 10000"/>
                <a:gd name="connsiteX290" fmla="*/ 1503 w 10000"/>
                <a:gd name="connsiteY290" fmla="*/ 5759 h 10000"/>
                <a:gd name="connsiteX291" fmla="*/ 1289 w 10000"/>
                <a:gd name="connsiteY291" fmla="*/ 5787 h 10000"/>
                <a:gd name="connsiteX292" fmla="*/ 1233 w 10000"/>
                <a:gd name="connsiteY292" fmla="*/ 5826 h 10000"/>
                <a:gd name="connsiteX293" fmla="*/ 1359 w 10000"/>
                <a:gd name="connsiteY293" fmla="*/ 5920 h 10000"/>
                <a:gd name="connsiteX294" fmla="*/ 1429 w 10000"/>
                <a:gd name="connsiteY294" fmla="*/ 6142 h 10000"/>
                <a:gd name="connsiteX295" fmla="*/ 1267 w 10000"/>
                <a:gd name="connsiteY295" fmla="*/ 6333 h 10000"/>
                <a:gd name="connsiteX296" fmla="*/ 1324 w 10000"/>
                <a:gd name="connsiteY296" fmla="*/ 6392 h 10000"/>
                <a:gd name="connsiteX297" fmla="*/ 1272 w 10000"/>
                <a:gd name="connsiteY297" fmla="*/ 6492 h 10000"/>
                <a:gd name="connsiteX298" fmla="*/ 1167 w 10000"/>
                <a:gd name="connsiteY298" fmla="*/ 6561 h 10000"/>
                <a:gd name="connsiteX299" fmla="*/ 758 w 10000"/>
                <a:gd name="connsiteY299" fmla="*/ 6614 h 10000"/>
                <a:gd name="connsiteX300" fmla="*/ 732 w 10000"/>
                <a:gd name="connsiteY300" fmla="*/ 6706 h 10000"/>
                <a:gd name="connsiteX301" fmla="*/ 510 w 10000"/>
                <a:gd name="connsiteY301" fmla="*/ 6843 h 10000"/>
                <a:gd name="connsiteX302" fmla="*/ 540 w 10000"/>
                <a:gd name="connsiteY302" fmla="*/ 7040 h 10000"/>
                <a:gd name="connsiteX303" fmla="*/ 353 w 10000"/>
                <a:gd name="connsiteY303" fmla="*/ 7293 h 10000"/>
                <a:gd name="connsiteX304" fmla="*/ 226 w 10000"/>
                <a:gd name="connsiteY304" fmla="*/ 7323 h 10000"/>
                <a:gd name="connsiteX305" fmla="*/ 174 w 10000"/>
                <a:gd name="connsiteY305" fmla="*/ 7262 h 10000"/>
                <a:gd name="connsiteX306" fmla="*/ 109 w 10000"/>
                <a:gd name="connsiteY306" fmla="*/ 7354 h 10000"/>
                <a:gd name="connsiteX307" fmla="*/ 152 w 10000"/>
                <a:gd name="connsiteY307" fmla="*/ 7197 h 10000"/>
                <a:gd name="connsiteX308" fmla="*/ 126 w 10000"/>
                <a:gd name="connsiteY308"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8855 w 10000"/>
                <a:gd name="connsiteY207" fmla="*/ 2341 h 10000"/>
                <a:gd name="connsiteX208" fmla="*/ 9355 w 10000"/>
                <a:gd name="connsiteY208" fmla="*/ 2428 h 10000"/>
                <a:gd name="connsiteX209" fmla="*/ 9408 w 10000"/>
                <a:gd name="connsiteY209" fmla="*/ 2359 h 10000"/>
                <a:gd name="connsiteX210" fmla="*/ 9717 w 10000"/>
                <a:gd name="connsiteY210" fmla="*/ 2343 h 10000"/>
                <a:gd name="connsiteX211" fmla="*/ 9830 w 10000"/>
                <a:gd name="connsiteY211" fmla="*/ 2369 h 10000"/>
                <a:gd name="connsiteX212" fmla="*/ 9909 w 10000"/>
                <a:gd name="connsiteY212" fmla="*/ 2410 h 10000"/>
                <a:gd name="connsiteX213" fmla="*/ 9948 w 10000"/>
                <a:gd name="connsiteY213" fmla="*/ 2365 h 10000"/>
                <a:gd name="connsiteX214" fmla="*/ 10000 w 10000"/>
                <a:gd name="connsiteY214" fmla="*/ 2349 h 10000"/>
                <a:gd name="connsiteX215" fmla="*/ 9704 w 10000"/>
                <a:gd name="connsiteY215" fmla="*/ 1992 h 10000"/>
                <a:gd name="connsiteX216" fmla="*/ 9743 w 10000"/>
                <a:gd name="connsiteY216" fmla="*/ 1897 h 10000"/>
                <a:gd name="connsiteX217" fmla="*/ 9830 w 10000"/>
                <a:gd name="connsiteY217" fmla="*/ 1819 h 10000"/>
                <a:gd name="connsiteX218" fmla="*/ 9830 w 10000"/>
                <a:gd name="connsiteY218" fmla="*/ 1699 h 10000"/>
                <a:gd name="connsiteX219" fmla="*/ 9556 w 10000"/>
                <a:gd name="connsiteY219" fmla="*/ 1465 h 10000"/>
                <a:gd name="connsiteX220" fmla="*/ 9512 w 10000"/>
                <a:gd name="connsiteY220" fmla="*/ 1379 h 10000"/>
                <a:gd name="connsiteX221" fmla="*/ 9573 w 10000"/>
                <a:gd name="connsiteY221" fmla="*/ 1271 h 10000"/>
                <a:gd name="connsiteX222" fmla="*/ 9543 w 10000"/>
                <a:gd name="connsiteY222" fmla="*/ 1194 h 10000"/>
                <a:gd name="connsiteX223" fmla="*/ 9486 w 10000"/>
                <a:gd name="connsiteY223" fmla="*/ 1159 h 10000"/>
                <a:gd name="connsiteX224" fmla="*/ 9438 w 10000"/>
                <a:gd name="connsiteY224" fmla="*/ 978 h 10000"/>
                <a:gd name="connsiteX225" fmla="*/ 9495 w 10000"/>
                <a:gd name="connsiteY225" fmla="*/ 831 h 10000"/>
                <a:gd name="connsiteX226" fmla="*/ 9077 w 10000"/>
                <a:gd name="connsiteY226" fmla="*/ 517 h 10000"/>
                <a:gd name="connsiteX227" fmla="*/ 8872 w 10000"/>
                <a:gd name="connsiteY227" fmla="*/ 440 h 10000"/>
                <a:gd name="connsiteX228" fmla="*/ 8493 w 10000"/>
                <a:gd name="connsiteY228" fmla="*/ 389 h 10000"/>
                <a:gd name="connsiteX229" fmla="*/ 7709 w 10000"/>
                <a:gd name="connsiteY229" fmla="*/ 26 h 10000"/>
                <a:gd name="connsiteX230" fmla="*/ 7683 w 10000"/>
                <a:gd name="connsiteY230" fmla="*/ 2 h 10000"/>
                <a:gd name="connsiteX231" fmla="*/ 7417 w 10000"/>
                <a:gd name="connsiteY231" fmla="*/ 0 h 10000"/>
                <a:gd name="connsiteX232" fmla="*/ 7356 w 10000"/>
                <a:gd name="connsiteY232" fmla="*/ 14 h 10000"/>
                <a:gd name="connsiteX233" fmla="*/ 7369 w 10000"/>
                <a:gd name="connsiteY233" fmla="*/ 61 h 10000"/>
                <a:gd name="connsiteX234" fmla="*/ 7422 w 10000"/>
                <a:gd name="connsiteY234" fmla="*/ 86 h 10000"/>
                <a:gd name="connsiteX235" fmla="*/ 7435 w 10000"/>
                <a:gd name="connsiteY235" fmla="*/ 139 h 10000"/>
                <a:gd name="connsiteX236" fmla="*/ 7417 w 10000"/>
                <a:gd name="connsiteY236" fmla="*/ 181 h 10000"/>
                <a:gd name="connsiteX237" fmla="*/ 7369 w 10000"/>
                <a:gd name="connsiteY237" fmla="*/ 208 h 10000"/>
                <a:gd name="connsiteX238" fmla="*/ 7334 w 10000"/>
                <a:gd name="connsiteY238" fmla="*/ 283 h 10000"/>
                <a:gd name="connsiteX239" fmla="*/ 7269 w 10000"/>
                <a:gd name="connsiteY239" fmla="*/ 336 h 10000"/>
                <a:gd name="connsiteX240" fmla="*/ 7282 w 10000"/>
                <a:gd name="connsiteY240" fmla="*/ 387 h 10000"/>
                <a:gd name="connsiteX241" fmla="*/ 7382 w 10000"/>
                <a:gd name="connsiteY241" fmla="*/ 434 h 10000"/>
                <a:gd name="connsiteX242" fmla="*/ 7317 w 10000"/>
                <a:gd name="connsiteY242" fmla="*/ 475 h 10000"/>
                <a:gd name="connsiteX243" fmla="*/ 7221 w 10000"/>
                <a:gd name="connsiteY243" fmla="*/ 485 h 10000"/>
                <a:gd name="connsiteX244" fmla="*/ 6420 w 10000"/>
                <a:gd name="connsiteY244" fmla="*/ 387 h 10000"/>
                <a:gd name="connsiteX245" fmla="*/ 6324 w 10000"/>
                <a:gd name="connsiteY245" fmla="*/ 395 h 10000"/>
                <a:gd name="connsiteX246" fmla="*/ 6267 w 10000"/>
                <a:gd name="connsiteY246" fmla="*/ 414 h 10000"/>
                <a:gd name="connsiteX247" fmla="*/ 6211 w 10000"/>
                <a:gd name="connsiteY247" fmla="*/ 462 h 10000"/>
                <a:gd name="connsiteX248" fmla="*/ 6220 w 10000"/>
                <a:gd name="connsiteY248" fmla="*/ 581 h 10000"/>
                <a:gd name="connsiteX249" fmla="*/ 6132 w 10000"/>
                <a:gd name="connsiteY249" fmla="*/ 735 h 10000"/>
                <a:gd name="connsiteX250" fmla="*/ 6024 w 10000"/>
                <a:gd name="connsiteY250" fmla="*/ 815 h 10000"/>
                <a:gd name="connsiteX251" fmla="*/ 5980 w 10000"/>
                <a:gd name="connsiteY251" fmla="*/ 805 h 10000"/>
                <a:gd name="connsiteX252" fmla="*/ 5880 w 10000"/>
                <a:gd name="connsiteY252" fmla="*/ 739 h 10000"/>
                <a:gd name="connsiteX253" fmla="*/ 5753 w 10000"/>
                <a:gd name="connsiteY253" fmla="*/ 705 h 10000"/>
                <a:gd name="connsiteX254" fmla="*/ 5618 w 10000"/>
                <a:gd name="connsiteY254" fmla="*/ 715 h 10000"/>
                <a:gd name="connsiteX255" fmla="*/ 5301 w 10000"/>
                <a:gd name="connsiteY255" fmla="*/ 866 h 10000"/>
                <a:gd name="connsiteX256" fmla="*/ 5218 w 10000"/>
                <a:gd name="connsiteY256" fmla="*/ 1017 h 10000"/>
                <a:gd name="connsiteX257" fmla="*/ 4978 w 10000"/>
                <a:gd name="connsiteY257" fmla="*/ 1153 h 10000"/>
                <a:gd name="connsiteX258" fmla="*/ 4935 w 10000"/>
                <a:gd name="connsiteY258" fmla="*/ 1222 h 10000"/>
                <a:gd name="connsiteX259" fmla="*/ 5061 w 10000"/>
                <a:gd name="connsiteY259" fmla="*/ 1344 h 10000"/>
                <a:gd name="connsiteX260" fmla="*/ 5074 w 10000"/>
                <a:gd name="connsiteY260" fmla="*/ 1412 h 10000"/>
                <a:gd name="connsiteX261" fmla="*/ 4421 w 10000"/>
                <a:gd name="connsiteY261" fmla="*/ 1813 h 10000"/>
                <a:gd name="connsiteX262" fmla="*/ 4220 w 10000"/>
                <a:gd name="connsiteY262" fmla="*/ 2070 h 10000"/>
                <a:gd name="connsiteX263" fmla="*/ 4003 w 10000"/>
                <a:gd name="connsiteY263" fmla="*/ 2135 h 10000"/>
                <a:gd name="connsiteX264" fmla="*/ 3868 w 10000"/>
                <a:gd name="connsiteY264" fmla="*/ 2131 h 10000"/>
                <a:gd name="connsiteX265" fmla="*/ 3785 w 10000"/>
                <a:gd name="connsiteY265" fmla="*/ 2153 h 10000"/>
                <a:gd name="connsiteX266" fmla="*/ 3558 w 10000"/>
                <a:gd name="connsiteY266" fmla="*/ 2793 h 10000"/>
                <a:gd name="connsiteX267" fmla="*/ 3036 w 10000"/>
                <a:gd name="connsiteY267" fmla="*/ 3166 h 10000"/>
                <a:gd name="connsiteX268" fmla="*/ 3040 w 10000"/>
                <a:gd name="connsiteY268" fmla="*/ 3225 h 10000"/>
                <a:gd name="connsiteX269" fmla="*/ 3271 w 10000"/>
                <a:gd name="connsiteY269" fmla="*/ 3392 h 10000"/>
                <a:gd name="connsiteX270" fmla="*/ 3197 w 10000"/>
                <a:gd name="connsiteY270" fmla="*/ 3573 h 10000"/>
                <a:gd name="connsiteX271" fmla="*/ 3062 w 10000"/>
                <a:gd name="connsiteY271" fmla="*/ 3640 h 10000"/>
                <a:gd name="connsiteX272" fmla="*/ 2657 w 10000"/>
                <a:gd name="connsiteY272" fmla="*/ 3595 h 10000"/>
                <a:gd name="connsiteX273" fmla="*/ 2378 w 10000"/>
                <a:gd name="connsiteY273" fmla="*/ 3620 h 10000"/>
                <a:gd name="connsiteX274" fmla="*/ 2152 w 10000"/>
                <a:gd name="connsiteY274" fmla="*/ 3673 h 10000"/>
                <a:gd name="connsiteX275" fmla="*/ 1790 w 10000"/>
                <a:gd name="connsiteY275" fmla="*/ 3840 h 10000"/>
                <a:gd name="connsiteX276" fmla="*/ 1598 w 10000"/>
                <a:gd name="connsiteY276" fmla="*/ 4042 h 10000"/>
                <a:gd name="connsiteX277" fmla="*/ 1616 w 10000"/>
                <a:gd name="connsiteY277" fmla="*/ 4154 h 10000"/>
                <a:gd name="connsiteX278" fmla="*/ 1681 w 10000"/>
                <a:gd name="connsiteY278" fmla="*/ 4241 h 10000"/>
                <a:gd name="connsiteX279" fmla="*/ 1733 w 10000"/>
                <a:gd name="connsiteY279" fmla="*/ 4276 h 10000"/>
                <a:gd name="connsiteX280" fmla="*/ 1638 w 10000"/>
                <a:gd name="connsiteY280" fmla="*/ 4331 h 10000"/>
                <a:gd name="connsiteX281" fmla="*/ 1433 w 10000"/>
                <a:gd name="connsiteY281" fmla="*/ 4710 h 10000"/>
                <a:gd name="connsiteX282" fmla="*/ 1472 w 10000"/>
                <a:gd name="connsiteY282" fmla="*/ 4732 h 10000"/>
                <a:gd name="connsiteX283" fmla="*/ 1503 w 10000"/>
                <a:gd name="connsiteY283" fmla="*/ 4828 h 10000"/>
                <a:gd name="connsiteX284" fmla="*/ 1407 w 10000"/>
                <a:gd name="connsiteY284" fmla="*/ 5227 h 10000"/>
                <a:gd name="connsiteX285" fmla="*/ 1503 w 10000"/>
                <a:gd name="connsiteY285" fmla="*/ 5329 h 10000"/>
                <a:gd name="connsiteX286" fmla="*/ 1764 w 10000"/>
                <a:gd name="connsiteY286" fmla="*/ 5441 h 10000"/>
                <a:gd name="connsiteX287" fmla="*/ 1777 w 10000"/>
                <a:gd name="connsiteY287" fmla="*/ 5578 h 10000"/>
                <a:gd name="connsiteX288" fmla="*/ 1664 w 10000"/>
                <a:gd name="connsiteY288" fmla="*/ 5690 h 10000"/>
                <a:gd name="connsiteX289" fmla="*/ 1503 w 10000"/>
                <a:gd name="connsiteY289" fmla="*/ 5759 h 10000"/>
                <a:gd name="connsiteX290" fmla="*/ 1289 w 10000"/>
                <a:gd name="connsiteY290" fmla="*/ 5787 h 10000"/>
                <a:gd name="connsiteX291" fmla="*/ 1233 w 10000"/>
                <a:gd name="connsiteY291" fmla="*/ 5826 h 10000"/>
                <a:gd name="connsiteX292" fmla="*/ 1359 w 10000"/>
                <a:gd name="connsiteY292" fmla="*/ 5920 h 10000"/>
                <a:gd name="connsiteX293" fmla="*/ 1429 w 10000"/>
                <a:gd name="connsiteY293" fmla="*/ 6142 h 10000"/>
                <a:gd name="connsiteX294" fmla="*/ 1267 w 10000"/>
                <a:gd name="connsiteY294" fmla="*/ 6333 h 10000"/>
                <a:gd name="connsiteX295" fmla="*/ 1324 w 10000"/>
                <a:gd name="connsiteY295" fmla="*/ 6392 h 10000"/>
                <a:gd name="connsiteX296" fmla="*/ 1272 w 10000"/>
                <a:gd name="connsiteY296" fmla="*/ 6492 h 10000"/>
                <a:gd name="connsiteX297" fmla="*/ 1167 w 10000"/>
                <a:gd name="connsiteY297" fmla="*/ 6561 h 10000"/>
                <a:gd name="connsiteX298" fmla="*/ 758 w 10000"/>
                <a:gd name="connsiteY298" fmla="*/ 6614 h 10000"/>
                <a:gd name="connsiteX299" fmla="*/ 732 w 10000"/>
                <a:gd name="connsiteY299" fmla="*/ 6706 h 10000"/>
                <a:gd name="connsiteX300" fmla="*/ 510 w 10000"/>
                <a:gd name="connsiteY300" fmla="*/ 6843 h 10000"/>
                <a:gd name="connsiteX301" fmla="*/ 540 w 10000"/>
                <a:gd name="connsiteY301" fmla="*/ 7040 h 10000"/>
                <a:gd name="connsiteX302" fmla="*/ 353 w 10000"/>
                <a:gd name="connsiteY302" fmla="*/ 7293 h 10000"/>
                <a:gd name="connsiteX303" fmla="*/ 226 w 10000"/>
                <a:gd name="connsiteY303" fmla="*/ 7323 h 10000"/>
                <a:gd name="connsiteX304" fmla="*/ 174 w 10000"/>
                <a:gd name="connsiteY304" fmla="*/ 7262 h 10000"/>
                <a:gd name="connsiteX305" fmla="*/ 109 w 10000"/>
                <a:gd name="connsiteY305" fmla="*/ 7354 h 10000"/>
                <a:gd name="connsiteX306" fmla="*/ 152 w 10000"/>
                <a:gd name="connsiteY306" fmla="*/ 7197 h 10000"/>
                <a:gd name="connsiteX307" fmla="*/ 126 w 10000"/>
                <a:gd name="connsiteY307"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9355 w 10000"/>
                <a:gd name="connsiteY207" fmla="*/ 2428 h 10000"/>
                <a:gd name="connsiteX208" fmla="*/ 9408 w 10000"/>
                <a:gd name="connsiteY208" fmla="*/ 2359 h 10000"/>
                <a:gd name="connsiteX209" fmla="*/ 9717 w 10000"/>
                <a:gd name="connsiteY209" fmla="*/ 2343 h 10000"/>
                <a:gd name="connsiteX210" fmla="*/ 9830 w 10000"/>
                <a:gd name="connsiteY210" fmla="*/ 2369 h 10000"/>
                <a:gd name="connsiteX211" fmla="*/ 9909 w 10000"/>
                <a:gd name="connsiteY211" fmla="*/ 2410 h 10000"/>
                <a:gd name="connsiteX212" fmla="*/ 9948 w 10000"/>
                <a:gd name="connsiteY212" fmla="*/ 2365 h 10000"/>
                <a:gd name="connsiteX213" fmla="*/ 10000 w 10000"/>
                <a:gd name="connsiteY213" fmla="*/ 2349 h 10000"/>
                <a:gd name="connsiteX214" fmla="*/ 9704 w 10000"/>
                <a:gd name="connsiteY214" fmla="*/ 1992 h 10000"/>
                <a:gd name="connsiteX215" fmla="*/ 9743 w 10000"/>
                <a:gd name="connsiteY215" fmla="*/ 1897 h 10000"/>
                <a:gd name="connsiteX216" fmla="*/ 9830 w 10000"/>
                <a:gd name="connsiteY216" fmla="*/ 1819 h 10000"/>
                <a:gd name="connsiteX217" fmla="*/ 9830 w 10000"/>
                <a:gd name="connsiteY217" fmla="*/ 1699 h 10000"/>
                <a:gd name="connsiteX218" fmla="*/ 9556 w 10000"/>
                <a:gd name="connsiteY218" fmla="*/ 1465 h 10000"/>
                <a:gd name="connsiteX219" fmla="*/ 9512 w 10000"/>
                <a:gd name="connsiteY219" fmla="*/ 1379 h 10000"/>
                <a:gd name="connsiteX220" fmla="*/ 9573 w 10000"/>
                <a:gd name="connsiteY220" fmla="*/ 1271 h 10000"/>
                <a:gd name="connsiteX221" fmla="*/ 9543 w 10000"/>
                <a:gd name="connsiteY221" fmla="*/ 1194 h 10000"/>
                <a:gd name="connsiteX222" fmla="*/ 9486 w 10000"/>
                <a:gd name="connsiteY222" fmla="*/ 1159 h 10000"/>
                <a:gd name="connsiteX223" fmla="*/ 9438 w 10000"/>
                <a:gd name="connsiteY223" fmla="*/ 978 h 10000"/>
                <a:gd name="connsiteX224" fmla="*/ 9495 w 10000"/>
                <a:gd name="connsiteY224" fmla="*/ 831 h 10000"/>
                <a:gd name="connsiteX225" fmla="*/ 9077 w 10000"/>
                <a:gd name="connsiteY225" fmla="*/ 517 h 10000"/>
                <a:gd name="connsiteX226" fmla="*/ 8872 w 10000"/>
                <a:gd name="connsiteY226" fmla="*/ 440 h 10000"/>
                <a:gd name="connsiteX227" fmla="*/ 8493 w 10000"/>
                <a:gd name="connsiteY227" fmla="*/ 389 h 10000"/>
                <a:gd name="connsiteX228" fmla="*/ 7709 w 10000"/>
                <a:gd name="connsiteY228" fmla="*/ 26 h 10000"/>
                <a:gd name="connsiteX229" fmla="*/ 7683 w 10000"/>
                <a:gd name="connsiteY229" fmla="*/ 2 h 10000"/>
                <a:gd name="connsiteX230" fmla="*/ 7417 w 10000"/>
                <a:gd name="connsiteY230" fmla="*/ 0 h 10000"/>
                <a:gd name="connsiteX231" fmla="*/ 7356 w 10000"/>
                <a:gd name="connsiteY231" fmla="*/ 14 h 10000"/>
                <a:gd name="connsiteX232" fmla="*/ 7369 w 10000"/>
                <a:gd name="connsiteY232" fmla="*/ 61 h 10000"/>
                <a:gd name="connsiteX233" fmla="*/ 7422 w 10000"/>
                <a:gd name="connsiteY233" fmla="*/ 86 h 10000"/>
                <a:gd name="connsiteX234" fmla="*/ 7435 w 10000"/>
                <a:gd name="connsiteY234" fmla="*/ 139 h 10000"/>
                <a:gd name="connsiteX235" fmla="*/ 7417 w 10000"/>
                <a:gd name="connsiteY235" fmla="*/ 181 h 10000"/>
                <a:gd name="connsiteX236" fmla="*/ 7369 w 10000"/>
                <a:gd name="connsiteY236" fmla="*/ 208 h 10000"/>
                <a:gd name="connsiteX237" fmla="*/ 7334 w 10000"/>
                <a:gd name="connsiteY237" fmla="*/ 283 h 10000"/>
                <a:gd name="connsiteX238" fmla="*/ 7269 w 10000"/>
                <a:gd name="connsiteY238" fmla="*/ 336 h 10000"/>
                <a:gd name="connsiteX239" fmla="*/ 7282 w 10000"/>
                <a:gd name="connsiteY239" fmla="*/ 387 h 10000"/>
                <a:gd name="connsiteX240" fmla="*/ 7382 w 10000"/>
                <a:gd name="connsiteY240" fmla="*/ 434 h 10000"/>
                <a:gd name="connsiteX241" fmla="*/ 7317 w 10000"/>
                <a:gd name="connsiteY241" fmla="*/ 475 h 10000"/>
                <a:gd name="connsiteX242" fmla="*/ 7221 w 10000"/>
                <a:gd name="connsiteY242" fmla="*/ 485 h 10000"/>
                <a:gd name="connsiteX243" fmla="*/ 6420 w 10000"/>
                <a:gd name="connsiteY243" fmla="*/ 387 h 10000"/>
                <a:gd name="connsiteX244" fmla="*/ 6324 w 10000"/>
                <a:gd name="connsiteY244" fmla="*/ 395 h 10000"/>
                <a:gd name="connsiteX245" fmla="*/ 6267 w 10000"/>
                <a:gd name="connsiteY245" fmla="*/ 414 h 10000"/>
                <a:gd name="connsiteX246" fmla="*/ 6211 w 10000"/>
                <a:gd name="connsiteY246" fmla="*/ 462 h 10000"/>
                <a:gd name="connsiteX247" fmla="*/ 6220 w 10000"/>
                <a:gd name="connsiteY247" fmla="*/ 581 h 10000"/>
                <a:gd name="connsiteX248" fmla="*/ 6132 w 10000"/>
                <a:gd name="connsiteY248" fmla="*/ 735 h 10000"/>
                <a:gd name="connsiteX249" fmla="*/ 6024 w 10000"/>
                <a:gd name="connsiteY249" fmla="*/ 815 h 10000"/>
                <a:gd name="connsiteX250" fmla="*/ 5980 w 10000"/>
                <a:gd name="connsiteY250" fmla="*/ 805 h 10000"/>
                <a:gd name="connsiteX251" fmla="*/ 5880 w 10000"/>
                <a:gd name="connsiteY251" fmla="*/ 739 h 10000"/>
                <a:gd name="connsiteX252" fmla="*/ 5753 w 10000"/>
                <a:gd name="connsiteY252" fmla="*/ 705 h 10000"/>
                <a:gd name="connsiteX253" fmla="*/ 5618 w 10000"/>
                <a:gd name="connsiteY253" fmla="*/ 715 h 10000"/>
                <a:gd name="connsiteX254" fmla="*/ 5301 w 10000"/>
                <a:gd name="connsiteY254" fmla="*/ 866 h 10000"/>
                <a:gd name="connsiteX255" fmla="*/ 5218 w 10000"/>
                <a:gd name="connsiteY255" fmla="*/ 1017 h 10000"/>
                <a:gd name="connsiteX256" fmla="*/ 4978 w 10000"/>
                <a:gd name="connsiteY256" fmla="*/ 1153 h 10000"/>
                <a:gd name="connsiteX257" fmla="*/ 4935 w 10000"/>
                <a:gd name="connsiteY257" fmla="*/ 1222 h 10000"/>
                <a:gd name="connsiteX258" fmla="*/ 5061 w 10000"/>
                <a:gd name="connsiteY258" fmla="*/ 1344 h 10000"/>
                <a:gd name="connsiteX259" fmla="*/ 5074 w 10000"/>
                <a:gd name="connsiteY259" fmla="*/ 1412 h 10000"/>
                <a:gd name="connsiteX260" fmla="*/ 4421 w 10000"/>
                <a:gd name="connsiteY260" fmla="*/ 1813 h 10000"/>
                <a:gd name="connsiteX261" fmla="*/ 4220 w 10000"/>
                <a:gd name="connsiteY261" fmla="*/ 2070 h 10000"/>
                <a:gd name="connsiteX262" fmla="*/ 4003 w 10000"/>
                <a:gd name="connsiteY262" fmla="*/ 2135 h 10000"/>
                <a:gd name="connsiteX263" fmla="*/ 3868 w 10000"/>
                <a:gd name="connsiteY263" fmla="*/ 2131 h 10000"/>
                <a:gd name="connsiteX264" fmla="*/ 3785 w 10000"/>
                <a:gd name="connsiteY264" fmla="*/ 2153 h 10000"/>
                <a:gd name="connsiteX265" fmla="*/ 3558 w 10000"/>
                <a:gd name="connsiteY265" fmla="*/ 2793 h 10000"/>
                <a:gd name="connsiteX266" fmla="*/ 3036 w 10000"/>
                <a:gd name="connsiteY266" fmla="*/ 3166 h 10000"/>
                <a:gd name="connsiteX267" fmla="*/ 3040 w 10000"/>
                <a:gd name="connsiteY267" fmla="*/ 3225 h 10000"/>
                <a:gd name="connsiteX268" fmla="*/ 3271 w 10000"/>
                <a:gd name="connsiteY268" fmla="*/ 3392 h 10000"/>
                <a:gd name="connsiteX269" fmla="*/ 3197 w 10000"/>
                <a:gd name="connsiteY269" fmla="*/ 3573 h 10000"/>
                <a:gd name="connsiteX270" fmla="*/ 3062 w 10000"/>
                <a:gd name="connsiteY270" fmla="*/ 3640 h 10000"/>
                <a:gd name="connsiteX271" fmla="*/ 2657 w 10000"/>
                <a:gd name="connsiteY271" fmla="*/ 3595 h 10000"/>
                <a:gd name="connsiteX272" fmla="*/ 2378 w 10000"/>
                <a:gd name="connsiteY272" fmla="*/ 3620 h 10000"/>
                <a:gd name="connsiteX273" fmla="*/ 2152 w 10000"/>
                <a:gd name="connsiteY273" fmla="*/ 3673 h 10000"/>
                <a:gd name="connsiteX274" fmla="*/ 1790 w 10000"/>
                <a:gd name="connsiteY274" fmla="*/ 3840 h 10000"/>
                <a:gd name="connsiteX275" fmla="*/ 1598 w 10000"/>
                <a:gd name="connsiteY275" fmla="*/ 4042 h 10000"/>
                <a:gd name="connsiteX276" fmla="*/ 1616 w 10000"/>
                <a:gd name="connsiteY276" fmla="*/ 4154 h 10000"/>
                <a:gd name="connsiteX277" fmla="*/ 1681 w 10000"/>
                <a:gd name="connsiteY277" fmla="*/ 4241 h 10000"/>
                <a:gd name="connsiteX278" fmla="*/ 1733 w 10000"/>
                <a:gd name="connsiteY278" fmla="*/ 4276 h 10000"/>
                <a:gd name="connsiteX279" fmla="*/ 1638 w 10000"/>
                <a:gd name="connsiteY279" fmla="*/ 4331 h 10000"/>
                <a:gd name="connsiteX280" fmla="*/ 1433 w 10000"/>
                <a:gd name="connsiteY280" fmla="*/ 4710 h 10000"/>
                <a:gd name="connsiteX281" fmla="*/ 1472 w 10000"/>
                <a:gd name="connsiteY281" fmla="*/ 4732 h 10000"/>
                <a:gd name="connsiteX282" fmla="*/ 1503 w 10000"/>
                <a:gd name="connsiteY282" fmla="*/ 4828 h 10000"/>
                <a:gd name="connsiteX283" fmla="*/ 1407 w 10000"/>
                <a:gd name="connsiteY283" fmla="*/ 5227 h 10000"/>
                <a:gd name="connsiteX284" fmla="*/ 1503 w 10000"/>
                <a:gd name="connsiteY284" fmla="*/ 5329 h 10000"/>
                <a:gd name="connsiteX285" fmla="*/ 1764 w 10000"/>
                <a:gd name="connsiteY285" fmla="*/ 5441 h 10000"/>
                <a:gd name="connsiteX286" fmla="*/ 1777 w 10000"/>
                <a:gd name="connsiteY286" fmla="*/ 5578 h 10000"/>
                <a:gd name="connsiteX287" fmla="*/ 1664 w 10000"/>
                <a:gd name="connsiteY287" fmla="*/ 5690 h 10000"/>
                <a:gd name="connsiteX288" fmla="*/ 1503 w 10000"/>
                <a:gd name="connsiteY288" fmla="*/ 5759 h 10000"/>
                <a:gd name="connsiteX289" fmla="*/ 1289 w 10000"/>
                <a:gd name="connsiteY289" fmla="*/ 5787 h 10000"/>
                <a:gd name="connsiteX290" fmla="*/ 1233 w 10000"/>
                <a:gd name="connsiteY290" fmla="*/ 5826 h 10000"/>
                <a:gd name="connsiteX291" fmla="*/ 1359 w 10000"/>
                <a:gd name="connsiteY291" fmla="*/ 5920 h 10000"/>
                <a:gd name="connsiteX292" fmla="*/ 1429 w 10000"/>
                <a:gd name="connsiteY292" fmla="*/ 6142 h 10000"/>
                <a:gd name="connsiteX293" fmla="*/ 1267 w 10000"/>
                <a:gd name="connsiteY293" fmla="*/ 6333 h 10000"/>
                <a:gd name="connsiteX294" fmla="*/ 1324 w 10000"/>
                <a:gd name="connsiteY294" fmla="*/ 6392 h 10000"/>
                <a:gd name="connsiteX295" fmla="*/ 1272 w 10000"/>
                <a:gd name="connsiteY295" fmla="*/ 6492 h 10000"/>
                <a:gd name="connsiteX296" fmla="*/ 1167 w 10000"/>
                <a:gd name="connsiteY296" fmla="*/ 6561 h 10000"/>
                <a:gd name="connsiteX297" fmla="*/ 758 w 10000"/>
                <a:gd name="connsiteY297" fmla="*/ 6614 h 10000"/>
                <a:gd name="connsiteX298" fmla="*/ 732 w 10000"/>
                <a:gd name="connsiteY298" fmla="*/ 6706 h 10000"/>
                <a:gd name="connsiteX299" fmla="*/ 510 w 10000"/>
                <a:gd name="connsiteY299" fmla="*/ 6843 h 10000"/>
                <a:gd name="connsiteX300" fmla="*/ 540 w 10000"/>
                <a:gd name="connsiteY300" fmla="*/ 7040 h 10000"/>
                <a:gd name="connsiteX301" fmla="*/ 353 w 10000"/>
                <a:gd name="connsiteY301" fmla="*/ 7293 h 10000"/>
                <a:gd name="connsiteX302" fmla="*/ 226 w 10000"/>
                <a:gd name="connsiteY302" fmla="*/ 7323 h 10000"/>
                <a:gd name="connsiteX303" fmla="*/ 174 w 10000"/>
                <a:gd name="connsiteY303" fmla="*/ 7262 h 10000"/>
                <a:gd name="connsiteX304" fmla="*/ 109 w 10000"/>
                <a:gd name="connsiteY304" fmla="*/ 7354 h 10000"/>
                <a:gd name="connsiteX305" fmla="*/ 152 w 10000"/>
                <a:gd name="connsiteY305" fmla="*/ 7197 h 10000"/>
                <a:gd name="connsiteX306" fmla="*/ 126 w 10000"/>
                <a:gd name="connsiteY306"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9355 w 10000"/>
                <a:gd name="connsiteY207" fmla="*/ 2428 h 10000"/>
                <a:gd name="connsiteX208" fmla="*/ 9717 w 10000"/>
                <a:gd name="connsiteY208" fmla="*/ 2343 h 10000"/>
                <a:gd name="connsiteX209" fmla="*/ 9830 w 10000"/>
                <a:gd name="connsiteY209" fmla="*/ 2369 h 10000"/>
                <a:gd name="connsiteX210" fmla="*/ 9909 w 10000"/>
                <a:gd name="connsiteY210" fmla="*/ 2410 h 10000"/>
                <a:gd name="connsiteX211" fmla="*/ 9948 w 10000"/>
                <a:gd name="connsiteY211" fmla="*/ 2365 h 10000"/>
                <a:gd name="connsiteX212" fmla="*/ 10000 w 10000"/>
                <a:gd name="connsiteY212" fmla="*/ 2349 h 10000"/>
                <a:gd name="connsiteX213" fmla="*/ 9704 w 10000"/>
                <a:gd name="connsiteY213" fmla="*/ 1992 h 10000"/>
                <a:gd name="connsiteX214" fmla="*/ 9743 w 10000"/>
                <a:gd name="connsiteY214" fmla="*/ 1897 h 10000"/>
                <a:gd name="connsiteX215" fmla="*/ 9830 w 10000"/>
                <a:gd name="connsiteY215" fmla="*/ 1819 h 10000"/>
                <a:gd name="connsiteX216" fmla="*/ 9830 w 10000"/>
                <a:gd name="connsiteY216" fmla="*/ 1699 h 10000"/>
                <a:gd name="connsiteX217" fmla="*/ 9556 w 10000"/>
                <a:gd name="connsiteY217" fmla="*/ 1465 h 10000"/>
                <a:gd name="connsiteX218" fmla="*/ 9512 w 10000"/>
                <a:gd name="connsiteY218" fmla="*/ 1379 h 10000"/>
                <a:gd name="connsiteX219" fmla="*/ 9573 w 10000"/>
                <a:gd name="connsiteY219" fmla="*/ 1271 h 10000"/>
                <a:gd name="connsiteX220" fmla="*/ 9543 w 10000"/>
                <a:gd name="connsiteY220" fmla="*/ 1194 h 10000"/>
                <a:gd name="connsiteX221" fmla="*/ 9486 w 10000"/>
                <a:gd name="connsiteY221" fmla="*/ 1159 h 10000"/>
                <a:gd name="connsiteX222" fmla="*/ 9438 w 10000"/>
                <a:gd name="connsiteY222" fmla="*/ 978 h 10000"/>
                <a:gd name="connsiteX223" fmla="*/ 9495 w 10000"/>
                <a:gd name="connsiteY223" fmla="*/ 831 h 10000"/>
                <a:gd name="connsiteX224" fmla="*/ 9077 w 10000"/>
                <a:gd name="connsiteY224" fmla="*/ 517 h 10000"/>
                <a:gd name="connsiteX225" fmla="*/ 8872 w 10000"/>
                <a:gd name="connsiteY225" fmla="*/ 440 h 10000"/>
                <a:gd name="connsiteX226" fmla="*/ 8493 w 10000"/>
                <a:gd name="connsiteY226" fmla="*/ 389 h 10000"/>
                <a:gd name="connsiteX227" fmla="*/ 7709 w 10000"/>
                <a:gd name="connsiteY227" fmla="*/ 26 h 10000"/>
                <a:gd name="connsiteX228" fmla="*/ 7683 w 10000"/>
                <a:gd name="connsiteY228" fmla="*/ 2 h 10000"/>
                <a:gd name="connsiteX229" fmla="*/ 7417 w 10000"/>
                <a:gd name="connsiteY229" fmla="*/ 0 h 10000"/>
                <a:gd name="connsiteX230" fmla="*/ 7356 w 10000"/>
                <a:gd name="connsiteY230" fmla="*/ 14 h 10000"/>
                <a:gd name="connsiteX231" fmla="*/ 7369 w 10000"/>
                <a:gd name="connsiteY231" fmla="*/ 61 h 10000"/>
                <a:gd name="connsiteX232" fmla="*/ 7422 w 10000"/>
                <a:gd name="connsiteY232" fmla="*/ 86 h 10000"/>
                <a:gd name="connsiteX233" fmla="*/ 7435 w 10000"/>
                <a:gd name="connsiteY233" fmla="*/ 139 h 10000"/>
                <a:gd name="connsiteX234" fmla="*/ 7417 w 10000"/>
                <a:gd name="connsiteY234" fmla="*/ 181 h 10000"/>
                <a:gd name="connsiteX235" fmla="*/ 7369 w 10000"/>
                <a:gd name="connsiteY235" fmla="*/ 208 h 10000"/>
                <a:gd name="connsiteX236" fmla="*/ 7334 w 10000"/>
                <a:gd name="connsiteY236" fmla="*/ 283 h 10000"/>
                <a:gd name="connsiteX237" fmla="*/ 7269 w 10000"/>
                <a:gd name="connsiteY237" fmla="*/ 336 h 10000"/>
                <a:gd name="connsiteX238" fmla="*/ 7282 w 10000"/>
                <a:gd name="connsiteY238" fmla="*/ 387 h 10000"/>
                <a:gd name="connsiteX239" fmla="*/ 7382 w 10000"/>
                <a:gd name="connsiteY239" fmla="*/ 434 h 10000"/>
                <a:gd name="connsiteX240" fmla="*/ 7317 w 10000"/>
                <a:gd name="connsiteY240" fmla="*/ 475 h 10000"/>
                <a:gd name="connsiteX241" fmla="*/ 7221 w 10000"/>
                <a:gd name="connsiteY241" fmla="*/ 485 h 10000"/>
                <a:gd name="connsiteX242" fmla="*/ 6420 w 10000"/>
                <a:gd name="connsiteY242" fmla="*/ 387 h 10000"/>
                <a:gd name="connsiteX243" fmla="*/ 6324 w 10000"/>
                <a:gd name="connsiteY243" fmla="*/ 395 h 10000"/>
                <a:gd name="connsiteX244" fmla="*/ 6267 w 10000"/>
                <a:gd name="connsiteY244" fmla="*/ 414 h 10000"/>
                <a:gd name="connsiteX245" fmla="*/ 6211 w 10000"/>
                <a:gd name="connsiteY245" fmla="*/ 462 h 10000"/>
                <a:gd name="connsiteX246" fmla="*/ 6220 w 10000"/>
                <a:gd name="connsiteY246" fmla="*/ 581 h 10000"/>
                <a:gd name="connsiteX247" fmla="*/ 6132 w 10000"/>
                <a:gd name="connsiteY247" fmla="*/ 735 h 10000"/>
                <a:gd name="connsiteX248" fmla="*/ 6024 w 10000"/>
                <a:gd name="connsiteY248" fmla="*/ 815 h 10000"/>
                <a:gd name="connsiteX249" fmla="*/ 5980 w 10000"/>
                <a:gd name="connsiteY249" fmla="*/ 805 h 10000"/>
                <a:gd name="connsiteX250" fmla="*/ 5880 w 10000"/>
                <a:gd name="connsiteY250" fmla="*/ 739 h 10000"/>
                <a:gd name="connsiteX251" fmla="*/ 5753 w 10000"/>
                <a:gd name="connsiteY251" fmla="*/ 705 h 10000"/>
                <a:gd name="connsiteX252" fmla="*/ 5618 w 10000"/>
                <a:gd name="connsiteY252" fmla="*/ 715 h 10000"/>
                <a:gd name="connsiteX253" fmla="*/ 5301 w 10000"/>
                <a:gd name="connsiteY253" fmla="*/ 866 h 10000"/>
                <a:gd name="connsiteX254" fmla="*/ 5218 w 10000"/>
                <a:gd name="connsiteY254" fmla="*/ 1017 h 10000"/>
                <a:gd name="connsiteX255" fmla="*/ 4978 w 10000"/>
                <a:gd name="connsiteY255" fmla="*/ 1153 h 10000"/>
                <a:gd name="connsiteX256" fmla="*/ 4935 w 10000"/>
                <a:gd name="connsiteY256" fmla="*/ 1222 h 10000"/>
                <a:gd name="connsiteX257" fmla="*/ 5061 w 10000"/>
                <a:gd name="connsiteY257" fmla="*/ 1344 h 10000"/>
                <a:gd name="connsiteX258" fmla="*/ 5074 w 10000"/>
                <a:gd name="connsiteY258" fmla="*/ 1412 h 10000"/>
                <a:gd name="connsiteX259" fmla="*/ 4421 w 10000"/>
                <a:gd name="connsiteY259" fmla="*/ 1813 h 10000"/>
                <a:gd name="connsiteX260" fmla="*/ 4220 w 10000"/>
                <a:gd name="connsiteY260" fmla="*/ 2070 h 10000"/>
                <a:gd name="connsiteX261" fmla="*/ 4003 w 10000"/>
                <a:gd name="connsiteY261" fmla="*/ 2135 h 10000"/>
                <a:gd name="connsiteX262" fmla="*/ 3868 w 10000"/>
                <a:gd name="connsiteY262" fmla="*/ 2131 h 10000"/>
                <a:gd name="connsiteX263" fmla="*/ 3785 w 10000"/>
                <a:gd name="connsiteY263" fmla="*/ 2153 h 10000"/>
                <a:gd name="connsiteX264" fmla="*/ 3558 w 10000"/>
                <a:gd name="connsiteY264" fmla="*/ 2793 h 10000"/>
                <a:gd name="connsiteX265" fmla="*/ 3036 w 10000"/>
                <a:gd name="connsiteY265" fmla="*/ 3166 h 10000"/>
                <a:gd name="connsiteX266" fmla="*/ 3040 w 10000"/>
                <a:gd name="connsiteY266" fmla="*/ 3225 h 10000"/>
                <a:gd name="connsiteX267" fmla="*/ 3271 w 10000"/>
                <a:gd name="connsiteY267" fmla="*/ 3392 h 10000"/>
                <a:gd name="connsiteX268" fmla="*/ 3197 w 10000"/>
                <a:gd name="connsiteY268" fmla="*/ 3573 h 10000"/>
                <a:gd name="connsiteX269" fmla="*/ 3062 w 10000"/>
                <a:gd name="connsiteY269" fmla="*/ 3640 h 10000"/>
                <a:gd name="connsiteX270" fmla="*/ 2657 w 10000"/>
                <a:gd name="connsiteY270" fmla="*/ 3595 h 10000"/>
                <a:gd name="connsiteX271" fmla="*/ 2378 w 10000"/>
                <a:gd name="connsiteY271" fmla="*/ 3620 h 10000"/>
                <a:gd name="connsiteX272" fmla="*/ 2152 w 10000"/>
                <a:gd name="connsiteY272" fmla="*/ 3673 h 10000"/>
                <a:gd name="connsiteX273" fmla="*/ 1790 w 10000"/>
                <a:gd name="connsiteY273" fmla="*/ 3840 h 10000"/>
                <a:gd name="connsiteX274" fmla="*/ 1598 w 10000"/>
                <a:gd name="connsiteY274" fmla="*/ 4042 h 10000"/>
                <a:gd name="connsiteX275" fmla="*/ 1616 w 10000"/>
                <a:gd name="connsiteY275" fmla="*/ 4154 h 10000"/>
                <a:gd name="connsiteX276" fmla="*/ 1681 w 10000"/>
                <a:gd name="connsiteY276" fmla="*/ 4241 h 10000"/>
                <a:gd name="connsiteX277" fmla="*/ 1733 w 10000"/>
                <a:gd name="connsiteY277" fmla="*/ 4276 h 10000"/>
                <a:gd name="connsiteX278" fmla="*/ 1638 w 10000"/>
                <a:gd name="connsiteY278" fmla="*/ 4331 h 10000"/>
                <a:gd name="connsiteX279" fmla="*/ 1433 w 10000"/>
                <a:gd name="connsiteY279" fmla="*/ 4710 h 10000"/>
                <a:gd name="connsiteX280" fmla="*/ 1472 w 10000"/>
                <a:gd name="connsiteY280" fmla="*/ 4732 h 10000"/>
                <a:gd name="connsiteX281" fmla="*/ 1503 w 10000"/>
                <a:gd name="connsiteY281" fmla="*/ 4828 h 10000"/>
                <a:gd name="connsiteX282" fmla="*/ 1407 w 10000"/>
                <a:gd name="connsiteY282" fmla="*/ 5227 h 10000"/>
                <a:gd name="connsiteX283" fmla="*/ 1503 w 10000"/>
                <a:gd name="connsiteY283" fmla="*/ 5329 h 10000"/>
                <a:gd name="connsiteX284" fmla="*/ 1764 w 10000"/>
                <a:gd name="connsiteY284" fmla="*/ 5441 h 10000"/>
                <a:gd name="connsiteX285" fmla="*/ 1777 w 10000"/>
                <a:gd name="connsiteY285" fmla="*/ 5578 h 10000"/>
                <a:gd name="connsiteX286" fmla="*/ 1664 w 10000"/>
                <a:gd name="connsiteY286" fmla="*/ 5690 h 10000"/>
                <a:gd name="connsiteX287" fmla="*/ 1503 w 10000"/>
                <a:gd name="connsiteY287" fmla="*/ 5759 h 10000"/>
                <a:gd name="connsiteX288" fmla="*/ 1289 w 10000"/>
                <a:gd name="connsiteY288" fmla="*/ 5787 h 10000"/>
                <a:gd name="connsiteX289" fmla="*/ 1233 w 10000"/>
                <a:gd name="connsiteY289" fmla="*/ 5826 h 10000"/>
                <a:gd name="connsiteX290" fmla="*/ 1359 w 10000"/>
                <a:gd name="connsiteY290" fmla="*/ 5920 h 10000"/>
                <a:gd name="connsiteX291" fmla="*/ 1429 w 10000"/>
                <a:gd name="connsiteY291" fmla="*/ 6142 h 10000"/>
                <a:gd name="connsiteX292" fmla="*/ 1267 w 10000"/>
                <a:gd name="connsiteY292" fmla="*/ 6333 h 10000"/>
                <a:gd name="connsiteX293" fmla="*/ 1324 w 10000"/>
                <a:gd name="connsiteY293" fmla="*/ 6392 h 10000"/>
                <a:gd name="connsiteX294" fmla="*/ 1272 w 10000"/>
                <a:gd name="connsiteY294" fmla="*/ 6492 h 10000"/>
                <a:gd name="connsiteX295" fmla="*/ 1167 w 10000"/>
                <a:gd name="connsiteY295" fmla="*/ 6561 h 10000"/>
                <a:gd name="connsiteX296" fmla="*/ 758 w 10000"/>
                <a:gd name="connsiteY296" fmla="*/ 6614 h 10000"/>
                <a:gd name="connsiteX297" fmla="*/ 732 w 10000"/>
                <a:gd name="connsiteY297" fmla="*/ 6706 h 10000"/>
                <a:gd name="connsiteX298" fmla="*/ 510 w 10000"/>
                <a:gd name="connsiteY298" fmla="*/ 6843 h 10000"/>
                <a:gd name="connsiteX299" fmla="*/ 540 w 10000"/>
                <a:gd name="connsiteY299" fmla="*/ 7040 h 10000"/>
                <a:gd name="connsiteX300" fmla="*/ 353 w 10000"/>
                <a:gd name="connsiteY300" fmla="*/ 7293 h 10000"/>
                <a:gd name="connsiteX301" fmla="*/ 226 w 10000"/>
                <a:gd name="connsiteY301" fmla="*/ 7323 h 10000"/>
                <a:gd name="connsiteX302" fmla="*/ 174 w 10000"/>
                <a:gd name="connsiteY302" fmla="*/ 7262 h 10000"/>
                <a:gd name="connsiteX303" fmla="*/ 109 w 10000"/>
                <a:gd name="connsiteY303" fmla="*/ 7354 h 10000"/>
                <a:gd name="connsiteX304" fmla="*/ 152 w 10000"/>
                <a:gd name="connsiteY304" fmla="*/ 7197 h 10000"/>
                <a:gd name="connsiteX305" fmla="*/ 126 w 10000"/>
                <a:gd name="connsiteY305" fmla="*/ 7166 h 10000"/>
                <a:gd name="connsiteX0" fmla="*/ 126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1 w 10000"/>
                <a:gd name="connsiteY7" fmla="*/ 7727 h 10000"/>
                <a:gd name="connsiteX8" fmla="*/ 205 w 10000"/>
                <a:gd name="connsiteY8" fmla="*/ 7680 h 10000"/>
                <a:gd name="connsiteX9" fmla="*/ 261 w 10000"/>
                <a:gd name="connsiteY9" fmla="*/ 7712 h 10000"/>
                <a:gd name="connsiteX10" fmla="*/ 200 w 10000"/>
                <a:gd name="connsiteY10" fmla="*/ 7778 h 10000"/>
                <a:gd name="connsiteX11" fmla="*/ 266 w 10000"/>
                <a:gd name="connsiteY11" fmla="*/ 7780 h 10000"/>
                <a:gd name="connsiteX12" fmla="*/ 296 w 10000"/>
                <a:gd name="connsiteY12" fmla="*/ 7796 h 10000"/>
                <a:gd name="connsiteX13" fmla="*/ 213 w 10000"/>
                <a:gd name="connsiteY13" fmla="*/ 7818 h 10000"/>
                <a:gd name="connsiteX14" fmla="*/ 83 w 10000"/>
                <a:gd name="connsiteY14" fmla="*/ 7886 h 10000"/>
                <a:gd name="connsiteX15" fmla="*/ 314 w 10000"/>
                <a:gd name="connsiteY15" fmla="*/ 7938 h 10000"/>
                <a:gd name="connsiteX16" fmla="*/ 344 w 10000"/>
                <a:gd name="connsiteY16" fmla="*/ 8014 h 10000"/>
                <a:gd name="connsiteX17" fmla="*/ 266 w 10000"/>
                <a:gd name="connsiteY17" fmla="*/ 8126 h 10000"/>
                <a:gd name="connsiteX18" fmla="*/ 436 w 10000"/>
                <a:gd name="connsiteY18" fmla="*/ 8118 h 10000"/>
                <a:gd name="connsiteX19" fmla="*/ 449 w 10000"/>
                <a:gd name="connsiteY19" fmla="*/ 8203 h 10000"/>
                <a:gd name="connsiteX20" fmla="*/ 335 w 10000"/>
                <a:gd name="connsiteY20" fmla="*/ 8260 h 10000"/>
                <a:gd name="connsiteX21" fmla="*/ 353 w 10000"/>
                <a:gd name="connsiteY21" fmla="*/ 8370 h 10000"/>
                <a:gd name="connsiteX22" fmla="*/ 309 w 10000"/>
                <a:gd name="connsiteY22" fmla="*/ 8456 h 10000"/>
                <a:gd name="connsiteX23" fmla="*/ 444 w 10000"/>
                <a:gd name="connsiteY23" fmla="*/ 8464 h 10000"/>
                <a:gd name="connsiteX24" fmla="*/ 575 w 10000"/>
                <a:gd name="connsiteY24" fmla="*/ 8792 h 10000"/>
                <a:gd name="connsiteX25" fmla="*/ 727 w 10000"/>
                <a:gd name="connsiteY25" fmla="*/ 8876 h 10000"/>
                <a:gd name="connsiteX26" fmla="*/ 793 w 10000"/>
                <a:gd name="connsiteY26" fmla="*/ 8965 h 10000"/>
                <a:gd name="connsiteX27" fmla="*/ 958 w 10000"/>
                <a:gd name="connsiteY27" fmla="*/ 9030 h 10000"/>
                <a:gd name="connsiteX28" fmla="*/ 1063 w 10000"/>
                <a:gd name="connsiteY28" fmla="*/ 9112 h 10000"/>
                <a:gd name="connsiteX29" fmla="*/ 1050 w 10000"/>
                <a:gd name="connsiteY29" fmla="*/ 9171 h 10000"/>
                <a:gd name="connsiteX30" fmla="*/ 945 w 10000"/>
                <a:gd name="connsiteY30" fmla="*/ 9193 h 10000"/>
                <a:gd name="connsiteX31" fmla="*/ 832 w 10000"/>
                <a:gd name="connsiteY31" fmla="*/ 9179 h 10000"/>
                <a:gd name="connsiteX32" fmla="*/ 797 w 10000"/>
                <a:gd name="connsiteY32" fmla="*/ 9204 h 10000"/>
                <a:gd name="connsiteX33" fmla="*/ 884 w 10000"/>
                <a:gd name="connsiteY33" fmla="*/ 9332 h 10000"/>
                <a:gd name="connsiteX34" fmla="*/ 762 w 10000"/>
                <a:gd name="connsiteY34" fmla="*/ 9322 h 10000"/>
                <a:gd name="connsiteX35" fmla="*/ 658 w 10000"/>
                <a:gd name="connsiteY35" fmla="*/ 9291 h 10000"/>
                <a:gd name="connsiteX36" fmla="*/ 640 w 10000"/>
                <a:gd name="connsiteY36" fmla="*/ 9338 h 10000"/>
                <a:gd name="connsiteX37" fmla="*/ 984 w 10000"/>
                <a:gd name="connsiteY37" fmla="*/ 9776 h 10000"/>
                <a:gd name="connsiteX38" fmla="*/ 928 w 10000"/>
                <a:gd name="connsiteY38" fmla="*/ 9817 h 10000"/>
                <a:gd name="connsiteX39" fmla="*/ 889 w 10000"/>
                <a:gd name="connsiteY39" fmla="*/ 9902 h 10000"/>
                <a:gd name="connsiteX40" fmla="*/ 841 w 10000"/>
                <a:gd name="connsiteY40" fmla="*/ 9908 h 10000"/>
                <a:gd name="connsiteX41" fmla="*/ 810 w 10000"/>
                <a:gd name="connsiteY41" fmla="*/ 9945 h 10000"/>
                <a:gd name="connsiteX42" fmla="*/ 1019 w 10000"/>
                <a:gd name="connsiteY42" fmla="*/ 9949 h 10000"/>
                <a:gd name="connsiteX43" fmla="*/ 1202 w 10000"/>
                <a:gd name="connsiteY43" fmla="*/ 9986 h 10000"/>
                <a:gd name="connsiteX44" fmla="*/ 1507 w 10000"/>
                <a:gd name="connsiteY44" fmla="*/ 9947 h 10000"/>
                <a:gd name="connsiteX45" fmla="*/ 1781 w 10000"/>
                <a:gd name="connsiteY45" fmla="*/ 9953 h 10000"/>
                <a:gd name="connsiteX46" fmla="*/ 1943 w 10000"/>
                <a:gd name="connsiteY46" fmla="*/ 10000 h 10000"/>
                <a:gd name="connsiteX47" fmla="*/ 2030 w 10000"/>
                <a:gd name="connsiteY47" fmla="*/ 9969 h 10000"/>
                <a:gd name="connsiteX48" fmla="*/ 2117 w 10000"/>
                <a:gd name="connsiteY48" fmla="*/ 9868 h 10000"/>
                <a:gd name="connsiteX49" fmla="*/ 2095 w 10000"/>
                <a:gd name="connsiteY49" fmla="*/ 9703 h 10000"/>
                <a:gd name="connsiteX50" fmla="*/ 2304 w 10000"/>
                <a:gd name="connsiteY50" fmla="*/ 9517 h 10000"/>
                <a:gd name="connsiteX51" fmla="*/ 2456 w 10000"/>
                <a:gd name="connsiteY51" fmla="*/ 9546 h 10000"/>
                <a:gd name="connsiteX52" fmla="*/ 2544 w 10000"/>
                <a:gd name="connsiteY52" fmla="*/ 9472 h 10000"/>
                <a:gd name="connsiteX53" fmla="*/ 2713 w 10000"/>
                <a:gd name="connsiteY53" fmla="*/ 9430 h 10000"/>
                <a:gd name="connsiteX54" fmla="*/ 2944 w 10000"/>
                <a:gd name="connsiteY54" fmla="*/ 9440 h 10000"/>
                <a:gd name="connsiteX55" fmla="*/ 3084 w 10000"/>
                <a:gd name="connsiteY55" fmla="*/ 9470 h 10000"/>
                <a:gd name="connsiteX56" fmla="*/ 3267 w 10000"/>
                <a:gd name="connsiteY56" fmla="*/ 9456 h 10000"/>
                <a:gd name="connsiteX57" fmla="*/ 3454 w 10000"/>
                <a:gd name="connsiteY57" fmla="*/ 9489 h 10000"/>
                <a:gd name="connsiteX58" fmla="*/ 3641 w 10000"/>
                <a:gd name="connsiteY58" fmla="*/ 9493 h 10000"/>
                <a:gd name="connsiteX59" fmla="*/ 4059 w 10000"/>
                <a:gd name="connsiteY59" fmla="*/ 9061 h 10000"/>
                <a:gd name="connsiteX60" fmla="*/ 4164 w 10000"/>
                <a:gd name="connsiteY60" fmla="*/ 8711 h 10000"/>
                <a:gd name="connsiteX61" fmla="*/ 4334 w 10000"/>
                <a:gd name="connsiteY61" fmla="*/ 8554 h 10000"/>
                <a:gd name="connsiteX62" fmla="*/ 4334 w 10000"/>
                <a:gd name="connsiteY62" fmla="*/ 8472 h 10000"/>
                <a:gd name="connsiteX63" fmla="*/ 4273 w 10000"/>
                <a:gd name="connsiteY63" fmla="*/ 8425 h 10000"/>
                <a:gd name="connsiteX64" fmla="*/ 4373 w 10000"/>
                <a:gd name="connsiteY64" fmla="*/ 8352 h 10000"/>
                <a:gd name="connsiteX65" fmla="*/ 4355 w 10000"/>
                <a:gd name="connsiteY65" fmla="*/ 8289 h 10000"/>
                <a:gd name="connsiteX66" fmla="*/ 4286 w 10000"/>
                <a:gd name="connsiteY66" fmla="*/ 8236 h 10000"/>
                <a:gd name="connsiteX67" fmla="*/ 4273 w 10000"/>
                <a:gd name="connsiteY67" fmla="*/ 8199 h 10000"/>
                <a:gd name="connsiteX68" fmla="*/ 4290 w 10000"/>
                <a:gd name="connsiteY68" fmla="*/ 8169 h 10000"/>
                <a:gd name="connsiteX69" fmla="*/ 4382 w 10000"/>
                <a:gd name="connsiteY69" fmla="*/ 8193 h 10000"/>
                <a:gd name="connsiteX70" fmla="*/ 4456 w 10000"/>
                <a:gd name="connsiteY70" fmla="*/ 8191 h 10000"/>
                <a:gd name="connsiteX71" fmla="*/ 4416 w 10000"/>
                <a:gd name="connsiteY71" fmla="*/ 8140 h 10000"/>
                <a:gd name="connsiteX72" fmla="*/ 4429 w 10000"/>
                <a:gd name="connsiteY72" fmla="*/ 8112 h 10000"/>
                <a:gd name="connsiteX73" fmla="*/ 4482 w 10000"/>
                <a:gd name="connsiteY73" fmla="*/ 8069 h 10000"/>
                <a:gd name="connsiteX74" fmla="*/ 4473 w 10000"/>
                <a:gd name="connsiteY74" fmla="*/ 8034 h 10000"/>
                <a:gd name="connsiteX75" fmla="*/ 4521 w 10000"/>
                <a:gd name="connsiteY75" fmla="*/ 7916 h 10000"/>
                <a:gd name="connsiteX76" fmla="*/ 4508 w 10000"/>
                <a:gd name="connsiteY76" fmla="*/ 7881 h 10000"/>
                <a:gd name="connsiteX77" fmla="*/ 4255 w 10000"/>
                <a:gd name="connsiteY77" fmla="*/ 7792 h 10000"/>
                <a:gd name="connsiteX78" fmla="*/ 4290 w 10000"/>
                <a:gd name="connsiteY78" fmla="*/ 7788 h 10000"/>
                <a:gd name="connsiteX79" fmla="*/ 4425 w 10000"/>
                <a:gd name="connsiteY79" fmla="*/ 7812 h 10000"/>
                <a:gd name="connsiteX80" fmla="*/ 4569 w 10000"/>
                <a:gd name="connsiteY80" fmla="*/ 7804 h 10000"/>
                <a:gd name="connsiteX81" fmla="*/ 4612 w 10000"/>
                <a:gd name="connsiteY81" fmla="*/ 7771 h 10000"/>
                <a:gd name="connsiteX82" fmla="*/ 4473 w 10000"/>
                <a:gd name="connsiteY82" fmla="*/ 7710 h 10000"/>
                <a:gd name="connsiteX83" fmla="*/ 4055 w 10000"/>
                <a:gd name="connsiteY83" fmla="*/ 7670 h 10000"/>
                <a:gd name="connsiteX84" fmla="*/ 4085 w 10000"/>
                <a:gd name="connsiteY84" fmla="*/ 7651 h 10000"/>
                <a:gd name="connsiteX85" fmla="*/ 4425 w 10000"/>
                <a:gd name="connsiteY85" fmla="*/ 7639 h 10000"/>
                <a:gd name="connsiteX86" fmla="*/ 4612 w 10000"/>
                <a:gd name="connsiteY86" fmla="*/ 7676 h 10000"/>
                <a:gd name="connsiteX87" fmla="*/ 4721 w 10000"/>
                <a:gd name="connsiteY87" fmla="*/ 7651 h 10000"/>
                <a:gd name="connsiteX88" fmla="*/ 4760 w 10000"/>
                <a:gd name="connsiteY88" fmla="*/ 7588 h 10000"/>
                <a:gd name="connsiteX89" fmla="*/ 4956 w 10000"/>
                <a:gd name="connsiteY89" fmla="*/ 7588 h 10000"/>
                <a:gd name="connsiteX90" fmla="*/ 5222 w 10000"/>
                <a:gd name="connsiteY90" fmla="*/ 7462 h 10000"/>
                <a:gd name="connsiteX91" fmla="*/ 5231 w 10000"/>
                <a:gd name="connsiteY91" fmla="*/ 7378 h 10000"/>
                <a:gd name="connsiteX92" fmla="*/ 5344 w 10000"/>
                <a:gd name="connsiteY92" fmla="*/ 7397 h 10000"/>
                <a:gd name="connsiteX93" fmla="*/ 5340 w 10000"/>
                <a:gd name="connsiteY93" fmla="*/ 7482 h 10000"/>
                <a:gd name="connsiteX94" fmla="*/ 5518 w 10000"/>
                <a:gd name="connsiteY94" fmla="*/ 7476 h 10000"/>
                <a:gd name="connsiteX95" fmla="*/ 5636 w 10000"/>
                <a:gd name="connsiteY95" fmla="*/ 7388 h 10000"/>
                <a:gd name="connsiteX96" fmla="*/ 5854 w 10000"/>
                <a:gd name="connsiteY96" fmla="*/ 7309 h 10000"/>
                <a:gd name="connsiteX97" fmla="*/ 5819 w 10000"/>
                <a:gd name="connsiteY97" fmla="*/ 7219 h 10000"/>
                <a:gd name="connsiteX98" fmla="*/ 5884 w 10000"/>
                <a:gd name="connsiteY98" fmla="*/ 7254 h 10000"/>
                <a:gd name="connsiteX99" fmla="*/ 5984 w 10000"/>
                <a:gd name="connsiteY99" fmla="*/ 7254 h 10000"/>
                <a:gd name="connsiteX100" fmla="*/ 5984 w 10000"/>
                <a:gd name="connsiteY100" fmla="*/ 7213 h 10000"/>
                <a:gd name="connsiteX101" fmla="*/ 6076 w 10000"/>
                <a:gd name="connsiteY101" fmla="*/ 7181 h 10000"/>
                <a:gd name="connsiteX102" fmla="*/ 6063 w 10000"/>
                <a:gd name="connsiteY102" fmla="*/ 7148 h 10000"/>
                <a:gd name="connsiteX103" fmla="*/ 5279 w 10000"/>
                <a:gd name="connsiteY103" fmla="*/ 7215 h 10000"/>
                <a:gd name="connsiteX104" fmla="*/ 5096 w 10000"/>
                <a:gd name="connsiteY104" fmla="*/ 7195 h 10000"/>
                <a:gd name="connsiteX105" fmla="*/ 5022 w 10000"/>
                <a:gd name="connsiteY105" fmla="*/ 7219 h 10000"/>
                <a:gd name="connsiteX106" fmla="*/ 4996 w 10000"/>
                <a:gd name="connsiteY106" fmla="*/ 7173 h 10000"/>
                <a:gd name="connsiteX107" fmla="*/ 4909 w 10000"/>
                <a:gd name="connsiteY107" fmla="*/ 7132 h 10000"/>
                <a:gd name="connsiteX108" fmla="*/ 4560 w 10000"/>
                <a:gd name="connsiteY108" fmla="*/ 7052 h 10000"/>
                <a:gd name="connsiteX109" fmla="*/ 4355 w 10000"/>
                <a:gd name="connsiteY109" fmla="*/ 7065 h 10000"/>
                <a:gd name="connsiteX110" fmla="*/ 4273 w 10000"/>
                <a:gd name="connsiteY110" fmla="*/ 7042 h 10000"/>
                <a:gd name="connsiteX111" fmla="*/ 4360 w 10000"/>
                <a:gd name="connsiteY111" fmla="*/ 7022 h 10000"/>
                <a:gd name="connsiteX112" fmla="*/ 4425 w 10000"/>
                <a:gd name="connsiteY112" fmla="*/ 6979 h 10000"/>
                <a:gd name="connsiteX113" fmla="*/ 4521 w 10000"/>
                <a:gd name="connsiteY113" fmla="*/ 6993 h 10000"/>
                <a:gd name="connsiteX114" fmla="*/ 4639 w 10000"/>
                <a:gd name="connsiteY114" fmla="*/ 6981 h 10000"/>
                <a:gd name="connsiteX115" fmla="*/ 4813 w 10000"/>
                <a:gd name="connsiteY115" fmla="*/ 6995 h 10000"/>
                <a:gd name="connsiteX116" fmla="*/ 4834 w 10000"/>
                <a:gd name="connsiteY116" fmla="*/ 6989 h 10000"/>
                <a:gd name="connsiteX117" fmla="*/ 4970 w 10000"/>
                <a:gd name="connsiteY117" fmla="*/ 7056 h 10000"/>
                <a:gd name="connsiteX118" fmla="*/ 5070 w 10000"/>
                <a:gd name="connsiteY118" fmla="*/ 7032 h 10000"/>
                <a:gd name="connsiteX119" fmla="*/ 5078 w 10000"/>
                <a:gd name="connsiteY119" fmla="*/ 7010 h 10000"/>
                <a:gd name="connsiteX120" fmla="*/ 5170 w 10000"/>
                <a:gd name="connsiteY120" fmla="*/ 7048 h 10000"/>
                <a:gd name="connsiteX121" fmla="*/ 5292 w 10000"/>
                <a:gd name="connsiteY121" fmla="*/ 7069 h 10000"/>
                <a:gd name="connsiteX122" fmla="*/ 5340 w 10000"/>
                <a:gd name="connsiteY122" fmla="*/ 7030 h 10000"/>
                <a:gd name="connsiteX123" fmla="*/ 5379 w 10000"/>
                <a:gd name="connsiteY123" fmla="*/ 7052 h 10000"/>
                <a:gd name="connsiteX124" fmla="*/ 5436 w 10000"/>
                <a:gd name="connsiteY124" fmla="*/ 7126 h 10000"/>
                <a:gd name="connsiteX125" fmla="*/ 5553 w 10000"/>
                <a:gd name="connsiteY125" fmla="*/ 7144 h 10000"/>
                <a:gd name="connsiteX126" fmla="*/ 6032 w 10000"/>
                <a:gd name="connsiteY126" fmla="*/ 7034 h 10000"/>
                <a:gd name="connsiteX127" fmla="*/ 6267 w 10000"/>
                <a:gd name="connsiteY127" fmla="*/ 6879 h 10000"/>
                <a:gd name="connsiteX128" fmla="*/ 6324 w 10000"/>
                <a:gd name="connsiteY128" fmla="*/ 6765 h 10000"/>
                <a:gd name="connsiteX129" fmla="*/ 6237 w 10000"/>
                <a:gd name="connsiteY129" fmla="*/ 6663 h 10000"/>
                <a:gd name="connsiteX130" fmla="*/ 6058 w 10000"/>
                <a:gd name="connsiteY130" fmla="*/ 6602 h 10000"/>
                <a:gd name="connsiteX131" fmla="*/ 5932 w 10000"/>
                <a:gd name="connsiteY131" fmla="*/ 6502 h 10000"/>
                <a:gd name="connsiteX132" fmla="*/ 6050 w 10000"/>
                <a:gd name="connsiteY132" fmla="*/ 6498 h 10000"/>
                <a:gd name="connsiteX133" fmla="*/ 6041 w 10000"/>
                <a:gd name="connsiteY133" fmla="*/ 6474 h 10000"/>
                <a:gd name="connsiteX134" fmla="*/ 5732 w 10000"/>
                <a:gd name="connsiteY134" fmla="*/ 6403 h 10000"/>
                <a:gd name="connsiteX135" fmla="*/ 5719 w 10000"/>
                <a:gd name="connsiteY135" fmla="*/ 6339 h 10000"/>
                <a:gd name="connsiteX136" fmla="*/ 5662 w 10000"/>
                <a:gd name="connsiteY136" fmla="*/ 6272 h 10000"/>
                <a:gd name="connsiteX137" fmla="*/ 5418 w 10000"/>
                <a:gd name="connsiteY137" fmla="*/ 6284 h 10000"/>
                <a:gd name="connsiteX138" fmla="*/ 5331 w 10000"/>
                <a:gd name="connsiteY138" fmla="*/ 6213 h 10000"/>
                <a:gd name="connsiteX139" fmla="*/ 5279 w 10000"/>
                <a:gd name="connsiteY139" fmla="*/ 6209 h 10000"/>
                <a:gd name="connsiteX140" fmla="*/ 5279 w 10000"/>
                <a:gd name="connsiteY140" fmla="*/ 6238 h 10000"/>
                <a:gd name="connsiteX141" fmla="*/ 5170 w 10000"/>
                <a:gd name="connsiteY141" fmla="*/ 6358 h 10000"/>
                <a:gd name="connsiteX142" fmla="*/ 5052 w 10000"/>
                <a:gd name="connsiteY142" fmla="*/ 6429 h 10000"/>
                <a:gd name="connsiteX143" fmla="*/ 4682 w 10000"/>
                <a:gd name="connsiteY143" fmla="*/ 6551 h 10000"/>
                <a:gd name="connsiteX144" fmla="*/ 4551 w 10000"/>
                <a:gd name="connsiteY144" fmla="*/ 6547 h 10000"/>
                <a:gd name="connsiteX145" fmla="*/ 4373 w 10000"/>
                <a:gd name="connsiteY145" fmla="*/ 6565 h 10000"/>
                <a:gd name="connsiteX146" fmla="*/ 4273 w 10000"/>
                <a:gd name="connsiteY146" fmla="*/ 6547 h 10000"/>
                <a:gd name="connsiteX147" fmla="*/ 4403 w 10000"/>
                <a:gd name="connsiteY147" fmla="*/ 6513 h 10000"/>
                <a:gd name="connsiteX148" fmla="*/ 4573 w 10000"/>
                <a:gd name="connsiteY148" fmla="*/ 6498 h 10000"/>
                <a:gd name="connsiteX149" fmla="*/ 4713 w 10000"/>
                <a:gd name="connsiteY149" fmla="*/ 6441 h 10000"/>
                <a:gd name="connsiteX150" fmla="*/ 4852 w 10000"/>
                <a:gd name="connsiteY150" fmla="*/ 6415 h 10000"/>
                <a:gd name="connsiteX151" fmla="*/ 5109 w 10000"/>
                <a:gd name="connsiteY151" fmla="*/ 6317 h 10000"/>
                <a:gd name="connsiteX152" fmla="*/ 5157 w 10000"/>
                <a:gd name="connsiteY152" fmla="*/ 6252 h 10000"/>
                <a:gd name="connsiteX153" fmla="*/ 5161 w 10000"/>
                <a:gd name="connsiteY153" fmla="*/ 6168 h 10000"/>
                <a:gd name="connsiteX154" fmla="*/ 5044 w 10000"/>
                <a:gd name="connsiteY154" fmla="*/ 6154 h 10000"/>
                <a:gd name="connsiteX155" fmla="*/ 5096 w 10000"/>
                <a:gd name="connsiteY155" fmla="*/ 6103 h 10000"/>
                <a:gd name="connsiteX156" fmla="*/ 5113 w 10000"/>
                <a:gd name="connsiteY156" fmla="*/ 6038 h 10000"/>
                <a:gd name="connsiteX157" fmla="*/ 5065 w 10000"/>
                <a:gd name="connsiteY157" fmla="*/ 5977 h 10000"/>
                <a:gd name="connsiteX158" fmla="*/ 5035 w 10000"/>
                <a:gd name="connsiteY158" fmla="*/ 5533 h 10000"/>
                <a:gd name="connsiteX159" fmla="*/ 5105 w 10000"/>
                <a:gd name="connsiteY159" fmla="*/ 5437 h 10000"/>
                <a:gd name="connsiteX160" fmla="*/ 5087 w 10000"/>
                <a:gd name="connsiteY160" fmla="*/ 5398 h 10000"/>
                <a:gd name="connsiteX161" fmla="*/ 5292 w 10000"/>
                <a:gd name="connsiteY161" fmla="*/ 5455 h 10000"/>
                <a:gd name="connsiteX162" fmla="*/ 5305 w 10000"/>
                <a:gd name="connsiteY162" fmla="*/ 5402 h 10000"/>
                <a:gd name="connsiteX163" fmla="*/ 5261 w 10000"/>
                <a:gd name="connsiteY163" fmla="*/ 5264 h 10000"/>
                <a:gd name="connsiteX164" fmla="*/ 5409 w 10000"/>
                <a:gd name="connsiteY164" fmla="*/ 5019 h 10000"/>
                <a:gd name="connsiteX165" fmla="*/ 5318 w 10000"/>
                <a:gd name="connsiteY165" fmla="*/ 4960 h 10000"/>
                <a:gd name="connsiteX166" fmla="*/ 5283 w 10000"/>
                <a:gd name="connsiteY166" fmla="*/ 4905 h 10000"/>
                <a:gd name="connsiteX167" fmla="*/ 5296 w 10000"/>
                <a:gd name="connsiteY167" fmla="*/ 4816 h 10000"/>
                <a:gd name="connsiteX168" fmla="*/ 5510 w 10000"/>
                <a:gd name="connsiteY168" fmla="*/ 4875 h 10000"/>
                <a:gd name="connsiteX169" fmla="*/ 5518 w 10000"/>
                <a:gd name="connsiteY169" fmla="*/ 4858 h 10000"/>
                <a:gd name="connsiteX170" fmla="*/ 5579 w 10000"/>
                <a:gd name="connsiteY170" fmla="*/ 4842 h 10000"/>
                <a:gd name="connsiteX171" fmla="*/ 5662 w 10000"/>
                <a:gd name="connsiteY171" fmla="*/ 4785 h 10000"/>
                <a:gd name="connsiteX172" fmla="*/ 5675 w 10000"/>
                <a:gd name="connsiteY172" fmla="*/ 4769 h 10000"/>
                <a:gd name="connsiteX173" fmla="*/ 5658 w 10000"/>
                <a:gd name="connsiteY173" fmla="*/ 4748 h 10000"/>
                <a:gd name="connsiteX174" fmla="*/ 5701 w 10000"/>
                <a:gd name="connsiteY174" fmla="*/ 4647 h 10000"/>
                <a:gd name="connsiteX175" fmla="*/ 5649 w 10000"/>
                <a:gd name="connsiteY175" fmla="*/ 4581 h 10000"/>
                <a:gd name="connsiteX176" fmla="*/ 5658 w 10000"/>
                <a:gd name="connsiteY176" fmla="*/ 4528 h 10000"/>
                <a:gd name="connsiteX177" fmla="*/ 5688 w 10000"/>
                <a:gd name="connsiteY177" fmla="*/ 4590 h 10000"/>
                <a:gd name="connsiteX178" fmla="*/ 5806 w 10000"/>
                <a:gd name="connsiteY178" fmla="*/ 4636 h 10000"/>
                <a:gd name="connsiteX179" fmla="*/ 5854 w 10000"/>
                <a:gd name="connsiteY179" fmla="*/ 4630 h 10000"/>
                <a:gd name="connsiteX180" fmla="*/ 5932 w 10000"/>
                <a:gd name="connsiteY180" fmla="*/ 4569 h 10000"/>
                <a:gd name="connsiteX181" fmla="*/ 6015 w 10000"/>
                <a:gd name="connsiteY181" fmla="*/ 4594 h 10000"/>
                <a:gd name="connsiteX182" fmla="*/ 6037 w 10000"/>
                <a:gd name="connsiteY182" fmla="*/ 4545 h 10000"/>
                <a:gd name="connsiteX183" fmla="*/ 6093 w 10000"/>
                <a:gd name="connsiteY183" fmla="*/ 4512 h 10000"/>
                <a:gd name="connsiteX184" fmla="*/ 5941 w 10000"/>
                <a:gd name="connsiteY184" fmla="*/ 4477 h 10000"/>
                <a:gd name="connsiteX185" fmla="*/ 6050 w 10000"/>
                <a:gd name="connsiteY185" fmla="*/ 4484 h 10000"/>
                <a:gd name="connsiteX186" fmla="*/ 6163 w 10000"/>
                <a:gd name="connsiteY186" fmla="*/ 4447 h 10000"/>
                <a:gd name="connsiteX187" fmla="*/ 6159 w 10000"/>
                <a:gd name="connsiteY187" fmla="*/ 4422 h 10000"/>
                <a:gd name="connsiteX188" fmla="*/ 6263 w 10000"/>
                <a:gd name="connsiteY188" fmla="*/ 4398 h 10000"/>
                <a:gd name="connsiteX189" fmla="*/ 6272 w 10000"/>
                <a:gd name="connsiteY189" fmla="*/ 4337 h 10000"/>
                <a:gd name="connsiteX190" fmla="*/ 6355 w 10000"/>
                <a:gd name="connsiteY190" fmla="*/ 4325 h 10000"/>
                <a:gd name="connsiteX191" fmla="*/ 6363 w 10000"/>
                <a:gd name="connsiteY191" fmla="*/ 4253 h 10000"/>
                <a:gd name="connsiteX192" fmla="*/ 6450 w 10000"/>
                <a:gd name="connsiteY192" fmla="*/ 4245 h 10000"/>
                <a:gd name="connsiteX193" fmla="*/ 6585 w 10000"/>
                <a:gd name="connsiteY193" fmla="*/ 4260 h 10000"/>
                <a:gd name="connsiteX194" fmla="*/ 6733 w 10000"/>
                <a:gd name="connsiteY194" fmla="*/ 4202 h 10000"/>
                <a:gd name="connsiteX195" fmla="*/ 6786 w 10000"/>
                <a:gd name="connsiteY195" fmla="*/ 4137 h 10000"/>
                <a:gd name="connsiteX196" fmla="*/ 6969 w 10000"/>
                <a:gd name="connsiteY196" fmla="*/ 4070 h 10000"/>
                <a:gd name="connsiteX197" fmla="*/ 7060 w 10000"/>
                <a:gd name="connsiteY197" fmla="*/ 4111 h 10000"/>
                <a:gd name="connsiteX198" fmla="*/ 7199 w 10000"/>
                <a:gd name="connsiteY198" fmla="*/ 4066 h 10000"/>
                <a:gd name="connsiteX199" fmla="*/ 7234 w 10000"/>
                <a:gd name="connsiteY199" fmla="*/ 4009 h 10000"/>
                <a:gd name="connsiteX200" fmla="*/ 7339 w 10000"/>
                <a:gd name="connsiteY200" fmla="*/ 3970 h 10000"/>
                <a:gd name="connsiteX201" fmla="*/ 7430 w 10000"/>
                <a:gd name="connsiteY201" fmla="*/ 3987 h 10000"/>
                <a:gd name="connsiteX202" fmla="*/ 7487 w 10000"/>
                <a:gd name="connsiteY202" fmla="*/ 3958 h 10000"/>
                <a:gd name="connsiteX203" fmla="*/ 7644 w 10000"/>
                <a:gd name="connsiteY203" fmla="*/ 3917 h 10000"/>
                <a:gd name="connsiteX204" fmla="*/ 7709 w 10000"/>
                <a:gd name="connsiteY204" fmla="*/ 3864 h 10000"/>
                <a:gd name="connsiteX205" fmla="*/ 7796 w 10000"/>
                <a:gd name="connsiteY205" fmla="*/ 3842 h 10000"/>
                <a:gd name="connsiteX206" fmla="*/ 8280 w 10000"/>
                <a:gd name="connsiteY206" fmla="*/ 3522 h 10000"/>
                <a:gd name="connsiteX207" fmla="*/ 9717 w 10000"/>
                <a:gd name="connsiteY207" fmla="*/ 2343 h 10000"/>
                <a:gd name="connsiteX208" fmla="*/ 9830 w 10000"/>
                <a:gd name="connsiteY208" fmla="*/ 2369 h 10000"/>
                <a:gd name="connsiteX209" fmla="*/ 9909 w 10000"/>
                <a:gd name="connsiteY209" fmla="*/ 2410 h 10000"/>
                <a:gd name="connsiteX210" fmla="*/ 9948 w 10000"/>
                <a:gd name="connsiteY210" fmla="*/ 2365 h 10000"/>
                <a:gd name="connsiteX211" fmla="*/ 10000 w 10000"/>
                <a:gd name="connsiteY211" fmla="*/ 2349 h 10000"/>
                <a:gd name="connsiteX212" fmla="*/ 9704 w 10000"/>
                <a:gd name="connsiteY212" fmla="*/ 1992 h 10000"/>
                <a:gd name="connsiteX213" fmla="*/ 9743 w 10000"/>
                <a:gd name="connsiteY213" fmla="*/ 1897 h 10000"/>
                <a:gd name="connsiteX214" fmla="*/ 9830 w 10000"/>
                <a:gd name="connsiteY214" fmla="*/ 1819 h 10000"/>
                <a:gd name="connsiteX215" fmla="*/ 9830 w 10000"/>
                <a:gd name="connsiteY215" fmla="*/ 1699 h 10000"/>
                <a:gd name="connsiteX216" fmla="*/ 9556 w 10000"/>
                <a:gd name="connsiteY216" fmla="*/ 1465 h 10000"/>
                <a:gd name="connsiteX217" fmla="*/ 9512 w 10000"/>
                <a:gd name="connsiteY217" fmla="*/ 1379 h 10000"/>
                <a:gd name="connsiteX218" fmla="*/ 9573 w 10000"/>
                <a:gd name="connsiteY218" fmla="*/ 1271 h 10000"/>
                <a:gd name="connsiteX219" fmla="*/ 9543 w 10000"/>
                <a:gd name="connsiteY219" fmla="*/ 1194 h 10000"/>
                <a:gd name="connsiteX220" fmla="*/ 9486 w 10000"/>
                <a:gd name="connsiteY220" fmla="*/ 1159 h 10000"/>
                <a:gd name="connsiteX221" fmla="*/ 9438 w 10000"/>
                <a:gd name="connsiteY221" fmla="*/ 978 h 10000"/>
                <a:gd name="connsiteX222" fmla="*/ 9495 w 10000"/>
                <a:gd name="connsiteY222" fmla="*/ 831 h 10000"/>
                <a:gd name="connsiteX223" fmla="*/ 9077 w 10000"/>
                <a:gd name="connsiteY223" fmla="*/ 517 h 10000"/>
                <a:gd name="connsiteX224" fmla="*/ 8872 w 10000"/>
                <a:gd name="connsiteY224" fmla="*/ 440 h 10000"/>
                <a:gd name="connsiteX225" fmla="*/ 8493 w 10000"/>
                <a:gd name="connsiteY225" fmla="*/ 389 h 10000"/>
                <a:gd name="connsiteX226" fmla="*/ 7709 w 10000"/>
                <a:gd name="connsiteY226" fmla="*/ 26 h 10000"/>
                <a:gd name="connsiteX227" fmla="*/ 7683 w 10000"/>
                <a:gd name="connsiteY227" fmla="*/ 2 h 10000"/>
                <a:gd name="connsiteX228" fmla="*/ 7417 w 10000"/>
                <a:gd name="connsiteY228" fmla="*/ 0 h 10000"/>
                <a:gd name="connsiteX229" fmla="*/ 7356 w 10000"/>
                <a:gd name="connsiteY229" fmla="*/ 14 h 10000"/>
                <a:gd name="connsiteX230" fmla="*/ 7369 w 10000"/>
                <a:gd name="connsiteY230" fmla="*/ 61 h 10000"/>
                <a:gd name="connsiteX231" fmla="*/ 7422 w 10000"/>
                <a:gd name="connsiteY231" fmla="*/ 86 h 10000"/>
                <a:gd name="connsiteX232" fmla="*/ 7435 w 10000"/>
                <a:gd name="connsiteY232" fmla="*/ 139 h 10000"/>
                <a:gd name="connsiteX233" fmla="*/ 7417 w 10000"/>
                <a:gd name="connsiteY233" fmla="*/ 181 h 10000"/>
                <a:gd name="connsiteX234" fmla="*/ 7369 w 10000"/>
                <a:gd name="connsiteY234" fmla="*/ 208 h 10000"/>
                <a:gd name="connsiteX235" fmla="*/ 7334 w 10000"/>
                <a:gd name="connsiteY235" fmla="*/ 283 h 10000"/>
                <a:gd name="connsiteX236" fmla="*/ 7269 w 10000"/>
                <a:gd name="connsiteY236" fmla="*/ 336 h 10000"/>
                <a:gd name="connsiteX237" fmla="*/ 7282 w 10000"/>
                <a:gd name="connsiteY237" fmla="*/ 387 h 10000"/>
                <a:gd name="connsiteX238" fmla="*/ 7382 w 10000"/>
                <a:gd name="connsiteY238" fmla="*/ 434 h 10000"/>
                <a:gd name="connsiteX239" fmla="*/ 7317 w 10000"/>
                <a:gd name="connsiteY239" fmla="*/ 475 h 10000"/>
                <a:gd name="connsiteX240" fmla="*/ 7221 w 10000"/>
                <a:gd name="connsiteY240" fmla="*/ 485 h 10000"/>
                <a:gd name="connsiteX241" fmla="*/ 6420 w 10000"/>
                <a:gd name="connsiteY241" fmla="*/ 387 h 10000"/>
                <a:gd name="connsiteX242" fmla="*/ 6324 w 10000"/>
                <a:gd name="connsiteY242" fmla="*/ 395 h 10000"/>
                <a:gd name="connsiteX243" fmla="*/ 6267 w 10000"/>
                <a:gd name="connsiteY243" fmla="*/ 414 h 10000"/>
                <a:gd name="connsiteX244" fmla="*/ 6211 w 10000"/>
                <a:gd name="connsiteY244" fmla="*/ 462 h 10000"/>
                <a:gd name="connsiteX245" fmla="*/ 6220 w 10000"/>
                <a:gd name="connsiteY245" fmla="*/ 581 h 10000"/>
                <a:gd name="connsiteX246" fmla="*/ 6132 w 10000"/>
                <a:gd name="connsiteY246" fmla="*/ 735 h 10000"/>
                <a:gd name="connsiteX247" fmla="*/ 6024 w 10000"/>
                <a:gd name="connsiteY247" fmla="*/ 815 h 10000"/>
                <a:gd name="connsiteX248" fmla="*/ 5980 w 10000"/>
                <a:gd name="connsiteY248" fmla="*/ 805 h 10000"/>
                <a:gd name="connsiteX249" fmla="*/ 5880 w 10000"/>
                <a:gd name="connsiteY249" fmla="*/ 739 h 10000"/>
                <a:gd name="connsiteX250" fmla="*/ 5753 w 10000"/>
                <a:gd name="connsiteY250" fmla="*/ 705 h 10000"/>
                <a:gd name="connsiteX251" fmla="*/ 5618 w 10000"/>
                <a:gd name="connsiteY251" fmla="*/ 715 h 10000"/>
                <a:gd name="connsiteX252" fmla="*/ 5301 w 10000"/>
                <a:gd name="connsiteY252" fmla="*/ 866 h 10000"/>
                <a:gd name="connsiteX253" fmla="*/ 5218 w 10000"/>
                <a:gd name="connsiteY253" fmla="*/ 1017 h 10000"/>
                <a:gd name="connsiteX254" fmla="*/ 4978 w 10000"/>
                <a:gd name="connsiteY254" fmla="*/ 1153 h 10000"/>
                <a:gd name="connsiteX255" fmla="*/ 4935 w 10000"/>
                <a:gd name="connsiteY255" fmla="*/ 1222 h 10000"/>
                <a:gd name="connsiteX256" fmla="*/ 5061 w 10000"/>
                <a:gd name="connsiteY256" fmla="*/ 1344 h 10000"/>
                <a:gd name="connsiteX257" fmla="*/ 5074 w 10000"/>
                <a:gd name="connsiteY257" fmla="*/ 1412 h 10000"/>
                <a:gd name="connsiteX258" fmla="*/ 4421 w 10000"/>
                <a:gd name="connsiteY258" fmla="*/ 1813 h 10000"/>
                <a:gd name="connsiteX259" fmla="*/ 4220 w 10000"/>
                <a:gd name="connsiteY259" fmla="*/ 2070 h 10000"/>
                <a:gd name="connsiteX260" fmla="*/ 4003 w 10000"/>
                <a:gd name="connsiteY260" fmla="*/ 2135 h 10000"/>
                <a:gd name="connsiteX261" fmla="*/ 3868 w 10000"/>
                <a:gd name="connsiteY261" fmla="*/ 2131 h 10000"/>
                <a:gd name="connsiteX262" fmla="*/ 3785 w 10000"/>
                <a:gd name="connsiteY262" fmla="*/ 2153 h 10000"/>
                <a:gd name="connsiteX263" fmla="*/ 3558 w 10000"/>
                <a:gd name="connsiteY263" fmla="*/ 2793 h 10000"/>
                <a:gd name="connsiteX264" fmla="*/ 3036 w 10000"/>
                <a:gd name="connsiteY264" fmla="*/ 3166 h 10000"/>
                <a:gd name="connsiteX265" fmla="*/ 3040 w 10000"/>
                <a:gd name="connsiteY265" fmla="*/ 3225 h 10000"/>
                <a:gd name="connsiteX266" fmla="*/ 3271 w 10000"/>
                <a:gd name="connsiteY266" fmla="*/ 3392 h 10000"/>
                <a:gd name="connsiteX267" fmla="*/ 3197 w 10000"/>
                <a:gd name="connsiteY267" fmla="*/ 3573 h 10000"/>
                <a:gd name="connsiteX268" fmla="*/ 3062 w 10000"/>
                <a:gd name="connsiteY268" fmla="*/ 3640 h 10000"/>
                <a:gd name="connsiteX269" fmla="*/ 2657 w 10000"/>
                <a:gd name="connsiteY269" fmla="*/ 3595 h 10000"/>
                <a:gd name="connsiteX270" fmla="*/ 2378 w 10000"/>
                <a:gd name="connsiteY270" fmla="*/ 3620 h 10000"/>
                <a:gd name="connsiteX271" fmla="*/ 2152 w 10000"/>
                <a:gd name="connsiteY271" fmla="*/ 3673 h 10000"/>
                <a:gd name="connsiteX272" fmla="*/ 1790 w 10000"/>
                <a:gd name="connsiteY272" fmla="*/ 3840 h 10000"/>
                <a:gd name="connsiteX273" fmla="*/ 1598 w 10000"/>
                <a:gd name="connsiteY273" fmla="*/ 4042 h 10000"/>
                <a:gd name="connsiteX274" fmla="*/ 1616 w 10000"/>
                <a:gd name="connsiteY274" fmla="*/ 4154 h 10000"/>
                <a:gd name="connsiteX275" fmla="*/ 1681 w 10000"/>
                <a:gd name="connsiteY275" fmla="*/ 4241 h 10000"/>
                <a:gd name="connsiteX276" fmla="*/ 1733 w 10000"/>
                <a:gd name="connsiteY276" fmla="*/ 4276 h 10000"/>
                <a:gd name="connsiteX277" fmla="*/ 1638 w 10000"/>
                <a:gd name="connsiteY277" fmla="*/ 4331 h 10000"/>
                <a:gd name="connsiteX278" fmla="*/ 1433 w 10000"/>
                <a:gd name="connsiteY278" fmla="*/ 4710 h 10000"/>
                <a:gd name="connsiteX279" fmla="*/ 1472 w 10000"/>
                <a:gd name="connsiteY279" fmla="*/ 4732 h 10000"/>
                <a:gd name="connsiteX280" fmla="*/ 1503 w 10000"/>
                <a:gd name="connsiteY280" fmla="*/ 4828 h 10000"/>
                <a:gd name="connsiteX281" fmla="*/ 1407 w 10000"/>
                <a:gd name="connsiteY281" fmla="*/ 5227 h 10000"/>
                <a:gd name="connsiteX282" fmla="*/ 1503 w 10000"/>
                <a:gd name="connsiteY282" fmla="*/ 5329 h 10000"/>
                <a:gd name="connsiteX283" fmla="*/ 1764 w 10000"/>
                <a:gd name="connsiteY283" fmla="*/ 5441 h 10000"/>
                <a:gd name="connsiteX284" fmla="*/ 1777 w 10000"/>
                <a:gd name="connsiteY284" fmla="*/ 5578 h 10000"/>
                <a:gd name="connsiteX285" fmla="*/ 1664 w 10000"/>
                <a:gd name="connsiteY285" fmla="*/ 5690 h 10000"/>
                <a:gd name="connsiteX286" fmla="*/ 1503 w 10000"/>
                <a:gd name="connsiteY286" fmla="*/ 5759 h 10000"/>
                <a:gd name="connsiteX287" fmla="*/ 1289 w 10000"/>
                <a:gd name="connsiteY287" fmla="*/ 5787 h 10000"/>
                <a:gd name="connsiteX288" fmla="*/ 1233 w 10000"/>
                <a:gd name="connsiteY288" fmla="*/ 5826 h 10000"/>
                <a:gd name="connsiteX289" fmla="*/ 1359 w 10000"/>
                <a:gd name="connsiteY289" fmla="*/ 5920 h 10000"/>
                <a:gd name="connsiteX290" fmla="*/ 1429 w 10000"/>
                <a:gd name="connsiteY290" fmla="*/ 6142 h 10000"/>
                <a:gd name="connsiteX291" fmla="*/ 1267 w 10000"/>
                <a:gd name="connsiteY291" fmla="*/ 6333 h 10000"/>
                <a:gd name="connsiteX292" fmla="*/ 1324 w 10000"/>
                <a:gd name="connsiteY292" fmla="*/ 6392 h 10000"/>
                <a:gd name="connsiteX293" fmla="*/ 1272 w 10000"/>
                <a:gd name="connsiteY293" fmla="*/ 6492 h 10000"/>
                <a:gd name="connsiteX294" fmla="*/ 1167 w 10000"/>
                <a:gd name="connsiteY294" fmla="*/ 6561 h 10000"/>
                <a:gd name="connsiteX295" fmla="*/ 758 w 10000"/>
                <a:gd name="connsiteY295" fmla="*/ 6614 h 10000"/>
                <a:gd name="connsiteX296" fmla="*/ 732 w 10000"/>
                <a:gd name="connsiteY296" fmla="*/ 6706 h 10000"/>
                <a:gd name="connsiteX297" fmla="*/ 510 w 10000"/>
                <a:gd name="connsiteY297" fmla="*/ 6843 h 10000"/>
                <a:gd name="connsiteX298" fmla="*/ 540 w 10000"/>
                <a:gd name="connsiteY298" fmla="*/ 7040 h 10000"/>
                <a:gd name="connsiteX299" fmla="*/ 353 w 10000"/>
                <a:gd name="connsiteY299" fmla="*/ 7293 h 10000"/>
                <a:gd name="connsiteX300" fmla="*/ 226 w 10000"/>
                <a:gd name="connsiteY300" fmla="*/ 7323 h 10000"/>
                <a:gd name="connsiteX301" fmla="*/ 174 w 10000"/>
                <a:gd name="connsiteY301" fmla="*/ 7262 h 10000"/>
                <a:gd name="connsiteX302" fmla="*/ 109 w 10000"/>
                <a:gd name="connsiteY302" fmla="*/ 7354 h 10000"/>
                <a:gd name="connsiteX303" fmla="*/ 152 w 10000"/>
                <a:gd name="connsiteY303" fmla="*/ 7197 h 10000"/>
                <a:gd name="connsiteX304" fmla="*/ 126 w 10000"/>
                <a:gd name="connsiteY304" fmla="*/ 7166 h 10000"/>
                <a:gd name="connsiteX0" fmla="*/ 126 w 9948"/>
                <a:gd name="connsiteY0" fmla="*/ 7166 h 10000"/>
                <a:gd name="connsiteX1" fmla="*/ 0 w 9948"/>
                <a:gd name="connsiteY1" fmla="*/ 7248 h 10000"/>
                <a:gd name="connsiteX2" fmla="*/ 0 w 9948"/>
                <a:gd name="connsiteY2" fmla="*/ 7651 h 10000"/>
                <a:gd name="connsiteX3" fmla="*/ 70 w 9948"/>
                <a:gd name="connsiteY3" fmla="*/ 7663 h 10000"/>
                <a:gd name="connsiteX4" fmla="*/ 87 w 9948"/>
                <a:gd name="connsiteY4" fmla="*/ 7694 h 10000"/>
                <a:gd name="connsiteX5" fmla="*/ 83 w 9948"/>
                <a:gd name="connsiteY5" fmla="*/ 7749 h 10000"/>
                <a:gd name="connsiteX6" fmla="*/ 57 w 9948"/>
                <a:gd name="connsiteY6" fmla="*/ 7773 h 10000"/>
                <a:gd name="connsiteX7" fmla="*/ 161 w 9948"/>
                <a:gd name="connsiteY7" fmla="*/ 7727 h 10000"/>
                <a:gd name="connsiteX8" fmla="*/ 205 w 9948"/>
                <a:gd name="connsiteY8" fmla="*/ 7680 h 10000"/>
                <a:gd name="connsiteX9" fmla="*/ 261 w 9948"/>
                <a:gd name="connsiteY9" fmla="*/ 7712 h 10000"/>
                <a:gd name="connsiteX10" fmla="*/ 200 w 9948"/>
                <a:gd name="connsiteY10" fmla="*/ 7778 h 10000"/>
                <a:gd name="connsiteX11" fmla="*/ 266 w 9948"/>
                <a:gd name="connsiteY11" fmla="*/ 7780 h 10000"/>
                <a:gd name="connsiteX12" fmla="*/ 296 w 9948"/>
                <a:gd name="connsiteY12" fmla="*/ 7796 h 10000"/>
                <a:gd name="connsiteX13" fmla="*/ 213 w 9948"/>
                <a:gd name="connsiteY13" fmla="*/ 7818 h 10000"/>
                <a:gd name="connsiteX14" fmla="*/ 83 w 9948"/>
                <a:gd name="connsiteY14" fmla="*/ 7886 h 10000"/>
                <a:gd name="connsiteX15" fmla="*/ 314 w 9948"/>
                <a:gd name="connsiteY15" fmla="*/ 7938 h 10000"/>
                <a:gd name="connsiteX16" fmla="*/ 344 w 9948"/>
                <a:gd name="connsiteY16" fmla="*/ 8014 h 10000"/>
                <a:gd name="connsiteX17" fmla="*/ 266 w 9948"/>
                <a:gd name="connsiteY17" fmla="*/ 8126 h 10000"/>
                <a:gd name="connsiteX18" fmla="*/ 436 w 9948"/>
                <a:gd name="connsiteY18" fmla="*/ 8118 h 10000"/>
                <a:gd name="connsiteX19" fmla="*/ 449 w 9948"/>
                <a:gd name="connsiteY19" fmla="*/ 8203 h 10000"/>
                <a:gd name="connsiteX20" fmla="*/ 335 w 9948"/>
                <a:gd name="connsiteY20" fmla="*/ 8260 h 10000"/>
                <a:gd name="connsiteX21" fmla="*/ 353 w 9948"/>
                <a:gd name="connsiteY21" fmla="*/ 8370 h 10000"/>
                <a:gd name="connsiteX22" fmla="*/ 309 w 9948"/>
                <a:gd name="connsiteY22" fmla="*/ 8456 h 10000"/>
                <a:gd name="connsiteX23" fmla="*/ 444 w 9948"/>
                <a:gd name="connsiteY23" fmla="*/ 8464 h 10000"/>
                <a:gd name="connsiteX24" fmla="*/ 575 w 9948"/>
                <a:gd name="connsiteY24" fmla="*/ 8792 h 10000"/>
                <a:gd name="connsiteX25" fmla="*/ 727 w 9948"/>
                <a:gd name="connsiteY25" fmla="*/ 8876 h 10000"/>
                <a:gd name="connsiteX26" fmla="*/ 793 w 9948"/>
                <a:gd name="connsiteY26" fmla="*/ 8965 h 10000"/>
                <a:gd name="connsiteX27" fmla="*/ 958 w 9948"/>
                <a:gd name="connsiteY27" fmla="*/ 9030 h 10000"/>
                <a:gd name="connsiteX28" fmla="*/ 1063 w 9948"/>
                <a:gd name="connsiteY28" fmla="*/ 9112 h 10000"/>
                <a:gd name="connsiteX29" fmla="*/ 1050 w 9948"/>
                <a:gd name="connsiteY29" fmla="*/ 9171 h 10000"/>
                <a:gd name="connsiteX30" fmla="*/ 945 w 9948"/>
                <a:gd name="connsiteY30" fmla="*/ 9193 h 10000"/>
                <a:gd name="connsiteX31" fmla="*/ 832 w 9948"/>
                <a:gd name="connsiteY31" fmla="*/ 9179 h 10000"/>
                <a:gd name="connsiteX32" fmla="*/ 797 w 9948"/>
                <a:gd name="connsiteY32" fmla="*/ 9204 h 10000"/>
                <a:gd name="connsiteX33" fmla="*/ 884 w 9948"/>
                <a:gd name="connsiteY33" fmla="*/ 9332 h 10000"/>
                <a:gd name="connsiteX34" fmla="*/ 762 w 9948"/>
                <a:gd name="connsiteY34" fmla="*/ 9322 h 10000"/>
                <a:gd name="connsiteX35" fmla="*/ 658 w 9948"/>
                <a:gd name="connsiteY35" fmla="*/ 9291 h 10000"/>
                <a:gd name="connsiteX36" fmla="*/ 640 w 9948"/>
                <a:gd name="connsiteY36" fmla="*/ 9338 h 10000"/>
                <a:gd name="connsiteX37" fmla="*/ 984 w 9948"/>
                <a:gd name="connsiteY37" fmla="*/ 9776 h 10000"/>
                <a:gd name="connsiteX38" fmla="*/ 928 w 9948"/>
                <a:gd name="connsiteY38" fmla="*/ 9817 h 10000"/>
                <a:gd name="connsiteX39" fmla="*/ 889 w 9948"/>
                <a:gd name="connsiteY39" fmla="*/ 9902 h 10000"/>
                <a:gd name="connsiteX40" fmla="*/ 841 w 9948"/>
                <a:gd name="connsiteY40" fmla="*/ 9908 h 10000"/>
                <a:gd name="connsiteX41" fmla="*/ 810 w 9948"/>
                <a:gd name="connsiteY41" fmla="*/ 9945 h 10000"/>
                <a:gd name="connsiteX42" fmla="*/ 1019 w 9948"/>
                <a:gd name="connsiteY42" fmla="*/ 9949 h 10000"/>
                <a:gd name="connsiteX43" fmla="*/ 1202 w 9948"/>
                <a:gd name="connsiteY43" fmla="*/ 9986 h 10000"/>
                <a:gd name="connsiteX44" fmla="*/ 1507 w 9948"/>
                <a:gd name="connsiteY44" fmla="*/ 9947 h 10000"/>
                <a:gd name="connsiteX45" fmla="*/ 1781 w 9948"/>
                <a:gd name="connsiteY45" fmla="*/ 9953 h 10000"/>
                <a:gd name="connsiteX46" fmla="*/ 1943 w 9948"/>
                <a:gd name="connsiteY46" fmla="*/ 10000 h 10000"/>
                <a:gd name="connsiteX47" fmla="*/ 2030 w 9948"/>
                <a:gd name="connsiteY47" fmla="*/ 9969 h 10000"/>
                <a:gd name="connsiteX48" fmla="*/ 2117 w 9948"/>
                <a:gd name="connsiteY48" fmla="*/ 9868 h 10000"/>
                <a:gd name="connsiteX49" fmla="*/ 2095 w 9948"/>
                <a:gd name="connsiteY49" fmla="*/ 9703 h 10000"/>
                <a:gd name="connsiteX50" fmla="*/ 2304 w 9948"/>
                <a:gd name="connsiteY50" fmla="*/ 9517 h 10000"/>
                <a:gd name="connsiteX51" fmla="*/ 2456 w 9948"/>
                <a:gd name="connsiteY51" fmla="*/ 9546 h 10000"/>
                <a:gd name="connsiteX52" fmla="*/ 2544 w 9948"/>
                <a:gd name="connsiteY52" fmla="*/ 9472 h 10000"/>
                <a:gd name="connsiteX53" fmla="*/ 2713 w 9948"/>
                <a:gd name="connsiteY53" fmla="*/ 9430 h 10000"/>
                <a:gd name="connsiteX54" fmla="*/ 2944 w 9948"/>
                <a:gd name="connsiteY54" fmla="*/ 9440 h 10000"/>
                <a:gd name="connsiteX55" fmla="*/ 3084 w 9948"/>
                <a:gd name="connsiteY55" fmla="*/ 9470 h 10000"/>
                <a:gd name="connsiteX56" fmla="*/ 3267 w 9948"/>
                <a:gd name="connsiteY56" fmla="*/ 9456 h 10000"/>
                <a:gd name="connsiteX57" fmla="*/ 3454 w 9948"/>
                <a:gd name="connsiteY57" fmla="*/ 9489 h 10000"/>
                <a:gd name="connsiteX58" fmla="*/ 3641 w 9948"/>
                <a:gd name="connsiteY58" fmla="*/ 9493 h 10000"/>
                <a:gd name="connsiteX59" fmla="*/ 4059 w 9948"/>
                <a:gd name="connsiteY59" fmla="*/ 9061 h 10000"/>
                <a:gd name="connsiteX60" fmla="*/ 4164 w 9948"/>
                <a:gd name="connsiteY60" fmla="*/ 8711 h 10000"/>
                <a:gd name="connsiteX61" fmla="*/ 4334 w 9948"/>
                <a:gd name="connsiteY61" fmla="*/ 8554 h 10000"/>
                <a:gd name="connsiteX62" fmla="*/ 4334 w 9948"/>
                <a:gd name="connsiteY62" fmla="*/ 8472 h 10000"/>
                <a:gd name="connsiteX63" fmla="*/ 4273 w 9948"/>
                <a:gd name="connsiteY63" fmla="*/ 8425 h 10000"/>
                <a:gd name="connsiteX64" fmla="*/ 4373 w 9948"/>
                <a:gd name="connsiteY64" fmla="*/ 8352 h 10000"/>
                <a:gd name="connsiteX65" fmla="*/ 4355 w 9948"/>
                <a:gd name="connsiteY65" fmla="*/ 8289 h 10000"/>
                <a:gd name="connsiteX66" fmla="*/ 4286 w 9948"/>
                <a:gd name="connsiteY66" fmla="*/ 8236 h 10000"/>
                <a:gd name="connsiteX67" fmla="*/ 4273 w 9948"/>
                <a:gd name="connsiteY67" fmla="*/ 8199 h 10000"/>
                <a:gd name="connsiteX68" fmla="*/ 4290 w 9948"/>
                <a:gd name="connsiteY68" fmla="*/ 8169 h 10000"/>
                <a:gd name="connsiteX69" fmla="*/ 4382 w 9948"/>
                <a:gd name="connsiteY69" fmla="*/ 8193 h 10000"/>
                <a:gd name="connsiteX70" fmla="*/ 4456 w 9948"/>
                <a:gd name="connsiteY70" fmla="*/ 8191 h 10000"/>
                <a:gd name="connsiteX71" fmla="*/ 4416 w 9948"/>
                <a:gd name="connsiteY71" fmla="*/ 8140 h 10000"/>
                <a:gd name="connsiteX72" fmla="*/ 4429 w 9948"/>
                <a:gd name="connsiteY72" fmla="*/ 8112 h 10000"/>
                <a:gd name="connsiteX73" fmla="*/ 4482 w 9948"/>
                <a:gd name="connsiteY73" fmla="*/ 8069 h 10000"/>
                <a:gd name="connsiteX74" fmla="*/ 4473 w 9948"/>
                <a:gd name="connsiteY74" fmla="*/ 8034 h 10000"/>
                <a:gd name="connsiteX75" fmla="*/ 4521 w 9948"/>
                <a:gd name="connsiteY75" fmla="*/ 7916 h 10000"/>
                <a:gd name="connsiteX76" fmla="*/ 4508 w 9948"/>
                <a:gd name="connsiteY76" fmla="*/ 7881 h 10000"/>
                <a:gd name="connsiteX77" fmla="*/ 4255 w 9948"/>
                <a:gd name="connsiteY77" fmla="*/ 7792 h 10000"/>
                <a:gd name="connsiteX78" fmla="*/ 4290 w 9948"/>
                <a:gd name="connsiteY78" fmla="*/ 7788 h 10000"/>
                <a:gd name="connsiteX79" fmla="*/ 4425 w 9948"/>
                <a:gd name="connsiteY79" fmla="*/ 7812 h 10000"/>
                <a:gd name="connsiteX80" fmla="*/ 4569 w 9948"/>
                <a:gd name="connsiteY80" fmla="*/ 7804 h 10000"/>
                <a:gd name="connsiteX81" fmla="*/ 4612 w 9948"/>
                <a:gd name="connsiteY81" fmla="*/ 7771 h 10000"/>
                <a:gd name="connsiteX82" fmla="*/ 4473 w 9948"/>
                <a:gd name="connsiteY82" fmla="*/ 7710 h 10000"/>
                <a:gd name="connsiteX83" fmla="*/ 4055 w 9948"/>
                <a:gd name="connsiteY83" fmla="*/ 7670 h 10000"/>
                <a:gd name="connsiteX84" fmla="*/ 4085 w 9948"/>
                <a:gd name="connsiteY84" fmla="*/ 7651 h 10000"/>
                <a:gd name="connsiteX85" fmla="*/ 4425 w 9948"/>
                <a:gd name="connsiteY85" fmla="*/ 7639 h 10000"/>
                <a:gd name="connsiteX86" fmla="*/ 4612 w 9948"/>
                <a:gd name="connsiteY86" fmla="*/ 7676 h 10000"/>
                <a:gd name="connsiteX87" fmla="*/ 4721 w 9948"/>
                <a:gd name="connsiteY87" fmla="*/ 7651 h 10000"/>
                <a:gd name="connsiteX88" fmla="*/ 4760 w 9948"/>
                <a:gd name="connsiteY88" fmla="*/ 7588 h 10000"/>
                <a:gd name="connsiteX89" fmla="*/ 4956 w 9948"/>
                <a:gd name="connsiteY89" fmla="*/ 7588 h 10000"/>
                <a:gd name="connsiteX90" fmla="*/ 5222 w 9948"/>
                <a:gd name="connsiteY90" fmla="*/ 7462 h 10000"/>
                <a:gd name="connsiteX91" fmla="*/ 5231 w 9948"/>
                <a:gd name="connsiteY91" fmla="*/ 7378 h 10000"/>
                <a:gd name="connsiteX92" fmla="*/ 5344 w 9948"/>
                <a:gd name="connsiteY92" fmla="*/ 7397 h 10000"/>
                <a:gd name="connsiteX93" fmla="*/ 5340 w 9948"/>
                <a:gd name="connsiteY93" fmla="*/ 7482 h 10000"/>
                <a:gd name="connsiteX94" fmla="*/ 5518 w 9948"/>
                <a:gd name="connsiteY94" fmla="*/ 7476 h 10000"/>
                <a:gd name="connsiteX95" fmla="*/ 5636 w 9948"/>
                <a:gd name="connsiteY95" fmla="*/ 7388 h 10000"/>
                <a:gd name="connsiteX96" fmla="*/ 5854 w 9948"/>
                <a:gd name="connsiteY96" fmla="*/ 7309 h 10000"/>
                <a:gd name="connsiteX97" fmla="*/ 5819 w 9948"/>
                <a:gd name="connsiteY97" fmla="*/ 7219 h 10000"/>
                <a:gd name="connsiteX98" fmla="*/ 5884 w 9948"/>
                <a:gd name="connsiteY98" fmla="*/ 7254 h 10000"/>
                <a:gd name="connsiteX99" fmla="*/ 5984 w 9948"/>
                <a:gd name="connsiteY99" fmla="*/ 7254 h 10000"/>
                <a:gd name="connsiteX100" fmla="*/ 5984 w 9948"/>
                <a:gd name="connsiteY100" fmla="*/ 7213 h 10000"/>
                <a:gd name="connsiteX101" fmla="*/ 6076 w 9948"/>
                <a:gd name="connsiteY101" fmla="*/ 7181 h 10000"/>
                <a:gd name="connsiteX102" fmla="*/ 6063 w 9948"/>
                <a:gd name="connsiteY102" fmla="*/ 7148 h 10000"/>
                <a:gd name="connsiteX103" fmla="*/ 5279 w 9948"/>
                <a:gd name="connsiteY103" fmla="*/ 7215 h 10000"/>
                <a:gd name="connsiteX104" fmla="*/ 5096 w 9948"/>
                <a:gd name="connsiteY104" fmla="*/ 7195 h 10000"/>
                <a:gd name="connsiteX105" fmla="*/ 5022 w 9948"/>
                <a:gd name="connsiteY105" fmla="*/ 7219 h 10000"/>
                <a:gd name="connsiteX106" fmla="*/ 4996 w 9948"/>
                <a:gd name="connsiteY106" fmla="*/ 7173 h 10000"/>
                <a:gd name="connsiteX107" fmla="*/ 4909 w 9948"/>
                <a:gd name="connsiteY107" fmla="*/ 7132 h 10000"/>
                <a:gd name="connsiteX108" fmla="*/ 4560 w 9948"/>
                <a:gd name="connsiteY108" fmla="*/ 7052 h 10000"/>
                <a:gd name="connsiteX109" fmla="*/ 4355 w 9948"/>
                <a:gd name="connsiteY109" fmla="*/ 7065 h 10000"/>
                <a:gd name="connsiteX110" fmla="*/ 4273 w 9948"/>
                <a:gd name="connsiteY110" fmla="*/ 7042 h 10000"/>
                <a:gd name="connsiteX111" fmla="*/ 4360 w 9948"/>
                <a:gd name="connsiteY111" fmla="*/ 7022 h 10000"/>
                <a:gd name="connsiteX112" fmla="*/ 4425 w 9948"/>
                <a:gd name="connsiteY112" fmla="*/ 6979 h 10000"/>
                <a:gd name="connsiteX113" fmla="*/ 4521 w 9948"/>
                <a:gd name="connsiteY113" fmla="*/ 6993 h 10000"/>
                <a:gd name="connsiteX114" fmla="*/ 4639 w 9948"/>
                <a:gd name="connsiteY114" fmla="*/ 6981 h 10000"/>
                <a:gd name="connsiteX115" fmla="*/ 4813 w 9948"/>
                <a:gd name="connsiteY115" fmla="*/ 6995 h 10000"/>
                <a:gd name="connsiteX116" fmla="*/ 4834 w 9948"/>
                <a:gd name="connsiteY116" fmla="*/ 6989 h 10000"/>
                <a:gd name="connsiteX117" fmla="*/ 4970 w 9948"/>
                <a:gd name="connsiteY117" fmla="*/ 7056 h 10000"/>
                <a:gd name="connsiteX118" fmla="*/ 5070 w 9948"/>
                <a:gd name="connsiteY118" fmla="*/ 7032 h 10000"/>
                <a:gd name="connsiteX119" fmla="*/ 5078 w 9948"/>
                <a:gd name="connsiteY119" fmla="*/ 7010 h 10000"/>
                <a:gd name="connsiteX120" fmla="*/ 5170 w 9948"/>
                <a:gd name="connsiteY120" fmla="*/ 7048 h 10000"/>
                <a:gd name="connsiteX121" fmla="*/ 5292 w 9948"/>
                <a:gd name="connsiteY121" fmla="*/ 7069 h 10000"/>
                <a:gd name="connsiteX122" fmla="*/ 5340 w 9948"/>
                <a:gd name="connsiteY122" fmla="*/ 7030 h 10000"/>
                <a:gd name="connsiteX123" fmla="*/ 5379 w 9948"/>
                <a:gd name="connsiteY123" fmla="*/ 7052 h 10000"/>
                <a:gd name="connsiteX124" fmla="*/ 5436 w 9948"/>
                <a:gd name="connsiteY124" fmla="*/ 7126 h 10000"/>
                <a:gd name="connsiteX125" fmla="*/ 5553 w 9948"/>
                <a:gd name="connsiteY125" fmla="*/ 7144 h 10000"/>
                <a:gd name="connsiteX126" fmla="*/ 6032 w 9948"/>
                <a:gd name="connsiteY126" fmla="*/ 7034 h 10000"/>
                <a:gd name="connsiteX127" fmla="*/ 6267 w 9948"/>
                <a:gd name="connsiteY127" fmla="*/ 6879 h 10000"/>
                <a:gd name="connsiteX128" fmla="*/ 6324 w 9948"/>
                <a:gd name="connsiteY128" fmla="*/ 6765 h 10000"/>
                <a:gd name="connsiteX129" fmla="*/ 6237 w 9948"/>
                <a:gd name="connsiteY129" fmla="*/ 6663 h 10000"/>
                <a:gd name="connsiteX130" fmla="*/ 6058 w 9948"/>
                <a:gd name="connsiteY130" fmla="*/ 6602 h 10000"/>
                <a:gd name="connsiteX131" fmla="*/ 5932 w 9948"/>
                <a:gd name="connsiteY131" fmla="*/ 6502 h 10000"/>
                <a:gd name="connsiteX132" fmla="*/ 6050 w 9948"/>
                <a:gd name="connsiteY132" fmla="*/ 6498 h 10000"/>
                <a:gd name="connsiteX133" fmla="*/ 6041 w 9948"/>
                <a:gd name="connsiteY133" fmla="*/ 6474 h 10000"/>
                <a:gd name="connsiteX134" fmla="*/ 5732 w 9948"/>
                <a:gd name="connsiteY134" fmla="*/ 6403 h 10000"/>
                <a:gd name="connsiteX135" fmla="*/ 5719 w 9948"/>
                <a:gd name="connsiteY135" fmla="*/ 6339 h 10000"/>
                <a:gd name="connsiteX136" fmla="*/ 5662 w 9948"/>
                <a:gd name="connsiteY136" fmla="*/ 6272 h 10000"/>
                <a:gd name="connsiteX137" fmla="*/ 5418 w 9948"/>
                <a:gd name="connsiteY137" fmla="*/ 6284 h 10000"/>
                <a:gd name="connsiteX138" fmla="*/ 5331 w 9948"/>
                <a:gd name="connsiteY138" fmla="*/ 6213 h 10000"/>
                <a:gd name="connsiteX139" fmla="*/ 5279 w 9948"/>
                <a:gd name="connsiteY139" fmla="*/ 6209 h 10000"/>
                <a:gd name="connsiteX140" fmla="*/ 5279 w 9948"/>
                <a:gd name="connsiteY140" fmla="*/ 6238 h 10000"/>
                <a:gd name="connsiteX141" fmla="*/ 5170 w 9948"/>
                <a:gd name="connsiteY141" fmla="*/ 6358 h 10000"/>
                <a:gd name="connsiteX142" fmla="*/ 5052 w 9948"/>
                <a:gd name="connsiteY142" fmla="*/ 6429 h 10000"/>
                <a:gd name="connsiteX143" fmla="*/ 4682 w 9948"/>
                <a:gd name="connsiteY143" fmla="*/ 6551 h 10000"/>
                <a:gd name="connsiteX144" fmla="*/ 4551 w 9948"/>
                <a:gd name="connsiteY144" fmla="*/ 6547 h 10000"/>
                <a:gd name="connsiteX145" fmla="*/ 4373 w 9948"/>
                <a:gd name="connsiteY145" fmla="*/ 6565 h 10000"/>
                <a:gd name="connsiteX146" fmla="*/ 4273 w 9948"/>
                <a:gd name="connsiteY146" fmla="*/ 6547 h 10000"/>
                <a:gd name="connsiteX147" fmla="*/ 4403 w 9948"/>
                <a:gd name="connsiteY147" fmla="*/ 6513 h 10000"/>
                <a:gd name="connsiteX148" fmla="*/ 4573 w 9948"/>
                <a:gd name="connsiteY148" fmla="*/ 6498 h 10000"/>
                <a:gd name="connsiteX149" fmla="*/ 4713 w 9948"/>
                <a:gd name="connsiteY149" fmla="*/ 6441 h 10000"/>
                <a:gd name="connsiteX150" fmla="*/ 4852 w 9948"/>
                <a:gd name="connsiteY150" fmla="*/ 6415 h 10000"/>
                <a:gd name="connsiteX151" fmla="*/ 5109 w 9948"/>
                <a:gd name="connsiteY151" fmla="*/ 6317 h 10000"/>
                <a:gd name="connsiteX152" fmla="*/ 5157 w 9948"/>
                <a:gd name="connsiteY152" fmla="*/ 6252 h 10000"/>
                <a:gd name="connsiteX153" fmla="*/ 5161 w 9948"/>
                <a:gd name="connsiteY153" fmla="*/ 6168 h 10000"/>
                <a:gd name="connsiteX154" fmla="*/ 5044 w 9948"/>
                <a:gd name="connsiteY154" fmla="*/ 6154 h 10000"/>
                <a:gd name="connsiteX155" fmla="*/ 5096 w 9948"/>
                <a:gd name="connsiteY155" fmla="*/ 6103 h 10000"/>
                <a:gd name="connsiteX156" fmla="*/ 5113 w 9948"/>
                <a:gd name="connsiteY156" fmla="*/ 6038 h 10000"/>
                <a:gd name="connsiteX157" fmla="*/ 5065 w 9948"/>
                <a:gd name="connsiteY157" fmla="*/ 5977 h 10000"/>
                <a:gd name="connsiteX158" fmla="*/ 5035 w 9948"/>
                <a:gd name="connsiteY158" fmla="*/ 5533 h 10000"/>
                <a:gd name="connsiteX159" fmla="*/ 5105 w 9948"/>
                <a:gd name="connsiteY159" fmla="*/ 5437 h 10000"/>
                <a:gd name="connsiteX160" fmla="*/ 5087 w 9948"/>
                <a:gd name="connsiteY160" fmla="*/ 5398 h 10000"/>
                <a:gd name="connsiteX161" fmla="*/ 5292 w 9948"/>
                <a:gd name="connsiteY161" fmla="*/ 5455 h 10000"/>
                <a:gd name="connsiteX162" fmla="*/ 5305 w 9948"/>
                <a:gd name="connsiteY162" fmla="*/ 5402 h 10000"/>
                <a:gd name="connsiteX163" fmla="*/ 5261 w 9948"/>
                <a:gd name="connsiteY163" fmla="*/ 5264 h 10000"/>
                <a:gd name="connsiteX164" fmla="*/ 5409 w 9948"/>
                <a:gd name="connsiteY164" fmla="*/ 5019 h 10000"/>
                <a:gd name="connsiteX165" fmla="*/ 5318 w 9948"/>
                <a:gd name="connsiteY165" fmla="*/ 4960 h 10000"/>
                <a:gd name="connsiteX166" fmla="*/ 5283 w 9948"/>
                <a:gd name="connsiteY166" fmla="*/ 4905 h 10000"/>
                <a:gd name="connsiteX167" fmla="*/ 5296 w 9948"/>
                <a:gd name="connsiteY167" fmla="*/ 4816 h 10000"/>
                <a:gd name="connsiteX168" fmla="*/ 5510 w 9948"/>
                <a:gd name="connsiteY168" fmla="*/ 4875 h 10000"/>
                <a:gd name="connsiteX169" fmla="*/ 5518 w 9948"/>
                <a:gd name="connsiteY169" fmla="*/ 4858 h 10000"/>
                <a:gd name="connsiteX170" fmla="*/ 5579 w 9948"/>
                <a:gd name="connsiteY170" fmla="*/ 4842 h 10000"/>
                <a:gd name="connsiteX171" fmla="*/ 5662 w 9948"/>
                <a:gd name="connsiteY171" fmla="*/ 4785 h 10000"/>
                <a:gd name="connsiteX172" fmla="*/ 5675 w 9948"/>
                <a:gd name="connsiteY172" fmla="*/ 4769 h 10000"/>
                <a:gd name="connsiteX173" fmla="*/ 5658 w 9948"/>
                <a:gd name="connsiteY173" fmla="*/ 4748 h 10000"/>
                <a:gd name="connsiteX174" fmla="*/ 5701 w 9948"/>
                <a:gd name="connsiteY174" fmla="*/ 4647 h 10000"/>
                <a:gd name="connsiteX175" fmla="*/ 5649 w 9948"/>
                <a:gd name="connsiteY175" fmla="*/ 4581 h 10000"/>
                <a:gd name="connsiteX176" fmla="*/ 5658 w 9948"/>
                <a:gd name="connsiteY176" fmla="*/ 4528 h 10000"/>
                <a:gd name="connsiteX177" fmla="*/ 5688 w 9948"/>
                <a:gd name="connsiteY177" fmla="*/ 4590 h 10000"/>
                <a:gd name="connsiteX178" fmla="*/ 5806 w 9948"/>
                <a:gd name="connsiteY178" fmla="*/ 4636 h 10000"/>
                <a:gd name="connsiteX179" fmla="*/ 5854 w 9948"/>
                <a:gd name="connsiteY179" fmla="*/ 4630 h 10000"/>
                <a:gd name="connsiteX180" fmla="*/ 5932 w 9948"/>
                <a:gd name="connsiteY180" fmla="*/ 4569 h 10000"/>
                <a:gd name="connsiteX181" fmla="*/ 6015 w 9948"/>
                <a:gd name="connsiteY181" fmla="*/ 4594 h 10000"/>
                <a:gd name="connsiteX182" fmla="*/ 6037 w 9948"/>
                <a:gd name="connsiteY182" fmla="*/ 4545 h 10000"/>
                <a:gd name="connsiteX183" fmla="*/ 6093 w 9948"/>
                <a:gd name="connsiteY183" fmla="*/ 4512 h 10000"/>
                <a:gd name="connsiteX184" fmla="*/ 5941 w 9948"/>
                <a:gd name="connsiteY184" fmla="*/ 4477 h 10000"/>
                <a:gd name="connsiteX185" fmla="*/ 6050 w 9948"/>
                <a:gd name="connsiteY185" fmla="*/ 4484 h 10000"/>
                <a:gd name="connsiteX186" fmla="*/ 6163 w 9948"/>
                <a:gd name="connsiteY186" fmla="*/ 4447 h 10000"/>
                <a:gd name="connsiteX187" fmla="*/ 6159 w 9948"/>
                <a:gd name="connsiteY187" fmla="*/ 4422 h 10000"/>
                <a:gd name="connsiteX188" fmla="*/ 6263 w 9948"/>
                <a:gd name="connsiteY188" fmla="*/ 4398 h 10000"/>
                <a:gd name="connsiteX189" fmla="*/ 6272 w 9948"/>
                <a:gd name="connsiteY189" fmla="*/ 4337 h 10000"/>
                <a:gd name="connsiteX190" fmla="*/ 6355 w 9948"/>
                <a:gd name="connsiteY190" fmla="*/ 4325 h 10000"/>
                <a:gd name="connsiteX191" fmla="*/ 6363 w 9948"/>
                <a:gd name="connsiteY191" fmla="*/ 4253 h 10000"/>
                <a:gd name="connsiteX192" fmla="*/ 6450 w 9948"/>
                <a:gd name="connsiteY192" fmla="*/ 4245 h 10000"/>
                <a:gd name="connsiteX193" fmla="*/ 6585 w 9948"/>
                <a:gd name="connsiteY193" fmla="*/ 4260 h 10000"/>
                <a:gd name="connsiteX194" fmla="*/ 6733 w 9948"/>
                <a:gd name="connsiteY194" fmla="*/ 4202 h 10000"/>
                <a:gd name="connsiteX195" fmla="*/ 6786 w 9948"/>
                <a:gd name="connsiteY195" fmla="*/ 4137 h 10000"/>
                <a:gd name="connsiteX196" fmla="*/ 6969 w 9948"/>
                <a:gd name="connsiteY196" fmla="*/ 4070 h 10000"/>
                <a:gd name="connsiteX197" fmla="*/ 7060 w 9948"/>
                <a:gd name="connsiteY197" fmla="*/ 4111 h 10000"/>
                <a:gd name="connsiteX198" fmla="*/ 7199 w 9948"/>
                <a:gd name="connsiteY198" fmla="*/ 4066 h 10000"/>
                <a:gd name="connsiteX199" fmla="*/ 7234 w 9948"/>
                <a:gd name="connsiteY199" fmla="*/ 4009 h 10000"/>
                <a:gd name="connsiteX200" fmla="*/ 7339 w 9948"/>
                <a:gd name="connsiteY200" fmla="*/ 3970 h 10000"/>
                <a:gd name="connsiteX201" fmla="*/ 7430 w 9948"/>
                <a:gd name="connsiteY201" fmla="*/ 3987 h 10000"/>
                <a:gd name="connsiteX202" fmla="*/ 7487 w 9948"/>
                <a:gd name="connsiteY202" fmla="*/ 3958 h 10000"/>
                <a:gd name="connsiteX203" fmla="*/ 7644 w 9948"/>
                <a:gd name="connsiteY203" fmla="*/ 3917 h 10000"/>
                <a:gd name="connsiteX204" fmla="*/ 7709 w 9948"/>
                <a:gd name="connsiteY204" fmla="*/ 3864 h 10000"/>
                <a:gd name="connsiteX205" fmla="*/ 7796 w 9948"/>
                <a:gd name="connsiteY205" fmla="*/ 3842 h 10000"/>
                <a:gd name="connsiteX206" fmla="*/ 8280 w 9948"/>
                <a:gd name="connsiteY206" fmla="*/ 3522 h 10000"/>
                <a:gd name="connsiteX207" fmla="*/ 9717 w 9948"/>
                <a:gd name="connsiteY207" fmla="*/ 2343 h 10000"/>
                <a:gd name="connsiteX208" fmla="*/ 9830 w 9948"/>
                <a:gd name="connsiteY208" fmla="*/ 2369 h 10000"/>
                <a:gd name="connsiteX209" fmla="*/ 9909 w 9948"/>
                <a:gd name="connsiteY209" fmla="*/ 2410 h 10000"/>
                <a:gd name="connsiteX210" fmla="*/ 9948 w 9948"/>
                <a:gd name="connsiteY210" fmla="*/ 2365 h 10000"/>
                <a:gd name="connsiteX211" fmla="*/ 9704 w 9948"/>
                <a:gd name="connsiteY211" fmla="*/ 1992 h 10000"/>
                <a:gd name="connsiteX212" fmla="*/ 9743 w 9948"/>
                <a:gd name="connsiteY212" fmla="*/ 1897 h 10000"/>
                <a:gd name="connsiteX213" fmla="*/ 9830 w 9948"/>
                <a:gd name="connsiteY213" fmla="*/ 1819 h 10000"/>
                <a:gd name="connsiteX214" fmla="*/ 9830 w 9948"/>
                <a:gd name="connsiteY214" fmla="*/ 1699 h 10000"/>
                <a:gd name="connsiteX215" fmla="*/ 9556 w 9948"/>
                <a:gd name="connsiteY215" fmla="*/ 1465 h 10000"/>
                <a:gd name="connsiteX216" fmla="*/ 9512 w 9948"/>
                <a:gd name="connsiteY216" fmla="*/ 1379 h 10000"/>
                <a:gd name="connsiteX217" fmla="*/ 9573 w 9948"/>
                <a:gd name="connsiteY217" fmla="*/ 1271 h 10000"/>
                <a:gd name="connsiteX218" fmla="*/ 9543 w 9948"/>
                <a:gd name="connsiteY218" fmla="*/ 1194 h 10000"/>
                <a:gd name="connsiteX219" fmla="*/ 9486 w 9948"/>
                <a:gd name="connsiteY219" fmla="*/ 1159 h 10000"/>
                <a:gd name="connsiteX220" fmla="*/ 9438 w 9948"/>
                <a:gd name="connsiteY220" fmla="*/ 978 h 10000"/>
                <a:gd name="connsiteX221" fmla="*/ 9495 w 9948"/>
                <a:gd name="connsiteY221" fmla="*/ 831 h 10000"/>
                <a:gd name="connsiteX222" fmla="*/ 9077 w 9948"/>
                <a:gd name="connsiteY222" fmla="*/ 517 h 10000"/>
                <a:gd name="connsiteX223" fmla="*/ 8872 w 9948"/>
                <a:gd name="connsiteY223" fmla="*/ 440 h 10000"/>
                <a:gd name="connsiteX224" fmla="*/ 8493 w 9948"/>
                <a:gd name="connsiteY224" fmla="*/ 389 h 10000"/>
                <a:gd name="connsiteX225" fmla="*/ 7709 w 9948"/>
                <a:gd name="connsiteY225" fmla="*/ 26 h 10000"/>
                <a:gd name="connsiteX226" fmla="*/ 7683 w 9948"/>
                <a:gd name="connsiteY226" fmla="*/ 2 h 10000"/>
                <a:gd name="connsiteX227" fmla="*/ 7417 w 9948"/>
                <a:gd name="connsiteY227" fmla="*/ 0 h 10000"/>
                <a:gd name="connsiteX228" fmla="*/ 7356 w 9948"/>
                <a:gd name="connsiteY228" fmla="*/ 14 h 10000"/>
                <a:gd name="connsiteX229" fmla="*/ 7369 w 9948"/>
                <a:gd name="connsiteY229" fmla="*/ 61 h 10000"/>
                <a:gd name="connsiteX230" fmla="*/ 7422 w 9948"/>
                <a:gd name="connsiteY230" fmla="*/ 86 h 10000"/>
                <a:gd name="connsiteX231" fmla="*/ 7435 w 9948"/>
                <a:gd name="connsiteY231" fmla="*/ 139 h 10000"/>
                <a:gd name="connsiteX232" fmla="*/ 7417 w 9948"/>
                <a:gd name="connsiteY232" fmla="*/ 181 h 10000"/>
                <a:gd name="connsiteX233" fmla="*/ 7369 w 9948"/>
                <a:gd name="connsiteY233" fmla="*/ 208 h 10000"/>
                <a:gd name="connsiteX234" fmla="*/ 7334 w 9948"/>
                <a:gd name="connsiteY234" fmla="*/ 283 h 10000"/>
                <a:gd name="connsiteX235" fmla="*/ 7269 w 9948"/>
                <a:gd name="connsiteY235" fmla="*/ 336 h 10000"/>
                <a:gd name="connsiteX236" fmla="*/ 7282 w 9948"/>
                <a:gd name="connsiteY236" fmla="*/ 387 h 10000"/>
                <a:gd name="connsiteX237" fmla="*/ 7382 w 9948"/>
                <a:gd name="connsiteY237" fmla="*/ 434 h 10000"/>
                <a:gd name="connsiteX238" fmla="*/ 7317 w 9948"/>
                <a:gd name="connsiteY238" fmla="*/ 475 h 10000"/>
                <a:gd name="connsiteX239" fmla="*/ 7221 w 9948"/>
                <a:gd name="connsiteY239" fmla="*/ 485 h 10000"/>
                <a:gd name="connsiteX240" fmla="*/ 6420 w 9948"/>
                <a:gd name="connsiteY240" fmla="*/ 387 h 10000"/>
                <a:gd name="connsiteX241" fmla="*/ 6324 w 9948"/>
                <a:gd name="connsiteY241" fmla="*/ 395 h 10000"/>
                <a:gd name="connsiteX242" fmla="*/ 6267 w 9948"/>
                <a:gd name="connsiteY242" fmla="*/ 414 h 10000"/>
                <a:gd name="connsiteX243" fmla="*/ 6211 w 9948"/>
                <a:gd name="connsiteY243" fmla="*/ 462 h 10000"/>
                <a:gd name="connsiteX244" fmla="*/ 6220 w 9948"/>
                <a:gd name="connsiteY244" fmla="*/ 581 h 10000"/>
                <a:gd name="connsiteX245" fmla="*/ 6132 w 9948"/>
                <a:gd name="connsiteY245" fmla="*/ 735 h 10000"/>
                <a:gd name="connsiteX246" fmla="*/ 6024 w 9948"/>
                <a:gd name="connsiteY246" fmla="*/ 815 h 10000"/>
                <a:gd name="connsiteX247" fmla="*/ 5980 w 9948"/>
                <a:gd name="connsiteY247" fmla="*/ 805 h 10000"/>
                <a:gd name="connsiteX248" fmla="*/ 5880 w 9948"/>
                <a:gd name="connsiteY248" fmla="*/ 739 h 10000"/>
                <a:gd name="connsiteX249" fmla="*/ 5753 w 9948"/>
                <a:gd name="connsiteY249" fmla="*/ 705 h 10000"/>
                <a:gd name="connsiteX250" fmla="*/ 5618 w 9948"/>
                <a:gd name="connsiteY250" fmla="*/ 715 h 10000"/>
                <a:gd name="connsiteX251" fmla="*/ 5301 w 9948"/>
                <a:gd name="connsiteY251" fmla="*/ 866 h 10000"/>
                <a:gd name="connsiteX252" fmla="*/ 5218 w 9948"/>
                <a:gd name="connsiteY252" fmla="*/ 1017 h 10000"/>
                <a:gd name="connsiteX253" fmla="*/ 4978 w 9948"/>
                <a:gd name="connsiteY253" fmla="*/ 1153 h 10000"/>
                <a:gd name="connsiteX254" fmla="*/ 4935 w 9948"/>
                <a:gd name="connsiteY254" fmla="*/ 1222 h 10000"/>
                <a:gd name="connsiteX255" fmla="*/ 5061 w 9948"/>
                <a:gd name="connsiteY255" fmla="*/ 1344 h 10000"/>
                <a:gd name="connsiteX256" fmla="*/ 5074 w 9948"/>
                <a:gd name="connsiteY256" fmla="*/ 1412 h 10000"/>
                <a:gd name="connsiteX257" fmla="*/ 4421 w 9948"/>
                <a:gd name="connsiteY257" fmla="*/ 1813 h 10000"/>
                <a:gd name="connsiteX258" fmla="*/ 4220 w 9948"/>
                <a:gd name="connsiteY258" fmla="*/ 2070 h 10000"/>
                <a:gd name="connsiteX259" fmla="*/ 4003 w 9948"/>
                <a:gd name="connsiteY259" fmla="*/ 2135 h 10000"/>
                <a:gd name="connsiteX260" fmla="*/ 3868 w 9948"/>
                <a:gd name="connsiteY260" fmla="*/ 2131 h 10000"/>
                <a:gd name="connsiteX261" fmla="*/ 3785 w 9948"/>
                <a:gd name="connsiteY261" fmla="*/ 2153 h 10000"/>
                <a:gd name="connsiteX262" fmla="*/ 3558 w 9948"/>
                <a:gd name="connsiteY262" fmla="*/ 2793 h 10000"/>
                <a:gd name="connsiteX263" fmla="*/ 3036 w 9948"/>
                <a:gd name="connsiteY263" fmla="*/ 3166 h 10000"/>
                <a:gd name="connsiteX264" fmla="*/ 3040 w 9948"/>
                <a:gd name="connsiteY264" fmla="*/ 3225 h 10000"/>
                <a:gd name="connsiteX265" fmla="*/ 3271 w 9948"/>
                <a:gd name="connsiteY265" fmla="*/ 3392 h 10000"/>
                <a:gd name="connsiteX266" fmla="*/ 3197 w 9948"/>
                <a:gd name="connsiteY266" fmla="*/ 3573 h 10000"/>
                <a:gd name="connsiteX267" fmla="*/ 3062 w 9948"/>
                <a:gd name="connsiteY267" fmla="*/ 3640 h 10000"/>
                <a:gd name="connsiteX268" fmla="*/ 2657 w 9948"/>
                <a:gd name="connsiteY268" fmla="*/ 3595 h 10000"/>
                <a:gd name="connsiteX269" fmla="*/ 2378 w 9948"/>
                <a:gd name="connsiteY269" fmla="*/ 3620 h 10000"/>
                <a:gd name="connsiteX270" fmla="*/ 2152 w 9948"/>
                <a:gd name="connsiteY270" fmla="*/ 3673 h 10000"/>
                <a:gd name="connsiteX271" fmla="*/ 1790 w 9948"/>
                <a:gd name="connsiteY271" fmla="*/ 3840 h 10000"/>
                <a:gd name="connsiteX272" fmla="*/ 1598 w 9948"/>
                <a:gd name="connsiteY272" fmla="*/ 4042 h 10000"/>
                <a:gd name="connsiteX273" fmla="*/ 1616 w 9948"/>
                <a:gd name="connsiteY273" fmla="*/ 4154 h 10000"/>
                <a:gd name="connsiteX274" fmla="*/ 1681 w 9948"/>
                <a:gd name="connsiteY274" fmla="*/ 4241 h 10000"/>
                <a:gd name="connsiteX275" fmla="*/ 1733 w 9948"/>
                <a:gd name="connsiteY275" fmla="*/ 4276 h 10000"/>
                <a:gd name="connsiteX276" fmla="*/ 1638 w 9948"/>
                <a:gd name="connsiteY276" fmla="*/ 4331 h 10000"/>
                <a:gd name="connsiteX277" fmla="*/ 1433 w 9948"/>
                <a:gd name="connsiteY277" fmla="*/ 4710 h 10000"/>
                <a:gd name="connsiteX278" fmla="*/ 1472 w 9948"/>
                <a:gd name="connsiteY278" fmla="*/ 4732 h 10000"/>
                <a:gd name="connsiteX279" fmla="*/ 1503 w 9948"/>
                <a:gd name="connsiteY279" fmla="*/ 4828 h 10000"/>
                <a:gd name="connsiteX280" fmla="*/ 1407 w 9948"/>
                <a:gd name="connsiteY280" fmla="*/ 5227 h 10000"/>
                <a:gd name="connsiteX281" fmla="*/ 1503 w 9948"/>
                <a:gd name="connsiteY281" fmla="*/ 5329 h 10000"/>
                <a:gd name="connsiteX282" fmla="*/ 1764 w 9948"/>
                <a:gd name="connsiteY282" fmla="*/ 5441 h 10000"/>
                <a:gd name="connsiteX283" fmla="*/ 1777 w 9948"/>
                <a:gd name="connsiteY283" fmla="*/ 5578 h 10000"/>
                <a:gd name="connsiteX284" fmla="*/ 1664 w 9948"/>
                <a:gd name="connsiteY284" fmla="*/ 5690 h 10000"/>
                <a:gd name="connsiteX285" fmla="*/ 1503 w 9948"/>
                <a:gd name="connsiteY285" fmla="*/ 5759 h 10000"/>
                <a:gd name="connsiteX286" fmla="*/ 1289 w 9948"/>
                <a:gd name="connsiteY286" fmla="*/ 5787 h 10000"/>
                <a:gd name="connsiteX287" fmla="*/ 1233 w 9948"/>
                <a:gd name="connsiteY287" fmla="*/ 5826 h 10000"/>
                <a:gd name="connsiteX288" fmla="*/ 1359 w 9948"/>
                <a:gd name="connsiteY288" fmla="*/ 5920 h 10000"/>
                <a:gd name="connsiteX289" fmla="*/ 1429 w 9948"/>
                <a:gd name="connsiteY289" fmla="*/ 6142 h 10000"/>
                <a:gd name="connsiteX290" fmla="*/ 1267 w 9948"/>
                <a:gd name="connsiteY290" fmla="*/ 6333 h 10000"/>
                <a:gd name="connsiteX291" fmla="*/ 1324 w 9948"/>
                <a:gd name="connsiteY291" fmla="*/ 6392 h 10000"/>
                <a:gd name="connsiteX292" fmla="*/ 1272 w 9948"/>
                <a:gd name="connsiteY292" fmla="*/ 6492 h 10000"/>
                <a:gd name="connsiteX293" fmla="*/ 1167 w 9948"/>
                <a:gd name="connsiteY293" fmla="*/ 6561 h 10000"/>
                <a:gd name="connsiteX294" fmla="*/ 758 w 9948"/>
                <a:gd name="connsiteY294" fmla="*/ 6614 h 10000"/>
                <a:gd name="connsiteX295" fmla="*/ 732 w 9948"/>
                <a:gd name="connsiteY295" fmla="*/ 6706 h 10000"/>
                <a:gd name="connsiteX296" fmla="*/ 510 w 9948"/>
                <a:gd name="connsiteY296" fmla="*/ 6843 h 10000"/>
                <a:gd name="connsiteX297" fmla="*/ 540 w 9948"/>
                <a:gd name="connsiteY297" fmla="*/ 7040 h 10000"/>
                <a:gd name="connsiteX298" fmla="*/ 353 w 9948"/>
                <a:gd name="connsiteY298" fmla="*/ 7293 h 10000"/>
                <a:gd name="connsiteX299" fmla="*/ 226 w 9948"/>
                <a:gd name="connsiteY299" fmla="*/ 7323 h 10000"/>
                <a:gd name="connsiteX300" fmla="*/ 174 w 9948"/>
                <a:gd name="connsiteY300" fmla="*/ 7262 h 10000"/>
                <a:gd name="connsiteX301" fmla="*/ 109 w 9948"/>
                <a:gd name="connsiteY301" fmla="*/ 7354 h 10000"/>
                <a:gd name="connsiteX302" fmla="*/ 152 w 9948"/>
                <a:gd name="connsiteY302" fmla="*/ 7197 h 10000"/>
                <a:gd name="connsiteX303" fmla="*/ 126 w 9948"/>
                <a:gd name="connsiteY303" fmla="*/ 7166 h 10000"/>
                <a:gd name="connsiteX0" fmla="*/ 127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2 w 10000"/>
                <a:gd name="connsiteY7" fmla="*/ 7727 h 10000"/>
                <a:gd name="connsiteX8" fmla="*/ 206 w 10000"/>
                <a:gd name="connsiteY8" fmla="*/ 7680 h 10000"/>
                <a:gd name="connsiteX9" fmla="*/ 262 w 10000"/>
                <a:gd name="connsiteY9" fmla="*/ 7712 h 10000"/>
                <a:gd name="connsiteX10" fmla="*/ 201 w 10000"/>
                <a:gd name="connsiteY10" fmla="*/ 7778 h 10000"/>
                <a:gd name="connsiteX11" fmla="*/ 267 w 10000"/>
                <a:gd name="connsiteY11" fmla="*/ 7780 h 10000"/>
                <a:gd name="connsiteX12" fmla="*/ 298 w 10000"/>
                <a:gd name="connsiteY12" fmla="*/ 7796 h 10000"/>
                <a:gd name="connsiteX13" fmla="*/ 214 w 10000"/>
                <a:gd name="connsiteY13" fmla="*/ 7818 h 10000"/>
                <a:gd name="connsiteX14" fmla="*/ 83 w 10000"/>
                <a:gd name="connsiteY14" fmla="*/ 7886 h 10000"/>
                <a:gd name="connsiteX15" fmla="*/ 316 w 10000"/>
                <a:gd name="connsiteY15" fmla="*/ 7938 h 10000"/>
                <a:gd name="connsiteX16" fmla="*/ 346 w 10000"/>
                <a:gd name="connsiteY16" fmla="*/ 8014 h 10000"/>
                <a:gd name="connsiteX17" fmla="*/ 267 w 10000"/>
                <a:gd name="connsiteY17" fmla="*/ 8126 h 10000"/>
                <a:gd name="connsiteX18" fmla="*/ 438 w 10000"/>
                <a:gd name="connsiteY18" fmla="*/ 8118 h 10000"/>
                <a:gd name="connsiteX19" fmla="*/ 451 w 10000"/>
                <a:gd name="connsiteY19" fmla="*/ 8203 h 10000"/>
                <a:gd name="connsiteX20" fmla="*/ 337 w 10000"/>
                <a:gd name="connsiteY20" fmla="*/ 8260 h 10000"/>
                <a:gd name="connsiteX21" fmla="*/ 355 w 10000"/>
                <a:gd name="connsiteY21" fmla="*/ 8370 h 10000"/>
                <a:gd name="connsiteX22" fmla="*/ 311 w 10000"/>
                <a:gd name="connsiteY22" fmla="*/ 8456 h 10000"/>
                <a:gd name="connsiteX23" fmla="*/ 446 w 10000"/>
                <a:gd name="connsiteY23" fmla="*/ 8464 h 10000"/>
                <a:gd name="connsiteX24" fmla="*/ 578 w 10000"/>
                <a:gd name="connsiteY24" fmla="*/ 8792 h 10000"/>
                <a:gd name="connsiteX25" fmla="*/ 731 w 10000"/>
                <a:gd name="connsiteY25" fmla="*/ 8876 h 10000"/>
                <a:gd name="connsiteX26" fmla="*/ 797 w 10000"/>
                <a:gd name="connsiteY26" fmla="*/ 8965 h 10000"/>
                <a:gd name="connsiteX27" fmla="*/ 963 w 10000"/>
                <a:gd name="connsiteY27" fmla="*/ 9030 h 10000"/>
                <a:gd name="connsiteX28" fmla="*/ 1069 w 10000"/>
                <a:gd name="connsiteY28" fmla="*/ 9112 h 10000"/>
                <a:gd name="connsiteX29" fmla="*/ 1055 w 10000"/>
                <a:gd name="connsiteY29" fmla="*/ 9171 h 10000"/>
                <a:gd name="connsiteX30" fmla="*/ 950 w 10000"/>
                <a:gd name="connsiteY30" fmla="*/ 9193 h 10000"/>
                <a:gd name="connsiteX31" fmla="*/ 836 w 10000"/>
                <a:gd name="connsiteY31" fmla="*/ 9179 h 10000"/>
                <a:gd name="connsiteX32" fmla="*/ 801 w 10000"/>
                <a:gd name="connsiteY32" fmla="*/ 9204 h 10000"/>
                <a:gd name="connsiteX33" fmla="*/ 889 w 10000"/>
                <a:gd name="connsiteY33" fmla="*/ 9332 h 10000"/>
                <a:gd name="connsiteX34" fmla="*/ 766 w 10000"/>
                <a:gd name="connsiteY34" fmla="*/ 9322 h 10000"/>
                <a:gd name="connsiteX35" fmla="*/ 661 w 10000"/>
                <a:gd name="connsiteY35" fmla="*/ 9291 h 10000"/>
                <a:gd name="connsiteX36" fmla="*/ 643 w 10000"/>
                <a:gd name="connsiteY36" fmla="*/ 9338 h 10000"/>
                <a:gd name="connsiteX37" fmla="*/ 989 w 10000"/>
                <a:gd name="connsiteY37" fmla="*/ 9776 h 10000"/>
                <a:gd name="connsiteX38" fmla="*/ 933 w 10000"/>
                <a:gd name="connsiteY38" fmla="*/ 9817 h 10000"/>
                <a:gd name="connsiteX39" fmla="*/ 894 w 10000"/>
                <a:gd name="connsiteY39" fmla="*/ 9902 h 10000"/>
                <a:gd name="connsiteX40" fmla="*/ 845 w 10000"/>
                <a:gd name="connsiteY40" fmla="*/ 9908 h 10000"/>
                <a:gd name="connsiteX41" fmla="*/ 814 w 10000"/>
                <a:gd name="connsiteY41" fmla="*/ 9945 h 10000"/>
                <a:gd name="connsiteX42" fmla="*/ 1024 w 10000"/>
                <a:gd name="connsiteY42" fmla="*/ 9949 h 10000"/>
                <a:gd name="connsiteX43" fmla="*/ 1208 w 10000"/>
                <a:gd name="connsiteY43" fmla="*/ 9986 h 10000"/>
                <a:gd name="connsiteX44" fmla="*/ 1515 w 10000"/>
                <a:gd name="connsiteY44" fmla="*/ 9947 h 10000"/>
                <a:gd name="connsiteX45" fmla="*/ 1790 w 10000"/>
                <a:gd name="connsiteY45" fmla="*/ 9953 h 10000"/>
                <a:gd name="connsiteX46" fmla="*/ 1953 w 10000"/>
                <a:gd name="connsiteY46" fmla="*/ 10000 h 10000"/>
                <a:gd name="connsiteX47" fmla="*/ 2041 w 10000"/>
                <a:gd name="connsiteY47" fmla="*/ 9969 h 10000"/>
                <a:gd name="connsiteX48" fmla="*/ 2128 w 10000"/>
                <a:gd name="connsiteY48" fmla="*/ 9868 h 10000"/>
                <a:gd name="connsiteX49" fmla="*/ 2106 w 10000"/>
                <a:gd name="connsiteY49" fmla="*/ 9703 h 10000"/>
                <a:gd name="connsiteX50" fmla="*/ 2316 w 10000"/>
                <a:gd name="connsiteY50" fmla="*/ 9517 h 10000"/>
                <a:gd name="connsiteX51" fmla="*/ 2469 w 10000"/>
                <a:gd name="connsiteY51" fmla="*/ 9546 h 10000"/>
                <a:gd name="connsiteX52" fmla="*/ 2557 w 10000"/>
                <a:gd name="connsiteY52" fmla="*/ 9472 h 10000"/>
                <a:gd name="connsiteX53" fmla="*/ 2727 w 10000"/>
                <a:gd name="connsiteY53" fmla="*/ 9430 h 10000"/>
                <a:gd name="connsiteX54" fmla="*/ 2959 w 10000"/>
                <a:gd name="connsiteY54" fmla="*/ 9440 h 10000"/>
                <a:gd name="connsiteX55" fmla="*/ 3100 w 10000"/>
                <a:gd name="connsiteY55" fmla="*/ 9470 h 10000"/>
                <a:gd name="connsiteX56" fmla="*/ 3284 w 10000"/>
                <a:gd name="connsiteY56" fmla="*/ 9456 h 10000"/>
                <a:gd name="connsiteX57" fmla="*/ 3472 w 10000"/>
                <a:gd name="connsiteY57" fmla="*/ 9489 h 10000"/>
                <a:gd name="connsiteX58" fmla="*/ 3660 w 10000"/>
                <a:gd name="connsiteY58" fmla="*/ 9493 h 10000"/>
                <a:gd name="connsiteX59" fmla="*/ 4080 w 10000"/>
                <a:gd name="connsiteY59" fmla="*/ 9061 h 10000"/>
                <a:gd name="connsiteX60" fmla="*/ 4186 w 10000"/>
                <a:gd name="connsiteY60" fmla="*/ 8711 h 10000"/>
                <a:gd name="connsiteX61" fmla="*/ 4357 w 10000"/>
                <a:gd name="connsiteY61" fmla="*/ 8554 h 10000"/>
                <a:gd name="connsiteX62" fmla="*/ 4357 w 10000"/>
                <a:gd name="connsiteY62" fmla="*/ 8472 h 10000"/>
                <a:gd name="connsiteX63" fmla="*/ 4295 w 10000"/>
                <a:gd name="connsiteY63" fmla="*/ 8425 h 10000"/>
                <a:gd name="connsiteX64" fmla="*/ 4396 w 10000"/>
                <a:gd name="connsiteY64" fmla="*/ 8352 h 10000"/>
                <a:gd name="connsiteX65" fmla="*/ 4378 w 10000"/>
                <a:gd name="connsiteY65" fmla="*/ 8289 h 10000"/>
                <a:gd name="connsiteX66" fmla="*/ 4308 w 10000"/>
                <a:gd name="connsiteY66" fmla="*/ 8236 h 10000"/>
                <a:gd name="connsiteX67" fmla="*/ 4295 w 10000"/>
                <a:gd name="connsiteY67" fmla="*/ 8199 h 10000"/>
                <a:gd name="connsiteX68" fmla="*/ 4312 w 10000"/>
                <a:gd name="connsiteY68" fmla="*/ 8169 h 10000"/>
                <a:gd name="connsiteX69" fmla="*/ 4405 w 10000"/>
                <a:gd name="connsiteY69" fmla="*/ 8193 h 10000"/>
                <a:gd name="connsiteX70" fmla="*/ 4479 w 10000"/>
                <a:gd name="connsiteY70" fmla="*/ 8191 h 10000"/>
                <a:gd name="connsiteX71" fmla="*/ 4439 w 10000"/>
                <a:gd name="connsiteY71" fmla="*/ 8140 h 10000"/>
                <a:gd name="connsiteX72" fmla="*/ 4452 w 10000"/>
                <a:gd name="connsiteY72" fmla="*/ 8112 h 10000"/>
                <a:gd name="connsiteX73" fmla="*/ 4505 w 10000"/>
                <a:gd name="connsiteY73" fmla="*/ 8069 h 10000"/>
                <a:gd name="connsiteX74" fmla="*/ 4496 w 10000"/>
                <a:gd name="connsiteY74" fmla="*/ 8034 h 10000"/>
                <a:gd name="connsiteX75" fmla="*/ 4545 w 10000"/>
                <a:gd name="connsiteY75" fmla="*/ 7916 h 10000"/>
                <a:gd name="connsiteX76" fmla="*/ 4532 w 10000"/>
                <a:gd name="connsiteY76" fmla="*/ 7881 h 10000"/>
                <a:gd name="connsiteX77" fmla="*/ 4277 w 10000"/>
                <a:gd name="connsiteY77" fmla="*/ 7792 h 10000"/>
                <a:gd name="connsiteX78" fmla="*/ 4312 w 10000"/>
                <a:gd name="connsiteY78" fmla="*/ 7788 h 10000"/>
                <a:gd name="connsiteX79" fmla="*/ 4448 w 10000"/>
                <a:gd name="connsiteY79" fmla="*/ 7812 h 10000"/>
                <a:gd name="connsiteX80" fmla="*/ 4593 w 10000"/>
                <a:gd name="connsiteY80" fmla="*/ 7804 h 10000"/>
                <a:gd name="connsiteX81" fmla="*/ 4636 w 10000"/>
                <a:gd name="connsiteY81" fmla="*/ 7771 h 10000"/>
                <a:gd name="connsiteX82" fmla="*/ 4496 w 10000"/>
                <a:gd name="connsiteY82" fmla="*/ 7710 h 10000"/>
                <a:gd name="connsiteX83" fmla="*/ 4076 w 10000"/>
                <a:gd name="connsiteY83" fmla="*/ 7670 h 10000"/>
                <a:gd name="connsiteX84" fmla="*/ 4106 w 10000"/>
                <a:gd name="connsiteY84" fmla="*/ 7651 h 10000"/>
                <a:gd name="connsiteX85" fmla="*/ 4448 w 10000"/>
                <a:gd name="connsiteY85" fmla="*/ 7639 h 10000"/>
                <a:gd name="connsiteX86" fmla="*/ 4636 w 10000"/>
                <a:gd name="connsiteY86" fmla="*/ 7676 h 10000"/>
                <a:gd name="connsiteX87" fmla="*/ 4746 w 10000"/>
                <a:gd name="connsiteY87" fmla="*/ 7651 h 10000"/>
                <a:gd name="connsiteX88" fmla="*/ 4785 w 10000"/>
                <a:gd name="connsiteY88" fmla="*/ 7588 h 10000"/>
                <a:gd name="connsiteX89" fmla="*/ 4982 w 10000"/>
                <a:gd name="connsiteY89" fmla="*/ 7588 h 10000"/>
                <a:gd name="connsiteX90" fmla="*/ 5249 w 10000"/>
                <a:gd name="connsiteY90" fmla="*/ 7462 h 10000"/>
                <a:gd name="connsiteX91" fmla="*/ 5258 w 10000"/>
                <a:gd name="connsiteY91" fmla="*/ 7378 h 10000"/>
                <a:gd name="connsiteX92" fmla="*/ 5372 w 10000"/>
                <a:gd name="connsiteY92" fmla="*/ 7397 h 10000"/>
                <a:gd name="connsiteX93" fmla="*/ 5368 w 10000"/>
                <a:gd name="connsiteY93" fmla="*/ 7482 h 10000"/>
                <a:gd name="connsiteX94" fmla="*/ 5547 w 10000"/>
                <a:gd name="connsiteY94" fmla="*/ 7476 h 10000"/>
                <a:gd name="connsiteX95" fmla="*/ 5665 w 10000"/>
                <a:gd name="connsiteY95" fmla="*/ 7388 h 10000"/>
                <a:gd name="connsiteX96" fmla="*/ 5885 w 10000"/>
                <a:gd name="connsiteY96" fmla="*/ 7309 h 10000"/>
                <a:gd name="connsiteX97" fmla="*/ 5849 w 10000"/>
                <a:gd name="connsiteY97" fmla="*/ 7219 h 10000"/>
                <a:gd name="connsiteX98" fmla="*/ 5915 w 10000"/>
                <a:gd name="connsiteY98" fmla="*/ 7254 h 10000"/>
                <a:gd name="connsiteX99" fmla="*/ 6015 w 10000"/>
                <a:gd name="connsiteY99" fmla="*/ 7254 h 10000"/>
                <a:gd name="connsiteX100" fmla="*/ 6015 w 10000"/>
                <a:gd name="connsiteY100" fmla="*/ 7213 h 10000"/>
                <a:gd name="connsiteX101" fmla="*/ 6108 w 10000"/>
                <a:gd name="connsiteY101" fmla="*/ 7181 h 10000"/>
                <a:gd name="connsiteX102" fmla="*/ 6095 w 10000"/>
                <a:gd name="connsiteY102" fmla="*/ 7148 h 10000"/>
                <a:gd name="connsiteX103" fmla="*/ 5307 w 10000"/>
                <a:gd name="connsiteY103" fmla="*/ 7215 h 10000"/>
                <a:gd name="connsiteX104" fmla="*/ 5123 w 10000"/>
                <a:gd name="connsiteY104" fmla="*/ 7195 h 10000"/>
                <a:gd name="connsiteX105" fmla="*/ 5048 w 10000"/>
                <a:gd name="connsiteY105" fmla="*/ 7219 h 10000"/>
                <a:gd name="connsiteX106" fmla="*/ 5022 w 10000"/>
                <a:gd name="connsiteY106" fmla="*/ 7173 h 10000"/>
                <a:gd name="connsiteX107" fmla="*/ 4935 w 10000"/>
                <a:gd name="connsiteY107" fmla="*/ 7132 h 10000"/>
                <a:gd name="connsiteX108" fmla="*/ 4584 w 10000"/>
                <a:gd name="connsiteY108" fmla="*/ 7052 h 10000"/>
                <a:gd name="connsiteX109" fmla="*/ 4378 w 10000"/>
                <a:gd name="connsiteY109" fmla="*/ 7065 h 10000"/>
                <a:gd name="connsiteX110" fmla="*/ 4295 w 10000"/>
                <a:gd name="connsiteY110" fmla="*/ 7042 h 10000"/>
                <a:gd name="connsiteX111" fmla="*/ 4383 w 10000"/>
                <a:gd name="connsiteY111" fmla="*/ 7022 h 10000"/>
                <a:gd name="connsiteX112" fmla="*/ 4448 w 10000"/>
                <a:gd name="connsiteY112" fmla="*/ 6979 h 10000"/>
                <a:gd name="connsiteX113" fmla="*/ 4545 w 10000"/>
                <a:gd name="connsiteY113" fmla="*/ 6993 h 10000"/>
                <a:gd name="connsiteX114" fmla="*/ 4663 w 10000"/>
                <a:gd name="connsiteY114" fmla="*/ 6981 h 10000"/>
                <a:gd name="connsiteX115" fmla="*/ 4838 w 10000"/>
                <a:gd name="connsiteY115" fmla="*/ 6995 h 10000"/>
                <a:gd name="connsiteX116" fmla="*/ 4859 w 10000"/>
                <a:gd name="connsiteY116" fmla="*/ 6989 h 10000"/>
                <a:gd name="connsiteX117" fmla="*/ 4996 w 10000"/>
                <a:gd name="connsiteY117" fmla="*/ 7056 h 10000"/>
                <a:gd name="connsiteX118" fmla="*/ 5097 w 10000"/>
                <a:gd name="connsiteY118" fmla="*/ 7032 h 10000"/>
                <a:gd name="connsiteX119" fmla="*/ 5105 w 10000"/>
                <a:gd name="connsiteY119" fmla="*/ 7010 h 10000"/>
                <a:gd name="connsiteX120" fmla="*/ 5197 w 10000"/>
                <a:gd name="connsiteY120" fmla="*/ 7048 h 10000"/>
                <a:gd name="connsiteX121" fmla="*/ 5320 w 10000"/>
                <a:gd name="connsiteY121" fmla="*/ 7069 h 10000"/>
                <a:gd name="connsiteX122" fmla="*/ 5368 w 10000"/>
                <a:gd name="connsiteY122" fmla="*/ 7030 h 10000"/>
                <a:gd name="connsiteX123" fmla="*/ 5407 w 10000"/>
                <a:gd name="connsiteY123" fmla="*/ 7052 h 10000"/>
                <a:gd name="connsiteX124" fmla="*/ 5464 w 10000"/>
                <a:gd name="connsiteY124" fmla="*/ 7126 h 10000"/>
                <a:gd name="connsiteX125" fmla="*/ 5582 w 10000"/>
                <a:gd name="connsiteY125" fmla="*/ 7144 h 10000"/>
                <a:gd name="connsiteX126" fmla="*/ 6064 w 10000"/>
                <a:gd name="connsiteY126" fmla="*/ 7034 h 10000"/>
                <a:gd name="connsiteX127" fmla="*/ 6300 w 10000"/>
                <a:gd name="connsiteY127" fmla="*/ 6879 h 10000"/>
                <a:gd name="connsiteX128" fmla="*/ 6357 w 10000"/>
                <a:gd name="connsiteY128" fmla="*/ 6765 h 10000"/>
                <a:gd name="connsiteX129" fmla="*/ 6270 w 10000"/>
                <a:gd name="connsiteY129" fmla="*/ 6663 h 10000"/>
                <a:gd name="connsiteX130" fmla="*/ 6090 w 10000"/>
                <a:gd name="connsiteY130" fmla="*/ 6602 h 10000"/>
                <a:gd name="connsiteX131" fmla="*/ 5963 w 10000"/>
                <a:gd name="connsiteY131" fmla="*/ 6502 h 10000"/>
                <a:gd name="connsiteX132" fmla="*/ 6082 w 10000"/>
                <a:gd name="connsiteY132" fmla="*/ 6498 h 10000"/>
                <a:gd name="connsiteX133" fmla="*/ 6073 w 10000"/>
                <a:gd name="connsiteY133" fmla="*/ 6474 h 10000"/>
                <a:gd name="connsiteX134" fmla="*/ 5762 w 10000"/>
                <a:gd name="connsiteY134" fmla="*/ 6403 h 10000"/>
                <a:gd name="connsiteX135" fmla="*/ 5749 w 10000"/>
                <a:gd name="connsiteY135" fmla="*/ 6339 h 10000"/>
                <a:gd name="connsiteX136" fmla="*/ 5692 w 10000"/>
                <a:gd name="connsiteY136" fmla="*/ 6272 h 10000"/>
                <a:gd name="connsiteX137" fmla="*/ 5446 w 10000"/>
                <a:gd name="connsiteY137" fmla="*/ 6284 h 10000"/>
                <a:gd name="connsiteX138" fmla="*/ 5359 w 10000"/>
                <a:gd name="connsiteY138" fmla="*/ 6213 h 10000"/>
                <a:gd name="connsiteX139" fmla="*/ 5307 w 10000"/>
                <a:gd name="connsiteY139" fmla="*/ 6209 h 10000"/>
                <a:gd name="connsiteX140" fmla="*/ 5307 w 10000"/>
                <a:gd name="connsiteY140" fmla="*/ 6238 h 10000"/>
                <a:gd name="connsiteX141" fmla="*/ 5197 w 10000"/>
                <a:gd name="connsiteY141" fmla="*/ 6358 h 10000"/>
                <a:gd name="connsiteX142" fmla="*/ 5078 w 10000"/>
                <a:gd name="connsiteY142" fmla="*/ 6429 h 10000"/>
                <a:gd name="connsiteX143" fmla="*/ 4706 w 10000"/>
                <a:gd name="connsiteY143" fmla="*/ 6551 h 10000"/>
                <a:gd name="connsiteX144" fmla="*/ 4575 w 10000"/>
                <a:gd name="connsiteY144" fmla="*/ 6547 h 10000"/>
                <a:gd name="connsiteX145" fmla="*/ 4396 w 10000"/>
                <a:gd name="connsiteY145" fmla="*/ 6565 h 10000"/>
                <a:gd name="connsiteX146" fmla="*/ 4295 w 10000"/>
                <a:gd name="connsiteY146" fmla="*/ 6547 h 10000"/>
                <a:gd name="connsiteX147" fmla="*/ 4426 w 10000"/>
                <a:gd name="connsiteY147" fmla="*/ 6513 h 10000"/>
                <a:gd name="connsiteX148" fmla="*/ 4597 w 10000"/>
                <a:gd name="connsiteY148" fmla="*/ 6498 h 10000"/>
                <a:gd name="connsiteX149" fmla="*/ 4738 w 10000"/>
                <a:gd name="connsiteY149" fmla="*/ 6441 h 10000"/>
                <a:gd name="connsiteX150" fmla="*/ 4877 w 10000"/>
                <a:gd name="connsiteY150" fmla="*/ 6415 h 10000"/>
                <a:gd name="connsiteX151" fmla="*/ 5136 w 10000"/>
                <a:gd name="connsiteY151" fmla="*/ 6317 h 10000"/>
                <a:gd name="connsiteX152" fmla="*/ 5184 w 10000"/>
                <a:gd name="connsiteY152" fmla="*/ 6252 h 10000"/>
                <a:gd name="connsiteX153" fmla="*/ 5188 w 10000"/>
                <a:gd name="connsiteY153" fmla="*/ 6168 h 10000"/>
                <a:gd name="connsiteX154" fmla="*/ 5070 w 10000"/>
                <a:gd name="connsiteY154" fmla="*/ 6154 h 10000"/>
                <a:gd name="connsiteX155" fmla="*/ 5123 w 10000"/>
                <a:gd name="connsiteY155" fmla="*/ 6103 h 10000"/>
                <a:gd name="connsiteX156" fmla="*/ 5140 w 10000"/>
                <a:gd name="connsiteY156" fmla="*/ 6038 h 10000"/>
                <a:gd name="connsiteX157" fmla="*/ 5091 w 10000"/>
                <a:gd name="connsiteY157" fmla="*/ 5977 h 10000"/>
                <a:gd name="connsiteX158" fmla="*/ 5061 w 10000"/>
                <a:gd name="connsiteY158" fmla="*/ 5533 h 10000"/>
                <a:gd name="connsiteX159" fmla="*/ 5132 w 10000"/>
                <a:gd name="connsiteY159" fmla="*/ 5437 h 10000"/>
                <a:gd name="connsiteX160" fmla="*/ 5114 w 10000"/>
                <a:gd name="connsiteY160" fmla="*/ 5398 h 10000"/>
                <a:gd name="connsiteX161" fmla="*/ 5320 w 10000"/>
                <a:gd name="connsiteY161" fmla="*/ 5455 h 10000"/>
                <a:gd name="connsiteX162" fmla="*/ 5333 w 10000"/>
                <a:gd name="connsiteY162" fmla="*/ 5402 h 10000"/>
                <a:gd name="connsiteX163" fmla="*/ 5289 w 10000"/>
                <a:gd name="connsiteY163" fmla="*/ 5264 h 10000"/>
                <a:gd name="connsiteX164" fmla="*/ 5437 w 10000"/>
                <a:gd name="connsiteY164" fmla="*/ 5019 h 10000"/>
                <a:gd name="connsiteX165" fmla="*/ 5346 w 10000"/>
                <a:gd name="connsiteY165" fmla="*/ 4960 h 10000"/>
                <a:gd name="connsiteX166" fmla="*/ 5311 w 10000"/>
                <a:gd name="connsiteY166" fmla="*/ 4905 h 10000"/>
                <a:gd name="connsiteX167" fmla="*/ 5324 w 10000"/>
                <a:gd name="connsiteY167" fmla="*/ 4816 h 10000"/>
                <a:gd name="connsiteX168" fmla="*/ 5539 w 10000"/>
                <a:gd name="connsiteY168" fmla="*/ 4875 h 10000"/>
                <a:gd name="connsiteX169" fmla="*/ 5547 w 10000"/>
                <a:gd name="connsiteY169" fmla="*/ 4858 h 10000"/>
                <a:gd name="connsiteX170" fmla="*/ 5608 w 10000"/>
                <a:gd name="connsiteY170" fmla="*/ 4842 h 10000"/>
                <a:gd name="connsiteX171" fmla="*/ 5692 w 10000"/>
                <a:gd name="connsiteY171" fmla="*/ 4785 h 10000"/>
                <a:gd name="connsiteX172" fmla="*/ 5705 w 10000"/>
                <a:gd name="connsiteY172" fmla="*/ 4769 h 10000"/>
                <a:gd name="connsiteX173" fmla="*/ 5688 w 10000"/>
                <a:gd name="connsiteY173" fmla="*/ 4748 h 10000"/>
                <a:gd name="connsiteX174" fmla="*/ 5731 w 10000"/>
                <a:gd name="connsiteY174" fmla="*/ 4647 h 10000"/>
                <a:gd name="connsiteX175" fmla="*/ 5679 w 10000"/>
                <a:gd name="connsiteY175" fmla="*/ 4581 h 10000"/>
                <a:gd name="connsiteX176" fmla="*/ 5688 w 10000"/>
                <a:gd name="connsiteY176" fmla="*/ 4528 h 10000"/>
                <a:gd name="connsiteX177" fmla="*/ 5718 w 10000"/>
                <a:gd name="connsiteY177" fmla="*/ 4590 h 10000"/>
                <a:gd name="connsiteX178" fmla="*/ 5836 w 10000"/>
                <a:gd name="connsiteY178" fmla="*/ 4636 h 10000"/>
                <a:gd name="connsiteX179" fmla="*/ 5885 w 10000"/>
                <a:gd name="connsiteY179" fmla="*/ 4630 h 10000"/>
                <a:gd name="connsiteX180" fmla="*/ 5963 w 10000"/>
                <a:gd name="connsiteY180" fmla="*/ 4569 h 10000"/>
                <a:gd name="connsiteX181" fmla="*/ 6046 w 10000"/>
                <a:gd name="connsiteY181" fmla="*/ 4594 h 10000"/>
                <a:gd name="connsiteX182" fmla="*/ 6069 w 10000"/>
                <a:gd name="connsiteY182" fmla="*/ 4545 h 10000"/>
                <a:gd name="connsiteX183" fmla="*/ 6125 w 10000"/>
                <a:gd name="connsiteY183" fmla="*/ 4512 h 10000"/>
                <a:gd name="connsiteX184" fmla="*/ 5972 w 10000"/>
                <a:gd name="connsiteY184" fmla="*/ 4477 h 10000"/>
                <a:gd name="connsiteX185" fmla="*/ 6082 w 10000"/>
                <a:gd name="connsiteY185" fmla="*/ 4484 h 10000"/>
                <a:gd name="connsiteX186" fmla="*/ 6195 w 10000"/>
                <a:gd name="connsiteY186" fmla="*/ 4447 h 10000"/>
                <a:gd name="connsiteX187" fmla="*/ 6191 w 10000"/>
                <a:gd name="connsiteY187" fmla="*/ 4422 h 10000"/>
                <a:gd name="connsiteX188" fmla="*/ 6296 w 10000"/>
                <a:gd name="connsiteY188" fmla="*/ 4398 h 10000"/>
                <a:gd name="connsiteX189" fmla="*/ 6305 w 10000"/>
                <a:gd name="connsiteY189" fmla="*/ 4337 h 10000"/>
                <a:gd name="connsiteX190" fmla="*/ 6388 w 10000"/>
                <a:gd name="connsiteY190" fmla="*/ 4325 h 10000"/>
                <a:gd name="connsiteX191" fmla="*/ 6396 w 10000"/>
                <a:gd name="connsiteY191" fmla="*/ 4253 h 10000"/>
                <a:gd name="connsiteX192" fmla="*/ 6484 w 10000"/>
                <a:gd name="connsiteY192" fmla="*/ 4245 h 10000"/>
                <a:gd name="connsiteX193" fmla="*/ 6619 w 10000"/>
                <a:gd name="connsiteY193" fmla="*/ 4260 h 10000"/>
                <a:gd name="connsiteX194" fmla="*/ 6768 w 10000"/>
                <a:gd name="connsiteY194" fmla="*/ 4202 h 10000"/>
                <a:gd name="connsiteX195" fmla="*/ 6821 w 10000"/>
                <a:gd name="connsiteY195" fmla="*/ 4137 h 10000"/>
                <a:gd name="connsiteX196" fmla="*/ 7005 w 10000"/>
                <a:gd name="connsiteY196" fmla="*/ 4070 h 10000"/>
                <a:gd name="connsiteX197" fmla="*/ 7097 w 10000"/>
                <a:gd name="connsiteY197" fmla="*/ 4111 h 10000"/>
                <a:gd name="connsiteX198" fmla="*/ 7237 w 10000"/>
                <a:gd name="connsiteY198" fmla="*/ 4066 h 10000"/>
                <a:gd name="connsiteX199" fmla="*/ 7272 w 10000"/>
                <a:gd name="connsiteY199" fmla="*/ 4009 h 10000"/>
                <a:gd name="connsiteX200" fmla="*/ 7377 w 10000"/>
                <a:gd name="connsiteY200" fmla="*/ 3970 h 10000"/>
                <a:gd name="connsiteX201" fmla="*/ 7469 w 10000"/>
                <a:gd name="connsiteY201" fmla="*/ 3987 h 10000"/>
                <a:gd name="connsiteX202" fmla="*/ 7526 w 10000"/>
                <a:gd name="connsiteY202" fmla="*/ 3958 h 10000"/>
                <a:gd name="connsiteX203" fmla="*/ 7684 w 10000"/>
                <a:gd name="connsiteY203" fmla="*/ 3917 h 10000"/>
                <a:gd name="connsiteX204" fmla="*/ 7749 w 10000"/>
                <a:gd name="connsiteY204" fmla="*/ 3864 h 10000"/>
                <a:gd name="connsiteX205" fmla="*/ 7837 w 10000"/>
                <a:gd name="connsiteY205" fmla="*/ 3842 h 10000"/>
                <a:gd name="connsiteX206" fmla="*/ 8323 w 10000"/>
                <a:gd name="connsiteY206" fmla="*/ 3522 h 10000"/>
                <a:gd name="connsiteX207" fmla="*/ 9768 w 10000"/>
                <a:gd name="connsiteY207" fmla="*/ 2343 h 10000"/>
                <a:gd name="connsiteX208" fmla="*/ 9961 w 10000"/>
                <a:gd name="connsiteY208" fmla="*/ 2410 h 10000"/>
                <a:gd name="connsiteX209" fmla="*/ 10000 w 10000"/>
                <a:gd name="connsiteY209" fmla="*/ 2365 h 10000"/>
                <a:gd name="connsiteX210" fmla="*/ 9755 w 10000"/>
                <a:gd name="connsiteY210" fmla="*/ 1992 h 10000"/>
                <a:gd name="connsiteX211" fmla="*/ 9794 w 10000"/>
                <a:gd name="connsiteY211" fmla="*/ 1897 h 10000"/>
                <a:gd name="connsiteX212" fmla="*/ 9881 w 10000"/>
                <a:gd name="connsiteY212" fmla="*/ 1819 h 10000"/>
                <a:gd name="connsiteX213" fmla="*/ 9881 w 10000"/>
                <a:gd name="connsiteY213" fmla="*/ 1699 h 10000"/>
                <a:gd name="connsiteX214" fmla="*/ 9606 w 10000"/>
                <a:gd name="connsiteY214" fmla="*/ 1465 h 10000"/>
                <a:gd name="connsiteX215" fmla="*/ 9562 w 10000"/>
                <a:gd name="connsiteY215" fmla="*/ 1379 h 10000"/>
                <a:gd name="connsiteX216" fmla="*/ 9623 w 10000"/>
                <a:gd name="connsiteY216" fmla="*/ 1271 h 10000"/>
                <a:gd name="connsiteX217" fmla="*/ 9593 w 10000"/>
                <a:gd name="connsiteY217" fmla="*/ 1194 h 10000"/>
                <a:gd name="connsiteX218" fmla="*/ 9536 w 10000"/>
                <a:gd name="connsiteY218" fmla="*/ 1159 h 10000"/>
                <a:gd name="connsiteX219" fmla="*/ 9487 w 10000"/>
                <a:gd name="connsiteY219" fmla="*/ 978 h 10000"/>
                <a:gd name="connsiteX220" fmla="*/ 9545 w 10000"/>
                <a:gd name="connsiteY220" fmla="*/ 831 h 10000"/>
                <a:gd name="connsiteX221" fmla="*/ 9124 w 10000"/>
                <a:gd name="connsiteY221" fmla="*/ 517 h 10000"/>
                <a:gd name="connsiteX222" fmla="*/ 8918 w 10000"/>
                <a:gd name="connsiteY222" fmla="*/ 440 h 10000"/>
                <a:gd name="connsiteX223" fmla="*/ 8537 w 10000"/>
                <a:gd name="connsiteY223" fmla="*/ 389 h 10000"/>
                <a:gd name="connsiteX224" fmla="*/ 7749 w 10000"/>
                <a:gd name="connsiteY224" fmla="*/ 26 h 10000"/>
                <a:gd name="connsiteX225" fmla="*/ 7723 w 10000"/>
                <a:gd name="connsiteY225" fmla="*/ 2 h 10000"/>
                <a:gd name="connsiteX226" fmla="*/ 7456 w 10000"/>
                <a:gd name="connsiteY226" fmla="*/ 0 h 10000"/>
                <a:gd name="connsiteX227" fmla="*/ 7394 w 10000"/>
                <a:gd name="connsiteY227" fmla="*/ 14 h 10000"/>
                <a:gd name="connsiteX228" fmla="*/ 7408 w 10000"/>
                <a:gd name="connsiteY228" fmla="*/ 61 h 10000"/>
                <a:gd name="connsiteX229" fmla="*/ 7461 w 10000"/>
                <a:gd name="connsiteY229" fmla="*/ 86 h 10000"/>
                <a:gd name="connsiteX230" fmla="*/ 7474 w 10000"/>
                <a:gd name="connsiteY230" fmla="*/ 139 h 10000"/>
                <a:gd name="connsiteX231" fmla="*/ 7456 w 10000"/>
                <a:gd name="connsiteY231" fmla="*/ 181 h 10000"/>
                <a:gd name="connsiteX232" fmla="*/ 7408 w 10000"/>
                <a:gd name="connsiteY232" fmla="*/ 208 h 10000"/>
                <a:gd name="connsiteX233" fmla="*/ 7372 w 10000"/>
                <a:gd name="connsiteY233" fmla="*/ 283 h 10000"/>
                <a:gd name="connsiteX234" fmla="*/ 7307 w 10000"/>
                <a:gd name="connsiteY234" fmla="*/ 336 h 10000"/>
                <a:gd name="connsiteX235" fmla="*/ 7320 w 10000"/>
                <a:gd name="connsiteY235" fmla="*/ 387 h 10000"/>
                <a:gd name="connsiteX236" fmla="*/ 7421 w 10000"/>
                <a:gd name="connsiteY236" fmla="*/ 434 h 10000"/>
                <a:gd name="connsiteX237" fmla="*/ 7355 w 10000"/>
                <a:gd name="connsiteY237" fmla="*/ 475 h 10000"/>
                <a:gd name="connsiteX238" fmla="*/ 7259 w 10000"/>
                <a:gd name="connsiteY238" fmla="*/ 485 h 10000"/>
                <a:gd name="connsiteX239" fmla="*/ 6454 w 10000"/>
                <a:gd name="connsiteY239" fmla="*/ 387 h 10000"/>
                <a:gd name="connsiteX240" fmla="*/ 6357 w 10000"/>
                <a:gd name="connsiteY240" fmla="*/ 395 h 10000"/>
                <a:gd name="connsiteX241" fmla="*/ 6300 w 10000"/>
                <a:gd name="connsiteY241" fmla="*/ 414 h 10000"/>
                <a:gd name="connsiteX242" fmla="*/ 6243 w 10000"/>
                <a:gd name="connsiteY242" fmla="*/ 462 h 10000"/>
                <a:gd name="connsiteX243" fmla="*/ 6253 w 10000"/>
                <a:gd name="connsiteY243" fmla="*/ 581 h 10000"/>
                <a:gd name="connsiteX244" fmla="*/ 6164 w 10000"/>
                <a:gd name="connsiteY244" fmla="*/ 735 h 10000"/>
                <a:gd name="connsiteX245" fmla="*/ 6055 w 10000"/>
                <a:gd name="connsiteY245" fmla="*/ 815 h 10000"/>
                <a:gd name="connsiteX246" fmla="*/ 6011 w 10000"/>
                <a:gd name="connsiteY246" fmla="*/ 805 h 10000"/>
                <a:gd name="connsiteX247" fmla="*/ 5911 w 10000"/>
                <a:gd name="connsiteY247" fmla="*/ 739 h 10000"/>
                <a:gd name="connsiteX248" fmla="*/ 5783 w 10000"/>
                <a:gd name="connsiteY248" fmla="*/ 705 h 10000"/>
                <a:gd name="connsiteX249" fmla="*/ 5647 w 10000"/>
                <a:gd name="connsiteY249" fmla="*/ 715 h 10000"/>
                <a:gd name="connsiteX250" fmla="*/ 5329 w 10000"/>
                <a:gd name="connsiteY250" fmla="*/ 866 h 10000"/>
                <a:gd name="connsiteX251" fmla="*/ 5245 w 10000"/>
                <a:gd name="connsiteY251" fmla="*/ 1017 h 10000"/>
                <a:gd name="connsiteX252" fmla="*/ 5004 w 10000"/>
                <a:gd name="connsiteY252" fmla="*/ 1153 h 10000"/>
                <a:gd name="connsiteX253" fmla="*/ 4961 w 10000"/>
                <a:gd name="connsiteY253" fmla="*/ 1222 h 10000"/>
                <a:gd name="connsiteX254" fmla="*/ 5087 w 10000"/>
                <a:gd name="connsiteY254" fmla="*/ 1344 h 10000"/>
                <a:gd name="connsiteX255" fmla="*/ 5101 w 10000"/>
                <a:gd name="connsiteY255" fmla="*/ 1412 h 10000"/>
                <a:gd name="connsiteX256" fmla="*/ 4444 w 10000"/>
                <a:gd name="connsiteY256" fmla="*/ 1813 h 10000"/>
                <a:gd name="connsiteX257" fmla="*/ 4242 w 10000"/>
                <a:gd name="connsiteY257" fmla="*/ 2070 h 10000"/>
                <a:gd name="connsiteX258" fmla="*/ 4024 w 10000"/>
                <a:gd name="connsiteY258" fmla="*/ 2135 h 10000"/>
                <a:gd name="connsiteX259" fmla="*/ 3888 w 10000"/>
                <a:gd name="connsiteY259" fmla="*/ 2131 h 10000"/>
                <a:gd name="connsiteX260" fmla="*/ 3805 w 10000"/>
                <a:gd name="connsiteY260" fmla="*/ 2153 h 10000"/>
                <a:gd name="connsiteX261" fmla="*/ 3577 w 10000"/>
                <a:gd name="connsiteY261" fmla="*/ 2793 h 10000"/>
                <a:gd name="connsiteX262" fmla="*/ 3052 w 10000"/>
                <a:gd name="connsiteY262" fmla="*/ 3166 h 10000"/>
                <a:gd name="connsiteX263" fmla="*/ 3056 w 10000"/>
                <a:gd name="connsiteY263" fmla="*/ 3225 h 10000"/>
                <a:gd name="connsiteX264" fmla="*/ 3288 w 10000"/>
                <a:gd name="connsiteY264" fmla="*/ 3392 h 10000"/>
                <a:gd name="connsiteX265" fmla="*/ 3214 w 10000"/>
                <a:gd name="connsiteY265" fmla="*/ 3573 h 10000"/>
                <a:gd name="connsiteX266" fmla="*/ 3078 w 10000"/>
                <a:gd name="connsiteY266" fmla="*/ 3640 h 10000"/>
                <a:gd name="connsiteX267" fmla="*/ 2671 w 10000"/>
                <a:gd name="connsiteY267" fmla="*/ 3595 h 10000"/>
                <a:gd name="connsiteX268" fmla="*/ 2390 w 10000"/>
                <a:gd name="connsiteY268" fmla="*/ 3620 h 10000"/>
                <a:gd name="connsiteX269" fmla="*/ 2163 w 10000"/>
                <a:gd name="connsiteY269" fmla="*/ 3673 h 10000"/>
                <a:gd name="connsiteX270" fmla="*/ 1799 w 10000"/>
                <a:gd name="connsiteY270" fmla="*/ 3840 h 10000"/>
                <a:gd name="connsiteX271" fmla="*/ 1606 w 10000"/>
                <a:gd name="connsiteY271" fmla="*/ 4042 h 10000"/>
                <a:gd name="connsiteX272" fmla="*/ 1624 w 10000"/>
                <a:gd name="connsiteY272" fmla="*/ 4154 h 10000"/>
                <a:gd name="connsiteX273" fmla="*/ 1690 w 10000"/>
                <a:gd name="connsiteY273" fmla="*/ 4241 h 10000"/>
                <a:gd name="connsiteX274" fmla="*/ 1742 w 10000"/>
                <a:gd name="connsiteY274" fmla="*/ 4276 h 10000"/>
                <a:gd name="connsiteX275" fmla="*/ 1647 w 10000"/>
                <a:gd name="connsiteY275" fmla="*/ 4331 h 10000"/>
                <a:gd name="connsiteX276" fmla="*/ 1440 w 10000"/>
                <a:gd name="connsiteY276" fmla="*/ 4710 h 10000"/>
                <a:gd name="connsiteX277" fmla="*/ 1480 w 10000"/>
                <a:gd name="connsiteY277" fmla="*/ 4732 h 10000"/>
                <a:gd name="connsiteX278" fmla="*/ 1511 w 10000"/>
                <a:gd name="connsiteY278" fmla="*/ 4828 h 10000"/>
                <a:gd name="connsiteX279" fmla="*/ 1414 w 10000"/>
                <a:gd name="connsiteY279" fmla="*/ 5227 h 10000"/>
                <a:gd name="connsiteX280" fmla="*/ 1511 w 10000"/>
                <a:gd name="connsiteY280" fmla="*/ 5329 h 10000"/>
                <a:gd name="connsiteX281" fmla="*/ 1773 w 10000"/>
                <a:gd name="connsiteY281" fmla="*/ 5441 h 10000"/>
                <a:gd name="connsiteX282" fmla="*/ 1786 w 10000"/>
                <a:gd name="connsiteY282" fmla="*/ 5578 h 10000"/>
                <a:gd name="connsiteX283" fmla="*/ 1673 w 10000"/>
                <a:gd name="connsiteY283" fmla="*/ 5690 h 10000"/>
                <a:gd name="connsiteX284" fmla="*/ 1511 w 10000"/>
                <a:gd name="connsiteY284" fmla="*/ 5759 h 10000"/>
                <a:gd name="connsiteX285" fmla="*/ 1296 w 10000"/>
                <a:gd name="connsiteY285" fmla="*/ 5787 h 10000"/>
                <a:gd name="connsiteX286" fmla="*/ 1239 w 10000"/>
                <a:gd name="connsiteY286" fmla="*/ 5826 h 10000"/>
                <a:gd name="connsiteX287" fmla="*/ 1366 w 10000"/>
                <a:gd name="connsiteY287" fmla="*/ 5920 h 10000"/>
                <a:gd name="connsiteX288" fmla="*/ 1436 w 10000"/>
                <a:gd name="connsiteY288" fmla="*/ 6142 h 10000"/>
                <a:gd name="connsiteX289" fmla="*/ 1274 w 10000"/>
                <a:gd name="connsiteY289" fmla="*/ 6333 h 10000"/>
                <a:gd name="connsiteX290" fmla="*/ 1331 w 10000"/>
                <a:gd name="connsiteY290" fmla="*/ 6392 h 10000"/>
                <a:gd name="connsiteX291" fmla="*/ 1279 w 10000"/>
                <a:gd name="connsiteY291" fmla="*/ 6492 h 10000"/>
                <a:gd name="connsiteX292" fmla="*/ 1173 w 10000"/>
                <a:gd name="connsiteY292" fmla="*/ 6561 h 10000"/>
                <a:gd name="connsiteX293" fmla="*/ 762 w 10000"/>
                <a:gd name="connsiteY293" fmla="*/ 6614 h 10000"/>
                <a:gd name="connsiteX294" fmla="*/ 736 w 10000"/>
                <a:gd name="connsiteY294" fmla="*/ 6706 h 10000"/>
                <a:gd name="connsiteX295" fmla="*/ 513 w 10000"/>
                <a:gd name="connsiteY295" fmla="*/ 6843 h 10000"/>
                <a:gd name="connsiteX296" fmla="*/ 543 w 10000"/>
                <a:gd name="connsiteY296" fmla="*/ 7040 h 10000"/>
                <a:gd name="connsiteX297" fmla="*/ 355 w 10000"/>
                <a:gd name="connsiteY297" fmla="*/ 7293 h 10000"/>
                <a:gd name="connsiteX298" fmla="*/ 227 w 10000"/>
                <a:gd name="connsiteY298" fmla="*/ 7323 h 10000"/>
                <a:gd name="connsiteX299" fmla="*/ 175 w 10000"/>
                <a:gd name="connsiteY299" fmla="*/ 7262 h 10000"/>
                <a:gd name="connsiteX300" fmla="*/ 110 w 10000"/>
                <a:gd name="connsiteY300" fmla="*/ 7354 h 10000"/>
                <a:gd name="connsiteX301" fmla="*/ 153 w 10000"/>
                <a:gd name="connsiteY301" fmla="*/ 7197 h 10000"/>
                <a:gd name="connsiteX302" fmla="*/ 127 w 10000"/>
                <a:gd name="connsiteY302" fmla="*/ 7166 h 10000"/>
                <a:gd name="connsiteX0" fmla="*/ 127 w 9961"/>
                <a:gd name="connsiteY0" fmla="*/ 7166 h 10000"/>
                <a:gd name="connsiteX1" fmla="*/ 0 w 9961"/>
                <a:gd name="connsiteY1" fmla="*/ 7248 h 10000"/>
                <a:gd name="connsiteX2" fmla="*/ 0 w 9961"/>
                <a:gd name="connsiteY2" fmla="*/ 7651 h 10000"/>
                <a:gd name="connsiteX3" fmla="*/ 70 w 9961"/>
                <a:gd name="connsiteY3" fmla="*/ 7663 h 10000"/>
                <a:gd name="connsiteX4" fmla="*/ 87 w 9961"/>
                <a:gd name="connsiteY4" fmla="*/ 7694 h 10000"/>
                <a:gd name="connsiteX5" fmla="*/ 83 w 9961"/>
                <a:gd name="connsiteY5" fmla="*/ 7749 h 10000"/>
                <a:gd name="connsiteX6" fmla="*/ 57 w 9961"/>
                <a:gd name="connsiteY6" fmla="*/ 7773 h 10000"/>
                <a:gd name="connsiteX7" fmla="*/ 162 w 9961"/>
                <a:gd name="connsiteY7" fmla="*/ 7727 h 10000"/>
                <a:gd name="connsiteX8" fmla="*/ 206 w 9961"/>
                <a:gd name="connsiteY8" fmla="*/ 7680 h 10000"/>
                <a:gd name="connsiteX9" fmla="*/ 262 w 9961"/>
                <a:gd name="connsiteY9" fmla="*/ 7712 h 10000"/>
                <a:gd name="connsiteX10" fmla="*/ 201 w 9961"/>
                <a:gd name="connsiteY10" fmla="*/ 7778 h 10000"/>
                <a:gd name="connsiteX11" fmla="*/ 267 w 9961"/>
                <a:gd name="connsiteY11" fmla="*/ 7780 h 10000"/>
                <a:gd name="connsiteX12" fmla="*/ 298 w 9961"/>
                <a:gd name="connsiteY12" fmla="*/ 7796 h 10000"/>
                <a:gd name="connsiteX13" fmla="*/ 214 w 9961"/>
                <a:gd name="connsiteY13" fmla="*/ 7818 h 10000"/>
                <a:gd name="connsiteX14" fmla="*/ 83 w 9961"/>
                <a:gd name="connsiteY14" fmla="*/ 7886 h 10000"/>
                <a:gd name="connsiteX15" fmla="*/ 316 w 9961"/>
                <a:gd name="connsiteY15" fmla="*/ 7938 h 10000"/>
                <a:gd name="connsiteX16" fmla="*/ 346 w 9961"/>
                <a:gd name="connsiteY16" fmla="*/ 8014 h 10000"/>
                <a:gd name="connsiteX17" fmla="*/ 267 w 9961"/>
                <a:gd name="connsiteY17" fmla="*/ 8126 h 10000"/>
                <a:gd name="connsiteX18" fmla="*/ 438 w 9961"/>
                <a:gd name="connsiteY18" fmla="*/ 8118 h 10000"/>
                <a:gd name="connsiteX19" fmla="*/ 451 w 9961"/>
                <a:gd name="connsiteY19" fmla="*/ 8203 h 10000"/>
                <a:gd name="connsiteX20" fmla="*/ 337 w 9961"/>
                <a:gd name="connsiteY20" fmla="*/ 8260 h 10000"/>
                <a:gd name="connsiteX21" fmla="*/ 355 w 9961"/>
                <a:gd name="connsiteY21" fmla="*/ 8370 h 10000"/>
                <a:gd name="connsiteX22" fmla="*/ 311 w 9961"/>
                <a:gd name="connsiteY22" fmla="*/ 8456 h 10000"/>
                <a:gd name="connsiteX23" fmla="*/ 446 w 9961"/>
                <a:gd name="connsiteY23" fmla="*/ 8464 h 10000"/>
                <a:gd name="connsiteX24" fmla="*/ 578 w 9961"/>
                <a:gd name="connsiteY24" fmla="*/ 8792 h 10000"/>
                <a:gd name="connsiteX25" fmla="*/ 731 w 9961"/>
                <a:gd name="connsiteY25" fmla="*/ 8876 h 10000"/>
                <a:gd name="connsiteX26" fmla="*/ 797 w 9961"/>
                <a:gd name="connsiteY26" fmla="*/ 8965 h 10000"/>
                <a:gd name="connsiteX27" fmla="*/ 963 w 9961"/>
                <a:gd name="connsiteY27" fmla="*/ 9030 h 10000"/>
                <a:gd name="connsiteX28" fmla="*/ 1069 w 9961"/>
                <a:gd name="connsiteY28" fmla="*/ 9112 h 10000"/>
                <a:gd name="connsiteX29" fmla="*/ 1055 w 9961"/>
                <a:gd name="connsiteY29" fmla="*/ 9171 h 10000"/>
                <a:gd name="connsiteX30" fmla="*/ 950 w 9961"/>
                <a:gd name="connsiteY30" fmla="*/ 9193 h 10000"/>
                <a:gd name="connsiteX31" fmla="*/ 836 w 9961"/>
                <a:gd name="connsiteY31" fmla="*/ 9179 h 10000"/>
                <a:gd name="connsiteX32" fmla="*/ 801 w 9961"/>
                <a:gd name="connsiteY32" fmla="*/ 9204 h 10000"/>
                <a:gd name="connsiteX33" fmla="*/ 889 w 9961"/>
                <a:gd name="connsiteY33" fmla="*/ 9332 h 10000"/>
                <a:gd name="connsiteX34" fmla="*/ 766 w 9961"/>
                <a:gd name="connsiteY34" fmla="*/ 9322 h 10000"/>
                <a:gd name="connsiteX35" fmla="*/ 661 w 9961"/>
                <a:gd name="connsiteY35" fmla="*/ 9291 h 10000"/>
                <a:gd name="connsiteX36" fmla="*/ 643 w 9961"/>
                <a:gd name="connsiteY36" fmla="*/ 9338 h 10000"/>
                <a:gd name="connsiteX37" fmla="*/ 989 w 9961"/>
                <a:gd name="connsiteY37" fmla="*/ 9776 h 10000"/>
                <a:gd name="connsiteX38" fmla="*/ 933 w 9961"/>
                <a:gd name="connsiteY38" fmla="*/ 9817 h 10000"/>
                <a:gd name="connsiteX39" fmla="*/ 894 w 9961"/>
                <a:gd name="connsiteY39" fmla="*/ 9902 h 10000"/>
                <a:gd name="connsiteX40" fmla="*/ 845 w 9961"/>
                <a:gd name="connsiteY40" fmla="*/ 9908 h 10000"/>
                <a:gd name="connsiteX41" fmla="*/ 814 w 9961"/>
                <a:gd name="connsiteY41" fmla="*/ 9945 h 10000"/>
                <a:gd name="connsiteX42" fmla="*/ 1024 w 9961"/>
                <a:gd name="connsiteY42" fmla="*/ 9949 h 10000"/>
                <a:gd name="connsiteX43" fmla="*/ 1208 w 9961"/>
                <a:gd name="connsiteY43" fmla="*/ 9986 h 10000"/>
                <a:gd name="connsiteX44" fmla="*/ 1515 w 9961"/>
                <a:gd name="connsiteY44" fmla="*/ 9947 h 10000"/>
                <a:gd name="connsiteX45" fmla="*/ 1790 w 9961"/>
                <a:gd name="connsiteY45" fmla="*/ 9953 h 10000"/>
                <a:gd name="connsiteX46" fmla="*/ 1953 w 9961"/>
                <a:gd name="connsiteY46" fmla="*/ 10000 h 10000"/>
                <a:gd name="connsiteX47" fmla="*/ 2041 w 9961"/>
                <a:gd name="connsiteY47" fmla="*/ 9969 h 10000"/>
                <a:gd name="connsiteX48" fmla="*/ 2128 w 9961"/>
                <a:gd name="connsiteY48" fmla="*/ 9868 h 10000"/>
                <a:gd name="connsiteX49" fmla="*/ 2106 w 9961"/>
                <a:gd name="connsiteY49" fmla="*/ 9703 h 10000"/>
                <a:gd name="connsiteX50" fmla="*/ 2316 w 9961"/>
                <a:gd name="connsiteY50" fmla="*/ 9517 h 10000"/>
                <a:gd name="connsiteX51" fmla="*/ 2469 w 9961"/>
                <a:gd name="connsiteY51" fmla="*/ 9546 h 10000"/>
                <a:gd name="connsiteX52" fmla="*/ 2557 w 9961"/>
                <a:gd name="connsiteY52" fmla="*/ 9472 h 10000"/>
                <a:gd name="connsiteX53" fmla="*/ 2727 w 9961"/>
                <a:gd name="connsiteY53" fmla="*/ 9430 h 10000"/>
                <a:gd name="connsiteX54" fmla="*/ 2959 w 9961"/>
                <a:gd name="connsiteY54" fmla="*/ 9440 h 10000"/>
                <a:gd name="connsiteX55" fmla="*/ 3100 w 9961"/>
                <a:gd name="connsiteY55" fmla="*/ 9470 h 10000"/>
                <a:gd name="connsiteX56" fmla="*/ 3284 w 9961"/>
                <a:gd name="connsiteY56" fmla="*/ 9456 h 10000"/>
                <a:gd name="connsiteX57" fmla="*/ 3472 w 9961"/>
                <a:gd name="connsiteY57" fmla="*/ 9489 h 10000"/>
                <a:gd name="connsiteX58" fmla="*/ 3660 w 9961"/>
                <a:gd name="connsiteY58" fmla="*/ 9493 h 10000"/>
                <a:gd name="connsiteX59" fmla="*/ 4080 w 9961"/>
                <a:gd name="connsiteY59" fmla="*/ 9061 h 10000"/>
                <a:gd name="connsiteX60" fmla="*/ 4186 w 9961"/>
                <a:gd name="connsiteY60" fmla="*/ 8711 h 10000"/>
                <a:gd name="connsiteX61" fmla="*/ 4357 w 9961"/>
                <a:gd name="connsiteY61" fmla="*/ 8554 h 10000"/>
                <a:gd name="connsiteX62" fmla="*/ 4357 w 9961"/>
                <a:gd name="connsiteY62" fmla="*/ 8472 h 10000"/>
                <a:gd name="connsiteX63" fmla="*/ 4295 w 9961"/>
                <a:gd name="connsiteY63" fmla="*/ 8425 h 10000"/>
                <a:gd name="connsiteX64" fmla="*/ 4396 w 9961"/>
                <a:gd name="connsiteY64" fmla="*/ 8352 h 10000"/>
                <a:gd name="connsiteX65" fmla="*/ 4378 w 9961"/>
                <a:gd name="connsiteY65" fmla="*/ 8289 h 10000"/>
                <a:gd name="connsiteX66" fmla="*/ 4308 w 9961"/>
                <a:gd name="connsiteY66" fmla="*/ 8236 h 10000"/>
                <a:gd name="connsiteX67" fmla="*/ 4295 w 9961"/>
                <a:gd name="connsiteY67" fmla="*/ 8199 h 10000"/>
                <a:gd name="connsiteX68" fmla="*/ 4312 w 9961"/>
                <a:gd name="connsiteY68" fmla="*/ 8169 h 10000"/>
                <a:gd name="connsiteX69" fmla="*/ 4405 w 9961"/>
                <a:gd name="connsiteY69" fmla="*/ 8193 h 10000"/>
                <a:gd name="connsiteX70" fmla="*/ 4479 w 9961"/>
                <a:gd name="connsiteY70" fmla="*/ 8191 h 10000"/>
                <a:gd name="connsiteX71" fmla="*/ 4439 w 9961"/>
                <a:gd name="connsiteY71" fmla="*/ 8140 h 10000"/>
                <a:gd name="connsiteX72" fmla="*/ 4452 w 9961"/>
                <a:gd name="connsiteY72" fmla="*/ 8112 h 10000"/>
                <a:gd name="connsiteX73" fmla="*/ 4505 w 9961"/>
                <a:gd name="connsiteY73" fmla="*/ 8069 h 10000"/>
                <a:gd name="connsiteX74" fmla="*/ 4496 w 9961"/>
                <a:gd name="connsiteY74" fmla="*/ 8034 h 10000"/>
                <a:gd name="connsiteX75" fmla="*/ 4545 w 9961"/>
                <a:gd name="connsiteY75" fmla="*/ 7916 h 10000"/>
                <a:gd name="connsiteX76" fmla="*/ 4532 w 9961"/>
                <a:gd name="connsiteY76" fmla="*/ 7881 h 10000"/>
                <a:gd name="connsiteX77" fmla="*/ 4277 w 9961"/>
                <a:gd name="connsiteY77" fmla="*/ 7792 h 10000"/>
                <a:gd name="connsiteX78" fmla="*/ 4312 w 9961"/>
                <a:gd name="connsiteY78" fmla="*/ 7788 h 10000"/>
                <a:gd name="connsiteX79" fmla="*/ 4448 w 9961"/>
                <a:gd name="connsiteY79" fmla="*/ 7812 h 10000"/>
                <a:gd name="connsiteX80" fmla="*/ 4593 w 9961"/>
                <a:gd name="connsiteY80" fmla="*/ 7804 h 10000"/>
                <a:gd name="connsiteX81" fmla="*/ 4636 w 9961"/>
                <a:gd name="connsiteY81" fmla="*/ 7771 h 10000"/>
                <a:gd name="connsiteX82" fmla="*/ 4496 w 9961"/>
                <a:gd name="connsiteY82" fmla="*/ 7710 h 10000"/>
                <a:gd name="connsiteX83" fmla="*/ 4076 w 9961"/>
                <a:gd name="connsiteY83" fmla="*/ 7670 h 10000"/>
                <a:gd name="connsiteX84" fmla="*/ 4106 w 9961"/>
                <a:gd name="connsiteY84" fmla="*/ 7651 h 10000"/>
                <a:gd name="connsiteX85" fmla="*/ 4448 w 9961"/>
                <a:gd name="connsiteY85" fmla="*/ 7639 h 10000"/>
                <a:gd name="connsiteX86" fmla="*/ 4636 w 9961"/>
                <a:gd name="connsiteY86" fmla="*/ 7676 h 10000"/>
                <a:gd name="connsiteX87" fmla="*/ 4746 w 9961"/>
                <a:gd name="connsiteY87" fmla="*/ 7651 h 10000"/>
                <a:gd name="connsiteX88" fmla="*/ 4785 w 9961"/>
                <a:gd name="connsiteY88" fmla="*/ 7588 h 10000"/>
                <a:gd name="connsiteX89" fmla="*/ 4982 w 9961"/>
                <a:gd name="connsiteY89" fmla="*/ 7588 h 10000"/>
                <a:gd name="connsiteX90" fmla="*/ 5249 w 9961"/>
                <a:gd name="connsiteY90" fmla="*/ 7462 h 10000"/>
                <a:gd name="connsiteX91" fmla="*/ 5258 w 9961"/>
                <a:gd name="connsiteY91" fmla="*/ 7378 h 10000"/>
                <a:gd name="connsiteX92" fmla="*/ 5372 w 9961"/>
                <a:gd name="connsiteY92" fmla="*/ 7397 h 10000"/>
                <a:gd name="connsiteX93" fmla="*/ 5368 w 9961"/>
                <a:gd name="connsiteY93" fmla="*/ 7482 h 10000"/>
                <a:gd name="connsiteX94" fmla="*/ 5547 w 9961"/>
                <a:gd name="connsiteY94" fmla="*/ 7476 h 10000"/>
                <a:gd name="connsiteX95" fmla="*/ 5665 w 9961"/>
                <a:gd name="connsiteY95" fmla="*/ 7388 h 10000"/>
                <a:gd name="connsiteX96" fmla="*/ 5885 w 9961"/>
                <a:gd name="connsiteY96" fmla="*/ 7309 h 10000"/>
                <a:gd name="connsiteX97" fmla="*/ 5849 w 9961"/>
                <a:gd name="connsiteY97" fmla="*/ 7219 h 10000"/>
                <a:gd name="connsiteX98" fmla="*/ 5915 w 9961"/>
                <a:gd name="connsiteY98" fmla="*/ 7254 h 10000"/>
                <a:gd name="connsiteX99" fmla="*/ 6015 w 9961"/>
                <a:gd name="connsiteY99" fmla="*/ 7254 h 10000"/>
                <a:gd name="connsiteX100" fmla="*/ 6015 w 9961"/>
                <a:gd name="connsiteY100" fmla="*/ 7213 h 10000"/>
                <a:gd name="connsiteX101" fmla="*/ 6108 w 9961"/>
                <a:gd name="connsiteY101" fmla="*/ 7181 h 10000"/>
                <a:gd name="connsiteX102" fmla="*/ 6095 w 9961"/>
                <a:gd name="connsiteY102" fmla="*/ 7148 h 10000"/>
                <a:gd name="connsiteX103" fmla="*/ 5307 w 9961"/>
                <a:gd name="connsiteY103" fmla="*/ 7215 h 10000"/>
                <a:gd name="connsiteX104" fmla="*/ 5123 w 9961"/>
                <a:gd name="connsiteY104" fmla="*/ 7195 h 10000"/>
                <a:gd name="connsiteX105" fmla="*/ 5048 w 9961"/>
                <a:gd name="connsiteY105" fmla="*/ 7219 h 10000"/>
                <a:gd name="connsiteX106" fmla="*/ 5022 w 9961"/>
                <a:gd name="connsiteY106" fmla="*/ 7173 h 10000"/>
                <a:gd name="connsiteX107" fmla="*/ 4935 w 9961"/>
                <a:gd name="connsiteY107" fmla="*/ 7132 h 10000"/>
                <a:gd name="connsiteX108" fmla="*/ 4584 w 9961"/>
                <a:gd name="connsiteY108" fmla="*/ 7052 h 10000"/>
                <a:gd name="connsiteX109" fmla="*/ 4378 w 9961"/>
                <a:gd name="connsiteY109" fmla="*/ 7065 h 10000"/>
                <a:gd name="connsiteX110" fmla="*/ 4295 w 9961"/>
                <a:gd name="connsiteY110" fmla="*/ 7042 h 10000"/>
                <a:gd name="connsiteX111" fmla="*/ 4383 w 9961"/>
                <a:gd name="connsiteY111" fmla="*/ 7022 h 10000"/>
                <a:gd name="connsiteX112" fmla="*/ 4448 w 9961"/>
                <a:gd name="connsiteY112" fmla="*/ 6979 h 10000"/>
                <a:gd name="connsiteX113" fmla="*/ 4545 w 9961"/>
                <a:gd name="connsiteY113" fmla="*/ 6993 h 10000"/>
                <a:gd name="connsiteX114" fmla="*/ 4663 w 9961"/>
                <a:gd name="connsiteY114" fmla="*/ 6981 h 10000"/>
                <a:gd name="connsiteX115" fmla="*/ 4838 w 9961"/>
                <a:gd name="connsiteY115" fmla="*/ 6995 h 10000"/>
                <a:gd name="connsiteX116" fmla="*/ 4859 w 9961"/>
                <a:gd name="connsiteY116" fmla="*/ 6989 h 10000"/>
                <a:gd name="connsiteX117" fmla="*/ 4996 w 9961"/>
                <a:gd name="connsiteY117" fmla="*/ 7056 h 10000"/>
                <a:gd name="connsiteX118" fmla="*/ 5097 w 9961"/>
                <a:gd name="connsiteY118" fmla="*/ 7032 h 10000"/>
                <a:gd name="connsiteX119" fmla="*/ 5105 w 9961"/>
                <a:gd name="connsiteY119" fmla="*/ 7010 h 10000"/>
                <a:gd name="connsiteX120" fmla="*/ 5197 w 9961"/>
                <a:gd name="connsiteY120" fmla="*/ 7048 h 10000"/>
                <a:gd name="connsiteX121" fmla="*/ 5320 w 9961"/>
                <a:gd name="connsiteY121" fmla="*/ 7069 h 10000"/>
                <a:gd name="connsiteX122" fmla="*/ 5368 w 9961"/>
                <a:gd name="connsiteY122" fmla="*/ 7030 h 10000"/>
                <a:gd name="connsiteX123" fmla="*/ 5407 w 9961"/>
                <a:gd name="connsiteY123" fmla="*/ 7052 h 10000"/>
                <a:gd name="connsiteX124" fmla="*/ 5464 w 9961"/>
                <a:gd name="connsiteY124" fmla="*/ 7126 h 10000"/>
                <a:gd name="connsiteX125" fmla="*/ 5582 w 9961"/>
                <a:gd name="connsiteY125" fmla="*/ 7144 h 10000"/>
                <a:gd name="connsiteX126" fmla="*/ 6064 w 9961"/>
                <a:gd name="connsiteY126" fmla="*/ 7034 h 10000"/>
                <a:gd name="connsiteX127" fmla="*/ 6300 w 9961"/>
                <a:gd name="connsiteY127" fmla="*/ 6879 h 10000"/>
                <a:gd name="connsiteX128" fmla="*/ 6357 w 9961"/>
                <a:gd name="connsiteY128" fmla="*/ 6765 h 10000"/>
                <a:gd name="connsiteX129" fmla="*/ 6270 w 9961"/>
                <a:gd name="connsiteY129" fmla="*/ 6663 h 10000"/>
                <a:gd name="connsiteX130" fmla="*/ 6090 w 9961"/>
                <a:gd name="connsiteY130" fmla="*/ 6602 h 10000"/>
                <a:gd name="connsiteX131" fmla="*/ 5963 w 9961"/>
                <a:gd name="connsiteY131" fmla="*/ 6502 h 10000"/>
                <a:gd name="connsiteX132" fmla="*/ 6082 w 9961"/>
                <a:gd name="connsiteY132" fmla="*/ 6498 h 10000"/>
                <a:gd name="connsiteX133" fmla="*/ 6073 w 9961"/>
                <a:gd name="connsiteY133" fmla="*/ 6474 h 10000"/>
                <a:gd name="connsiteX134" fmla="*/ 5762 w 9961"/>
                <a:gd name="connsiteY134" fmla="*/ 6403 h 10000"/>
                <a:gd name="connsiteX135" fmla="*/ 5749 w 9961"/>
                <a:gd name="connsiteY135" fmla="*/ 6339 h 10000"/>
                <a:gd name="connsiteX136" fmla="*/ 5692 w 9961"/>
                <a:gd name="connsiteY136" fmla="*/ 6272 h 10000"/>
                <a:gd name="connsiteX137" fmla="*/ 5446 w 9961"/>
                <a:gd name="connsiteY137" fmla="*/ 6284 h 10000"/>
                <a:gd name="connsiteX138" fmla="*/ 5359 w 9961"/>
                <a:gd name="connsiteY138" fmla="*/ 6213 h 10000"/>
                <a:gd name="connsiteX139" fmla="*/ 5307 w 9961"/>
                <a:gd name="connsiteY139" fmla="*/ 6209 h 10000"/>
                <a:gd name="connsiteX140" fmla="*/ 5307 w 9961"/>
                <a:gd name="connsiteY140" fmla="*/ 6238 h 10000"/>
                <a:gd name="connsiteX141" fmla="*/ 5197 w 9961"/>
                <a:gd name="connsiteY141" fmla="*/ 6358 h 10000"/>
                <a:gd name="connsiteX142" fmla="*/ 5078 w 9961"/>
                <a:gd name="connsiteY142" fmla="*/ 6429 h 10000"/>
                <a:gd name="connsiteX143" fmla="*/ 4706 w 9961"/>
                <a:gd name="connsiteY143" fmla="*/ 6551 h 10000"/>
                <a:gd name="connsiteX144" fmla="*/ 4575 w 9961"/>
                <a:gd name="connsiteY144" fmla="*/ 6547 h 10000"/>
                <a:gd name="connsiteX145" fmla="*/ 4396 w 9961"/>
                <a:gd name="connsiteY145" fmla="*/ 6565 h 10000"/>
                <a:gd name="connsiteX146" fmla="*/ 4295 w 9961"/>
                <a:gd name="connsiteY146" fmla="*/ 6547 h 10000"/>
                <a:gd name="connsiteX147" fmla="*/ 4426 w 9961"/>
                <a:gd name="connsiteY147" fmla="*/ 6513 h 10000"/>
                <a:gd name="connsiteX148" fmla="*/ 4597 w 9961"/>
                <a:gd name="connsiteY148" fmla="*/ 6498 h 10000"/>
                <a:gd name="connsiteX149" fmla="*/ 4738 w 9961"/>
                <a:gd name="connsiteY149" fmla="*/ 6441 h 10000"/>
                <a:gd name="connsiteX150" fmla="*/ 4877 w 9961"/>
                <a:gd name="connsiteY150" fmla="*/ 6415 h 10000"/>
                <a:gd name="connsiteX151" fmla="*/ 5136 w 9961"/>
                <a:gd name="connsiteY151" fmla="*/ 6317 h 10000"/>
                <a:gd name="connsiteX152" fmla="*/ 5184 w 9961"/>
                <a:gd name="connsiteY152" fmla="*/ 6252 h 10000"/>
                <a:gd name="connsiteX153" fmla="*/ 5188 w 9961"/>
                <a:gd name="connsiteY153" fmla="*/ 6168 h 10000"/>
                <a:gd name="connsiteX154" fmla="*/ 5070 w 9961"/>
                <a:gd name="connsiteY154" fmla="*/ 6154 h 10000"/>
                <a:gd name="connsiteX155" fmla="*/ 5123 w 9961"/>
                <a:gd name="connsiteY155" fmla="*/ 6103 h 10000"/>
                <a:gd name="connsiteX156" fmla="*/ 5140 w 9961"/>
                <a:gd name="connsiteY156" fmla="*/ 6038 h 10000"/>
                <a:gd name="connsiteX157" fmla="*/ 5091 w 9961"/>
                <a:gd name="connsiteY157" fmla="*/ 5977 h 10000"/>
                <a:gd name="connsiteX158" fmla="*/ 5061 w 9961"/>
                <a:gd name="connsiteY158" fmla="*/ 5533 h 10000"/>
                <a:gd name="connsiteX159" fmla="*/ 5132 w 9961"/>
                <a:gd name="connsiteY159" fmla="*/ 5437 h 10000"/>
                <a:gd name="connsiteX160" fmla="*/ 5114 w 9961"/>
                <a:gd name="connsiteY160" fmla="*/ 5398 h 10000"/>
                <a:gd name="connsiteX161" fmla="*/ 5320 w 9961"/>
                <a:gd name="connsiteY161" fmla="*/ 5455 h 10000"/>
                <a:gd name="connsiteX162" fmla="*/ 5333 w 9961"/>
                <a:gd name="connsiteY162" fmla="*/ 5402 h 10000"/>
                <a:gd name="connsiteX163" fmla="*/ 5289 w 9961"/>
                <a:gd name="connsiteY163" fmla="*/ 5264 h 10000"/>
                <a:gd name="connsiteX164" fmla="*/ 5437 w 9961"/>
                <a:gd name="connsiteY164" fmla="*/ 5019 h 10000"/>
                <a:gd name="connsiteX165" fmla="*/ 5346 w 9961"/>
                <a:gd name="connsiteY165" fmla="*/ 4960 h 10000"/>
                <a:gd name="connsiteX166" fmla="*/ 5311 w 9961"/>
                <a:gd name="connsiteY166" fmla="*/ 4905 h 10000"/>
                <a:gd name="connsiteX167" fmla="*/ 5324 w 9961"/>
                <a:gd name="connsiteY167" fmla="*/ 4816 h 10000"/>
                <a:gd name="connsiteX168" fmla="*/ 5539 w 9961"/>
                <a:gd name="connsiteY168" fmla="*/ 4875 h 10000"/>
                <a:gd name="connsiteX169" fmla="*/ 5547 w 9961"/>
                <a:gd name="connsiteY169" fmla="*/ 4858 h 10000"/>
                <a:gd name="connsiteX170" fmla="*/ 5608 w 9961"/>
                <a:gd name="connsiteY170" fmla="*/ 4842 h 10000"/>
                <a:gd name="connsiteX171" fmla="*/ 5692 w 9961"/>
                <a:gd name="connsiteY171" fmla="*/ 4785 h 10000"/>
                <a:gd name="connsiteX172" fmla="*/ 5705 w 9961"/>
                <a:gd name="connsiteY172" fmla="*/ 4769 h 10000"/>
                <a:gd name="connsiteX173" fmla="*/ 5688 w 9961"/>
                <a:gd name="connsiteY173" fmla="*/ 4748 h 10000"/>
                <a:gd name="connsiteX174" fmla="*/ 5731 w 9961"/>
                <a:gd name="connsiteY174" fmla="*/ 4647 h 10000"/>
                <a:gd name="connsiteX175" fmla="*/ 5679 w 9961"/>
                <a:gd name="connsiteY175" fmla="*/ 4581 h 10000"/>
                <a:gd name="connsiteX176" fmla="*/ 5688 w 9961"/>
                <a:gd name="connsiteY176" fmla="*/ 4528 h 10000"/>
                <a:gd name="connsiteX177" fmla="*/ 5718 w 9961"/>
                <a:gd name="connsiteY177" fmla="*/ 4590 h 10000"/>
                <a:gd name="connsiteX178" fmla="*/ 5836 w 9961"/>
                <a:gd name="connsiteY178" fmla="*/ 4636 h 10000"/>
                <a:gd name="connsiteX179" fmla="*/ 5885 w 9961"/>
                <a:gd name="connsiteY179" fmla="*/ 4630 h 10000"/>
                <a:gd name="connsiteX180" fmla="*/ 5963 w 9961"/>
                <a:gd name="connsiteY180" fmla="*/ 4569 h 10000"/>
                <a:gd name="connsiteX181" fmla="*/ 6046 w 9961"/>
                <a:gd name="connsiteY181" fmla="*/ 4594 h 10000"/>
                <a:gd name="connsiteX182" fmla="*/ 6069 w 9961"/>
                <a:gd name="connsiteY182" fmla="*/ 4545 h 10000"/>
                <a:gd name="connsiteX183" fmla="*/ 6125 w 9961"/>
                <a:gd name="connsiteY183" fmla="*/ 4512 h 10000"/>
                <a:gd name="connsiteX184" fmla="*/ 5972 w 9961"/>
                <a:gd name="connsiteY184" fmla="*/ 4477 h 10000"/>
                <a:gd name="connsiteX185" fmla="*/ 6082 w 9961"/>
                <a:gd name="connsiteY185" fmla="*/ 4484 h 10000"/>
                <a:gd name="connsiteX186" fmla="*/ 6195 w 9961"/>
                <a:gd name="connsiteY186" fmla="*/ 4447 h 10000"/>
                <a:gd name="connsiteX187" fmla="*/ 6191 w 9961"/>
                <a:gd name="connsiteY187" fmla="*/ 4422 h 10000"/>
                <a:gd name="connsiteX188" fmla="*/ 6296 w 9961"/>
                <a:gd name="connsiteY188" fmla="*/ 4398 h 10000"/>
                <a:gd name="connsiteX189" fmla="*/ 6305 w 9961"/>
                <a:gd name="connsiteY189" fmla="*/ 4337 h 10000"/>
                <a:gd name="connsiteX190" fmla="*/ 6388 w 9961"/>
                <a:gd name="connsiteY190" fmla="*/ 4325 h 10000"/>
                <a:gd name="connsiteX191" fmla="*/ 6396 w 9961"/>
                <a:gd name="connsiteY191" fmla="*/ 4253 h 10000"/>
                <a:gd name="connsiteX192" fmla="*/ 6484 w 9961"/>
                <a:gd name="connsiteY192" fmla="*/ 4245 h 10000"/>
                <a:gd name="connsiteX193" fmla="*/ 6619 w 9961"/>
                <a:gd name="connsiteY193" fmla="*/ 4260 h 10000"/>
                <a:gd name="connsiteX194" fmla="*/ 6768 w 9961"/>
                <a:gd name="connsiteY194" fmla="*/ 4202 h 10000"/>
                <a:gd name="connsiteX195" fmla="*/ 6821 w 9961"/>
                <a:gd name="connsiteY195" fmla="*/ 4137 h 10000"/>
                <a:gd name="connsiteX196" fmla="*/ 7005 w 9961"/>
                <a:gd name="connsiteY196" fmla="*/ 4070 h 10000"/>
                <a:gd name="connsiteX197" fmla="*/ 7097 w 9961"/>
                <a:gd name="connsiteY197" fmla="*/ 4111 h 10000"/>
                <a:gd name="connsiteX198" fmla="*/ 7237 w 9961"/>
                <a:gd name="connsiteY198" fmla="*/ 4066 h 10000"/>
                <a:gd name="connsiteX199" fmla="*/ 7272 w 9961"/>
                <a:gd name="connsiteY199" fmla="*/ 4009 h 10000"/>
                <a:gd name="connsiteX200" fmla="*/ 7377 w 9961"/>
                <a:gd name="connsiteY200" fmla="*/ 3970 h 10000"/>
                <a:gd name="connsiteX201" fmla="*/ 7469 w 9961"/>
                <a:gd name="connsiteY201" fmla="*/ 3987 h 10000"/>
                <a:gd name="connsiteX202" fmla="*/ 7526 w 9961"/>
                <a:gd name="connsiteY202" fmla="*/ 3958 h 10000"/>
                <a:gd name="connsiteX203" fmla="*/ 7684 w 9961"/>
                <a:gd name="connsiteY203" fmla="*/ 3917 h 10000"/>
                <a:gd name="connsiteX204" fmla="*/ 7749 w 9961"/>
                <a:gd name="connsiteY204" fmla="*/ 3864 h 10000"/>
                <a:gd name="connsiteX205" fmla="*/ 7837 w 9961"/>
                <a:gd name="connsiteY205" fmla="*/ 3842 h 10000"/>
                <a:gd name="connsiteX206" fmla="*/ 8323 w 9961"/>
                <a:gd name="connsiteY206" fmla="*/ 3522 h 10000"/>
                <a:gd name="connsiteX207" fmla="*/ 9768 w 9961"/>
                <a:gd name="connsiteY207" fmla="*/ 2343 h 10000"/>
                <a:gd name="connsiteX208" fmla="*/ 9961 w 9961"/>
                <a:gd name="connsiteY208" fmla="*/ 2410 h 10000"/>
                <a:gd name="connsiteX209" fmla="*/ 9755 w 9961"/>
                <a:gd name="connsiteY209" fmla="*/ 1992 h 10000"/>
                <a:gd name="connsiteX210" fmla="*/ 9794 w 9961"/>
                <a:gd name="connsiteY210" fmla="*/ 1897 h 10000"/>
                <a:gd name="connsiteX211" fmla="*/ 9881 w 9961"/>
                <a:gd name="connsiteY211" fmla="*/ 1819 h 10000"/>
                <a:gd name="connsiteX212" fmla="*/ 9881 w 9961"/>
                <a:gd name="connsiteY212" fmla="*/ 1699 h 10000"/>
                <a:gd name="connsiteX213" fmla="*/ 9606 w 9961"/>
                <a:gd name="connsiteY213" fmla="*/ 1465 h 10000"/>
                <a:gd name="connsiteX214" fmla="*/ 9562 w 9961"/>
                <a:gd name="connsiteY214" fmla="*/ 1379 h 10000"/>
                <a:gd name="connsiteX215" fmla="*/ 9623 w 9961"/>
                <a:gd name="connsiteY215" fmla="*/ 1271 h 10000"/>
                <a:gd name="connsiteX216" fmla="*/ 9593 w 9961"/>
                <a:gd name="connsiteY216" fmla="*/ 1194 h 10000"/>
                <a:gd name="connsiteX217" fmla="*/ 9536 w 9961"/>
                <a:gd name="connsiteY217" fmla="*/ 1159 h 10000"/>
                <a:gd name="connsiteX218" fmla="*/ 9487 w 9961"/>
                <a:gd name="connsiteY218" fmla="*/ 978 h 10000"/>
                <a:gd name="connsiteX219" fmla="*/ 9545 w 9961"/>
                <a:gd name="connsiteY219" fmla="*/ 831 h 10000"/>
                <a:gd name="connsiteX220" fmla="*/ 9124 w 9961"/>
                <a:gd name="connsiteY220" fmla="*/ 517 h 10000"/>
                <a:gd name="connsiteX221" fmla="*/ 8918 w 9961"/>
                <a:gd name="connsiteY221" fmla="*/ 440 h 10000"/>
                <a:gd name="connsiteX222" fmla="*/ 8537 w 9961"/>
                <a:gd name="connsiteY222" fmla="*/ 389 h 10000"/>
                <a:gd name="connsiteX223" fmla="*/ 7749 w 9961"/>
                <a:gd name="connsiteY223" fmla="*/ 26 h 10000"/>
                <a:gd name="connsiteX224" fmla="*/ 7723 w 9961"/>
                <a:gd name="connsiteY224" fmla="*/ 2 h 10000"/>
                <a:gd name="connsiteX225" fmla="*/ 7456 w 9961"/>
                <a:gd name="connsiteY225" fmla="*/ 0 h 10000"/>
                <a:gd name="connsiteX226" fmla="*/ 7394 w 9961"/>
                <a:gd name="connsiteY226" fmla="*/ 14 h 10000"/>
                <a:gd name="connsiteX227" fmla="*/ 7408 w 9961"/>
                <a:gd name="connsiteY227" fmla="*/ 61 h 10000"/>
                <a:gd name="connsiteX228" fmla="*/ 7461 w 9961"/>
                <a:gd name="connsiteY228" fmla="*/ 86 h 10000"/>
                <a:gd name="connsiteX229" fmla="*/ 7474 w 9961"/>
                <a:gd name="connsiteY229" fmla="*/ 139 h 10000"/>
                <a:gd name="connsiteX230" fmla="*/ 7456 w 9961"/>
                <a:gd name="connsiteY230" fmla="*/ 181 h 10000"/>
                <a:gd name="connsiteX231" fmla="*/ 7408 w 9961"/>
                <a:gd name="connsiteY231" fmla="*/ 208 h 10000"/>
                <a:gd name="connsiteX232" fmla="*/ 7372 w 9961"/>
                <a:gd name="connsiteY232" fmla="*/ 283 h 10000"/>
                <a:gd name="connsiteX233" fmla="*/ 7307 w 9961"/>
                <a:gd name="connsiteY233" fmla="*/ 336 h 10000"/>
                <a:gd name="connsiteX234" fmla="*/ 7320 w 9961"/>
                <a:gd name="connsiteY234" fmla="*/ 387 h 10000"/>
                <a:gd name="connsiteX235" fmla="*/ 7421 w 9961"/>
                <a:gd name="connsiteY235" fmla="*/ 434 h 10000"/>
                <a:gd name="connsiteX236" fmla="*/ 7355 w 9961"/>
                <a:gd name="connsiteY236" fmla="*/ 475 h 10000"/>
                <a:gd name="connsiteX237" fmla="*/ 7259 w 9961"/>
                <a:gd name="connsiteY237" fmla="*/ 485 h 10000"/>
                <a:gd name="connsiteX238" fmla="*/ 6454 w 9961"/>
                <a:gd name="connsiteY238" fmla="*/ 387 h 10000"/>
                <a:gd name="connsiteX239" fmla="*/ 6357 w 9961"/>
                <a:gd name="connsiteY239" fmla="*/ 395 h 10000"/>
                <a:gd name="connsiteX240" fmla="*/ 6300 w 9961"/>
                <a:gd name="connsiteY240" fmla="*/ 414 h 10000"/>
                <a:gd name="connsiteX241" fmla="*/ 6243 w 9961"/>
                <a:gd name="connsiteY241" fmla="*/ 462 h 10000"/>
                <a:gd name="connsiteX242" fmla="*/ 6253 w 9961"/>
                <a:gd name="connsiteY242" fmla="*/ 581 h 10000"/>
                <a:gd name="connsiteX243" fmla="*/ 6164 w 9961"/>
                <a:gd name="connsiteY243" fmla="*/ 735 h 10000"/>
                <a:gd name="connsiteX244" fmla="*/ 6055 w 9961"/>
                <a:gd name="connsiteY244" fmla="*/ 815 h 10000"/>
                <a:gd name="connsiteX245" fmla="*/ 6011 w 9961"/>
                <a:gd name="connsiteY245" fmla="*/ 805 h 10000"/>
                <a:gd name="connsiteX246" fmla="*/ 5911 w 9961"/>
                <a:gd name="connsiteY246" fmla="*/ 739 h 10000"/>
                <a:gd name="connsiteX247" fmla="*/ 5783 w 9961"/>
                <a:gd name="connsiteY247" fmla="*/ 705 h 10000"/>
                <a:gd name="connsiteX248" fmla="*/ 5647 w 9961"/>
                <a:gd name="connsiteY248" fmla="*/ 715 h 10000"/>
                <a:gd name="connsiteX249" fmla="*/ 5329 w 9961"/>
                <a:gd name="connsiteY249" fmla="*/ 866 h 10000"/>
                <a:gd name="connsiteX250" fmla="*/ 5245 w 9961"/>
                <a:gd name="connsiteY250" fmla="*/ 1017 h 10000"/>
                <a:gd name="connsiteX251" fmla="*/ 5004 w 9961"/>
                <a:gd name="connsiteY251" fmla="*/ 1153 h 10000"/>
                <a:gd name="connsiteX252" fmla="*/ 4961 w 9961"/>
                <a:gd name="connsiteY252" fmla="*/ 1222 h 10000"/>
                <a:gd name="connsiteX253" fmla="*/ 5087 w 9961"/>
                <a:gd name="connsiteY253" fmla="*/ 1344 h 10000"/>
                <a:gd name="connsiteX254" fmla="*/ 5101 w 9961"/>
                <a:gd name="connsiteY254" fmla="*/ 1412 h 10000"/>
                <a:gd name="connsiteX255" fmla="*/ 4444 w 9961"/>
                <a:gd name="connsiteY255" fmla="*/ 1813 h 10000"/>
                <a:gd name="connsiteX256" fmla="*/ 4242 w 9961"/>
                <a:gd name="connsiteY256" fmla="*/ 2070 h 10000"/>
                <a:gd name="connsiteX257" fmla="*/ 4024 w 9961"/>
                <a:gd name="connsiteY257" fmla="*/ 2135 h 10000"/>
                <a:gd name="connsiteX258" fmla="*/ 3888 w 9961"/>
                <a:gd name="connsiteY258" fmla="*/ 2131 h 10000"/>
                <a:gd name="connsiteX259" fmla="*/ 3805 w 9961"/>
                <a:gd name="connsiteY259" fmla="*/ 2153 h 10000"/>
                <a:gd name="connsiteX260" fmla="*/ 3577 w 9961"/>
                <a:gd name="connsiteY260" fmla="*/ 2793 h 10000"/>
                <a:gd name="connsiteX261" fmla="*/ 3052 w 9961"/>
                <a:gd name="connsiteY261" fmla="*/ 3166 h 10000"/>
                <a:gd name="connsiteX262" fmla="*/ 3056 w 9961"/>
                <a:gd name="connsiteY262" fmla="*/ 3225 h 10000"/>
                <a:gd name="connsiteX263" fmla="*/ 3288 w 9961"/>
                <a:gd name="connsiteY263" fmla="*/ 3392 h 10000"/>
                <a:gd name="connsiteX264" fmla="*/ 3214 w 9961"/>
                <a:gd name="connsiteY264" fmla="*/ 3573 h 10000"/>
                <a:gd name="connsiteX265" fmla="*/ 3078 w 9961"/>
                <a:gd name="connsiteY265" fmla="*/ 3640 h 10000"/>
                <a:gd name="connsiteX266" fmla="*/ 2671 w 9961"/>
                <a:gd name="connsiteY266" fmla="*/ 3595 h 10000"/>
                <a:gd name="connsiteX267" fmla="*/ 2390 w 9961"/>
                <a:gd name="connsiteY267" fmla="*/ 3620 h 10000"/>
                <a:gd name="connsiteX268" fmla="*/ 2163 w 9961"/>
                <a:gd name="connsiteY268" fmla="*/ 3673 h 10000"/>
                <a:gd name="connsiteX269" fmla="*/ 1799 w 9961"/>
                <a:gd name="connsiteY269" fmla="*/ 3840 h 10000"/>
                <a:gd name="connsiteX270" fmla="*/ 1606 w 9961"/>
                <a:gd name="connsiteY270" fmla="*/ 4042 h 10000"/>
                <a:gd name="connsiteX271" fmla="*/ 1624 w 9961"/>
                <a:gd name="connsiteY271" fmla="*/ 4154 h 10000"/>
                <a:gd name="connsiteX272" fmla="*/ 1690 w 9961"/>
                <a:gd name="connsiteY272" fmla="*/ 4241 h 10000"/>
                <a:gd name="connsiteX273" fmla="*/ 1742 w 9961"/>
                <a:gd name="connsiteY273" fmla="*/ 4276 h 10000"/>
                <a:gd name="connsiteX274" fmla="*/ 1647 w 9961"/>
                <a:gd name="connsiteY274" fmla="*/ 4331 h 10000"/>
                <a:gd name="connsiteX275" fmla="*/ 1440 w 9961"/>
                <a:gd name="connsiteY275" fmla="*/ 4710 h 10000"/>
                <a:gd name="connsiteX276" fmla="*/ 1480 w 9961"/>
                <a:gd name="connsiteY276" fmla="*/ 4732 h 10000"/>
                <a:gd name="connsiteX277" fmla="*/ 1511 w 9961"/>
                <a:gd name="connsiteY277" fmla="*/ 4828 h 10000"/>
                <a:gd name="connsiteX278" fmla="*/ 1414 w 9961"/>
                <a:gd name="connsiteY278" fmla="*/ 5227 h 10000"/>
                <a:gd name="connsiteX279" fmla="*/ 1511 w 9961"/>
                <a:gd name="connsiteY279" fmla="*/ 5329 h 10000"/>
                <a:gd name="connsiteX280" fmla="*/ 1773 w 9961"/>
                <a:gd name="connsiteY280" fmla="*/ 5441 h 10000"/>
                <a:gd name="connsiteX281" fmla="*/ 1786 w 9961"/>
                <a:gd name="connsiteY281" fmla="*/ 5578 h 10000"/>
                <a:gd name="connsiteX282" fmla="*/ 1673 w 9961"/>
                <a:gd name="connsiteY282" fmla="*/ 5690 h 10000"/>
                <a:gd name="connsiteX283" fmla="*/ 1511 w 9961"/>
                <a:gd name="connsiteY283" fmla="*/ 5759 h 10000"/>
                <a:gd name="connsiteX284" fmla="*/ 1296 w 9961"/>
                <a:gd name="connsiteY284" fmla="*/ 5787 h 10000"/>
                <a:gd name="connsiteX285" fmla="*/ 1239 w 9961"/>
                <a:gd name="connsiteY285" fmla="*/ 5826 h 10000"/>
                <a:gd name="connsiteX286" fmla="*/ 1366 w 9961"/>
                <a:gd name="connsiteY286" fmla="*/ 5920 h 10000"/>
                <a:gd name="connsiteX287" fmla="*/ 1436 w 9961"/>
                <a:gd name="connsiteY287" fmla="*/ 6142 h 10000"/>
                <a:gd name="connsiteX288" fmla="*/ 1274 w 9961"/>
                <a:gd name="connsiteY288" fmla="*/ 6333 h 10000"/>
                <a:gd name="connsiteX289" fmla="*/ 1331 w 9961"/>
                <a:gd name="connsiteY289" fmla="*/ 6392 h 10000"/>
                <a:gd name="connsiteX290" fmla="*/ 1279 w 9961"/>
                <a:gd name="connsiteY290" fmla="*/ 6492 h 10000"/>
                <a:gd name="connsiteX291" fmla="*/ 1173 w 9961"/>
                <a:gd name="connsiteY291" fmla="*/ 6561 h 10000"/>
                <a:gd name="connsiteX292" fmla="*/ 762 w 9961"/>
                <a:gd name="connsiteY292" fmla="*/ 6614 h 10000"/>
                <a:gd name="connsiteX293" fmla="*/ 736 w 9961"/>
                <a:gd name="connsiteY293" fmla="*/ 6706 h 10000"/>
                <a:gd name="connsiteX294" fmla="*/ 513 w 9961"/>
                <a:gd name="connsiteY294" fmla="*/ 6843 h 10000"/>
                <a:gd name="connsiteX295" fmla="*/ 543 w 9961"/>
                <a:gd name="connsiteY295" fmla="*/ 7040 h 10000"/>
                <a:gd name="connsiteX296" fmla="*/ 355 w 9961"/>
                <a:gd name="connsiteY296" fmla="*/ 7293 h 10000"/>
                <a:gd name="connsiteX297" fmla="*/ 227 w 9961"/>
                <a:gd name="connsiteY297" fmla="*/ 7323 h 10000"/>
                <a:gd name="connsiteX298" fmla="*/ 175 w 9961"/>
                <a:gd name="connsiteY298" fmla="*/ 7262 h 10000"/>
                <a:gd name="connsiteX299" fmla="*/ 110 w 9961"/>
                <a:gd name="connsiteY299" fmla="*/ 7354 h 10000"/>
                <a:gd name="connsiteX300" fmla="*/ 153 w 9961"/>
                <a:gd name="connsiteY300" fmla="*/ 7197 h 10000"/>
                <a:gd name="connsiteX301" fmla="*/ 127 w 9961"/>
                <a:gd name="connsiteY301" fmla="*/ 7166 h 10000"/>
                <a:gd name="connsiteX0" fmla="*/ 127 w 10000"/>
                <a:gd name="connsiteY0" fmla="*/ 7166 h 10000"/>
                <a:gd name="connsiteX1" fmla="*/ 0 w 10000"/>
                <a:gd name="connsiteY1" fmla="*/ 7248 h 10000"/>
                <a:gd name="connsiteX2" fmla="*/ 0 w 10000"/>
                <a:gd name="connsiteY2" fmla="*/ 7651 h 10000"/>
                <a:gd name="connsiteX3" fmla="*/ 70 w 10000"/>
                <a:gd name="connsiteY3" fmla="*/ 7663 h 10000"/>
                <a:gd name="connsiteX4" fmla="*/ 87 w 10000"/>
                <a:gd name="connsiteY4" fmla="*/ 7694 h 10000"/>
                <a:gd name="connsiteX5" fmla="*/ 83 w 10000"/>
                <a:gd name="connsiteY5" fmla="*/ 7749 h 10000"/>
                <a:gd name="connsiteX6" fmla="*/ 57 w 10000"/>
                <a:gd name="connsiteY6" fmla="*/ 7773 h 10000"/>
                <a:gd name="connsiteX7" fmla="*/ 163 w 10000"/>
                <a:gd name="connsiteY7" fmla="*/ 7727 h 10000"/>
                <a:gd name="connsiteX8" fmla="*/ 207 w 10000"/>
                <a:gd name="connsiteY8" fmla="*/ 7680 h 10000"/>
                <a:gd name="connsiteX9" fmla="*/ 263 w 10000"/>
                <a:gd name="connsiteY9" fmla="*/ 7712 h 10000"/>
                <a:gd name="connsiteX10" fmla="*/ 202 w 10000"/>
                <a:gd name="connsiteY10" fmla="*/ 7778 h 10000"/>
                <a:gd name="connsiteX11" fmla="*/ 268 w 10000"/>
                <a:gd name="connsiteY11" fmla="*/ 7780 h 10000"/>
                <a:gd name="connsiteX12" fmla="*/ 299 w 10000"/>
                <a:gd name="connsiteY12" fmla="*/ 7796 h 10000"/>
                <a:gd name="connsiteX13" fmla="*/ 215 w 10000"/>
                <a:gd name="connsiteY13" fmla="*/ 7818 h 10000"/>
                <a:gd name="connsiteX14" fmla="*/ 83 w 10000"/>
                <a:gd name="connsiteY14" fmla="*/ 7886 h 10000"/>
                <a:gd name="connsiteX15" fmla="*/ 317 w 10000"/>
                <a:gd name="connsiteY15" fmla="*/ 7938 h 10000"/>
                <a:gd name="connsiteX16" fmla="*/ 347 w 10000"/>
                <a:gd name="connsiteY16" fmla="*/ 8014 h 10000"/>
                <a:gd name="connsiteX17" fmla="*/ 268 w 10000"/>
                <a:gd name="connsiteY17" fmla="*/ 8126 h 10000"/>
                <a:gd name="connsiteX18" fmla="*/ 440 w 10000"/>
                <a:gd name="connsiteY18" fmla="*/ 8118 h 10000"/>
                <a:gd name="connsiteX19" fmla="*/ 453 w 10000"/>
                <a:gd name="connsiteY19" fmla="*/ 8203 h 10000"/>
                <a:gd name="connsiteX20" fmla="*/ 338 w 10000"/>
                <a:gd name="connsiteY20" fmla="*/ 8260 h 10000"/>
                <a:gd name="connsiteX21" fmla="*/ 356 w 10000"/>
                <a:gd name="connsiteY21" fmla="*/ 8370 h 10000"/>
                <a:gd name="connsiteX22" fmla="*/ 312 w 10000"/>
                <a:gd name="connsiteY22" fmla="*/ 8456 h 10000"/>
                <a:gd name="connsiteX23" fmla="*/ 448 w 10000"/>
                <a:gd name="connsiteY23" fmla="*/ 8464 h 10000"/>
                <a:gd name="connsiteX24" fmla="*/ 580 w 10000"/>
                <a:gd name="connsiteY24" fmla="*/ 8792 h 10000"/>
                <a:gd name="connsiteX25" fmla="*/ 734 w 10000"/>
                <a:gd name="connsiteY25" fmla="*/ 8876 h 10000"/>
                <a:gd name="connsiteX26" fmla="*/ 800 w 10000"/>
                <a:gd name="connsiteY26" fmla="*/ 8965 h 10000"/>
                <a:gd name="connsiteX27" fmla="*/ 967 w 10000"/>
                <a:gd name="connsiteY27" fmla="*/ 9030 h 10000"/>
                <a:gd name="connsiteX28" fmla="*/ 1073 w 10000"/>
                <a:gd name="connsiteY28" fmla="*/ 9112 h 10000"/>
                <a:gd name="connsiteX29" fmla="*/ 1059 w 10000"/>
                <a:gd name="connsiteY29" fmla="*/ 9171 h 10000"/>
                <a:gd name="connsiteX30" fmla="*/ 954 w 10000"/>
                <a:gd name="connsiteY30" fmla="*/ 9193 h 10000"/>
                <a:gd name="connsiteX31" fmla="*/ 839 w 10000"/>
                <a:gd name="connsiteY31" fmla="*/ 9179 h 10000"/>
                <a:gd name="connsiteX32" fmla="*/ 804 w 10000"/>
                <a:gd name="connsiteY32" fmla="*/ 9204 h 10000"/>
                <a:gd name="connsiteX33" fmla="*/ 892 w 10000"/>
                <a:gd name="connsiteY33" fmla="*/ 9332 h 10000"/>
                <a:gd name="connsiteX34" fmla="*/ 769 w 10000"/>
                <a:gd name="connsiteY34" fmla="*/ 9322 h 10000"/>
                <a:gd name="connsiteX35" fmla="*/ 664 w 10000"/>
                <a:gd name="connsiteY35" fmla="*/ 9291 h 10000"/>
                <a:gd name="connsiteX36" fmla="*/ 646 w 10000"/>
                <a:gd name="connsiteY36" fmla="*/ 9338 h 10000"/>
                <a:gd name="connsiteX37" fmla="*/ 993 w 10000"/>
                <a:gd name="connsiteY37" fmla="*/ 9776 h 10000"/>
                <a:gd name="connsiteX38" fmla="*/ 937 w 10000"/>
                <a:gd name="connsiteY38" fmla="*/ 9817 h 10000"/>
                <a:gd name="connsiteX39" fmla="*/ 898 w 10000"/>
                <a:gd name="connsiteY39" fmla="*/ 9902 h 10000"/>
                <a:gd name="connsiteX40" fmla="*/ 848 w 10000"/>
                <a:gd name="connsiteY40" fmla="*/ 9908 h 10000"/>
                <a:gd name="connsiteX41" fmla="*/ 817 w 10000"/>
                <a:gd name="connsiteY41" fmla="*/ 9945 h 10000"/>
                <a:gd name="connsiteX42" fmla="*/ 1028 w 10000"/>
                <a:gd name="connsiteY42" fmla="*/ 9949 h 10000"/>
                <a:gd name="connsiteX43" fmla="*/ 1213 w 10000"/>
                <a:gd name="connsiteY43" fmla="*/ 9986 h 10000"/>
                <a:gd name="connsiteX44" fmla="*/ 1521 w 10000"/>
                <a:gd name="connsiteY44" fmla="*/ 9947 h 10000"/>
                <a:gd name="connsiteX45" fmla="*/ 1797 w 10000"/>
                <a:gd name="connsiteY45" fmla="*/ 9953 h 10000"/>
                <a:gd name="connsiteX46" fmla="*/ 1961 w 10000"/>
                <a:gd name="connsiteY46" fmla="*/ 10000 h 10000"/>
                <a:gd name="connsiteX47" fmla="*/ 2049 w 10000"/>
                <a:gd name="connsiteY47" fmla="*/ 9969 h 10000"/>
                <a:gd name="connsiteX48" fmla="*/ 2136 w 10000"/>
                <a:gd name="connsiteY48" fmla="*/ 9868 h 10000"/>
                <a:gd name="connsiteX49" fmla="*/ 2114 w 10000"/>
                <a:gd name="connsiteY49" fmla="*/ 9703 h 10000"/>
                <a:gd name="connsiteX50" fmla="*/ 2325 w 10000"/>
                <a:gd name="connsiteY50" fmla="*/ 9517 h 10000"/>
                <a:gd name="connsiteX51" fmla="*/ 2479 w 10000"/>
                <a:gd name="connsiteY51" fmla="*/ 9546 h 10000"/>
                <a:gd name="connsiteX52" fmla="*/ 2567 w 10000"/>
                <a:gd name="connsiteY52" fmla="*/ 9472 h 10000"/>
                <a:gd name="connsiteX53" fmla="*/ 2738 w 10000"/>
                <a:gd name="connsiteY53" fmla="*/ 9430 h 10000"/>
                <a:gd name="connsiteX54" fmla="*/ 2971 w 10000"/>
                <a:gd name="connsiteY54" fmla="*/ 9440 h 10000"/>
                <a:gd name="connsiteX55" fmla="*/ 3112 w 10000"/>
                <a:gd name="connsiteY55" fmla="*/ 9470 h 10000"/>
                <a:gd name="connsiteX56" fmla="*/ 3297 w 10000"/>
                <a:gd name="connsiteY56" fmla="*/ 9456 h 10000"/>
                <a:gd name="connsiteX57" fmla="*/ 3486 w 10000"/>
                <a:gd name="connsiteY57" fmla="*/ 9489 h 10000"/>
                <a:gd name="connsiteX58" fmla="*/ 3674 w 10000"/>
                <a:gd name="connsiteY58" fmla="*/ 9493 h 10000"/>
                <a:gd name="connsiteX59" fmla="*/ 4096 w 10000"/>
                <a:gd name="connsiteY59" fmla="*/ 9061 h 10000"/>
                <a:gd name="connsiteX60" fmla="*/ 4202 w 10000"/>
                <a:gd name="connsiteY60" fmla="*/ 8711 h 10000"/>
                <a:gd name="connsiteX61" fmla="*/ 4374 w 10000"/>
                <a:gd name="connsiteY61" fmla="*/ 8554 h 10000"/>
                <a:gd name="connsiteX62" fmla="*/ 4374 w 10000"/>
                <a:gd name="connsiteY62" fmla="*/ 8472 h 10000"/>
                <a:gd name="connsiteX63" fmla="*/ 4312 w 10000"/>
                <a:gd name="connsiteY63" fmla="*/ 8425 h 10000"/>
                <a:gd name="connsiteX64" fmla="*/ 4413 w 10000"/>
                <a:gd name="connsiteY64" fmla="*/ 8352 h 10000"/>
                <a:gd name="connsiteX65" fmla="*/ 4395 w 10000"/>
                <a:gd name="connsiteY65" fmla="*/ 8289 h 10000"/>
                <a:gd name="connsiteX66" fmla="*/ 4325 w 10000"/>
                <a:gd name="connsiteY66" fmla="*/ 8236 h 10000"/>
                <a:gd name="connsiteX67" fmla="*/ 4312 w 10000"/>
                <a:gd name="connsiteY67" fmla="*/ 8199 h 10000"/>
                <a:gd name="connsiteX68" fmla="*/ 4329 w 10000"/>
                <a:gd name="connsiteY68" fmla="*/ 8169 h 10000"/>
                <a:gd name="connsiteX69" fmla="*/ 4422 w 10000"/>
                <a:gd name="connsiteY69" fmla="*/ 8193 h 10000"/>
                <a:gd name="connsiteX70" fmla="*/ 4497 w 10000"/>
                <a:gd name="connsiteY70" fmla="*/ 8191 h 10000"/>
                <a:gd name="connsiteX71" fmla="*/ 4456 w 10000"/>
                <a:gd name="connsiteY71" fmla="*/ 8140 h 10000"/>
                <a:gd name="connsiteX72" fmla="*/ 4469 w 10000"/>
                <a:gd name="connsiteY72" fmla="*/ 8112 h 10000"/>
                <a:gd name="connsiteX73" fmla="*/ 4523 w 10000"/>
                <a:gd name="connsiteY73" fmla="*/ 8069 h 10000"/>
                <a:gd name="connsiteX74" fmla="*/ 4514 w 10000"/>
                <a:gd name="connsiteY74" fmla="*/ 8034 h 10000"/>
                <a:gd name="connsiteX75" fmla="*/ 4563 w 10000"/>
                <a:gd name="connsiteY75" fmla="*/ 7916 h 10000"/>
                <a:gd name="connsiteX76" fmla="*/ 4550 w 10000"/>
                <a:gd name="connsiteY76" fmla="*/ 7881 h 10000"/>
                <a:gd name="connsiteX77" fmla="*/ 4294 w 10000"/>
                <a:gd name="connsiteY77" fmla="*/ 7792 h 10000"/>
                <a:gd name="connsiteX78" fmla="*/ 4329 w 10000"/>
                <a:gd name="connsiteY78" fmla="*/ 7788 h 10000"/>
                <a:gd name="connsiteX79" fmla="*/ 4465 w 10000"/>
                <a:gd name="connsiteY79" fmla="*/ 7812 h 10000"/>
                <a:gd name="connsiteX80" fmla="*/ 4611 w 10000"/>
                <a:gd name="connsiteY80" fmla="*/ 7804 h 10000"/>
                <a:gd name="connsiteX81" fmla="*/ 4654 w 10000"/>
                <a:gd name="connsiteY81" fmla="*/ 7771 h 10000"/>
                <a:gd name="connsiteX82" fmla="*/ 4514 w 10000"/>
                <a:gd name="connsiteY82" fmla="*/ 7710 h 10000"/>
                <a:gd name="connsiteX83" fmla="*/ 4092 w 10000"/>
                <a:gd name="connsiteY83" fmla="*/ 7670 h 10000"/>
                <a:gd name="connsiteX84" fmla="*/ 4122 w 10000"/>
                <a:gd name="connsiteY84" fmla="*/ 7651 h 10000"/>
                <a:gd name="connsiteX85" fmla="*/ 4465 w 10000"/>
                <a:gd name="connsiteY85" fmla="*/ 7639 h 10000"/>
                <a:gd name="connsiteX86" fmla="*/ 4654 w 10000"/>
                <a:gd name="connsiteY86" fmla="*/ 7676 h 10000"/>
                <a:gd name="connsiteX87" fmla="*/ 4765 w 10000"/>
                <a:gd name="connsiteY87" fmla="*/ 7651 h 10000"/>
                <a:gd name="connsiteX88" fmla="*/ 4804 w 10000"/>
                <a:gd name="connsiteY88" fmla="*/ 7588 h 10000"/>
                <a:gd name="connsiteX89" fmla="*/ 5002 w 10000"/>
                <a:gd name="connsiteY89" fmla="*/ 7588 h 10000"/>
                <a:gd name="connsiteX90" fmla="*/ 5270 w 10000"/>
                <a:gd name="connsiteY90" fmla="*/ 7462 h 10000"/>
                <a:gd name="connsiteX91" fmla="*/ 5279 w 10000"/>
                <a:gd name="connsiteY91" fmla="*/ 7378 h 10000"/>
                <a:gd name="connsiteX92" fmla="*/ 5393 w 10000"/>
                <a:gd name="connsiteY92" fmla="*/ 7397 h 10000"/>
                <a:gd name="connsiteX93" fmla="*/ 5389 w 10000"/>
                <a:gd name="connsiteY93" fmla="*/ 7482 h 10000"/>
                <a:gd name="connsiteX94" fmla="*/ 5569 w 10000"/>
                <a:gd name="connsiteY94" fmla="*/ 7476 h 10000"/>
                <a:gd name="connsiteX95" fmla="*/ 5687 w 10000"/>
                <a:gd name="connsiteY95" fmla="*/ 7388 h 10000"/>
                <a:gd name="connsiteX96" fmla="*/ 5908 w 10000"/>
                <a:gd name="connsiteY96" fmla="*/ 7309 h 10000"/>
                <a:gd name="connsiteX97" fmla="*/ 5872 w 10000"/>
                <a:gd name="connsiteY97" fmla="*/ 7219 h 10000"/>
                <a:gd name="connsiteX98" fmla="*/ 5938 w 10000"/>
                <a:gd name="connsiteY98" fmla="*/ 7254 h 10000"/>
                <a:gd name="connsiteX99" fmla="*/ 6039 w 10000"/>
                <a:gd name="connsiteY99" fmla="*/ 7254 h 10000"/>
                <a:gd name="connsiteX100" fmla="*/ 6039 w 10000"/>
                <a:gd name="connsiteY100" fmla="*/ 7213 h 10000"/>
                <a:gd name="connsiteX101" fmla="*/ 6132 w 10000"/>
                <a:gd name="connsiteY101" fmla="*/ 7181 h 10000"/>
                <a:gd name="connsiteX102" fmla="*/ 6119 w 10000"/>
                <a:gd name="connsiteY102" fmla="*/ 7148 h 10000"/>
                <a:gd name="connsiteX103" fmla="*/ 5328 w 10000"/>
                <a:gd name="connsiteY103" fmla="*/ 7215 h 10000"/>
                <a:gd name="connsiteX104" fmla="*/ 5143 w 10000"/>
                <a:gd name="connsiteY104" fmla="*/ 7195 h 10000"/>
                <a:gd name="connsiteX105" fmla="*/ 5068 w 10000"/>
                <a:gd name="connsiteY105" fmla="*/ 7219 h 10000"/>
                <a:gd name="connsiteX106" fmla="*/ 5042 w 10000"/>
                <a:gd name="connsiteY106" fmla="*/ 7173 h 10000"/>
                <a:gd name="connsiteX107" fmla="*/ 4954 w 10000"/>
                <a:gd name="connsiteY107" fmla="*/ 7132 h 10000"/>
                <a:gd name="connsiteX108" fmla="*/ 4602 w 10000"/>
                <a:gd name="connsiteY108" fmla="*/ 7052 h 10000"/>
                <a:gd name="connsiteX109" fmla="*/ 4395 w 10000"/>
                <a:gd name="connsiteY109" fmla="*/ 7065 h 10000"/>
                <a:gd name="connsiteX110" fmla="*/ 4312 w 10000"/>
                <a:gd name="connsiteY110" fmla="*/ 7042 h 10000"/>
                <a:gd name="connsiteX111" fmla="*/ 4400 w 10000"/>
                <a:gd name="connsiteY111" fmla="*/ 7022 h 10000"/>
                <a:gd name="connsiteX112" fmla="*/ 4465 w 10000"/>
                <a:gd name="connsiteY112" fmla="*/ 6979 h 10000"/>
                <a:gd name="connsiteX113" fmla="*/ 4563 w 10000"/>
                <a:gd name="connsiteY113" fmla="*/ 6993 h 10000"/>
                <a:gd name="connsiteX114" fmla="*/ 4681 w 10000"/>
                <a:gd name="connsiteY114" fmla="*/ 6981 h 10000"/>
                <a:gd name="connsiteX115" fmla="*/ 4857 w 10000"/>
                <a:gd name="connsiteY115" fmla="*/ 6995 h 10000"/>
                <a:gd name="connsiteX116" fmla="*/ 4878 w 10000"/>
                <a:gd name="connsiteY116" fmla="*/ 6989 h 10000"/>
                <a:gd name="connsiteX117" fmla="*/ 5016 w 10000"/>
                <a:gd name="connsiteY117" fmla="*/ 7056 h 10000"/>
                <a:gd name="connsiteX118" fmla="*/ 5117 w 10000"/>
                <a:gd name="connsiteY118" fmla="*/ 7032 h 10000"/>
                <a:gd name="connsiteX119" fmla="*/ 5125 w 10000"/>
                <a:gd name="connsiteY119" fmla="*/ 7010 h 10000"/>
                <a:gd name="connsiteX120" fmla="*/ 5217 w 10000"/>
                <a:gd name="connsiteY120" fmla="*/ 7048 h 10000"/>
                <a:gd name="connsiteX121" fmla="*/ 5341 w 10000"/>
                <a:gd name="connsiteY121" fmla="*/ 7069 h 10000"/>
                <a:gd name="connsiteX122" fmla="*/ 5389 w 10000"/>
                <a:gd name="connsiteY122" fmla="*/ 7030 h 10000"/>
                <a:gd name="connsiteX123" fmla="*/ 5428 w 10000"/>
                <a:gd name="connsiteY123" fmla="*/ 7052 h 10000"/>
                <a:gd name="connsiteX124" fmla="*/ 5485 w 10000"/>
                <a:gd name="connsiteY124" fmla="*/ 7126 h 10000"/>
                <a:gd name="connsiteX125" fmla="*/ 5604 w 10000"/>
                <a:gd name="connsiteY125" fmla="*/ 7144 h 10000"/>
                <a:gd name="connsiteX126" fmla="*/ 6088 w 10000"/>
                <a:gd name="connsiteY126" fmla="*/ 7034 h 10000"/>
                <a:gd name="connsiteX127" fmla="*/ 6325 w 10000"/>
                <a:gd name="connsiteY127" fmla="*/ 6879 h 10000"/>
                <a:gd name="connsiteX128" fmla="*/ 6382 w 10000"/>
                <a:gd name="connsiteY128" fmla="*/ 6765 h 10000"/>
                <a:gd name="connsiteX129" fmla="*/ 6295 w 10000"/>
                <a:gd name="connsiteY129" fmla="*/ 6663 h 10000"/>
                <a:gd name="connsiteX130" fmla="*/ 6114 w 10000"/>
                <a:gd name="connsiteY130" fmla="*/ 6602 h 10000"/>
                <a:gd name="connsiteX131" fmla="*/ 5986 w 10000"/>
                <a:gd name="connsiteY131" fmla="*/ 6502 h 10000"/>
                <a:gd name="connsiteX132" fmla="*/ 6106 w 10000"/>
                <a:gd name="connsiteY132" fmla="*/ 6498 h 10000"/>
                <a:gd name="connsiteX133" fmla="*/ 6097 w 10000"/>
                <a:gd name="connsiteY133" fmla="*/ 6474 h 10000"/>
                <a:gd name="connsiteX134" fmla="*/ 5785 w 10000"/>
                <a:gd name="connsiteY134" fmla="*/ 6403 h 10000"/>
                <a:gd name="connsiteX135" fmla="*/ 5772 w 10000"/>
                <a:gd name="connsiteY135" fmla="*/ 6339 h 10000"/>
                <a:gd name="connsiteX136" fmla="*/ 5714 w 10000"/>
                <a:gd name="connsiteY136" fmla="*/ 6272 h 10000"/>
                <a:gd name="connsiteX137" fmla="*/ 5467 w 10000"/>
                <a:gd name="connsiteY137" fmla="*/ 6284 h 10000"/>
                <a:gd name="connsiteX138" fmla="*/ 5380 w 10000"/>
                <a:gd name="connsiteY138" fmla="*/ 6213 h 10000"/>
                <a:gd name="connsiteX139" fmla="*/ 5328 w 10000"/>
                <a:gd name="connsiteY139" fmla="*/ 6209 h 10000"/>
                <a:gd name="connsiteX140" fmla="*/ 5328 w 10000"/>
                <a:gd name="connsiteY140" fmla="*/ 6238 h 10000"/>
                <a:gd name="connsiteX141" fmla="*/ 5217 w 10000"/>
                <a:gd name="connsiteY141" fmla="*/ 6358 h 10000"/>
                <a:gd name="connsiteX142" fmla="*/ 5098 w 10000"/>
                <a:gd name="connsiteY142" fmla="*/ 6429 h 10000"/>
                <a:gd name="connsiteX143" fmla="*/ 4724 w 10000"/>
                <a:gd name="connsiteY143" fmla="*/ 6551 h 10000"/>
                <a:gd name="connsiteX144" fmla="*/ 4593 w 10000"/>
                <a:gd name="connsiteY144" fmla="*/ 6547 h 10000"/>
                <a:gd name="connsiteX145" fmla="*/ 4413 w 10000"/>
                <a:gd name="connsiteY145" fmla="*/ 6565 h 10000"/>
                <a:gd name="connsiteX146" fmla="*/ 4312 w 10000"/>
                <a:gd name="connsiteY146" fmla="*/ 6547 h 10000"/>
                <a:gd name="connsiteX147" fmla="*/ 4443 w 10000"/>
                <a:gd name="connsiteY147" fmla="*/ 6513 h 10000"/>
                <a:gd name="connsiteX148" fmla="*/ 4615 w 10000"/>
                <a:gd name="connsiteY148" fmla="*/ 6498 h 10000"/>
                <a:gd name="connsiteX149" fmla="*/ 4757 w 10000"/>
                <a:gd name="connsiteY149" fmla="*/ 6441 h 10000"/>
                <a:gd name="connsiteX150" fmla="*/ 4896 w 10000"/>
                <a:gd name="connsiteY150" fmla="*/ 6415 h 10000"/>
                <a:gd name="connsiteX151" fmla="*/ 5156 w 10000"/>
                <a:gd name="connsiteY151" fmla="*/ 6317 h 10000"/>
                <a:gd name="connsiteX152" fmla="*/ 5204 w 10000"/>
                <a:gd name="connsiteY152" fmla="*/ 6252 h 10000"/>
                <a:gd name="connsiteX153" fmla="*/ 5208 w 10000"/>
                <a:gd name="connsiteY153" fmla="*/ 6168 h 10000"/>
                <a:gd name="connsiteX154" fmla="*/ 5090 w 10000"/>
                <a:gd name="connsiteY154" fmla="*/ 6154 h 10000"/>
                <a:gd name="connsiteX155" fmla="*/ 5143 w 10000"/>
                <a:gd name="connsiteY155" fmla="*/ 6103 h 10000"/>
                <a:gd name="connsiteX156" fmla="*/ 5160 w 10000"/>
                <a:gd name="connsiteY156" fmla="*/ 6038 h 10000"/>
                <a:gd name="connsiteX157" fmla="*/ 5111 w 10000"/>
                <a:gd name="connsiteY157" fmla="*/ 5977 h 10000"/>
                <a:gd name="connsiteX158" fmla="*/ 5081 w 10000"/>
                <a:gd name="connsiteY158" fmla="*/ 5533 h 10000"/>
                <a:gd name="connsiteX159" fmla="*/ 5152 w 10000"/>
                <a:gd name="connsiteY159" fmla="*/ 5437 h 10000"/>
                <a:gd name="connsiteX160" fmla="*/ 5134 w 10000"/>
                <a:gd name="connsiteY160" fmla="*/ 5398 h 10000"/>
                <a:gd name="connsiteX161" fmla="*/ 5341 w 10000"/>
                <a:gd name="connsiteY161" fmla="*/ 5455 h 10000"/>
                <a:gd name="connsiteX162" fmla="*/ 5354 w 10000"/>
                <a:gd name="connsiteY162" fmla="*/ 5402 h 10000"/>
                <a:gd name="connsiteX163" fmla="*/ 5310 w 10000"/>
                <a:gd name="connsiteY163" fmla="*/ 5264 h 10000"/>
                <a:gd name="connsiteX164" fmla="*/ 5458 w 10000"/>
                <a:gd name="connsiteY164" fmla="*/ 5019 h 10000"/>
                <a:gd name="connsiteX165" fmla="*/ 5367 w 10000"/>
                <a:gd name="connsiteY165" fmla="*/ 4960 h 10000"/>
                <a:gd name="connsiteX166" fmla="*/ 5332 w 10000"/>
                <a:gd name="connsiteY166" fmla="*/ 4905 h 10000"/>
                <a:gd name="connsiteX167" fmla="*/ 5345 w 10000"/>
                <a:gd name="connsiteY167" fmla="*/ 4816 h 10000"/>
                <a:gd name="connsiteX168" fmla="*/ 5561 w 10000"/>
                <a:gd name="connsiteY168" fmla="*/ 4875 h 10000"/>
                <a:gd name="connsiteX169" fmla="*/ 5569 w 10000"/>
                <a:gd name="connsiteY169" fmla="*/ 4858 h 10000"/>
                <a:gd name="connsiteX170" fmla="*/ 5630 w 10000"/>
                <a:gd name="connsiteY170" fmla="*/ 4842 h 10000"/>
                <a:gd name="connsiteX171" fmla="*/ 5714 w 10000"/>
                <a:gd name="connsiteY171" fmla="*/ 4785 h 10000"/>
                <a:gd name="connsiteX172" fmla="*/ 5727 w 10000"/>
                <a:gd name="connsiteY172" fmla="*/ 4769 h 10000"/>
                <a:gd name="connsiteX173" fmla="*/ 5710 w 10000"/>
                <a:gd name="connsiteY173" fmla="*/ 4748 h 10000"/>
                <a:gd name="connsiteX174" fmla="*/ 5753 w 10000"/>
                <a:gd name="connsiteY174" fmla="*/ 4647 h 10000"/>
                <a:gd name="connsiteX175" fmla="*/ 5701 w 10000"/>
                <a:gd name="connsiteY175" fmla="*/ 4581 h 10000"/>
                <a:gd name="connsiteX176" fmla="*/ 5710 w 10000"/>
                <a:gd name="connsiteY176" fmla="*/ 4528 h 10000"/>
                <a:gd name="connsiteX177" fmla="*/ 5740 w 10000"/>
                <a:gd name="connsiteY177" fmla="*/ 4590 h 10000"/>
                <a:gd name="connsiteX178" fmla="*/ 5859 w 10000"/>
                <a:gd name="connsiteY178" fmla="*/ 4636 h 10000"/>
                <a:gd name="connsiteX179" fmla="*/ 5908 w 10000"/>
                <a:gd name="connsiteY179" fmla="*/ 4630 h 10000"/>
                <a:gd name="connsiteX180" fmla="*/ 5986 w 10000"/>
                <a:gd name="connsiteY180" fmla="*/ 4569 h 10000"/>
                <a:gd name="connsiteX181" fmla="*/ 6070 w 10000"/>
                <a:gd name="connsiteY181" fmla="*/ 4594 h 10000"/>
                <a:gd name="connsiteX182" fmla="*/ 6093 w 10000"/>
                <a:gd name="connsiteY182" fmla="*/ 4545 h 10000"/>
                <a:gd name="connsiteX183" fmla="*/ 6149 w 10000"/>
                <a:gd name="connsiteY183" fmla="*/ 4512 h 10000"/>
                <a:gd name="connsiteX184" fmla="*/ 5995 w 10000"/>
                <a:gd name="connsiteY184" fmla="*/ 4477 h 10000"/>
                <a:gd name="connsiteX185" fmla="*/ 6106 w 10000"/>
                <a:gd name="connsiteY185" fmla="*/ 4484 h 10000"/>
                <a:gd name="connsiteX186" fmla="*/ 6219 w 10000"/>
                <a:gd name="connsiteY186" fmla="*/ 4447 h 10000"/>
                <a:gd name="connsiteX187" fmla="*/ 6215 w 10000"/>
                <a:gd name="connsiteY187" fmla="*/ 4422 h 10000"/>
                <a:gd name="connsiteX188" fmla="*/ 6321 w 10000"/>
                <a:gd name="connsiteY188" fmla="*/ 4398 h 10000"/>
                <a:gd name="connsiteX189" fmla="*/ 6330 w 10000"/>
                <a:gd name="connsiteY189" fmla="*/ 4337 h 10000"/>
                <a:gd name="connsiteX190" fmla="*/ 6413 w 10000"/>
                <a:gd name="connsiteY190" fmla="*/ 4325 h 10000"/>
                <a:gd name="connsiteX191" fmla="*/ 6421 w 10000"/>
                <a:gd name="connsiteY191" fmla="*/ 4253 h 10000"/>
                <a:gd name="connsiteX192" fmla="*/ 6509 w 10000"/>
                <a:gd name="connsiteY192" fmla="*/ 4245 h 10000"/>
                <a:gd name="connsiteX193" fmla="*/ 6645 w 10000"/>
                <a:gd name="connsiteY193" fmla="*/ 4260 h 10000"/>
                <a:gd name="connsiteX194" fmla="*/ 6794 w 10000"/>
                <a:gd name="connsiteY194" fmla="*/ 4202 h 10000"/>
                <a:gd name="connsiteX195" fmla="*/ 6848 w 10000"/>
                <a:gd name="connsiteY195" fmla="*/ 4137 h 10000"/>
                <a:gd name="connsiteX196" fmla="*/ 7032 w 10000"/>
                <a:gd name="connsiteY196" fmla="*/ 4070 h 10000"/>
                <a:gd name="connsiteX197" fmla="*/ 7125 w 10000"/>
                <a:gd name="connsiteY197" fmla="*/ 4111 h 10000"/>
                <a:gd name="connsiteX198" fmla="*/ 7265 w 10000"/>
                <a:gd name="connsiteY198" fmla="*/ 4066 h 10000"/>
                <a:gd name="connsiteX199" fmla="*/ 7300 w 10000"/>
                <a:gd name="connsiteY199" fmla="*/ 4009 h 10000"/>
                <a:gd name="connsiteX200" fmla="*/ 7406 w 10000"/>
                <a:gd name="connsiteY200" fmla="*/ 3970 h 10000"/>
                <a:gd name="connsiteX201" fmla="*/ 7498 w 10000"/>
                <a:gd name="connsiteY201" fmla="*/ 3987 h 10000"/>
                <a:gd name="connsiteX202" fmla="*/ 7555 w 10000"/>
                <a:gd name="connsiteY202" fmla="*/ 3958 h 10000"/>
                <a:gd name="connsiteX203" fmla="*/ 7714 w 10000"/>
                <a:gd name="connsiteY203" fmla="*/ 3917 h 10000"/>
                <a:gd name="connsiteX204" fmla="*/ 7779 w 10000"/>
                <a:gd name="connsiteY204" fmla="*/ 3864 h 10000"/>
                <a:gd name="connsiteX205" fmla="*/ 7868 w 10000"/>
                <a:gd name="connsiteY205" fmla="*/ 3842 h 10000"/>
                <a:gd name="connsiteX206" fmla="*/ 8356 w 10000"/>
                <a:gd name="connsiteY206" fmla="*/ 3522 h 10000"/>
                <a:gd name="connsiteX207" fmla="*/ 10000 w 10000"/>
                <a:gd name="connsiteY207" fmla="*/ 2410 h 10000"/>
                <a:gd name="connsiteX208" fmla="*/ 9793 w 10000"/>
                <a:gd name="connsiteY208" fmla="*/ 1992 h 10000"/>
                <a:gd name="connsiteX209" fmla="*/ 9832 w 10000"/>
                <a:gd name="connsiteY209" fmla="*/ 1897 h 10000"/>
                <a:gd name="connsiteX210" fmla="*/ 9920 w 10000"/>
                <a:gd name="connsiteY210" fmla="*/ 1819 h 10000"/>
                <a:gd name="connsiteX211" fmla="*/ 9920 w 10000"/>
                <a:gd name="connsiteY211" fmla="*/ 1699 h 10000"/>
                <a:gd name="connsiteX212" fmla="*/ 9644 w 10000"/>
                <a:gd name="connsiteY212" fmla="*/ 1465 h 10000"/>
                <a:gd name="connsiteX213" fmla="*/ 9599 w 10000"/>
                <a:gd name="connsiteY213" fmla="*/ 1379 h 10000"/>
                <a:gd name="connsiteX214" fmla="*/ 9661 w 10000"/>
                <a:gd name="connsiteY214" fmla="*/ 1271 h 10000"/>
                <a:gd name="connsiteX215" fmla="*/ 9631 w 10000"/>
                <a:gd name="connsiteY215" fmla="*/ 1194 h 10000"/>
                <a:gd name="connsiteX216" fmla="*/ 9573 w 10000"/>
                <a:gd name="connsiteY216" fmla="*/ 1159 h 10000"/>
                <a:gd name="connsiteX217" fmla="*/ 9524 w 10000"/>
                <a:gd name="connsiteY217" fmla="*/ 978 h 10000"/>
                <a:gd name="connsiteX218" fmla="*/ 9582 w 10000"/>
                <a:gd name="connsiteY218" fmla="*/ 831 h 10000"/>
                <a:gd name="connsiteX219" fmla="*/ 9160 w 10000"/>
                <a:gd name="connsiteY219" fmla="*/ 517 h 10000"/>
                <a:gd name="connsiteX220" fmla="*/ 8953 w 10000"/>
                <a:gd name="connsiteY220" fmla="*/ 440 h 10000"/>
                <a:gd name="connsiteX221" fmla="*/ 8570 w 10000"/>
                <a:gd name="connsiteY221" fmla="*/ 389 h 10000"/>
                <a:gd name="connsiteX222" fmla="*/ 7779 w 10000"/>
                <a:gd name="connsiteY222" fmla="*/ 26 h 10000"/>
                <a:gd name="connsiteX223" fmla="*/ 7753 w 10000"/>
                <a:gd name="connsiteY223" fmla="*/ 2 h 10000"/>
                <a:gd name="connsiteX224" fmla="*/ 7485 w 10000"/>
                <a:gd name="connsiteY224" fmla="*/ 0 h 10000"/>
                <a:gd name="connsiteX225" fmla="*/ 7423 w 10000"/>
                <a:gd name="connsiteY225" fmla="*/ 14 h 10000"/>
                <a:gd name="connsiteX226" fmla="*/ 7437 w 10000"/>
                <a:gd name="connsiteY226" fmla="*/ 61 h 10000"/>
                <a:gd name="connsiteX227" fmla="*/ 7490 w 10000"/>
                <a:gd name="connsiteY227" fmla="*/ 86 h 10000"/>
                <a:gd name="connsiteX228" fmla="*/ 7503 w 10000"/>
                <a:gd name="connsiteY228" fmla="*/ 139 h 10000"/>
                <a:gd name="connsiteX229" fmla="*/ 7485 w 10000"/>
                <a:gd name="connsiteY229" fmla="*/ 181 h 10000"/>
                <a:gd name="connsiteX230" fmla="*/ 7437 w 10000"/>
                <a:gd name="connsiteY230" fmla="*/ 208 h 10000"/>
                <a:gd name="connsiteX231" fmla="*/ 7401 w 10000"/>
                <a:gd name="connsiteY231" fmla="*/ 283 h 10000"/>
                <a:gd name="connsiteX232" fmla="*/ 7336 w 10000"/>
                <a:gd name="connsiteY232" fmla="*/ 336 h 10000"/>
                <a:gd name="connsiteX233" fmla="*/ 7349 w 10000"/>
                <a:gd name="connsiteY233" fmla="*/ 387 h 10000"/>
                <a:gd name="connsiteX234" fmla="*/ 7450 w 10000"/>
                <a:gd name="connsiteY234" fmla="*/ 434 h 10000"/>
                <a:gd name="connsiteX235" fmla="*/ 7384 w 10000"/>
                <a:gd name="connsiteY235" fmla="*/ 475 h 10000"/>
                <a:gd name="connsiteX236" fmla="*/ 7287 w 10000"/>
                <a:gd name="connsiteY236" fmla="*/ 485 h 10000"/>
                <a:gd name="connsiteX237" fmla="*/ 6479 w 10000"/>
                <a:gd name="connsiteY237" fmla="*/ 387 h 10000"/>
                <a:gd name="connsiteX238" fmla="*/ 6382 w 10000"/>
                <a:gd name="connsiteY238" fmla="*/ 395 h 10000"/>
                <a:gd name="connsiteX239" fmla="*/ 6325 w 10000"/>
                <a:gd name="connsiteY239" fmla="*/ 414 h 10000"/>
                <a:gd name="connsiteX240" fmla="*/ 6267 w 10000"/>
                <a:gd name="connsiteY240" fmla="*/ 462 h 10000"/>
                <a:gd name="connsiteX241" fmla="*/ 6277 w 10000"/>
                <a:gd name="connsiteY241" fmla="*/ 581 h 10000"/>
                <a:gd name="connsiteX242" fmla="*/ 6188 w 10000"/>
                <a:gd name="connsiteY242" fmla="*/ 735 h 10000"/>
                <a:gd name="connsiteX243" fmla="*/ 6079 w 10000"/>
                <a:gd name="connsiteY243" fmla="*/ 815 h 10000"/>
                <a:gd name="connsiteX244" fmla="*/ 6035 w 10000"/>
                <a:gd name="connsiteY244" fmla="*/ 805 h 10000"/>
                <a:gd name="connsiteX245" fmla="*/ 5934 w 10000"/>
                <a:gd name="connsiteY245" fmla="*/ 739 h 10000"/>
                <a:gd name="connsiteX246" fmla="*/ 5806 w 10000"/>
                <a:gd name="connsiteY246" fmla="*/ 705 h 10000"/>
                <a:gd name="connsiteX247" fmla="*/ 5669 w 10000"/>
                <a:gd name="connsiteY247" fmla="*/ 715 h 10000"/>
                <a:gd name="connsiteX248" fmla="*/ 5350 w 10000"/>
                <a:gd name="connsiteY248" fmla="*/ 866 h 10000"/>
                <a:gd name="connsiteX249" fmla="*/ 5266 w 10000"/>
                <a:gd name="connsiteY249" fmla="*/ 1017 h 10000"/>
                <a:gd name="connsiteX250" fmla="*/ 5024 w 10000"/>
                <a:gd name="connsiteY250" fmla="*/ 1153 h 10000"/>
                <a:gd name="connsiteX251" fmla="*/ 4980 w 10000"/>
                <a:gd name="connsiteY251" fmla="*/ 1222 h 10000"/>
                <a:gd name="connsiteX252" fmla="*/ 5107 w 10000"/>
                <a:gd name="connsiteY252" fmla="*/ 1344 h 10000"/>
                <a:gd name="connsiteX253" fmla="*/ 5121 w 10000"/>
                <a:gd name="connsiteY253" fmla="*/ 1412 h 10000"/>
                <a:gd name="connsiteX254" fmla="*/ 4461 w 10000"/>
                <a:gd name="connsiteY254" fmla="*/ 1813 h 10000"/>
                <a:gd name="connsiteX255" fmla="*/ 4259 w 10000"/>
                <a:gd name="connsiteY255" fmla="*/ 2070 h 10000"/>
                <a:gd name="connsiteX256" fmla="*/ 4040 w 10000"/>
                <a:gd name="connsiteY256" fmla="*/ 2135 h 10000"/>
                <a:gd name="connsiteX257" fmla="*/ 3903 w 10000"/>
                <a:gd name="connsiteY257" fmla="*/ 2131 h 10000"/>
                <a:gd name="connsiteX258" fmla="*/ 3820 w 10000"/>
                <a:gd name="connsiteY258" fmla="*/ 2153 h 10000"/>
                <a:gd name="connsiteX259" fmla="*/ 3591 w 10000"/>
                <a:gd name="connsiteY259" fmla="*/ 2793 h 10000"/>
                <a:gd name="connsiteX260" fmla="*/ 3064 w 10000"/>
                <a:gd name="connsiteY260" fmla="*/ 3166 h 10000"/>
                <a:gd name="connsiteX261" fmla="*/ 3068 w 10000"/>
                <a:gd name="connsiteY261" fmla="*/ 3225 h 10000"/>
                <a:gd name="connsiteX262" fmla="*/ 3301 w 10000"/>
                <a:gd name="connsiteY262" fmla="*/ 3392 h 10000"/>
                <a:gd name="connsiteX263" fmla="*/ 3227 w 10000"/>
                <a:gd name="connsiteY263" fmla="*/ 3573 h 10000"/>
                <a:gd name="connsiteX264" fmla="*/ 3090 w 10000"/>
                <a:gd name="connsiteY264" fmla="*/ 3640 h 10000"/>
                <a:gd name="connsiteX265" fmla="*/ 2681 w 10000"/>
                <a:gd name="connsiteY265" fmla="*/ 3595 h 10000"/>
                <a:gd name="connsiteX266" fmla="*/ 2399 w 10000"/>
                <a:gd name="connsiteY266" fmla="*/ 3620 h 10000"/>
                <a:gd name="connsiteX267" fmla="*/ 2171 w 10000"/>
                <a:gd name="connsiteY267" fmla="*/ 3673 h 10000"/>
                <a:gd name="connsiteX268" fmla="*/ 1806 w 10000"/>
                <a:gd name="connsiteY268" fmla="*/ 3840 h 10000"/>
                <a:gd name="connsiteX269" fmla="*/ 1612 w 10000"/>
                <a:gd name="connsiteY269" fmla="*/ 4042 h 10000"/>
                <a:gd name="connsiteX270" fmla="*/ 1630 w 10000"/>
                <a:gd name="connsiteY270" fmla="*/ 4154 h 10000"/>
                <a:gd name="connsiteX271" fmla="*/ 1697 w 10000"/>
                <a:gd name="connsiteY271" fmla="*/ 4241 h 10000"/>
                <a:gd name="connsiteX272" fmla="*/ 1749 w 10000"/>
                <a:gd name="connsiteY272" fmla="*/ 4276 h 10000"/>
                <a:gd name="connsiteX273" fmla="*/ 1653 w 10000"/>
                <a:gd name="connsiteY273" fmla="*/ 4331 h 10000"/>
                <a:gd name="connsiteX274" fmla="*/ 1446 w 10000"/>
                <a:gd name="connsiteY274" fmla="*/ 4710 h 10000"/>
                <a:gd name="connsiteX275" fmla="*/ 1486 w 10000"/>
                <a:gd name="connsiteY275" fmla="*/ 4732 h 10000"/>
                <a:gd name="connsiteX276" fmla="*/ 1517 w 10000"/>
                <a:gd name="connsiteY276" fmla="*/ 4828 h 10000"/>
                <a:gd name="connsiteX277" fmla="*/ 1420 w 10000"/>
                <a:gd name="connsiteY277" fmla="*/ 5227 h 10000"/>
                <a:gd name="connsiteX278" fmla="*/ 1517 w 10000"/>
                <a:gd name="connsiteY278" fmla="*/ 5329 h 10000"/>
                <a:gd name="connsiteX279" fmla="*/ 1780 w 10000"/>
                <a:gd name="connsiteY279" fmla="*/ 5441 h 10000"/>
                <a:gd name="connsiteX280" fmla="*/ 1793 w 10000"/>
                <a:gd name="connsiteY280" fmla="*/ 5578 h 10000"/>
                <a:gd name="connsiteX281" fmla="*/ 1680 w 10000"/>
                <a:gd name="connsiteY281" fmla="*/ 5690 h 10000"/>
                <a:gd name="connsiteX282" fmla="*/ 1517 w 10000"/>
                <a:gd name="connsiteY282" fmla="*/ 5759 h 10000"/>
                <a:gd name="connsiteX283" fmla="*/ 1301 w 10000"/>
                <a:gd name="connsiteY283" fmla="*/ 5787 h 10000"/>
                <a:gd name="connsiteX284" fmla="*/ 1244 w 10000"/>
                <a:gd name="connsiteY284" fmla="*/ 5826 h 10000"/>
                <a:gd name="connsiteX285" fmla="*/ 1371 w 10000"/>
                <a:gd name="connsiteY285" fmla="*/ 5920 h 10000"/>
                <a:gd name="connsiteX286" fmla="*/ 1442 w 10000"/>
                <a:gd name="connsiteY286" fmla="*/ 6142 h 10000"/>
                <a:gd name="connsiteX287" fmla="*/ 1279 w 10000"/>
                <a:gd name="connsiteY287" fmla="*/ 6333 h 10000"/>
                <a:gd name="connsiteX288" fmla="*/ 1336 w 10000"/>
                <a:gd name="connsiteY288" fmla="*/ 6392 h 10000"/>
                <a:gd name="connsiteX289" fmla="*/ 1284 w 10000"/>
                <a:gd name="connsiteY289" fmla="*/ 6492 h 10000"/>
                <a:gd name="connsiteX290" fmla="*/ 1178 w 10000"/>
                <a:gd name="connsiteY290" fmla="*/ 6561 h 10000"/>
                <a:gd name="connsiteX291" fmla="*/ 765 w 10000"/>
                <a:gd name="connsiteY291" fmla="*/ 6614 h 10000"/>
                <a:gd name="connsiteX292" fmla="*/ 739 w 10000"/>
                <a:gd name="connsiteY292" fmla="*/ 6706 h 10000"/>
                <a:gd name="connsiteX293" fmla="*/ 515 w 10000"/>
                <a:gd name="connsiteY293" fmla="*/ 6843 h 10000"/>
                <a:gd name="connsiteX294" fmla="*/ 545 w 10000"/>
                <a:gd name="connsiteY294" fmla="*/ 7040 h 10000"/>
                <a:gd name="connsiteX295" fmla="*/ 356 w 10000"/>
                <a:gd name="connsiteY295" fmla="*/ 7293 h 10000"/>
                <a:gd name="connsiteX296" fmla="*/ 228 w 10000"/>
                <a:gd name="connsiteY296" fmla="*/ 7323 h 10000"/>
                <a:gd name="connsiteX297" fmla="*/ 176 w 10000"/>
                <a:gd name="connsiteY297" fmla="*/ 7262 h 10000"/>
                <a:gd name="connsiteX298" fmla="*/ 110 w 10000"/>
                <a:gd name="connsiteY298" fmla="*/ 7354 h 10000"/>
                <a:gd name="connsiteX299" fmla="*/ 154 w 10000"/>
                <a:gd name="connsiteY299" fmla="*/ 7197 h 10000"/>
                <a:gd name="connsiteX300" fmla="*/ 127 w 10000"/>
                <a:gd name="connsiteY300" fmla="*/ 7166 h 10000"/>
                <a:gd name="connsiteX0" fmla="*/ 127 w 9920"/>
                <a:gd name="connsiteY0" fmla="*/ 7166 h 10000"/>
                <a:gd name="connsiteX1" fmla="*/ 0 w 9920"/>
                <a:gd name="connsiteY1" fmla="*/ 7248 h 10000"/>
                <a:gd name="connsiteX2" fmla="*/ 0 w 9920"/>
                <a:gd name="connsiteY2" fmla="*/ 7651 h 10000"/>
                <a:gd name="connsiteX3" fmla="*/ 70 w 9920"/>
                <a:gd name="connsiteY3" fmla="*/ 7663 h 10000"/>
                <a:gd name="connsiteX4" fmla="*/ 87 w 9920"/>
                <a:gd name="connsiteY4" fmla="*/ 7694 h 10000"/>
                <a:gd name="connsiteX5" fmla="*/ 83 w 9920"/>
                <a:gd name="connsiteY5" fmla="*/ 7749 h 10000"/>
                <a:gd name="connsiteX6" fmla="*/ 57 w 9920"/>
                <a:gd name="connsiteY6" fmla="*/ 7773 h 10000"/>
                <a:gd name="connsiteX7" fmla="*/ 163 w 9920"/>
                <a:gd name="connsiteY7" fmla="*/ 7727 h 10000"/>
                <a:gd name="connsiteX8" fmla="*/ 207 w 9920"/>
                <a:gd name="connsiteY8" fmla="*/ 7680 h 10000"/>
                <a:gd name="connsiteX9" fmla="*/ 263 w 9920"/>
                <a:gd name="connsiteY9" fmla="*/ 7712 h 10000"/>
                <a:gd name="connsiteX10" fmla="*/ 202 w 9920"/>
                <a:gd name="connsiteY10" fmla="*/ 7778 h 10000"/>
                <a:gd name="connsiteX11" fmla="*/ 268 w 9920"/>
                <a:gd name="connsiteY11" fmla="*/ 7780 h 10000"/>
                <a:gd name="connsiteX12" fmla="*/ 299 w 9920"/>
                <a:gd name="connsiteY12" fmla="*/ 7796 h 10000"/>
                <a:gd name="connsiteX13" fmla="*/ 215 w 9920"/>
                <a:gd name="connsiteY13" fmla="*/ 7818 h 10000"/>
                <a:gd name="connsiteX14" fmla="*/ 83 w 9920"/>
                <a:gd name="connsiteY14" fmla="*/ 7886 h 10000"/>
                <a:gd name="connsiteX15" fmla="*/ 317 w 9920"/>
                <a:gd name="connsiteY15" fmla="*/ 7938 h 10000"/>
                <a:gd name="connsiteX16" fmla="*/ 347 w 9920"/>
                <a:gd name="connsiteY16" fmla="*/ 8014 h 10000"/>
                <a:gd name="connsiteX17" fmla="*/ 268 w 9920"/>
                <a:gd name="connsiteY17" fmla="*/ 8126 h 10000"/>
                <a:gd name="connsiteX18" fmla="*/ 440 w 9920"/>
                <a:gd name="connsiteY18" fmla="*/ 8118 h 10000"/>
                <a:gd name="connsiteX19" fmla="*/ 453 w 9920"/>
                <a:gd name="connsiteY19" fmla="*/ 8203 h 10000"/>
                <a:gd name="connsiteX20" fmla="*/ 338 w 9920"/>
                <a:gd name="connsiteY20" fmla="*/ 8260 h 10000"/>
                <a:gd name="connsiteX21" fmla="*/ 356 w 9920"/>
                <a:gd name="connsiteY21" fmla="*/ 8370 h 10000"/>
                <a:gd name="connsiteX22" fmla="*/ 312 w 9920"/>
                <a:gd name="connsiteY22" fmla="*/ 8456 h 10000"/>
                <a:gd name="connsiteX23" fmla="*/ 448 w 9920"/>
                <a:gd name="connsiteY23" fmla="*/ 8464 h 10000"/>
                <a:gd name="connsiteX24" fmla="*/ 580 w 9920"/>
                <a:gd name="connsiteY24" fmla="*/ 8792 h 10000"/>
                <a:gd name="connsiteX25" fmla="*/ 734 w 9920"/>
                <a:gd name="connsiteY25" fmla="*/ 8876 h 10000"/>
                <a:gd name="connsiteX26" fmla="*/ 800 w 9920"/>
                <a:gd name="connsiteY26" fmla="*/ 8965 h 10000"/>
                <a:gd name="connsiteX27" fmla="*/ 967 w 9920"/>
                <a:gd name="connsiteY27" fmla="*/ 9030 h 10000"/>
                <a:gd name="connsiteX28" fmla="*/ 1073 w 9920"/>
                <a:gd name="connsiteY28" fmla="*/ 9112 h 10000"/>
                <a:gd name="connsiteX29" fmla="*/ 1059 w 9920"/>
                <a:gd name="connsiteY29" fmla="*/ 9171 h 10000"/>
                <a:gd name="connsiteX30" fmla="*/ 954 w 9920"/>
                <a:gd name="connsiteY30" fmla="*/ 9193 h 10000"/>
                <a:gd name="connsiteX31" fmla="*/ 839 w 9920"/>
                <a:gd name="connsiteY31" fmla="*/ 9179 h 10000"/>
                <a:gd name="connsiteX32" fmla="*/ 804 w 9920"/>
                <a:gd name="connsiteY32" fmla="*/ 9204 h 10000"/>
                <a:gd name="connsiteX33" fmla="*/ 892 w 9920"/>
                <a:gd name="connsiteY33" fmla="*/ 9332 h 10000"/>
                <a:gd name="connsiteX34" fmla="*/ 769 w 9920"/>
                <a:gd name="connsiteY34" fmla="*/ 9322 h 10000"/>
                <a:gd name="connsiteX35" fmla="*/ 664 w 9920"/>
                <a:gd name="connsiteY35" fmla="*/ 9291 h 10000"/>
                <a:gd name="connsiteX36" fmla="*/ 646 w 9920"/>
                <a:gd name="connsiteY36" fmla="*/ 9338 h 10000"/>
                <a:gd name="connsiteX37" fmla="*/ 993 w 9920"/>
                <a:gd name="connsiteY37" fmla="*/ 9776 h 10000"/>
                <a:gd name="connsiteX38" fmla="*/ 937 w 9920"/>
                <a:gd name="connsiteY38" fmla="*/ 9817 h 10000"/>
                <a:gd name="connsiteX39" fmla="*/ 898 w 9920"/>
                <a:gd name="connsiteY39" fmla="*/ 9902 h 10000"/>
                <a:gd name="connsiteX40" fmla="*/ 848 w 9920"/>
                <a:gd name="connsiteY40" fmla="*/ 9908 h 10000"/>
                <a:gd name="connsiteX41" fmla="*/ 817 w 9920"/>
                <a:gd name="connsiteY41" fmla="*/ 9945 h 10000"/>
                <a:gd name="connsiteX42" fmla="*/ 1028 w 9920"/>
                <a:gd name="connsiteY42" fmla="*/ 9949 h 10000"/>
                <a:gd name="connsiteX43" fmla="*/ 1213 w 9920"/>
                <a:gd name="connsiteY43" fmla="*/ 9986 h 10000"/>
                <a:gd name="connsiteX44" fmla="*/ 1521 w 9920"/>
                <a:gd name="connsiteY44" fmla="*/ 9947 h 10000"/>
                <a:gd name="connsiteX45" fmla="*/ 1797 w 9920"/>
                <a:gd name="connsiteY45" fmla="*/ 9953 h 10000"/>
                <a:gd name="connsiteX46" fmla="*/ 1961 w 9920"/>
                <a:gd name="connsiteY46" fmla="*/ 10000 h 10000"/>
                <a:gd name="connsiteX47" fmla="*/ 2049 w 9920"/>
                <a:gd name="connsiteY47" fmla="*/ 9969 h 10000"/>
                <a:gd name="connsiteX48" fmla="*/ 2136 w 9920"/>
                <a:gd name="connsiteY48" fmla="*/ 9868 h 10000"/>
                <a:gd name="connsiteX49" fmla="*/ 2114 w 9920"/>
                <a:gd name="connsiteY49" fmla="*/ 9703 h 10000"/>
                <a:gd name="connsiteX50" fmla="*/ 2325 w 9920"/>
                <a:gd name="connsiteY50" fmla="*/ 9517 h 10000"/>
                <a:gd name="connsiteX51" fmla="*/ 2479 w 9920"/>
                <a:gd name="connsiteY51" fmla="*/ 9546 h 10000"/>
                <a:gd name="connsiteX52" fmla="*/ 2567 w 9920"/>
                <a:gd name="connsiteY52" fmla="*/ 9472 h 10000"/>
                <a:gd name="connsiteX53" fmla="*/ 2738 w 9920"/>
                <a:gd name="connsiteY53" fmla="*/ 9430 h 10000"/>
                <a:gd name="connsiteX54" fmla="*/ 2971 w 9920"/>
                <a:gd name="connsiteY54" fmla="*/ 9440 h 10000"/>
                <a:gd name="connsiteX55" fmla="*/ 3112 w 9920"/>
                <a:gd name="connsiteY55" fmla="*/ 9470 h 10000"/>
                <a:gd name="connsiteX56" fmla="*/ 3297 w 9920"/>
                <a:gd name="connsiteY56" fmla="*/ 9456 h 10000"/>
                <a:gd name="connsiteX57" fmla="*/ 3486 w 9920"/>
                <a:gd name="connsiteY57" fmla="*/ 9489 h 10000"/>
                <a:gd name="connsiteX58" fmla="*/ 3674 w 9920"/>
                <a:gd name="connsiteY58" fmla="*/ 9493 h 10000"/>
                <a:gd name="connsiteX59" fmla="*/ 4096 w 9920"/>
                <a:gd name="connsiteY59" fmla="*/ 9061 h 10000"/>
                <a:gd name="connsiteX60" fmla="*/ 4202 w 9920"/>
                <a:gd name="connsiteY60" fmla="*/ 8711 h 10000"/>
                <a:gd name="connsiteX61" fmla="*/ 4374 w 9920"/>
                <a:gd name="connsiteY61" fmla="*/ 8554 h 10000"/>
                <a:gd name="connsiteX62" fmla="*/ 4374 w 9920"/>
                <a:gd name="connsiteY62" fmla="*/ 8472 h 10000"/>
                <a:gd name="connsiteX63" fmla="*/ 4312 w 9920"/>
                <a:gd name="connsiteY63" fmla="*/ 8425 h 10000"/>
                <a:gd name="connsiteX64" fmla="*/ 4413 w 9920"/>
                <a:gd name="connsiteY64" fmla="*/ 8352 h 10000"/>
                <a:gd name="connsiteX65" fmla="*/ 4395 w 9920"/>
                <a:gd name="connsiteY65" fmla="*/ 8289 h 10000"/>
                <a:gd name="connsiteX66" fmla="*/ 4325 w 9920"/>
                <a:gd name="connsiteY66" fmla="*/ 8236 h 10000"/>
                <a:gd name="connsiteX67" fmla="*/ 4312 w 9920"/>
                <a:gd name="connsiteY67" fmla="*/ 8199 h 10000"/>
                <a:gd name="connsiteX68" fmla="*/ 4329 w 9920"/>
                <a:gd name="connsiteY68" fmla="*/ 8169 h 10000"/>
                <a:gd name="connsiteX69" fmla="*/ 4422 w 9920"/>
                <a:gd name="connsiteY69" fmla="*/ 8193 h 10000"/>
                <a:gd name="connsiteX70" fmla="*/ 4497 w 9920"/>
                <a:gd name="connsiteY70" fmla="*/ 8191 h 10000"/>
                <a:gd name="connsiteX71" fmla="*/ 4456 w 9920"/>
                <a:gd name="connsiteY71" fmla="*/ 8140 h 10000"/>
                <a:gd name="connsiteX72" fmla="*/ 4469 w 9920"/>
                <a:gd name="connsiteY72" fmla="*/ 8112 h 10000"/>
                <a:gd name="connsiteX73" fmla="*/ 4523 w 9920"/>
                <a:gd name="connsiteY73" fmla="*/ 8069 h 10000"/>
                <a:gd name="connsiteX74" fmla="*/ 4514 w 9920"/>
                <a:gd name="connsiteY74" fmla="*/ 8034 h 10000"/>
                <a:gd name="connsiteX75" fmla="*/ 4563 w 9920"/>
                <a:gd name="connsiteY75" fmla="*/ 7916 h 10000"/>
                <a:gd name="connsiteX76" fmla="*/ 4550 w 9920"/>
                <a:gd name="connsiteY76" fmla="*/ 7881 h 10000"/>
                <a:gd name="connsiteX77" fmla="*/ 4294 w 9920"/>
                <a:gd name="connsiteY77" fmla="*/ 7792 h 10000"/>
                <a:gd name="connsiteX78" fmla="*/ 4329 w 9920"/>
                <a:gd name="connsiteY78" fmla="*/ 7788 h 10000"/>
                <a:gd name="connsiteX79" fmla="*/ 4465 w 9920"/>
                <a:gd name="connsiteY79" fmla="*/ 7812 h 10000"/>
                <a:gd name="connsiteX80" fmla="*/ 4611 w 9920"/>
                <a:gd name="connsiteY80" fmla="*/ 7804 h 10000"/>
                <a:gd name="connsiteX81" fmla="*/ 4654 w 9920"/>
                <a:gd name="connsiteY81" fmla="*/ 7771 h 10000"/>
                <a:gd name="connsiteX82" fmla="*/ 4514 w 9920"/>
                <a:gd name="connsiteY82" fmla="*/ 7710 h 10000"/>
                <a:gd name="connsiteX83" fmla="*/ 4092 w 9920"/>
                <a:gd name="connsiteY83" fmla="*/ 7670 h 10000"/>
                <a:gd name="connsiteX84" fmla="*/ 4122 w 9920"/>
                <a:gd name="connsiteY84" fmla="*/ 7651 h 10000"/>
                <a:gd name="connsiteX85" fmla="*/ 4465 w 9920"/>
                <a:gd name="connsiteY85" fmla="*/ 7639 h 10000"/>
                <a:gd name="connsiteX86" fmla="*/ 4654 w 9920"/>
                <a:gd name="connsiteY86" fmla="*/ 7676 h 10000"/>
                <a:gd name="connsiteX87" fmla="*/ 4765 w 9920"/>
                <a:gd name="connsiteY87" fmla="*/ 7651 h 10000"/>
                <a:gd name="connsiteX88" fmla="*/ 4804 w 9920"/>
                <a:gd name="connsiteY88" fmla="*/ 7588 h 10000"/>
                <a:gd name="connsiteX89" fmla="*/ 5002 w 9920"/>
                <a:gd name="connsiteY89" fmla="*/ 7588 h 10000"/>
                <a:gd name="connsiteX90" fmla="*/ 5270 w 9920"/>
                <a:gd name="connsiteY90" fmla="*/ 7462 h 10000"/>
                <a:gd name="connsiteX91" fmla="*/ 5279 w 9920"/>
                <a:gd name="connsiteY91" fmla="*/ 7378 h 10000"/>
                <a:gd name="connsiteX92" fmla="*/ 5393 w 9920"/>
                <a:gd name="connsiteY92" fmla="*/ 7397 h 10000"/>
                <a:gd name="connsiteX93" fmla="*/ 5389 w 9920"/>
                <a:gd name="connsiteY93" fmla="*/ 7482 h 10000"/>
                <a:gd name="connsiteX94" fmla="*/ 5569 w 9920"/>
                <a:gd name="connsiteY94" fmla="*/ 7476 h 10000"/>
                <a:gd name="connsiteX95" fmla="*/ 5687 w 9920"/>
                <a:gd name="connsiteY95" fmla="*/ 7388 h 10000"/>
                <a:gd name="connsiteX96" fmla="*/ 5908 w 9920"/>
                <a:gd name="connsiteY96" fmla="*/ 7309 h 10000"/>
                <a:gd name="connsiteX97" fmla="*/ 5872 w 9920"/>
                <a:gd name="connsiteY97" fmla="*/ 7219 h 10000"/>
                <a:gd name="connsiteX98" fmla="*/ 5938 w 9920"/>
                <a:gd name="connsiteY98" fmla="*/ 7254 h 10000"/>
                <a:gd name="connsiteX99" fmla="*/ 6039 w 9920"/>
                <a:gd name="connsiteY99" fmla="*/ 7254 h 10000"/>
                <a:gd name="connsiteX100" fmla="*/ 6039 w 9920"/>
                <a:gd name="connsiteY100" fmla="*/ 7213 h 10000"/>
                <a:gd name="connsiteX101" fmla="*/ 6132 w 9920"/>
                <a:gd name="connsiteY101" fmla="*/ 7181 h 10000"/>
                <a:gd name="connsiteX102" fmla="*/ 6119 w 9920"/>
                <a:gd name="connsiteY102" fmla="*/ 7148 h 10000"/>
                <a:gd name="connsiteX103" fmla="*/ 5328 w 9920"/>
                <a:gd name="connsiteY103" fmla="*/ 7215 h 10000"/>
                <a:gd name="connsiteX104" fmla="*/ 5143 w 9920"/>
                <a:gd name="connsiteY104" fmla="*/ 7195 h 10000"/>
                <a:gd name="connsiteX105" fmla="*/ 5068 w 9920"/>
                <a:gd name="connsiteY105" fmla="*/ 7219 h 10000"/>
                <a:gd name="connsiteX106" fmla="*/ 5042 w 9920"/>
                <a:gd name="connsiteY106" fmla="*/ 7173 h 10000"/>
                <a:gd name="connsiteX107" fmla="*/ 4954 w 9920"/>
                <a:gd name="connsiteY107" fmla="*/ 7132 h 10000"/>
                <a:gd name="connsiteX108" fmla="*/ 4602 w 9920"/>
                <a:gd name="connsiteY108" fmla="*/ 7052 h 10000"/>
                <a:gd name="connsiteX109" fmla="*/ 4395 w 9920"/>
                <a:gd name="connsiteY109" fmla="*/ 7065 h 10000"/>
                <a:gd name="connsiteX110" fmla="*/ 4312 w 9920"/>
                <a:gd name="connsiteY110" fmla="*/ 7042 h 10000"/>
                <a:gd name="connsiteX111" fmla="*/ 4400 w 9920"/>
                <a:gd name="connsiteY111" fmla="*/ 7022 h 10000"/>
                <a:gd name="connsiteX112" fmla="*/ 4465 w 9920"/>
                <a:gd name="connsiteY112" fmla="*/ 6979 h 10000"/>
                <a:gd name="connsiteX113" fmla="*/ 4563 w 9920"/>
                <a:gd name="connsiteY113" fmla="*/ 6993 h 10000"/>
                <a:gd name="connsiteX114" fmla="*/ 4681 w 9920"/>
                <a:gd name="connsiteY114" fmla="*/ 6981 h 10000"/>
                <a:gd name="connsiteX115" fmla="*/ 4857 w 9920"/>
                <a:gd name="connsiteY115" fmla="*/ 6995 h 10000"/>
                <a:gd name="connsiteX116" fmla="*/ 4878 w 9920"/>
                <a:gd name="connsiteY116" fmla="*/ 6989 h 10000"/>
                <a:gd name="connsiteX117" fmla="*/ 5016 w 9920"/>
                <a:gd name="connsiteY117" fmla="*/ 7056 h 10000"/>
                <a:gd name="connsiteX118" fmla="*/ 5117 w 9920"/>
                <a:gd name="connsiteY118" fmla="*/ 7032 h 10000"/>
                <a:gd name="connsiteX119" fmla="*/ 5125 w 9920"/>
                <a:gd name="connsiteY119" fmla="*/ 7010 h 10000"/>
                <a:gd name="connsiteX120" fmla="*/ 5217 w 9920"/>
                <a:gd name="connsiteY120" fmla="*/ 7048 h 10000"/>
                <a:gd name="connsiteX121" fmla="*/ 5341 w 9920"/>
                <a:gd name="connsiteY121" fmla="*/ 7069 h 10000"/>
                <a:gd name="connsiteX122" fmla="*/ 5389 w 9920"/>
                <a:gd name="connsiteY122" fmla="*/ 7030 h 10000"/>
                <a:gd name="connsiteX123" fmla="*/ 5428 w 9920"/>
                <a:gd name="connsiteY123" fmla="*/ 7052 h 10000"/>
                <a:gd name="connsiteX124" fmla="*/ 5485 w 9920"/>
                <a:gd name="connsiteY124" fmla="*/ 7126 h 10000"/>
                <a:gd name="connsiteX125" fmla="*/ 5604 w 9920"/>
                <a:gd name="connsiteY125" fmla="*/ 7144 h 10000"/>
                <a:gd name="connsiteX126" fmla="*/ 6088 w 9920"/>
                <a:gd name="connsiteY126" fmla="*/ 7034 h 10000"/>
                <a:gd name="connsiteX127" fmla="*/ 6325 w 9920"/>
                <a:gd name="connsiteY127" fmla="*/ 6879 h 10000"/>
                <a:gd name="connsiteX128" fmla="*/ 6382 w 9920"/>
                <a:gd name="connsiteY128" fmla="*/ 6765 h 10000"/>
                <a:gd name="connsiteX129" fmla="*/ 6295 w 9920"/>
                <a:gd name="connsiteY129" fmla="*/ 6663 h 10000"/>
                <a:gd name="connsiteX130" fmla="*/ 6114 w 9920"/>
                <a:gd name="connsiteY130" fmla="*/ 6602 h 10000"/>
                <a:gd name="connsiteX131" fmla="*/ 5986 w 9920"/>
                <a:gd name="connsiteY131" fmla="*/ 6502 h 10000"/>
                <a:gd name="connsiteX132" fmla="*/ 6106 w 9920"/>
                <a:gd name="connsiteY132" fmla="*/ 6498 h 10000"/>
                <a:gd name="connsiteX133" fmla="*/ 6097 w 9920"/>
                <a:gd name="connsiteY133" fmla="*/ 6474 h 10000"/>
                <a:gd name="connsiteX134" fmla="*/ 5785 w 9920"/>
                <a:gd name="connsiteY134" fmla="*/ 6403 h 10000"/>
                <a:gd name="connsiteX135" fmla="*/ 5772 w 9920"/>
                <a:gd name="connsiteY135" fmla="*/ 6339 h 10000"/>
                <a:gd name="connsiteX136" fmla="*/ 5714 w 9920"/>
                <a:gd name="connsiteY136" fmla="*/ 6272 h 10000"/>
                <a:gd name="connsiteX137" fmla="*/ 5467 w 9920"/>
                <a:gd name="connsiteY137" fmla="*/ 6284 h 10000"/>
                <a:gd name="connsiteX138" fmla="*/ 5380 w 9920"/>
                <a:gd name="connsiteY138" fmla="*/ 6213 h 10000"/>
                <a:gd name="connsiteX139" fmla="*/ 5328 w 9920"/>
                <a:gd name="connsiteY139" fmla="*/ 6209 h 10000"/>
                <a:gd name="connsiteX140" fmla="*/ 5328 w 9920"/>
                <a:gd name="connsiteY140" fmla="*/ 6238 h 10000"/>
                <a:gd name="connsiteX141" fmla="*/ 5217 w 9920"/>
                <a:gd name="connsiteY141" fmla="*/ 6358 h 10000"/>
                <a:gd name="connsiteX142" fmla="*/ 5098 w 9920"/>
                <a:gd name="connsiteY142" fmla="*/ 6429 h 10000"/>
                <a:gd name="connsiteX143" fmla="*/ 4724 w 9920"/>
                <a:gd name="connsiteY143" fmla="*/ 6551 h 10000"/>
                <a:gd name="connsiteX144" fmla="*/ 4593 w 9920"/>
                <a:gd name="connsiteY144" fmla="*/ 6547 h 10000"/>
                <a:gd name="connsiteX145" fmla="*/ 4413 w 9920"/>
                <a:gd name="connsiteY145" fmla="*/ 6565 h 10000"/>
                <a:gd name="connsiteX146" fmla="*/ 4312 w 9920"/>
                <a:gd name="connsiteY146" fmla="*/ 6547 h 10000"/>
                <a:gd name="connsiteX147" fmla="*/ 4443 w 9920"/>
                <a:gd name="connsiteY147" fmla="*/ 6513 h 10000"/>
                <a:gd name="connsiteX148" fmla="*/ 4615 w 9920"/>
                <a:gd name="connsiteY148" fmla="*/ 6498 h 10000"/>
                <a:gd name="connsiteX149" fmla="*/ 4757 w 9920"/>
                <a:gd name="connsiteY149" fmla="*/ 6441 h 10000"/>
                <a:gd name="connsiteX150" fmla="*/ 4896 w 9920"/>
                <a:gd name="connsiteY150" fmla="*/ 6415 h 10000"/>
                <a:gd name="connsiteX151" fmla="*/ 5156 w 9920"/>
                <a:gd name="connsiteY151" fmla="*/ 6317 h 10000"/>
                <a:gd name="connsiteX152" fmla="*/ 5204 w 9920"/>
                <a:gd name="connsiteY152" fmla="*/ 6252 h 10000"/>
                <a:gd name="connsiteX153" fmla="*/ 5208 w 9920"/>
                <a:gd name="connsiteY153" fmla="*/ 6168 h 10000"/>
                <a:gd name="connsiteX154" fmla="*/ 5090 w 9920"/>
                <a:gd name="connsiteY154" fmla="*/ 6154 h 10000"/>
                <a:gd name="connsiteX155" fmla="*/ 5143 w 9920"/>
                <a:gd name="connsiteY155" fmla="*/ 6103 h 10000"/>
                <a:gd name="connsiteX156" fmla="*/ 5160 w 9920"/>
                <a:gd name="connsiteY156" fmla="*/ 6038 h 10000"/>
                <a:gd name="connsiteX157" fmla="*/ 5111 w 9920"/>
                <a:gd name="connsiteY157" fmla="*/ 5977 h 10000"/>
                <a:gd name="connsiteX158" fmla="*/ 5081 w 9920"/>
                <a:gd name="connsiteY158" fmla="*/ 5533 h 10000"/>
                <a:gd name="connsiteX159" fmla="*/ 5152 w 9920"/>
                <a:gd name="connsiteY159" fmla="*/ 5437 h 10000"/>
                <a:gd name="connsiteX160" fmla="*/ 5134 w 9920"/>
                <a:gd name="connsiteY160" fmla="*/ 5398 h 10000"/>
                <a:gd name="connsiteX161" fmla="*/ 5341 w 9920"/>
                <a:gd name="connsiteY161" fmla="*/ 5455 h 10000"/>
                <a:gd name="connsiteX162" fmla="*/ 5354 w 9920"/>
                <a:gd name="connsiteY162" fmla="*/ 5402 h 10000"/>
                <a:gd name="connsiteX163" fmla="*/ 5310 w 9920"/>
                <a:gd name="connsiteY163" fmla="*/ 5264 h 10000"/>
                <a:gd name="connsiteX164" fmla="*/ 5458 w 9920"/>
                <a:gd name="connsiteY164" fmla="*/ 5019 h 10000"/>
                <a:gd name="connsiteX165" fmla="*/ 5367 w 9920"/>
                <a:gd name="connsiteY165" fmla="*/ 4960 h 10000"/>
                <a:gd name="connsiteX166" fmla="*/ 5332 w 9920"/>
                <a:gd name="connsiteY166" fmla="*/ 4905 h 10000"/>
                <a:gd name="connsiteX167" fmla="*/ 5345 w 9920"/>
                <a:gd name="connsiteY167" fmla="*/ 4816 h 10000"/>
                <a:gd name="connsiteX168" fmla="*/ 5561 w 9920"/>
                <a:gd name="connsiteY168" fmla="*/ 4875 h 10000"/>
                <a:gd name="connsiteX169" fmla="*/ 5569 w 9920"/>
                <a:gd name="connsiteY169" fmla="*/ 4858 h 10000"/>
                <a:gd name="connsiteX170" fmla="*/ 5630 w 9920"/>
                <a:gd name="connsiteY170" fmla="*/ 4842 h 10000"/>
                <a:gd name="connsiteX171" fmla="*/ 5714 w 9920"/>
                <a:gd name="connsiteY171" fmla="*/ 4785 h 10000"/>
                <a:gd name="connsiteX172" fmla="*/ 5727 w 9920"/>
                <a:gd name="connsiteY172" fmla="*/ 4769 h 10000"/>
                <a:gd name="connsiteX173" fmla="*/ 5710 w 9920"/>
                <a:gd name="connsiteY173" fmla="*/ 4748 h 10000"/>
                <a:gd name="connsiteX174" fmla="*/ 5753 w 9920"/>
                <a:gd name="connsiteY174" fmla="*/ 4647 h 10000"/>
                <a:gd name="connsiteX175" fmla="*/ 5701 w 9920"/>
                <a:gd name="connsiteY175" fmla="*/ 4581 h 10000"/>
                <a:gd name="connsiteX176" fmla="*/ 5710 w 9920"/>
                <a:gd name="connsiteY176" fmla="*/ 4528 h 10000"/>
                <a:gd name="connsiteX177" fmla="*/ 5740 w 9920"/>
                <a:gd name="connsiteY177" fmla="*/ 4590 h 10000"/>
                <a:gd name="connsiteX178" fmla="*/ 5859 w 9920"/>
                <a:gd name="connsiteY178" fmla="*/ 4636 h 10000"/>
                <a:gd name="connsiteX179" fmla="*/ 5908 w 9920"/>
                <a:gd name="connsiteY179" fmla="*/ 4630 h 10000"/>
                <a:gd name="connsiteX180" fmla="*/ 5986 w 9920"/>
                <a:gd name="connsiteY180" fmla="*/ 4569 h 10000"/>
                <a:gd name="connsiteX181" fmla="*/ 6070 w 9920"/>
                <a:gd name="connsiteY181" fmla="*/ 4594 h 10000"/>
                <a:gd name="connsiteX182" fmla="*/ 6093 w 9920"/>
                <a:gd name="connsiteY182" fmla="*/ 4545 h 10000"/>
                <a:gd name="connsiteX183" fmla="*/ 6149 w 9920"/>
                <a:gd name="connsiteY183" fmla="*/ 4512 h 10000"/>
                <a:gd name="connsiteX184" fmla="*/ 5995 w 9920"/>
                <a:gd name="connsiteY184" fmla="*/ 4477 h 10000"/>
                <a:gd name="connsiteX185" fmla="*/ 6106 w 9920"/>
                <a:gd name="connsiteY185" fmla="*/ 4484 h 10000"/>
                <a:gd name="connsiteX186" fmla="*/ 6219 w 9920"/>
                <a:gd name="connsiteY186" fmla="*/ 4447 h 10000"/>
                <a:gd name="connsiteX187" fmla="*/ 6215 w 9920"/>
                <a:gd name="connsiteY187" fmla="*/ 4422 h 10000"/>
                <a:gd name="connsiteX188" fmla="*/ 6321 w 9920"/>
                <a:gd name="connsiteY188" fmla="*/ 4398 h 10000"/>
                <a:gd name="connsiteX189" fmla="*/ 6330 w 9920"/>
                <a:gd name="connsiteY189" fmla="*/ 4337 h 10000"/>
                <a:gd name="connsiteX190" fmla="*/ 6413 w 9920"/>
                <a:gd name="connsiteY190" fmla="*/ 4325 h 10000"/>
                <a:gd name="connsiteX191" fmla="*/ 6421 w 9920"/>
                <a:gd name="connsiteY191" fmla="*/ 4253 h 10000"/>
                <a:gd name="connsiteX192" fmla="*/ 6509 w 9920"/>
                <a:gd name="connsiteY192" fmla="*/ 4245 h 10000"/>
                <a:gd name="connsiteX193" fmla="*/ 6645 w 9920"/>
                <a:gd name="connsiteY193" fmla="*/ 4260 h 10000"/>
                <a:gd name="connsiteX194" fmla="*/ 6794 w 9920"/>
                <a:gd name="connsiteY194" fmla="*/ 4202 h 10000"/>
                <a:gd name="connsiteX195" fmla="*/ 6848 w 9920"/>
                <a:gd name="connsiteY195" fmla="*/ 4137 h 10000"/>
                <a:gd name="connsiteX196" fmla="*/ 7032 w 9920"/>
                <a:gd name="connsiteY196" fmla="*/ 4070 h 10000"/>
                <a:gd name="connsiteX197" fmla="*/ 7125 w 9920"/>
                <a:gd name="connsiteY197" fmla="*/ 4111 h 10000"/>
                <a:gd name="connsiteX198" fmla="*/ 7265 w 9920"/>
                <a:gd name="connsiteY198" fmla="*/ 4066 h 10000"/>
                <a:gd name="connsiteX199" fmla="*/ 7300 w 9920"/>
                <a:gd name="connsiteY199" fmla="*/ 4009 h 10000"/>
                <a:gd name="connsiteX200" fmla="*/ 7406 w 9920"/>
                <a:gd name="connsiteY200" fmla="*/ 3970 h 10000"/>
                <a:gd name="connsiteX201" fmla="*/ 7498 w 9920"/>
                <a:gd name="connsiteY201" fmla="*/ 3987 h 10000"/>
                <a:gd name="connsiteX202" fmla="*/ 7555 w 9920"/>
                <a:gd name="connsiteY202" fmla="*/ 3958 h 10000"/>
                <a:gd name="connsiteX203" fmla="*/ 7714 w 9920"/>
                <a:gd name="connsiteY203" fmla="*/ 3917 h 10000"/>
                <a:gd name="connsiteX204" fmla="*/ 7779 w 9920"/>
                <a:gd name="connsiteY204" fmla="*/ 3864 h 10000"/>
                <a:gd name="connsiteX205" fmla="*/ 7868 w 9920"/>
                <a:gd name="connsiteY205" fmla="*/ 3842 h 10000"/>
                <a:gd name="connsiteX206" fmla="*/ 8356 w 9920"/>
                <a:gd name="connsiteY206" fmla="*/ 3522 h 10000"/>
                <a:gd name="connsiteX207" fmla="*/ 9793 w 9920"/>
                <a:gd name="connsiteY207" fmla="*/ 1992 h 10000"/>
                <a:gd name="connsiteX208" fmla="*/ 9832 w 9920"/>
                <a:gd name="connsiteY208" fmla="*/ 1897 h 10000"/>
                <a:gd name="connsiteX209" fmla="*/ 9920 w 9920"/>
                <a:gd name="connsiteY209" fmla="*/ 1819 h 10000"/>
                <a:gd name="connsiteX210" fmla="*/ 9920 w 9920"/>
                <a:gd name="connsiteY210" fmla="*/ 1699 h 10000"/>
                <a:gd name="connsiteX211" fmla="*/ 9644 w 9920"/>
                <a:gd name="connsiteY211" fmla="*/ 1465 h 10000"/>
                <a:gd name="connsiteX212" fmla="*/ 9599 w 9920"/>
                <a:gd name="connsiteY212" fmla="*/ 1379 h 10000"/>
                <a:gd name="connsiteX213" fmla="*/ 9661 w 9920"/>
                <a:gd name="connsiteY213" fmla="*/ 1271 h 10000"/>
                <a:gd name="connsiteX214" fmla="*/ 9631 w 9920"/>
                <a:gd name="connsiteY214" fmla="*/ 1194 h 10000"/>
                <a:gd name="connsiteX215" fmla="*/ 9573 w 9920"/>
                <a:gd name="connsiteY215" fmla="*/ 1159 h 10000"/>
                <a:gd name="connsiteX216" fmla="*/ 9524 w 9920"/>
                <a:gd name="connsiteY216" fmla="*/ 978 h 10000"/>
                <a:gd name="connsiteX217" fmla="*/ 9582 w 9920"/>
                <a:gd name="connsiteY217" fmla="*/ 831 h 10000"/>
                <a:gd name="connsiteX218" fmla="*/ 9160 w 9920"/>
                <a:gd name="connsiteY218" fmla="*/ 517 h 10000"/>
                <a:gd name="connsiteX219" fmla="*/ 8953 w 9920"/>
                <a:gd name="connsiteY219" fmla="*/ 440 h 10000"/>
                <a:gd name="connsiteX220" fmla="*/ 8570 w 9920"/>
                <a:gd name="connsiteY220" fmla="*/ 389 h 10000"/>
                <a:gd name="connsiteX221" fmla="*/ 7779 w 9920"/>
                <a:gd name="connsiteY221" fmla="*/ 26 h 10000"/>
                <a:gd name="connsiteX222" fmla="*/ 7753 w 9920"/>
                <a:gd name="connsiteY222" fmla="*/ 2 h 10000"/>
                <a:gd name="connsiteX223" fmla="*/ 7485 w 9920"/>
                <a:gd name="connsiteY223" fmla="*/ 0 h 10000"/>
                <a:gd name="connsiteX224" fmla="*/ 7423 w 9920"/>
                <a:gd name="connsiteY224" fmla="*/ 14 h 10000"/>
                <a:gd name="connsiteX225" fmla="*/ 7437 w 9920"/>
                <a:gd name="connsiteY225" fmla="*/ 61 h 10000"/>
                <a:gd name="connsiteX226" fmla="*/ 7490 w 9920"/>
                <a:gd name="connsiteY226" fmla="*/ 86 h 10000"/>
                <a:gd name="connsiteX227" fmla="*/ 7503 w 9920"/>
                <a:gd name="connsiteY227" fmla="*/ 139 h 10000"/>
                <a:gd name="connsiteX228" fmla="*/ 7485 w 9920"/>
                <a:gd name="connsiteY228" fmla="*/ 181 h 10000"/>
                <a:gd name="connsiteX229" fmla="*/ 7437 w 9920"/>
                <a:gd name="connsiteY229" fmla="*/ 208 h 10000"/>
                <a:gd name="connsiteX230" fmla="*/ 7401 w 9920"/>
                <a:gd name="connsiteY230" fmla="*/ 283 h 10000"/>
                <a:gd name="connsiteX231" fmla="*/ 7336 w 9920"/>
                <a:gd name="connsiteY231" fmla="*/ 336 h 10000"/>
                <a:gd name="connsiteX232" fmla="*/ 7349 w 9920"/>
                <a:gd name="connsiteY232" fmla="*/ 387 h 10000"/>
                <a:gd name="connsiteX233" fmla="*/ 7450 w 9920"/>
                <a:gd name="connsiteY233" fmla="*/ 434 h 10000"/>
                <a:gd name="connsiteX234" fmla="*/ 7384 w 9920"/>
                <a:gd name="connsiteY234" fmla="*/ 475 h 10000"/>
                <a:gd name="connsiteX235" fmla="*/ 7287 w 9920"/>
                <a:gd name="connsiteY235" fmla="*/ 485 h 10000"/>
                <a:gd name="connsiteX236" fmla="*/ 6479 w 9920"/>
                <a:gd name="connsiteY236" fmla="*/ 387 h 10000"/>
                <a:gd name="connsiteX237" fmla="*/ 6382 w 9920"/>
                <a:gd name="connsiteY237" fmla="*/ 395 h 10000"/>
                <a:gd name="connsiteX238" fmla="*/ 6325 w 9920"/>
                <a:gd name="connsiteY238" fmla="*/ 414 h 10000"/>
                <a:gd name="connsiteX239" fmla="*/ 6267 w 9920"/>
                <a:gd name="connsiteY239" fmla="*/ 462 h 10000"/>
                <a:gd name="connsiteX240" fmla="*/ 6277 w 9920"/>
                <a:gd name="connsiteY240" fmla="*/ 581 h 10000"/>
                <a:gd name="connsiteX241" fmla="*/ 6188 w 9920"/>
                <a:gd name="connsiteY241" fmla="*/ 735 h 10000"/>
                <a:gd name="connsiteX242" fmla="*/ 6079 w 9920"/>
                <a:gd name="connsiteY242" fmla="*/ 815 h 10000"/>
                <a:gd name="connsiteX243" fmla="*/ 6035 w 9920"/>
                <a:gd name="connsiteY243" fmla="*/ 805 h 10000"/>
                <a:gd name="connsiteX244" fmla="*/ 5934 w 9920"/>
                <a:gd name="connsiteY244" fmla="*/ 739 h 10000"/>
                <a:gd name="connsiteX245" fmla="*/ 5806 w 9920"/>
                <a:gd name="connsiteY245" fmla="*/ 705 h 10000"/>
                <a:gd name="connsiteX246" fmla="*/ 5669 w 9920"/>
                <a:gd name="connsiteY246" fmla="*/ 715 h 10000"/>
                <a:gd name="connsiteX247" fmla="*/ 5350 w 9920"/>
                <a:gd name="connsiteY247" fmla="*/ 866 h 10000"/>
                <a:gd name="connsiteX248" fmla="*/ 5266 w 9920"/>
                <a:gd name="connsiteY248" fmla="*/ 1017 h 10000"/>
                <a:gd name="connsiteX249" fmla="*/ 5024 w 9920"/>
                <a:gd name="connsiteY249" fmla="*/ 1153 h 10000"/>
                <a:gd name="connsiteX250" fmla="*/ 4980 w 9920"/>
                <a:gd name="connsiteY250" fmla="*/ 1222 h 10000"/>
                <a:gd name="connsiteX251" fmla="*/ 5107 w 9920"/>
                <a:gd name="connsiteY251" fmla="*/ 1344 h 10000"/>
                <a:gd name="connsiteX252" fmla="*/ 5121 w 9920"/>
                <a:gd name="connsiteY252" fmla="*/ 1412 h 10000"/>
                <a:gd name="connsiteX253" fmla="*/ 4461 w 9920"/>
                <a:gd name="connsiteY253" fmla="*/ 1813 h 10000"/>
                <a:gd name="connsiteX254" fmla="*/ 4259 w 9920"/>
                <a:gd name="connsiteY254" fmla="*/ 2070 h 10000"/>
                <a:gd name="connsiteX255" fmla="*/ 4040 w 9920"/>
                <a:gd name="connsiteY255" fmla="*/ 2135 h 10000"/>
                <a:gd name="connsiteX256" fmla="*/ 3903 w 9920"/>
                <a:gd name="connsiteY256" fmla="*/ 2131 h 10000"/>
                <a:gd name="connsiteX257" fmla="*/ 3820 w 9920"/>
                <a:gd name="connsiteY257" fmla="*/ 2153 h 10000"/>
                <a:gd name="connsiteX258" fmla="*/ 3591 w 9920"/>
                <a:gd name="connsiteY258" fmla="*/ 2793 h 10000"/>
                <a:gd name="connsiteX259" fmla="*/ 3064 w 9920"/>
                <a:gd name="connsiteY259" fmla="*/ 3166 h 10000"/>
                <a:gd name="connsiteX260" fmla="*/ 3068 w 9920"/>
                <a:gd name="connsiteY260" fmla="*/ 3225 h 10000"/>
                <a:gd name="connsiteX261" fmla="*/ 3301 w 9920"/>
                <a:gd name="connsiteY261" fmla="*/ 3392 h 10000"/>
                <a:gd name="connsiteX262" fmla="*/ 3227 w 9920"/>
                <a:gd name="connsiteY262" fmla="*/ 3573 h 10000"/>
                <a:gd name="connsiteX263" fmla="*/ 3090 w 9920"/>
                <a:gd name="connsiteY263" fmla="*/ 3640 h 10000"/>
                <a:gd name="connsiteX264" fmla="*/ 2681 w 9920"/>
                <a:gd name="connsiteY264" fmla="*/ 3595 h 10000"/>
                <a:gd name="connsiteX265" fmla="*/ 2399 w 9920"/>
                <a:gd name="connsiteY265" fmla="*/ 3620 h 10000"/>
                <a:gd name="connsiteX266" fmla="*/ 2171 w 9920"/>
                <a:gd name="connsiteY266" fmla="*/ 3673 h 10000"/>
                <a:gd name="connsiteX267" fmla="*/ 1806 w 9920"/>
                <a:gd name="connsiteY267" fmla="*/ 3840 h 10000"/>
                <a:gd name="connsiteX268" fmla="*/ 1612 w 9920"/>
                <a:gd name="connsiteY268" fmla="*/ 4042 h 10000"/>
                <a:gd name="connsiteX269" fmla="*/ 1630 w 9920"/>
                <a:gd name="connsiteY269" fmla="*/ 4154 h 10000"/>
                <a:gd name="connsiteX270" fmla="*/ 1697 w 9920"/>
                <a:gd name="connsiteY270" fmla="*/ 4241 h 10000"/>
                <a:gd name="connsiteX271" fmla="*/ 1749 w 9920"/>
                <a:gd name="connsiteY271" fmla="*/ 4276 h 10000"/>
                <a:gd name="connsiteX272" fmla="*/ 1653 w 9920"/>
                <a:gd name="connsiteY272" fmla="*/ 4331 h 10000"/>
                <a:gd name="connsiteX273" fmla="*/ 1446 w 9920"/>
                <a:gd name="connsiteY273" fmla="*/ 4710 h 10000"/>
                <a:gd name="connsiteX274" fmla="*/ 1486 w 9920"/>
                <a:gd name="connsiteY274" fmla="*/ 4732 h 10000"/>
                <a:gd name="connsiteX275" fmla="*/ 1517 w 9920"/>
                <a:gd name="connsiteY275" fmla="*/ 4828 h 10000"/>
                <a:gd name="connsiteX276" fmla="*/ 1420 w 9920"/>
                <a:gd name="connsiteY276" fmla="*/ 5227 h 10000"/>
                <a:gd name="connsiteX277" fmla="*/ 1517 w 9920"/>
                <a:gd name="connsiteY277" fmla="*/ 5329 h 10000"/>
                <a:gd name="connsiteX278" fmla="*/ 1780 w 9920"/>
                <a:gd name="connsiteY278" fmla="*/ 5441 h 10000"/>
                <a:gd name="connsiteX279" fmla="*/ 1793 w 9920"/>
                <a:gd name="connsiteY279" fmla="*/ 5578 h 10000"/>
                <a:gd name="connsiteX280" fmla="*/ 1680 w 9920"/>
                <a:gd name="connsiteY280" fmla="*/ 5690 h 10000"/>
                <a:gd name="connsiteX281" fmla="*/ 1517 w 9920"/>
                <a:gd name="connsiteY281" fmla="*/ 5759 h 10000"/>
                <a:gd name="connsiteX282" fmla="*/ 1301 w 9920"/>
                <a:gd name="connsiteY282" fmla="*/ 5787 h 10000"/>
                <a:gd name="connsiteX283" fmla="*/ 1244 w 9920"/>
                <a:gd name="connsiteY283" fmla="*/ 5826 h 10000"/>
                <a:gd name="connsiteX284" fmla="*/ 1371 w 9920"/>
                <a:gd name="connsiteY284" fmla="*/ 5920 h 10000"/>
                <a:gd name="connsiteX285" fmla="*/ 1442 w 9920"/>
                <a:gd name="connsiteY285" fmla="*/ 6142 h 10000"/>
                <a:gd name="connsiteX286" fmla="*/ 1279 w 9920"/>
                <a:gd name="connsiteY286" fmla="*/ 6333 h 10000"/>
                <a:gd name="connsiteX287" fmla="*/ 1336 w 9920"/>
                <a:gd name="connsiteY287" fmla="*/ 6392 h 10000"/>
                <a:gd name="connsiteX288" fmla="*/ 1284 w 9920"/>
                <a:gd name="connsiteY288" fmla="*/ 6492 h 10000"/>
                <a:gd name="connsiteX289" fmla="*/ 1178 w 9920"/>
                <a:gd name="connsiteY289" fmla="*/ 6561 h 10000"/>
                <a:gd name="connsiteX290" fmla="*/ 765 w 9920"/>
                <a:gd name="connsiteY290" fmla="*/ 6614 h 10000"/>
                <a:gd name="connsiteX291" fmla="*/ 739 w 9920"/>
                <a:gd name="connsiteY291" fmla="*/ 6706 h 10000"/>
                <a:gd name="connsiteX292" fmla="*/ 515 w 9920"/>
                <a:gd name="connsiteY292" fmla="*/ 6843 h 10000"/>
                <a:gd name="connsiteX293" fmla="*/ 545 w 9920"/>
                <a:gd name="connsiteY293" fmla="*/ 7040 h 10000"/>
                <a:gd name="connsiteX294" fmla="*/ 356 w 9920"/>
                <a:gd name="connsiteY294" fmla="*/ 7293 h 10000"/>
                <a:gd name="connsiteX295" fmla="*/ 228 w 9920"/>
                <a:gd name="connsiteY295" fmla="*/ 7323 h 10000"/>
                <a:gd name="connsiteX296" fmla="*/ 176 w 9920"/>
                <a:gd name="connsiteY296" fmla="*/ 7262 h 10000"/>
                <a:gd name="connsiteX297" fmla="*/ 110 w 9920"/>
                <a:gd name="connsiteY297" fmla="*/ 7354 h 10000"/>
                <a:gd name="connsiteX298" fmla="*/ 154 w 9920"/>
                <a:gd name="connsiteY298" fmla="*/ 7197 h 10000"/>
                <a:gd name="connsiteX299" fmla="*/ 127 w 9920"/>
                <a:gd name="connsiteY299" fmla="*/ 7166 h 10000"/>
                <a:gd name="connsiteX0" fmla="*/ 128 w 10000"/>
                <a:gd name="connsiteY0" fmla="*/ 7166 h 10000"/>
                <a:gd name="connsiteX1" fmla="*/ 0 w 10000"/>
                <a:gd name="connsiteY1" fmla="*/ 7248 h 10000"/>
                <a:gd name="connsiteX2" fmla="*/ 0 w 10000"/>
                <a:gd name="connsiteY2" fmla="*/ 7651 h 10000"/>
                <a:gd name="connsiteX3" fmla="*/ 71 w 10000"/>
                <a:gd name="connsiteY3" fmla="*/ 7663 h 10000"/>
                <a:gd name="connsiteX4" fmla="*/ 88 w 10000"/>
                <a:gd name="connsiteY4" fmla="*/ 7694 h 10000"/>
                <a:gd name="connsiteX5" fmla="*/ 84 w 10000"/>
                <a:gd name="connsiteY5" fmla="*/ 7749 h 10000"/>
                <a:gd name="connsiteX6" fmla="*/ 57 w 10000"/>
                <a:gd name="connsiteY6" fmla="*/ 7773 h 10000"/>
                <a:gd name="connsiteX7" fmla="*/ 164 w 10000"/>
                <a:gd name="connsiteY7" fmla="*/ 7727 h 10000"/>
                <a:gd name="connsiteX8" fmla="*/ 209 w 10000"/>
                <a:gd name="connsiteY8" fmla="*/ 7680 h 10000"/>
                <a:gd name="connsiteX9" fmla="*/ 265 w 10000"/>
                <a:gd name="connsiteY9" fmla="*/ 7712 h 10000"/>
                <a:gd name="connsiteX10" fmla="*/ 204 w 10000"/>
                <a:gd name="connsiteY10" fmla="*/ 7778 h 10000"/>
                <a:gd name="connsiteX11" fmla="*/ 270 w 10000"/>
                <a:gd name="connsiteY11" fmla="*/ 7780 h 10000"/>
                <a:gd name="connsiteX12" fmla="*/ 301 w 10000"/>
                <a:gd name="connsiteY12" fmla="*/ 7796 h 10000"/>
                <a:gd name="connsiteX13" fmla="*/ 217 w 10000"/>
                <a:gd name="connsiteY13" fmla="*/ 7818 h 10000"/>
                <a:gd name="connsiteX14" fmla="*/ 84 w 10000"/>
                <a:gd name="connsiteY14" fmla="*/ 7886 h 10000"/>
                <a:gd name="connsiteX15" fmla="*/ 320 w 10000"/>
                <a:gd name="connsiteY15" fmla="*/ 7938 h 10000"/>
                <a:gd name="connsiteX16" fmla="*/ 350 w 10000"/>
                <a:gd name="connsiteY16" fmla="*/ 8014 h 10000"/>
                <a:gd name="connsiteX17" fmla="*/ 270 w 10000"/>
                <a:gd name="connsiteY17" fmla="*/ 8126 h 10000"/>
                <a:gd name="connsiteX18" fmla="*/ 444 w 10000"/>
                <a:gd name="connsiteY18" fmla="*/ 8118 h 10000"/>
                <a:gd name="connsiteX19" fmla="*/ 457 w 10000"/>
                <a:gd name="connsiteY19" fmla="*/ 8203 h 10000"/>
                <a:gd name="connsiteX20" fmla="*/ 341 w 10000"/>
                <a:gd name="connsiteY20" fmla="*/ 8260 h 10000"/>
                <a:gd name="connsiteX21" fmla="*/ 359 w 10000"/>
                <a:gd name="connsiteY21" fmla="*/ 8370 h 10000"/>
                <a:gd name="connsiteX22" fmla="*/ 315 w 10000"/>
                <a:gd name="connsiteY22" fmla="*/ 8456 h 10000"/>
                <a:gd name="connsiteX23" fmla="*/ 452 w 10000"/>
                <a:gd name="connsiteY23" fmla="*/ 8464 h 10000"/>
                <a:gd name="connsiteX24" fmla="*/ 585 w 10000"/>
                <a:gd name="connsiteY24" fmla="*/ 8792 h 10000"/>
                <a:gd name="connsiteX25" fmla="*/ 740 w 10000"/>
                <a:gd name="connsiteY25" fmla="*/ 8876 h 10000"/>
                <a:gd name="connsiteX26" fmla="*/ 806 w 10000"/>
                <a:gd name="connsiteY26" fmla="*/ 8965 h 10000"/>
                <a:gd name="connsiteX27" fmla="*/ 975 w 10000"/>
                <a:gd name="connsiteY27" fmla="*/ 9030 h 10000"/>
                <a:gd name="connsiteX28" fmla="*/ 1082 w 10000"/>
                <a:gd name="connsiteY28" fmla="*/ 9112 h 10000"/>
                <a:gd name="connsiteX29" fmla="*/ 1068 w 10000"/>
                <a:gd name="connsiteY29" fmla="*/ 9171 h 10000"/>
                <a:gd name="connsiteX30" fmla="*/ 962 w 10000"/>
                <a:gd name="connsiteY30" fmla="*/ 9193 h 10000"/>
                <a:gd name="connsiteX31" fmla="*/ 846 w 10000"/>
                <a:gd name="connsiteY31" fmla="*/ 9179 h 10000"/>
                <a:gd name="connsiteX32" fmla="*/ 810 w 10000"/>
                <a:gd name="connsiteY32" fmla="*/ 9204 h 10000"/>
                <a:gd name="connsiteX33" fmla="*/ 899 w 10000"/>
                <a:gd name="connsiteY33" fmla="*/ 9332 h 10000"/>
                <a:gd name="connsiteX34" fmla="*/ 775 w 10000"/>
                <a:gd name="connsiteY34" fmla="*/ 9322 h 10000"/>
                <a:gd name="connsiteX35" fmla="*/ 669 w 10000"/>
                <a:gd name="connsiteY35" fmla="*/ 9291 h 10000"/>
                <a:gd name="connsiteX36" fmla="*/ 651 w 10000"/>
                <a:gd name="connsiteY36" fmla="*/ 9338 h 10000"/>
                <a:gd name="connsiteX37" fmla="*/ 1001 w 10000"/>
                <a:gd name="connsiteY37" fmla="*/ 9776 h 10000"/>
                <a:gd name="connsiteX38" fmla="*/ 945 w 10000"/>
                <a:gd name="connsiteY38" fmla="*/ 9817 h 10000"/>
                <a:gd name="connsiteX39" fmla="*/ 905 w 10000"/>
                <a:gd name="connsiteY39" fmla="*/ 9902 h 10000"/>
                <a:gd name="connsiteX40" fmla="*/ 855 w 10000"/>
                <a:gd name="connsiteY40" fmla="*/ 9908 h 10000"/>
                <a:gd name="connsiteX41" fmla="*/ 824 w 10000"/>
                <a:gd name="connsiteY41" fmla="*/ 9945 h 10000"/>
                <a:gd name="connsiteX42" fmla="*/ 1036 w 10000"/>
                <a:gd name="connsiteY42" fmla="*/ 9949 h 10000"/>
                <a:gd name="connsiteX43" fmla="*/ 1223 w 10000"/>
                <a:gd name="connsiteY43" fmla="*/ 9986 h 10000"/>
                <a:gd name="connsiteX44" fmla="*/ 1533 w 10000"/>
                <a:gd name="connsiteY44" fmla="*/ 9947 h 10000"/>
                <a:gd name="connsiteX45" fmla="*/ 1811 w 10000"/>
                <a:gd name="connsiteY45" fmla="*/ 9953 h 10000"/>
                <a:gd name="connsiteX46" fmla="*/ 1977 w 10000"/>
                <a:gd name="connsiteY46" fmla="*/ 10000 h 10000"/>
                <a:gd name="connsiteX47" fmla="*/ 2066 w 10000"/>
                <a:gd name="connsiteY47" fmla="*/ 9969 h 10000"/>
                <a:gd name="connsiteX48" fmla="*/ 2153 w 10000"/>
                <a:gd name="connsiteY48" fmla="*/ 9868 h 10000"/>
                <a:gd name="connsiteX49" fmla="*/ 2131 w 10000"/>
                <a:gd name="connsiteY49" fmla="*/ 9703 h 10000"/>
                <a:gd name="connsiteX50" fmla="*/ 2344 w 10000"/>
                <a:gd name="connsiteY50" fmla="*/ 9517 h 10000"/>
                <a:gd name="connsiteX51" fmla="*/ 2499 w 10000"/>
                <a:gd name="connsiteY51" fmla="*/ 9546 h 10000"/>
                <a:gd name="connsiteX52" fmla="*/ 2588 w 10000"/>
                <a:gd name="connsiteY52" fmla="*/ 9472 h 10000"/>
                <a:gd name="connsiteX53" fmla="*/ 2760 w 10000"/>
                <a:gd name="connsiteY53" fmla="*/ 9430 h 10000"/>
                <a:gd name="connsiteX54" fmla="*/ 2995 w 10000"/>
                <a:gd name="connsiteY54" fmla="*/ 9440 h 10000"/>
                <a:gd name="connsiteX55" fmla="*/ 3137 w 10000"/>
                <a:gd name="connsiteY55" fmla="*/ 9470 h 10000"/>
                <a:gd name="connsiteX56" fmla="*/ 3324 w 10000"/>
                <a:gd name="connsiteY56" fmla="*/ 9456 h 10000"/>
                <a:gd name="connsiteX57" fmla="*/ 3514 w 10000"/>
                <a:gd name="connsiteY57" fmla="*/ 9489 h 10000"/>
                <a:gd name="connsiteX58" fmla="*/ 3704 w 10000"/>
                <a:gd name="connsiteY58" fmla="*/ 9493 h 10000"/>
                <a:gd name="connsiteX59" fmla="*/ 4129 w 10000"/>
                <a:gd name="connsiteY59" fmla="*/ 9061 h 10000"/>
                <a:gd name="connsiteX60" fmla="*/ 4236 w 10000"/>
                <a:gd name="connsiteY60" fmla="*/ 8711 h 10000"/>
                <a:gd name="connsiteX61" fmla="*/ 4409 w 10000"/>
                <a:gd name="connsiteY61" fmla="*/ 8554 h 10000"/>
                <a:gd name="connsiteX62" fmla="*/ 4409 w 10000"/>
                <a:gd name="connsiteY62" fmla="*/ 8472 h 10000"/>
                <a:gd name="connsiteX63" fmla="*/ 4347 w 10000"/>
                <a:gd name="connsiteY63" fmla="*/ 8425 h 10000"/>
                <a:gd name="connsiteX64" fmla="*/ 4449 w 10000"/>
                <a:gd name="connsiteY64" fmla="*/ 8352 h 10000"/>
                <a:gd name="connsiteX65" fmla="*/ 4430 w 10000"/>
                <a:gd name="connsiteY65" fmla="*/ 8289 h 10000"/>
                <a:gd name="connsiteX66" fmla="*/ 4360 w 10000"/>
                <a:gd name="connsiteY66" fmla="*/ 8236 h 10000"/>
                <a:gd name="connsiteX67" fmla="*/ 4347 w 10000"/>
                <a:gd name="connsiteY67" fmla="*/ 8199 h 10000"/>
                <a:gd name="connsiteX68" fmla="*/ 4364 w 10000"/>
                <a:gd name="connsiteY68" fmla="*/ 8169 h 10000"/>
                <a:gd name="connsiteX69" fmla="*/ 4458 w 10000"/>
                <a:gd name="connsiteY69" fmla="*/ 8193 h 10000"/>
                <a:gd name="connsiteX70" fmla="*/ 4533 w 10000"/>
                <a:gd name="connsiteY70" fmla="*/ 8191 h 10000"/>
                <a:gd name="connsiteX71" fmla="*/ 4492 w 10000"/>
                <a:gd name="connsiteY71" fmla="*/ 8140 h 10000"/>
                <a:gd name="connsiteX72" fmla="*/ 4505 w 10000"/>
                <a:gd name="connsiteY72" fmla="*/ 8112 h 10000"/>
                <a:gd name="connsiteX73" fmla="*/ 4559 w 10000"/>
                <a:gd name="connsiteY73" fmla="*/ 8069 h 10000"/>
                <a:gd name="connsiteX74" fmla="*/ 4550 w 10000"/>
                <a:gd name="connsiteY74" fmla="*/ 8034 h 10000"/>
                <a:gd name="connsiteX75" fmla="*/ 4600 w 10000"/>
                <a:gd name="connsiteY75" fmla="*/ 7916 h 10000"/>
                <a:gd name="connsiteX76" fmla="*/ 4587 w 10000"/>
                <a:gd name="connsiteY76" fmla="*/ 7881 h 10000"/>
                <a:gd name="connsiteX77" fmla="*/ 4329 w 10000"/>
                <a:gd name="connsiteY77" fmla="*/ 7792 h 10000"/>
                <a:gd name="connsiteX78" fmla="*/ 4364 w 10000"/>
                <a:gd name="connsiteY78" fmla="*/ 7788 h 10000"/>
                <a:gd name="connsiteX79" fmla="*/ 4501 w 10000"/>
                <a:gd name="connsiteY79" fmla="*/ 7812 h 10000"/>
                <a:gd name="connsiteX80" fmla="*/ 4648 w 10000"/>
                <a:gd name="connsiteY80" fmla="*/ 7804 h 10000"/>
                <a:gd name="connsiteX81" fmla="*/ 4692 w 10000"/>
                <a:gd name="connsiteY81" fmla="*/ 7771 h 10000"/>
                <a:gd name="connsiteX82" fmla="*/ 4550 w 10000"/>
                <a:gd name="connsiteY82" fmla="*/ 7710 h 10000"/>
                <a:gd name="connsiteX83" fmla="*/ 4125 w 10000"/>
                <a:gd name="connsiteY83" fmla="*/ 7670 h 10000"/>
                <a:gd name="connsiteX84" fmla="*/ 4155 w 10000"/>
                <a:gd name="connsiteY84" fmla="*/ 7651 h 10000"/>
                <a:gd name="connsiteX85" fmla="*/ 4501 w 10000"/>
                <a:gd name="connsiteY85" fmla="*/ 7639 h 10000"/>
                <a:gd name="connsiteX86" fmla="*/ 4692 w 10000"/>
                <a:gd name="connsiteY86" fmla="*/ 7676 h 10000"/>
                <a:gd name="connsiteX87" fmla="*/ 4803 w 10000"/>
                <a:gd name="connsiteY87" fmla="*/ 7651 h 10000"/>
                <a:gd name="connsiteX88" fmla="*/ 4843 w 10000"/>
                <a:gd name="connsiteY88" fmla="*/ 7588 h 10000"/>
                <a:gd name="connsiteX89" fmla="*/ 5042 w 10000"/>
                <a:gd name="connsiteY89" fmla="*/ 7588 h 10000"/>
                <a:gd name="connsiteX90" fmla="*/ 5313 w 10000"/>
                <a:gd name="connsiteY90" fmla="*/ 7462 h 10000"/>
                <a:gd name="connsiteX91" fmla="*/ 5322 w 10000"/>
                <a:gd name="connsiteY91" fmla="*/ 7378 h 10000"/>
                <a:gd name="connsiteX92" fmla="*/ 5436 w 10000"/>
                <a:gd name="connsiteY92" fmla="*/ 7397 h 10000"/>
                <a:gd name="connsiteX93" fmla="*/ 5432 w 10000"/>
                <a:gd name="connsiteY93" fmla="*/ 7482 h 10000"/>
                <a:gd name="connsiteX94" fmla="*/ 5614 w 10000"/>
                <a:gd name="connsiteY94" fmla="*/ 7476 h 10000"/>
                <a:gd name="connsiteX95" fmla="*/ 5733 w 10000"/>
                <a:gd name="connsiteY95" fmla="*/ 7388 h 10000"/>
                <a:gd name="connsiteX96" fmla="*/ 5956 w 10000"/>
                <a:gd name="connsiteY96" fmla="*/ 7309 h 10000"/>
                <a:gd name="connsiteX97" fmla="*/ 5919 w 10000"/>
                <a:gd name="connsiteY97" fmla="*/ 7219 h 10000"/>
                <a:gd name="connsiteX98" fmla="*/ 5986 w 10000"/>
                <a:gd name="connsiteY98" fmla="*/ 7254 h 10000"/>
                <a:gd name="connsiteX99" fmla="*/ 6088 w 10000"/>
                <a:gd name="connsiteY99" fmla="*/ 7254 h 10000"/>
                <a:gd name="connsiteX100" fmla="*/ 6088 w 10000"/>
                <a:gd name="connsiteY100" fmla="*/ 7213 h 10000"/>
                <a:gd name="connsiteX101" fmla="*/ 6181 w 10000"/>
                <a:gd name="connsiteY101" fmla="*/ 7181 h 10000"/>
                <a:gd name="connsiteX102" fmla="*/ 6168 w 10000"/>
                <a:gd name="connsiteY102" fmla="*/ 7148 h 10000"/>
                <a:gd name="connsiteX103" fmla="*/ 5371 w 10000"/>
                <a:gd name="connsiteY103" fmla="*/ 7215 h 10000"/>
                <a:gd name="connsiteX104" fmla="*/ 5184 w 10000"/>
                <a:gd name="connsiteY104" fmla="*/ 7195 h 10000"/>
                <a:gd name="connsiteX105" fmla="*/ 5109 w 10000"/>
                <a:gd name="connsiteY105" fmla="*/ 7219 h 10000"/>
                <a:gd name="connsiteX106" fmla="*/ 5083 w 10000"/>
                <a:gd name="connsiteY106" fmla="*/ 7173 h 10000"/>
                <a:gd name="connsiteX107" fmla="*/ 4994 w 10000"/>
                <a:gd name="connsiteY107" fmla="*/ 7132 h 10000"/>
                <a:gd name="connsiteX108" fmla="*/ 4639 w 10000"/>
                <a:gd name="connsiteY108" fmla="*/ 7052 h 10000"/>
                <a:gd name="connsiteX109" fmla="*/ 4430 w 10000"/>
                <a:gd name="connsiteY109" fmla="*/ 7065 h 10000"/>
                <a:gd name="connsiteX110" fmla="*/ 4347 w 10000"/>
                <a:gd name="connsiteY110" fmla="*/ 7042 h 10000"/>
                <a:gd name="connsiteX111" fmla="*/ 4435 w 10000"/>
                <a:gd name="connsiteY111" fmla="*/ 7022 h 10000"/>
                <a:gd name="connsiteX112" fmla="*/ 4501 w 10000"/>
                <a:gd name="connsiteY112" fmla="*/ 6979 h 10000"/>
                <a:gd name="connsiteX113" fmla="*/ 4600 w 10000"/>
                <a:gd name="connsiteY113" fmla="*/ 6993 h 10000"/>
                <a:gd name="connsiteX114" fmla="*/ 4719 w 10000"/>
                <a:gd name="connsiteY114" fmla="*/ 6981 h 10000"/>
                <a:gd name="connsiteX115" fmla="*/ 4896 w 10000"/>
                <a:gd name="connsiteY115" fmla="*/ 6995 h 10000"/>
                <a:gd name="connsiteX116" fmla="*/ 4917 w 10000"/>
                <a:gd name="connsiteY116" fmla="*/ 6989 h 10000"/>
                <a:gd name="connsiteX117" fmla="*/ 5056 w 10000"/>
                <a:gd name="connsiteY117" fmla="*/ 7056 h 10000"/>
                <a:gd name="connsiteX118" fmla="*/ 5158 w 10000"/>
                <a:gd name="connsiteY118" fmla="*/ 7032 h 10000"/>
                <a:gd name="connsiteX119" fmla="*/ 5166 w 10000"/>
                <a:gd name="connsiteY119" fmla="*/ 7010 h 10000"/>
                <a:gd name="connsiteX120" fmla="*/ 5259 w 10000"/>
                <a:gd name="connsiteY120" fmla="*/ 7048 h 10000"/>
                <a:gd name="connsiteX121" fmla="*/ 5384 w 10000"/>
                <a:gd name="connsiteY121" fmla="*/ 7069 h 10000"/>
                <a:gd name="connsiteX122" fmla="*/ 5432 w 10000"/>
                <a:gd name="connsiteY122" fmla="*/ 7030 h 10000"/>
                <a:gd name="connsiteX123" fmla="*/ 5472 w 10000"/>
                <a:gd name="connsiteY123" fmla="*/ 7052 h 10000"/>
                <a:gd name="connsiteX124" fmla="*/ 5529 w 10000"/>
                <a:gd name="connsiteY124" fmla="*/ 7126 h 10000"/>
                <a:gd name="connsiteX125" fmla="*/ 5649 w 10000"/>
                <a:gd name="connsiteY125" fmla="*/ 7144 h 10000"/>
                <a:gd name="connsiteX126" fmla="*/ 6137 w 10000"/>
                <a:gd name="connsiteY126" fmla="*/ 7034 h 10000"/>
                <a:gd name="connsiteX127" fmla="*/ 6376 w 10000"/>
                <a:gd name="connsiteY127" fmla="*/ 6879 h 10000"/>
                <a:gd name="connsiteX128" fmla="*/ 6433 w 10000"/>
                <a:gd name="connsiteY128" fmla="*/ 6765 h 10000"/>
                <a:gd name="connsiteX129" fmla="*/ 6346 w 10000"/>
                <a:gd name="connsiteY129" fmla="*/ 6663 h 10000"/>
                <a:gd name="connsiteX130" fmla="*/ 6163 w 10000"/>
                <a:gd name="connsiteY130" fmla="*/ 6602 h 10000"/>
                <a:gd name="connsiteX131" fmla="*/ 6034 w 10000"/>
                <a:gd name="connsiteY131" fmla="*/ 6502 h 10000"/>
                <a:gd name="connsiteX132" fmla="*/ 6155 w 10000"/>
                <a:gd name="connsiteY132" fmla="*/ 6498 h 10000"/>
                <a:gd name="connsiteX133" fmla="*/ 6146 w 10000"/>
                <a:gd name="connsiteY133" fmla="*/ 6474 h 10000"/>
                <a:gd name="connsiteX134" fmla="*/ 5832 w 10000"/>
                <a:gd name="connsiteY134" fmla="*/ 6403 h 10000"/>
                <a:gd name="connsiteX135" fmla="*/ 5819 w 10000"/>
                <a:gd name="connsiteY135" fmla="*/ 6339 h 10000"/>
                <a:gd name="connsiteX136" fmla="*/ 5760 w 10000"/>
                <a:gd name="connsiteY136" fmla="*/ 6272 h 10000"/>
                <a:gd name="connsiteX137" fmla="*/ 5511 w 10000"/>
                <a:gd name="connsiteY137" fmla="*/ 6284 h 10000"/>
                <a:gd name="connsiteX138" fmla="*/ 5423 w 10000"/>
                <a:gd name="connsiteY138" fmla="*/ 6213 h 10000"/>
                <a:gd name="connsiteX139" fmla="*/ 5371 w 10000"/>
                <a:gd name="connsiteY139" fmla="*/ 6209 h 10000"/>
                <a:gd name="connsiteX140" fmla="*/ 5371 w 10000"/>
                <a:gd name="connsiteY140" fmla="*/ 6238 h 10000"/>
                <a:gd name="connsiteX141" fmla="*/ 5259 w 10000"/>
                <a:gd name="connsiteY141" fmla="*/ 6358 h 10000"/>
                <a:gd name="connsiteX142" fmla="*/ 5139 w 10000"/>
                <a:gd name="connsiteY142" fmla="*/ 6429 h 10000"/>
                <a:gd name="connsiteX143" fmla="*/ 4762 w 10000"/>
                <a:gd name="connsiteY143" fmla="*/ 6551 h 10000"/>
                <a:gd name="connsiteX144" fmla="*/ 4630 w 10000"/>
                <a:gd name="connsiteY144" fmla="*/ 6547 h 10000"/>
                <a:gd name="connsiteX145" fmla="*/ 4449 w 10000"/>
                <a:gd name="connsiteY145" fmla="*/ 6565 h 10000"/>
                <a:gd name="connsiteX146" fmla="*/ 4347 w 10000"/>
                <a:gd name="connsiteY146" fmla="*/ 6547 h 10000"/>
                <a:gd name="connsiteX147" fmla="*/ 4479 w 10000"/>
                <a:gd name="connsiteY147" fmla="*/ 6513 h 10000"/>
                <a:gd name="connsiteX148" fmla="*/ 4652 w 10000"/>
                <a:gd name="connsiteY148" fmla="*/ 6498 h 10000"/>
                <a:gd name="connsiteX149" fmla="*/ 4795 w 10000"/>
                <a:gd name="connsiteY149" fmla="*/ 6441 h 10000"/>
                <a:gd name="connsiteX150" fmla="*/ 4935 w 10000"/>
                <a:gd name="connsiteY150" fmla="*/ 6415 h 10000"/>
                <a:gd name="connsiteX151" fmla="*/ 5198 w 10000"/>
                <a:gd name="connsiteY151" fmla="*/ 6317 h 10000"/>
                <a:gd name="connsiteX152" fmla="*/ 5246 w 10000"/>
                <a:gd name="connsiteY152" fmla="*/ 6252 h 10000"/>
                <a:gd name="connsiteX153" fmla="*/ 5250 w 10000"/>
                <a:gd name="connsiteY153" fmla="*/ 6168 h 10000"/>
                <a:gd name="connsiteX154" fmla="*/ 5131 w 10000"/>
                <a:gd name="connsiteY154" fmla="*/ 6154 h 10000"/>
                <a:gd name="connsiteX155" fmla="*/ 5184 w 10000"/>
                <a:gd name="connsiteY155" fmla="*/ 6103 h 10000"/>
                <a:gd name="connsiteX156" fmla="*/ 5202 w 10000"/>
                <a:gd name="connsiteY156" fmla="*/ 6038 h 10000"/>
                <a:gd name="connsiteX157" fmla="*/ 5152 w 10000"/>
                <a:gd name="connsiteY157" fmla="*/ 5977 h 10000"/>
                <a:gd name="connsiteX158" fmla="*/ 5122 w 10000"/>
                <a:gd name="connsiteY158" fmla="*/ 5533 h 10000"/>
                <a:gd name="connsiteX159" fmla="*/ 5194 w 10000"/>
                <a:gd name="connsiteY159" fmla="*/ 5437 h 10000"/>
                <a:gd name="connsiteX160" fmla="*/ 5175 w 10000"/>
                <a:gd name="connsiteY160" fmla="*/ 5398 h 10000"/>
                <a:gd name="connsiteX161" fmla="*/ 5384 w 10000"/>
                <a:gd name="connsiteY161" fmla="*/ 5455 h 10000"/>
                <a:gd name="connsiteX162" fmla="*/ 5397 w 10000"/>
                <a:gd name="connsiteY162" fmla="*/ 5402 h 10000"/>
                <a:gd name="connsiteX163" fmla="*/ 5353 w 10000"/>
                <a:gd name="connsiteY163" fmla="*/ 5264 h 10000"/>
                <a:gd name="connsiteX164" fmla="*/ 5502 w 10000"/>
                <a:gd name="connsiteY164" fmla="*/ 5019 h 10000"/>
                <a:gd name="connsiteX165" fmla="*/ 5410 w 10000"/>
                <a:gd name="connsiteY165" fmla="*/ 4960 h 10000"/>
                <a:gd name="connsiteX166" fmla="*/ 5375 w 10000"/>
                <a:gd name="connsiteY166" fmla="*/ 4905 h 10000"/>
                <a:gd name="connsiteX167" fmla="*/ 5388 w 10000"/>
                <a:gd name="connsiteY167" fmla="*/ 4816 h 10000"/>
                <a:gd name="connsiteX168" fmla="*/ 5606 w 10000"/>
                <a:gd name="connsiteY168" fmla="*/ 4875 h 10000"/>
                <a:gd name="connsiteX169" fmla="*/ 5614 w 10000"/>
                <a:gd name="connsiteY169" fmla="*/ 4858 h 10000"/>
                <a:gd name="connsiteX170" fmla="*/ 5675 w 10000"/>
                <a:gd name="connsiteY170" fmla="*/ 4842 h 10000"/>
                <a:gd name="connsiteX171" fmla="*/ 5760 w 10000"/>
                <a:gd name="connsiteY171" fmla="*/ 4785 h 10000"/>
                <a:gd name="connsiteX172" fmla="*/ 5773 w 10000"/>
                <a:gd name="connsiteY172" fmla="*/ 4769 h 10000"/>
                <a:gd name="connsiteX173" fmla="*/ 5756 w 10000"/>
                <a:gd name="connsiteY173" fmla="*/ 4748 h 10000"/>
                <a:gd name="connsiteX174" fmla="*/ 5799 w 10000"/>
                <a:gd name="connsiteY174" fmla="*/ 4647 h 10000"/>
                <a:gd name="connsiteX175" fmla="*/ 5747 w 10000"/>
                <a:gd name="connsiteY175" fmla="*/ 4581 h 10000"/>
                <a:gd name="connsiteX176" fmla="*/ 5756 w 10000"/>
                <a:gd name="connsiteY176" fmla="*/ 4528 h 10000"/>
                <a:gd name="connsiteX177" fmla="*/ 5786 w 10000"/>
                <a:gd name="connsiteY177" fmla="*/ 4590 h 10000"/>
                <a:gd name="connsiteX178" fmla="*/ 5906 w 10000"/>
                <a:gd name="connsiteY178" fmla="*/ 4636 h 10000"/>
                <a:gd name="connsiteX179" fmla="*/ 5956 w 10000"/>
                <a:gd name="connsiteY179" fmla="*/ 4630 h 10000"/>
                <a:gd name="connsiteX180" fmla="*/ 6034 w 10000"/>
                <a:gd name="connsiteY180" fmla="*/ 4569 h 10000"/>
                <a:gd name="connsiteX181" fmla="*/ 6119 w 10000"/>
                <a:gd name="connsiteY181" fmla="*/ 4594 h 10000"/>
                <a:gd name="connsiteX182" fmla="*/ 6142 w 10000"/>
                <a:gd name="connsiteY182" fmla="*/ 4545 h 10000"/>
                <a:gd name="connsiteX183" fmla="*/ 6199 w 10000"/>
                <a:gd name="connsiteY183" fmla="*/ 4512 h 10000"/>
                <a:gd name="connsiteX184" fmla="*/ 6043 w 10000"/>
                <a:gd name="connsiteY184" fmla="*/ 4477 h 10000"/>
                <a:gd name="connsiteX185" fmla="*/ 6155 w 10000"/>
                <a:gd name="connsiteY185" fmla="*/ 4484 h 10000"/>
                <a:gd name="connsiteX186" fmla="*/ 6269 w 10000"/>
                <a:gd name="connsiteY186" fmla="*/ 4447 h 10000"/>
                <a:gd name="connsiteX187" fmla="*/ 6265 w 10000"/>
                <a:gd name="connsiteY187" fmla="*/ 4422 h 10000"/>
                <a:gd name="connsiteX188" fmla="*/ 6372 w 10000"/>
                <a:gd name="connsiteY188" fmla="*/ 4398 h 10000"/>
                <a:gd name="connsiteX189" fmla="*/ 6381 w 10000"/>
                <a:gd name="connsiteY189" fmla="*/ 4337 h 10000"/>
                <a:gd name="connsiteX190" fmla="*/ 6465 w 10000"/>
                <a:gd name="connsiteY190" fmla="*/ 4325 h 10000"/>
                <a:gd name="connsiteX191" fmla="*/ 6473 w 10000"/>
                <a:gd name="connsiteY191" fmla="*/ 4253 h 10000"/>
                <a:gd name="connsiteX192" fmla="*/ 6561 w 10000"/>
                <a:gd name="connsiteY192" fmla="*/ 4245 h 10000"/>
                <a:gd name="connsiteX193" fmla="*/ 6699 w 10000"/>
                <a:gd name="connsiteY193" fmla="*/ 4260 h 10000"/>
                <a:gd name="connsiteX194" fmla="*/ 6849 w 10000"/>
                <a:gd name="connsiteY194" fmla="*/ 4202 h 10000"/>
                <a:gd name="connsiteX195" fmla="*/ 6903 w 10000"/>
                <a:gd name="connsiteY195" fmla="*/ 4137 h 10000"/>
                <a:gd name="connsiteX196" fmla="*/ 7089 w 10000"/>
                <a:gd name="connsiteY196" fmla="*/ 4070 h 10000"/>
                <a:gd name="connsiteX197" fmla="*/ 7182 w 10000"/>
                <a:gd name="connsiteY197" fmla="*/ 4111 h 10000"/>
                <a:gd name="connsiteX198" fmla="*/ 7324 w 10000"/>
                <a:gd name="connsiteY198" fmla="*/ 4066 h 10000"/>
                <a:gd name="connsiteX199" fmla="*/ 7359 w 10000"/>
                <a:gd name="connsiteY199" fmla="*/ 4009 h 10000"/>
                <a:gd name="connsiteX200" fmla="*/ 7466 w 10000"/>
                <a:gd name="connsiteY200" fmla="*/ 3970 h 10000"/>
                <a:gd name="connsiteX201" fmla="*/ 7558 w 10000"/>
                <a:gd name="connsiteY201" fmla="*/ 3987 h 10000"/>
                <a:gd name="connsiteX202" fmla="*/ 7616 w 10000"/>
                <a:gd name="connsiteY202" fmla="*/ 3958 h 10000"/>
                <a:gd name="connsiteX203" fmla="*/ 7776 w 10000"/>
                <a:gd name="connsiteY203" fmla="*/ 3917 h 10000"/>
                <a:gd name="connsiteX204" fmla="*/ 7842 w 10000"/>
                <a:gd name="connsiteY204" fmla="*/ 3864 h 10000"/>
                <a:gd name="connsiteX205" fmla="*/ 7931 w 10000"/>
                <a:gd name="connsiteY205" fmla="*/ 3842 h 10000"/>
                <a:gd name="connsiteX206" fmla="*/ 8423 w 10000"/>
                <a:gd name="connsiteY206" fmla="*/ 3522 h 10000"/>
                <a:gd name="connsiteX207" fmla="*/ 9911 w 10000"/>
                <a:gd name="connsiteY207" fmla="*/ 1897 h 10000"/>
                <a:gd name="connsiteX208" fmla="*/ 10000 w 10000"/>
                <a:gd name="connsiteY208" fmla="*/ 1819 h 10000"/>
                <a:gd name="connsiteX209" fmla="*/ 10000 w 10000"/>
                <a:gd name="connsiteY209" fmla="*/ 1699 h 10000"/>
                <a:gd name="connsiteX210" fmla="*/ 9722 w 10000"/>
                <a:gd name="connsiteY210" fmla="*/ 1465 h 10000"/>
                <a:gd name="connsiteX211" fmla="*/ 9676 w 10000"/>
                <a:gd name="connsiteY211" fmla="*/ 1379 h 10000"/>
                <a:gd name="connsiteX212" fmla="*/ 9739 w 10000"/>
                <a:gd name="connsiteY212" fmla="*/ 1271 h 10000"/>
                <a:gd name="connsiteX213" fmla="*/ 9709 w 10000"/>
                <a:gd name="connsiteY213" fmla="*/ 1194 h 10000"/>
                <a:gd name="connsiteX214" fmla="*/ 9650 w 10000"/>
                <a:gd name="connsiteY214" fmla="*/ 1159 h 10000"/>
                <a:gd name="connsiteX215" fmla="*/ 9601 w 10000"/>
                <a:gd name="connsiteY215" fmla="*/ 978 h 10000"/>
                <a:gd name="connsiteX216" fmla="*/ 9659 w 10000"/>
                <a:gd name="connsiteY216" fmla="*/ 831 h 10000"/>
                <a:gd name="connsiteX217" fmla="*/ 9234 w 10000"/>
                <a:gd name="connsiteY217" fmla="*/ 517 h 10000"/>
                <a:gd name="connsiteX218" fmla="*/ 9025 w 10000"/>
                <a:gd name="connsiteY218" fmla="*/ 440 h 10000"/>
                <a:gd name="connsiteX219" fmla="*/ 8639 w 10000"/>
                <a:gd name="connsiteY219" fmla="*/ 389 h 10000"/>
                <a:gd name="connsiteX220" fmla="*/ 7842 w 10000"/>
                <a:gd name="connsiteY220" fmla="*/ 26 h 10000"/>
                <a:gd name="connsiteX221" fmla="*/ 7816 w 10000"/>
                <a:gd name="connsiteY221" fmla="*/ 2 h 10000"/>
                <a:gd name="connsiteX222" fmla="*/ 7545 w 10000"/>
                <a:gd name="connsiteY222" fmla="*/ 0 h 10000"/>
                <a:gd name="connsiteX223" fmla="*/ 7483 w 10000"/>
                <a:gd name="connsiteY223" fmla="*/ 14 h 10000"/>
                <a:gd name="connsiteX224" fmla="*/ 7497 w 10000"/>
                <a:gd name="connsiteY224" fmla="*/ 61 h 10000"/>
                <a:gd name="connsiteX225" fmla="*/ 7550 w 10000"/>
                <a:gd name="connsiteY225" fmla="*/ 86 h 10000"/>
                <a:gd name="connsiteX226" fmla="*/ 7564 w 10000"/>
                <a:gd name="connsiteY226" fmla="*/ 139 h 10000"/>
                <a:gd name="connsiteX227" fmla="*/ 7545 w 10000"/>
                <a:gd name="connsiteY227" fmla="*/ 181 h 10000"/>
                <a:gd name="connsiteX228" fmla="*/ 7497 w 10000"/>
                <a:gd name="connsiteY228" fmla="*/ 208 h 10000"/>
                <a:gd name="connsiteX229" fmla="*/ 7461 w 10000"/>
                <a:gd name="connsiteY229" fmla="*/ 283 h 10000"/>
                <a:gd name="connsiteX230" fmla="*/ 7395 w 10000"/>
                <a:gd name="connsiteY230" fmla="*/ 336 h 10000"/>
                <a:gd name="connsiteX231" fmla="*/ 7408 w 10000"/>
                <a:gd name="connsiteY231" fmla="*/ 387 h 10000"/>
                <a:gd name="connsiteX232" fmla="*/ 7510 w 10000"/>
                <a:gd name="connsiteY232" fmla="*/ 434 h 10000"/>
                <a:gd name="connsiteX233" fmla="*/ 7444 w 10000"/>
                <a:gd name="connsiteY233" fmla="*/ 475 h 10000"/>
                <a:gd name="connsiteX234" fmla="*/ 7346 w 10000"/>
                <a:gd name="connsiteY234" fmla="*/ 485 h 10000"/>
                <a:gd name="connsiteX235" fmla="*/ 6531 w 10000"/>
                <a:gd name="connsiteY235" fmla="*/ 387 h 10000"/>
                <a:gd name="connsiteX236" fmla="*/ 6433 w 10000"/>
                <a:gd name="connsiteY236" fmla="*/ 395 h 10000"/>
                <a:gd name="connsiteX237" fmla="*/ 6376 w 10000"/>
                <a:gd name="connsiteY237" fmla="*/ 414 h 10000"/>
                <a:gd name="connsiteX238" fmla="*/ 6318 w 10000"/>
                <a:gd name="connsiteY238" fmla="*/ 462 h 10000"/>
                <a:gd name="connsiteX239" fmla="*/ 6328 w 10000"/>
                <a:gd name="connsiteY239" fmla="*/ 581 h 10000"/>
                <a:gd name="connsiteX240" fmla="*/ 6238 w 10000"/>
                <a:gd name="connsiteY240" fmla="*/ 735 h 10000"/>
                <a:gd name="connsiteX241" fmla="*/ 6128 w 10000"/>
                <a:gd name="connsiteY241" fmla="*/ 815 h 10000"/>
                <a:gd name="connsiteX242" fmla="*/ 6084 w 10000"/>
                <a:gd name="connsiteY242" fmla="*/ 805 h 10000"/>
                <a:gd name="connsiteX243" fmla="*/ 5982 w 10000"/>
                <a:gd name="connsiteY243" fmla="*/ 739 h 10000"/>
                <a:gd name="connsiteX244" fmla="*/ 5853 w 10000"/>
                <a:gd name="connsiteY244" fmla="*/ 705 h 10000"/>
                <a:gd name="connsiteX245" fmla="*/ 5715 w 10000"/>
                <a:gd name="connsiteY245" fmla="*/ 715 h 10000"/>
                <a:gd name="connsiteX246" fmla="*/ 5393 w 10000"/>
                <a:gd name="connsiteY246" fmla="*/ 866 h 10000"/>
                <a:gd name="connsiteX247" fmla="*/ 5308 w 10000"/>
                <a:gd name="connsiteY247" fmla="*/ 1017 h 10000"/>
                <a:gd name="connsiteX248" fmla="*/ 5065 w 10000"/>
                <a:gd name="connsiteY248" fmla="*/ 1153 h 10000"/>
                <a:gd name="connsiteX249" fmla="*/ 5020 w 10000"/>
                <a:gd name="connsiteY249" fmla="*/ 1222 h 10000"/>
                <a:gd name="connsiteX250" fmla="*/ 5148 w 10000"/>
                <a:gd name="connsiteY250" fmla="*/ 1344 h 10000"/>
                <a:gd name="connsiteX251" fmla="*/ 5162 w 10000"/>
                <a:gd name="connsiteY251" fmla="*/ 1412 h 10000"/>
                <a:gd name="connsiteX252" fmla="*/ 4497 w 10000"/>
                <a:gd name="connsiteY252" fmla="*/ 1813 h 10000"/>
                <a:gd name="connsiteX253" fmla="*/ 4293 w 10000"/>
                <a:gd name="connsiteY253" fmla="*/ 2070 h 10000"/>
                <a:gd name="connsiteX254" fmla="*/ 4073 w 10000"/>
                <a:gd name="connsiteY254" fmla="*/ 2135 h 10000"/>
                <a:gd name="connsiteX255" fmla="*/ 3934 w 10000"/>
                <a:gd name="connsiteY255" fmla="*/ 2131 h 10000"/>
                <a:gd name="connsiteX256" fmla="*/ 3851 w 10000"/>
                <a:gd name="connsiteY256" fmla="*/ 2153 h 10000"/>
                <a:gd name="connsiteX257" fmla="*/ 3620 w 10000"/>
                <a:gd name="connsiteY257" fmla="*/ 2793 h 10000"/>
                <a:gd name="connsiteX258" fmla="*/ 3089 w 10000"/>
                <a:gd name="connsiteY258" fmla="*/ 3166 h 10000"/>
                <a:gd name="connsiteX259" fmla="*/ 3093 w 10000"/>
                <a:gd name="connsiteY259" fmla="*/ 3225 h 10000"/>
                <a:gd name="connsiteX260" fmla="*/ 3328 w 10000"/>
                <a:gd name="connsiteY260" fmla="*/ 3392 h 10000"/>
                <a:gd name="connsiteX261" fmla="*/ 3253 w 10000"/>
                <a:gd name="connsiteY261" fmla="*/ 3573 h 10000"/>
                <a:gd name="connsiteX262" fmla="*/ 3115 w 10000"/>
                <a:gd name="connsiteY262" fmla="*/ 3640 h 10000"/>
                <a:gd name="connsiteX263" fmla="*/ 2703 w 10000"/>
                <a:gd name="connsiteY263" fmla="*/ 3595 h 10000"/>
                <a:gd name="connsiteX264" fmla="*/ 2418 w 10000"/>
                <a:gd name="connsiteY264" fmla="*/ 3620 h 10000"/>
                <a:gd name="connsiteX265" fmla="*/ 2189 w 10000"/>
                <a:gd name="connsiteY265" fmla="*/ 3673 h 10000"/>
                <a:gd name="connsiteX266" fmla="*/ 1821 w 10000"/>
                <a:gd name="connsiteY266" fmla="*/ 3840 h 10000"/>
                <a:gd name="connsiteX267" fmla="*/ 1625 w 10000"/>
                <a:gd name="connsiteY267" fmla="*/ 4042 h 10000"/>
                <a:gd name="connsiteX268" fmla="*/ 1643 w 10000"/>
                <a:gd name="connsiteY268" fmla="*/ 4154 h 10000"/>
                <a:gd name="connsiteX269" fmla="*/ 1711 w 10000"/>
                <a:gd name="connsiteY269" fmla="*/ 4241 h 10000"/>
                <a:gd name="connsiteX270" fmla="*/ 1763 w 10000"/>
                <a:gd name="connsiteY270" fmla="*/ 4276 h 10000"/>
                <a:gd name="connsiteX271" fmla="*/ 1666 w 10000"/>
                <a:gd name="connsiteY271" fmla="*/ 4331 h 10000"/>
                <a:gd name="connsiteX272" fmla="*/ 1458 w 10000"/>
                <a:gd name="connsiteY272" fmla="*/ 4710 h 10000"/>
                <a:gd name="connsiteX273" fmla="*/ 1498 w 10000"/>
                <a:gd name="connsiteY273" fmla="*/ 4732 h 10000"/>
                <a:gd name="connsiteX274" fmla="*/ 1529 w 10000"/>
                <a:gd name="connsiteY274" fmla="*/ 4828 h 10000"/>
                <a:gd name="connsiteX275" fmla="*/ 1431 w 10000"/>
                <a:gd name="connsiteY275" fmla="*/ 5227 h 10000"/>
                <a:gd name="connsiteX276" fmla="*/ 1529 w 10000"/>
                <a:gd name="connsiteY276" fmla="*/ 5329 h 10000"/>
                <a:gd name="connsiteX277" fmla="*/ 1794 w 10000"/>
                <a:gd name="connsiteY277" fmla="*/ 5441 h 10000"/>
                <a:gd name="connsiteX278" fmla="*/ 1807 w 10000"/>
                <a:gd name="connsiteY278" fmla="*/ 5578 h 10000"/>
                <a:gd name="connsiteX279" fmla="*/ 1694 w 10000"/>
                <a:gd name="connsiteY279" fmla="*/ 5690 h 10000"/>
                <a:gd name="connsiteX280" fmla="*/ 1529 w 10000"/>
                <a:gd name="connsiteY280" fmla="*/ 5759 h 10000"/>
                <a:gd name="connsiteX281" fmla="*/ 1311 w 10000"/>
                <a:gd name="connsiteY281" fmla="*/ 5787 h 10000"/>
                <a:gd name="connsiteX282" fmla="*/ 1254 w 10000"/>
                <a:gd name="connsiteY282" fmla="*/ 5826 h 10000"/>
                <a:gd name="connsiteX283" fmla="*/ 1382 w 10000"/>
                <a:gd name="connsiteY283" fmla="*/ 5920 h 10000"/>
                <a:gd name="connsiteX284" fmla="*/ 1454 w 10000"/>
                <a:gd name="connsiteY284" fmla="*/ 6142 h 10000"/>
                <a:gd name="connsiteX285" fmla="*/ 1289 w 10000"/>
                <a:gd name="connsiteY285" fmla="*/ 6333 h 10000"/>
                <a:gd name="connsiteX286" fmla="*/ 1347 w 10000"/>
                <a:gd name="connsiteY286" fmla="*/ 6392 h 10000"/>
                <a:gd name="connsiteX287" fmla="*/ 1294 w 10000"/>
                <a:gd name="connsiteY287" fmla="*/ 6492 h 10000"/>
                <a:gd name="connsiteX288" fmla="*/ 1188 w 10000"/>
                <a:gd name="connsiteY288" fmla="*/ 6561 h 10000"/>
                <a:gd name="connsiteX289" fmla="*/ 771 w 10000"/>
                <a:gd name="connsiteY289" fmla="*/ 6614 h 10000"/>
                <a:gd name="connsiteX290" fmla="*/ 745 w 10000"/>
                <a:gd name="connsiteY290" fmla="*/ 6706 h 10000"/>
                <a:gd name="connsiteX291" fmla="*/ 519 w 10000"/>
                <a:gd name="connsiteY291" fmla="*/ 6843 h 10000"/>
                <a:gd name="connsiteX292" fmla="*/ 549 w 10000"/>
                <a:gd name="connsiteY292" fmla="*/ 7040 h 10000"/>
                <a:gd name="connsiteX293" fmla="*/ 359 w 10000"/>
                <a:gd name="connsiteY293" fmla="*/ 7293 h 10000"/>
                <a:gd name="connsiteX294" fmla="*/ 230 w 10000"/>
                <a:gd name="connsiteY294" fmla="*/ 7323 h 10000"/>
                <a:gd name="connsiteX295" fmla="*/ 177 w 10000"/>
                <a:gd name="connsiteY295" fmla="*/ 7262 h 10000"/>
                <a:gd name="connsiteX296" fmla="*/ 111 w 10000"/>
                <a:gd name="connsiteY296" fmla="*/ 7354 h 10000"/>
                <a:gd name="connsiteX297" fmla="*/ 155 w 10000"/>
                <a:gd name="connsiteY297" fmla="*/ 7197 h 10000"/>
                <a:gd name="connsiteX298" fmla="*/ 128 w 10000"/>
                <a:gd name="connsiteY298" fmla="*/ 7166 h 10000"/>
                <a:gd name="connsiteX0" fmla="*/ 128 w 10000"/>
                <a:gd name="connsiteY0" fmla="*/ 7166 h 10000"/>
                <a:gd name="connsiteX1" fmla="*/ 0 w 10000"/>
                <a:gd name="connsiteY1" fmla="*/ 7248 h 10000"/>
                <a:gd name="connsiteX2" fmla="*/ 0 w 10000"/>
                <a:gd name="connsiteY2" fmla="*/ 7651 h 10000"/>
                <a:gd name="connsiteX3" fmla="*/ 71 w 10000"/>
                <a:gd name="connsiteY3" fmla="*/ 7663 h 10000"/>
                <a:gd name="connsiteX4" fmla="*/ 88 w 10000"/>
                <a:gd name="connsiteY4" fmla="*/ 7694 h 10000"/>
                <a:gd name="connsiteX5" fmla="*/ 84 w 10000"/>
                <a:gd name="connsiteY5" fmla="*/ 7749 h 10000"/>
                <a:gd name="connsiteX6" fmla="*/ 57 w 10000"/>
                <a:gd name="connsiteY6" fmla="*/ 7773 h 10000"/>
                <a:gd name="connsiteX7" fmla="*/ 164 w 10000"/>
                <a:gd name="connsiteY7" fmla="*/ 7727 h 10000"/>
                <a:gd name="connsiteX8" fmla="*/ 209 w 10000"/>
                <a:gd name="connsiteY8" fmla="*/ 7680 h 10000"/>
                <a:gd name="connsiteX9" fmla="*/ 265 w 10000"/>
                <a:gd name="connsiteY9" fmla="*/ 7712 h 10000"/>
                <a:gd name="connsiteX10" fmla="*/ 204 w 10000"/>
                <a:gd name="connsiteY10" fmla="*/ 7778 h 10000"/>
                <a:gd name="connsiteX11" fmla="*/ 270 w 10000"/>
                <a:gd name="connsiteY11" fmla="*/ 7780 h 10000"/>
                <a:gd name="connsiteX12" fmla="*/ 301 w 10000"/>
                <a:gd name="connsiteY12" fmla="*/ 7796 h 10000"/>
                <a:gd name="connsiteX13" fmla="*/ 217 w 10000"/>
                <a:gd name="connsiteY13" fmla="*/ 7818 h 10000"/>
                <a:gd name="connsiteX14" fmla="*/ 84 w 10000"/>
                <a:gd name="connsiteY14" fmla="*/ 7886 h 10000"/>
                <a:gd name="connsiteX15" fmla="*/ 320 w 10000"/>
                <a:gd name="connsiteY15" fmla="*/ 7938 h 10000"/>
                <a:gd name="connsiteX16" fmla="*/ 350 w 10000"/>
                <a:gd name="connsiteY16" fmla="*/ 8014 h 10000"/>
                <a:gd name="connsiteX17" fmla="*/ 270 w 10000"/>
                <a:gd name="connsiteY17" fmla="*/ 8126 h 10000"/>
                <a:gd name="connsiteX18" fmla="*/ 444 w 10000"/>
                <a:gd name="connsiteY18" fmla="*/ 8118 h 10000"/>
                <a:gd name="connsiteX19" fmla="*/ 457 w 10000"/>
                <a:gd name="connsiteY19" fmla="*/ 8203 h 10000"/>
                <a:gd name="connsiteX20" fmla="*/ 341 w 10000"/>
                <a:gd name="connsiteY20" fmla="*/ 8260 h 10000"/>
                <a:gd name="connsiteX21" fmla="*/ 359 w 10000"/>
                <a:gd name="connsiteY21" fmla="*/ 8370 h 10000"/>
                <a:gd name="connsiteX22" fmla="*/ 315 w 10000"/>
                <a:gd name="connsiteY22" fmla="*/ 8456 h 10000"/>
                <a:gd name="connsiteX23" fmla="*/ 452 w 10000"/>
                <a:gd name="connsiteY23" fmla="*/ 8464 h 10000"/>
                <a:gd name="connsiteX24" fmla="*/ 585 w 10000"/>
                <a:gd name="connsiteY24" fmla="*/ 8792 h 10000"/>
                <a:gd name="connsiteX25" fmla="*/ 740 w 10000"/>
                <a:gd name="connsiteY25" fmla="*/ 8876 h 10000"/>
                <a:gd name="connsiteX26" fmla="*/ 806 w 10000"/>
                <a:gd name="connsiteY26" fmla="*/ 8965 h 10000"/>
                <a:gd name="connsiteX27" fmla="*/ 975 w 10000"/>
                <a:gd name="connsiteY27" fmla="*/ 9030 h 10000"/>
                <a:gd name="connsiteX28" fmla="*/ 1082 w 10000"/>
                <a:gd name="connsiteY28" fmla="*/ 9112 h 10000"/>
                <a:gd name="connsiteX29" fmla="*/ 1068 w 10000"/>
                <a:gd name="connsiteY29" fmla="*/ 9171 h 10000"/>
                <a:gd name="connsiteX30" fmla="*/ 962 w 10000"/>
                <a:gd name="connsiteY30" fmla="*/ 9193 h 10000"/>
                <a:gd name="connsiteX31" fmla="*/ 846 w 10000"/>
                <a:gd name="connsiteY31" fmla="*/ 9179 h 10000"/>
                <a:gd name="connsiteX32" fmla="*/ 810 w 10000"/>
                <a:gd name="connsiteY32" fmla="*/ 9204 h 10000"/>
                <a:gd name="connsiteX33" fmla="*/ 899 w 10000"/>
                <a:gd name="connsiteY33" fmla="*/ 9332 h 10000"/>
                <a:gd name="connsiteX34" fmla="*/ 775 w 10000"/>
                <a:gd name="connsiteY34" fmla="*/ 9322 h 10000"/>
                <a:gd name="connsiteX35" fmla="*/ 669 w 10000"/>
                <a:gd name="connsiteY35" fmla="*/ 9291 h 10000"/>
                <a:gd name="connsiteX36" fmla="*/ 651 w 10000"/>
                <a:gd name="connsiteY36" fmla="*/ 9338 h 10000"/>
                <a:gd name="connsiteX37" fmla="*/ 1001 w 10000"/>
                <a:gd name="connsiteY37" fmla="*/ 9776 h 10000"/>
                <a:gd name="connsiteX38" fmla="*/ 945 w 10000"/>
                <a:gd name="connsiteY38" fmla="*/ 9817 h 10000"/>
                <a:gd name="connsiteX39" fmla="*/ 905 w 10000"/>
                <a:gd name="connsiteY39" fmla="*/ 9902 h 10000"/>
                <a:gd name="connsiteX40" fmla="*/ 855 w 10000"/>
                <a:gd name="connsiteY40" fmla="*/ 9908 h 10000"/>
                <a:gd name="connsiteX41" fmla="*/ 824 w 10000"/>
                <a:gd name="connsiteY41" fmla="*/ 9945 h 10000"/>
                <a:gd name="connsiteX42" fmla="*/ 1036 w 10000"/>
                <a:gd name="connsiteY42" fmla="*/ 9949 h 10000"/>
                <a:gd name="connsiteX43" fmla="*/ 1223 w 10000"/>
                <a:gd name="connsiteY43" fmla="*/ 9986 h 10000"/>
                <a:gd name="connsiteX44" fmla="*/ 1533 w 10000"/>
                <a:gd name="connsiteY44" fmla="*/ 9947 h 10000"/>
                <a:gd name="connsiteX45" fmla="*/ 1811 w 10000"/>
                <a:gd name="connsiteY45" fmla="*/ 9953 h 10000"/>
                <a:gd name="connsiteX46" fmla="*/ 1977 w 10000"/>
                <a:gd name="connsiteY46" fmla="*/ 10000 h 10000"/>
                <a:gd name="connsiteX47" fmla="*/ 2066 w 10000"/>
                <a:gd name="connsiteY47" fmla="*/ 9969 h 10000"/>
                <a:gd name="connsiteX48" fmla="*/ 2153 w 10000"/>
                <a:gd name="connsiteY48" fmla="*/ 9868 h 10000"/>
                <a:gd name="connsiteX49" fmla="*/ 2131 w 10000"/>
                <a:gd name="connsiteY49" fmla="*/ 9703 h 10000"/>
                <a:gd name="connsiteX50" fmla="*/ 2344 w 10000"/>
                <a:gd name="connsiteY50" fmla="*/ 9517 h 10000"/>
                <a:gd name="connsiteX51" fmla="*/ 2499 w 10000"/>
                <a:gd name="connsiteY51" fmla="*/ 9546 h 10000"/>
                <a:gd name="connsiteX52" fmla="*/ 2588 w 10000"/>
                <a:gd name="connsiteY52" fmla="*/ 9472 h 10000"/>
                <a:gd name="connsiteX53" fmla="*/ 2760 w 10000"/>
                <a:gd name="connsiteY53" fmla="*/ 9430 h 10000"/>
                <a:gd name="connsiteX54" fmla="*/ 2995 w 10000"/>
                <a:gd name="connsiteY54" fmla="*/ 9440 h 10000"/>
                <a:gd name="connsiteX55" fmla="*/ 3137 w 10000"/>
                <a:gd name="connsiteY55" fmla="*/ 9470 h 10000"/>
                <a:gd name="connsiteX56" fmla="*/ 3324 w 10000"/>
                <a:gd name="connsiteY56" fmla="*/ 9456 h 10000"/>
                <a:gd name="connsiteX57" fmla="*/ 3514 w 10000"/>
                <a:gd name="connsiteY57" fmla="*/ 9489 h 10000"/>
                <a:gd name="connsiteX58" fmla="*/ 3704 w 10000"/>
                <a:gd name="connsiteY58" fmla="*/ 9493 h 10000"/>
                <a:gd name="connsiteX59" fmla="*/ 4129 w 10000"/>
                <a:gd name="connsiteY59" fmla="*/ 9061 h 10000"/>
                <a:gd name="connsiteX60" fmla="*/ 4236 w 10000"/>
                <a:gd name="connsiteY60" fmla="*/ 8711 h 10000"/>
                <a:gd name="connsiteX61" fmla="*/ 4409 w 10000"/>
                <a:gd name="connsiteY61" fmla="*/ 8554 h 10000"/>
                <a:gd name="connsiteX62" fmla="*/ 4409 w 10000"/>
                <a:gd name="connsiteY62" fmla="*/ 8472 h 10000"/>
                <a:gd name="connsiteX63" fmla="*/ 4347 w 10000"/>
                <a:gd name="connsiteY63" fmla="*/ 8425 h 10000"/>
                <a:gd name="connsiteX64" fmla="*/ 4449 w 10000"/>
                <a:gd name="connsiteY64" fmla="*/ 8352 h 10000"/>
                <a:gd name="connsiteX65" fmla="*/ 4430 w 10000"/>
                <a:gd name="connsiteY65" fmla="*/ 8289 h 10000"/>
                <a:gd name="connsiteX66" fmla="*/ 4360 w 10000"/>
                <a:gd name="connsiteY66" fmla="*/ 8236 h 10000"/>
                <a:gd name="connsiteX67" fmla="*/ 4347 w 10000"/>
                <a:gd name="connsiteY67" fmla="*/ 8199 h 10000"/>
                <a:gd name="connsiteX68" fmla="*/ 4364 w 10000"/>
                <a:gd name="connsiteY68" fmla="*/ 8169 h 10000"/>
                <a:gd name="connsiteX69" fmla="*/ 4458 w 10000"/>
                <a:gd name="connsiteY69" fmla="*/ 8193 h 10000"/>
                <a:gd name="connsiteX70" fmla="*/ 4533 w 10000"/>
                <a:gd name="connsiteY70" fmla="*/ 8191 h 10000"/>
                <a:gd name="connsiteX71" fmla="*/ 4492 w 10000"/>
                <a:gd name="connsiteY71" fmla="*/ 8140 h 10000"/>
                <a:gd name="connsiteX72" fmla="*/ 4505 w 10000"/>
                <a:gd name="connsiteY72" fmla="*/ 8112 h 10000"/>
                <a:gd name="connsiteX73" fmla="*/ 4559 w 10000"/>
                <a:gd name="connsiteY73" fmla="*/ 8069 h 10000"/>
                <a:gd name="connsiteX74" fmla="*/ 4550 w 10000"/>
                <a:gd name="connsiteY74" fmla="*/ 8034 h 10000"/>
                <a:gd name="connsiteX75" fmla="*/ 4600 w 10000"/>
                <a:gd name="connsiteY75" fmla="*/ 7916 h 10000"/>
                <a:gd name="connsiteX76" fmla="*/ 4587 w 10000"/>
                <a:gd name="connsiteY76" fmla="*/ 7881 h 10000"/>
                <a:gd name="connsiteX77" fmla="*/ 4329 w 10000"/>
                <a:gd name="connsiteY77" fmla="*/ 7792 h 10000"/>
                <a:gd name="connsiteX78" fmla="*/ 4364 w 10000"/>
                <a:gd name="connsiteY78" fmla="*/ 7788 h 10000"/>
                <a:gd name="connsiteX79" fmla="*/ 4501 w 10000"/>
                <a:gd name="connsiteY79" fmla="*/ 7812 h 10000"/>
                <a:gd name="connsiteX80" fmla="*/ 4648 w 10000"/>
                <a:gd name="connsiteY80" fmla="*/ 7804 h 10000"/>
                <a:gd name="connsiteX81" fmla="*/ 4692 w 10000"/>
                <a:gd name="connsiteY81" fmla="*/ 7771 h 10000"/>
                <a:gd name="connsiteX82" fmla="*/ 4550 w 10000"/>
                <a:gd name="connsiteY82" fmla="*/ 7710 h 10000"/>
                <a:gd name="connsiteX83" fmla="*/ 4125 w 10000"/>
                <a:gd name="connsiteY83" fmla="*/ 7670 h 10000"/>
                <a:gd name="connsiteX84" fmla="*/ 4155 w 10000"/>
                <a:gd name="connsiteY84" fmla="*/ 7651 h 10000"/>
                <a:gd name="connsiteX85" fmla="*/ 4501 w 10000"/>
                <a:gd name="connsiteY85" fmla="*/ 7639 h 10000"/>
                <a:gd name="connsiteX86" fmla="*/ 4692 w 10000"/>
                <a:gd name="connsiteY86" fmla="*/ 7676 h 10000"/>
                <a:gd name="connsiteX87" fmla="*/ 4803 w 10000"/>
                <a:gd name="connsiteY87" fmla="*/ 7651 h 10000"/>
                <a:gd name="connsiteX88" fmla="*/ 4843 w 10000"/>
                <a:gd name="connsiteY88" fmla="*/ 7588 h 10000"/>
                <a:gd name="connsiteX89" fmla="*/ 5042 w 10000"/>
                <a:gd name="connsiteY89" fmla="*/ 7588 h 10000"/>
                <a:gd name="connsiteX90" fmla="*/ 5313 w 10000"/>
                <a:gd name="connsiteY90" fmla="*/ 7462 h 10000"/>
                <a:gd name="connsiteX91" fmla="*/ 5322 w 10000"/>
                <a:gd name="connsiteY91" fmla="*/ 7378 h 10000"/>
                <a:gd name="connsiteX92" fmla="*/ 5436 w 10000"/>
                <a:gd name="connsiteY92" fmla="*/ 7397 h 10000"/>
                <a:gd name="connsiteX93" fmla="*/ 5432 w 10000"/>
                <a:gd name="connsiteY93" fmla="*/ 7482 h 10000"/>
                <a:gd name="connsiteX94" fmla="*/ 5614 w 10000"/>
                <a:gd name="connsiteY94" fmla="*/ 7476 h 10000"/>
                <a:gd name="connsiteX95" fmla="*/ 5733 w 10000"/>
                <a:gd name="connsiteY95" fmla="*/ 7388 h 10000"/>
                <a:gd name="connsiteX96" fmla="*/ 5956 w 10000"/>
                <a:gd name="connsiteY96" fmla="*/ 7309 h 10000"/>
                <a:gd name="connsiteX97" fmla="*/ 5919 w 10000"/>
                <a:gd name="connsiteY97" fmla="*/ 7219 h 10000"/>
                <a:gd name="connsiteX98" fmla="*/ 5986 w 10000"/>
                <a:gd name="connsiteY98" fmla="*/ 7254 h 10000"/>
                <a:gd name="connsiteX99" fmla="*/ 6088 w 10000"/>
                <a:gd name="connsiteY99" fmla="*/ 7254 h 10000"/>
                <a:gd name="connsiteX100" fmla="*/ 6088 w 10000"/>
                <a:gd name="connsiteY100" fmla="*/ 7213 h 10000"/>
                <a:gd name="connsiteX101" fmla="*/ 6181 w 10000"/>
                <a:gd name="connsiteY101" fmla="*/ 7181 h 10000"/>
                <a:gd name="connsiteX102" fmla="*/ 6168 w 10000"/>
                <a:gd name="connsiteY102" fmla="*/ 7148 h 10000"/>
                <a:gd name="connsiteX103" fmla="*/ 5371 w 10000"/>
                <a:gd name="connsiteY103" fmla="*/ 7215 h 10000"/>
                <a:gd name="connsiteX104" fmla="*/ 5184 w 10000"/>
                <a:gd name="connsiteY104" fmla="*/ 7195 h 10000"/>
                <a:gd name="connsiteX105" fmla="*/ 5109 w 10000"/>
                <a:gd name="connsiteY105" fmla="*/ 7219 h 10000"/>
                <a:gd name="connsiteX106" fmla="*/ 5083 w 10000"/>
                <a:gd name="connsiteY106" fmla="*/ 7173 h 10000"/>
                <a:gd name="connsiteX107" fmla="*/ 4994 w 10000"/>
                <a:gd name="connsiteY107" fmla="*/ 7132 h 10000"/>
                <a:gd name="connsiteX108" fmla="*/ 4639 w 10000"/>
                <a:gd name="connsiteY108" fmla="*/ 7052 h 10000"/>
                <a:gd name="connsiteX109" fmla="*/ 4430 w 10000"/>
                <a:gd name="connsiteY109" fmla="*/ 7065 h 10000"/>
                <a:gd name="connsiteX110" fmla="*/ 4347 w 10000"/>
                <a:gd name="connsiteY110" fmla="*/ 7042 h 10000"/>
                <a:gd name="connsiteX111" fmla="*/ 4435 w 10000"/>
                <a:gd name="connsiteY111" fmla="*/ 7022 h 10000"/>
                <a:gd name="connsiteX112" fmla="*/ 4501 w 10000"/>
                <a:gd name="connsiteY112" fmla="*/ 6979 h 10000"/>
                <a:gd name="connsiteX113" fmla="*/ 4600 w 10000"/>
                <a:gd name="connsiteY113" fmla="*/ 6993 h 10000"/>
                <a:gd name="connsiteX114" fmla="*/ 4719 w 10000"/>
                <a:gd name="connsiteY114" fmla="*/ 6981 h 10000"/>
                <a:gd name="connsiteX115" fmla="*/ 4896 w 10000"/>
                <a:gd name="connsiteY115" fmla="*/ 6995 h 10000"/>
                <a:gd name="connsiteX116" fmla="*/ 4917 w 10000"/>
                <a:gd name="connsiteY116" fmla="*/ 6989 h 10000"/>
                <a:gd name="connsiteX117" fmla="*/ 5056 w 10000"/>
                <a:gd name="connsiteY117" fmla="*/ 7056 h 10000"/>
                <a:gd name="connsiteX118" fmla="*/ 5158 w 10000"/>
                <a:gd name="connsiteY118" fmla="*/ 7032 h 10000"/>
                <a:gd name="connsiteX119" fmla="*/ 5166 w 10000"/>
                <a:gd name="connsiteY119" fmla="*/ 7010 h 10000"/>
                <a:gd name="connsiteX120" fmla="*/ 5259 w 10000"/>
                <a:gd name="connsiteY120" fmla="*/ 7048 h 10000"/>
                <a:gd name="connsiteX121" fmla="*/ 5384 w 10000"/>
                <a:gd name="connsiteY121" fmla="*/ 7069 h 10000"/>
                <a:gd name="connsiteX122" fmla="*/ 5432 w 10000"/>
                <a:gd name="connsiteY122" fmla="*/ 7030 h 10000"/>
                <a:gd name="connsiteX123" fmla="*/ 5472 w 10000"/>
                <a:gd name="connsiteY123" fmla="*/ 7052 h 10000"/>
                <a:gd name="connsiteX124" fmla="*/ 5529 w 10000"/>
                <a:gd name="connsiteY124" fmla="*/ 7126 h 10000"/>
                <a:gd name="connsiteX125" fmla="*/ 5649 w 10000"/>
                <a:gd name="connsiteY125" fmla="*/ 7144 h 10000"/>
                <a:gd name="connsiteX126" fmla="*/ 6137 w 10000"/>
                <a:gd name="connsiteY126" fmla="*/ 7034 h 10000"/>
                <a:gd name="connsiteX127" fmla="*/ 6376 w 10000"/>
                <a:gd name="connsiteY127" fmla="*/ 6879 h 10000"/>
                <a:gd name="connsiteX128" fmla="*/ 6433 w 10000"/>
                <a:gd name="connsiteY128" fmla="*/ 6765 h 10000"/>
                <a:gd name="connsiteX129" fmla="*/ 6346 w 10000"/>
                <a:gd name="connsiteY129" fmla="*/ 6663 h 10000"/>
                <a:gd name="connsiteX130" fmla="*/ 6163 w 10000"/>
                <a:gd name="connsiteY130" fmla="*/ 6602 h 10000"/>
                <a:gd name="connsiteX131" fmla="*/ 6034 w 10000"/>
                <a:gd name="connsiteY131" fmla="*/ 6502 h 10000"/>
                <a:gd name="connsiteX132" fmla="*/ 6155 w 10000"/>
                <a:gd name="connsiteY132" fmla="*/ 6498 h 10000"/>
                <a:gd name="connsiteX133" fmla="*/ 6146 w 10000"/>
                <a:gd name="connsiteY133" fmla="*/ 6474 h 10000"/>
                <a:gd name="connsiteX134" fmla="*/ 5832 w 10000"/>
                <a:gd name="connsiteY134" fmla="*/ 6403 h 10000"/>
                <a:gd name="connsiteX135" fmla="*/ 5819 w 10000"/>
                <a:gd name="connsiteY135" fmla="*/ 6339 h 10000"/>
                <a:gd name="connsiteX136" fmla="*/ 5760 w 10000"/>
                <a:gd name="connsiteY136" fmla="*/ 6272 h 10000"/>
                <a:gd name="connsiteX137" fmla="*/ 5511 w 10000"/>
                <a:gd name="connsiteY137" fmla="*/ 6284 h 10000"/>
                <a:gd name="connsiteX138" fmla="*/ 5423 w 10000"/>
                <a:gd name="connsiteY138" fmla="*/ 6213 h 10000"/>
                <a:gd name="connsiteX139" fmla="*/ 5371 w 10000"/>
                <a:gd name="connsiteY139" fmla="*/ 6209 h 10000"/>
                <a:gd name="connsiteX140" fmla="*/ 5371 w 10000"/>
                <a:gd name="connsiteY140" fmla="*/ 6238 h 10000"/>
                <a:gd name="connsiteX141" fmla="*/ 5259 w 10000"/>
                <a:gd name="connsiteY141" fmla="*/ 6358 h 10000"/>
                <a:gd name="connsiteX142" fmla="*/ 5139 w 10000"/>
                <a:gd name="connsiteY142" fmla="*/ 6429 h 10000"/>
                <a:gd name="connsiteX143" fmla="*/ 4762 w 10000"/>
                <a:gd name="connsiteY143" fmla="*/ 6551 h 10000"/>
                <a:gd name="connsiteX144" fmla="*/ 4630 w 10000"/>
                <a:gd name="connsiteY144" fmla="*/ 6547 h 10000"/>
                <a:gd name="connsiteX145" fmla="*/ 4449 w 10000"/>
                <a:gd name="connsiteY145" fmla="*/ 6565 h 10000"/>
                <a:gd name="connsiteX146" fmla="*/ 4347 w 10000"/>
                <a:gd name="connsiteY146" fmla="*/ 6547 h 10000"/>
                <a:gd name="connsiteX147" fmla="*/ 4479 w 10000"/>
                <a:gd name="connsiteY147" fmla="*/ 6513 h 10000"/>
                <a:gd name="connsiteX148" fmla="*/ 4652 w 10000"/>
                <a:gd name="connsiteY148" fmla="*/ 6498 h 10000"/>
                <a:gd name="connsiteX149" fmla="*/ 4795 w 10000"/>
                <a:gd name="connsiteY149" fmla="*/ 6441 h 10000"/>
                <a:gd name="connsiteX150" fmla="*/ 4935 w 10000"/>
                <a:gd name="connsiteY150" fmla="*/ 6415 h 10000"/>
                <a:gd name="connsiteX151" fmla="*/ 5198 w 10000"/>
                <a:gd name="connsiteY151" fmla="*/ 6317 h 10000"/>
                <a:gd name="connsiteX152" fmla="*/ 5246 w 10000"/>
                <a:gd name="connsiteY152" fmla="*/ 6252 h 10000"/>
                <a:gd name="connsiteX153" fmla="*/ 5250 w 10000"/>
                <a:gd name="connsiteY153" fmla="*/ 6168 h 10000"/>
                <a:gd name="connsiteX154" fmla="*/ 5131 w 10000"/>
                <a:gd name="connsiteY154" fmla="*/ 6154 h 10000"/>
                <a:gd name="connsiteX155" fmla="*/ 5184 w 10000"/>
                <a:gd name="connsiteY155" fmla="*/ 6103 h 10000"/>
                <a:gd name="connsiteX156" fmla="*/ 5202 w 10000"/>
                <a:gd name="connsiteY156" fmla="*/ 6038 h 10000"/>
                <a:gd name="connsiteX157" fmla="*/ 5152 w 10000"/>
                <a:gd name="connsiteY157" fmla="*/ 5977 h 10000"/>
                <a:gd name="connsiteX158" fmla="*/ 5122 w 10000"/>
                <a:gd name="connsiteY158" fmla="*/ 5533 h 10000"/>
                <a:gd name="connsiteX159" fmla="*/ 5194 w 10000"/>
                <a:gd name="connsiteY159" fmla="*/ 5437 h 10000"/>
                <a:gd name="connsiteX160" fmla="*/ 5175 w 10000"/>
                <a:gd name="connsiteY160" fmla="*/ 5398 h 10000"/>
                <a:gd name="connsiteX161" fmla="*/ 5384 w 10000"/>
                <a:gd name="connsiteY161" fmla="*/ 5455 h 10000"/>
                <a:gd name="connsiteX162" fmla="*/ 5397 w 10000"/>
                <a:gd name="connsiteY162" fmla="*/ 5402 h 10000"/>
                <a:gd name="connsiteX163" fmla="*/ 5353 w 10000"/>
                <a:gd name="connsiteY163" fmla="*/ 5264 h 10000"/>
                <a:gd name="connsiteX164" fmla="*/ 5502 w 10000"/>
                <a:gd name="connsiteY164" fmla="*/ 5019 h 10000"/>
                <a:gd name="connsiteX165" fmla="*/ 5410 w 10000"/>
                <a:gd name="connsiteY165" fmla="*/ 4960 h 10000"/>
                <a:gd name="connsiteX166" fmla="*/ 5375 w 10000"/>
                <a:gd name="connsiteY166" fmla="*/ 4905 h 10000"/>
                <a:gd name="connsiteX167" fmla="*/ 5388 w 10000"/>
                <a:gd name="connsiteY167" fmla="*/ 4816 h 10000"/>
                <a:gd name="connsiteX168" fmla="*/ 5606 w 10000"/>
                <a:gd name="connsiteY168" fmla="*/ 4875 h 10000"/>
                <a:gd name="connsiteX169" fmla="*/ 5614 w 10000"/>
                <a:gd name="connsiteY169" fmla="*/ 4858 h 10000"/>
                <a:gd name="connsiteX170" fmla="*/ 5675 w 10000"/>
                <a:gd name="connsiteY170" fmla="*/ 4842 h 10000"/>
                <a:gd name="connsiteX171" fmla="*/ 5760 w 10000"/>
                <a:gd name="connsiteY171" fmla="*/ 4785 h 10000"/>
                <a:gd name="connsiteX172" fmla="*/ 5773 w 10000"/>
                <a:gd name="connsiteY172" fmla="*/ 4769 h 10000"/>
                <a:gd name="connsiteX173" fmla="*/ 5756 w 10000"/>
                <a:gd name="connsiteY173" fmla="*/ 4748 h 10000"/>
                <a:gd name="connsiteX174" fmla="*/ 5799 w 10000"/>
                <a:gd name="connsiteY174" fmla="*/ 4647 h 10000"/>
                <a:gd name="connsiteX175" fmla="*/ 5747 w 10000"/>
                <a:gd name="connsiteY175" fmla="*/ 4581 h 10000"/>
                <a:gd name="connsiteX176" fmla="*/ 5756 w 10000"/>
                <a:gd name="connsiteY176" fmla="*/ 4528 h 10000"/>
                <a:gd name="connsiteX177" fmla="*/ 5786 w 10000"/>
                <a:gd name="connsiteY177" fmla="*/ 4590 h 10000"/>
                <a:gd name="connsiteX178" fmla="*/ 5906 w 10000"/>
                <a:gd name="connsiteY178" fmla="*/ 4636 h 10000"/>
                <a:gd name="connsiteX179" fmla="*/ 5956 w 10000"/>
                <a:gd name="connsiteY179" fmla="*/ 4630 h 10000"/>
                <a:gd name="connsiteX180" fmla="*/ 6034 w 10000"/>
                <a:gd name="connsiteY180" fmla="*/ 4569 h 10000"/>
                <a:gd name="connsiteX181" fmla="*/ 6119 w 10000"/>
                <a:gd name="connsiteY181" fmla="*/ 4594 h 10000"/>
                <a:gd name="connsiteX182" fmla="*/ 6142 w 10000"/>
                <a:gd name="connsiteY182" fmla="*/ 4545 h 10000"/>
                <a:gd name="connsiteX183" fmla="*/ 6199 w 10000"/>
                <a:gd name="connsiteY183" fmla="*/ 4512 h 10000"/>
                <a:gd name="connsiteX184" fmla="*/ 6043 w 10000"/>
                <a:gd name="connsiteY184" fmla="*/ 4477 h 10000"/>
                <a:gd name="connsiteX185" fmla="*/ 6155 w 10000"/>
                <a:gd name="connsiteY185" fmla="*/ 4484 h 10000"/>
                <a:gd name="connsiteX186" fmla="*/ 6269 w 10000"/>
                <a:gd name="connsiteY186" fmla="*/ 4447 h 10000"/>
                <a:gd name="connsiteX187" fmla="*/ 6265 w 10000"/>
                <a:gd name="connsiteY187" fmla="*/ 4422 h 10000"/>
                <a:gd name="connsiteX188" fmla="*/ 6372 w 10000"/>
                <a:gd name="connsiteY188" fmla="*/ 4398 h 10000"/>
                <a:gd name="connsiteX189" fmla="*/ 6381 w 10000"/>
                <a:gd name="connsiteY189" fmla="*/ 4337 h 10000"/>
                <a:gd name="connsiteX190" fmla="*/ 6465 w 10000"/>
                <a:gd name="connsiteY190" fmla="*/ 4325 h 10000"/>
                <a:gd name="connsiteX191" fmla="*/ 6473 w 10000"/>
                <a:gd name="connsiteY191" fmla="*/ 4253 h 10000"/>
                <a:gd name="connsiteX192" fmla="*/ 6561 w 10000"/>
                <a:gd name="connsiteY192" fmla="*/ 4245 h 10000"/>
                <a:gd name="connsiteX193" fmla="*/ 6699 w 10000"/>
                <a:gd name="connsiteY193" fmla="*/ 4260 h 10000"/>
                <a:gd name="connsiteX194" fmla="*/ 6849 w 10000"/>
                <a:gd name="connsiteY194" fmla="*/ 4202 h 10000"/>
                <a:gd name="connsiteX195" fmla="*/ 6903 w 10000"/>
                <a:gd name="connsiteY195" fmla="*/ 4137 h 10000"/>
                <a:gd name="connsiteX196" fmla="*/ 7089 w 10000"/>
                <a:gd name="connsiteY196" fmla="*/ 4070 h 10000"/>
                <a:gd name="connsiteX197" fmla="*/ 7182 w 10000"/>
                <a:gd name="connsiteY197" fmla="*/ 4111 h 10000"/>
                <a:gd name="connsiteX198" fmla="*/ 7324 w 10000"/>
                <a:gd name="connsiteY198" fmla="*/ 4066 h 10000"/>
                <a:gd name="connsiteX199" fmla="*/ 7359 w 10000"/>
                <a:gd name="connsiteY199" fmla="*/ 4009 h 10000"/>
                <a:gd name="connsiteX200" fmla="*/ 7466 w 10000"/>
                <a:gd name="connsiteY200" fmla="*/ 3970 h 10000"/>
                <a:gd name="connsiteX201" fmla="*/ 7558 w 10000"/>
                <a:gd name="connsiteY201" fmla="*/ 3987 h 10000"/>
                <a:gd name="connsiteX202" fmla="*/ 7616 w 10000"/>
                <a:gd name="connsiteY202" fmla="*/ 3958 h 10000"/>
                <a:gd name="connsiteX203" fmla="*/ 7776 w 10000"/>
                <a:gd name="connsiteY203" fmla="*/ 3917 h 10000"/>
                <a:gd name="connsiteX204" fmla="*/ 7842 w 10000"/>
                <a:gd name="connsiteY204" fmla="*/ 3864 h 10000"/>
                <a:gd name="connsiteX205" fmla="*/ 7931 w 10000"/>
                <a:gd name="connsiteY205" fmla="*/ 3842 h 10000"/>
                <a:gd name="connsiteX206" fmla="*/ 8423 w 10000"/>
                <a:gd name="connsiteY206" fmla="*/ 3522 h 10000"/>
                <a:gd name="connsiteX207" fmla="*/ 9911 w 10000"/>
                <a:gd name="connsiteY207" fmla="*/ 1897 h 10000"/>
                <a:gd name="connsiteX208" fmla="*/ 10000 w 10000"/>
                <a:gd name="connsiteY208" fmla="*/ 1699 h 10000"/>
                <a:gd name="connsiteX209" fmla="*/ 9722 w 10000"/>
                <a:gd name="connsiteY209" fmla="*/ 1465 h 10000"/>
                <a:gd name="connsiteX210" fmla="*/ 9676 w 10000"/>
                <a:gd name="connsiteY210" fmla="*/ 1379 h 10000"/>
                <a:gd name="connsiteX211" fmla="*/ 9739 w 10000"/>
                <a:gd name="connsiteY211" fmla="*/ 1271 h 10000"/>
                <a:gd name="connsiteX212" fmla="*/ 9709 w 10000"/>
                <a:gd name="connsiteY212" fmla="*/ 1194 h 10000"/>
                <a:gd name="connsiteX213" fmla="*/ 9650 w 10000"/>
                <a:gd name="connsiteY213" fmla="*/ 1159 h 10000"/>
                <a:gd name="connsiteX214" fmla="*/ 9601 w 10000"/>
                <a:gd name="connsiteY214" fmla="*/ 978 h 10000"/>
                <a:gd name="connsiteX215" fmla="*/ 9659 w 10000"/>
                <a:gd name="connsiteY215" fmla="*/ 831 h 10000"/>
                <a:gd name="connsiteX216" fmla="*/ 9234 w 10000"/>
                <a:gd name="connsiteY216" fmla="*/ 517 h 10000"/>
                <a:gd name="connsiteX217" fmla="*/ 9025 w 10000"/>
                <a:gd name="connsiteY217" fmla="*/ 440 h 10000"/>
                <a:gd name="connsiteX218" fmla="*/ 8639 w 10000"/>
                <a:gd name="connsiteY218" fmla="*/ 389 h 10000"/>
                <a:gd name="connsiteX219" fmla="*/ 7842 w 10000"/>
                <a:gd name="connsiteY219" fmla="*/ 26 h 10000"/>
                <a:gd name="connsiteX220" fmla="*/ 7816 w 10000"/>
                <a:gd name="connsiteY220" fmla="*/ 2 h 10000"/>
                <a:gd name="connsiteX221" fmla="*/ 7545 w 10000"/>
                <a:gd name="connsiteY221" fmla="*/ 0 h 10000"/>
                <a:gd name="connsiteX222" fmla="*/ 7483 w 10000"/>
                <a:gd name="connsiteY222" fmla="*/ 14 h 10000"/>
                <a:gd name="connsiteX223" fmla="*/ 7497 w 10000"/>
                <a:gd name="connsiteY223" fmla="*/ 61 h 10000"/>
                <a:gd name="connsiteX224" fmla="*/ 7550 w 10000"/>
                <a:gd name="connsiteY224" fmla="*/ 86 h 10000"/>
                <a:gd name="connsiteX225" fmla="*/ 7564 w 10000"/>
                <a:gd name="connsiteY225" fmla="*/ 139 h 10000"/>
                <a:gd name="connsiteX226" fmla="*/ 7545 w 10000"/>
                <a:gd name="connsiteY226" fmla="*/ 181 h 10000"/>
                <a:gd name="connsiteX227" fmla="*/ 7497 w 10000"/>
                <a:gd name="connsiteY227" fmla="*/ 208 h 10000"/>
                <a:gd name="connsiteX228" fmla="*/ 7461 w 10000"/>
                <a:gd name="connsiteY228" fmla="*/ 283 h 10000"/>
                <a:gd name="connsiteX229" fmla="*/ 7395 w 10000"/>
                <a:gd name="connsiteY229" fmla="*/ 336 h 10000"/>
                <a:gd name="connsiteX230" fmla="*/ 7408 w 10000"/>
                <a:gd name="connsiteY230" fmla="*/ 387 h 10000"/>
                <a:gd name="connsiteX231" fmla="*/ 7510 w 10000"/>
                <a:gd name="connsiteY231" fmla="*/ 434 h 10000"/>
                <a:gd name="connsiteX232" fmla="*/ 7444 w 10000"/>
                <a:gd name="connsiteY232" fmla="*/ 475 h 10000"/>
                <a:gd name="connsiteX233" fmla="*/ 7346 w 10000"/>
                <a:gd name="connsiteY233" fmla="*/ 485 h 10000"/>
                <a:gd name="connsiteX234" fmla="*/ 6531 w 10000"/>
                <a:gd name="connsiteY234" fmla="*/ 387 h 10000"/>
                <a:gd name="connsiteX235" fmla="*/ 6433 w 10000"/>
                <a:gd name="connsiteY235" fmla="*/ 395 h 10000"/>
                <a:gd name="connsiteX236" fmla="*/ 6376 w 10000"/>
                <a:gd name="connsiteY236" fmla="*/ 414 h 10000"/>
                <a:gd name="connsiteX237" fmla="*/ 6318 w 10000"/>
                <a:gd name="connsiteY237" fmla="*/ 462 h 10000"/>
                <a:gd name="connsiteX238" fmla="*/ 6328 w 10000"/>
                <a:gd name="connsiteY238" fmla="*/ 581 h 10000"/>
                <a:gd name="connsiteX239" fmla="*/ 6238 w 10000"/>
                <a:gd name="connsiteY239" fmla="*/ 735 h 10000"/>
                <a:gd name="connsiteX240" fmla="*/ 6128 w 10000"/>
                <a:gd name="connsiteY240" fmla="*/ 815 h 10000"/>
                <a:gd name="connsiteX241" fmla="*/ 6084 w 10000"/>
                <a:gd name="connsiteY241" fmla="*/ 805 h 10000"/>
                <a:gd name="connsiteX242" fmla="*/ 5982 w 10000"/>
                <a:gd name="connsiteY242" fmla="*/ 739 h 10000"/>
                <a:gd name="connsiteX243" fmla="*/ 5853 w 10000"/>
                <a:gd name="connsiteY243" fmla="*/ 705 h 10000"/>
                <a:gd name="connsiteX244" fmla="*/ 5715 w 10000"/>
                <a:gd name="connsiteY244" fmla="*/ 715 h 10000"/>
                <a:gd name="connsiteX245" fmla="*/ 5393 w 10000"/>
                <a:gd name="connsiteY245" fmla="*/ 866 h 10000"/>
                <a:gd name="connsiteX246" fmla="*/ 5308 w 10000"/>
                <a:gd name="connsiteY246" fmla="*/ 1017 h 10000"/>
                <a:gd name="connsiteX247" fmla="*/ 5065 w 10000"/>
                <a:gd name="connsiteY247" fmla="*/ 1153 h 10000"/>
                <a:gd name="connsiteX248" fmla="*/ 5020 w 10000"/>
                <a:gd name="connsiteY248" fmla="*/ 1222 h 10000"/>
                <a:gd name="connsiteX249" fmla="*/ 5148 w 10000"/>
                <a:gd name="connsiteY249" fmla="*/ 1344 h 10000"/>
                <a:gd name="connsiteX250" fmla="*/ 5162 w 10000"/>
                <a:gd name="connsiteY250" fmla="*/ 1412 h 10000"/>
                <a:gd name="connsiteX251" fmla="*/ 4497 w 10000"/>
                <a:gd name="connsiteY251" fmla="*/ 1813 h 10000"/>
                <a:gd name="connsiteX252" fmla="*/ 4293 w 10000"/>
                <a:gd name="connsiteY252" fmla="*/ 2070 h 10000"/>
                <a:gd name="connsiteX253" fmla="*/ 4073 w 10000"/>
                <a:gd name="connsiteY253" fmla="*/ 2135 h 10000"/>
                <a:gd name="connsiteX254" fmla="*/ 3934 w 10000"/>
                <a:gd name="connsiteY254" fmla="*/ 2131 h 10000"/>
                <a:gd name="connsiteX255" fmla="*/ 3851 w 10000"/>
                <a:gd name="connsiteY255" fmla="*/ 2153 h 10000"/>
                <a:gd name="connsiteX256" fmla="*/ 3620 w 10000"/>
                <a:gd name="connsiteY256" fmla="*/ 2793 h 10000"/>
                <a:gd name="connsiteX257" fmla="*/ 3089 w 10000"/>
                <a:gd name="connsiteY257" fmla="*/ 3166 h 10000"/>
                <a:gd name="connsiteX258" fmla="*/ 3093 w 10000"/>
                <a:gd name="connsiteY258" fmla="*/ 3225 h 10000"/>
                <a:gd name="connsiteX259" fmla="*/ 3328 w 10000"/>
                <a:gd name="connsiteY259" fmla="*/ 3392 h 10000"/>
                <a:gd name="connsiteX260" fmla="*/ 3253 w 10000"/>
                <a:gd name="connsiteY260" fmla="*/ 3573 h 10000"/>
                <a:gd name="connsiteX261" fmla="*/ 3115 w 10000"/>
                <a:gd name="connsiteY261" fmla="*/ 3640 h 10000"/>
                <a:gd name="connsiteX262" fmla="*/ 2703 w 10000"/>
                <a:gd name="connsiteY262" fmla="*/ 3595 h 10000"/>
                <a:gd name="connsiteX263" fmla="*/ 2418 w 10000"/>
                <a:gd name="connsiteY263" fmla="*/ 3620 h 10000"/>
                <a:gd name="connsiteX264" fmla="*/ 2189 w 10000"/>
                <a:gd name="connsiteY264" fmla="*/ 3673 h 10000"/>
                <a:gd name="connsiteX265" fmla="*/ 1821 w 10000"/>
                <a:gd name="connsiteY265" fmla="*/ 3840 h 10000"/>
                <a:gd name="connsiteX266" fmla="*/ 1625 w 10000"/>
                <a:gd name="connsiteY266" fmla="*/ 4042 h 10000"/>
                <a:gd name="connsiteX267" fmla="*/ 1643 w 10000"/>
                <a:gd name="connsiteY267" fmla="*/ 4154 h 10000"/>
                <a:gd name="connsiteX268" fmla="*/ 1711 w 10000"/>
                <a:gd name="connsiteY268" fmla="*/ 4241 h 10000"/>
                <a:gd name="connsiteX269" fmla="*/ 1763 w 10000"/>
                <a:gd name="connsiteY269" fmla="*/ 4276 h 10000"/>
                <a:gd name="connsiteX270" fmla="*/ 1666 w 10000"/>
                <a:gd name="connsiteY270" fmla="*/ 4331 h 10000"/>
                <a:gd name="connsiteX271" fmla="*/ 1458 w 10000"/>
                <a:gd name="connsiteY271" fmla="*/ 4710 h 10000"/>
                <a:gd name="connsiteX272" fmla="*/ 1498 w 10000"/>
                <a:gd name="connsiteY272" fmla="*/ 4732 h 10000"/>
                <a:gd name="connsiteX273" fmla="*/ 1529 w 10000"/>
                <a:gd name="connsiteY273" fmla="*/ 4828 h 10000"/>
                <a:gd name="connsiteX274" fmla="*/ 1431 w 10000"/>
                <a:gd name="connsiteY274" fmla="*/ 5227 h 10000"/>
                <a:gd name="connsiteX275" fmla="*/ 1529 w 10000"/>
                <a:gd name="connsiteY275" fmla="*/ 5329 h 10000"/>
                <a:gd name="connsiteX276" fmla="*/ 1794 w 10000"/>
                <a:gd name="connsiteY276" fmla="*/ 5441 h 10000"/>
                <a:gd name="connsiteX277" fmla="*/ 1807 w 10000"/>
                <a:gd name="connsiteY277" fmla="*/ 5578 h 10000"/>
                <a:gd name="connsiteX278" fmla="*/ 1694 w 10000"/>
                <a:gd name="connsiteY278" fmla="*/ 5690 h 10000"/>
                <a:gd name="connsiteX279" fmla="*/ 1529 w 10000"/>
                <a:gd name="connsiteY279" fmla="*/ 5759 h 10000"/>
                <a:gd name="connsiteX280" fmla="*/ 1311 w 10000"/>
                <a:gd name="connsiteY280" fmla="*/ 5787 h 10000"/>
                <a:gd name="connsiteX281" fmla="*/ 1254 w 10000"/>
                <a:gd name="connsiteY281" fmla="*/ 5826 h 10000"/>
                <a:gd name="connsiteX282" fmla="*/ 1382 w 10000"/>
                <a:gd name="connsiteY282" fmla="*/ 5920 h 10000"/>
                <a:gd name="connsiteX283" fmla="*/ 1454 w 10000"/>
                <a:gd name="connsiteY283" fmla="*/ 6142 h 10000"/>
                <a:gd name="connsiteX284" fmla="*/ 1289 w 10000"/>
                <a:gd name="connsiteY284" fmla="*/ 6333 h 10000"/>
                <a:gd name="connsiteX285" fmla="*/ 1347 w 10000"/>
                <a:gd name="connsiteY285" fmla="*/ 6392 h 10000"/>
                <a:gd name="connsiteX286" fmla="*/ 1294 w 10000"/>
                <a:gd name="connsiteY286" fmla="*/ 6492 h 10000"/>
                <a:gd name="connsiteX287" fmla="*/ 1188 w 10000"/>
                <a:gd name="connsiteY287" fmla="*/ 6561 h 10000"/>
                <a:gd name="connsiteX288" fmla="*/ 771 w 10000"/>
                <a:gd name="connsiteY288" fmla="*/ 6614 h 10000"/>
                <a:gd name="connsiteX289" fmla="*/ 745 w 10000"/>
                <a:gd name="connsiteY289" fmla="*/ 6706 h 10000"/>
                <a:gd name="connsiteX290" fmla="*/ 519 w 10000"/>
                <a:gd name="connsiteY290" fmla="*/ 6843 h 10000"/>
                <a:gd name="connsiteX291" fmla="*/ 549 w 10000"/>
                <a:gd name="connsiteY291" fmla="*/ 7040 h 10000"/>
                <a:gd name="connsiteX292" fmla="*/ 359 w 10000"/>
                <a:gd name="connsiteY292" fmla="*/ 7293 h 10000"/>
                <a:gd name="connsiteX293" fmla="*/ 230 w 10000"/>
                <a:gd name="connsiteY293" fmla="*/ 7323 h 10000"/>
                <a:gd name="connsiteX294" fmla="*/ 177 w 10000"/>
                <a:gd name="connsiteY294" fmla="*/ 7262 h 10000"/>
                <a:gd name="connsiteX295" fmla="*/ 111 w 10000"/>
                <a:gd name="connsiteY295" fmla="*/ 7354 h 10000"/>
                <a:gd name="connsiteX296" fmla="*/ 155 w 10000"/>
                <a:gd name="connsiteY296" fmla="*/ 7197 h 10000"/>
                <a:gd name="connsiteX297" fmla="*/ 128 w 10000"/>
                <a:gd name="connsiteY297" fmla="*/ 7166 h 10000"/>
                <a:gd name="connsiteX0" fmla="*/ 128 w 10000"/>
                <a:gd name="connsiteY0" fmla="*/ 7166 h 10000"/>
                <a:gd name="connsiteX1" fmla="*/ 0 w 10000"/>
                <a:gd name="connsiteY1" fmla="*/ 7248 h 10000"/>
                <a:gd name="connsiteX2" fmla="*/ 0 w 10000"/>
                <a:gd name="connsiteY2" fmla="*/ 7651 h 10000"/>
                <a:gd name="connsiteX3" fmla="*/ 71 w 10000"/>
                <a:gd name="connsiteY3" fmla="*/ 7663 h 10000"/>
                <a:gd name="connsiteX4" fmla="*/ 88 w 10000"/>
                <a:gd name="connsiteY4" fmla="*/ 7694 h 10000"/>
                <a:gd name="connsiteX5" fmla="*/ 84 w 10000"/>
                <a:gd name="connsiteY5" fmla="*/ 7749 h 10000"/>
                <a:gd name="connsiteX6" fmla="*/ 57 w 10000"/>
                <a:gd name="connsiteY6" fmla="*/ 7773 h 10000"/>
                <a:gd name="connsiteX7" fmla="*/ 164 w 10000"/>
                <a:gd name="connsiteY7" fmla="*/ 7727 h 10000"/>
                <a:gd name="connsiteX8" fmla="*/ 209 w 10000"/>
                <a:gd name="connsiteY8" fmla="*/ 7680 h 10000"/>
                <a:gd name="connsiteX9" fmla="*/ 265 w 10000"/>
                <a:gd name="connsiteY9" fmla="*/ 7712 h 10000"/>
                <a:gd name="connsiteX10" fmla="*/ 204 w 10000"/>
                <a:gd name="connsiteY10" fmla="*/ 7778 h 10000"/>
                <a:gd name="connsiteX11" fmla="*/ 270 w 10000"/>
                <a:gd name="connsiteY11" fmla="*/ 7780 h 10000"/>
                <a:gd name="connsiteX12" fmla="*/ 301 w 10000"/>
                <a:gd name="connsiteY12" fmla="*/ 7796 h 10000"/>
                <a:gd name="connsiteX13" fmla="*/ 217 w 10000"/>
                <a:gd name="connsiteY13" fmla="*/ 7818 h 10000"/>
                <a:gd name="connsiteX14" fmla="*/ 84 w 10000"/>
                <a:gd name="connsiteY14" fmla="*/ 7886 h 10000"/>
                <a:gd name="connsiteX15" fmla="*/ 320 w 10000"/>
                <a:gd name="connsiteY15" fmla="*/ 7938 h 10000"/>
                <a:gd name="connsiteX16" fmla="*/ 350 w 10000"/>
                <a:gd name="connsiteY16" fmla="*/ 8014 h 10000"/>
                <a:gd name="connsiteX17" fmla="*/ 270 w 10000"/>
                <a:gd name="connsiteY17" fmla="*/ 8126 h 10000"/>
                <a:gd name="connsiteX18" fmla="*/ 444 w 10000"/>
                <a:gd name="connsiteY18" fmla="*/ 8118 h 10000"/>
                <a:gd name="connsiteX19" fmla="*/ 457 w 10000"/>
                <a:gd name="connsiteY19" fmla="*/ 8203 h 10000"/>
                <a:gd name="connsiteX20" fmla="*/ 341 w 10000"/>
                <a:gd name="connsiteY20" fmla="*/ 8260 h 10000"/>
                <a:gd name="connsiteX21" fmla="*/ 359 w 10000"/>
                <a:gd name="connsiteY21" fmla="*/ 8370 h 10000"/>
                <a:gd name="connsiteX22" fmla="*/ 315 w 10000"/>
                <a:gd name="connsiteY22" fmla="*/ 8456 h 10000"/>
                <a:gd name="connsiteX23" fmla="*/ 452 w 10000"/>
                <a:gd name="connsiteY23" fmla="*/ 8464 h 10000"/>
                <a:gd name="connsiteX24" fmla="*/ 585 w 10000"/>
                <a:gd name="connsiteY24" fmla="*/ 8792 h 10000"/>
                <a:gd name="connsiteX25" fmla="*/ 740 w 10000"/>
                <a:gd name="connsiteY25" fmla="*/ 8876 h 10000"/>
                <a:gd name="connsiteX26" fmla="*/ 806 w 10000"/>
                <a:gd name="connsiteY26" fmla="*/ 8965 h 10000"/>
                <a:gd name="connsiteX27" fmla="*/ 975 w 10000"/>
                <a:gd name="connsiteY27" fmla="*/ 9030 h 10000"/>
                <a:gd name="connsiteX28" fmla="*/ 1082 w 10000"/>
                <a:gd name="connsiteY28" fmla="*/ 9112 h 10000"/>
                <a:gd name="connsiteX29" fmla="*/ 1068 w 10000"/>
                <a:gd name="connsiteY29" fmla="*/ 9171 h 10000"/>
                <a:gd name="connsiteX30" fmla="*/ 962 w 10000"/>
                <a:gd name="connsiteY30" fmla="*/ 9193 h 10000"/>
                <a:gd name="connsiteX31" fmla="*/ 846 w 10000"/>
                <a:gd name="connsiteY31" fmla="*/ 9179 h 10000"/>
                <a:gd name="connsiteX32" fmla="*/ 810 w 10000"/>
                <a:gd name="connsiteY32" fmla="*/ 9204 h 10000"/>
                <a:gd name="connsiteX33" fmla="*/ 899 w 10000"/>
                <a:gd name="connsiteY33" fmla="*/ 9332 h 10000"/>
                <a:gd name="connsiteX34" fmla="*/ 775 w 10000"/>
                <a:gd name="connsiteY34" fmla="*/ 9322 h 10000"/>
                <a:gd name="connsiteX35" fmla="*/ 669 w 10000"/>
                <a:gd name="connsiteY35" fmla="*/ 9291 h 10000"/>
                <a:gd name="connsiteX36" fmla="*/ 651 w 10000"/>
                <a:gd name="connsiteY36" fmla="*/ 9338 h 10000"/>
                <a:gd name="connsiteX37" fmla="*/ 1001 w 10000"/>
                <a:gd name="connsiteY37" fmla="*/ 9776 h 10000"/>
                <a:gd name="connsiteX38" fmla="*/ 945 w 10000"/>
                <a:gd name="connsiteY38" fmla="*/ 9817 h 10000"/>
                <a:gd name="connsiteX39" fmla="*/ 905 w 10000"/>
                <a:gd name="connsiteY39" fmla="*/ 9902 h 10000"/>
                <a:gd name="connsiteX40" fmla="*/ 855 w 10000"/>
                <a:gd name="connsiteY40" fmla="*/ 9908 h 10000"/>
                <a:gd name="connsiteX41" fmla="*/ 824 w 10000"/>
                <a:gd name="connsiteY41" fmla="*/ 9945 h 10000"/>
                <a:gd name="connsiteX42" fmla="*/ 1036 w 10000"/>
                <a:gd name="connsiteY42" fmla="*/ 9949 h 10000"/>
                <a:gd name="connsiteX43" fmla="*/ 1223 w 10000"/>
                <a:gd name="connsiteY43" fmla="*/ 9986 h 10000"/>
                <a:gd name="connsiteX44" fmla="*/ 1533 w 10000"/>
                <a:gd name="connsiteY44" fmla="*/ 9947 h 10000"/>
                <a:gd name="connsiteX45" fmla="*/ 1811 w 10000"/>
                <a:gd name="connsiteY45" fmla="*/ 9953 h 10000"/>
                <a:gd name="connsiteX46" fmla="*/ 1977 w 10000"/>
                <a:gd name="connsiteY46" fmla="*/ 10000 h 10000"/>
                <a:gd name="connsiteX47" fmla="*/ 2066 w 10000"/>
                <a:gd name="connsiteY47" fmla="*/ 9969 h 10000"/>
                <a:gd name="connsiteX48" fmla="*/ 2153 w 10000"/>
                <a:gd name="connsiteY48" fmla="*/ 9868 h 10000"/>
                <a:gd name="connsiteX49" fmla="*/ 2131 w 10000"/>
                <a:gd name="connsiteY49" fmla="*/ 9703 h 10000"/>
                <a:gd name="connsiteX50" fmla="*/ 2344 w 10000"/>
                <a:gd name="connsiteY50" fmla="*/ 9517 h 10000"/>
                <a:gd name="connsiteX51" fmla="*/ 2499 w 10000"/>
                <a:gd name="connsiteY51" fmla="*/ 9546 h 10000"/>
                <a:gd name="connsiteX52" fmla="*/ 2588 w 10000"/>
                <a:gd name="connsiteY52" fmla="*/ 9472 h 10000"/>
                <a:gd name="connsiteX53" fmla="*/ 2760 w 10000"/>
                <a:gd name="connsiteY53" fmla="*/ 9430 h 10000"/>
                <a:gd name="connsiteX54" fmla="*/ 2995 w 10000"/>
                <a:gd name="connsiteY54" fmla="*/ 9440 h 10000"/>
                <a:gd name="connsiteX55" fmla="*/ 3137 w 10000"/>
                <a:gd name="connsiteY55" fmla="*/ 9470 h 10000"/>
                <a:gd name="connsiteX56" fmla="*/ 3324 w 10000"/>
                <a:gd name="connsiteY56" fmla="*/ 9456 h 10000"/>
                <a:gd name="connsiteX57" fmla="*/ 3514 w 10000"/>
                <a:gd name="connsiteY57" fmla="*/ 9489 h 10000"/>
                <a:gd name="connsiteX58" fmla="*/ 3704 w 10000"/>
                <a:gd name="connsiteY58" fmla="*/ 9493 h 10000"/>
                <a:gd name="connsiteX59" fmla="*/ 4129 w 10000"/>
                <a:gd name="connsiteY59" fmla="*/ 9061 h 10000"/>
                <a:gd name="connsiteX60" fmla="*/ 4236 w 10000"/>
                <a:gd name="connsiteY60" fmla="*/ 8711 h 10000"/>
                <a:gd name="connsiteX61" fmla="*/ 4409 w 10000"/>
                <a:gd name="connsiteY61" fmla="*/ 8554 h 10000"/>
                <a:gd name="connsiteX62" fmla="*/ 4409 w 10000"/>
                <a:gd name="connsiteY62" fmla="*/ 8472 h 10000"/>
                <a:gd name="connsiteX63" fmla="*/ 4347 w 10000"/>
                <a:gd name="connsiteY63" fmla="*/ 8425 h 10000"/>
                <a:gd name="connsiteX64" fmla="*/ 4449 w 10000"/>
                <a:gd name="connsiteY64" fmla="*/ 8352 h 10000"/>
                <a:gd name="connsiteX65" fmla="*/ 4430 w 10000"/>
                <a:gd name="connsiteY65" fmla="*/ 8289 h 10000"/>
                <a:gd name="connsiteX66" fmla="*/ 4360 w 10000"/>
                <a:gd name="connsiteY66" fmla="*/ 8236 h 10000"/>
                <a:gd name="connsiteX67" fmla="*/ 4347 w 10000"/>
                <a:gd name="connsiteY67" fmla="*/ 8199 h 10000"/>
                <a:gd name="connsiteX68" fmla="*/ 4364 w 10000"/>
                <a:gd name="connsiteY68" fmla="*/ 8169 h 10000"/>
                <a:gd name="connsiteX69" fmla="*/ 4458 w 10000"/>
                <a:gd name="connsiteY69" fmla="*/ 8193 h 10000"/>
                <a:gd name="connsiteX70" fmla="*/ 4533 w 10000"/>
                <a:gd name="connsiteY70" fmla="*/ 8191 h 10000"/>
                <a:gd name="connsiteX71" fmla="*/ 4492 w 10000"/>
                <a:gd name="connsiteY71" fmla="*/ 8140 h 10000"/>
                <a:gd name="connsiteX72" fmla="*/ 4505 w 10000"/>
                <a:gd name="connsiteY72" fmla="*/ 8112 h 10000"/>
                <a:gd name="connsiteX73" fmla="*/ 4559 w 10000"/>
                <a:gd name="connsiteY73" fmla="*/ 8069 h 10000"/>
                <a:gd name="connsiteX74" fmla="*/ 4550 w 10000"/>
                <a:gd name="connsiteY74" fmla="*/ 8034 h 10000"/>
                <a:gd name="connsiteX75" fmla="*/ 4600 w 10000"/>
                <a:gd name="connsiteY75" fmla="*/ 7916 h 10000"/>
                <a:gd name="connsiteX76" fmla="*/ 4587 w 10000"/>
                <a:gd name="connsiteY76" fmla="*/ 7881 h 10000"/>
                <a:gd name="connsiteX77" fmla="*/ 4329 w 10000"/>
                <a:gd name="connsiteY77" fmla="*/ 7792 h 10000"/>
                <a:gd name="connsiteX78" fmla="*/ 4364 w 10000"/>
                <a:gd name="connsiteY78" fmla="*/ 7788 h 10000"/>
                <a:gd name="connsiteX79" fmla="*/ 4501 w 10000"/>
                <a:gd name="connsiteY79" fmla="*/ 7812 h 10000"/>
                <a:gd name="connsiteX80" fmla="*/ 4648 w 10000"/>
                <a:gd name="connsiteY80" fmla="*/ 7804 h 10000"/>
                <a:gd name="connsiteX81" fmla="*/ 4692 w 10000"/>
                <a:gd name="connsiteY81" fmla="*/ 7771 h 10000"/>
                <a:gd name="connsiteX82" fmla="*/ 4550 w 10000"/>
                <a:gd name="connsiteY82" fmla="*/ 7710 h 10000"/>
                <a:gd name="connsiteX83" fmla="*/ 4125 w 10000"/>
                <a:gd name="connsiteY83" fmla="*/ 7670 h 10000"/>
                <a:gd name="connsiteX84" fmla="*/ 4155 w 10000"/>
                <a:gd name="connsiteY84" fmla="*/ 7651 h 10000"/>
                <a:gd name="connsiteX85" fmla="*/ 4501 w 10000"/>
                <a:gd name="connsiteY85" fmla="*/ 7639 h 10000"/>
                <a:gd name="connsiteX86" fmla="*/ 4692 w 10000"/>
                <a:gd name="connsiteY86" fmla="*/ 7676 h 10000"/>
                <a:gd name="connsiteX87" fmla="*/ 4803 w 10000"/>
                <a:gd name="connsiteY87" fmla="*/ 7651 h 10000"/>
                <a:gd name="connsiteX88" fmla="*/ 4843 w 10000"/>
                <a:gd name="connsiteY88" fmla="*/ 7588 h 10000"/>
                <a:gd name="connsiteX89" fmla="*/ 5042 w 10000"/>
                <a:gd name="connsiteY89" fmla="*/ 7588 h 10000"/>
                <a:gd name="connsiteX90" fmla="*/ 5313 w 10000"/>
                <a:gd name="connsiteY90" fmla="*/ 7462 h 10000"/>
                <a:gd name="connsiteX91" fmla="*/ 5322 w 10000"/>
                <a:gd name="connsiteY91" fmla="*/ 7378 h 10000"/>
                <a:gd name="connsiteX92" fmla="*/ 5436 w 10000"/>
                <a:gd name="connsiteY92" fmla="*/ 7397 h 10000"/>
                <a:gd name="connsiteX93" fmla="*/ 5432 w 10000"/>
                <a:gd name="connsiteY93" fmla="*/ 7482 h 10000"/>
                <a:gd name="connsiteX94" fmla="*/ 5614 w 10000"/>
                <a:gd name="connsiteY94" fmla="*/ 7476 h 10000"/>
                <a:gd name="connsiteX95" fmla="*/ 5733 w 10000"/>
                <a:gd name="connsiteY95" fmla="*/ 7388 h 10000"/>
                <a:gd name="connsiteX96" fmla="*/ 5956 w 10000"/>
                <a:gd name="connsiteY96" fmla="*/ 7309 h 10000"/>
                <a:gd name="connsiteX97" fmla="*/ 5919 w 10000"/>
                <a:gd name="connsiteY97" fmla="*/ 7219 h 10000"/>
                <a:gd name="connsiteX98" fmla="*/ 5986 w 10000"/>
                <a:gd name="connsiteY98" fmla="*/ 7254 h 10000"/>
                <a:gd name="connsiteX99" fmla="*/ 6088 w 10000"/>
                <a:gd name="connsiteY99" fmla="*/ 7254 h 10000"/>
                <a:gd name="connsiteX100" fmla="*/ 6088 w 10000"/>
                <a:gd name="connsiteY100" fmla="*/ 7213 h 10000"/>
                <a:gd name="connsiteX101" fmla="*/ 6181 w 10000"/>
                <a:gd name="connsiteY101" fmla="*/ 7181 h 10000"/>
                <a:gd name="connsiteX102" fmla="*/ 6168 w 10000"/>
                <a:gd name="connsiteY102" fmla="*/ 7148 h 10000"/>
                <a:gd name="connsiteX103" fmla="*/ 5371 w 10000"/>
                <a:gd name="connsiteY103" fmla="*/ 7215 h 10000"/>
                <a:gd name="connsiteX104" fmla="*/ 5184 w 10000"/>
                <a:gd name="connsiteY104" fmla="*/ 7195 h 10000"/>
                <a:gd name="connsiteX105" fmla="*/ 5109 w 10000"/>
                <a:gd name="connsiteY105" fmla="*/ 7219 h 10000"/>
                <a:gd name="connsiteX106" fmla="*/ 5083 w 10000"/>
                <a:gd name="connsiteY106" fmla="*/ 7173 h 10000"/>
                <a:gd name="connsiteX107" fmla="*/ 4994 w 10000"/>
                <a:gd name="connsiteY107" fmla="*/ 7132 h 10000"/>
                <a:gd name="connsiteX108" fmla="*/ 4639 w 10000"/>
                <a:gd name="connsiteY108" fmla="*/ 7052 h 10000"/>
                <a:gd name="connsiteX109" fmla="*/ 4430 w 10000"/>
                <a:gd name="connsiteY109" fmla="*/ 7065 h 10000"/>
                <a:gd name="connsiteX110" fmla="*/ 4347 w 10000"/>
                <a:gd name="connsiteY110" fmla="*/ 7042 h 10000"/>
                <a:gd name="connsiteX111" fmla="*/ 4435 w 10000"/>
                <a:gd name="connsiteY111" fmla="*/ 7022 h 10000"/>
                <a:gd name="connsiteX112" fmla="*/ 4501 w 10000"/>
                <a:gd name="connsiteY112" fmla="*/ 6979 h 10000"/>
                <a:gd name="connsiteX113" fmla="*/ 4600 w 10000"/>
                <a:gd name="connsiteY113" fmla="*/ 6993 h 10000"/>
                <a:gd name="connsiteX114" fmla="*/ 4719 w 10000"/>
                <a:gd name="connsiteY114" fmla="*/ 6981 h 10000"/>
                <a:gd name="connsiteX115" fmla="*/ 4896 w 10000"/>
                <a:gd name="connsiteY115" fmla="*/ 6995 h 10000"/>
                <a:gd name="connsiteX116" fmla="*/ 4917 w 10000"/>
                <a:gd name="connsiteY116" fmla="*/ 6989 h 10000"/>
                <a:gd name="connsiteX117" fmla="*/ 5056 w 10000"/>
                <a:gd name="connsiteY117" fmla="*/ 7056 h 10000"/>
                <a:gd name="connsiteX118" fmla="*/ 5158 w 10000"/>
                <a:gd name="connsiteY118" fmla="*/ 7032 h 10000"/>
                <a:gd name="connsiteX119" fmla="*/ 5166 w 10000"/>
                <a:gd name="connsiteY119" fmla="*/ 7010 h 10000"/>
                <a:gd name="connsiteX120" fmla="*/ 5259 w 10000"/>
                <a:gd name="connsiteY120" fmla="*/ 7048 h 10000"/>
                <a:gd name="connsiteX121" fmla="*/ 5384 w 10000"/>
                <a:gd name="connsiteY121" fmla="*/ 7069 h 10000"/>
                <a:gd name="connsiteX122" fmla="*/ 5432 w 10000"/>
                <a:gd name="connsiteY122" fmla="*/ 7030 h 10000"/>
                <a:gd name="connsiteX123" fmla="*/ 5472 w 10000"/>
                <a:gd name="connsiteY123" fmla="*/ 7052 h 10000"/>
                <a:gd name="connsiteX124" fmla="*/ 5529 w 10000"/>
                <a:gd name="connsiteY124" fmla="*/ 7126 h 10000"/>
                <a:gd name="connsiteX125" fmla="*/ 5649 w 10000"/>
                <a:gd name="connsiteY125" fmla="*/ 7144 h 10000"/>
                <a:gd name="connsiteX126" fmla="*/ 6137 w 10000"/>
                <a:gd name="connsiteY126" fmla="*/ 7034 h 10000"/>
                <a:gd name="connsiteX127" fmla="*/ 6376 w 10000"/>
                <a:gd name="connsiteY127" fmla="*/ 6879 h 10000"/>
                <a:gd name="connsiteX128" fmla="*/ 6433 w 10000"/>
                <a:gd name="connsiteY128" fmla="*/ 6765 h 10000"/>
                <a:gd name="connsiteX129" fmla="*/ 6346 w 10000"/>
                <a:gd name="connsiteY129" fmla="*/ 6663 h 10000"/>
                <a:gd name="connsiteX130" fmla="*/ 6163 w 10000"/>
                <a:gd name="connsiteY130" fmla="*/ 6602 h 10000"/>
                <a:gd name="connsiteX131" fmla="*/ 6034 w 10000"/>
                <a:gd name="connsiteY131" fmla="*/ 6502 h 10000"/>
                <a:gd name="connsiteX132" fmla="*/ 6155 w 10000"/>
                <a:gd name="connsiteY132" fmla="*/ 6498 h 10000"/>
                <a:gd name="connsiteX133" fmla="*/ 6146 w 10000"/>
                <a:gd name="connsiteY133" fmla="*/ 6474 h 10000"/>
                <a:gd name="connsiteX134" fmla="*/ 5832 w 10000"/>
                <a:gd name="connsiteY134" fmla="*/ 6403 h 10000"/>
                <a:gd name="connsiteX135" fmla="*/ 5819 w 10000"/>
                <a:gd name="connsiteY135" fmla="*/ 6339 h 10000"/>
                <a:gd name="connsiteX136" fmla="*/ 5760 w 10000"/>
                <a:gd name="connsiteY136" fmla="*/ 6272 h 10000"/>
                <a:gd name="connsiteX137" fmla="*/ 5511 w 10000"/>
                <a:gd name="connsiteY137" fmla="*/ 6284 h 10000"/>
                <a:gd name="connsiteX138" fmla="*/ 5423 w 10000"/>
                <a:gd name="connsiteY138" fmla="*/ 6213 h 10000"/>
                <a:gd name="connsiteX139" fmla="*/ 5371 w 10000"/>
                <a:gd name="connsiteY139" fmla="*/ 6209 h 10000"/>
                <a:gd name="connsiteX140" fmla="*/ 5371 w 10000"/>
                <a:gd name="connsiteY140" fmla="*/ 6238 h 10000"/>
                <a:gd name="connsiteX141" fmla="*/ 5259 w 10000"/>
                <a:gd name="connsiteY141" fmla="*/ 6358 h 10000"/>
                <a:gd name="connsiteX142" fmla="*/ 5139 w 10000"/>
                <a:gd name="connsiteY142" fmla="*/ 6429 h 10000"/>
                <a:gd name="connsiteX143" fmla="*/ 4762 w 10000"/>
                <a:gd name="connsiteY143" fmla="*/ 6551 h 10000"/>
                <a:gd name="connsiteX144" fmla="*/ 4630 w 10000"/>
                <a:gd name="connsiteY144" fmla="*/ 6547 h 10000"/>
                <a:gd name="connsiteX145" fmla="*/ 4449 w 10000"/>
                <a:gd name="connsiteY145" fmla="*/ 6565 h 10000"/>
                <a:gd name="connsiteX146" fmla="*/ 4347 w 10000"/>
                <a:gd name="connsiteY146" fmla="*/ 6547 h 10000"/>
                <a:gd name="connsiteX147" fmla="*/ 4479 w 10000"/>
                <a:gd name="connsiteY147" fmla="*/ 6513 h 10000"/>
                <a:gd name="connsiteX148" fmla="*/ 4652 w 10000"/>
                <a:gd name="connsiteY148" fmla="*/ 6498 h 10000"/>
                <a:gd name="connsiteX149" fmla="*/ 4795 w 10000"/>
                <a:gd name="connsiteY149" fmla="*/ 6441 h 10000"/>
                <a:gd name="connsiteX150" fmla="*/ 4935 w 10000"/>
                <a:gd name="connsiteY150" fmla="*/ 6415 h 10000"/>
                <a:gd name="connsiteX151" fmla="*/ 5198 w 10000"/>
                <a:gd name="connsiteY151" fmla="*/ 6317 h 10000"/>
                <a:gd name="connsiteX152" fmla="*/ 5246 w 10000"/>
                <a:gd name="connsiteY152" fmla="*/ 6252 h 10000"/>
                <a:gd name="connsiteX153" fmla="*/ 5250 w 10000"/>
                <a:gd name="connsiteY153" fmla="*/ 6168 h 10000"/>
                <a:gd name="connsiteX154" fmla="*/ 5131 w 10000"/>
                <a:gd name="connsiteY154" fmla="*/ 6154 h 10000"/>
                <a:gd name="connsiteX155" fmla="*/ 5184 w 10000"/>
                <a:gd name="connsiteY155" fmla="*/ 6103 h 10000"/>
                <a:gd name="connsiteX156" fmla="*/ 5202 w 10000"/>
                <a:gd name="connsiteY156" fmla="*/ 6038 h 10000"/>
                <a:gd name="connsiteX157" fmla="*/ 5152 w 10000"/>
                <a:gd name="connsiteY157" fmla="*/ 5977 h 10000"/>
                <a:gd name="connsiteX158" fmla="*/ 5122 w 10000"/>
                <a:gd name="connsiteY158" fmla="*/ 5533 h 10000"/>
                <a:gd name="connsiteX159" fmla="*/ 5194 w 10000"/>
                <a:gd name="connsiteY159" fmla="*/ 5437 h 10000"/>
                <a:gd name="connsiteX160" fmla="*/ 5175 w 10000"/>
                <a:gd name="connsiteY160" fmla="*/ 5398 h 10000"/>
                <a:gd name="connsiteX161" fmla="*/ 5384 w 10000"/>
                <a:gd name="connsiteY161" fmla="*/ 5455 h 10000"/>
                <a:gd name="connsiteX162" fmla="*/ 5397 w 10000"/>
                <a:gd name="connsiteY162" fmla="*/ 5402 h 10000"/>
                <a:gd name="connsiteX163" fmla="*/ 5353 w 10000"/>
                <a:gd name="connsiteY163" fmla="*/ 5264 h 10000"/>
                <a:gd name="connsiteX164" fmla="*/ 5502 w 10000"/>
                <a:gd name="connsiteY164" fmla="*/ 5019 h 10000"/>
                <a:gd name="connsiteX165" fmla="*/ 5410 w 10000"/>
                <a:gd name="connsiteY165" fmla="*/ 4960 h 10000"/>
                <a:gd name="connsiteX166" fmla="*/ 5375 w 10000"/>
                <a:gd name="connsiteY166" fmla="*/ 4905 h 10000"/>
                <a:gd name="connsiteX167" fmla="*/ 5388 w 10000"/>
                <a:gd name="connsiteY167" fmla="*/ 4816 h 10000"/>
                <a:gd name="connsiteX168" fmla="*/ 5606 w 10000"/>
                <a:gd name="connsiteY168" fmla="*/ 4875 h 10000"/>
                <a:gd name="connsiteX169" fmla="*/ 5614 w 10000"/>
                <a:gd name="connsiteY169" fmla="*/ 4858 h 10000"/>
                <a:gd name="connsiteX170" fmla="*/ 5675 w 10000"/>
                <a:gd name="connsiteY170" fmla="*/ 4842 h 10000"/>
                <a:gd name="connsiteX171" fmla="*/ 5760 w 10000"/>
                <a:gd name="connsiteY171" fmla="*/ 4785 h 10000"/>
                <a:gd name="connsiteX172" fmla="*/ 5773 w 10000"/>
                <a:gd name="connsiteY172" fmla="*/ 4769 h 10000"/>
                <a:gd name="connsiteX173" fmla="*/ 5756 w 10000"/>
                <a:gd name="connsiteY173" fmla="*/ 4748 h 10000"/>
                <a:gd name="connsiteX174" fmla="*/ 5799 w 10000"/>
                <a:gd name="connsiteY174" fmla="*/ 4647 h 10000"/>
                <a:gd name="connsiteX175" fmla="*/ 5747 w 10000"/>
                <a:gd name="connsiteY175" fmla="*/ 4581 h 10000"/>
                <a:gd name="connsiteX176" fmla="*/ 5756 w 10000"/>
                <a:gd name="connsiteY176" fmla="*/ 4528 h 10000"/>
                <a:gd name="connsiteX177" fmla="*/ 5786 w 10000"/>
                <a:gd name="connsiteY177" fmla="*/ 4590 h 10000"/>
                <a:gd name="connsiteX178" fmla="*/ 5906 w 10000"/>
                <a:gd name="connsiteY178" fmla="*/ 4636 h 10000"/>
                <a:gd name="connsiteX179" fmla="*/ 5956 w 10000"/>
                <a:gd name="connsiteY179" fmla="*/ 4630 h 10000"/>
                <a:gd name="connsiteX180" fmla="*/ 6034 w 10000"/>
                <a:gd name="connsiteY180" fmla="*/ 4569 h 10000"/>
                <a:gd name="connsiteX181" fmla="*/ 6119 w 10000"/>
                <a:gd name="connsiteY181" fmla="*/ 4594 h 10000"/>
                <a:gd name="connsiteX182" fmla="*/ 6142 w 10000"/>
                <a:gd name="connsiteY182" fmla="*/ 4545 h 10000"/>
                <a:gd name="connsiteX183" fmla="*/ 6199 w 10000"/>
                <a:gd name="connsiteY183" fmla="*/ 4512 h 10000"/>
                <a:gd name="connsiteX184" fmla="*/ 6043 w 10000"/>
                <a:gd name="connsiteY184" fmla="*/ 4477 h 10000"/>
                <a:gd name="connsiteX185" fmla="*/ 6155 w 10000"/>
                <a:gd name="connsiteY185" fmla="*/ 4484 h 10000"/>
                <a:gd name="connsiteX186" fmla="*/ 6269 w 10000"/>
                <a:gd name="connsiteY186" fmla="*/ 4447 h 10000"/>
                <a:gd name="connsiteX187" fmla="*/ 6265 w 10000"/>
                <a:gd name="connsiteY187" fmla="*/ 4422 h 10000"/>
                <a:gd name="connsiteX188" fmla="*/ 6372 w 10000"/>
                <a:gd name="connsiteY188" fmla="*/ 4398 h 10000"/>
                <a:gd name="connsiteX189" fmla="*/ 6381 w 10000"/>
                <a:gd name="connsiteY189" fmla="*/ 4337 h 10000"/>
                <a:gd name="connsiteX190" fmla="*/ 6465 w 10000"/>
                <a:gd name="connsiteY190" fmla="*/ 4325 h 10000"/>
                <a:gd name="connsiteX191" fmla="*/ 6473 w 10000"/>
                <a:gd name="connsiteY191" fmla="*/ 4253 h 10000"/>
                <a:gd name="connsiteX192" fmla="*/ 6561 w 10000"/>
                <a:gd name="connsiteY192" fmla="*/ 4245 h 10000"/>
                <a:gd name="connsiteX193" fmla="*/ 6699 w 10000"/>
                <a:gd name="connsiteY193" fmla="*/ 4260 h 10000"/>
                <a:gd name="connsiteX194" fmla="*/ 6849 w 10000"/>
                <a:gd name="connsiteY194" fmla="*/ 4202 h 10000"/>
                <a:gd name="connsiteX195" fmla="*/ 6903 w 10000"/>
                <a:gd name="connsiteY195" fmla="*/ 4137 h 10000"/>
                <a:gd name="connsiteX196" fmla="*/ 7089 w 10000"/>
                <a:gd name="connsiteY196" fmla="*/ 4070 h 10000"/>
                <a:gd name="connsiteX197" fmla="*/ 7182 w 10000"/>
                <a:gd name="connsiteY197" fmla="*/ 4111 h 10000"/>
                <a:gd name="connsiteX198" fmla="*/ 7324 w 10000"/>
                <a:gd name="connsiteY198" fmla="*/ 4066 h 10000"/>
                <a:gd name="connsiteX199" fmla="*/ 7359 w 10000"/>
                <a:gd name="connsiteY199" fmla="*/ 4009 h 10000"/>
                <a:gd name="connsiteX200" fmla="*/ 7466 w 10000"/>
                <a:gd name="connsiteY200" fmla="*/ 3970 h 10000"/>
                <a:gd name="connsiteX201" fmla="*/ 7558 w 10000"/>
                <a:gd name="connsiteY201" fmla="*/ 3987 h 10000"/>
                <a:gd name="connsiteX202" fmla="*/ 7616 w 10000"/>
                <a:gd name="connsiteY202" fmla="*/ 3958 h 10000"/>
                <a:gd name="connsiteX203" fmla="*/ 7776 w 10000"/>
                <a:gd name="connsiteY203" fmla="*/ 3917 h 10000"/>
                <a:gd name="connsiteX204" fmla="*/ 7842 w 10000"/>
                <a:gd name="connsiteY204" fmla="*/ 3864 h 10000"/>
                <a:gd name="connsiteX205" fmla="*/ 7931 w 10000"/>
                <a:gd name="connsiteY205" fmla="*/ 3842 h 10000"/>
                <a:gd name="connsiteX206" fmla="*/ 8423 w 10000"/>
                <a:gd name="connsiteY206" fmla="*/ 3522 h 10000"/>
                <a:gd name="connsiteX207" fmla="*/ 10000 w 10000"/>
                <a:gd name="connsiteY207" fmla="*/ 1699 h 10000"/>
                <a:gd name="connsiteX208" fmla="*/ 9722 w 10000"/>
                <a:gd name="connsiteY208" fmla="*/ 1465 h 10000"/>
                <a:gd name="connsiteX209" fmla="*/ 9676 w 10000"/>
                <a:gd name="connsiteY209" fmla="*/ 1379 h 10000"/>
                <a:gd name="connsiteX210" fmla="*/ 9739 w 10000"/>
                <a:gd name="connsiteY210" fmla="*/ 1271 h 10000"/>
                <a:gd name="connsiteX211" fmla="*/ 9709 w 10000"/>
                <a:gd name="connsiteY211" fmla="*/ 1194 h 10000"/>
                <a:gd name="connsiteX212" fmla="*/ 9650 w 10000"/>
                <a:gd name="connsiteY212" fmla="*/ 1159 h 10000"/>
                <a:gd name="connsiteX213" fmla="*/ 9601 w 10000"/>
                <a:gd name="connsiteY213" fmla="*/ 978 h 10000"/>
                <a:gd name="connsiteX214" fmla="*/ 9659 w 10000"/>
                <a:gd name="connsiteY214" fmla="*/ 831 h 10000"/>
                <a:gd name="connsiteX215" fmla="*/ 9234 w 10000"/>
                <a:gd name="connsiteY215" fmla="*/ 517 h 10000"/>
                <a:gd name="connsiteX216" fmla="*/ 9025 w 10000"/>
                <a:gd name="connsiteY216" fmla="*/ 440 h 10000"/>
                <a:gd name="connsiteX217" fmla="*/ 8639 w 10000"/>
                <a:gd name="connsiteY217" fmla="*/ 389 h 10000"/>
                <a:gd name="connsiteX218" fmla="*/ 7842 w 10000"/>
                <a:gd name="connsiteY218" fmla="*/ 26 h 10000"/>
                <a:gd name="connsiteX219" fmla="*/ 7816 w 10000"/>
                <a:gd name="connsiteY219" fmla="*/ 2 h 10000"/>
                <a:gd name="connsiteX220" fmla="*/ 7545 w 10000"/>
                <a:gd name="connsiteY220" fmla="*/ 0 h 10000"/>
                <a:gd name="connsiteX221" fmla="*/ 7483 w 10000"/>
                <a:gd name="connsiteY221" fmla="*/ 14 h 10000"/>
                <a:gd name="connsiteX222" fmla="*/ 7497 w 10000"/>
                <a:gd name="connsiteY222" fmla="*/ 61 h 10000"/>
                <a:gd name="connsiteX223" fmla="*/ 7550 w 10000"/>
                <a:gd name="connsiteY223" fmla="*/ 86 h 10000"/>
                <a:gd name="connsiteX224" fmla="*/ 7564 w 10000"/>
                <a:gd name="connsiteY224" fmla="*/ 139 h 10000"/>
                <a:gd name="connsiteX225" fmla="*/ 7545 w 10000"/>
                <a:gd name="connsiteY225" fmla="*/ 181 h 10000"/>
                <a:gd name="connsiteX226" fmla="*/ 7497 w 10000"/>
                <a:gd name="connsiteY226" fmla="*/ 208 h 10000"/>
                <a:gd name="connsiteX227" fmla="*/ 7461 w 10000"/>
                <a:gd name="connsiteY227" fmla="*/ 283 h 10000"/>
                <a:gd name="connsiteX228" fmla="*/ 7395 w 10000"/>
                <a:gd name="connsiteY228" fmla="*/ 336 h 10000"/>
                <a:gd name="connsiteX229" fmla="*/ 7408 w 10000"/>
                <a:gd name="connsiteY229" fmla="*/ 387 h 10000"/>
                <a:gd name="connsiteX230" fmla="*/ 7510 w 10000"/>
                <a:gd name="connsiteY230" fmla="*/ 434 h 10000"/>
                <a:gd name="connsiteX231" fmla="*/ 7444 w 10000"/>
                <a:gd name="connsiteY231" fmla="*/ 475 h 10000"/>
                <a:gd name="connsiteX232" fmla="*/ 7346 w 10000"/>
                <a:gd name="connsiteY232" fmla="*/ 485 h 10000"/>
                <a:gd name="connsiteX233" fmla="*/ 6531 w 10000"/>
                <a:gd name="connsiteY233" fmla="*/ 387 h 10000"/>
                <a:gd name="connsiteX234" fmla="*/ 6433 w 10000"/>
                <a:gd name="connsiteY234" fmla="*/ 395 h 10000"/>
                <a:gd name="connsiteX235" fmla="*/ 6376 w 10000"/>
                <a:gd name="connsiteY235" fmla="*/ 414 h 10000"/>
                <a:gd name="connsiteX236" fmla="*/ 6318 w 10000"/>
                <a:gd name="connsiteY236" fmla="*/ 462 h 10000"/>
                <a:gd name="connsiteX237" fmla="*/ 6328 w 10000"/>
                <a:gd name="connsiteY237" fmla="*/ 581 h 10000"/>
                <a:gd name="connsiteX238" fmla="*/ 6238 w 10000"/>
                <a:gd name="connsiteY238" fmla="*/ 735 h 10000"/>
                <a:gd name="connsiteX239" fmla="*/ 6128 w 10000"/>
                <a:gd name="connsiteY239" fmla="*/ 815 h 10000"/>
                <a:gd name="connsiteX240" fmla="*/ 6084 w 10000"/>
                <a:gd name="connsiteY240" fmla="*/ 805 h 10000"/>
                <a:gd name="connsiteX241" fmla="*/ 5982 w 10000"/>
                <a:gd name="connsiteY241" fmla="*/ 739 h 10000"/>
                <a:gd name="connsiteX242" fmla="*/ 5853 w 10000"/>
                <a:gd name="connsiteY242" fmla="*/ 705 h 10000"/>
                <a:gd name="connsiteX243" fmla="*/ 5715 w 10000"/>
                <a:gd name="connsiteY243" fmla="*/ 715 h 10000"/>
                <a:gd name="connsiteX244" fmla="*/ 5393 w 10000"/>
                <a:gd name="connsiteY244" fmla="*/ 866 h 10000"/>
                <a:gd name="connsiteX245" fmla="*/ 5308 w 10000"/>
                <a:gd name="connsiteY245" fmla="*/ 1017 h 10000"/>
                <a:gd name="connsiteX246" fmla="*/ 5065 w 10000"/>
                <a:gd name="connsiteY246" fmla="*/ 1153 h 10000"/>
                <a:gd name="connsiteX247" fmla="*/ 5020 w 10000"/>
                <a:gd name="connsiteY247" fmla="*/ 1222 h 10000"/>
                <a:gd name="connsiteX248" fmla="*/ 5148 w 10000"/>
                <a:gd name="connsiteY248" fmla="*/ 1344 h 10000"/>
                <a:gd name="connsiteX249" fmla="*/ 5162 w 10000"/>
                <a:gd name="connsiteY249" fmla="*/ 1412 h 10000"/>
                <a:gd name="connsiteX250" fmla="*/ 4497 w 10000"/>
                <a:gd name="connsiteY250" fmla="*/ 1813 h 10000"/>
                <a:gd name="connsiteX251" fmla="*/ 4293 w 10000"/>
                <a:gd name="connsiteY251" fmla="*/ 2070 h 10000"/>
                <a:gd name="connsiteX252" fmla="*/ 4073 w 10000"/>
                <a:gd name="connsiteY252" fmla="*/ 2135 h 10000"/>
                <a:gd name="connsiteX253" fmla="*/ 3934 w 10000"/>
                <a:gd name="connsiteY253" fmla="*/ 2131 h 10000"/>
                <a:gd name="connsiteX254" fmla="*/ 3851 w 10000"/>
                <a:gd name="connsiteY254" fmla="*/ 2153 h 10000"/>
                <a:gd name="connsiteX255" fmla="*/ 3620 w 10000"/>
                <a:gd name="connsiteY255" fmla="*/ 2793 h 10000"/>
                <a:gd name="connsiteX256" fmla="*/ 3089 w 10000"/>
                <a:gd name="connsiteY256" fmla="*/ 3166 h 10000"/>
                <a:gd name="connsiteX257" fmla="*/ 3093 w 10000"/>
                <a:gd name="connsiteY257" fmla="*/ 3225 h 10000"/>
                <a:gd name="connsiteX258" fmla="*/ 3328 w 10000"/>
                <a:gd name="connsiteY258" fmla="*/ 3392 h 10000"/>
                <a:gd name="connsiteX259" fmla="*/ 3253 w 10000"/>
                <a:gd name="connsiteY259" fmla="*/ 3573 h 10000"/>
                <a:gd name="connsiteX260" fmla="*/ 3115 w 10000"/>
                <a:gd name="connsiteY260" fmla="*/ 3640 h 10000"/>
                <a:gd name="connsiteX261" fmla="*/ 2703 w 10000"/>
                <a:gd name="connsiteY261" fmla="*/ 3595 h 10000"/>
                <a:gd name="connsiteX262" fmla="*/ 2418 w 10000"/>
                <a:gd name="connsiteY262" fmla="*/ 3620 h 10000"/>
                <a:gd name="connsiteX263" fmla="*/ 2189 w 10000"/>
                <a:gd name="connsiteY263" fmla="*/ 3673 h 10000"/>
                <a:gd name="connsiteX264" fmla="*/ 1821 w 10000"/>
                <a:gd name="connsiteY264" fmla="*/ 3840 h 10000"/>
                <a:gd name="connsiteX265" fmla="*/ 1625 w 10000"/>
                <a:gd name="connsiteY265" fmla="*/ 4042 h 10000"/>
                <a:gd name="connsiteX266" fmla="*/ 1643 w 10000"/>
                <a:gd name="connsiteY266" fmla="*/ 4154 h 10000"/>
                <a:gd name="connsiteX267" fmla="*/ 1711 w 10000"/>
                <a:gd name="connsiteY267" fmla="*/ 4241 h 10000"/>
                <a:gd name="connsiteX268" fmla="*/ 1763 w 10000"/>
                <a:gd name="connsiteY268" fmla="*/ 4276 h 10000"/>
                <a:gd name="connsiteX269" fmla="*/ 1666 w 10000"/>
                <a:gd name="connsiteY269" fmla="*/ 4331 h 10000"/>
                <a:gd name="connsiteX270" fmla="*/ 1458 w 10000"/>
                <a:gd name="connsiteY270" fmla="*/ 4710 h 10000"/>
                <a:gd name="connsiteX271" fmla="*/ 1498 w 10000"/>
                <a:gd name="connsiteY271" fmla="*/ 4732 h 10000"/>
                <a:gd name="connsiteX272" fmla="*/ 1529 w 10000"/>
                <a:gd name="connsiteY272" fmla="*/ 4828 h 10000"/>
                <a:gd name="connsiteX273" fmla="*/ 1431 w 10000"/>
                <a:gd name="connsiteY273" fmla="*/ 5227 h 10000"/>
                <a:gd name="connsiteX274" fmla="*/ 1529 w 10000"/>
                <a:gd name="connsiteY274" fmla="*/ 5329 h 10000"/>
                <a:gd name="connsiteX275" fmla="*/ 1794 w 10000"/>
                <a:gd name="connsiteY275" fmla="*/ 5441 h 10000"/>
                <a:gd name="connsiteX276" fmla="*/ 1807 w 10000"/>
                <a:gd name="connsiteY276" fmla="*/ 5578 h 10000"/>
                <a:gd name="connsiteX277" fmla="*/ 1694 w 10000"/>
                <a:gd name="connsiteY277" fmla="*/ 5690 h 10000"/>
                <a:gd name="connsiteX278" fmla="*/ 1529 w 10000"/>
                <a:gd name="connsiteY278" fmla="*/ 5759 h 10000"/>
                <a:gd name="connsiteX279" fmla="*/ 1311 w 10000"/>
                <a:gd name="connsiteY279" fmla="*/ 5787 h 10000"/>
                <a:gd name="connsiteX280" fmla="*/ 1254 w 10000"/>
                <a:gd name="connsiteY280" fmla="*/ 5826 h 10000"/>
                <a:gd name="connsiteX281" fmla="*/ 1382 w 10000"/>
                <a:gd name="connsiteY281" fmla="*/ 5920 h 10000"/>
                <a:gd name="connsiteX282" fmla="*/ 1454 w 10000"/>
                <a:gd name="connsiteY282" fmla="*/ 6142 h 10000"/>
                <a:gd name="connsiteX283" fmla="*/ 1289 w 10000"/>
                <a:gd name="connsiteY283" fmla="*/ 6333 h 10000"/>
                <a:gd name="connsiteX284" fmla="*/ 1347 w 10000"/>
                <a:gd name="connsiteY284" fmla="*/ 6392 h 10000"/>
                <a:gd name="connsiteX285" fmla="*/ 1294 w 10000"/>
                <a:gd name="connsiteY285" fmla="*/ 6492 h 10000"/>
                <a:gd name="connsiteX286" fmla="*/ 1188 w 10000"/>
                <a:gd name="connsiteY286" fmla="*/ 6561 h 10000"/>
                <a:gd name="connsiteX287" fmla="*/ 771 w 10000"/>
                <a:gd name="connsiteY287" fmla="*/ 6614 h 10000"/>
                <a:gd name="connsiteX288" fmla="*/ 745 w 10000"/>
                <a:gd name="connsiteY288" fmla="*/ 6706 h 10000"/>
                <a:gd name="connsiteX289" fmla="*/ 519 w 10000"/>
                <a:gd name="connsiteY289" fmla="*/ 6843 h 10000"/>
                <a:gd name="connsiteX290" fmla="*/ 549 w 10000"/>
                <a:gd name="connsiteY290" fmla="*/ 7040 h 10000"/>
                <a:gd name="connsiteX291" fmla="*/ 359 w 10000"/>
                <a:gd name="connsiteY291" fmla="*/ 7293 h 10000"/>
                <a:gd name="connsiteX292" fmla="*/ 230 w 10000"/>
                <a:gd name="connsiteY292" fmla="*/ 7323 h 10000"/>
                <a:gd name="connsiteX293" fmla="*/ 177 w 10000"/>
                <a:gd name="connsiteY293" fmla="*/ 7262 h 10000"/>
                <a:gd name="connsiteX294" fmla="*/ 111 w 10000"/>
                <a:gd name="connsiteY294" fmla="*/ 7354 h 10000"/>
                <a:gd name="connsiteX295" fmla="*/ 155 w 10000"/>
                <a:gd name="connsiteY295" fmla="*/ 7197 h 10000"/>
                <a:gd name="connsiteX296" fmla="*/ 128 w 10000"/>
                <a:gd name="connsiteY296" fmla="*/ 7166 h 10000"/>
                <a:gd name="connsiteX0" fmla="*/ 128 w 9739"/>
                <a:gd name="connsiteY0" fmla="*/ 7166 h 10000"/>
                <a:gd name="connsiteX1" fmla="*/ 0 w 9739"/>
                <a:gd name="connsiteY1" fmla="*/ 7248 h 10000"/>
                <a:gd name="connsiteX2" fmla="*/ 0 w 9739"/>
                <a:gd name="connsiteY2" fmla="*/ 7651 h 10000"/>
                <a:gd name="connsiteX3" fmla="*/ 71 w 9739"/>
                <a:gd name="connsiteY3" fmla="*/ 7663 h 10000"/>
                <a:gd name="connsiteX4" fmla="*/ 88 w 9739"/>
                <a:gd name="connsiteY4" fmla="*/ 7694 h 10000"/>
                <a:gd name="connsiteX5" fmla="*/ 84 w 9739"/>
                <a:gd name="connsiteY5" fmla="*/ 7749 h 10000"/>
                <a:gd name="connsiteX6" fmla="*/ 57 w 9739"/>
                <a:gd name="connsiteY6" fmla="*/ 7773 h 10000"/>
                <a:gd name="connsiteX7" fmla="*/ 164 w 9739"/>
                <a:gd name="connsiteY7" fmla="*/ 7727 h 10000"/>
                <a:gd name="connsiteX8" fmla="*/ 209 w 9739"/>
                <a:gd name="connsiteY8" fmla="*/ 7680 h 10000"/>
                <a:gd name="connsiteX9" fmla="*/ 265 w 9739"/>
                <a:gd name="connsiteY9" fmla="*/ 7712 h 10000"/>
                <a:gd name="connsiteX10" fmla="*/ 204 w 9739"/>
                <a:gd name="connsiteY10" fmla="*/ 7778 h 10000"/>
                <a:gd name="connsiteX11" fmla="*/ 270 w 9739"/>
                <a:gd name="connsiteY11" fmla="*/ 7780 h 10000"/>
                <a:gd name="connsiteX12" fmla="*/ 301 w 9739"/>
                <a:gd name="connsiteY12" fmla="*/ 7796 h 10000"/>
                <a:gd name="connsiteX13" fmla="*/ 217 w 9739"/>
                <a:gd name="connsiteY13" fmla="*/ 7818 h 10000"/>
                <a:gd name="connsiteX14" fmla="*/ 84 w 9739"/>
                <a:gd name="connsiteY14" fmla="*/ 7886 h 10000"/>
                <a:gd name="connsiteX15" fmla="*/ 320 w 9739"/>
                <a:gd name="connsiteY15" fmla="*/ 7938 h 10000"/>
                <a:gd name="connsiteX16" fmla="*/ 350 w 9739"/>
                <a:gd name="connsiteY16" fmla="*/ 8014 h 10000"/>
                <a:gd name="connsiteX17" fmla="*/ 270 w 9739"/>
                <a:gd name="connsiteY17" fmla="*/ 8126 h 10000"/>
                <a:gd name="connsiteX18" fmla="*/ 444 w 9739"/>
                <a:gd name="connsiteY18" fmla="*/ 8118 h 10000"/>
                <a:gd name="connsiteX19" fmla="*/ 457 w 9739"/>
                <a:gd name="connsiteY19" fmla="*/ 8203 h 10000"/>
                <a:gd name="connsiteX20" fmla="*/ 341 w 9739"/>
                <a:gd name="connsiteY20" fmla="*/ 8260 h 10000"/>
                <a:gd name="connsiteX21" fmla="*/ 359 w 9739"/>
                <a:gd name="connsiteY21" fmla="*/ 8370 h 10000"/>
                <a:gd name="connsiteX22" fmla="*/ 315 w 9739"/>
                <a:gd name="connsiteY22" fmla="*/ 8456 h 10000"/>
                <a:gd name="connsiteX23" fmla="*/ 452 w 9739"/>
                <a:gd name="connsiteY23" fmla="*/ 8464 h 10000"/>
                <a:gd name="connsiteX24" fmla="*/ 585 w 9739"/>
                <a:gd name="connsiteY24" fmla="*/ 8792 h 10000"/>
                <a:gd name="connsiteX25" fmla="*/ 740 w 9739"/>
                <a:gd name="connsiteY25" fmla="*/ 8876 h 10000"/>
                <a:gd name="connsiteX26" fmla="*/ 806 w 9739"/>
                <a:gd name="connsiteY26" fmla="*/ 8965 h 10000"/>
                <a:gd name="connsiteX27" fmla="*/ 975 w 9739"/>
                <a:gd name="connsiteY27" fmla="*/ 9030 h 10000"/>
                <a:gd name="connsiteX28" fmla="*/ 1082 w 9739"/>
                <a:gd name="connsiteY28" fmla="*/ 9112 h 10000"/>
                <a:gd name="connsiteX29" fmla="*/ 1068 w 9739"/>
                <a:gd name="connsiteY29" fmla="*/ 9171 h 10000"/>
                <a:gd name="connsiteX30" fmla="*/ 962 w 9739"/>
                <a:gd name="connsiteY30" fmla="*/ 9193 h 10000"/>
                <a:gd name="connsiteX31" fmla="*/ 846 w 9739"/>
                <a:gd name="connsiteY31" fmla="*/ 9179 h 10000"/>
                <a:gd name="connsiteX32" fmla="*/ 810 w 9739"/>
                <a:gd name="connsiteY32" fmla="*/ 9204 h 10000"/>
                <a:gd name="connsiteX33" fmla="*/ 899 w 9739"/>
                <a:gd name="connsiteY33" fmla="*/ 9332 h 10000"/>
                <a:gd name="connsiteX34" fmla="*/ 775 w 9739"/>
                <a:gd name="connsiteY34" fmla="*/ 9322 h 10000"/>
                <a:gd name="connsiteX35" fmla="*/ 669 w 9739"/>
                <a:gd name="connsiteY35" fmla="*/ 9291 h 10000"/>
                <a:gd name="connsiteX36" fmla="*/ 651 w 9739"/>
                <a:gd name="connsiteY36" fmla="*/ 9338 h 10000"/>
                <a:gd name="connsiteX37" fmla="*/ 1001 w 9739"/>
                <a:gd name="connsiteY37" fmla="*/ 9776 h 10000"/>
                <a:gd name="connsiteX38" fmla="*/ 945 w 9739"/>
                <a:gd name="connsiteY38" fmla="*/ 9817 h 10000"/>
                <a:gd name="connsiteX39" fmla="*/ 905 w 9739"/>
                <a:gd name="connsiteY39" fmla="*/ 9902 h 10000"/>
                <a:gd name="connsiteX40" fmla="*/ 855 w 9739"/>
                <a:gd name="connsiteY40" fmla="*/ 9908 h 10000"/>
                <a:gd name="connsiteX41" fmla="*/ 824 w 9739"/>
                <a:gd name="connsiteY41" fmla="*/ 9945 h 10000"/>
                <a:gd name="connsiteX42" fmla="*/ 1036 w 9739"/>
                <a:gd name="connsiteY42" fmla="*/ 9949 h 10000"/>
                <a:gd name="connsiteX43" fmla="*/ 1223 w 9739"/>
                <a:gd name="connsiteY43" fmla="*/ 9986 h 10000"/>
                <a:gd name="connsiteX44" fmla="*/ 1533 w 9739"/>
                <a:gd name="connsiteY44" fmla="*/ 9947 h 10000"/>
                <a:gd name="connsiteX45" fmla="*/ 1811 w 9739"/>
                <a:gd name="connsiteY45" fmla="*/ 9953 h 10000"/>
                <a:gd name="connsiteX46" fmla="*/ 1977 w 9739"/>
                <a:gd name="connsiteY46" fmla="*/ 10000 h 10000"/>
                <a:gd name="connsiteX47" fmla="*/ 2066 w 9739"/>
                <a:gd name="connsiteY47" fmla="*/ 9969 h 10000"/>
                <a:gd name="connsiteX48" fmla="*/ 2153 w 9739"/>
                <a:gd name="connsiteY48" fmla="*/ 9868 h 10000"/>
                <a:gd name="connsiteX49" fmla="*/ 2131 w 9739"/>
                <a:gd name="connsiteY49" fmla="*/ 9703 h 10000"/>
                <a:gd name="connsiteX50" fmla="*/ 2344 w 9739"/>
                <a:gd name="connsiteY50" fmla="*/ 9517 h 10000"/>
                <a:gd name="connsiteX51" fmla="*/ 2499 w 9739"/>
                <a:gd name="connsiteY51" fmla="*/ 9546 h 10000"/>
                <a:gd name="connsiteX52" fmla="*/ 2588 w 9739"/>
                <a:gd name="connsiteY52" fmla="*/ 9472 h 10000"/>
                <a:gd name="connsiteX53" fmla="*/ 2760 w 9739"/>
                <a:gd name="connsiteY53" fmla="*/ 9430 h 10000"/>
                <a:gd name="connsiteX54" fmla="*/ 2995 w 9739"/>
                <a:gd name="connsiteY54" fmla="*/ 9440 h 10000"/>
                <a:gd name="connsiteX55" fmla="*/ 3137 w 9739"/>
                <a:gd name="connsiteY55" fmla="*/ 9470 h 10000"/>
                <a:gd name="connsiteX56" fmla="*/ 3324 w 9739"/>
                <a:gd name="connsiteY56" fmla="*/ 9456 h 10000"/>
                <a:gd name="connsiteX57" fmla="*/ 3514 w 9739"/>
                <a:gd name="connsiteY57" fmla="*/ 9489 h 10000"/>
                <a:gd name="connsiteX58" fmla="*/ 3704 w 9739"/>
                <a:gd name="connsiteY58" fmla="*/ 9493 h 10000"/>
                <a:gd name="connsiteX59" fmla="*/ 4129 w 9739"/>
                <a:gd name="connsiteY59" fmla="*/ 9061 h 10000"/>
                <a:gd name="connsiteX60" fmla="*/ 4236 w 9739"/>
                <a:gd name="connsiteY60" fmla="*/ 8711 h 10000"/>
                <a:gd name="connsiteX61" fmla="*/ 4409 w 9739"/>
                <a:gd name="connsiteY61" fmla="*/ 8554 h 10000"/>
                <a:gd name="connsiteX62" fmla="*/ 4409 w 9739"/>
                <a:gd name="connsiteY62" fmla="*/ 8472 h 10000"/>
                <a:gd name="connsiteX63" fmla="*/ 4347 w 9739"/>
                <a:gd name="connsiteY63" fmla="*/ 8425 h 10000"/>
                <a:gd name="connsiteX64" fmla="*/ 4449 w 9739"/>
                <a:gd name="connsiteY64" fmla="*/ 8352 h 10000"/>
                <a:gd name="connsiteX65" fmla="*/ 4430 w 9739"/>
                <a:gd name="connsiteY65" fmla="*/ 8289 h 10000"/>
                <a:gd name="connsiteX66" fmla="*/ 4360 w 9739"/>
                <a:gd name="connsiteY66" fmla="*/ 8236 h 10000"/>
                <a:gd name="connsiteX67" fmla="*/ 4347 w 9739"/>
                <a:gd name="connsiteY67" fmla="*/ 8199 h 10000"/>
                <a:gd name="connsiteX68" fmla="*/ 4364 w 9739"/>
                <a:gd name="connsiteY68" fmla="*/ 8169 h 10000"/>
                <a:gd name="connsiteX69" fmla="*/ 4458 w 9739"/>
                <a:gd name="connsiteY69" fmla="*/ 8193 h 10000"/>
                <a:gd name="connsiteX70" fmla="*/ 4533 w 9739"/>
                <a:gd name="connsiteY70" fmla="*/ 8191 h 10000"/>
                <a:gd name="connsiteX71" fmla="*/ 4492 w 9739"/>
                <a:gd name="connsiteY71" fmla="*/ 8140 h 10000"/>
                <a:gd name="connsiteX72" fmla="*/ 4505 w 9739"/>
                <a:gd name="connsiteY72" fmla="*/ 8112 h 10000"/>
                <a:gd name="connsiteX73" fmla="*/ 4559 w 9739"/>
                <a:gd name="connsiteY73" fmla="*/ 8069 h 10000"/>
                <a:gd name="connsiteX74" fmla="*/ 4550 w 9739"/>
                <a:gd name="connsiteY74" fmla="*/ 8034 h 10000"/>
                <a:gd name="connsiteX75" fmla="*/ 4600 w 9739"/>
                <a:gd name="connsiteY75" fmla="*/ 7916 h 10000"/>
                <a:gd name="connsiteX76" fmla="*/ 4587 w 9739"/>
                <a:gd name="connsiteY76" fmla="*/ 7881 h 10000"/>
                <a:gd name="connsiteX77" fmla="*/ 4329 w 9739"/>
                <a:gd name="connsiteY77" fmla="*/ 7792 h 10000"/>
                <a:gd name="connsiteX78" fmla="*/ 4364 w 9739"/>
                <a:gd name="connsiteY78" fmla="*/ 7788 h 10000"/>
                <a:gd name="connsiteX79" fmla="*/ 4501 w 9739"/>
                <a:gd name="connsiteY79" fmla="*/ 7812 h 10000"/>
                <a:gd name="connsiteX80" fmla="*/ 4648 w 9739"/>
                <a:gd name="connsiteY80" fmla="*/ 7804 h 10000"/>
                <a:gd name="connsiteX81" fmla="*/ 4692 w 9739"/>
                <a:gd name="connsiteY81" fmla="*/ 7771 h 10000"/>
                <a:gd name="connsiteX82" fmla="*/ 4550 w 9739"/>
                <a:gd name="connsiteY82" fmla="*/ 7710 h 10000"/>
                <a:gd name="connsiteX83" fmla="*/ 4125 w 9739"/>
                <a:gd name="connsiteY83" fmla="*/ 7670 h 10000"/>
                <a:gd name="connsiteX84" fmla="*/ 4155 w 9739"/>
                <a:gd name="connsiteY84" fmla="*/ 7651 h 10000"/>
                <a:gd name="connsiteX85" fmla="*/ 4501 w 9739"/>
                <a:gd name="connsiteY85" fmla="*/ 7639 h 10000"/>
                <a:gd name="connsiteX86" fmla="*/ 4692 w 9739"/>
                <a:gd name="connsiteY86" fmla="*/ 7676 h 10000"/>
                <a:gd name="connsiteX87" fmla="*/ 4803 w 9739"/>
                <a:gd name="connsiteY87" fmla="*/ 7651 h 10000"/>
                <a:gd name="connsiteX88" fmla="*/ 4843 w 9739"/>
                <a:gd name="connsiteY88" fmla="*/ 7588 h 10000"/>
                <a:gd name="connsiteX89" fmla="*/ 5042 w 9739"/>
                <a:gd name="connsiteY89" fmla="*/ 7588 h 10000"/>
                <a:gd name="connsiteX90" fmla="*/ 5313 w 9739"/>
                <a:gd name="connsiteY90" fmla="*/ 7462 h 10000"/>
                <a:gd name="connsiteX91" fmla="*/ 5322 w 9739"/>
                <a:gd name="connsiteY91" fmla="*/ 7378 h 10000"/>
                <a:gd name="connsiteX92" fmla="*/ 5436 w 9739"/>
                <a:gd name="connsiteY92" fmla="*/ 7397 h 10000"/>
                <a:gd name="connsiteX93" fmla="*/ 5432 w 9739"/>
                <a:gd name="connsiteY93" fmla="*/ 7482 h 10000"/>
                <a:gd name="connsiteX94" fmla="*/ 5614 w 9739"/>
                <a:gd name="connsiteY94" fmla="*/ 7476 h 10000"/>
                <a:gd name="connsiteX95" fmla="*/ 5733 w 9739"/>
                <a:gd name="connsiteY95" fmla="*/ 7388 h 10000"/>
                <a:gd name="connsiteX96" fmla="*/ 5956 w 9739"/>
                <a:gd name="connsiteY96" fmla="*/ 7309 h 10000"/>
                <a:gd name="connsiteX97" fmla="*/ 5919 w 9739"/>
                <a:gd name="connsiteY97" fmla="*/ 7219 h 10000"/>
                <a:gd name="connsiteX98" fmla="*/ 5986 w 9739"/>
                <a:gd name="connsiteY98" fmla="*/ 7254 h 10000"/>
                <a:gd name="connsiteX99" fmla="*/ 6088 w 9739"/>
                <a:gd name="connsiteY99" fmla="*/ 7254 h 10000"/>
                <a:gd name="connsiteX100" fmla="*/ 6088 w 9739"/>
                <a:gd name="connsiteY100" fmla="*/ 7213 h 10000"/>
                <a:gd name="connsiteX101" fmla="*/ 6181 w 9739"/>
                <a:gd name="connsiteY101" fmla="*/ 7181 h 10000"/>
                <a:gd name="connsiteX102" fmla="*/ 6168 w 9739"/>
                <a:gd name="connsiteY102" fmla="*/ 7148 h 10000"/>
                <a:gd name="connsiteX103" fmla="*/ 5371 w 9739"/>
                <a:gd name="connsiteY103" fmla="*/ 7215 h 10000"/>
                <a:gd name="connsiteX104" fmla="*/ 5184 w 9739"/>
                <a:gd name="connsiteY104" fmla="*/ 7195 h 10000"/>
                <a:gd name="connsiteX105" fmla="*/ 5109 w 9739"/>
                <a:gd name="connsiteY105" fmla="*/ 7219 h 10000"/>
                <a:gd name="connsiteX106" fmla="*/ 5083 w 9739"/>
                <a:gd name="connsiteY106" fmla="*/ 7173 h 10000"/>
                <a:gd name="connsiteX107" fmla="*/ 4994 w 9739"/>
                <a:gd name="connsiteY107" fmla="*/ 7132 h 10000"/>
                <a:gd name="connsiteX108" fmla="*/ 4639 w 9739"/>
                <a:gd name="connsiteY108" fmla="*/ 7052 h 10000"/>
                <a:gd name="connsiteX109" fmla="*/ 4430 w 9739"/>
                <a:gd name="connsiteY109" fmla="*/ 7065 h 10000"/>
                <a:gd name="connsiteX110" fmla="*/ 4347 w 9739"/>
                <a:gd name="connsiteY110" fmla="*/ 7042 h 10000"/>
                <a:gd name="connsiteX111" fmla="*/ 4435 w 9739"/>
                <a:gd name="connsiteY111" fmla="*/ 7022 h 10000"/>
                <a:gd name="connsiteX112" fmla="*/ 4501 w 9739"/>
                <a:gd name="connsiteY112" fmla="*/ 6979 h 10000"/>
                <a:gd name="connsiteX113" fmla="*/ 4600 w 9739"/>
                <a:gd name="connsiteY113" fmla="*/ 6993 h 10000"/>
                <a:gd name="connsiteX114" fmla="*/ 4719 w 9739"/>
                <a:gd name="connsiteY114" fmla="*/ 6981 h 10000"/>
                <a:gd name="connsiteX115" fmla="*/ 4896 w 9739"/>
                <a:gd name="connsiteY115" fmla="*/ 6995 h 10000"/>
                <a:gd name="connsiteX116" fmla="*/ 4917 w 9739"/>
                <a:gd name="connsiteY116" fmla="*/ 6989 h 10000"/>
                <a:gd name="connsiteX117" fmla="*/ 5056 w 9739"/>
                <a:gd name="connsiteY117" fmla="*/ 7056 h 10000"/>
                <a:gd name="connsiteX118" fmla="*/ 5158 w 9739"/>
                <a:gd name="connsiteY118" fmla="*/ 7032 h 10000"/>
                <a:gd name="connsiteX119" fmla="*/ 5166 w 9739"/>
                <a:gd name="connsiteY119" fmla="*/ 7010 h 10000"/>
                <a:gd name="connsiteX120" fmla="*/ 5259 w 9739"/>
                <a:gd name="connsiteY120" fmla="*/ 7048 h 10000"/>
                <a:gd name="connsiteX121" fmla="*/ 5384 w 9739"/>
                <a:gd name="connsiteY121" fmla="*/ 7069 h 10000"/>
                <a:gd name="connsiteX122" fmla="*/ 5432 w 9739"/>
                <a:gd name="connsiteY122" fmla="*/ 7030 h 10000"/>
                <a:gd name="connsiteX123" fmla="*/ 5472 w 9739"/>
                <a:gd name="connsiteY123" fmla="*/ 7052 h 10000"/>
                <a:gd name="connsiteX124" fmla="*/ 5529 w 9739"/>
                <a:gd name="connsiteY124" fmla="*/ 7126 h 10000"/>
                <a:gd name="connsiteX125" fmla="*/ 5649 w 9739"/>
                <a:gd name="connsiteY125" fmla="*/ 7144 h 10000"/>
                <a:gd name="connsiteX126" fmla="*/ 6137 w 9739"/>
                <a:gd name="connsiteY126" fmla="*/ 7034 h 10000"/>
                <a:gd name="connsiteX127" fmla="*/ 6376 w 9739"/>
                <a:gd name="connsiteY127" fmla="*/ 6879 h 10000"/>
                <a:gd name="connsiteX128" fmla="*/ 6433 w 9739"/>
                <a:gd name="connsiteY128" fmla="*/ 6765 h 10000"/>
                <a:gd name="connsiteX129" fmla="*/ 6346 w 9739"/>
                <a:gd name="connsiteY129" fmla="*/ 6663 h 10000"/>
                <a:gd name="connsiteX130" fmla="*/ 6163 w 9739"/>
                <a:gd name="connsiteY130" fmla="*/ 6602 h 10000"/>
                <a:gd name="connsiteX131" fmla="*/ 6034 w 9739"/>
                <a:gd name="connsiteY131" fmla="*/ 6502 h 10000"/>
                <a:gd name="connsiteX132" fmla="*/ 6155 w 9739"/>
                <a:gd name="connsiteY132" fmla="*/ 6498 h 10000"/>
                <a:gd name="connsiteX133" fmla="*/ 6146 w 9739"/>
                <a:gd name="connsiteY133" fmla="*/ 6474 h 10000"/>
                <a:gd name="connsiteX134" fmla="*/ 5832 w 9739"/>
                <a:gd name="connsiteY134" fmla="*/ 6403 h 10000"/>
                <a:gd name="connsiteX135" fmla="*/ 5819 w 9739"/>
                <a:gd name="connsiteY135" fmla="*/ 6339 h 10000"/>
                <a:gd name="connsiteX136" fmla="*/ 5760 w 9739"/>
                <a:gd name="connsiteY136" fmla="*/ 6272 h 10000"/>
                <a:gd name="connsiteX137" fmla="*/ 5511 w 9739"/>
                <a:gd name="connsiteY137" fmla="*/ 6284 h 10000"/>
                <a:gd name="connsiteX138" fmla="*/ 5423 w 9739"/>
                <a:gd name="connsiteY138" fmla="*/ 6213 h 10000"/>
                <a:gd name="connsiteX139" fmla="*/ 5371 w 9739"/>
                <a:gd name="connsiteY139" fmla="*/ 6209 h 10000"/>
                <a:gd name="connsiteX140" fmla="*/ 5371 w 9739"/>
                <a:gd name="connsiteY140" fmla="*/ 6238 h 10000"/>
                <a:gd name="connsiteX141" fmla="*/ 5259 w 9739"/>
                <a:gd name="connsiteY141" fmla="*/ 6358 h 10000"/>
                <a:gd name="connsiteX142" fmla="*/ 5139 w 9739"/>
                <a:gd name="connsiteY142" fmla="*/ 6429 h 10000"/>
                <a:gd name="connsiteX143" fmla="*/ 4762 w 9739"/>
                <a:gd name="connsiteY143" fmla="*/ 6551 h 10000"/>
                <a:gd name="connsiteX144" fmla="*/ 4630 w 9739"/>
                <a:gd name="connsiteY144" fmla="*/ 6547 h 10000"/>
                <a:gd name="connsiteX145" fmla="*/ 4449 w 9739"/>
                <a:gd name="connsiteY145" fmla="*/ 6565 h 10000"/>
                <a:gd name="connsiteX146" fmla="*/ 4347 w 9739"/>
                <a:gd name="connsiteY146" fmla="*/ 6547 h 10000"/>
                <a:gd name="connsiteX147" fmla="*/ 4479 w 9739"/>
                <a:gd name="connsiteY147" fmla="*/ 6513 h 10000"/>
                <a:gd name="connsiteX148" fmla="*/ 4652 w 9739"/>
                <a:gd name="connsiteY148" fmla="*/ 6498 h 10000"/>
                <a:gd name="connsiteX149" fmla="*/ 4795 w 9739"/>
                <a:gd name="connsiteY149" fmla="*/ 6441 h 10000"/>
                <a:gd name="connsiteX150" fmla="*/ 4935 w 9739"/>
                <a:gd name="connsiteY150" fmla="*/ 6415 h 10000"/>
                <a:gd name="connsiteX151" fmla="*/ 5198 w 9739"/>
                <a:gd name="connsiteY151" fmla="*/ 6317 h 10000"/>
                <a:gd name="connsiteX152" fmla="*/ 5246 w 9739"/>
                <a:gd name="connsiteY152" fmla="*/ 6252 h 10000"/>
                <a:gd name="connsiteX153" fmla="*/ 5250 w 9739"/>
                <a:gd name="connsiteY153" fmla="*/ 6168 h 10000"/>
                <a:gd name="connsiteX154" fmla="*/ 5131 w 9739"/>
                <a:gd name="connsiteY154" fmla="*/ 6154 h 10000"/>
                <a:gd name="connsiteX155" fmla="*/ 5184 w 9739"/>
                <a:gd name="connsiteY155" fmla="*/ 6103 h 10000"/>
                <a:gd name="connsiteX156" fmla="*/ 5202 w 9739"/>
                <a:gd name="connsiteY156" fmla="*/ 6038 h 10000"/>
                <a:gd name="connsiteX157" fmla="*/ 5152 w 9739"/>
                <a:gd name="connsiteY157" fmla="*/ 5977 h 10000"/>
                <a:gd name="connsiteX158" fmla="*/ 5122 w 9739"/>
                <a:gd name="connsiteY158" fmla="*/ 5533 h 10000"/>
                <a:gd name="connsiteX159" fmla="*/ 5194 w 9739"/>
                <a:gd name="connsiteY159" fmla="*/ 5437 h 10000"/>
                <a:gd name="connsiteX160" fmla="*/ 5175 w 9739"/>
                <a:gd name="connsiteY160" fmla="*/ 5398 h 10000"/>
                <a:gd name="connsiteX161" fmla="*/ 5384 w 9739"/>
                <a:gd name="connsiteY161" fmla="*/ 5455 h 10000"/>
                <a:gd name="connsiteX162" fmla="*/ 5397 w 9739"/>
                <a:gd name="connsiteY162" fmla="*/ 5402 h 10000"/>
                <a:gd name="connsiteX163" fmla="*/ 5353 w 9739"/>
                <a:gd name="connsiteY163" fmla="*/ 5264 h 10000"/>
                <a:gd name="connsiteX164" fmla="*/ 5502 w 9739"/>
                <a:gd name="connsiteY164" fmla="*/ 5019 h 10000"/>
                <a:gd name="connsiteX165" fmla="*/ 5410 w 9739"/>
                <a:gd name="connsiteY165" fmla="*/ 4960 h 10000"/>
                <a:gd name="connsiteX166" fmla="*/ 5375 w 9739"/>
                <a:gd name="connsiteY166" fmla="*/ 4905 h 10000"/>
                <a:gd name="connsiteX167" fmla="*/ 5388 w 9739"/>
                <a:gd name="connsiteY167" fmla="*/ 4816 h 10000"/>
                <a:gd name="connsiteX168" fmla="*/ 5606 w 9739"/>
                <a:gd name="connsiteY168" fmla="*/ 4875 h 10000"/>
                <a:gd name="connsiteX169" fmla="*/ 5614 w 9739"/>
                <a:gd name="connsiteY169" fmla="*/ 4858 h 10000"/>
                <a:gd name="connsiteX170" fmla="*/ 5675 w 9739"/>
                <a:gd name="connsiteY170" fmla="*/ 4842 h 10000"/>
                <a:gd name="connsiteX171" fmla="*/ 5760 w 9739"/>
                <a:gd name="connsiteY171" fmla="*/ 4785 h 10000"/>
                <a:gd name="connsiteX172" fmla="*/ 5773 w 9739"/>
                <a:gd name="connsiteY172" fmla="*/ 4769 h 10000"/>
                <a:gd name="connsiteX173" fmla="*/ 5756 w 9739"/>
                <a:gd name="connsiteY173" fmla="*/ 4748 h 10000"/>
                <a:gd name="connsiteX174" fmla="*/ 5799 w 9739"/>
                <a:gd name="connsiteY174" fmla="*/ 4647 h 10000"/>
                <a:gd name="connsiteX175" fmla="*/ 5747 w 9739"/>
                <a:gd name="connsiteY175" fmla="*/ 4581 h 10000"/>
                <a:gd name="connsiteX176" fmla="*/ 5756 w 9739"/>
                <a:gd name="connsiteY176" fmla="*/ 4528 h 10000"/>
                <a:gd name="connsiteX177" fmla="*/ 5786 w 9739"/>
                <a:gd name="connsiteY177" fmla="*/ 4590 h 10000"/>
                <a:gd name="connsiteX178" fmla="*/ 5906 w 9739"/>
                <a:gd name="connsiteY178" fmla="*/ 4636 h 10000"/>
                <a:gd name="connsiteX179" fmla="*/ 5956 w 9739"/>
                <a:gd name="connsiteY179" fmla="*/ 4630 h 10000"/>
                <a:gd name="connsiteX180" fmla="*/ 6034 w 9739"/>
                <a:gd name="connsiteY180" fmla="*/ 4569 h 10000"/>
                <a:gd name="connsiteX181" fmla="*/ 6119 w 9739"/>
                <a:gd name="connsiteY181" fmla="*/ 4594 h 10000"/>
                <a:gd name="connsiteX182" fmla="*/ 6142 w 9739"/>
                <a:gd name="connsiteY182" fmla="*/ 4545 h 10000"/>
                <a:gd name="connsiteX183" fmla="*/ 6199 w 9739"/>
                <a:gd name="connsiteY183" fmla="*/ 4512 h 10000"/>
                <a:gd name="connsiteX184" fmla="*/ 6043 w 9739"/>
                <a:gd name="connsiteY184" fmla="*/ 4477 h 10000"/>
                <a:gd name="connsiteX185" fmla="*/ 6155 w 9739"/>
                <a:gd name="connsiteY185" fmla="*/ 4484 h 10000"/>
                <a:gd name="connsiteX186" fmla="*/ 6269 w 9739"/>
                <a:gd name="connsiteY186" fmla="*/ 4447 h 10000"/>
                <a:gd name="connsiteX187" fmla="*/ 6265 w 9739"/>
                <a:gd name="connsiteY187" fmla="*/ 4422 h 10000"/>
                <a:gd name="connsiteX188" fmla="*/ 6372 w 9739"/>
                <a:gd name="connsiteY188" fmla="*/ 4398 h 10000"/>
                <a:gd name="connsiteX189" fmla="*/ 6381 w 9739"/>
                <a:gd name="connsiteY189" fmla="*/ 4337 h 10000"/>
                <a:gd name="connsiteX190" fmla="*/ 6465 w 9739"/>
                <a:gd name="connsiteY190" fmla="*/ 4325 h 10000"/>
                <a:gd name="connsiteX191" fmla="*/ 6473 w 9739"/>
                <a:gd name="connsiteY191" fmla="*/ 4253 h 10000"/>
                <a:gd name="connsiteX192" fmla="*/ 6561 w 9739"/>
                <a:gd name="connsiteY192" fmla="*/ 4245 h 10000"/>
                <a:gd name="connsiteX193" fmla="*/ 6699 w 9739"/>
                <a:gd name="connsiteY193" fmla="*/ 4260 h 10000"/>
                <a:gd name="connsiteX194" fmla="*/ 6849 w 9739"/>
                <a:gd name="connsiteY194" fmla="*/ 4202 h 10000"/>
                <a:gd name="connsiteX195" fmla="*/ 6903 w 9739"/>
                <a:gd name="connsiteY195" fmla="*/ 4137 h 10000"/>
                <a:gd name="connsiteX196" fmla="*/ 7089 w 9739"/>
                <a:gd name="connsiteY196" fmla="*/ 4070 h 10000"/>
                <a:gd name="connsiteX197" fmla="*/ 7182 w 9739"/>
                <a:gd name="connsiteY197" fmla="*/ 4111 h 10000"/>
                <a:gd name="connsiteX198" fmla="*/ 7324 w 9739"/>
                <a:gd name="connsiteY198" fmla="*/ 4066 h 10000"/>
                <a:gd name="connsiteX199" fmla="*/ 7359 w 9739"/>
                <a:gd name="connsiteY199" fmla="*/ 4009 h 10000"/>
                <a:gd name="connsiteX200" fmla="*/ 7466 w 9739"/>
                <a:gd name="connsiteY200" fmla="*/ 3970 h 10000"/>
                <a:gd name="connsiteX201" fmla="*/ 7558 w 9739"/>
                <a:gd name="connsiteY201" fmla="*/ 3987 h 10000"/>
                <a:gd name="connsiteX202" fmla="*/ 7616 w 9739"/>
                <a:gd name="connsiteY202" fmla="*/ 3958 h 10000"/>
                <a:gd name="connsiteX203" fmla="*/ 7776 w 9739"/>
                <a:gd name="connsiteY203" fmla="*/ 3917 h 10000"/>
                <a:gd name="connsiteX204" fmla="*/ 7842 w 9739"/>
                <a:gd name="connsiteY204" fmla="*/ 3864 h 10000"/>
                <a:gd name="connsiteX205" fmla="*/ 7931 w 9739"/>
                <a:gd name="connsiteY205" fmla="*/ 3842 h 10000"/>
                <a:gd name="connsiteX206" fmla="*/ 8423 w 9739"/>
                <a:gd name="connsiteY206" fmla="*/ 3522 h 10000"/>
                <a:gd name="connsiteX207" fmla="*/ 9722 w 9739"/>
                <a:gd name="connsiteY207" fmla="*/ 1465 h 10000"/>
                <a:gd name="connsiteX208" fmla="*/ 9676 w 9739"/>
                <a:gd name="connsiteY208" fmla="*/ 1379 h 10000"/>
                <a:gd name="connsiteX209" fmla="*/ 9739 w 9739"/>
                <a:gd name="connsiteY209" fmla="*/ 1271 h 10000"/>
                <a:gd name="connsiteX210" fmla="*/ 9709 w 9739"/>
                <a:gd name="connsiteY210" fmla="*/ 1194 h 10000"/>
                <a:gd name="connsiteX211" fmla="*/ 9650 w 9739"/>
                <a:gd name="connsiteY211" fmla="*/ 1159 h 10000"/>
                <a:gd name="connsiteX212" fmla="*/ 9601 w 9739"/>
                <a:gd name="connsiteY212" fmla="*/ 978 h 10000"/>
                <a:gd name="connsiteX213" fmla="*/ 9659 w 9739"/>
                <a:gd name="connsiteY213" fmla="*/ 831 h 10000"/>
                <a:gd name="connsiteX214" fmla="*/ 9234 w 9739"/>
                <a:gd name="connsiteY214" fmla="*/ 517 h 10000"/>
                <a:gd name="connsiteX215" fmla="*/ 9025 w 9739"/>
                <a:gd name="connsiteY215" fmla="*/ 440 h 10000"/>
                <a:gd name="connsiteX216" fmla="*/ 8639 w 9739"/>
                <a:gd name="connsiteY216" fmla="*/ 389 h 10000"/>
                <a:gd name="connsiteX217" fmla="*/ 7842 w 9739"/>
                <a:gd name="connsiteY217" fmla="*/ 26 h 10000"/>
                <a:gd name="connsiteX218" fmla="*/ 7816 w 9739"/>
                <a:gd name="connsiteY218" fmla="*/ 2 h 10000"/>
                <a:gd name="connsiteX219" fmla="*/ 7545 w 9739"/>
                <a:gd name="connsiteY219" fmla="*/ 0 h 10000"/>
                <a:gd name="connsiteX220" fmla="*/ 7483 w 9739"/>
                <a:gd name="connsiteY220" fmla="*/ 14 h 10000"/>
                <a:gd name="connsiteX221" fmla="*/ 7497 w 9739"/>
                <a:gd name="connsiteY221" fmla="*/ 61 h 10000"/>
                <a:gd name="connsiteX222" fmla="*/ 7550 w 9739"/>
                <a:gd name="connsiteY222" fmla="*/ 86 h 10000"/>
                <a:gd name="connsiteX223" fmla="*/ 7564 w 9739"/>
                <a:gd name="connsiteY223" fmla="*/ 139 h 10000"/>
                <a:gd name="connsiteX224" fmla="*/ 7545 w 9739"/>
                <a:gd name="connsiteY224" fmla="*/ 181 h 10000"/>
                <a:gd name="connsiteX225" fmla="*/ 7497 w 9739"/>
                <a:gd name="connsiteY225" fmla="*/ 208 h 10000"/>
                <a:gd name="connsiteX226" fmla="*/ 7461 w 9739"/>
                <a:gd name="connsiteY226" fmla="*/ 283 h 10000"/>
                <a:gd name="connsiteX227" fmla="*/ 7395 w 9739"/>
                <a:gd name="connsiteY227" fmla="*/ 336 h 10000"/>
                <a:gd name="connsiteX228" fmla="*/ 7408 w 9739"/>
                <a:gd name="connsiteY228" fmla="*/ 387 h 10000"/>
                <a:gd name="connsiteX229" fmla="*/ 7510 w 9739"/>
                <a:gd name="connsiteY229" fmla="*/ 434 h 10000"/>
                <a:gd name="connsiteX230" fmla="*/ 7444 w 9739"/>
                <a:gd name="connsiteY230" fmla="*/ 475 h 10000"/>
                <a:gd name="connsiteX231" fmla="*/ 7346 w 9739"/>
                <a:gd name="connsiteY231" fmla="*/ 485 h 10000"/>
                <a:gd name="connsiteX232" fmla="*/ 6531 w 9739"/>
                <a:gd name="connsiteY232" fmla="*/ 387 h 10000"/>
                <a:gd name="connsiteX233" fmla="*/ 6433 w 9739"/>
                <a:gd name="connsiteY233" fmla="*/ 395 h 10000"/>
                <a:gd name="connsiteX234" fmla="*/ 6376 w 9739"/>
                <a:gd name="connsiteY234" fmla="*/ 414 h 10000"/>
                <a:gd name="connsiteX235" fmla="*/ 6318 w 9739"/>
                <a:gd name="connsiteY235" fmla="*/ 462 h 10000"/>
                <a:gd name="connsiteX236" fmla="*/ 6328 w 9739"/>
                <a:gd name="connsiteY236" fmla="*/ 581 h 10000"/>
                <a:gd name="connsiteX237" fmla="*/ 6238 w 9739"/>
                <a:gd name="connsiteY237" fmla="*/ 735 h 10000"/>
                <a:gd name="connsiteX238" fmla="*/ 6128 w 9739"/>
                <a:gd name="connsiteY238" fmla="*/ 815 h 10000"/>
                <a:gd name="connsiteX239" fmla="*/ 6084 w 9739"/>
                <a:gd name="connsiteY239" fmla="*/ 805 h 10000"/>
                <a:gd name="connsiteX240" fmla="*/ 5982 w 9739"/>
                <a:gd name="connsiteY240" fmla="*/ 739 h 10000"/>
                <a:gd name="connsiteX241" fmla="*/ 5853 w 9739"/>
                <a:gd name="connsiteY241" fmla="*/ 705 h 10000"/>
                <a:gd name="connsiteX242" fmla="*/ 5715 w 9739"/>
                <a:gd name="connsiteY242" fmla="*/ 715 h 10000"/>
                <a:gd name="connsiteX243" fmla="*/ 5393 w 9739"/>
                <a:gd name="connsiteY243" fmla="*/ 866 h 10000"/>
                <a:gd name="connsiteX244" fmla="*/ 5308 w 9739"/>
                <a:gd name="connsiteY244" fmla="*/ 1017 h 10000"/>
                <a:gd name="connsiteX245" fmla="*/ 5065 w 9739"/>
                <a:gd name="connsiteY245" fmla="*/ 1153 h 10000"/>
                <a:gd name="connsiteX246" fmla="*/ 5020 w 9739"/>
                <a:gd name="connsiteY246" fmla="*/ 1222 h 10000"/>
                <a:gd name="connsiteX247" fmla="*/ 5148 w 9739"/>
                <a:gd name="connsiteY247" fmla="*/ 1344 h 10000"/>
                <a:gd name="connsiteX248" fmla="*/ 5162 w 9739"/>
                <a:gd name="connsiteY248" fmla="*/ 1412 h 10000"/>
                <a:gd name="connsiteX249" fmla="*/ 4497 w 9739"/>
                <a:gd name="connsiteY249" fmla="*/ 1813 h 10000"/>
                <a:gd name="connsiteX250" fmla="*/ 4293 w 9739"/>
                <a:gd name="connsiteY250" fmla="*/ 2070 h 10000"/>
                <a:gd name="connsiteX251" fmla="*/ 4073 w 9739"/>
                <a:gd name="connsiteY251" fmla="*/ 2135 h 10000"/>
                <a:gd name="connsiteX252" fmla="*/ 3934 w 9739"/>
                <a:gd name="connsiteY252" fmla="*/ 2131 h 10000"/>
                <a:gd name="connsiteX253" fmla="*/ 3851 w 9739"/>
                <a:gd name="connsiteY253" fmla="*/ 2153 h 10000"/>
                <a:gd name="connsiteX254" fmla="*/ 3620 w 9739"/>
                <a:gd name="connsiteY254" fmla="*/ 2793 h 10000"/>
                <a:gd name="connsiteX255" fmla="*/ 3089 w 9739"/>
                <a:gd name="connsiteY255" fmla="*/ 3166 h 10000"/>
                <a:gd name="connsiteX256" fmla="*/ 3093 w 9739"/>
                <a:gd name="connsiteY256" fmla="*/ 3225 h 10000"/>
                <a:gd name="connsiteX257" fmla="*/ 3328 w 9739"/>
                <a:gd name="connsiteY257" fmla="*/ 3392 h 10000"/>
                <a:gd name="connsiteX258" fmla="*/ 3253 w 9739"/>
                <a:gd name="connsiteY258" fmla="*/ 3573 h 10000"/>
                <a:gd name="connsiteX259" fmla="*/ 3115 w 9739"/>
                <a:gd name="connsiteY259" fmla="*/ 3640 h 10000"/>
                <a:gd name="connsiteX260" fmla="*/ 2703 w 9739"/>
                <a:gd name="connsiteY260" fmla="*/ 3595 h 10000"/>
                <a:gd name="connsiteX261" fmla="*/ 2418 w 9739"/>
                <a:gd name="connsiteY261" fmla="*/ 3620 h 10000"/>
                <a:gd name="connsiteX262" fmla="*/ 2189 w 9739"/>
                <a:gd name="connsiteY262" fmla="*/ 3673 h 10000"/>
                <a:gd name="connsiteX263" fmla="*/ 1821 w 9739"/>
                <a:gd name="connsiteY263" fmla="*/ 3840 h 10000"/>
                <a:gd name="connsiteX264" fmla="*/ 1625 w 9739"/>
                <a:gd name="connsiteY264" fmla="*/ 4042 h 10000"/>
                <a:gd name="connsiteX265" fmla="*/ 1643 w 9739"/>
                <a:gd name="connsiteY265" fmla="*/ 4154 h 10000"/>
                <a:gd name="connsiteX266" fmla="*/ 1711 w 9739"/>
                <a:gd name="connsiteY266" fmla="*/ 4241 h 10000"/>
                <a:gd name="connsiteX267" fmla="*/ 1763 w 9739"/>
                <a:gd name="connsiteY267" fmla="*/ 4276 h 10000"/>
                <a:gd name="connsiteX268" fmla="*/ 1666 w 9739"/>
                <a:gd name="connsiteY268" fmla="*/ 4331 h 10000"/>
                <a:gd name="connsiteX269" fmla="*/ 1458 w 9739"/>
                <a:gd name="connsiteY269" fmla="*/ 4710 h 10000"/>
                <a:gd name="connsiteX270" fmla="*/ 1498 w 9739"/>
                <a:gd name="connsiteY270" fmla="*/ 4732 h 10000"/>
                <a:gd name="connsiteX271" fmla="*/ 1529 w 9739"/>
                <a:gd name="connsiteY271" fmla="*/ 4828 h 10000"/>
                <a:gd name="connsiteX272" fmla="*/ 1431 w 9739"/>
                <a:gd name="connsiteY272" fmla="*/ 5227 h 10000"/>
                <a:gd name="connsiteX273" fmla="*/ 1529 w 9739"/>
                <a:gd name="connsiteY273" fmla="*/ 5329 h 10000"/>
                <a:gd name="connsiteX274" fmla="*/ 1794 w 9739"/>
                <a:gd name="connsiteY274" fmla="*/ 5441 h 10000"/>
                <a:gd name="connsiteX275" fmla="*/ 1807 w 9739"/>
                <a:gd name="connsiteY275" fmla="*/ 5578 h 10000"/>
                <a:gd name="connsiteX276" fmla="*/ 1694 w 9739"/>
                <a:gd name="connsiteY276" fmla="*/ 5690 h 10000"/>
                <a:gd name="connsiteX277" fmla="*/ 1529 w 9739"/>
                <a:gd name="connsiteY277" fmla="*/ 5759 h 10000"/>
                <a:gd name="connsiteX278" fmla="*/ 1311 w 9739"/>
                <a:gd name="connsiteY278" fmla="*/ 5787 h 10000"/>
                <a:gd name="connsiteX279" fmla="*/ 1254 w 9739"/>
                <a:gd name="connsiteY279" fmla="*/ 5826 h 10000"/>
                <a:gd name="connsiteX280" fmla="*/ 1382 w 9739"/>
                <a:gd name="connsiteY280" fmla="*/ 5920 h 10000"/>
                <a:gd name="connsiteX281" fmla="*/ 1454 w 9739"/>
                <a:gd name="connsiteY281" fmla="*/ 6142 h 10000"/>
                <a:gd name="connsiteX282" fmla="*/ 1289 w 9739"/>
                <a:gd name="connsiteY282" fmla="*/ 6333 h 10000"/>
                <a:gd name="connsiteX283" fmla="*/ 1347 w 9739"/>
                <a:gd name="connsiteY283" fmla="*/ 6392 h 10000"/>
                <a:gd name="connsiteX284" fmla="*/ 1294 w 9739"/>
                <a:gd name="connsiteY284" fmla="*/ 6492 h 10000"/>
                <a:gd name="connsiteX285" fmla="*/ 1188 w 9739"/>
                <a:gd name="connsiteY285" fmla="*/ 6561 h 10000"/>
                <a:gd name="connsiteX286" fmla="*/ 771 w 9739"/>
                <a:gd name="connsiteY286" fmla="*/ 6614 h 10000"/>
                <a:gd name="connsiteX287" fmla="*/ 745 w 9739"/>
                <a:gd name="connsiteY287" fmla="*/ 6706 h 10000"/>
                <a:gd name="connsiteX288" fmla="*/ 519 w 9739"/>
                <a:gd name="connsiteY288" fmla="*/ 6843 h 10000"/>
                <a:gd name="connsiteX289" fmla="*/ 549 w 9739"/>
                <a:gd name="connsiteY289" fmla="*/ 7040 h 10000"/>
                <a:gd name="connsiteX290" fmla="*/ 359 w 9739"/>
                <a:gd name="connsiteY290" fmla="*/ 7293 h 10000"/>
                <a:gd name="connsiteX291" fmla="*/ 230 w 9739"/>
                <a:gd name="connsiteY291" fmla="*/ 7323 h 10000"/>
                <a:gd name="connsiteX292" fmla="*/ 177 w 9739"/>
                <a:gd name="connsiteY292" fmla="*/ 7262 h 10000"/>
                <a:gd name="connsiteX293" fmla="*/ 111 w 9739"/>
                <a:gd name="connsiteY293" fmla="*/ 7354 h 10000"/>
                <a:gd name="connsiteX294" fmla="*/ 155 w 9739"/>
                <a:gd name="connsiteY294" fmla="*/ 7197 h 10000"/>
                <a:gd name="connsiteX295" fmla="*/ 128 w 9739"/>
                <a:gd name="connsiteY295" fmla="*/ 7166 h 10000"/>
                <a:gd name="connsiteX0" fmla="*/ 131 w 10088"/>
                <a:gd name="connsiteY0" fmla="*/ 7166 h 10000"/>
                <a:gd name="connsiteX1" fmla="*/ 0 w 10088"/>
                <a:gd name="connsiteY1" fmla="*/ 7248 h 10000"/>
                <a:gd name="connsiteX2" fmla="*/ 0 w 10088"/>
                <a:gd name="connsiteY2" fmla="*/ 7651 h 10000"/>
                <a:gd name="connsiteX3" fmla="*/ 73 w 10088"/>
                <a:gd name="connsiteY3" fmla="*/ 7663 h 10000"/>
                <a:gd name="connsiteX4" fmla="*/ 90 w 10088"/>
                <a:gd name="connsiteY4" fmla="*/ 7694 h 10000"/>
                <a:gd name="connsiteX5" fmla="*/ 86 w 10088"/>
                <a:gd name="connsiteY5" fmla="*/ 7749 h 10000"/>
                <a:gd name="connsiteX6" fmla="*/ 59 w 10088"/>
                <a:gd name="connsiteY6" fmla="*/ 7773 h 10000"/>
                <a:gd name="connsiteX7" fmla="*/ 168 w 10088"/>
                <a:gd name="connsiteY7" fmla="*/ 7727 h 10000"/>
                <a:gd name="connsiteX8" fmla="*/ 215 w 10088"/>
                <a:gd name="connsiteY8" fmla="*/ 7680 h 10000"/>
                <a:gd name="connsiteX9" fmla="*/ 272 w 10088"/>
                <a:gd name="connsiteY9" fmla="*/ 7712 h 10000"/>
                <a:gd name="connsiteX10" fmla="*/ 209 w 10088"/>
                <a:gd name="connsiteY10" fmla="*/ 7778 h 10000"/>
                <a:gd name="connsiteX11" fmla="*/ 277 w 10088"/>
                <a:gd name="connsiteY11" fmla="*/ 7780 h 10000"/>
                <a:gd name="connsiteX12" fmla="*/ 309 w 10088"/>
                <a:gd name="connsiteY12" fmla="*/ 7796 h 10000"/>
                <a:gd name="connsiteX13" fmla="*/ 223 w 10088"/>
                <a:gd name="connsiteY13" fmla="*/ 7818 h 10000"/>
                <a:gd name="connsiteX14" fmla="*/ 86 w 10088"/>
                <a:gd name="connsiteY14" fmla="*/ 7886 h 10000"/>
                <a:gd name="connsiteX15" fmla="*/ 329 w 10088"/>
                <a:gd name="connsiteY15" fmla="*/ 7938 h 10000"/>
                <a:gd name="connsiteX16" fmla="*/ 359 w 10088"/>
                <a:gd name="connsiteY16" fmla="*/ 8014 h 10000"/>
                <a:gd name="connsiteX17" fmla="*/ 277 w 10088"/>
                <a:gd name="connsiteY17" fmla="*/ 8126 h 10000"/>
                <a:gd name="connsiteX18" fmla="*/ 456 w 10088"/>
                <a:gd name="connsiteY18" fmla="*/ 8118 h 10000"/>
                <a:gd name="connsiteX19" fmla="*/ 469 w 10088"/>
                <a:gd name="connsiteY19" fmla="*/ 8203 h 10000"/>
                <a:gd name="connsiteX20" fmla="*/ 350 w 10088"/>
                <a:gd name="connsiteY20" fmla="*/ 8260 h 10000"/>
                <a:gd name="connsiteX21" fmla="*/ 369 w 10088"/>
                <a:gd name="connsiteY21" fmla="*/ 8370 h 10000"/>
                <a:gd name="connsiteX22" fmla="*/ 323 w 10088"/>
                <a:gd name="connsiteY22" fmla="*/ 8456 h 10000"/>
                <a:gd name="connsiteX23" fmla="*/ 464 w 10088"/>
                <a:gd name="connsiteY23" fmla="*/ 8464 h 10000"/>
                <a:gd name="connsiteX24" fmla="*/ 601 w 10088"/>
                <a:gd name="connsiteY24" fmla="*/ 8792 h 10000"/>
                <a:gd name="connsiteX25" fmla="*/ 760 w 10088"/>
                <a:gd name="connsiteY25" fmla="*/ 8876 h 10000"/>
                <a:gd name="connsiteX26" fmla="*/ 828 w 10088"/>
                <a:gd name="connsiteY26" fmla="*/ 8965 h 10000"/>
                <a:gd name="connsiteX27" fmla="*/ 1001 w 10088"/>
                <a:gd name="connsiteY27" fmla="*/ 9030 h 10000"/>
                <a:gd name="connsiteX28" fmla="*/ 1111 w 10088"/>
                <a:gd name="connsiteY28" fmla="*/ 9112 h 10000"/>
                <a:gd name="connsiteX29" fmla="*/ 1097 w 10088"/>
                <a:gd name="connsiteY29" fmla="*/ 9171 h 10000"/>
                <a:gd name="connsiteX30" fmla="*/ 988 w 10088"/>
                <a:gd name="connsiteY30" fmla="*/ 9193 h 10000"/>
                <a:gd name="connsiteX31" fmla="*/ 869 w 10088"/>
                <a:gd name="connsiteY31" fmla="*/ 9179 h 10000"/>
                <a:gd name="connsiteX32" fmla="*/ 832 w 10088"/>
                <a:gd name="connsiteY32" fmla="*/ 9204 h 10000"/>
                <a:gd name="connsiteX33" fmla="*/ 923 w 10088"/>
                <a:gd name="connsiteY33" fmla="*/ 9332 h 10000"/>
                <a:gd name="connsiteX34" fmla="*/ 796 w 10088"/>
                <a:gd name="connsiteY34" fmla="*/ 9322 h 10000"/>
                <a:gd name="connsiteX35" fmla="*/ 687 w 10088"/>
                <a:gd name="connsiteY35" fmla="*/ 9291 h 10000"/>
                <a:gd name="connsiteX36" fmla="*/ 668 w 10088"/>
                <a:gd name="connsiteY36" fmla="*/ 9338 h 10000"/>
                <a:gd name="connsiteX37" fmla="*/ 1028 w 10088"/>
                <a:gd name="connsiteY37" fmla="*/ 9776 h 10000"/>
                <a:gd name="connsiteX38" fmla="*/ 970 w 10088"/>
                <a:gd name="connsiteY38" fmla="*/ 9817 h 10000"/>
                <a:gd name="connsiteX39" fmla="*/ 929 w 10088"/>
                <a:gd name="connsiteY39" fmla="*/ 9902 h 10000"/>
                <a:gd name="connsiteX40" fmla="*/ 878 w 10088"/>
                <a:gd name="connsiteY40" fmla="*/ 9908 h 10000"/>
                <a:gd name="connsiteX41" fmla="*/ 846 w 10088"/>
                <a:gd name="connsiteY41" fmla="*/ 9945 h 10000"/>
                <a:gd name="connsiteX42" fmla="*/ 1064 w 10088"/>
                <a:gd name="connsiteY42" fmla="*/ 9949 h 10000"/>
                <a:gd name="connsiteX43" fmla="*/ 1256 w 10088"/>
                <a:gd name="connsiteY43" fmla="*/ 9986 h 10000"/>
                <a:gd name="connsiteX44" fmla="*/ 1574 w 10088"/>
                <a:gd name="connsiteY44" fmla="*/ 9947 h 10000"/>
                <a:gd name="connsiteX45" fmla="*/ 1860 w 10088"/>
                <a:gd name="connsiteY45" fmla="*/ 9953 h 10000"/>
                <a:gd name="connsiteX46" fmla="*/ 2030 w 10088"/>
                <a:gd name="connsiteY46" fmla="*/ 10000 h 10000"/>
                <a:gd name="connsiteX47" fmla="*/ 2121 w 10088"/>
                <a:gd name="connsiteY47" fmla="*/ 9969 h 10000"/>
                <a:gd name="connsiteX48" fmla="*/ 2211 w 10088"/>
                <a:gd name="connsiteY48" fmla="*/ 9868 h 10000"/>
                <a:gd name="connsiteX49" fmla="*/ 2188 w 10088"/>
                <a:gd name="connsiteY49" fmla="*/ 9703 h 10000"/>
                <a:gd name="connsiteX50" fmla="*/ 2407 w 10088"/>
                <a:gd name="connsiteY50" fmla="*/ 9517 h 10000"/>
                <a:gd name="connsiteX51" fmla="*/ 2566 w 10088"/>
                <a:gd name="connsiteY51" fmla="*/ 9546 h 10000"/>
                <a:gd name="connsiteX52" fmla="*/ 2657 w 10088"/>
                <a:gd name="connsiteY52" fmla="*/ 9472 h 10000"/>
                <a:gd name="connsiteX53" fmla="*/ 2834 w 10088"/>
                <a:gd name="connsiteY53" fmla="*/ 9430 h 10000"/>
                <a:gd name="connsiteX54" fmla="*/ 3075 w 10088"/>
                <a:gd name="connsiteY54" fmla="*/ 9440 h 10000"/>
                <a:gd name="connsiteX55" fmla="*/ 3221 w 10088"/>
                <a:gd name="connsiteY55" fmla="*/ 9470 h 10000"/>
                <a:gd name="connsiteX56" fmla="*/ 3413 w 10088"/>
                <a:gd name="connsiteY56" fmla="*/ 9456 h 10000"/>
                <a:gd name="connsiteX57" fmla="*/ 3608 w 10088"/>
                <a:gd name="connsiteY57" fmla="*/ 9489 h 10000"/>
                <a:gd name="connsiteX58" fmla="*/ 3803 w 10088"/>
                <a:gd name="connsiteY58" fmla="*/ 9493 h 10000"/>
                <a:gd name="connsiteX59" fmla="*/ 4240 w 10088"/>
                <a:gd name="connsiteY59" fmla="*/ 9061 h 10000"/>
                <a:gd name="connsiteX60" fmla="*/ 4350 w 10088"/>
                <a:gd name="connsiteY60" fmla="*/ 8711 h 10000"/>
                <a:gd name="connsiteX61" fmla="*/ 4527 w 10088"/>
                <a:gd name="connsiteY61" fmla="*/ 8554 h 10000"/>
                <a:gd name="connsiteX62" fmla="*/ 4527 w 10088"/>
                <a:gd name="connsiteY62" fmla="*/ 8472 h 10000"/>
                <a:gd name="connsiteX63" fmla="*/ 4463 w 10088"/>
                <a:gd name="connsiteY63" fmla="*/ 8425 h 10000"/>
                <a:gd name="connsiteX64" fmla="*/ 4568 w 10088"/>
                <a:gd name="connsiteY64" fmla="*/ 8352 h 10000"/>
                <a:gd name="connsiteX65" fmla="*/ 4549 w 10088"/>
                <a:gd name="connsiteY65" fmla="*/ 8289 h 10000"/>
                <a:gd name="connsiteX66" fmla="*/ 4477 w 10088"/>
                <a:gd name="connsiteY66" fmla="*/ 8236 h 10000"/>
                <a:gd name="connsiteX67" fmla="*/ 4463 w 10088"/>
                <a:gd name="connsiteY67" fmla="*/ 8199 h 10000"/>
                <a:gd name="connsiteX68" fmla="*/ 4481 w 10088"/>
                <a:gd name="connsiteY68" fmla="*/ 8169 h 10000"/>
                <a:gd name="connsiteX69" fmla="*/ 4577 w 10088"/>
                <a:gd name="connsiteY69" fmla="*/ 8193 h 10000"/>
                <a:gd name="connsiteX70" fmla="*/ 4654 w 10088"/>
                <a:gd name="connsiteY70" fmla="*/ 8191 h 10000"/>
                <a:gd name="connsiteX71" fmla="*/ 4612 w 10088"/>
                <a:gd name="connsiteY71" fmla="*/ 8140 h 10000"/>
                <a:gd name="connsiteX72" fmla="*/ 4626 w 10088"/>
                <a:gd name="connsiteY72" fmla="*/ 8112 h 10000"/>
                <a:gd name="connsiteX73" fmla="*/ 4681 w 10088"/>
                <a:gd name="connsiteY73" fmla="*/ 8069 h 10000"/>
                <a:gd name="connsiteX74" fmla="*/ 4672 w 10088"/>
                <a:gd name="connsiteY74" fmla="*/ 8034 h 10000"/>
                <a:gd name="connsiteX75" fmla="*/ 4723 w 10088"/>
                <a:gd name="connsiteY75" fmla="*/ 7916 h 10000"/>
                <a:gd name="connsiteX76" fmla="*/ 4710 w 10088"/>
                <a:gd name="connsiteY76" fmla="*/ 7881 h 10000"/>
                <a:gd name="connsiteX77" fmla="*/ 4445 w 10088"/>
                <a:gd name="connsiteY77" fmla="*/ 7792 h 10000"/>
                <a:gd name="connsiteX78" fmla="*/ 4481 w 10088"/>
                <a:gd name="connsiteY78" fmla="*/ 7788 h 10000"/>
                <a:gd name="connsiteX79" fmla="*/ 4622 w 10088"/>
                <a:gd name="connsiteY79" fmla="*/ 7812 h 10000"/>
                <a:gd name="connsiteX80" fmla="*/ 4773 w 10088"/>
                <a:gd name="connsiteY80" fmla="*/ 7804 h 10000"/>
                <a:gd name="connsiteX81" fmla="*/ 4818 w 10088"/>
                <a:gd name="connsiteY81" fmla="*/ 7771 h 10000"/>
                <a:gd name="connsiteX82" fmla="*/ 4672 w 10088"/>
                <a:gd name="connsiteY82" fmla="*/ 7710 h 10000"/>
                <a:gd name="connsiteX83" fmla="*/ 4236 w 10088"/>
                <a:gd name="connsiteY83" fmla="*/ 7670 h 10000"/>
                <a:gd name="connsiteX84" fmla="*/ 4266 w 10088"/>
                <a:gd name="connsiteY84" fmla="*/ 7651 h 10000"/>
                <a:gd name="connsiteX85" fmla="*/ 4622 w 10088"/>
                <a:gd name="connsiteY85" fmla="*/ 7639 h 10000"/>
                <a:gd name="connsiteX86" fmla="*/ 4818 w 10088"/>
                <a:gd name="connsiteY86" fmla="*/ 7676 h 10000"/>
                <a:gd name="connsiteX87" fmla="*/ 4932 w 10088"/>
                <a:gd name="connsiteY87" fmla="*/ 7651 h 10000"/>
                <a:gd name="connsiteX88" fmla="*/ 4973 w 10088"/>
                <a:gd name="connsiteY88" fmla="*/ 7588 h 10000"/>
                <a:gd name="connsiteX89" fmla="*/ 5177 w 10088"/>
                <a:gd name="connsiteY89" fmla="*/ 7588 h 10000"/>
                <a:gd name="connsiteX90" fmla="*/ 5455 w 10088"/>
                <a:gd name="connsiteY90" fmla="*/ 7462 h 10000"/>
                <a:gd name="connsiteX91" fmla="*/ 5465 w 10088"/>
                <a:gd name="connsiteY91" fmla="*/ 7378 h 10000"/>
                <a:gd name="connsiteX92" fmla="*/ 5582 w 10088"/>
                <a:gd name="connsiteY92" fmla="*/ 7397 h 10000"/>
                <a:gd name="connsiteX93" fmla="*/ 5578 w 10088"/>
                <a:gd name="connsiteY93" fmla="*/ 7482 h 10000"/>
                <a:gd name="connsiteX94" fmla="*/ 5764 w 10088"/>
                <a:gd name="connsiteY94" fmla="*/ 7476 h 10000"/>
                <a:gd name="connsiteX95" fmla="*/ 5887 w 10088"/>
                <a:gd name="connsiteY95" fmla="*/ 7388 h 10000"/>
                <a:gd name="connsiteX96" fmla="*/ 6116 w 10088"/>
                <a:gd name="connsiteY96" fmla="*/ 7309 h 10000"/>
                <a:gd name="connsiteX97" fmla="*/ 6078 w 10088"/>
                <a:gd name="connsiteY97" fmla="*/ 7219 h 10000"/>
                <a:gd name="connsiteX98" fmla="*/ 6146 w 10088"/>
                <a:gd name="connsiteY98" fmla="*/ 7254 h 10000"/>
                <a:gd name="connsiteX99" fmla="*/ 6251 w 10088"/>
                <a:gd name="connsiteY99" fmla="*/ 7254 h 10000"/>
                <a:gd name="connsiteX100" fmla="*/ 6251 w 10088"/>
                <a:gd name="connsiteY100" fmla="*/ 7213 h 10000"/>
                <a:gd name="connsiteX101" fmla="*/ 6347 w 10088"/>
                <a:gd name="connsiteY101" fmla="*/ 7181 h 10000"/>
                <a:gd name="connsiteX102" fmla="*/ 6333 w 10088"/>
                <a:gd name="connsiteY102" fmla="*/ 7148 h 10000"/>
                <a:gd name="connsiteX103" fmla="*/ 5515 w 10088"/>
                <a:gd name="connsiteY103" fmla="*/ 7215 h 10000"/>
                <a:gd name="connsiteX104" fmla="*/ 5323 w 10088"/>
                <a:gd name="connsiteY104" fmla="*/ 7195 h 10000"/>
                <a:gd name="connsiteX105" fmla="*/ 5246 w 10088"/>
                <a:gd name="connsiteY105" fmla="*/ 7219 h 10000"/>
                <a:gd name="connsiteX106" fmla="*/ 5219 w 10088"/>
                <a:gd name="connsiteY106" fmla="*/ 7173 h 10000"/>
                <a:gd name="connsiteX107" fmla="*/ 5128 w 10088"/>
                <a:gd name="connsiteY107" fmla="*/ 7132 h 10000"/>
                <a:gd name="connsiteX108" fmla="*/ 4763 w 10088"/>
                <a:gd name="connsiteY108" fmla="*/ 7052 h 10000"/>
                <a:gd name="connsiteX109" fmla="*/ 4549 w 10088"/>
                <a:gd name="connsiteY109" fmla="*/ 7065 h 10000"/>
                <a:gd name="connsiteX110" fmla="*/ 4463 w 10088"/>
                <a:gd name="connsiteY110" fmla="*/ 7042 h 10000"/>
                <a:gd name="connsiteX111" fmla="*/ 4554 w 10088"/>
                <a:gd name="connsiteY111" fmla="*/ 7022 h 10000"/>
                <a:gd name="connsiteX112" fmla="*/ 4622 w 10088"/>
                <a:gd name="connsiteY112" fmla="*/ 6979 h 10000"/>
                <a:gd name="connsiteX113" fmla="*/ 4723 w 10088"/>
                <a:gd name="connsiteY113" fmla="*/ 6993 h 10000"/>
                <a:gd name="connsiteX114" fmla="*/ 4845 w 10088"/>
                <a:gd name="connsiteY114" fmla="*/ 6981 h 10000"/>
                <a:gd name="connsiteX115" fmla="*/ 5027 w 10088"/>
                <a:gd name="connsiteY115" fmla="*/ 6995 h 10000"/>
                <a:gd name="connsiteX116" fmla="*/ 5049 w 10088"/>
                <a:gd name="connsiteY116" fmla="*/ 6989 h 10000"/>
                <a:gd name="connsiteX117" fmla="*/ 5191 w 10088"/>
                <a:gd name="connsiteY117" fmla="*/ 7056 h 10000"/>
                <a:gd name="connsiteX118" fmla="*/ 5296 w 10088"/>
                <a:gd name="connsiteY118" fmla="*/ 7032 h 10000"/>
                <a:gd name="connsiteX119" fmla="*/ 5304 w 10088"/>
                <a:gd name="connsiteY119" fmla="*/ 7010 h 10000"/>
                <a:gd name="connsiteX120" fmla="*/ 5400 w 10088"/>
                <a:gd name="connsiteY120" fmla="*/ 7048 h 10000"/>
                <a:gd name="connsiteX121" fmla="*/ 5528 w 10088"/>
                <a:gd name="connsiteY121" fmla="*/ 7069 h 10000"/>
                <a:gd name="connsiteX122" fmla="*/ 5578 w 10088"/>
                <a:gd name="connsiteY122" fmla="*/ 7030 h 10000"/>
                <a:gd name="connsiteX123" fmla="*/ 5619 w 10088"/>
                <a:gd name="connsiteY123" fmla="*/ 7052 h 10000"/>
                <a:gd name="connsiteX124" fmla="*/ 5677 w 10088"/>
                <a:gd name="connsiteY124" fmla="*/ 7126 h 10000"/>
                <a:gd name="connsiteX125" fmla="*/ 5800 w 10088"/>
                <a:gd name="connsiteY125" fmla="*/ 7144 h 10000"/>
                <a:gd name="connsiteX126" fmla="*/ 6301 w 10088"/>
                <a:gd name="connsiteY126" fmla="*/ 7034 h 10000"/>
                <a:gd name="connsiteX127" fmla="*/ 6547 w 10088"/>
                <a:gd name="connsiteY127" fmla="*/ 6879 h 10000"/>
                <a:gd name="connsiteX128" fmla="*/ 6605 w 10088"/>
                <a:gd name="connsiteY128" fmla="*/ 6765 h 10000"/>
                <a:gd name="connsiteX129" fmla="*/ 6516 w 10088"/>
                <a:gd name="connsiteY129" fmla="*/ 6663 h 10000"/>
                <a:gd name="connsiteX130" fmla="*/ 6328 w 10088"/>
                <a:gd name="connsiteY130" fmla="*/ 6602 h 10000"/>
                <a:gd name="connsiteX131" fmla="*/ 6196 w 10088"/>
                <a:gd name="connsiteY131" fmla="*/ 6502 h 10000"/>
                <a:gd name="connsiteX132" fmla="*/ 6320 w 10088"/>
                <a:gd name="connsiteY132" fmla="*/ 6498 h 10000"/>
                <a:gd name="connsiteX133" fmla="*/ 6311 w 10088"/>
                <a:gd name="connsiteY133" fmla="*/ 6474 h 10000"/>
                <a:gd name="connsiteX134" fmla="*/ 5988 w 10088"/>
                <a:gd name="connsiteY134" fmla="*/ 6403 h 10000"/>
                <a:gd name="connsiteX135" fmla="*/ 5975 w 10088"/>
                <a:gd name="connsiteY135" fmla="*/ 6339 h 10000"/>
                <a:gd name="connsiteX136" fmla="*/ 5914 w 10088"/>
                <a:gd name="connsiteY136" fmla="*/ 6272 h 10000"/>
                <a:gd name="connsiteX137" fmla="*/ 5659 w 10088"/>
                <a:gd name="connsiteY137" fmla="*/ 6284 h 10000"/>
                <a:gd name="connsiteX138" fmla="*/ 5568 w 10088"/>
                <a:gd name="connsiteY138" fmla="*/ 6213 h 10000"/>
                <a:gd name="connsiteX139" fmla="*/ 5515 w 10088"/>
                <a:gd name="connsiteY139" fmla="*/ 6209 h 10000"/>
                <a:gd name="connsiteX140" fmla="*/ 5515 w 10088"/>
                <a:gd name="connsiteY140" fmla="*/ 6238 h 10000"/>
                <a:gd name="connsiteX141" fmla="*/ 5400 w 10088"/>
                <a:gd name="connsiteY141" fmla="*/ 6358 h 10000"/>
                <a:gd name="connsiteX142" fmla="*/ 5277 w 10088"/>
                <a:gd name="connsiteY142" fmla="*/ 6429 h 10000"/>
                <a:gd name="connsiteX143" fmla="*/ 4890 w 10088"/>
                <a:gd name="connsiteY143" fmla="*/ 6551 h 10000"/>
                <a:gd name="connsiteX144" fmla="*/ 4754 w 10088"/>
                <a:gd name="connsiteY144" fmla="*/ 6547 h 10000"/>
                <a:gd name="connsiteX145" fmla="*/ 4568 w 10088"/>
                <a:gd name="connsiteY145" fmla="*/ 6565 h 10000"/>
                <a:gd name="connsiteX146" fmla="*/ 4463 w 10088"/>
                <a:gd name="connsiteY146" fmla="*/ 6547 h 10000"/>
                <a:gd name="connsiteX147" fmla="*/ 4599 w 10088"/>
                <a:gd name="connsiteY147" fmla="*/ 6513 h 10000"/>
                <a:gd name="connsiteX148" fmla="*/ 4777 w 10088"/>
                <a:gd name="connsiteY148" fmla="*/ 6498 h 10000"/>
                <a:gd name="connsiteX149" fmla="*/ 4924 w 10088"/>
                <a:gd name="connsiteY149" fmla="*/ 6441 h 10000"/>
                <a:gd name="connsiteX150" fmla="*/ 5067 w 10088"/>
                <a:gd name="connsiteY150" fmla="*/ 6415 h 10000"/>
                <a:gd name="connsiteX151" fmla="*/ 5337 w 10088"/>
                <a:gd name="connsiteY151" fmla="*/ 6317 h 10000"/>
                <a:gd name="connsiteX152" fmla="*/ 5387 w 10088"/>
                <a:gd name="connsiteY152" fmla="*/ 6252 h 10000"/>
                <a:gd name="connsiteX153" fmla="*/ 5391 w 10088"/>
                <a:gd name="connsiteY153" fmla="*/ 6168 h 10000"/>
                <a:gd name="connsiteX154" fmla="*/ 5269 w 10088"/>
                <a:gd name="connsiteY154" fmla="*/ 6154 h 10000"/>
                <a:gd name="connsiteX155" fmla="*/ 5323 w 10088"/>
                <a:gd name="connsiteY155" fmla="*/ 6103 h 10000"/>
                <a:gd name="connsiteX156" fmla="*/ 5341 w 10088"/>
                <a:gd name="connsiteY156" fmla="*/ 6038 h 10000"/>
                <a:gd name="connsiteX157" fmla="*/ 5290 w 10088"/>
                <a:gd name="connsiteY157" fmla="*/ 5977 h 10000"/>
                <a:gd name="connsiteX158" fmla="*/ 5259 w 10088"/>
                <a:gd name="connsiteY158" fmla="*/ 5533 h 10000"/>
                <a:gd name="connsiteX159" fmla="*/ 5333 w 10088"/>
                <a:gd name="connsiteY159" fmla="*/ 5437 h 10000"/>
                <a:gd name="connsiteX160" fmla="*/ 5314 w 10088"/>
                <a:gd name="connsiteY160" fmla="*/ 5398 h 10000"/>
                <a:gd name="connsiteX161" fmla="*/ 5528 w 10088"/>
                <a:gd name="connsiteY161" fmla="*/ 5455 h 10000"/>
                <a:gd name="connsiteX162" fmla="*/ 5542 w 10088"/>
                <a:gd name="connsiteY162" fmla="*/ 5402 h 10000"/>
                <a:gd name="connsiteX163" fmla="*/ 5496 w 10088"/>
                <a:gd name="connsiteY163" fmla="*/ 5264 h 10000"/>
                <a:gd name="connsiteX164" fmla="*/ 5649 w 10088"/>
                <a:gd name="connsiteY164" fmla="*/ 5019 h 10000"/>
                <a:gd name="connsiteX165" fmla="*/ 5555 w 10088"/>
                <a:gd name="connsiteY165" fmla="*/ 4960 h 10000"/>
                <a:gd name="connsiteX166" fmla="*/ 5519 w 10088"/>
                <a:gd name="connsiteY166" fmla="*/ 4905 h 10000"/>
                <a:gd name="connsiteX167" fmla="*/ 5532 w 10088"/>
                <a:gd name="connsiteY167" fmla="*/ 4816 h 10000"/>
                <a:gd name="connsiteX168" fmla="*/ 5756 w 10088"/>
                <a:gd name="connsiteY168" fmla="*/ 4875 h 10000"/>
                <a:gd name="connsiteX169" fmla="*/ 5764 w 10088"/>
                <a:gd name="connsiteY169" fmla="*/ 4858 h 10000"/>
                <a:gd name="connsiteX170" fmla="*/ 5827 w 10088"/>
                <a:gd name="connsiteY170" fmla="*/ 4842 h 10000"/>
                <a:gd name="connsiteX171" fmla="*/ 5914 w 10088"/>
                <a:gd name="connsiteY171" fmla="*/ 4785 h 10000"/>
                <a:gd name="connsiteX172" fmla="*/ 5928 w 10088"/>
                <a:gd name="connsiteY172" fmla="*/ 4769 h 10000"/>
                <a:gd name="connsiteX173" fmla="*/ 5910 w 10088"/>
                <a:gd name="connsiteY173" fmla="*/ 4748 h 10000"/>
                <a:gd name="connsiteX174" fmla="*/ 5954 w 10088"/>
                <a:gd name="connsiteY174" fmla="*/ 4647 h 10000"/>
                <a:gd name="connsiteX175" fmla="*/ 5901 w 10088"/>
                <a:gd name="connsiteY175" fmla="*/ 4581 h 10000"/>
                <a:gd name="connsiteX176" fmla="*/ 5910 w 10088"/>
                <a:gd name="connsiteY176" fmla="*/ 4528 h 10000"/>
                <a:gd name="connsiteX177" fmla="*/ 5941 w 10088"/>
                <a:gd name="connsiteY177" fmla="*/ 4590 h 10000"/>
                <a:gd name="connsiteX178" fmla="*/ 6064 w 10088"/>
                <a:gd name="connsiteY178" fmla="*/ 4636 h 10000"/>
                <a:gd name="connsiteX179" fmla="*/ 6116 w 10088"/>
                <a:gd name="connsiteY179" fmla="*/ 4630 h 10000"/>
                <a:gd name="connsiteX180" fmla="*/ 6196 w 10088"/>
                <a:gd name="connsiteY180" fmla="*/ 4569 h 10000"/>
                <a:gd name="connsiteX181" fmla="*/ 6283 w 10088"/>
                <a:gd name="connsiteY181" fmla="*/ 4594 h 10000"/>
                <a:gd name="connsiteX182" fmla="*/ 6307 w 10088"/>
                <a:gd name="connsiteY182" fmla="*/ 4545 h 10000"/>
                <a:gd name="connsiteX183" fmla="*/ 6365 w 10088"/>
                <a:gd name="connsiteY183" fmla="*/ 4512 h 10000"/>
                <a:gd name="connsiteX184" fmla="*/ 6205 w 10088"/>
                <a:gd name="connsiteY184" fmla="*/ 4477 h 10000"/>
                <a:gd name="connsiteX185" fmla="*/ 6320 w 10088"/>
                <a:gd name="connsiteY185" fmla="*/ 4484 h 10000"/>
                <a:gd name="connsiteX186" fmla="*/ 6437 w 10088"/>
                <a:gd name="connsiteY186" fmla="*/ 4447 h 10000"/>
                <a:gd name="connsiteX187" fmla="*/ 6433 w 10088"/>
                <a:gd name="connsiteY187" fmla="*/ 4422 h 10000"/>
                <a:gd name="connsiteX188" fmla="*/ 6543 w 10088"/>
                <a:gd name="connsiteY188" fmla="*/ 4398 h 10000"/>
                <a:gd name="connsiteX189" fmla="*/ 6552 w 10088"/>
                <a:gd name="connsiteY189" fmla="*/ 4337 h 10000"/>
                <a:gd name="connsiteX190" fmla="*/ 6638 w 10088"/>
                <a:gd name="connsiteY190" fmla="*/ 4325 h 10000"/>
                <a:gd name="connsiteX191" fmla="*/ 6646 w 10088"/>
                <a:gd name="connsiteY191" fmla="*/ 4253 h 10000"/>
                <a:gd name="connsiteX192" fmla="*/ 6737 w 10088"/>
                <a:gd name="connsiteY192" fmla="*/ 4245 h 10000"/>
                <a:gd name="connsiteX193" fmla="*/ 6879 w 10088"/>
                <a:gd name="connsiteY193" fmla="*/ 4260 h 10000"/>
                <a:gd name="connsiteX194" fmla="*/ 7033 w 10088"/>
                <a:gd name="connsiteY194" fmla="*/ 4202 h 10000"/>
                <a:gd name="connsiteX195" fmla="*/ 7088 w 10088"/>
                <a:gd name="connsiteY195" fmla="*/ 4137 h 10000"/>
                <a:gd name="connsiteX196" fmla="*/ 7279 w 10088"/>
                <a:gd name="connsiteY196" fmla="*/ 4070 h 10000"/>
                <a:gd name="connsiteX197" fmla="*/ 7374 w 10088"/>
                <a:gd name="connsiteY197" fmla="*/ 4111 h 10000"/>
                <a:gd name="connsiteX198" fmla="*/ 7520 w 10088"/>
                <a:gd name="connsiteY198" fmla="*/ 4066 h 10000"/>
                <a:gd name="connsiteX199" fmla="*/ 7556 w 10088"/>
                <a:gd name="connsiteY199" fmla="*/ 4009 h 10000"/>
                <a:gd name="connsiteX200" fmla="*/ 7666 w 10088"/>
                <a:gd name="connsiteY200" fmla="*/ 3970 h 10000"/>
                <a:gd name="connsiteX201" fmla="*/ 7761 w 10088"/>
                <a:gd name="connsiteY201" fmla="*/ 3987 h 10000"/>
                <a:gd name="connsiteX202" fmla="*/ 7820 w 10088"/>
                <a:gd name="connsiteY202" fmla="*/ 3958 h 10000"/>
                <a:gd name="connsiteX203" fmla="*/ 7984 w 10088"/>
                <a:gd name="connsiteY203" fmla="*/ 3917 h 10000"/>
                <a:gd name="connsiteX204" fmla="*/ 8052 w 10088"/>
                <a:gd name="connsiteY204" fmla="*/ 3864 h 10000"/>
                <a:gd name="connsiteX205" fmla="*/ 8144 w 10088"/>
                <a:gd name="connsiteY205" fmla="*/ 3842 h 10000"/>
                <a:gd name="connsiteX206" fmla="*/ 8649 w 10088"/>
                <a:gd name="connsiteY206" fmla="*/ 3522 h 10000"/>
                <a:gd name="connsiteX207" fmla="*/ 9983 w 10088"/>
                <a:gd name="connsiteY207" fmla="*/ 1465 h 10000"/>
                <a:gd name="connsiteX208" fmla="*/ 10000 w 10088"/>
                <a:gd name="connsiteY208" fmla="*/ 1271 h 10000"/>
                <a:gd name="connsiteX209" fmla="*/ 9969 w 10088"/>
                <a:gd name="connsiteY209" fmla="*/ 1194 h 10000"/>
                <a:gd name="connsiteX210" fmla="*/ 9909 w 10088"/>
                <a:gd name="connsiteY210" fmla="*/ 1159 h 10000"/>
                <a:gd name="connsiteX211" fmla="*/ 9858 w 10088"/>
                <a:gd name="connsiteY211" fmla="*/ 978 h 10000"/>
                <a:gd name="connsiteX212" fmla="*/ 9918 w 10088"/>
                <a:gd name="connsiteY212" fmla="*/ 831 h 10000"/>
                <a:gd name="connsiteX213" fmla="*/ 9481 w 10088"/>
                <a:gd name="connsiteY213" fmla="*/ 517 h 10000"/>
                <a:gd name="connsiteX214" fmla="*/ 9267 w 10088"/>
                <a:gd name="connsiteY214" fmla="*/ 440 h 10000"/>
                <a:gd name="connsiteX215" fmla="*/ 8871 w 10088"/>
                <a:gd name="connsiteY215" fmla="*/ 389 h 10000"/>
                <a:gd name="connsiteX216" fmla="*/ 8052 w 10088"/>
                <a:gd name="connsiteY216" fmla="*/ 26 h 10000"/>
                <a:gd name="connsiteX217" fmla="*/ 8025 w 10088"/>
                <a:gd name="connsiteY217" fmla="*/ 2 h 10000"/>
                <a:gd name="connsiteX218" fmla="*/ 7747 w 10088"/>
                <a:gd name="connsiteY218" fmla="*/ 0 h 10000"/>
                <a:gd name="connsiteX219" fmla="*/ 7684 w 10088"/>
                <a:gd name="connsiteY219" fmla="*/ 14 h 10000"/>
                <a:gd name="connsiteX220" fmla="*/ 7698 w 10088"/>
                <a:gd name="connsiteY220" fmla="*/ 61 h 10000"/>
                <a:gd name="connsiteX221" fmla="*/ 7752 w 10088"/>
                <a:gd name="connsiteY221" fmla="*/ 86 h 10000"/>
                <a:gd name="connsiteX222" fmla="*/ 7767 w 10088"/>
                <a:gd name="connsiteY222" fmla="*/ 139 h 10000"/>
                <a:gd name="connsiteX223" fmla="*/ 7747 w 10088"/>
                <a:gd name="connsiteY223" fmla="*/ 181 h 10000"/>
                <a:gd name="connsiteX224" fmla="*/ 7698 w 10088"/>
                <a:gd name="connsiteY224" fmla="*/ 208 h 10000"/>
                <a:gd name="connsiteX225" fmla="*/ 7661 w 10088"/>
                <a:gd name="connsiteY225" fmla="*/ 283 h 10000"/>
                <a:gd name="connsiteX226" fmla="*/ 7593 w 10088"/>
                <a:gd name="connsiteY226" fmla="*/ 336 h 10000"/>
                <a:gd name="connsiteX227" fmla="*/ 7607 w 10088"/>
                <a:gd name="connsiteY227" fmla="*/ 387 h 10000"/>
                <a:gd name="connsiteX228" fmla="*/ 7711 w 10088"/>
                <a:gd name="connsiteY228" fmla="*/ 434 h 10000"/>
                <a:gd name="connsiteX229" fmla="*/ 7643 w 10088"/>
                <a:gd name="connsiteY229" fmla="*/ 475 h 10000"/>
                <a:gd name="connsiteX230" fmla="*/ 7543 w 10088"/>
                <a:gd name="connsiteY230" fmla="*/ 485 h 10000"/>
                <a:gd name="connsiteX231" fmla="*/ 6706 w 10088"/>
                <a:gd name="connsiteY231" fmla="*/ 387 h 10000"/>
                <a:gd name="connsiteX232" fmla="*/ 6605 w 10088"/>
                <a:gd name="connsiteY232" fmla="*/ 395 h 10000"/>
                <a:gd name="connsiteX233" fmla="*/ 6547 w 10088"/>
                <a:gd name="connsiteY233" fmla="*/ 414 h 10000"/>
                <a:gd name="connsiteX234" fmla="*/ 6487 w 10088"/>
                <a:gd name="connsiteY234" fmla="*/ 462 h 10000"/>
                <a:gd name="connsiteX235" fmla="*/ 6498 w 10088"/>
                <a:gd name="connsiteY235" fmla="*/ 581 h 10000"/>
                <a:gd name="connsiteX236" fmla="*/ 6405 w 10088"/>
                <a:gd name="connsiteY236" fmla="*/ 735 h 10000"/>
                <a:gd name="connsiteX237" fmla="*/ 6292 w 10088"/>
                <a:gd name="connsiteY237" fmla="*/ 815 h 10000"/>
                <a:gd name="connsiteX238" fmla="*/ 6247 w 10088"/>
                <a:gd name="connsiteY238" fmla="*/ 805 h 10000"/>
                <a:gd name="connsiteX239" fmla="*/ 6142 w 10088"/>
                <a:gd name="connsiteY239" fmla="*/ 739 h 10000"/>
                <a:gd name="connsiteX240" fmla="*/ 6010 w 10088"/>
                <a:gd name="connsiteY240" fmla="*/ 705 h 10000"/>
                <a:gd name="connsiteX241" fmla="*/ 5868 w 10088"/>
                <a:gd name="connsiteY241" fmla="*/ 715 h 10000"/>
                <a:gd name="connsiteX242" fmla="*/ 5538 w 10088"/>
                <a:gd name="connsiteY242" fmla="*/ 866 h 10000"/>
                <a:gd name="connsiteX243" fmla="*/ 5450 w 10088"/>
                <a:gd name="connsiteY243" fmla="*/ 1017 h 10000"/>
                <a:gd name="connsiteX244" fmla="*/ 5201 w 10088"/>
                <a:gd name="connsiteY244" fmla="*/ 1153 h 10000"/>
                <a:gd name="connsiteX245" fmla="*/ 5155 w 10088"/>
                <a:gd name="connsiteY245" fmla="*/ 1222 h 10000"/>
                <a:gd name="connsiteX246" fmla="*/ 5286 w 10088"/>
                <a:gd name="connsiteY246" fmla="*/ 1344 h 10000"/>
                <a:gd name="connsiteX247" fmla="*/ 5300 w 10088"/>
                <a:gd name="connsiteY247" fmla="*/ 1412 h 10000"/>
                <a:gd name="connsiteX248" fmla="*/ 4618 w 10088"/>
                <a:gd name="connsiteY248" fmla="*/ 1813 h 10000"/>
                <a:gd name="connsiteX249" fmla="*/ 4408 w 10088"/>
                <a:gd name="connsiteY249" fmla="*/ 2070 h 10000"/>
                <a:gd name="connsiteX250" fmla="*/ 4182 w 10088"/>
                <a:gd name="connsiteY250" fmla="*/ 2135 h 10000"/>
                <a:gd name="connsiteX251" fmla="*/ 4039 w 10088"/>
                <a:gd name="connsiteY251" fmla="*/ 2131 h 10000"/>
                <a:gd name="connsiteX252" fmla="*/ 3954 w 10088"/>
                <a:gd name="connsiteY252" fmla="*/ 2153 h 10000"/>
                <a:gd name="connsiteX253" fmla="*/ 3717 w 10088"/>
                <a:gd name="connsiteY253" fmla="*/ 2793 h 10000"/>
                <a:gd name="connsiteX254" fmla="*/ 3172 w 10088"/>
                <a:gd name="connsiteY254" fmla="*/ 3166 h 10000"/>
                <a:gd name="connsiteX255" fmla="*/ 3176 w 10088"/>
                <a:gd name="connsiteY255" fmla="*/ 3225 h 10000"/>
                <a:gd name="connsiteX256" fmla="*/ 3417 w 10088"/>
                <a:gd name="connsiteY256" fmla="*/ 3392 h 10000"/>
                <a:gd name="connsiteX257" fmla="*/ 3340 w 10088"/>
                <a:gd name="connsiteY257" fmla="*/ 3573 h 10000"/>
                <a:gd name="connsiteX258" fmla="*/ 3198 w 10088"/>
                <a:gd name="connsiteY258" fmla="*/ 3640 h 10000"/>
                <a:gd name="connsiteX259" fmla="*/ 2775 w 10088"/>
                <a:gd name="connsiteY259" fmla="*/ 3595 h 10000"/>
                <a:gd name="connsiteX260" fmla="*/ 2483 w 10088"/>
                <a:gd name="connsiteY260" fmla="*/ 3620 h 10000"/>
                <a:gd name="connsiteX261" fmla="*/ 2248 w 10088"/>
                <a:gd name="connsiteY261" fmla="*/ 3673 h 10000"/>
                <a:gd name="connsiteX262" fmla="*/ 1870 w 10088"/>
                <a:gd name="connsiteY262" fmla="*/ 3840 h 10000"/>
                <a:gd name="connsiteX263" fmla="*/ 1669 w 10088"/>
                <a:gd name="connsiteY263" fmla="*/ 4042 h 10000"/>
                <a:gd name="connsiteX264" fmla="*/ 1687 w 10088"/>
                <a:gd name="connsiteY264" fmla="*/ 4154 h 10000"/>
                <a:gd name="connsiteX265" fmla="*/ 1757 w 10088"/>
                <a:gd name="connsiteY265" fmla="*/ 4241 h 10000"/>
                <a:gd name="connsiteX266" fmla="*/ 1810 w 10088"/>
                <a:gd name="connsiteY266" fmla="*/ 4276 h 10000"/>
                <a:gd name="connsiteX267" fmla="*/ 1711 w 10088"/>
                <a:gd name="connsiteY267" fmla="*/ 4331 h 10000"/>
                <a:gd name="connsiteX268" fmla="*/ 1497 w 10088"/>
                <a:gd name="connsiteY268" fmla="*/ 4710 h 10000"/>
                <a:gd name="connsiteX269" fmla="*/ 1538 w 10088"/>
                <a:gd name="connsiteY269" fmla="*/ 4732 h 10000"/>
                <a:gd name="connsiteX270" fmla="*/ 1570 w 10088"/>
                <a:gd name="connsiteY270" fmla="*/ 4828 h 10000"/>
                <a:gd name="connsiteX271" fmla="*/ 1469 w 10088"/>
                <a:gd name="connsiteY271" fmla="*/ 5227 h 10000"/>
                <a:gd name="connsiteX272" fmla="*/ 1570 w 10088"/>
                <a:gd name="connsiteY272" fmla="*/ 5329 h 10000"/>
                <a:gd name="connsiteX273" fmla="*/ 1842 w 10088"/>
                <a:gd name="connsiteY273" fmla="*/ 5441 h 10000"/>
                <a:gd name="connsiteX274" fmla="*/ 1855 w 10088"/>
                <a:gd name="connsiteY274" fmla="*/ 5578 h 10000"/>
                <a:gd name="connsiteX275" fmla="*/ 1739 w 10088"/>
                <a:gd name="connsiteY275" fmla="*/ 5690 h 10000"/>
                <a:gd name="connsiteX276" fmla="*/ 1570 w 10088"/>
                <a:gd name="connsiteY276" fmla="*/ 5759 h 10000"/>
                <a:gd name="connsiteX277" fmla="*/ 1346 w 10088"/>
                <a:gd name="connsiteY277" fmla="*/ 5787 h 10000"/>
                <a:gd name="connsiteX278" fmla="*/ 1288 w 10088"/>
                <a:gd name="connsiteY278" fmla="*/ 5826 h 10000"/>
                <a:gd name="connsiteX279" fmla="*/ 1419 w 10088"/>
                <a:gd name="connsiteY279" fmla="*/ 5920 h 10000"/>
                <a:gd name="connsiteX280" fmla="*/ 1493 w 10088"/>
                <a:gd name="connsiteY280" fmla="*/ 6142 h 10000"/>
                <a:gd name="connsiteX281" fmla="*/ 1324 w 10088"/>
                <a:gd name="connsiteY281" fmla="*/ 6333 h 10000"/>
                <a:gd name="connsiteX282" fmla="*/ 1383 w 10088"/>
                <a:gd name="connsiteY282" fmla="*/ 6392 h 10000"/>
                <a:gd name="connsiteX283" fmla="*/ 1329 w 10088"/>
                <a:gd name="connsiteY283" fmla="*/ 6492 h 10000"/>
                <a:gd name="connsiteX284" fmla="*/ 1220 w 10088"/>
                <a:gd name="connsiteY284" fmla="*/ 6561 h 10000"/>
                <a:gd name="connsiteX285" fmla="*/ 792 w 10088"/>
                <a:gd name="connsiteY285" fmla="*/ 6614 h 10000"/>
                <a:gd name="connsiteX286" fmla="*/ 765 w 10088"/>
                <a:gd name="connsiteY286" fmla="*/ 6706 h 10000"/>
                <a:gd name="connsiteX287" fmla="*/ 533 w 10088"/>
                <a:gd name="connsiteY287" fmla="*/ 6843 h 10000"/>
                <a:gd name="connsiteX288" fmla="*/ 564 w 10088"/>
                <a:gd name="connsiteY288" fmla="*/ 7040 h 10000"/>
                <a:gd name="connsiteX289" fmla="*/ 369 w 10088"/>
                <a:gd name="connsiteY289" fmla="*/ 7293 h 10000"/>
                <a:gd name="connsiteX290" fmla="*/ 236 w 10088"/>
                <a:gd name="connsiteY290" fmla="*/ 7323 h 10000"/>
                <a:gd name="connsiteX291" fmla="*/ 182 w 10088"/>
                <a:gd name="connsiteY291" fmla="*/ 7262 h 10000"/>
                <a:gd name="connsiteX292" fmla="*/ 114 w 10088"/>
                <a:gd name="connsiteY292" fmla="*/ 7354 h 10000"/>
                <a:gd name="connsiteX293" fmla="*/ 159 w 10088"/>
                <a:gd name="connsiteY293" fmla="*/ 7197 h 10000"/>
                <a:gd name="connsiteX294" fmla="*/ 131 w 10088"/>
                <a:gd name="connsiteY294" fmla="*/ 7166 h 10000"/>
                <a:gd name="connsiteX0" fmla="*/ 131 w 10000"/>
                <a:gd name="connsiteY0" fmla="*/ 7166 h 10000"/>
                <a:gd name="connsiteX1" fmla="*/ 0 w 10000"/>
                <a:gd name="connsiteY1" fmla="*/ 7248 h 10000"/>
                <a:gd name="connsiteX2" fmla="*/ 0 w 10000"/>
                <a:gd name="connsiteY2" fmla="*/ 7651 h 10000"/>
                <a:gd name="connsiteX3" fmla="*/ 73 w 10000"/>
                <a:gd name="connsiteY3" fmla="*/ 7663 h 10000"/>
                <a:gd name="connsiteX4" fmla="*/ 90 w 10000"/>
                <a:gd name="connsiteY4" fmla="*/ 7694 h 10000"/>
                <a:gd name="connsiteX5" fmla="*/ 86 w 10000"/>
                <a:gd name="connsiteY5" fmla="*/ 7749 h 10000"/>
                <a:gd name="connsiteX6" fmla="*/ 59 w 10000"/>
                <a:gd name="connsiteY6" fmla="*/ 7773 h 10000"/>
                <a:gd name="connsiteX7" fmla="*/ 168 w 10000"/>
                <a:gd name="connsiteY7" fmla="*/ 7727 h 10000"/>
                <a:gd name="connsiteX8" fmla="*/ 215 w 10000"/>
                <a:gd name="connsiteY8" fmla="*/ 7680 h 10000"/>
                <a:gd name="connsiteX9" fmla="*/ 272 w 10000"/>
                <a:gd name="connsiteY9" fmla="*/ 7712 h 10000"/>
                <a:gd name="connsiteX10" fmla="*/ 209 w 10000"/>
                <a:gd name="connsiteY10" fmla="*/ 7778 h 10000"/>
                <a:gd name="connsiteX11" fmla="*/ 277 w 10000"/>
                <a:gd name="connsiteY11" fmla="*/ 7780 h 10000"/>
                <a:gd name="connsiteX12" fmla="*/ 309 w 10000"/>
                <a:gd name="connsiteY12" fmla="*/ 7796 h 10000"/>
                <a:gd name="connsiteX13" fmla="*/ 223 w 10000"/>
                <a:gd name="connsiteY13" fmla="*/ 7818 h 10000"/>
                <a:gd name="connsiteX14" fmla="*/ 86 w 10000"/>
                <a:gd name="connsiteY14" fmla="*/ 7886 h 10000"/>
                <a:gd name="connsiteX15" fmla="*/ 329 w 10000"/>
                <a:gd name="connsiteY15" fmla="*/ 7938 h 10000"/>
                <a:gd name="connsiteX16" fmla="*/ 359 w 10000"/>
                <a:gd name="connsiteY16" fmla="*/ 8014 h 10000"/>
                <a:gd name="connsiteX17" fmla="*/ 277 w 10000"/>
                <a:gd name="connsiteY17" fmla="*/ 8126 h 10000"/>
                <a:gd name="connsiteX18" fmla="*/ 456 w 10000"/>
                <a:gd name="connsiteY18" fmla="*/ 8118 h 10000"/>
                <a:gd name="connsiteX19" fmla="*/ 469 w 10000"/>
                <a:gd name="connsiteY19" fmla="*/ 8203 h 10000"/>
                <a:gd name="connsiteX20" fmla="*/ 350 w 10000"/>
                <a:gd name="connsiteY20" fmla="*/ 8260 h 10000"/>
                <a:gd name="connsiteX21" fmla="*/ 369 w 10000"/>
                <a:gd name="connsiteY21" fmla="*/ 8370 h 10000"/>
                <a:gd name="connsiteX22" fmla="*/ 323 w 10000"/>
                <a:gd name="connsiteY22" fmla="*/ 8456 h 10000"/>
                <a:gd name="connsiteX23" fmla="*/ 464 w 10000"/>
                <a:gd name="connsiteY23" fmla="*/ 8464 h 10000"/>
                <a:gd name="connsiteX24" fmla="*/ 601 w 10000"/>
                <a:gd name="connsiteY24" fmla="*/ 8792 h 10000"/>
                <a:gd name="connsiteX25" fmla="*/ 760 w 10000"/>
                <a:gd name="connsiteY25" fmla="*/ 8876 h 10000"/>
                <a:gd name="connsiteX26" fmla="*/ 828 w 10000"/>
                <a:gd name="connsiteY26" fmla="*/ 8965 h 10000"/>
                <a:gd name="connsiteX27" fmla="*/ 1001 w 10000"/>
                <a:gd name="connsiteY27" fmla="*/ 9030 h 10000"/>
                <a:gd name="connsiteX28" fmla="*/ 1111 w 10000"/>
                <a:gd name="connsiteY28" fmla="*/ 9112 h 10000"/>
                <a:gd name="connsiteX29" fmla="*/ 1097 w 10000"/>
                <a:gd name="connsiteY29" fmla="*/ 9171 h 10000"/>
                <a:gd name="connsiteX30" fmla="*/ 988 w 10000"/>
                <a:gd name="connsiteY30" fmla="*/ 9193 h 10000"/>
                <a:gd name="connsiteX31" fmla="*/ 869 w 10000"/>
                <a:gd name="connsiteY31" fmla="*/ 9179 h 10000"/>
                <a:gd name="connsiteX32" fmla="*/ 832 w 10000"/>
                <a:gd name="connsiteY32" fmla="*/ 9204 h 10000"/>
                <a:gd name="connsiteX33" fmla="*/ 923 w 10000"/>
                <a:gd name="connsiteY33" fmla="*/ 9332 h 10000"/>
                <a:gd name="connsiteX34" fmla="*/ 796 w 10000"/>
                <a:gd name="connsiteY34" fmla="*/ 9322 h 10000"/>
                <a:gd name="connsiteX35" fmla="*/ 687 w 10000"/>
                <a:gd name="connsiteY35" fmla="*/ 9291 h 10000"/>
                <a:gd name="connsiteX36" fmla="*/ 668 w 10000"/>
                <a:gd name="connsiteY36" fmla="*/ 9338 h 10000"/>
                <a:gd name="connsiteX37" fmla="*/ 1028 w 10000"/>
                <a:gd name="connsiteY37" fmla="*/ 9776 h 10000"/>
                <a:gd name="connsiteX38" fmla="*/ 970 w 10000"/>
                <a:gd name="connsiteY38" fmla="*/ 9817 h 10000"/>
                <a:gd name="connsiteX39" fmla="*/ 929 w 10000"/>
                <a:gd name="connsiteY39" fmla="*/ 9902 h 10000"/>
                <a:gd name="connsiteX40" fmla="*/ 878 w 10000"/>
                <a:gd name="connsiteY40" fmla="*/ 9908 h 10000"/>
                <a:gd name="connsiteX41" fmla="*/ 846 w 10000"/>
                <a:gd name="connsiteY41" fmla="*/ 9945 h 10000"/>
                <a:gd name="connsiteX42" fmla="*/ 1064 w 10000"/>
                <a:gd name="connsiteY42" fmla="*/ 9949 h 10000"/>
                <a:gd name="connsiteX43" fmla="*/ 1256 w 10000"/>
                <a:gd name="connsiteY43" fmla="*/ 9986 h 10000"/>
                <a:gd name="connsiteX44" fmla="*/ 1574 w 10000"/>
                <a:gd name="connsiteY44" fmla="*/ 9947 h 10000"/>
                <a:gd name="connsiteX45" fmla="*/ 1860 w 10000"/>
                <a:gd name="connsiteY45" fmla="*/ 9953 h 10000"/>
                <a:gd name="connsiteX46" fmla="*/ 2030 w 10000"/>
                <a:gd name="connsiteY46" fmla="*/ 10000 h 10000"/>
                <a:gd name="connsiteX47" fmla="*/ 2121 w 10000"/>
                <a:gd name="connsiteY47" fmla="*/ 9969 h 10000"/>
                <a:gd name="connsiteX48" fmla="*/ 2211 w 10000"/>
                <a:gd name="connsiteY48" fmla="*/ 9868 h 10000"/>
                <a:gd name="connsiteX49" fmla="*/ 2188 w 10000"/>
                <a:gd name="connsiteY49" fmla="*/ 9703 h 10000"/>
                <a:gd name="connsiteX50" fmla="*/ 2407 w 10000"/>
                <a:gd name="connsiteY50" fmla="*/ 9517 h 10000"/>
                <a:gd name="connsiteX51" fmla="*/ 2566 w 10000"/>
                <a:gd name="connsiteY51" fmla="*/ 9546 h 10000"/>
                <a:gd name="connsiteX52" fmla="*/ 2657 w 10000"/>
                <a:gd name="connsiteY52" fmla="*/ 9472 h 10000"/>
                <a:gd name="connsiteX53" fmla="*/ 2834 w 10000"/>
                <a:gd name="connsiteY53" fmla="*/ 9430 h 10000"/>
                <a:gd name="connsiteX54" fmla="*/ 3075 w 10000"/>
                <a:gd name="connsiteY54" fmla="*/ 9440 h 10000"/>
                <a:gd name="connsiteX55" fmla="*/ 3221 w 10000"/>
                <a:gd name="connsiteY55" fmla="*/ 9470 h 10000"/>
                <a:gd name="connsiteX56" fmla="*/ 3413 w 10000"/>
                <a:gd name="connsiteY56" fmla="*/ 9456 h 10000"/>
                <a:gd name="connsiteX57" fmla="*/ 3608 w 10000"/>
                <a:gd name="connsiteY57" fmla="*/ 9489 h 10000"/>
                <a:gd name="connsiteX58" fmla="*/ 3803 w 10000"/>
                <a:gd name="connsiteY58" fmla="*/ 9493 h 10000"/>
                <a:gd name="connsiteX59" fmla="*/ 4240 w 10000"/>
                <a:gd name="connsiteY59" fmla="*/ 9061 h 10000"/>
                <a:gd name="connsiteX60" fmla="*/ 4350 w 10000"/>
                <a:gd name="connsiteY60" fmla="*/ 8711 h 10000"/>
                <a:gd name="connsiteX61" fmla="*/ 4527 w 10000"/>
                <a:gd name="connsiteY61" fmla="*/ 8554 h 10000"/>
                <a:gd name="connsiteX62" fmla="*/ 4527 w 10000"/>
                <a:gd name="connsiteY62" fmla="*/ 8472 h 10000"/>
                <a:gd name="connsiteX63" fmla="*/ 4463 w 10000"/>
                <a:gd name="connsiteY63" fmla="*/ 8425 h 10000"/>
                <a:gd name="connsiteX64" fmla="*/ 4568 w 10000"/>
                <a:gd name="connsiteY64" fmla="*/ 8352 h 10000"/>
                <a:gd name="connsiteX65" fmla="*/ 4549 w 10000"/>
                <a:gd name="connsiteY65" fmla="*/ 8289 h 10000"/>
                <a:gd name="connsiteX66" fmla="*/ 4477 w 10000"/>
                <a:gd name="connsiteY66" fmla="*/ 8236 h 10000"/>
                <a:gd name="connsiteX67" fmla="*/ 4463 w 10000"/>
                <a:gd name="connsiteY67" fmla="*/ 8199 h 10000"/>
                <a:gd name="connsiteX68" fmla="*/ 4481 w 10000"/>
                <a:gd name="connsiteY68" fmla="*/ 8169 h 10000"/>
                <a:gd name="connsiteX69" fmla="*/ 4577 w 10000"/>
                <a:gd name="connsiteY69" fmla="*/ 8193 h 10000"/>
                <a:gd name="connsiteX70" fmla="*/ 4654 w 10000"/>
                <a:gd name="connsiteY70" fmla="*/ 8191 h 10000"/>
                <a:gd name="connsiteX71" fmla="*/ 4612 w 10000"/>
                <a:gd name="connsiteY71" fmla="*/ 8140 h 10000"/>
                <a:gd name="connsiteX72" fmla="*/ 4626 w 10000"/>
                <a:gd name="connsiteY72" fmla="*/ 8112 h 10000"/>
                <a:gd name="connsiteX73" fmla="*/ 4681 w 10000"/>
                <a:gd name="connsiteY73" fmla="*/ 8069 h 10000"/>
                <a:gd name="connsiteX74" fmla="*/ 4672 w 10000"/>
                <a:gd name="connsiteY74" fmla="*/ 8034 h 10000"/>
                <a:gd name="connsiteX75" fmla="*/ 4723 w 10000"/>
                <a:gd name="connsiteY75" fmla="*/ 7916 h 10000"/>
                <a:gd name="connsiteX76" fmla="*/ 4710 w 10000"/>
                <a:gd name="connsiteY76" fmla="*/ 7881 h 10000"/>
                <a:gd name="connsiteX77" fmla="*/ 4445 w 10000"/>
                <a:gd name="connsiteY77" fmla="*/ 7792 h 10000"/>
                <a:gd name="connsiteX78" fmla="*/ 4481 w 10000"/>
                <a:gd name="connsiteY78" fmla="*/ 7788 h 10000"/>
                <a:gd name="connsiteX79" fmla="*/ 4622 w 10000"/>
                <a:gd name="connsiteY79" fmla="*/ 7812 h 10000"/>
                <a:gd name="connsiteX80" fmla="*/ 4773 w 10000"/>
                <a:gd name="connsiteY80" fmla="*/ 7804 h 10000"/>
                <a:gd name="connsiteX81" fmla="*/ 4818 w 10000"/>
                <a:gd name="connsiteY81" fmla="*/ 7771 h 10000"/>
                <a:gd name="connsiteX82" fmla="*/ 4672 w 10000"/>
                <a:gd name="connsiteY82" fmla="*/ 7710 h 10000"/>
                <a:gd name="connsiteX83" fmla="*/ 4236 w 10000"/>
                <a:gd name="connsiteY83" fmla="*/ 7670 h 10000"/>
                <a:gd name="connsiteX84" fmla="*/ 4266 w 10000"/>
                <a:gd name="connsiteY84" fmla="*/ 7651 h 10000"/>
                <a:gd name="connsiteX85" fmla="*/ 4622 w 10000"/>
                <a:gd name="connsiteY85" fmla="*/ 7639 h 10000"/>
                <a:gd name="connsiteX86" fmla="*/ 4818 w 10000"/>
                <a:gd name="connsiteY86" fmla="*/ 7676 h 10000"/>
                <a:gd name="connsiteX87" fmla="*/ 4932 w 10000"/>
                <a:gd name="connsiteY87" fmla="*/ 7651 h 10000"/>
                <a:gd name="connsiteX88" fmla="*/ 4973 w 10000"/>
                <a:gd name="connsiteY88" fmla="*/ 7588 h 10000"/>
                <a:gd name="connsiteX89" fmla="*/ 5177 w 10000"/>
                <a:gd name="connsiteY89" fmla="*/ 7588 h 10000"/>
                <a:gd name="connsiteX90" fmla="*/ 5455 w 10000"/>
                <a:gd name="connsiteY90" fmla="*/ 7462 h 10000"/>
                <a:gd name="connsiteX91" fmla="*/ 5465 w 10000"/>
                <a:gd name="connsiteY91" fmla="*/ 7378 h 10000"/>
                <a:gd name="connsiteX92" fmla="*/ 5582 w 10000"/>
                <a:gd name="connsiteY92" fmla="*/ 7397 h 10000"/>
                <a:gd name="connsiteX93" fmla="*/ 5578 w 10000"/>
                <a:gd name="connsiteY93" fmla="*/ 7482 h 10000"/>
                <a:gd name="connsiteX94" fmla="*/ 5764 w 10000"/>
                <a:gd name="connsiteY94" fmla="*/ 7476 h 10000"/>
                <a:gd name="connsiteX95" fmla="*/ 5887 w 10000"/>
                <a:gd name="connsiteY95" fmla="*/ 7388 h 10000"/>
                <a:gd name="connsiteX96" fmla="*/ 6116 w 10000"/>
                <a:gd name="connsiteY96" fmla="*/ 7309 h 10000"/>
                <a:gd name="connsiteX97" fmla="*/ 6078 w 10000"/>
                <a:gd name="connsiteY97" fmla="*/ 7219 h 10000"/>
                <a:gd name="connsiteX98" fmla="*/ 6146 w 10000"/>
                <a:gd name="connsiteY98" fmla="*/ 7254 h 10000"/>
                <a:gd name="connsiteX99" fmla="*/ 6251 w 10000"/>
                <a:gd name="connsiteY99" fmla="*/ 7254 h 10000"/>
                <a:gd name="connsiteX100" fmla="*/ 6251 w 10000"/>
                <a:gd name="connsiteY100" fmla="*/ 7213 h 10000"/>
                <a:gd name="connsiteX101" fmla="*/ 6347 w 10000"/>
                <a:gd name="connsiteY101" fmla="*/ 7181 h 10000"/>
                <a:gd name="connsiteX102" fmla="*/ 6333 w 10000"/>
                <a:gd name="connsiteY102" fmla="*/ 7148 h 10000"/>
                <a:gd name="connsiteX103" fmla="*/ 5515 w 10000"/>
                <a:gd name="connsiteY103" fmla="*/ 7215 h 10000"/>
                <a:gd name="connsiteX104" fmla="*/ 5323 w 10000"/>
                <a:gd name="connsiteY104" fmla="*/ 7195 h 10000"/>
                <a:gd name="connsiteX105" fmla="*/ 5246 w 10000"/>
                <a:gd name="connsiteY105" fmla="*/ 7219 h 10000"/>
                <a:gd name="connsiteX106" fmla="*/ 5219 w 10000"/>
                <a:gd name="connsiteY106" fmla="*/ 7173 h 10000"/>
                <a:gd name="connsiteX107" fmla="*/ 5128 w 10000"/>
                <a:gd name="connsiteY107" fmla="*/ 7132 h 10000"/>
                <a:gd name="connsiteX108" fmla="*/ 4763 w 10000"/>
                <a:gd name="connsiteY108" fmla="*/ 7052 h 10000"/>
                <a:gd name="connsiteX109" fmla="*/ 4549 w 10000"/>
                <a:gd name="connsiteY109" fmla="*/ 7065 h 10000"/>
                <a:gd name="connsiteX110" fmla="*/ 4463 w 10000"/>
                <a:gd name="connsiteY110" fmla="*/ 7042 h 10000"/>
                <a:gd name="connsiteX111" fmla="*/ 4554 w 10000"/>
                <a:gd name="connsiteY111" fmla="*/ 7022 h 10000"/>
                <a:gd name="connsiteX112" fmla="*/ 4622 w 10000"/>
                <a:gd name="connsiteY112" fmla="*/ 6979 h 10000"/>
                <a:gd name="connsiteX113" fmla="*/ 4723 w 10000"/>
                <a:gd name="connsiteY113" fmla="*/ 6993 h 10000"/>
                <a:gd name="connsiteX114" fmla="*/ 4845 w 10000"/>
                <a:gd name="connsiteY114" fmla="*/ 6981 h 10000"/>
                <a:gd name="connsiteX115" fmla="*/ 5027 w 10000"/>
                <a:gd name="connsiteY115" fmla="*/ 6995 h 10000"/>
                <a:gd name="connsiteX116" fmla="*/ 5049 w 10000"/>
                <a:gd name="connsiteY116" fmla="*/ 6989 h 10000"/>
                <a:gd name="connsiteX117" fmla="*/ 5191 w 10000"/>
                <a:gd name="connsiteY117" fmla="*/ 7056 h 10000"/>
                <a:gd name="connsiteX118" fmla="*/ 5296 w 10000"/>
                <a:gd name="connsiteY118" fmla="*/ 7032 h 10000"/>
                <a:gd name="connsiteX119" fmla="*/ 5304 w 10000"/>
                <a:gd name="connsiteY119" fmla="*/ 7010 h 10000"/>
                <a:gd name="connsiteX120" fmla="*/ 5400 w 10000"/>
                <a:gd name="connsiteY120" fmla="*/ 7048 h 10000"/>
                <a:gd name="connsiteX121" fmla="*/ 5528 w 10000"/>
                <a:gd name="connsiteY121" fmla="*/ 7069 h 10000"/>
                <a:gd name="connsiteX122" fmla="*/ 5578 w 10000"/>
                <a:gd name="connsiteY122" fmla="*/ 7030 h 10000"/>
                <a:gd name="connsiteX123" fmla="*/ 5619 w 10000"/>
                <a:gd name="connsiteY123" fmla="*/ 7052 h 10000"/>
                <a:gd name="connsiteX124" fmla="*/ 5677 w 10000"/>
                <a:gd name="connsiteY124" fmla="*/ 7126 h 10000"/>
                <a:gd name="connsiteX125" fmla="*/ 5800 w 10000"/>
                <a:gd name="connsiteY125" fmla="*/ 7144 h 10000"/>
                <a:gd name="connsiteX126" fmla="*/ 6301 w 10000"/>
                <a:gd name="connsiteY126" fmla="*/ 7034 h 10000"/>
                <a:gd name="connsiteX127" fmla="*/ 6547 w 10000"/>
                <a:gd name="connsiteY127" fmla="*/ 6879 h 10000"/>
                <a:gd name="connsiteX128" fmla="*/ 6605 w 10000"/>
                <a:gd name="connsiteY128" fmla="*/ 6765 h 10000"/>
                <a:gd name="connsiteX129" fmla="*/ 6516 w 10000"/>
                <a:gd name="connsiteY129" fmla="*/ 6663 h 10000"/>
                <a:gd name="connsiteX130" fmla="*/ 6328 w 10000"/>
                <a:gd name="connsiteY130" fmla="*/ 6602 h 10000"/>
                <a:gd name="connsiteX131" fmla="*/ 6196 w 10000"/>
                <a:gd name="connsiteY131" fmla="*/ 6502 h 10000"/>
                <a:gd name="connsiteX132" fmla="*/ 6320 w 10000"/>
                <a:gd name="connsiteY132" fmla="*/ 6498 h 10000"/>
                <a:gd name="connsiteX133" fmla="*/ 6311 w 10000"/>
                <a:gd name="connsiteY133" fmla="*/ 6474 h 10000"/>
                <a:gd name="connsiteX134" fmla="*/ 5988 w 10000"/>
                <a:gd name="connsiteY134" fmla="*/ 6403 h 10000"/>
                <a:gd name="connsiteX135" fmla="*/ 5975 w 10000"/>
                <a:gd name="connsiteY135" fmla="*/ 6339 h 10000"/>
                <a:gd name="connsiteX136" fmla="*/ 5914 w 10000"/>
                <a:gd name="connsiteY136" fmla="*/ 6272 h 10000"/>
                <a:gd name="connsiteX137" fmla="*/ 5659 w 10000"/>
                <a:gd name="connsiteY137" fmla="*/ 6284 h 10000"/>
                <a:gd name="connsiteX138" fmla="*/ 5568 w 10000"/>
                <a:gd name="connsiteY138" fmla="*/ 6213 h 10000"/>
                <a:gd name="connsiteX139" fmla="*/ 5515 w 10000"/>
                <a:gd name="connsiteY139" fmla="*/ 6209 h 10000"/>
                <a:gd name="connsiteX140" fmla="*/ 5515 w 10000"/>
                <a:gd name="connsiteY140" fmla="*/ 6238 h 10000"/>
                <a:gd name="connsiteX141" fmla="*/ 5400 w 10000"/>
                <a:gd name="connsiteY141" fmla="*/ 6358 h 10000"/>
                <a:gd name="connsiteX142" fmla="*/ 5277 w 10000"/>
                <a:gd name="connsiteY142" fmla="*/ 6429 h 10000"/>
                <a:gd name="connsiteX143" fmla="*/ 4890 w 10000"/>
                <a:gd name="connsiteY143" fmla="*/ 6551 h 10000"/>
                <a:gd name="connsiteX144" fmla="*/ 4754 w 10000"/>
                <a:gd name="connsiteY144" fmla="*/ 6547 h 10000"/>
                <a:gd name="connsiteX145" fmla="*/ 4568 w 10000"/>
                <a:gd name="connsiteY145" fmla="*/ 6565 h 10000"/>
                <a:gd name="connsiteX146" fmla="*/ 4463 w 10000"/>
                <a:gd name="connsiteY146" fmla="*/ 6547 h 10000"/>
                <a:gd name="connsiteX147" fmla="*/ 4599 w 10000"/>
                <a:gd name="connsiteY147" fmla="*/ 6513 h 10000"/>
                <a:gd name="connsiteX148" fmla="*/ 4777 w 10000"/>
                <a:gd name="connsiteY148" fmla="*/ 6498 h 10000"/>
                <a:gd name="connsiteX149" fmla="*/ 4924 w 10000"/>
                <a:gd name="connsiteY149" fmla="*/ 6441 h 10000"/>
                <a:gd name="connsiteX150" fmla="*/ 5067 w 10000"/>
                <a:gd name="connsiteY150" fmla="*/ 6415 h 10000"/>
                <a:gd name="connsiteX151" fmla="*/ 5337 w 10000"/>
                <a:gd name="connsiteY151" fmla="*/ 6317 h 10000"/>
                <a:gd name="connsiteX152" fmla="*/ 5387 w 10000"/>
                <a:gd name="connsiteY152" fmla="*/ 6252 h 10000"/>
                <a:gd name="connsiteX153" fmla="*/ 5391 w 10000"/>
                <a:gd name="connsiteY153" fmla="*/ 6168 h 10000"/>
                <a:gd name="connsiteX154" fmla="*/ 5269 w 10000"/>
                <a:gd name="connsiteY154" fmla="*/ 6154 h 10000"/>
                <a:gd name="connsiteX155" fmla="*/ 5323 w 10000"/>
                <a:gd name="connsiteY155" fmla="*/ 6103 h 10000"/>
                <a:gd name="connsiteX156" fmla="*/ 5341 w 10000"/>
                <a:gd name="connsiteY156" fmla="*/ 6038 h 10000"/>
                <a:gd name="connsiteX157" fmla="*/ 5290 w 10000"/>
                <a:gd name="connsiteY157" fmla="*/ 5977 h 10000"/>
                <a:gd name="connsiteX158" fmla="*/ 5259 w 10000"/>
                <a:gd name="connsiteY158" fmla="*/ 5533 h 10000"/>
                <a:gd name="connsiteX159" fmla="*/ 5333 w 10000"/>
                <a:gd name="connsiteY159" fmla="*/ 5437 h 10000"/>
                <a:gd name="connsiteX160" fmla="*/ 5314 w 10000"/>
                <a:gd name="connsiteY160" fmla="*/ 5398 h 10000"/>
                <a:gd name="connsiteX161" fmla="*/ 5528 w 10000"/>
                <a:gd name="connsiteY161" fmla="*/ 5455 h 10000"/>
                <a:gd name="connsiteX162" fmla="*/ 5542 w 10000"/>
                <a:gd name="connsiteY162" fmla="*/ 5402 h 10000"/>
                <a:gd name="connsiteX163" fmla="*/ 5496 w 10000"/>
                <a:gd name="connsiteY163" fmla="*/ 5264 h 10000"/>
                <a:gd name="connsiteX164" fmla="*/ 5649 w 10000"/>
                <a:gd name="connsiteY164" fmla="*/ 5019 h 10000"/>
                <a:gd name="connsiteX165" fmla="*/ 5555 w 10000"/>
                <a:gd name="connsiteY165" fmla="*/ 4960 h 10000"/>
                <a:gd name="connsiteX166" fmla="*/ 5519 w 10000"/>
                <a:gd name="connsiteY166" fmla="*/ 4905 h 10000"/>
                <a:gd name="connsiteX167" fmla="*/ 5532 w 10000"/>
                <a:gd name="connsiteY167" fmla="*/ 4816 h 10000"/>
                <a:gd name="connsiteX168" fmla="*/ 5756 w 10000"/>
                <a:gd name="connsiteY168" fmla="*/ 4875 h 10000"/>
                <a:gd name="connsiteX169" fmla="*/ 5764 w 10000"/>
                <a:gd name="connsiteY169" fmla="*/ 4858 h 10000"/>
                <a:gd name="connsiteX170" fmla="*/ 5827 w 10000"/>
                <a:gd name="connsiteY170" fmla="*/ 4842 h 10000"/>
                <a:gd name="connsiteX171" fmla="*/ 5914 w 10000"/>
                <a:gd name="connsiteY171" fmla="*/ 4785 h 10000"/>
                <a:gd name="connsiteX172" fmla="*/ 5928 w 10000"/>
                <a:gd name="connsiteY172" fmla="*/ 4769 h 10000"/>
                <a:gd name="connsiteX173" fmla="*/ 5910 w 10000"/>
                <a:gd name="connsiteY173" fmla="*/ 4748 h 10000"/>
                <a:gd name="connsiteX174" fmla="*/ 5954 w 10000"/>
                <a:gd name="connsiteY174" fmla="*/ 4647 h 10000"/>
                <a:gd name="connsiteX175" fmla="*/ 5901 w 10000"/>
                <a:gd name="connsiteY175" fmla="*/ 4581 h 10000"/>
                <a:gd name="connsiteX176" fmla="*/ 5910 w 10000"/>
                <a:gd name="connsiteY176" fmla="*/ 4528 h 10000"/>
                <a:gd name="connsiteX177" fmla="*/ 5941 w 10000"/>
                <a:gd name="connsiteY177" fmla="*/ 4590 h 10000"/>
                <a:gd name="connsiteX178" fmla="*/ 6064 w 10000"/>
                <a:gd name="connsiteY178" fmla="*/ 4636 h 10000"/>
                <a:gd name="connsiteX179" fmla="*/ 6116 w 10000"/>
                <a:gd name="connsiteY179" fmla="*/ 4630 h 10000"/>
                <a:gd name="connsiteX180" fmla="*/ 6196 w 10000"/>
                <a:gd name="connsiteY180" fmla="*/ 4569 h 10000"/>
                <a:gd name="connsiteX181" fmla="*/ 6283 w 10000"/>
                <a:gd name="connsiteY181" fmla="*/ 4594 h 10000"/>
                <a:gd name="connsiteX182" fmla="*/ 6307 w 10000"/>
                <a:gd name="connsiteY182" fmla="*/ 4545 h 10000"/>
                <a:gd name="connsiteX183" fmla="*/ 6365 w 10000"/>
                <a:gd name="connsiteY183" fmla="*/ 4512 h 10000"/>
                <a:gd name="connsiteX184" fmla="*/ 6205 w 10000"/>
                <a:gd name="connsiteY184" fmla="*/ 4477 h 10000"/>
                <a:gd name="connsiteX185" fmla="*/ 6320 w 10000"/>
                <a:gd name="connsiteY185" fmla="*/ 4484 h 10000"/>
                <a:gd name="connsiteX186" fmla="*/ 6437 w 10000"/>
                <a:gd name="connsiteY186" fmla="*/ 4447 h 10000"/>
                <a:gd name="connsiteX187" fmla="*/ 6433 w 10000"/>
                <a:gd name="connsiteY187" fmla="*/ 4422 h 10000"/>
                <a:gd name="connsiteX188" fmla="*/ 6543 w 10000"/>
                <a:gd name="connsiteY188" fmla="*/ 4398 h 10000"/>
                <a:gd name="connsiteX189" fmla="*/ 6552 w 10000"/>
                <a:gd name="connsiteY189" fmla="*/ 4337 h 10000"/>
                <a:gd name="connsiteX190" fmla="*/ 6638 w 10000"/>
                <a:gd name="connsiteY190" fmla="*/ 4325 h 10000"/>
                <a:gd name="connsiteX191" fmla="*/ 6646 w 10000"/>
                <a:gd name="connsiteY191" fmla="*/ 4253 h 10000"/>
                <a:gd name="connsiteX192" fmla="*/ 6737 w 10000"/>
                <a:gd name="connsiteY192" fmla="*/ 4245 h 10000"/>
                <a:gd name="connsiteX193" fmla="*/ 6879 w 10000"/>
                <a:gd name="connsiteY193" fmla="*/ 4260 h 10000"/>
                <a:gd name="connsiteX194" fmla="*/ 7033 w 10000"/>
                <a:gd name="connsiteY194" fmla="*/ 4202 h 10000"/>
                <a:gd name="connsiteX195" fmla="*/ 7088 w 10000"/>
                <a:gd name="connsiteY195" fmla="*/ 4137 h 10000"/>
                <a:gd name="connsiteX196" fmla="*/ 7279 w 10000"/>
                <a:gd name="connsiteY196" fmla="*/ 4070 h 10000"/>
                <a:gd name="connsiteX197" fmla="*/ 7374 w 10000"/>
                <a:gd name="connsiteY197" fmla="*/ 4111 h 10000"/>
                <a:gd name="connsiteX198" fmla="*/ 7520 w 10000"/>
                <a:gd name="connsiteY198" fmla="*/ 4066 h 10000"/>
                <a:gd name="connsiteX199" fmla="*/ 7556 w 10000"/>
                <a:gd name="connsiteY199" fmla="*/ 4009 h 10000"/>
                <a:gd name="connsiteX200" fmla="*/ 7666 w 10000"/>
                <a:gd name="connsiteY200" fmla="*/ 3970 h 10000"/>
                <a:gd name="connsiteX201" fmla="*/ 7761 w 10000"/>
                <a:gd name="connsiteY201" fmla="*/ 3987 h 10000"/>
                <a:gd name="connsiteX202" fmla="*/ 7820 w 10000"/>
                <a:gd name="connsiteY202" fmla="*/ 3958 h 10000"/>
                <a:gd name="connsiteX203" fmla="*/ 7984 w 10000"/>
                <a:gd name="connsiteY203" fmla="*/ 3917 h 10000"/>
                <a:gd name="connsiteX204" fmla="*/ 8052 w 10000"/>
                <a:gd name="connsiteY204" fmla="*/ 3864 h 10000"/>
                <a:gd name="connsiteX205" fmla="*/ 8144 w 10000"/>
                <a:gd name="connsiteY205" fmla="*/ 3842 h 10000"/>
                <a:gd name="connsiteX206" fmla="*/ 8649 w 10000"/>
                <a:gd name="connsiteY206" fmla="*/ 3522 h 10000"/>
                <a:gd name="connsiteX207" fmla="*/ 10000 w 10000"/>
                <a:gd name="connsiteY207" fmla="*/ 1271 h 10000"/>
                <a:gd name="connsiteX208" fmla="*/ 9969 w 10000"/>
                <a:gd name="connsiteY208" fmla="*/ 1194 h 10000"/>
                <a:gd name="connsiteX209" fmla="*/ 9909 w 10000"/>
                <a:gd name="connsiteY209" fmla="*/ 1159 h 10000"/>
                <a:gd name="connsiteX210" fmla="*/ 9858 w 10000"/>
                <a:gd name="connsiteY210" fmla="*/ 978 h 10000"/>
                <a:gd name="connsiteX211" fmla="*/ 9918 w 10000"/>
                <a:gd name="connsiteY211" fmla="*/ 831 h 10000"/>
                <a:gd name="connsiteX212" fmla="*/ 9481 w 10000"/>
                <a:gd name="connsiteY212" fmla="*/ 517 h 10000"/>
                <a:gd name="connsiteX213" fmla="*/ 9267 w 10000"/>
                <a:gd name="connsiteY213" fmla="*/ 440 h 10000"/>
                <a:gd name="connsiteX214" fmla="*/ 8871 w 10000"/>
                <a:gd name="connsiteY214" fmla="*/ 389 h 10000"/>
                <a:gd name="connsiteX215" fmla="*/ 8052 w 10000"/>
                <a:gd name="connsiteY215" fmla="*/ 26 h 10000"/>
                <a:gd name="connsiteX216" fmla="*/ 8025 w 10000"/>
                <a:gd name="connsiteY216" fmla="*/ 2 h 10000"/>
                <a:gd name="connsiteX217" fmla="*/ 7747 w 10000"/>
                <a:gd name="connsiteY217" fmla="*/ 0 h 10000"/>
                <a:gd name="connsiteX218" fmla="*/ 7684 w 10000"/>
                <a:gd name="connsiteY218" fmla="*/ 14 h 10000"/>
                <a:gd name="connsiteX219" fmla="*/ 7698 w 10000"/>
                <a:gd name="connsiteY219" fmla="*/ 61 h 10000"/>
                <a:gd name="connsiteX220" fmla="*/ 7752 w 10000"/>
                <a:gd name="connsiteY220" fmla="*/ 86 h 10000"/>
                <a:gd name="connsiteX221" fmla="*/ 7767 w 10000"/>
                <a:gd name="connsiteY221" fmla="*/ 139 h 10000"/>
                <a:gd name="connsiteX222" fmla="*/ 7747 w 10000"/>
                <a:gd name="connsiteY222" fmla="*/ 181 h 10000"/>
                <a:gd name="connsiteX223" fmla="*/ 7698 w 10000"/>
                <a:gd name="connsiteY223" fmla="*/ 208 h 10000"/>
                <a:gd name="connsiteX224" fmla="*/ 7661 w 10000"/>
                <a:gd name="connsiteY224" fmla="*/ 283 h 10000"/>
                <a:gd name="connsiteX225" fmla="*/ 7593 w 10000"/>
                <a:gd name="connsiteY225" fmla="*/ 336 h 10000"/>
                <a:gd name="connsiteX226" fmla="*/ 7607 w 10000"/>
                <a:gd name="connsiteY226" fmla="*/ 387 h 10000"/>
                <a:gd name="connsiteX227" fmla="*/ 7711 w 10000"/>
                <a:gd name="connsiteY227" fmla="*/ 434 h 10000"/>
                <a:gd name="connsiteX228" fmla="*/ 7643 w 10000"/>
                <a:gd name="connsiteY228" fmla="*/ 475 h 10000"/>
                <a:gd name="connsiteX229" fmla="*/ 7543 w 10000"/>
                <a:gd name="connsiteY229" fmla="*/ 485 h 10000"/>
                <a:gd name="connsiteX230" fmla="*/ 6706 w 10000"/>
                <a:gd name="connsiteY230" fmla="*/ 387 h 10000"/>
                <a:gd name="connsiteX231" fmla="*/ 6605 w 10000"/>
                <a:gd name="connsiteY231" fmla="*/ 395 h 10000"/>
                <a:gd name="connsiteX232" fmla="*/ 6547 w 10000"/>
                <a:gd name="connsiteY232" fmla="*/ 414 h 10000"/>
                <a:gd name="connsiteX233" fmla="*/ 6487 w 10000"/>
                <a:gd name="connsiteY233" fmla="*/ 462 h 10000"/>
                <a:gd name="connsiteX234" fmla="*/ 6498 w 10000"/>
                <a:gd name="connsiteY234" fmla="*/ 581 h 10000"/>
                <a:gd name="connsiteX235" fmla="*/ 6405 w 10000"/>
                <a:gd name="connsiteY235" fmla="*/ 735 h 10000"/>
                <a:gd name="connsiteX236" fmla="*/ 6292 w 10000"/>
                <a:gd name="connsiteY236" fmla="*/ 815 h 10000"/>
                <a:gd name="connsiteX237" fmla="*/ 6247 w 10000"/>
                <a:gd name="connsiteY237" fmla="*/ 805 h 10000"/>
                <a:gd name="connsiteX238" fmla="*/ 6142 w 10000"/>
                <a:gd name="connsiteY238" fmla="*/ 739 h 10000"/>
                <a:gd name="connsiteX239" fmla="*/ 6010 w 10000"/>
                <a:gd name="connsiteY239" fmla="*/ 705 h 10000"/>
                <a:gd name="connsiteX240" fmla="*/ 5868 w 10000"/>
                <a:gd name="connsiteY240" fmla="*/ 715 h 10000"/>
                <a:gd name="connsiteX241" fmla="*/ 5538 w 10000"/>
                <a:gd name="connsiteY241" fmla="*/ 866 h 10000"/>
                <a:gd name="connsiteX242" fmla="*/ 5450 w 10000"/>
                <a:gd name="connsiteY242" fmla="*/ 1017 h 10000"/>
                <a:gd name="connsiteX243" fmla="*/ 5201 w 10000"/>
                <a:gd name="connsiteY243" fmla="*/ 1153 h 10000"/>
                <a:gd name="connsiteX244" fmla="*/ 5155 w 10000"/>
                <a:gd name="connsiteY244" fmla="*/ 1222 h 10000"/>
                <a:gd name="connsiteX245" fmla="*/ 5286 w 10000"/>
                <a:gd name="connsiteY245" fmla="*/ 1344 h 10000"/>
                <a:gd name="connsiteX246" fmla="*/ 5300 w 10000"/>
                <a:gd name="connsiteY246" fmla="*/ 1412 h 10000"/>
                <a:gd name="connsiteX247" fmla="*/ 4618 w 10000"/>
                <a:gd name="connsiteY247" fmla="*/ 1813 h 10000"/>
                <a:gd name="connsiteX248" fmla="*/ 4408 w 10000"/>
                <a:gd name="connsiteY248" fmla="*/ 2070 h 10000"/>
                <a:gd name="connsiteX249" fmla="*/ 4182 w 10000"/>
                <a:gd name="connsiteY249" fmla="*/ 2135 h 10000"/>
                <a:gd name="connsiteX250" fmla="*/ 4039 w 10000"/>
                <a:gd name="connsiteY250" fmla="*/ 2131 h 10000"/>
                <a:gd name="connsiteX251" fmla="*/ 3954 w 10000"/>
                <a:gd name="connsiteY251" fmla="*/ 2153 h 10000"/>
                <a:gd name="connsiteX252" fmla="*/ 3717 w 10000"/>
                <a:gd name="connsiteY252" fmla="*/ 2793 h 10000"/>
                <a:gd name="connsiteX253" fmla="*/ 3172 w 10000"/>
                <a:gd name="connsiteY253" fmla="*/ 3166 h 10000"/>
                <a:gd name="connsiteX254" fmla="*/ 3176 w 10000"/>
                <a:gd name="connsiteY254" fmla="*/ 3225 h 10000"/>
                <a:gd name="connsiteX255" fmla="*/ 3417 w 10000"/>
                <a:gd name="connsiteY255" fmla="*/ 3392 h 10000"/>
                <a:gd name="connsiteX256" fmla="*/ 3340 w 10000"/>
                <a:gd name="connsiteY256" fmla="*/ 3573 h 10000"/>
                <a:gd name="connsiteX257" fmla="*/ 3198 w 10000"/>
                <a:gd name="connsiteY257" fmla="*/ 3640 h 10000"/>
                <a:gd name="connsiteX258" fmla="*/ 2775 w 10000"/>
                <a:gd name="connsiteY258" fmla="*/ 3595 h 10000"/>
                <a:gd name="connsiteX259" fmla="*/ 2483 w 10000"/>
                <a:gd name="connsiteY259" fmla="*/ 3620 h 10000"/>
                <a:gd name="connsiteX260" fmla="*/ 2248 w 10000"/>
                <a:gd name="connsiteY260" fmla="*/ 3673 h 10000"/>
                <a:gd name="connsiteX261" fmla="*/ 1870 w 10000"/>
                <a:gd name="connsiteY261" fmla="*/ 3840 h 10000"/>
                <a:gd name="connsiteX262" fmla="*/ 1669 w 10000"/>
                <a:gd name="connsiteY262" fmla="*/ 4042 h 10000"/>
                <a:gd name="connsiteX263" fmla="*/ 1687 w 10000"/>
                <a:gd name="connsiteY263" fmla="*/ 4154 h 10000"/>
                <a:gd name="connsiteX264" fmla="*/ 1757 w 10000"/>
                <a:gd name="connsiteY264" fmla="*/ 4241 h 10000"/>
                <a:gd name="connsiteX265" fmla="*/ 1810 w 10000"/>
                <a:gd name="connsiteY265" fmla="*/ 4276 h 10000"/>
                <a:gd name="connsiteX266" fmla="*/ 1711 w 10000"/>
                <a:gd name="connsiteY266" fmla="*/ 4331 h 10000"/>
                <a:gd name="connsiteX267" fmla="*/ 1497 w 10000"/>
                <a:gd name="connsiteY267" fmla="*/ 4710 h 10000"/>
                <a:gd name="connsiteX268" fmla="*/ 1538 w 10000"/>
                <a:gd name="connsiteY268" fmla="*/ 4732 h 10000"/>
                <a:gd name="connsiteX269" fmla="*/ 1570 w 10000"/>
                <a:gd name="connsiteY269" fmla="*/ 4828 h 10000"/>
                <a:gd name="connsiteX270" fmla="*/ 1469 w 10000"/>
                <a:gd name="connsiteY270" fmla="*/ 5227 h 10000"/>
                <a:gd name="connsiteX271" fmla="*/ 1570 w 10000"/>
                <a:gd name="connsiteY271" fmla="*/ 5329 h 10000"/>
                <a:gd name="connsiteX272" fmla="*/ 1842 w 10000"/>
                <a:gd name="connsiteY272" fmla="*/ 5441 h 10000"/>
                <a:gd name="connsiteX273" fmla="*/ 1855 w 10000"/>
                <a:gd name="connsiteY273" fmla="*/ 5578 h 10000"/>
                <a:gd name="connsiteX274" fmla="*/ 1739 w 10000"/>
                <a:gd name="connsiteY274" fmla="*/ 5690 h 10000"/>
                <a:gd name="connsiteX275" fmla="*/ 1570 w 10000"/>
                <a:gd name="connsiteY275" fmla="*/ 5759 h 10000"/>
                <a:gd name="connsiteX276" fmla="*/ 1346 w 10000"/>
                <a:gd name="connsiteY276" fmla="*/ 5787 h 10000"/>
                <a:gd name="connsiteX277" fmla="*/ 1288 w 10000"/>
                <a:gd name="connsiteY277" fmla="*/ 5826 h 10000"/>
                <a:gd name="connsiteX278" fmla="*/ 1419 w 10000"/>
                <a:gd name="connsiteY278" fmla="*/ 5920 h 10000"/>
                <a:gd name="connsiteX279" fmla="*/ 1493 w 10000"/>
                <a:gd name="connsiteY279" fmla="*/ 6142 h 10000"/>
                <a:gd name="connsiteX280" fmla="*/ 1324 w 10000"/>
                <a:gd name="connsiteY280" fmla="*/ 6333 h 10000"/>
                <a:gd name="connsiteX281" fmla="*/ 1383 w 10000"/>
                <a:gd name="connsiteY281" fmla="*/ 6392 h 10000"/>
                <a:gd name="connsiteX282" fmla="*/ 1329 w 10000"/>
                <a:gd name="connsiteY282" fmla="*/ 6492 h 10000"/>
                <a:gd name="connsiteX283" fmla="*/ 1220 w 10000"/>
                <a:gd name="connsiteY283" fmla="*/ 6561 h 10000"/>
                <a:gd name="connsiteX284" fmla="*/ 792 w 10000"/>
                <a:gd name="connsiteY284" fmla="*/ 6614 h 10000"/>
                <a:gd name="connsiteX285" fmla="*/ 765 w 10000"/>
                <a:gd name="connsiteY285" fmla="*/ 6706 h 10000"/>
                <a:gd name="connsiteX286" fmla="*/ 533 w 10000"/>
                <a:gd name="connsiteY286" fmla="*/ 6843 h 10000"/>
                <a:gd name="connsiteX287" fmla="*/ 564 w 10000"/>
                <a:gd name="connsiteY287" fmla="*/ 7040 h 10000"/>
                <a:gd name="connsiteX288" fmla="*/ 369 w 10000"/>
                <a:gd name="connsiteY288" fmla="*/ 7293 h 10000"/>
                <a:gd name="connsiteX289" fmla="*/ 236 w 10000"/>
                <a:gd name="connsiteY289" fmla="*/ 7323 h 10000"/>
                <a:gd name="connsiteX290" fmla="*/ 182 w 10000"/>
                <a:gd name="connsiteY290" fmla="*/ 7262 h 10000"/>
                <a:gd name="connsiteX291" fmla="*/ 114 w 10000"/>
                <a:gd name="connsiteY291" fmla="*/ 7354 h 10000"/>
                <a:gd name="connsiteX292" fmla="*/ 159 w 10000"/>
                <a:gd name="connsiteY292" fmla="*/ 7197 h 10000"/>
                <a:gd name="connsiteX293" fmla="*/ 131 w 10000"/>
                <a:gd name="connsiteY293" fmla="*/ 7166 h 10000"/>
                <a:gd name="connsiteX0" fmla="*/ 131 w 9969"/>
                <a:gd name="connsiteY0" fmla="*/ 7166 h 10000"/>
                <a:gd name="connsiteX1" fmla="*/ 0 w 9969"/>
                <a:gd name="connsiteY1" fmla="*/ 7248 h 10000"/>
                <a:gd name="connsiteX2" fmla="*/ 0 w 9969"/>
                <a:gd name="connsiteY2" fmla="*/ 7651 h 10000"/>
                <a:gd name="connsiteX3" fmla="*/ 73 w 9969"/>
                <a:gd name="connsiteY3" fmla="*/ 7663 h 10000"/>
                <a:gd name="connsiteX4" fmla="*/ 90 w 9969"/>
                <a:gd name="connsiteY4" fmla="*/ 7694 h 10000"/>
                <a:gd name="connsiteX5" fmla="*/ 86 w 9969"/>
                <a:gd name="connsiteY5" fmla="*/ 7749 h 10000"/>
                <a:gd name="connsiteX6" fmla="*/ 59 w 9969"/>
                <a:gd name="connsiteY6" fmla="*/ 7773 h 10000"/>
                <a:gd name="connsiteX7" fmla="*/ 168 w 9969"/>
                <a:gd name="connsiteY7" fmla="*/ 7727 h 10000"/>
                <a:gd name="connsiteX8" fmla="*/ 215 w 9969"/>
                <a:gd name="connsiteY8" fmla="*/ 7680 h 10000"/>
                <a:gd name="connsiteX9" fmla="*/ 272 w 9969"/>
                <a:gd name="connsiteY9" fmla="*/ 7712 h 10000"/>
                <a:gd name="connsiteX10" fmla="*/ 209 w 9969"/>
                <a:gd name="connsiteY10" fmla="*/ 7778 h 10000"/>
                <a:gd name="connsiteX11" fmla="*/ 277 w 9969"/>
                <a:gd name="connsiteY11" fmla="*/ 7780 h 10000"/>
                <a:gd name="connsiteX12" fmla="*/ 309 w 9969"/>
                <a:gd name="connsiteY12" fmla="*/ 7796 h 10000"/>
                <a:gd name="connsiteX13" fmla="*/ 223 w 9969"/>
                <a:gd name="connsiteY13" fmla="*/ 7818 h 10000"/>
                <a:gd name="connsiteX14" fmla="*/ 86 w 9969"/>
                <a:gd name="connsiteY14" fmla="*/ 7886 h 10000"/>
                <a:gd name="connsiteX15" fmla="*/ 329 w 9969"/>
                <a:gd name="connsiteY15" fmla="*/ 7938 h 10000"/>
                <a:gd name="connsiteX16" fmla="*/ 359 w 9969"/>
                <a:gd name="connsiteY16" fmla="*/ 8014 h 10000"/>
                <a:gd name="connsiteX17" fmla="*/ 277 w 9969"/>
                <a:gd name="connsiteY17" fmla="*/ 8126 h 10000"/>
                <a:gd name="connsiteX18" fmla="*/ 456 w 9969"/>
                <a:gd name="connsiteY18" fmla="*/ 8118 h 10000"/>
                <a:gd name="connsiteX19" fmla="*/ 469 w 9969"/>
                <a:gd name="connsiteY19" fmla="*/ 8203 h 10000"/>
                <a:gd name="connsiteX20" fmla="*/ 350 w 9969"/>
                <a:gd name="connsiteY20" fmla="*/ 8260 h 10000"/>
                <a:gd name="connsiteX21" fmla="*/ 369 w 9969"/>
                <a:gd name="connsiteY21" fmla="*/ 8370 h 10000"/>
                <a:gd name="connsiteX22" fmla="*/ 323 w 9969"/>
                <a:gd name="connsiteY22" fmla="*/ 8456 h 10000"/>
                <a:gd name="connsiteX23" fmla="*/ 464 w 9969"/>
                <a:gd name="connsiteY23" fmla="*/ 8464 h 10000"/>
                <a:gd name="connsiteX24" fmla="*/ 601 w 9969"/>
                <a:gd name="connsiteY24" fmla="*/ 8792 h 10000"/>
                <a:gd name="connsiteX25" fmla="*/ 760 w 9969"/>
                <a:gd name="connsiteY25" fmla="*/ 8876 h 10000"/>
                <a:gd name="connsiteX26" fmla="*/ 828 w 9969"/>
                <a:gd name="connsiteY26" fmla="*/ 8965 h 10000"/>
                <a:gd name="connsiteX27" fmla="*/ 1001 w 9969"/>
                <a:gd name="connsiteY27" fmla="*/ 9030 h 10000"/>
                <a:gd name="connsiteX28" fmla="*/ 1111 w 9969"/>
                <a:gd name="connsiteY28" fmla="*/ 9112 h 10000"/>
                <a:gd name="connsiteX29" fmla="*/ 1097 w 9969"/>
                <a:gd name="connsiteY29" fmla="*/ 9171 h 10000"/>
                <a:gd name="connsiteX30" fmla="*/ 988 w 9969"/>
                <a:gd name="connsiteY30" fmla="*/ 9193 h 10000"/>
                <a:gd name="connsiteX31" fmla="*/ 869 w 9969"/>
                <a:gd name="connsiteY31" fmla="*/ 9179 h 10000"/>
                <a:gd name="connsiteX32" fmla="*/ 832 w 9969"/>
                <a:gd name="connsiteY32" fmla="*/ 9204 h 10000"/>
                <a:gd name="connsiteX33" fmla="*/ 923 w 9969"/>
                <a:gd name="connsiteY33" fmla="*/ 9332 h 10000"/>
                <a:gd name="connsiteX34" fmla="*/ 796 w 9969"/>
                <a:gd name="connsiteY34" fmla="*/ 9322 h 10000"/>
                <a:gd name="connsiteX35" fmla="*/ 687 w 9969"/>
                <a:gd name="connsiteY35" fmla="*/ 9291 h 10000"/>
                <a:gd name="connsiteX36" fmla="*/ 668 w 9969"/>
                <a:gd name="connsiteY36" fmla="*/ 9338 h 10000"/>
                <a:gd name="connsiteX37" fmla="*/ 1028 w 9969"/>
                <a:gd name="connsiteY37" fmla="*/ 9776 h 10000"/>
                <a:gd name="connsiteX38" fmla="*/ 970 w 9969"/>
                <a:gd name="connsiteY38" fmla="*/ 9817 h 10000"/>
                <a:gd name="connsiteX39" fmla="*/ 929 w 9969"/>
                <a:gd name="connsiteY39" fmla="*/ 9902 h 10000"/>
                <a:gd name="connsiteX40" fmla="*/ 878 w 9969"/>
                <a:gd name="connsiteY40" fmla="*/ 9908 h 10000"/>
                <a:gd name="connsiteX41" fmla="*/ 846 w 9969"/>
                <a:gd name="connsiteY41" fmla="*/ 9945 h 10000"/>
                <a:gd name="connsiteX42" fmla="*/ 1064 w 9969"/>
                <a:gd name="connsiteY42" fmla="*/ 9949 h 10000"/>
                <a:gd name="connsiteX43" fmla="*/ 1256 w 9969"/>
                <a:gd name="connsiteY43" fmla="*/ 9986 h 10000"/>
                <a:gd name="connsiteX44" fmla="*/ 1574 w 9969"/>
                <a:gd name="connsiteY44" fmla="*/ 9947 h 10000"/>
                <a:gd name="connsiteX45" fmla="*/ 1860 w 9969"/>
                <a:gd name="connsiteY45" fmla="*/ 9953 h 10000"/>
                <a:gd name="connsiteX46" fmla="*/ 2030 w 9969"/>
                <a:gd name="connsiteY46" fmla="*/ 10000 h 10000"/>
                <a:gd name="connsiteX47" fmla="*/ 2121 w 9969"/>
                <a:gd name="connsiteY47" fmla="*/ 9969 h 10000"/>
                <a:gd name="connsiteX48" fmla="*/ 2211 w 9969"/>
                <a:gd name="connsiteY48" fmla="*/ 9868 h 10000"/>
                <a:gd name="connsiteX49" fmla="*/ 2188 w 9969"/>
                <a:gd name="connsiteY49" fmla="*/ 9703 h 10000"/>
                <a:gd name="connsiteX50" fmla="*/ 2407 w 9969"/>
                <a:gd name="connsiteY50" fmla="*/ 9517 h 10000"/>
                <a:gd name="connsiteX51" fmla="*/ 2566 w 9969"/>
                <a:gd name="connsiteY51" fmla="*/ 9546 h 10000"/>
                <a:gd name="connsiteX52" fmla="*/ 2657 w 9969"/>
                <a:gd name="connsiteY52" fmla="*/ 9472 h 10000"/>
                <a:gd name="connsiteX53" fmla="*/ 2834 w 9969"/>
                <a:gd name="connsiteY53" fmla="*/ 9430 h 10000"/>
                <a:gd name="connsiteX54" fmla="*/ 3075 w 9969"/>
                <a:gd name="connsiteY54" fmla="*/ 9440 h 10000"/>
                <a:gd name="connsiteX55" fmla="*/ 3221 w 9969"/>
                <a:gd name="connsiteY55" fmla="*/ 9470 h 10000"/>
                <a:gd name="connsiteX56" fmla="*/ 3413 w 9969"/>
                <a:gd name="connsiteY56" fmla="*/ 9456 h 10000"/>
                <a:gd name="connsiteX57" fmla="*/ 3608 w 9969"/>
                <a:gd name="connsiteY57" fmla="*/ 9489 h 10000"/>
                <a:gd name="connsiteX58" fmla="*/ 3803 w 9969"/>
                <a:gd name="connsiteY58" fmla="*/ 9493 h 10000"/>
                <a:gd name="connsiteX59" fmla="*/ 4240 w 9969"/>
                <a:gd name="connsiteY59" fmla="*/ 9061 h 10000"/>
                <a:gd name="connsiteX60" fmla="*/ 4350 w 9969"/>
                <a:gd name="connsiteY60" fmla="*/ 8711 h 10000"/>
                <a:gd name="connsiteX61" fmla="*/ 4527 w 9969"/>
                <a:gd name="connsiteY61" fmla="*/ 8554 h 10000"/>
                <a:gd name="connsiteX62" fmla="*/ 4527 w 9969"/>
                <a:gd name="connsiteY62" fmla="*/ 8472 h 10000"/>
                <a:gd name="connsiteX63" fmla="*/ 4463 w 9969"/>
                <a:gd name="connsiteY63" fmla="*/ 8425 h 10000"/>
                <a:gd name="connsiteX64" fmla="*/ 4568 w 9969"/>
                <a:gd name="connsiteY64" fmla="*/ 8352 h 10000"/>
                <a:gd name="connsiteX65" fmla="*/ 4549 w 9969"/>
                <a:gd name="connsiteY65" fmla="*/ 8289 h 10000"/>
                <a:gd name="connsiteX66" fmla="*/ 4477 w 9969"/>
                <a:gd name="connsiteY66" fmla="*/ 8236 h 10000"/>
                <a:gd name="connsiteX67" fmla="*/ 4463 w 9969"/>
                <a:gd name="connsiteY67" fmla="*/ 8199 h 10000"/>
                <a:gd name="connsiteX68" fmla="*/ 4481 w 9969"/>
                <a:gd name="connsiteY68" fmla="*/ 8169 h 10000"/>
                <a:gd name="connsiteX69" fmla="*/ 4577 w 9969"/>
                <a:gd name="connsiteY69" fmla="*/ 8193 h 10000"/>
                <a:gd name="connsiteX70" fmla="*/ 4654 w 9969"/>
                <a:gd name="connsiteY70" fmla="*/ 8191 h 10000"/>
                <a:gd name="connsiteX71" fmla="*/ 4612 w 9969"/>
                <a:gd name="connsiteY71" fmla="*/ 8140 h 10000"/>
                <a:gd name="connsiteX72" fmla="*/ 4626 w 9969"/>
                <a:gd name="connsiteY72" fmla="*/ 8112 h 10000"/>
                <a:gd name="connsiteX73" fmla="*/ 4681 w 9969"/>
                <a:gd name="connsiteY73" fmla="*/ 8069 h 10000"/>
                <a:gd name="connsiteX74" fmla="*/ 4672 w 9969"/>
                <a:gd name="connsiteY74" fmla="*/ 8034 h 10000"/>
                <a:gd name="connsiteX75" fmla="*/ 4723 w 9969"/>
                <a:gd name="connsiteY75" fmla="*/ 7916 h 10000"/>
                <a:gd name="connsiteX76" fmla="*/ 4710 w 9969"/>
                <a:gd name="connsiteY76" fmla="*/ 7881 h 10000"/>
                <a:gd name="connsiteX77" fmla="*/ 4445 w 9969"/>
                <a:gd name="connsiteY77" fmla="*/ 7792 h 10000"/>
                <a:gd name="connsiteX78" fmla="*/ 4481 w 9969"/>
                <a:gd name="connsiteY78" fmla="*/ 7788 h 10000"/>
                <a:gd name="connsiteX79" fmla="*/ 4622 w 9969"/>
                <a:gd name="connsiteY79" fmla="*/ 7812 h 10000"/>
                <a:gd name="connsiteX80" fmla="*/ 4773 w 9969"/>
                <a:gd name="connsiteY80" fmla="*/ 7804 h 10000"/>
                <a:gd name="connsiteX81" fmla="*/ 4818 w 9969"/>
                <a:gd name="connsiteY81" fmla="*/ 7771 h 10000"/>
                <a:gd name="connsiteX82" fmla="*/ 4672 w 9969"/>
                <a:gd name="connsiteY82" fmla="*/ 7710 h 10000"/>
                <a:gd name="connsiteX83" fmla="*/ 4236 w 9969"/>
                <a:gd name="connsiteY83" fmla="*/ 7670 h 10000"/>
                <a:gd name="connsiteX84" fmla="*/ 4266 w 9969"/>
                <a:gd name="connsiteY84" fmla="*/ 7651 h 10000"/>
                <a:gd name="connsiteX85" fmla="*/ 4622 w 9969"/>
                <a:gd name="connsiteY85" fmla="*/ 7639 h 10000"/>
                <a:gd name="connsiteX86" fmla="*/ 4818 w 9969"/>
                <a:gd name="connsiteY86" fmla="*/ 7676 h 10000"/>
                <a:gd name="connsiteX87" fmla="*/ 4932 w 9969"/>
                <a:gd name="connsiteY87" fmla="*/ 7651 h 10000"/>
                <a:gd name="connsiteX88" fmla="*/ 4973 w 9969"/>
                <a:gd name="connsiteY88" fmla="*/ 7588 h 10000"/>
                <a:gd name="connsiteX89" fmla="*/ 5177 w 9969"/>
                <a:gd name="connsiteY89" fmla="*/ 7588 h 10000"/>
                <a:gd name="connsiteX90" fmla="*/ 5455 w 9969"/>
                <a:gd name="connsiteY90" fmla="*/ 7462 h 10000"/>
                <a:gd name="connsiteX91" fmla="*/ 5465 w 9969"/>
                <a:gd name="connsiteY91" fmla="*/ 7378 h 10000"/>
                <a:gd name="connsiteX92" fmla="*/ 5582 w 9969"/>
                <a:gd name="connsiteY92" fmla="*/ 7397 h 10000"/>
                <a:gd name="connsiteX93" fmla="*/ 5578 w 9969"/>
                <a:gd name="connsiteY93" fmla="*/ 7482 h 10000"/>
                <a:gd name="connsiteX94" fmla="*/ 5764 w 9969"/>
                <a:gd name="connsiteY94" fmla="*/ 7476 h 10000"/>
                <a:gd name="connsiteX95" fmla="*/ 5887 w 9969"/>
                <a:gd name="connsiteY95" fmla="*/ 7388 h 10000"/>
                <a:gd name="connsiteX96" fmla="*/ 6116 w 9969"/>
                <a:gd name="connsiteY96" fmla="*/ 7309 h 10000"/>
                <a:gd name="connsiteX97" fmla="*/ 6078 w 9969"/>
                <a:gd name="connsiteY97" fmla="*/ 7219 h 10000"/>
                <a:gd name="connsiteX98" fmla="*/ 6146 w 9969"/>
                <a:gd name="connsiteY98" fmla="*/ 7254 h 10000"/>
                <a:gd name="connsiteX99" fmla="*/ 6251 w 9969"/>
                <a:gd name="connsiteY99" fmla="*/ 7254 h 10000"/>
                <a:gd name="connsiteX100" fmla="*/ 6251 w 9969"/>
                <a:gd name="connsiteY100" fmla="*/ 7213 h 10000"/>
                <a:gd name="connsiteX101" fmla="*/ 6347 w 9969"/>
                <a:gd name="connsiteY101" fmla="*/ 7181 h 10000"/>
                <a:gd name="connsiteX102" fmla="*/ 6333 w 9969"/>
                <a:gd name="connsiteY102" fmla="*/ 7148 h 10000"/>
                <a:gd name="connsiteX103" fmla="*/ 5515 w 9969"/>
                <a:gd name="connsiteY103" fmla="*/ 7215 h 10000"/>
                <a:gd name="connsiteX104" fmla="*/ 5323 w 9969"/>
                <a:gd name="connsiteY104" fmla="*/ 7195 h 10000"/>
                <a:gd name="connsiteX105" fmla="*/ 5246 w 9969"/>
                <a:gd name="connsiteY105" fmla="*/ 7219 h 10000"/>
                <a:gd name="connsiteX106" fmla="*/ 5219 w 9969"/>
                <a:gd name="connsiteY106" fmla="*/ 7173 h 10000"/>
                <a:gd name="connsiteX107" fmla="*/ 5128 w 9969"/>
                <a:gd name="connsiteY107" fmla="*/ 7132 h 10000"/>
                <a:gd name="connsiteX108" fmla="*/ 4763 w 9969"/>
                <a:gd name="connsiteY108" fmla="*/ 7052 h 10000"/>
                <a:gd name="connsiteX109" fmla="*/ 4549 w 9969"/>
                <a:gd name="connsiteY109" fmla="*/ 7065 h 10000"/>
                <a:gd name="connsiteX110" fmla="*/ 4463 w 9969"/>
                <a:gd name="connsiteY110" fmla="*/ 7042 h 10000"/>
                <a:gd name="connsiteX111" fmla="*/ 4554 w 9969"/>
                <a:gd name="connsiteY111" fmla="*/ 7022 h 10000"/>
                <a:gd name="connsiteX112" fmla="*/ 4622 w 9969"/>
                <a:gd name="connsiteY112" fmla="*/ 6979 h 10000"/>
                <a:gd name="connsiteX113" fmla="*/ 4723 w 9969"/>
                <a:gd name="connsiteY113" fmla="*/ 6993 h 10000"/>
                <a:gd name="connsiteX114" fmla="*/ 4845 w 9969"/>
                <a:gd name="connsiteY114" fmla="*/ 6981 h 10000"/>
                <a:gd name="connsiteX115" fmla="*/ 5027 w 9969"/>
                <a:gd name="connsiteY115" fmla="*/ 6995 h 10000"/>
                <a:gd name="connsiteX116" fmla="*/ 5049 w 9969"/>
                <a:gd name="connsiteY116" fmla="*/ 6989 h 10000"/>
                <a:gd name="connsiteX117" fmla="*/ 5191 w 9969"/>
                <a:gd name="connsiteY117" fmla="*/ 7056 h 10000"/>
                <a:gd name="connsiteX118" fmla="*/ 5296 w 9969"/>
                <a:gd name="connsiteY118" fmla="*/ 7032 h 10000"/>
                <a:gd name="connsiteX119" fmla="*/ 5304 w 9969"/>
                <a:gd name="connsiteY119" fmla="*/ 7010 h 10000"/>
                <a:gd name="connsiteX120" fmla="*/ 5400 w 9969"/>
                <a:gd name="connsiteY120" fmla="*/ 7048 h 10000"/>
                <a:gd name="connsiteX121" fmla="*/ 5528 w 9969"/>
                <a:gd name="connsiteY121" fmla="*/ 7069 h 10000"/>
                <a:gd name="connsiteX122" fmla="*/ 5578 w 9969"/>
                <a:gd name="connsiteY122" fmla="*/ 7030 h 10000"/>
                <a:gd name="connsiteX123" fmla="*/ 5619 w 9969"/>
                <a:gd name="connsiteY123" fmla="*/ 7052 h 10000"/>
                <a:gd name="connsiteX124" fmla="*/ 5677 w 9969"/>
                <a:gd name="connsiteY124" fmla="*/ 7126 h 10000"/>
                <a:gd name="connsiteX125" fmla="*/ 5800 w 9969"/>
                <a:gd name="connsiteY125" fmla="*/ 7144 h 10000"/>
                <a:gd name="connsiteX126" fmla="*/ 6301 w 9969"/>
                <a:gd name="connsiteY126" fmla="*/ 7034 h 10000"/>
                <a:gd name="connsiteX127" fmla="*/ 6547 w 9969"/>
                <a:gd name="connsiteY127" fmla="*/ 6879 h 10000"/>
                <a:gd name="connsiteX128" fmla="*/ 6605 w 9969"/>
                <a:gd name="connsiteY128" fmla="*/ 6765 h 10000"/>
                <a:gd name="connsiteX129" fmla="*/ 6516 w 9969"/>
                <a:gd name="connsiteY129" fmla="*/ 6663 h 10000"/>
                <a:gd name="connsiteX130" fmla="*/ 6328 w 9969"/>
                <a:gd name="connsiteY130" fmla="*/ 6602 h 10000"/>
                <a:gd name="connsiteX131" fmla="*/ 6196 w 9969"/>
                <a:gd name="connsiteY131" fmla="*/ 6502 h 10000"/>
                <a:gd name="connsiteX132" fmla="*/ 6320 w 9969"/>
                <a:gd name="connsiteY132" fmla="*/ 6498 h 10000"/>
                <a:gd name="connsiteX133" fmla="*/ 6311 w 9969"/>
                <a:gd name="connsiteY133" fmla="*/ 6474 h 10000"/>
                <a:gd name="connsiteX134" fmla="*/ 5988 w 9969"/>
                <a:gd name="connsiteY134" fmla="*/ 6403 h 10000"/>
                <a:gd name="connsiteX135" fmla="*/ 5975 w 9969"/>
                <a:gd name="connsiteY135" fmla="*/ 6339 h 10000"/>
                <a:gd name="connsiteX136" fmla="*/ 5914 w 9969"/>
                <a:gd name="connsiteY136" fmla="*/ 6272 h 10000"/>
                <a:gd name="connsiteX137" fmla="*/ 5659 w 9969"/>
                <a:gd name="connsiteY137" fmla="*/ 6284 h 10000"/>
                <a:gd name="connsiteX138" fmla="*/ 5568 w 9969"/>
                <a:gd name="connsiteY138" fmla="*/ 6213 h 10000"/>
                <a:gd name="connsiteX139" fmla="*/ 5515 w 9969"/>
                <a:gd name="connsiteY139" fmla="*/ 6209 h 10000"/>
                <a:gd name="connsiteX140" fmla="*/ 5515 w 9969"/>
                <a:gd name="connsiteY140" fmla="*/ 6238 h 10000"/>
                <a:gd name="connsiteX141" fmla="*/ 5400 w 9969"/>
                <a:gd name="connsiteY141" fmla="*/ 6358 h 10000"/>
                <a:gd name="connsiteX142" fmla="*/ 5277 w 9969"/>
                <a:gd name="connsiteY142" fmla="*/ 6429 h 10000"/>
                <a:gd name="connsiteX143" fmla="*/ 4890 w 9969"/>
                <a:gd name="connsiteY143" fmla="*/ 6551 h 10000"/>
                <a:gd name="connsiteX144" fmla="*/ 4754 w 9969"/>
                <a:gd name="connsiteY144" fmla="*/ 6547 h 10000"/>
                <a:gd name="connsiteX145" fmla="*/ 4568 w 9969"/>
                <a:gd name="connsiteY145" fmla="*/ 6565 h 10000"/>
                <a:gd name="connsiteX146" fmla="*/ 4463 w 9969"/>
                <a:gd name="connsiteY146" fmla="*/ 6547 h 10000"/>
                <a:gd name="connsiteX147" fmla="*/ 4599 w 9969"/>
                <a:gd name="connsiteY147" fmla="*/ 6513 h 10000"/>
                <a:gd name="connsiteX148" fmla="*/ 4777 w 9969"/>
                <a:gd name="connsiteY148" fmla="*/ 6498 h 10000"/>
                <a:gd name="connsiteX149" fmla="*/ 4924 w 9969"/>
                <a:gd name="connsiteY149" fmla="*/ 6441 h 10000"/>
                <a:gd name="connsiteX150" fmla="*/ 5067 w 9969"/>
                <a:gd name="connsiteY150" fmla="*/ 6415 h 10000"/>
                <a:gd name="connsiteX151" fmla="*/ 5337 w 9969"/>
                <a:gd name="connsiteY151" fmla="*/ 6317 h 10000"/>
                <a:gd name="connsiteX152" fmla="*/ 5387 w 9969"/>
                <a:gd name="connsiteY152" fmla="*/ 6252 h 10000"/>
                <a:gd name="connsiteX153" fmla="*/ 5391 w 9969"/>
                <a:gd name="connsiteY153" fmla="*/ 6168 h 10000"/>
                <a:gd name="connsiteX154" fmla="*/ 5269 w 9969"/>
                <a:gd name="connsiteY154" fmla="*/ 6154 h 10000"/>
                <a:gd name="connsiteX155" fmla="*/ 5323 w 9969"/>
                <a:gd name="connsiteY155" fmla="*/ 6103 h 10000"/>
                <a:gd name="connsiteX156" fmla="*/ 5341 w 9969"/>
                <a:gd name="connsiteY156" fmla="*/ 6038 h 10000"/>
                <a:gd name="connsiteX157" fmla="*/ 5290 w 9969"/>
                <a:gd name="connsiteY157" fmla="*/ 5977 h 10000"/>
                <a:gd name="connsiteX158" fmla="*/ 5259 w 9969"/>
                <a:gd name="connsiteY158" fmla="*/ 5533 h 10000"/>
                <a:gd name="connsiteX159" fmla="*/ 5333 w 9969"/>
                <a:gd name="connsiteY159" fmla="*/ 5437 h 10000"/>
                <a:gd name="connsiteX160" fmla="*/ 5314 w 9969"/>
                <a:gd name="connsiteY160" fmla="*/ 5398 h 10000"/>
                <a:gd name="connsiteX161" fmla="*/ 5528 w 9969"/>
                <a:gd name="connsiteY161" fmla="*/ 5455 h 10000"/>
                <a:gd name="connsiteX162" fmla="*/ 5542 w 9969"/>
                <a:gd name="connsiteY162" fmla="*/ 5402 h 10000"/>
                <a:gd name="connsiteX163" fmla="*/ 5496 w 9969"/>
                <a:gd name="connsiteY163" fmla="*/ 5264 h 10000"/>
                <a:gd name="connsiteX164" fmla="*/ 5649 w 9969"/>
                <a:gd name="connsiteY164" fmla="*/ 5019 h 10000"/>
                <a:gd name="connsiteX165" fmla="*/ 5555 w 9969"/>
                <a:gd name="connsiteY165" fmla="*/ 4960 h 10000"/>
                <a:gd name="connsiteX166" fmla="*/ 5519 w 9969"/>
                <a:gd name="connsiteY166" fmla="*/ 4905 h 10000"/>
                <a:gd name="connsiteX167" fmla="*/ 5532 w 9969"/>
                <a:gd name="connsiteY167" fmla="*/ 4816 h 10000"/>
                <a:gd name="connsiteX168" fmla="*/ 5756 w 9969"/>
                <a:gd name="connsiteY168" fmla="*/ 4875 h 10000"/>
                <a:gd name="connsiteX169" fmla="*/ 5764 w 9969"/>
                <a:gd name="connsiteY169" fmla="*/ 4858 h 10000"/>
                <a:gd name="connsiteX170" fmla="*/ 5827 w 9969"/>
                <a:gd name="connsiteY170" fmla="*/ 4842 h 10000"/>
                <a:gd name="connsiteX171" fmla="*/ 5914 w 9969"/>
                <a:gd name="connsiteY171" fmla="*/ 4785 h 10000"/>
                <a:gd name="connsiteX172" fmla="*/ 5928 w 9969"/>
                <a:gd name="connsiteY172" fmla="*/ 4769 h 10000"/>
                <a:gd name="connsiteX173" fmla="*/ 5910 w 9969"/>
                <a:gd name="connsiteY173" fmla="*/ 4748 h 10000"/>
                <a:gd name="connsiteX174" fmla="*/ 5954 w 9969"/>
                <a:gd name="connsiteY174" fmla="*/ 4647 h 10000"/>
                <a:gd name="connsiteX175" fmla="*/ 5901 w 9969"/>
                <a:gd name="connsiteY175" fmla="*/ 4581 h 10000"/>
                <a:gd name="connsiteX176" fmla="*/ 5910 w 9969"/>
                <a:gd name="connsiteY176" fmla="*/ 4528 h 10000"/>
                <a:gd name="connsiteX177" fmla="*/ 5941 w 9969"/>
                <a:gd name="connsiteY177" fmla="*/ 4590 h 10000"/>
                <a:gd name="connsiteX178" fmla="*/ 6064 w 9969"/>
                <a:gd name="connsiteY178" fmla="*/ 4636 h 10000"/>
                <a:gd name="connsiteX179" fmla="*/ 6116 w 9969"/>
                <a:gd name="connsiteY179" fmla="*/ 4630 h 10000"/>
                <a:gd name="connsiteX180" fmla="*/ 6196 w 9969"/>
                <a:gd name="connsiteY180" fmla="*/ 4569 h 10000"/>
                <a:gd name="connsiteX181" fmla="*/ 6283 w 9969"/>
                <a:gd name="connsiteY181" fmla="*/ 4594 h 10000"/>
                <a:gd name="connsiteX182" fmla="*/ 6307 w 9969"/>
                <a:gd name="connsiteY182" fmla="*/ 4545 h 10000"/>
                <a:gd name="connsiteX183" fmla="*/ 6365 w 9969"/>
                <a:gd name="connsiteY183" fmla="*/ 4512 h 10000"/>
                <a:gd name="connsiteX184" fmla="*/ 6205 w 9969"/>
                <a:gd name="connsiteY184" fmla="*/ 4477 h 10000"/>
                <a:gd name="connsiteX185" fmla="*/ 6320 w 9969"/>
                <a:gd name="connsiteY185" fmla="*/ 4484 h 10000"/>
                <a:gd name="connsiteX186" fmla="*/ 6437 w 9969"/>
                <a:gd name="connsiteY186" fmla="*/ 4447 h 10000"/>
                <a:gd name="connsiteX187" fmla="*/ 6433 w 9969"/>
                <a:gd name="connsiteY187" fmla="*/ 4422 h 10000"/>
                <a:gd name="connsiteX188" fmla="*/ 6543 w 9969"/>
                <a:gd name="connsiteY188" fmla="*/ 4398 h 10000"/>
                <a:gd name="connsiteX189" fmla="*/ 6552 w 9969"/>
                <a:gd name="connsiteY189" fmla="*/ 4337 h 10000"/>
                <a:gd name="connsiteX190" fmla="*/ 6638 w 9969"/>
                <a:gd name="connsiteY190" fmla="*/ 4325 h 10000"/>
                <a:gd name="connsiteX191" fmla="*/ 6646 w 9969"/>
                <a:gd name="connsiteY191" fmla="*/ 4253 h 10000"/>
                <a:gd name="connsiteX192" fmla="*/ 6737 w 9969"/>
                <a:gd name="connsiteY192" fmla="*/ 4245 h 10000"/>
                <a:gd name="connsiteX193" fmla="*/ 6879 w 9969"/>
                <a:gd name="connsiteY193" fmla="*/ 4260 h 10000"/>
                <a:gd name="connsiteX194" fmla="*/ 7033 w 9969"/>
                <a:gd name="connsiteY194" fmla="*/ 4202 h 10000"/>
                <a:gd name="connsiteX195" fmla="*/ 7088 w 9969"/>
                <a:gd name="connsiteY195" fmla="*/ 4137 h 10000"/>
                <a:gd name="connsiteX196" fmla="*/ 7279 w 9969"/>
                <a:gd name="connsiteY196" fmla="*/ 4070 h 10000"/>
                <a:gd name="connsiteX197" fmla="*/ 7374 w 9969"/>
                <a:gd name="connsiteY197" fmla="*/ 4111 h 10000"/>
                <a:gd name="connsiteX198" fmla="*/ 7520 w 9969"/>
                <a:gd name="connsiteY198" fmla="*/ 4066 h 10000"/>
                <a:gd name="connsiteX199" fmla="*/ 7556 w 9969"/>
                <a:gd name="connsiteY199" fmla="*/ 4009 h 10000"/>
                <a:gd name="connsiteX200" fmla="*/ 7666 w 9969"/>
                <a:gd name="connsiteY200" fmla="*/ 3970 h 10000"/>
                <a:gd name="connsiteX201" fmla="*/ 7761 w 9969"/>
                <a:gd name="connsiteY201" fmla="*/ 3987 h 10000"/>
                <a:gd name="connsiteX202" fmla="*/ 7820 w 9969"/>
                <a:gd name="connsiteY202" fmla="*/ 3958 h 10000"/>
                <a:gd name="connsiteX203" fmla="*/ 7984 w 9969"/>
                <a:gd name="connsiteY203" fmla="*/ 3917 h 10000"/>
                <a:gd name="connsiteX204" fmla="*/ 8052 w 9969"/>
                <a:gd name="connsiteY204" fmla="*/ 3864 h 10000"/>
                <a:gd name="connsiteX205" fmla="*/ 8144 w 9969"/>
                <a:gd name="connsiteY205" fmla="*/ 3842 h 10000"/>
                <a:gd name="connsiteX206" fmla="*/ 8649 w 9969"/>
                <a:gd name="connsiteY206" fmla="*/ 3522 h 10000"/>
                <a:gd name="connsiteX207" fmla="*/ 9969 w 9969"/>
                <a:gd name="connsiteY207" fmla="*/ 1194 h 10000"/>
                <a:gd name="connsiteX208" fmla="*/ 9909 w 9969"/>
                <a:gd name="connsiteY208" fmla="*/ 1159 h 10000"/>
                <a:gd name="connsiteX209" fmla="*/ 9858 w 9969"/>
                <a:gd name="connsiteY209" fmla="*/ 978 h 10000"/>
                <a:gd name="connsiteX210" fmla="*/ 9918 w 9969"/>
                <a:gd name="connsiteY210" fmla="*/ 831 h 10000"/>
                <a:gd name="connsiteX211" fmla="*/ 9481 w 9969"/>
                <a:gd name="connsiteY211" fmla="*/ 517 h 10000"/>
                <a:gd name="connsiteX212" fmla="*/ 9267 w 9969"/>
                <a:gd name="connsiteY212" fmla="*/ 440 h 10000"/>
                <a:gd name="connsiteX213" fmla="*/ 8871 w 9969"/>
                <a:gd name="connsiteY213" fmla="*/ 389 h 10000"/>
                <a:gd name="connsiteX214" fmla="*/ 8052 w 9969"/>
                <a:gd name="connsiteY214" fmla="*/ 26 h 10000"/>
                <a:gd name="connsiteX215" fmla="*/ 8025 w 9969"/>
                <a:gd name="connsiteY215" fmla="*/ 2 h 10000"/>
                <a:gd name="connsiteX216" fmla="*/ 7747 w 9969"/>
                <a:gd name="connsiteY216" fmla="*/ 0 h 10000"/>
                <a:gd name="connsiteX217" fmla="*/ 7684 w 9969"/>
                <a:gd name="connsiteY217" fmla="*/ 14 h 10000"/>
                <a:gd name="connsiteX218" fmla="*/ 7698 w 9969"/>
                <a:gd name="connsiteY218" fmla="*/ 61 h 10000"/>
                <a:gd name="connsiteX219" fmla="*/ 7752 w 9969"/>
                <a:gd name="connsiteY219" fmla="*/ 86 h 10000"/>
                <a:gd name="connsiteX220" fmla="*/ 7767 w 9969"/>
                <a:gd name="connsiteY220" fmla="*/ 139 h 10000"/>
                <a:gd name="connsiteX221" fmla="*/ 7747 w 9969"/>
                <a:gd name="connsiteY221" fmla="*/ 181 h 10000"/>
                <a:gd name="connsiteX222" fmla="*/ 7698 w 9969"/>
                <a:gd name="connsiteY222" fmla="*/ 208 h 10000"/>
                <a:gd name="connsiteX223" fmla="*/ 7661 w 9969"/>
                <a:gd name="connsiteY223" fmla="*/ 283 h 10000"/>
                <a:gd name="connsiteX224" fmla="*/ 7593 w 9969"/>
                <a:gd name="connsiteY224" fmla="*/ 336 h 10000"/>
                <a:gd name="connsiteX225" fmla="*/ 7607 w 9969"/>
                <a:gd name="connsiteY225" fmla="*/ 387 h 10000"/>
                <a:gd name="connsiteX226" fmla="*/ 7711 w 9969"/>
                <a:gd name="connsiteY226" fmla="*/ 434 h 10000"/>
                <a:gd name="connsiteX227" fmla="*/ 7643 w 9969"/>
                <a:gd name="connsiteY227" fmla="*/ 475 h 10000"/>
                <a:gd name="connsiteX228" fmla="*/ 7543 w 9969"/>
                <a:gd name="connsiteY228" fmla="*/ 485 h 10000"/>
                <a:gd name="connsiteX229" fmla="*/ 6706 w 9969"/>
                <a:gd name="connsiteY229" fmla="*/ 387 h 10000"/>
                <a:gd name="connsiteX230" fmla="*/ 6605 w 9969"/>
                <a:gd name="connsiteY230" fmla="*/ 395 h 10000"/>
                <a:gd name="connsiteX231" fmla="*/ 6547 w 9969"/>
                <a:gd name="connsiteY231" fmla="*/ 414 h 10000"/>
                <a:gd name="connsiteX232" fmla="*/ 6487 w 9969"/>
                <a:gd name="connsiteY232" fmla="*/ 462 h 10000"/>
                <a:gd name="connsiteX233" fmla="*/ 6498 w 9969"/>
                <a:gd name="connsiteY233" fmla="*/ 581 h 10000"/>
                <a:gd name="connsiteX234" fmla="*/ 6405 w 9969"/>
                <a:gd name="connsiteY234" fmla="*/ 735 h 10000"/>
                <a:gd name="connsiteX235" fmla="*/ 6292 w 9969"/>
                <a:gd name="connsiteY235" fmla="*/ 815 h 10000"/>
                <a:gd name="connsiteX236" fmla="*/ 6247 w 9969"/>
                <a:gd name="connsiteY236" fmla="*/ 805 h 10000"/>
                <a:gd name="connsiteX237" fmla="*/ 6142 w 9969"/>
                <a:gd name="connsiteY237" fmla="*/ 739 h 10000"/>
                <a:gd name="connsiteX238" fmla="*/ 6010 w 9969"/>
                <a:gd name="connsiteY238" fmla="*/ 705 h 10000"/>
                <a:gd name="connsiteX239" fmla="*/ 5868 w 9969"/>
                <a:gd name="connsiteY239" fmla="*/ 715 h 10000"/>
                <a:gd name="connsiteX240" fmla="*/ 5538 w 9969"/>
                <a:gd name="connsiteY240" fmla="*/ 866 h 10000"/>
                <a:gd name="connsiteX241" fmla="*/ 5450 w 9969"/>
                <a:gd name="connsiteY241" fmla="*/ 1017 h 10000"/>
                <a:gd name="connsiteX242" fmla="*/ 5201 w 9969"/>
                <a:gd name="connsiteY242" fmla="*/ 1153 h 10000"/>
                <a:gd name="connsiteX243" fmla="*/ 5155 w 9969"/>
                <a:gd name="connsiteY243" fmla="*/ 1222 h 10000"/>
                <a:gd name="connsiteX244" fmla="*/ 5286 w 9969"/>
                <a:gd name="connsiteY244" fmla="*/ 1344 h 10000"/>
                <a:gd name="connsiteX245" fmla="*/ 5300 w 9969"/>
                <a:gd name="connsiteY245" fmla="*/ 1412 h 10000"/>
                <a:gd name="connsiteX246" fmla="*/ 4618 w 9969"/>
                <a:gd name="connsiteY246" fmla="*/ 1813 h 10000"/>
                <a:gd name="connsiteX247" fmla="*/ 4408 w 9969"/>
                <a:gd name="connsiteY247" fmla="*/ 2070 h 10000"/>
                <a:gd name="connsiteX248" fmla="*/ 4182 w 9969"/>
                <a:gd name="connsiteY248" fmla="*/ 2135 h 10000"/>
                <a:gd name="connsiteX249" fmla="*/ 4039 w 9969"/>
                <a:gd name="connsiteY249" fmla="*/ 2131 h 10000"/>
                <a:gd name="connsiteX250" fmla="*/ 3954 w 9969"/>
                <a:gd name="connsiteY250" fmla="*/ 2153 h 10000"/>
                <a:gd name="connsiteX251" fmla="*/ 3717 w 9969"/>
                <a:gd name="connsiteY251" fmla="*/ 2793 h 10000"/>
                <a:gd name="connsiteX252" fmla="*/ 3172 w 9969"/>
                <a:gd name="connsiteY252" fmla="*/ 3166 h 10000"/>
                <a:gd name="connsiteX253" fmla="*/ 3176 w 9969"/>
                <a:gd name="connsiteY253" fmla="*/ 3225 h 10000"/>
                <a:gd name="connsiteX254" fmla="*/ 3417 w 9969"/>
                <a:gd name="connsiteY254" fmla="*/ 3392 h 10000"/>
                <a:gd name="connsiteX255" fmla="*/ 3340 w 9969"/>
                <a:gd name="connsiteY255" fmla="*/ 3573 h 10000"/>
                <a:gd name="connsiteX256" fmla="*/ 3198 w 9969"/>
                <a:gd name="connsiteY256" fmla="*/ 3640 h 10000"/>
                <a:gd name="connsiteX257" fmla="*/ 2775 w 9969"/>
                <a:gd name="connsiteY257" fmla="*/ 3595 h 10000"/>
                <a:gd name="connsiteX258" fmla="*/ 2483 w 9969"/>
                <a:gd name="connsiteY258" fmla="*/ 3620 h 10000"/>
                <a:gd name="connsiteX259" fmla="*/ 2248 w 9969"/>
                <a:gd name="connsiteY259" fmla="*/ 3673 h 10000"/>
                <a:gd name="connsiteX260" fmla="*/ 1870 w 9969"/>
                <a:gd name="connsiteY260" fmla="*/ 3840 h 10000"/>
                <a:gd name="connsiteX261" fmla="*/ 1669 w 9969"/>
                <a:gd name="connsiteY261" fmla="*/ 4042 h 10000"/>
                <a:gd name="connsiteX262" fmla="*/ 1687 w 9969"/>
                <a:gd name="connsiteY262" fmla="*/ 4154 h 10000"/>
                <a:gd name="connsiteX263" fmla="*/ 1757 w 9969"/>
                <a:gd name="connsiteY263" fmla="*/ 4241 h 10000"/>
                <a:gd name="connsiteX264" fmla="*/ 1810 w 9969"/>
                <a:gd name="connsiteY264" fmla="*/ 4276 h 10000"/>
                <a:gd name="connsiteX265" fmla="*/ 1711 w 9969"/>
                <a:gd name="connsiteY265" fmla="*/ 4331 h 10000"/>
                <a:gd name="connsiteX266" fmla="*/ 1497 w 9969"/>
                <a:gd name="connsiteY266" fmla="*/ 4710 h 10000"/>
                <a:gd name="connsiteX267" fmla="*/ 1538 w 9969"/>
                <a:gd name="connsiteY267" fmla="*/ 4732 h 10000"/>
                <a:gd name="connsiteX268" fmla="*/ 1570 w 9969"/>
                <a:gd name="connsiteY268" fmla="*/ 4828 h 10000"/>
                <a:gd name="connsiteX269" fmla="*/ 1469 w 9969"/>
                <a:gd name="connsiteY269" fmla="*/ 5227 h 10000"/>
                <a:gd name="connsiteX270" fmla="*/ 1570 w 9969"/>
                <a:gd name="connsiteY270" fmla="*/ 5329 h 10000"/>
                <a:gd name="connsiteX271" fmla="*/ 1842 w 9969"/>
                <a:gd name="connsiteY271" fmla="*/ 5441 h 10000"/>
                <a:gd name="connsiteX272" fmla="*/ 1855 w 9969"/>
                <a:gd name="connsiteY272" fmla="*/ 5578 h 10000"/>
                <a:gd name="connsiteX273" fmla="*/ 1739 w 9969"/>
                <a:gd name="connsiteY273" fmla="*/ 5690 h 10000"/>
                <a:gd name="connsiteX274" fmla="*/ 1570 w 9969"/>
                <a:gd name="connsiteY274" fmla="*/ 5759 h 10000"/>
                <a:gd name="connsiteX275" fmla="*/ 1346 w 9969"/>
                <a:gd name="connsiteY275" fmla="*/ 5787 h 10000"/>
                <a:gd name="connsiteX276" fmla="*/ 1288 w 9969"/>
                <a:gd name="connsiteY276" fmla="*/ 5826 h 10000"/>
                <a:gd name="connsiteX277" fmla="*/ 1419 w 9969"/>
                <a:gd name="connsiteY277" fmla="*/ 5920 h 10000"/>
                <a:gd name="connsiteX278" fmla="*/ 1493 w 9969"/>
                <a:gd name="connsiteY278" fmla="*/ 6142 h 10000"/>
                <a:gd name="connsiteX279" fmla="*/ 1324 w 9969"/>
                <a:gd name="connsiteY279" fmla="*/ 6333 h 10000"/>
                <a:gd name="connsiteX280" fmla="*/ 1383 w 9969"/>
                <a:gd name="connsiteY280" fmla="*/ 6392 h 10000"/>
                <a:gd name="connsiteX281" fmla="*/ 1329 w 9969"/>
                <a:gd name="connsiteY281" fmla="*/ 6492 h 10000"/>
                <a:gd name="connsiteX282" fmla="*/ 1220 w 9969"/>
                <a:gd name="connsiteY282" fmla="*/ 6561 h 10000"/>
                <a:gd name="connsiteX283" fmla="*/ 792 w 9969"/>
                <a:gd name="connsiteY283" fmla="*/ 6614 h 10000"/>
                <a:gd name="connsiteX284" fmla="*/ 765 w 9969"/>
                <a:gd name="connsiteY284" fmla="*/ 6706 h 10000"/>
                <a:gd name="connsiteX285" fmla="*/ 533 w 9969"/>
                <a:gd name="connsiteY285" fmla="*/ 6843 h 10000"/>
                <a:gd name="connsiteX286" fmla="*/ 564 w 9969"/>
                <a:gd name="connsiteY286" fmla="*/ 7040 h 10000"/>
                <a:gd name="connsiteX287" fmla="*/ 369 w 9969"/>
                <a:gd name="connsiteY287" fmla="*/ 7293 h 10000"/>
                <a:gd name="connsiteX288" fmla="*/ 236 w 9969"/>
                <a:gd name="connsiteY288" fmla="*/ 7323 h 10000"/>
                <a:gd name="connsiteX289" fmla="*/ 182 w 9969"/>
                <a:gd name="connsiteY289" fmla="*/ 7262 h 10000"/>
                <a:gd name="connsiteX290" fmla="*/ 114 w 9969"/>
                <a:gd name="connsiteY290" fmla="*/ 7354 h 10000"/>
                <a:gd name="connsiteX291" fmla="*/ 159 w 9969"/>
                <a:gd name="connsiteY291" fmla="*/ 7197 h 10000"/>
                <a:gd name="connsiteX292" fmla="*/ 131 w 9969"/>
                <a:gd name="connsiteY292" fmla="*/ 7166 h 10000"/>
                <a:gd name="connsiteX0" fmla="*/ 131 w 10069"/>
                <a:gd name="connsiteY0" fmla="*/ 7166 h 10000"/>
                <a:gd name="connsiteX1" fmla="*/ 0 w 10069"/>
                <a:gd name="connsiteY1" fmla="*/ 7248 h 10000"/>
                <a:gd name="connsiteX2" fmla="*/ 0 w 10069"/>
                <a:gd name="connsiteY2" fmla="*/ 7651 h 10000"/>
                <a:gd name="connsiteX3" fmla="*/ 73 w 10069"/>
                <a:gd name="connsiteY3" fmla="*/ 7663 h 10000"/>
                <a:gd name="connsiteX4" fmla="*/ 90 w 10069"/>
                <a:gd name="connsiteY4" fmla="*/ 7694 h 10000"/>
                <a:gd name="connsiteX5" fmla="*/ 86 w 10069"/>
                <a:gd name="connsiteY5" fmla="*/ 7749 h 10000"/>
                <a:gd name="connsiteX6" fmla="*/ 59 w 10069"/>
                <a:gd name="connsiteY6" fmla="*/ 7773 h 10000"/>
                <a:gd name="connsiteX7" fmla="*/ 169 w 10069"/>
                <a:gd name="connsiteY7" fmla="*/ 7727 h 10000"/>
                <a:gd name="connsiteX8" fmla="*/ 216 w 10069"/>
                <a:gd name="connsiteY8" fmla="*/ 7680 h 10000"/>
                <a:gd name="connsiteX9" fmla="*/ 273 w 10069"/>
                <a:gd name="connsiteY9" fmla="*/ 7712 h 10000"/>
                <a:gd name="connsiteX10" fmla="*/ 210 w 10069"/>
                <a:gd name="connsiteY10" fmla="*/ 7778 h 10000"/>
                <a:gd name="connsiteX11" fmla="*/ 278 w 10069"/>
                <a:gd name="connsiteY11" fmla="*/ 7780 h 10000"/>
                <a:gd name="connsiteX12" fmla="*/ 310 w 10069"/>
                <a:gd name="connsiteY12" fmla="*/ 7796 h 10000"/>
                <a:gd name="connsiteX13" fmla="*/ 224 w 10069"/>
                <a:gd name="connsiteY13" fmla="*/ 7818 h 10000"/>
                <a:gd name="connsiteX14" fmla="*/ 86 w 10069"/>
                <a:gd name="connsiteY14" fmla="*/ 7886 h 10000"/>
                <a:gd name="connsiteX15" fmla="*/ 330 w 10069"/>
                <a:gd name="connsiteY15" fmla="*/ 7938 h 10000"/>
                <a:gd name="connsiteX16" fmla="*/ 360 w 10069"/>
                <a:gd name="connsiteY16" fmla="*/ 8014 h 10000"/>
                <a:gd name="connsiteX17" fmla="*/ 278 w 10069"/>
                <a:gd name="connsiteY17" fmla="*/ 8126 h 10000"/>
                <a:gd name="connsiteX18" fmla="*/ 457 w 10069"/>
                <a:gd name="connsiteY18" fmla="*/ 8118 h 10000"/>
                <a:gd name="connsiteX19" fmla="*/ 470 w 10069"/>
                <a:gd name="connsiteY19" fmla="*/ 8203 h 10000"/>
                <a:gd name="connsiteX20" fmla="*/ 351 w 10069"/>
                <a:gd name="connsiteY20" fmla="*/ 8260 h 10000"/>
                <a:gd name="connsiteX21" fmla="*/ 370 w 10069"/>
                <a:gd name="connsiteY21" fmla="*/ 8370 h 10000"/>
                <a:gd name="connsiteX22" fmla="*/ 324 w 10069"/>
                <a:gd name="connsiteY22" fmla="*/ 8456 h 10000"/>
                <a:gd name="connsiteX23" fmla="*/ 465 w 10069"/>
                <a:gd name="connsiteY23" fmla="*/ 8464 h 10000"/>
                <a:gd name="connsiteX24" fmla="*/ 603 w 10069"/>
                <a:gd name="connsiteY24" fmla="*/ 8792 h 10000"/>
                <a:gd name="connsiteX25" fmla="*/ 762 w 10069"/>
                <a:gd name="connsiteY25" fmla="*/ 8876 h 10000"/>
                <a:gd name="connsiteX26" fmla="*/ 831 w 10069"/>
                <a:gd name="connsiteY26" fmla="*/ 8965 h 10000"/>
                <a:gd name="connsiteX27" fmla="*/ 1004 w 10069"/>
                <a:gd name="connsiteY27" fmla="*/ 9030 h 10000"/>
                <a:gd name="connsiteX28" fmla="*/ 1114 w 10069"/>
                <a:gd name="connsiteY28" fmla="*/ 9112 h 10000"/>
                <a:gd name="connsiteX29" fmla="*/ 1100 w 10069"/>
                <a:gd name="connsiteY29" fmla="*/ 9171 h 10000"/>
                <a:gd name="connsiteX30" fmla="*/ 991 w 10069"/>
                <a:gd name="connsiteY30" fmla="*/ 9193 h 10000"/>
                <a:gd name="connsiteX31" fmla="*/ 872 w 10069"/>
                <a:gd name="connsiteY31" fmla="*/ 9179 h 10000"/>
                <a:gd name="connsiteX32" fmla="*/ 835 w 10069"/>
                <a:gd name="connsiteY32" fmla="*/ 9204 h 10000"/>
                <a:gd name="connsiteX33" fmla="*/ 926 w 10069"/>
                <a:gd name="connsiteY33" fmla="*/ 9332 h 10000"/>
                <a:gd name="connsiteX34" fmla="*/ 798 w 10069"/>
                <a:gd name="connsiteY34" fmla="*/ 9322 h 10000"/>
                <a:gd name="connsiteX35" fmla="*/ 689 w 10069"/>
                <a:gd name="connsiteY35" fmla="*/ 9291 h 10000"/>
                <a:gd name="connsiteX36" fmla="*/ 670 w 10069"/>
                <a:gd name="connsiteY36" fmla="*/ 9338 h 10000"/>
                <a:gd name="connsiteX37" fmla="*/ 1031 w 10069"/>
                <a:gd name="connsiteY37" fmla="*/ 9776 h 10000"/>
                <a:gd name="connsiteX38" fmla="*/ 973 w 10069"/>
                <a:gd name="connsiteY38" fmla="*/ 9817 h 10000"/>
                <a:gd name="connsiteX39" fmla="*/ 932 w 10069"/>
                <a:gd name="connsiteY39" fmla="*/ 9902 h 10000"/>
                <a:gd name="connsiteX40" fmla="*/ 881 w 10069"/>
                <a:gd name="connsiteY40" fmla="*/ 9908 h 10000"/>
                <a:gd name="connsiteX41" fmla="*/ 849 w 10069"/>
                <a:gd name="connsiteY41" fmla="*/ 9945 h 10000"/>
                <a:gd name="connsiteX42" fmla="*/ 1067 w 10069"/>
                <a:gd name="connsiteY42" fmla="*/ 9949 h 10000"/>
                <a:gd name="connsiteX43" fmla="*/ 1260 w 10069"/>
                <a:gd name="connsiteY43" fmla="*/ 9986 h 10000"/>
                <a:gd name="connsiteX44" fmla="*/ 1579 w 10069"/>
                <a:gd name="connsiteY44" fmla="*/ 9947 h 10000"/>
                <a:gd name="connsiteX45" fmla="*/ 1866 w 10069"/>
                <a:gd name="connsiteY45" fmla="*/ 9953 h 10000"/>
                <a:gd name="connsiteX46" fmla="*/ 2036 w 10069"/>
                <a:gd name="connsiteY46" fmla="*/ 10000 h 10000"/>
                <a:gd name="connsiteX47" fmla="*/ 2128 w 10069"/>
                <a:gd name="connsiteY47" fmla="*/ 9969 h 10000"/>
                <a:gd name="connsiteX48" fmla="*/ 2218 w 10069"/>
                <a:gd name="connsiteY48" fmla="*/ 9868 h 10000"/>
                <a:gd name="connsiteX49" fmla="*/ 2195 w 10069"/>
                <a:gd name="connsiteY49" fmla="*/ 9703 h 10000"/>
                <a:gd name="connsiteX50" fmla="*/ 2414 w 10069"/>
                <a:gd name="connsiteY50" fmla="*/ 9517 h 10000"/>
                <a:gd name="connsiteX51" fmla="*/ 2574 w 10069"/>
                <a:gd name="connsiteY51" fmla="*/ 9546 h 10000"/>
                <a:gd name="connsiteX52" fmla="*/ 2665 w 10069"/>
                <a:gd name="connsiteY52" fmla="*/ 9472 h 10000"/>
                <a:gd name="connsiteX53" fmla="*/ 2843 w 10069"/>
                <a:gd name="connsiteY53" fmla="*/ 9430 h 10000"/>
                <a:gd name="connsiteX54" fmla="*/ 3085 w 10069"/>
                <a:gd name="connsiteY54" fmla="*/ 9440 h 10000"/>
                <a:gd name="connsiteX55" fmla="*/ 3231 w 10069"/>
                <a:gd name="connsiteY55" fmla="*/ 9470 h 10000"/>
                <a:gd name="connsiteX56" fmla="*/ 3424 w 10069"/>
                <a:gd name="connsiteY56" fmla="*/ 9456 h 10000"/>
                <a:gd name="connsiteX57" fmla="*/ 3619 w 10069"/>
                <a:gd name="connsiteY57" fmla="*/ 9489 h 10000"/>
                <a:gd name="connsiteX58" fmla="*/ 3815 w 10069"/>
                <a:gd name="connsiteY58" fmla="*/ 9493 h 10000"/>
                <a:gd name="connsiteX59" fmla="*/ 4253 w 10069"/>
                <a:gd name="connsiteY59" fmla="*/ 9061 h 10000"/>
                <a:gd name="connsiteX60" fmla="*/ 4364 w 10069"/>
                <a:gd name="connsiteY60" fmla="*/ 8711 h 10000"/>
                <a:gd name="connsiteX61" fmla="*/ 4541 w 10069"/>
                <a:gd name="connsiteY61" fmla="*/ 8554 h 10000"/>
                <a:gd name="connsiteX62" fmla="*/ 4541 w 10069"/>
                <a:gd name="connsiteY62" fmla="*/ 8472 h 10000"/>
                <a:gd name="connsiteX63" fmla="*/ 4477 w 10069"/>
                <a:gd name="connsiteY63" fmla="*/ 8425 h 10000"/>
                <a:gd name="connsiteX64" fmla="*/ 4582 w 10069"/>
                <a:gd name="connsiteY64" fmla="*/ 8352 h 10000"/>
                <a:gd name="connsiteX65" fmla="*/ 4563 w 10069"/>
                <a:gd name="connsiteY65" fmla="*/ 8289 h 10000"/>
                <a:gd name="connsiteX66" fmla="*/ 4491 w 10069"/>
                <a:gd name="connsiteY66" fmla="*/ 8236 h 10000"/>
                <a:gd name="connsiteX67" fmla="*/ 4477 w 10069"/>
                <a:gd name="connsiteY67" fmla="*/ 8199 h 10000"/>
                <a:gd name="connsiteX68" fmla="*/ 4495 w 10069"/>
                <a:gd name="connsiteY68" fmla="*/ 8169 h 10000"/>
                <a:gd name="connsiteX69" fmla="*/ 4591 w 10069"/>
                <a:gd name="connsiteY69" fmla="*/ 8193 h 10000"/>
                <a:gd name="connsiteX70" fmla="*/ 4668 w 10069"/>
                <a:gd name="connsiteY70" fmla="*/ 8191 h 10000"/>
                <a:gd name="connsiteX71" fmla="*/ 4626 w 10069"/>
                <a:gd name="connsiteY71" fmla="*/ 8140 h 10000"/>
                <a:gd name="connsiteX72" fmla="*/ 4640 w 10069"/>
                <a:gd name="connsiteY72" fmla="*/ 8112 h 10000"/>
                <a:gd name="connsiteX73" fmla="*/ 4696 w 10069"/>
                <a:gd name="connsiteY73" fmla="*/ 8069 h 10000"/>
                <a:gd name="connsiteX74" fmla="*/ 4687 w 10069"/>
                <a:gd name="connsiteY74" fmla="*/ 8034 h 10000"/>
                <a:gd name="connsiteX75" fmla="*/ 4738 w 10069"/>
                <a:gd name="connsiteY75" fmla="*/ 7916 h 10000"/>
                <a:gd name="connsiteX76" fmla="*/ 4725 w 10069"/>
                <a:gd name="connsiteY76" fmla="*/ 7881 h 10000"/>
                <a:gd name="connsiteX77" fmla="*/ 4459 w 10069"/>
                <a:gd name="connsiteY77" fmla="*/ 7792 h 10000"/>
                <a:gd name="connsiteX78" fmla="*/ 4495 w 10069"/>
                <a:gd name="connsiteY78" fmla="*/ 7788 h 10000"/>
                <a:gd name="connsiteX79" fmla="*/ 4636 w 10069"/>
                <a:gd name="connsiteY79" fmla="*/ 7812 h 10000"/>
                <a:gd name="connsiteX80" fmla="*/ 4788 w 10069"/>
                <a:gd name="connsiteY80" fmla="*/ 7804 h 10000"/>
                <a:gd name="connsiteX81" fmla="*/ 4833 w 10069"/>
                <a:gd name="connsiteY81" fmla="*/ 7771 h 10000"/>
                <a:gd name="connsiteX82" fmla="*/ 4687 w 10069"/>
                <a:gd name="connsiteY82" fmla="*/ 7710 h 10000"/>
                <a:gd name="connsiteX83" fmla="*/ 4249 w 10069"/>
                <a:gd name="connsiteY83" fmla="*/ 7670 h 10000"/>
                <a:gd name="connsiteX84" fmla="*/ 4279 w 10069"/>
                <a:gd name="connsiteY84" fmla="*/ 7651 h 10000"/>
                <a:gd name="connsiteX85" fmla="*/ 4636 w 10069"/>
                <a:gd name="connsiteY85" fmla="*/ 7639 h 10000"/>
                <a:gd name="connsiteX86" fmla="*/ 4833 w 10069"/>
                <a:gd name="connsiteY86" fmla="*/ 7676 h 10000"/>
                <a:gd name="connsiteX87" fmla="*/ 4947 w 10069"/>
                <a:gd name="connsiteY87" fmla="*/ 7651 h 10000"/>
                <a:gd name="connsiteX88" fmla="*/ 4988 w 10069"/>
                <a:gd name="connsiteY88" fmla="*/ 7588 h 10000"/>
                <a:gd name="connsiteX89" fmla="*/ 5193 w 10069"/>
                <a:gd name="connsiteY89" fmla="*/ 7588 h 10000"/>
                <a:gd name="connsiteX90" fmla="*/ 5472 w 10069"/>
                <a:gd name="connsiteY90" fmla="*/ 7462 h 10000"/>
                <a:gd name="connsiteX91" fmla="*/ 5482 w 10069"/>
                <a:gd name="connsiteY91" fmla="*/ 7378 h 10000"/>
                <a:gd name="connsiteX92" fmla="*/ 5599 w 10069"/>
                <a:gd name="connsiteY92" fmla="*/ 7397 h 10000"/>
                <a:gd name="connsiteX93" fmla="*/ 5595 w 10069"/>
                <a:gd name="connsiteY93" fmla="*/ 7482 h 10000"/>
                <a:gd name="connsiteX94" fmla="*/ 5782 w 10069"/>
                <a:gd name="connsiteY94" fmla="*/ 7476 h 10000"/>
                <a:gd name="connsiteX95" fmla="*/ 5905 w 10069"/>
                <a:gd name="connsiteY95" fmla="*/ 7388 h 10000"/>
                <a:gd name="connsiteX96" fmla="*/ 6135 w 10069"/>
                <a:gd name="connsiteY96" fmla="*/ 7309 h 10000"/>
                <a:gd name="connsiteX97" fmla="*/ 6097 w 10069"/>
                <a:gd name="connsiteY97" fmla="*/ 7219 h 10000"/>
                <a:gd name="connsiteX98" fmla="*/ 6165 w 10069"/>
                <a:gd name="connsiteY98" fmla="*/ 7254 h 10000"/>
                <a:gd name="connsiteX99" fmla="*/ 6270 w 10069"/>
                <a:gd name="connsiteY99" fmla="*/ 7254 h 10000"/>
                <a:gd name="connsiteX100" fmla="*/ 6270 w 10069"/>
                <a:gd name="connsiteY100" fmla="*/ 7213 h 10000"/>
                <a:gd name="connsiteX101" fmla="*/ 6367 w 10069"/>
                <a:gd name="connsiteY101" fmla="*/ 7181 h 10000"/>
                <a:gd name="connsiteX102" fmla="*/ 6353 w 10069"/>
                <a:gd name="connsiteY102" fmla="*/ 7148 h 10000"/>
                <a:gd name="connsiteX103" fmla="*/ 5532 w 10069"/>
                <a:gd name="connsiteY103" fmla="*/ 7215 h 10000"/>
                <a:gd name="connsiteX104" fmla="*/ 5340 w 10069"/>
                <a:gd name="connsiteY104" fmla="*/ 7195 h 10000"/>
                <a:gd name="connsiteX105" fmla="*/ 5262 w 10069"/>
                <a:gd name="connsiteY105" fmla="*/ 7219 h 10000"/>
                <a:gd name="connsiteX106" fmla="*/ 5235 w 10069"/>
                <a:gd name="connsiteY106" fmla="*/ 7173 h 10000"/>
                <a:gd name="connsiteX107" fmla="*/ 5144 w 10069"/>
                <a:gd name="connsiteY107" fmla="*/ 7132 h 10000"/>
                <a:gd name="connsiteX108" fmla="*/ 4778 w 10069"/>
                <a:gd name="connsiteY108" fmla="*/ 7052 h 10000"/>
                <a:gd name="connsiteX109" fmla="*/ 4563 w 10069"/>
                <a:gd name="connsiteY109" fmla="*/ 7065 h 10000"/>
                <a:gd name="connsiteX110" fmla="*/ 4477 w 10069"/>
                <a:gd name="connsiteY110" fmla="*/ 7042 h 10000"/>
                <a:gd name="connsiteX111" fmla="*/ 4568 w 10069"/>
                <a:gd name="connsiteY111" fmla="*/ 7022 h 10000"/>
                <a:gd name="connsiteX112" fmla="*/ 4636 w 10069"/>
                <a:gd name="connsiteY112" fmla="*/ 6979 h 10000"/>
                <a:gd name="connsiteX113" fmla="*/ 4738 w 10069"/>
                <a:gd name="connsiteY113" fmla="*/ 6993 h 10000"/>
                <a:gd name="connsiteX114" fmla="*/ 4860 w 10069"/>
                <a:gd name="connsiteY114" fmla="*/ 6981 h 10000"/>
                <a:gd name="connsiteX115" fmla="*/ 5043 w 10069"/>
                <a:gd name="connsiteY115" fmla="*/ 6995 h 10000"/>
                <a:gd name="connsiteX116" fmla="*/ 5065 w 10069"/>
                <a:gd name="connsiteY116" fmla="*/ 6989 h 10000"/>
                <a:gd name="connsiteX117" fmla="*/ 5207 w 10069"/>
                <a:gd name="connsiteY117" fmla="*/ 7056 h 10000"/>
                <a:gd name="connsiteX118" fmla="*/ 5312 w 10069"/>
                <a:gd name="connsiteY118" fmla="*/ 7032 h 10000"/>
                <a:gd name="connsiteX119" fmla="*/ 5320 w 10069"/>
                <a:gd name="connsiteY119" fmla="*/ 7010 h 10000"/>
                <a:gd name="connsiteX120" fmla="*/ 5417 w 10069"/>
                <a:gd name="connsiteY120" fmla="*/ 7048 h 10000"/>
                <a:gd name="connsiteX121" fmla="*/ 5545 w 10069"/>
                <a:gd name="connsiteY121" fmla="*/ 7069 h 10000"/>
                <a:gd name="connsiteX122" fmla="*/ 5595 w 10069"/>
                <a:gd name="connsiteY122" fmla="*/ 7030 h 10000"/>
                <a:gd name="connsiteX123" fmla="*/ 5636 w 10069"/>
                <a:gd name="connsiteY123" fmla="*/ 7052 h 10000"/>
                <a:gd name="connsiteX124" fmla="*/ 5695 w 10069"/>
                <a:gd name="connsiteY124" fmla="*/ 7126 h 10000"/>
                <a:gd name="connsiteX125" fmla="*/ 5818 w 10069"/>
                <a:gd name="connsiteY125" fmla="*/ 7144 h 10000"/>
                <a:gd name="connsiteX126" fmla="*/ 6321 w 10069"/>
                <a:gd name="connsiteY126" fmla="*/ 7034 h 10000"/>
                <a:gd name="connsiteX127" fmla="*/ 6567 w 10069"/>
                <a:gd name="connsiteY127" fmla="*/ 6879 h 10000"/>
                <a:gd name="connsiteX128" fmla="*/ 6626 w 10069"/>
                <a:gd name="connsiteY128" fmla="*/ 6765 h 10000"/>
                <a:gd name="connsiteX129" fmla="*/ 6536 w 10069"/>
                <a:gd name="connsiteY129" fmla="*/ 6663 h 10000"/>
                <a:gd name="connsiteX130" fmla="*/ 6348 w 10069"/>
                <a:gd name="connsiteY130" fmla="*/ 6602 h 10000"/>
                <a:gd name="connsiteX131" fmla="*/ 6215 w 10069"/>
                <a:gd name="connsiteY131" fmla="*/ 6502 h 10000"/>
                <a:gd name="connsiteX132" fmla="*/ 6340 w 10069"/>
                <a:gd name="connsiteY132" fmla="*/ 6498 h 10000"/>
                <a:gd name="connsiteX133" fmla="*/ 6331 w 10069"/>
                <a:gd name="connsiteY133" fmla="*/ 6474 h 10000"/>
                <a:gd name="connsiteX134" fmla="*/ 6007 w 10069"/>
                <a:gd name="connsiteY134" fmla="*/ 6403 h 10000"/>
                <a:gd name="connsiteX135" fmla="*/ 5994 w 10069"/>
                <a:gd name="connsiteY135" fmla="*/ 6339 h 10000"/>
                <a:gd name="connsiteX136" fmla="*/ 5932 w 10069"/>
                <a:gd name="connsiteY136" fmla="*/ 6272 h 10000"/>
                <a:gd name="connsiteX137" fmla="*/ 5677 w 10069"/>
                <a:gd name="connsiteY137" fmla="*/ 6284 h 10000"/>
                <a:gd name="connsiteX138" fmla="*/ 5585 w 10069"/>
                <a:gd name="connsiteY138" fmla="*/ 6213 h 10000"/>
                <a:gd name="connsiteX139" fmla="*/ 5532 w 10069"/>
                <a:gd name="connsiteY139" fmla="*/ 6209 h 10000"/>
                <a:gd name="connsiteX140" fmla="*/ 5532 w 10069"/>
                <a:gd name="connsiteY140" fmla="*/ 6238 h 10000"/>
                <a:gd name="connsiteX141" fmla="*/ 5417 w 10069"/>
                <a:gd name="connsiteY141" fmla="*/ 6358 h 10000"/>
                <a:gd name="connsiteX142" fmla="*/ 5293 w 10069"/>
                <a:gd name="connsiteY142" fmla="*/ 6429 h 10000"/>
                <a:gd name="connsiteX143" fmla="*/ 4905 w 10069"/>
                <a:gd name="connsiteY143" fmla="*/ 6551 h 10000"/>
                <a:gd name="connsiteX144" fmla="*/ 4769 w 10069"/>
                <a:gd name="connsiteY144" fmla="*/ 6547 h 10000"/>
                <a:gd name="connsiteX145" fmla="*/ 4582 w 10069"/>
                <a:gd name="connsiteY145" fmla="*/ 6565 h 10000"/>
                <a:gd name="connsiteX146" fmla="*/ 4477 w 10069"/>
                <a:gd name="connsiteY146" fmla="*/ 6547 h 10000"/>
                <a:gd name="connsiteX147" fmla="*/ 4613 w 10069"/>
                <a:gd name="connsiteY147" fmla="*/ 6513 h 10000"/>
                <a:gd name="connsiteX148" fmla="*/ 4792 w 10069"/>
                <a:gd name="connsiteY148" fmla="*/ 6498 h 10000"/>
                <a:gd name="connsiteX149" fmla="*/ 4939 w 10069"/>
                <a:gd name="connsiteY149" fmla="*/ 6441 h 10000"/>
                <a:gd name="connsiteX150" fmla="*/ 5083 w 10069"/>
                <a:gd name="connsiteY150" fmla="*/ 6415 h 10000"/>
                <a:gd name="connsiteX151" fmla="*/ 5354 w 10069"/>
                <a:gd name="connsiteY151" fmla="*/ 6317 h 10000"/>
                <a:gd name="connsiteX152" fmla="*/ 5404 w 10069"/>
                <a:gd name="connsiteY152" fmla="*/ 6252 h 10000"/>
                <a:gd name="connsiteX153" fmla="*/ 5408 w 10069"/>
                <a:gd name="connsiteY153" fmla="*/ 6168 h 10000"/>
                <a:gd name="connsiteX154" fmla="*/ 5285 w 10069"/>
                <a:gd name="connsiteY154" fmla="*/ 6154 h 10000"/>
                <a:gd name="connsiteX155" fmla="*/ 5340 w 10069"/>
                <a:gd name="connsiteY155" fmla="*/ 6103 h 10000"/>
                <a:gd name="connsiteX156" fmla="*/ 5358 w 10069"/>
                <a:gd name="connsiteY156" fmla="*/ 6038 h 10000"/>
                <a:gd name="connsiteX157" fmla="*/ 5306 w 10069"/>
                <a:gd name="connsiteY157" fmla="*/ 5977 h 10000"/>
                <a:gd name="connsiteX158" fmla="*/ 5275 w 10069"/>
                <a:gd name="connsiteY158" fmla="*/ 5533 h 10000"/>
                <a:gd name="connsiteX159" fmla="*/ 5350 w 10069"/>
                <a:gd name="connsiteY159" fmla="*/ 5437 h 10000"/>
                <a:gd name="connsiteX160" fmla="*/ 5331 w 10069"/>
                <a:gd name="connsiteY160" fmla="*/ 5398 h 10000"/>
                <a:gd name="connsiteX161" fmla="*/ 5545 w 10069"/>
                <a:gd name="connsiteY161" fmla="*/ 5455 h 10000"/>
                <a:gd name="connsiteX162" fmla="*/ 5559 w 10069"/>
                <a:gd name="connsiteY162" fmla="*/ 5402 h 10000"/>
                <a:gd name="connsiteX163" fmla="*/ 5513 w 10069"/>
                <a:gd name="connsiteY163" fmla="*/ 5264 h 10000"/>
                <a:gd name="connsiteX164" fmla="*/ 5667 w 10069"/>
                <a:gd name="connsiteY164" fmla="*/ 5019 h 10000"/>
                <a:gd name="connsiteX165" fmla="*/ 5572 w 10069"/>
                <a:gd name="connsiteY165" fmla="*/ 4960 h 10000"/>
                <a:gd name="connsiteX166" fmla="*/ 5536 w 10069"/>
                <a:gd name="connsiteY166" fmla="*/ 4905 h 10000"/>
                <a:gd name="connsiteX167" fmla="*/ 5549 w 10069"/>
                <a:gd name="connsiteY167" fmla="*/ 4816 h 10000"/>
                <a:gd name="connsiteX168" fmla="*/ 5774 w 10069"/>
                <a:gd name="connsiteY168" fmla="*/ 4875 h 10000"/>
                <a:gd name="connsiteX169" fmla="*/ 5782 w 10069"/>
                <a:gd name="connsiteY169" fmla="*/ 4858 h 10000"/>
                <a:gd name="connsiteX170" fmla="*/ 5845 w 10069"/>
                <a:gd name="connsiteY170" fmla="*/ 4842 h 10000"/>
                <a:gd name="connsiteX171" fmla="*/ 5932 w 10069"/>
                <a:gd name="connsiteY171" fmla="*/ 4785 h 10000"/>
                <a:gd name="connsiteX172" fmla="*/ 5946 w 10069"/>
                <a:gd name="connsiteY172" fmla="*/ 4769 h 10000"/>
                <a:gd name="connsiteX173" fmla="*/ 5928 w 10069"/>
                <a:gd name="connsiteY173" fmla="*/ 4748 h 10000"/>
                <a:gd name="connsiteX174" fmla="*/ 5973 w 10069"/>
                <a:gd name="connsiteY174" fmla="*/ 4647 h 10000"/>
                <a:gd name="connsiteX175" fmla="*/ 5919 w 10069"/>
                <a:gd name="connsiteY175" fmla="*/ 4581 h 10000"/>
                <a:gd name="connsiteX176" fmla="*/ 5928 w 10069"/>
                <a:gd name="connsiteY176" fmla="*/ 4528 h 10000"/>
                <a:gd name="connsiteX177" fmla="*/ 5959 w 10069"/>
                <a:gd name="connsiteY177" fmla="*/ 4590 h 10000"/>
                <a:gd name="connsiteX178" fmla="*/ 6083 w 10069"/>
                <a:gd name="connsiteY178" fmla="*/ 4636 h 10000"/>
                <a:gd name="connsiteX179" fmla="*/ 6135 w 10069"/>
                <a:gd name="connsiteY179" fmla="*/ 4630 h 10000"/>
                <a:gd name="connsiteX180" fmla="*/ 6215 w 10069"/>
                <a:gd name="connsiteY180" fmla="*/ 4569 h 10000"/>
                <a:gd name="connsiteX181" fmla="*/ 6303 w 10069"/>
                <a:gd name="connsiteY181" fmla="*/ 4594 h 10000"/>
                <a:gd name="connsiteX182" fmla="*/ 6327 w 10069"/>
                <a:gd name="connsiteY182" fmla="*/ 4545 h 10000"/>
                <a:gd name="connsiteX183" fmla="*/ 6385 w 10069"/>
                <a:gd name="connsiteY183" fmla="*/ 4512 h 10000"/>
                <a:gd name="connsiteX184" fmla="*/ 6224 w 10069"/>
                <a:gd name="connsiteY184" fmla="*/ 4477 h 10000"/>
                <a:gd name="connsiteX185" fmla="*/ 6340 w 10069"/>
                <a:gd name="connsiteY185" fmla="*/ 4484 h 10000"/>
                <a:gd name="connsiteX186" fmla="*/ 6457 w 10069"/>
                <a:gd name="connsiteY186" fmla="*/ 4447 h 10000"/>
                <a:gd name="connsiteX187" fmla="*/ 6453 w 10069"/>
                <a:gd name="connsiteY187" fmla="*/ 4422 h 10000"/>
                <a:gd name="connsiteX188" fmla="*/ 6563 w 10069"/>
                <a:gd name="connsiteY188" fmla="*/ 4398 h 10000"/>
                <a:gd name="connsiteX189" fmla="*/ 6572 w 10069"/>
                <a:gd name="connsiteY189" fmla="*/ 4337 h 10000"/>
                <a:gd name="connsiteX190" fmla="*/ 6659 w 10069"/>
                <a:gd name="connsiteY190" fmla="*/ 4325 h 10000"/>
                <a:gd name="connsiteX191" fmla="*/ 6667 w 10069"/>
                <a:gd name="connsiteY191" fmla="*/ 4253 h 10000"/>
                <a:gd name="connsiteX192" fmla="*/ 6758 w 10069"/>
                <a:gd name="connsiteY192" fmla="*/ 4245 h 10000"/>
                <a:gd name="connsiteX193" fmla="*/ 6900 w 10069"/>
                <a:gd name="connsiteY193" fmla="*/ 4260 h 10000"/>
                <a:gd name="connsiteX194" fmla="*/ 7055 w 10069"/>
                <a:gd name="connsiteY194" fmla="*/ 4202 h 10000"/>
                <a:gd name="connsiteX195" fmla="*/ 7110 w 10069"/>
                <a:gd name="connsiteY195" fmla="*/ 4137 h 10000"/>
                <a:gd name="connsiteX196" fmla="*/ 7302 w 10069"/>
                <a:gd name="connsiteY196" fmla="*/ 4070 h 10000"/>
                <a:gd name="connsiteX197" fmla="*/ 7397 w 10069"/>
                <a:gd name="connsiteY197" fmla="*/ 4111 h 10000"/>
                <a:gd name="connsiteX198" fmla="*/ 7543 w 10069"/>
                <a:gd name="connsiteY198" fmla="*/ 4066 h 10000"/>
                <a:gd name="connsiteX199" fmla="*/ 7579 w 10069"/>
                <a:gd name="connsiteY199" fmla="*/ 4009 h 10000"/>
                <a:gd name="connsiteX200" fmla="*/ 7690 w 10069"/>
                <a:gd name="connsiteY200" fmla="*/ 3970 h 10000"/>
                <a:gd name="connsiteX201" fmla="*/ 7785 w 10069"/>
                <a:gd name="connsiteY201" fmla="*/ 3987 h 10000"/>
                <a:gd name="connsiteX202" fmla="*/ 7844 w 10069"/>
                <a:gd name="connsiteY202" fmla="*/ 3958 h 10000"/>
                <a:gd name="connsiteX203" fmla="*/ 8009 w 10069"/>
                <a:gd name="connsiteY203" fmla="*/ 3917 h 10000"/>
                <a:gd name="connsiteX204" fmla="*/ 8077 w 10069"/>
                <a:gd name="connsiteY204" fmla="*/ 3864 h 10000"/>
                <a:gd name="connsiteX205" fmla="*/ 8169 w 10069"/>
                <a:gd name="connsiteY205" fmla="*/ 3842 h 10000"/>
                <a:gd name="connsiteX206" fmla="*/ 8676 w 10069"/>
                <a:gd name="connsiteY206" fmla="*/ 3522 h 10000"/>
                <a:gd name="connsiteX207" fmla="*/ 10000 w 10069"/>
                <a:gd name="connsiteY207" fmla="*/ 1194 h 10000"/>
                <a:gd name="connsiteX208" fmla="*/ 9889 w 10069"/>
                <a:gd name="connsiteY208" fmla="*/ 978 h 10000"/>
                <a:gd name="connsiteX209" fmla="*/ 9949 w 10069"/>
                <a:gd name="connsiteY209" fmla="*/ 831 h 10000"/>
                <a:gd name="connsiteX210" fmla="*/ 9510 w 10069"/>
                <a:gd name="connsiteY210" fmla="*/ 517 h 10000"/>
                <a:gd name="connsiteX211" fmla="*/ 9296 w 10069"/>
                <a:gd name="connsiteY211" fmla="*/ 440 h 10000"/>
                <a:gd name="connsiteX212" fmla="*/ 8899 w 10069"/>
                <a:gd name="connsiteY212" fmla="*/ 389 h 10000"/>
                <a:gd name="connsiteX213" fmla="*/ 8077 w 10069"/>
                <a:gd name="connsiteY213" fmla="*/ 26 h 10000"/>
                <a:gd name="connsiteX214" fmla="*/ 8050 w 10069"/>
                <a:gd name="connsiteY214" fmla="*/ 2 h 10000"/>
                <a:gd name="connsiteX215" fmla="*/ 7771 w 10069"/>
                <a:gd name="connsiteY215" fmla="*/ 0 h 10000"/>
                <a:gd name="connsiteX216" fmla="*/ 7708 w 10069"/>
                <a:gd name="connsiteY216" fmla="*/ 14 h 10000"/>
                <a:gd name="connsiteX217" fmla="*/ 7722 w 10069"/>
                <a:gd name="connsiteY217" fmla="*/ 61 h 10000"/>
                <a:gd name="connsiteX218" fmla="*/ 7776 w 10069"/>
                <a:gd name="connsiteY218" fmla="*/ 86 h 10000"/>
                <a:gd name="connsiteX219" fmla="*/ 7791 w 10069"/>
                <a:gd name="connsiteY219" fmla="*/ 139 h 10000"/>
                <a:gd name="connsiteX220" fmla="*/ 7771 w 10069"/>
                <a:gd name="connsiteY220" fmla="*/ 181 h 10000"/>
                <a:gd name="connsiteX221" fmla="*/ 7722 w 10069"/>
                <a:gd name="connsiteY221" fmla="*/ 208 h 10000"/>
                <a:gd name="connsiteX222" fmla="*/ 7685 w 10069"/>
                <a:gd name="connsiteY222" fmla="*/ 283 h 10000"/>
                <a:gd name="connsiteX223" fmla="*/ 7617 w 10069"/>
                <a:gd name="connsiteY223" fmla="*/ 336 h 10000"/>
                <a:gd name="connsiteX224" fmla="*/ 7631 w 10069"/>
                <a:gd name="connsiteY224" fmla="*/ 387 h 10000"/>
                <a:gd name="connsiteX225" fmla="*/ 7735 w 10069"/>
                <a:gd name="connsiteY225" fmla="*/ 434 h 10000"/>
                <a:gd name="connsiteX226" fmla="*/ 7667 w 10069"/>
                <a:gd name="connsiteY226" fmla="*/ 475 h 10000"/>
                <a:gd name="connsiteX227" fmla="*/ 7566 w 10069"/>
                <a:gd name="connsiteY227" fmla="*/ 485 h 10000"/>
                <a:gd name="connsiteX228" fmla="*/ 6727 w 10069"/>
                <a:gd name="connsiteY228" fmla="*/ 387 h 10000"/>
                <a:gd name="connsiteX229" fmla="*/ 6626 w 10069"/>
                <a:gd name="connsiteY229" fmla="*/ 395 h 10000"/>
                <a:gd name="connsiteX230" fmla="*/ 6567 w 10069"/>
                <a:gd name="connsiteY230" fmla="*/ 414 h 10000"/>
                <a:gd name="connsiteX231" fmla="*/ 6507 w 10069"/>
                <a:gd name="connsiteY231" fmla="*/ 462 h 10000"/>
                <a:gd name="connsiteX232" fmla="*/ 6518 w 10069"/>
                <a:gd name="connsiteY232" fmla="*/ 581 h 10000"/>
                <a:gd name="connsiteX233" fmla="*/ 6425 w 10069"/>
                <a:gd name="connsiteY233" fmla="*/ 735 h 10000"/>
                <a:gd name="connsiteX234" fmla="*/ 6312 w 10069"/>
                <a:gd name="connsiteY234" fmla="*/ 815 h 10000"/>
                <a:gd name="connsiteX235" fmla="*/ 6266 w 10069"/>
                <a:gd name="connsiteY235" fmla="*/ 805 h 10000"/>
                <a:gd name="connsiteX236" fmla="*/ 6161 w 10069"/>
                <a:gd name="connsiteY236" fmla="*/ 739 h 10000"/>
                <a:gd name="connsiteX237" fmla="*/ 6029 w 10069"/>
                <a:gd name="connsiteY237" fmla="*/ 705 h 10000"/>
                <a:gd name="connsiteX238" fmla="*/ 5886 w 10069"/>
                <a:gd name="connsiteY238" fmla="*/ 715 h 10000"/>
                <a:gd name="connsiteX239" fmla="*/ 5555 w 10069"/>
                <a:gd name="connsiteY239" fmla="*/ 866 h 10000"/>
                <a:gd name="connsiteX240" fmla="*/ 5467 w 10069"/>
                <a:gd name="connsiteY240" fmla="*/ 1017 h 10000"/>
                <a:gd name="connsiteX241" fmla="*/ 5217 w 10069"/>
                <a:gd name="connsiteY241" fmla="*/ 1153 h 10000"/>
                <a:gd name="connsiteX242" fmla="*/ 5171 w 10069"/>
                <a:gd name="connsiteY242" fmla="*/ 1222 h 10000"/>
                <a:gd name="connsiteX243" fmla="*/ 5302 w 10069"/>
                <a:gd name="connsiteY243" fmla="*/ 1344 h 10000"/>
                <a:gd name="connsiteX244" fmla="*/ 5316 w 10069"/>
                <a:gd name="connsiteY244" fmla="*/ 1412 h 10000"/>
                <a:gd name="connsiteX245" fmla="*/ 4632 w 10069"/>
                <a:gd name="connsiteY245" fmla="*/ 1813 h 10000"/>
                <a:gd name="connsiteX246" fmla="*/ 4422 w 10069"/>
                <a:gd name="connsiteY246" fmla="*/ 2070 h 10000"/>
                <a:gd name="connsiteX247" fmla="*/ 4195 w 10069"/>
                <a:gd name="connsiteY247" fmla="*/ 2135 h 10000"/>
                <a:gd name="connsiteX248" fmla="*/ 4052 w 10069"/>
                <a:gd name="connsiteY248" fmla="*/ 2131 h 10000"/>
                <a:gd name="connsiteX249" fmla="*/ 3966 w 10069"/>
                <a:gd name="connsiteY249" fmla="*/ 2153 h 10000"/>
                <a:gd name="connsiteX250" fmla="*/ 3729 w 10069"/>
                <a:gd name="connsiteY250" fmla="*/ 2793 h 10000"/>
                <a:gd name="connsiteX251" fmla="*/ 3182 w 10069"/>
                <a:gd name="connsiteY251" fmla="*/ 3166 h 10000"/>
                <a:gd name="connsiteX252" fmla="*/ 3186 w 10069"/>
                <a:gd name="connsiteY252" fmla="*/ 3225 h 10000"/>
                <a:gd name="connsiteX253" fmla="*/ 3428 w 10069"/>
                <a:gd name="connsiteY253" fmla="*/ 3392 h 10000"/>
                <a:gd name="connsiteX254" fmla="*/ 3350 w 10069"/>
                <a:gd name="connsiteY254" fmla="*/ 3573 h 10000"/>
                <a:gd name="connsiteX255" fmla="*/ 3208 w 10069"/>
                <a:gd name="connsiteY255" fmla="*/ 3640 h 10000"/>
                <a:gd name="connsiteX256" fmla="*/ 2784 w 10069"/>
                <a:gd name="connsiteY256" fmla="*/ 3595 h 10000"/>
                <a:gd name="connsiteX257" fmla="*/ 2491 w 10069"/>
                <a:gd name="connsiteY257" fmla="*/ 3620 h 10000"/>
                <a:gd name="connsiteX258" fmla="*/ 2255 w 10069"/>
                <a:gd name="connsiteY258" fmla="*/ 3673 h 10000"/>
                <a:gd name="connsiteX259" fmla="*/ 1876 w 10069"/>
                <a:gd name="connsiteY259" fmla="*/ 3840 h 10000"/>
                <a:gd name="connsiteX260" fmla="*/ 1674 w 10069"/>
                <a:gd name="connsiteY260" fmla="*/ 4042 h 10000"/>
                <a:gd name="connsiteX261" fmla="*/ 1692 w 10069"/>
                <a:gd name="connsiteY261" fmla="*/ 4154 h 10000"/>
                <a:gd name="connsiteX262" fmla="*/ 1762 w 10069"/>
                <a:gd name="connsiteY262" fmla="*/ 4241 h 10000"/>
                <a:gd name="connsiteX263" fmla="*/ 1816 w 10069"/>
                <a:gd name="connsiteY263" fmla="*/ 4276 h 10000"/>
                <a:gd name="connsiteX264" fmla="*/ 1716 w 10069"/>
                <a:gd name="connsiteY264" fmla="*/ 4331 h 10000"/>
                <a:gd name="connsiteX265" fmla="*/ 1502 w 10069"/>
                <a:gd name="connsiteY265" fmla="*/ 4710 h 10000"/>
                <a:gd name="connsiteX266" fmla="*/ 1543 w 10069"/>
                <a:gd name="connsiteY266" fmla="*/ 4732 h 10000"/>
                <a:gd name="connsiteX267" fmla="*/ 1575 w 10069"/>
                <a:gd name="connsiteY267" fmla="*/ 4828 h 10000"/>
                <a:gd name="connsiteX268" fmla="*/ 1474 w 10069"/>
                <a:gd name="connsiteY268" fmla="*/ 5227 h 10000"/>
                <a:gd name="connsiteX269" fmla="*/ 1575 w 10069"/>
                <a:gd name="connsiteY269" fmla="*/ 5329 h 10000"/>
                <a:gd name="connsiteX270" fmla="*/ 1848 w 10069"/>
                <a:gd name="connsiteY270" fmla="*/ 5441 h 10000"/>
                <a:gd name="connsiteX271" fmla="*/ 1861 w 10069"/>
                <a:gd name="connsiteY271" fmla="*/ 5578 h 10000"/>
                <a:gd name="connsiteX272" fmla="*/ 1744 w 10069"/>
                <a:gd name="connsiteY272" fmla="*/ 5690 h 10000"/>
                <a:gd name="connsiteX273" fmla="*/ 1575 w 10069"/>
                <a:gd name="connsiteY273" fmla="*/ 5759 h 10000"/>
                <a:gd name="connsiteX274" fmla="*/ 1350 w 10069"/>
                <a:gd name="connsiteY274" fmla="*/ 5787 h 10000"/>
                <a:gd name="connsiteX275" fmla="*/ 1292 w 10069"/>
                <a:gd name="connsiteY275" fmla="*/ 5826 h 10000"/>
                <a:gd name="connsiteX276" fmla="*/ 1423 w 10069"/>
                <a:gd name="connsiteY276" fmla="*/ 5920 h 10000"/>
                <a:gd name="connsiteX277" fmla="*/ 1498 w 10069"/>
                <a:gd name="connsiteY277" fmla="*/ 6142 h 10000"/>
                <a:gd name="connsiteX278" fmla="*/ 1328 w 10069"/>
                <a:gd name="connsiteY278" fmla="*/ 6333 h 10000"/>
                <a:gd name="connsiteX279" fmla="*/ 1387 w 10069"/>
                <a:gd name="connsiteY279" fmla="*/ 6392 h 10000"/>
                <a:gd name="connsiteX280" fmla="*/ 1333 w 10069"/>
                <a:gd name="connsiteY280" fmla="*/ 6492 h 10000"/>
                <a:gd name="connsiteX281" fmla="*/ 1224 w 10069"/>
                <a:gd name="connsiteY281" fmla="*/ 6561 h 10000"/>
                <a:gd name="connsiteX282" fmla="*/ 794 w 10069"/>
                <a:gd name="connsiteY282" fmla="*/ 6614 h 10000"/>
                <a:gd name="connsiteX283" fmla="*/ 767 w 10069"/>
                <a:gd name="connsiteY283" fmla="*/ 6706 h 10000"/>
                <a:gd name="connsiteX284" fmla="*/ 535 w 10069"/>
                <a:gd name="connsiteY284" fmla="*/ 6843 h 10000"/>
                <a:gd name="connsiteX285" fmla="*/ 566 w 10069"/>
                <a:gd name="connsiteY285" fmla="*/ 7040 h 10000"/>
                <a:gd name="connsiteX286" fmla="*/ 370 w 10069"/>
                <a:gd name="connsiteY286" fmla="*/ 7293 h 10000"/>
                <a:gd name="connsiteX287" fmla="*/ 237 w 10069"/>
                <a:gd name="connsiteY287" fmla="*/ 7323 h 10000"/>
                <a:gd name="connsiteX288" fmla="*/ 183 w 10069"/>
                <a:gd name="connsiteY288" fmla="*/ 7262 h 10000"/>
                <a:gd name="connsiteX289" fmla="*/ 114 w 10069"/>
                <a:gd name="connsiteY289" fmla="*/ 7354 h 10000"/>
                <a:gd name="connsiteX290" fmla="*/ 159 w 10069"/>
                <a:gd name="connsiteY290" fmla="*/ 7197 h 10000"/>
                <a:gd name="connsiteX291" fmla="*/ 131 w 10069"/>
                <a:gd name="connsiteY291" fmla="*/ 7166 h 10000"/>
                <a:gd name="connsiteX0" fmla="*/ 131 w 9949"/>
                <a:gd name="connsiteY0" fmla="*/ 7166 h 10000"/>
                <a:gd name="connsiteX1" fmla="*/ 0 w 9949"/>
                <a:gd name="connsiteY1" fmla="*/ 7248 h 10000"/>
                <a:gd name="connsiteX2" fmla="*/ 0 w 9949"/>
                <a:gd name="connsiteY2" fmla="*/ 7651 h 10000"/>
                <a:gd name="connsiteX3" fmla="*/ 73 w 9949"/>
                <a:gd name="connsiteY3" fmla="*/ 7663 h 10000"/>
                <a:gd name="connsiteX4" fmla="*/ 90 w 9949"/>
                <a:gd name="connsiteY4" fmla="*/ 7694 h 10000"/>
                <a:gd name="connsiteX5" fmla="*/ 86 w 9949"/>
                <a:gd name="connsiteY5" fmla="*/ 7749 h 10000"/>
                <a:gd name="connsiteX6" fmla="*/ 59 w 9949"/>
                <a:gd name="connsiteY6" fmla="*/ 7773 h 10000"/>
                <a:gd name="connsiteX7" fmla="*/ 169 w 9949"/>
                <a:gd name="connsiteY7" fmla="*/ 7727 h 10000"/>
                <a:gd name="connsiteX8" fmla="*/ 216 w 9949"/>
                <a:gd name="connsiteY8" fmla="*/ 7680 h 10000"/>
                <a:gd name="connsiteX9" fmla="*/ 273 w 9949"/>
                <a:gd name="connsiteY9" fmla="*/ 7712 h 10000"/>
                <a:gd name="connsiteX10" fmla="*/ 210 w 9949"/>
                <a:gd name="connsiteY10" fmla="*/ 7778 h 10000"/>
                <a:gd name="connsiteX11" fmla="*/ 278 w 9949"/>
                <a:gd name="connsiteY11" fmla="*/ 7780 h 10000"/>
                <a:gd name="connsiteX12" fmla="*/ 310 w 9949"/>
                <a:gd name="connsiteY12" fmla="*/ 7796 h 10000"/>
                <a:gd name="connsiteX13" fmla="*/ 224 w 9949"/>
                <a:gd name="connsiteY13" fmla="*/ 7818 h 10000"/>
                <a:gd name="connsiteX14" fmla="*/ 86 w 9949"/>
                <a:gd name="connsiteY14" fmla="*/ 7886 h 10000"/>
                <a:gd name="connsiteX15" fmla="*/ 330 w 9949"/>
                <a:gd name="connsiteY15" fmla="*/ 7938 h 10000"/>
                <a:gd name="connsiteX16" fmla="*/ 360 w 9949"/>
                <a:gd name="connsiteY16" fmla="*/ 8014 h 10000"/>
                <a:gd name="connsiteX17" fmla="*/ 278 w 9949"/>
                <a:gd name="connsiteY17" fmla="*/ 8126 h 10000"/>
                <a:gd name="connsiteX18" fmla="*/ 457 w 9949"/>
                <a:gd name="connsiteY18" fmla="*/ 8118 h 10000"/>
                <a:gd name="connsiteX19" fmla="*/ 470 w 9949"/>
                <a:gd name="connsiteY19" fmla="*/ 8203 h 10000"/>
                <a:gd name="connsiteX20" fmla="*/ 351 w 9949"/>
                <a:gd name="connsiteY20" fmla="*/ 8260 h 10000"/>
                <a:gd name="connsiteX21" fmla="*/ 370 w 9949"/>
                <a:gd name="connsiteY21" fmla="*/ 8370 h 10000"/>
                <a:gd name="connsiteX22" fmla="*/ 324 w 9949"/>
                <a:gd name="connsiteY22" fmla="*/ 8456 h 10000"/>
                <a:gd name="connsiteX23" fmla="*/ 465 w 9949"/>
                <a:gd name="connsiteY23" fmla="*/ 8464 h 10000"/>
                <a:gd name="connsiteX24" fmla="*/ 603 w 9949"/>
                <a:gd name="connsiteY24" fmla="*/ 8792 h 10000"/>
                <a:gd name="connsiteX25" fmla="*/ 762 w 9949"/>
                <a:gd name="connsiteY25" fmla="*/ 8876 h 10000"/>
                <a:gd name="connsiteX26" fmla="*/ 831 w 9949"/>
                <a:gd name="connsiteY26" fmla="*/ 8965 h 10000"/>
                <a:gd name="connsiteX27" fmla="*/ 1004 w 9949"/>
                <a:gd name="connsiteY27" fmla="*/ 9030 h 10000"/>
                <a:gd name="connsiteX28" fmla="*/ 1114 w 9949"/>
                <a:gd name="connsiteY28" fmla="*/ 9112 h 10000"/>
                <a:gd name="connsiteX29" fmla="*/ 1100 w 9949"/>
                <a:gd name="connsiteY29" fmla="*/ 9171 h 10000"/>
                <a:gd name="connsiteX30" fmla="*/ 991 w 9949"/>
                <a:gd name="connsiteY30" fmla="*/ 9193 h 10000"/>
                <a:gd name="connsiteX31" fmla="*/ 872 w 9949"/>
                <a:gd name="connsiteY31" fmla="*/ 9179 h 10000"/>
                <a:gd name="connsiteX32" fmla="*/ 835 w 9949"/>
                <a:gd name="connsiteY32" fmla="*/ 9204 h 10000"/>
                <a:gd name="connsiteX33" fmla="*/ 926 w 9949"/>
                <a:gd name="connsiteY33" fmla="*/ 9332 h 10000"/>
                <a:gd name="connsiteX34" fmla="*/ 798 w 9949"/>
                <a:gd name="connsiteY34" fmla="*/ 9322 h 10000"/>
                <a:gd name="connsiteX35" fmla="*/ 689 w 9949"/>
                <a:gd name="connsiteY35" fmla="*/ 9291 h 10000"/>
                <a:gd name="connsiteX36" fmla="*/ 670 w 9949"/>
                <a:gd name="connsiteY36" fmla="*/ 9338 h 10000"/>
                <a:gd name="connsiteX37" fmla="*/ 1031 w 9949"/>
                <a:gd name="connsiteY37" fmla="*/ 9776 h 10000"/>
                <a:gd name="connsiteX38" fmla="*/ 973 w 9949"/>
                <a:gd name="connsiteY38" fmla="*/ 9817 h 10000"/>
                <a:gd name="connsiteX39" fmla="*/ 932 w 9949"/>
                <a:gd name="connsiteY39" fmla="*/ 9902 h 10000"/>
                <a:gd name="connsiteX40" fmla="*/ 881 w 9949"/>
                <a:gd name="connsiteY40" fmla="*/ 9908 h 10000"/>
                <a:gd name="connsiteX41" fmla="*/ 849 w 9949"/>
                <a:gd name="connsiteY41" fmla="*/ 9945 h 10000"/>
                <a:gd name="connsiteX42" fmla="*/ 1067 w 9949"/>
                <a:gd name="connsiteY42" fmla="*/ 9949 h 10000"/>
                <a:gd name="connsiteX43" fmla="*/ 1260 w 9949"/>
                <a:gd name="connsiteY43" fmla="*/ 9986 h 10000"/>
                <a:gd name="connsiteX44" fmla="*/ 1579 w 9949"/>
                <a:gd name="connsiteY44" fmla="*/ 9947 h 10000"/>
                <a:gd name="connsiteX45" fmla="*/ 1866 w 9949"/>
                <a:gd name="connsiteY45" fmla="*/ 9953 h 10000"/>
                <a:gd name="connsiteX46" fmla="*/ 2036 w 9949"/>
                <a:gd name="connsiteY46" fmla="*/ 10000 h 10000"/>
                <a:gd name="connsiteX47" fmla="*/ 2128 w 9949"/>
                <a:gd name="connsiteY47" fmla="*/ 9969 h 10000"/>
                <a:gd name="connsiteX48" fmla="*/ 2218 w 9949"/>
                <a:gd name="connsiteY48" fmla="*/ 9868 h 10000"/>
                <a:gd name="connsiteX49" fmla="*/ 2195 w 9949"/>
                <a:gd name="connsiteY49" fmla="*/ 9703 h 10000"/>
                <a:gd name="connsiteX50" fmla="*/ 2414 w 9949"/>
                <a:gd name="connsiteY50" fmla="*/ 9517 h 10000"/>
                <a:gd name="connsiteX51" fmla="*/ 2574 w 9949"/>
                <a:gd name="connsiteY51" fmla="*/ 9546 h 10000"/>
                <a:gd name="connsiteX52" fmla="*/ 2665 w 9949"/>
                <a:gd name="connsiteY52" fmla="*/ 9472 h 10000"/>
                <a:gd name="connsiteX53" fmla="*/ 2843 w 9949"/>
                <a:gd name="connsiteY53" fmla="*/ 9430 h 10000"/>
                <a:gd name="connsiteX54" fmla="*/ 3085 w 9949"/>
                <a:gd name="connsiteY54" fmla="*/ 9440 h 10000"/>
                <a:gd name="connsiteX55" fmla="*/ 3231 w 9949"/>
                <a:gd name="connsiteY55" fmla="*/ 9470 h 10000"/>
                <a:gd name="connsiteX56" fmla="*/ 3424 w 9949"/>
                <a:gd name="connsiteY56" fmla="*/ 9456 h 10000"/>
                <a:gd name="connsiteX57" fmla="*/ 3619 w 9949"/>
                <a:gd name="connsiteY57" fmla="*/ 9489 h 10000"/>
                <a:gd name="connsiteX58" fmla="*/ 3815 w 9949"/>
                <a:gd name="connsiteY58" fmla="*/ 9493 h 10000"/>
                <a:gd name="connsiteX59" fmla="*/ 4253 w 9949"/>
                <a:gd name="connsiteY59" fmla="*/ 9061 h 10000"/>
                <a:gd name="connsiteX60" fmla="*/ 4364 w 9949"/>
                <a:gd name="connsiteY60" fmla="*/ 8711 h 10000"/>
                <a:gd name="connsiteX61" fmla="*/ 4541 w 9949"/>
                <a:gd name="connsiteY61" fmla="*/ 8554 h 10000"/>
                <a:gd name="connsiteX62" fmla="*/ 4541 w 9949"/>
                <a:gd name="connsiteY62" fmla="*/ 8472 h 10000"/>
                <a:gd name="connsiteX63" fmla="*/ 4477 w 9949"/>
                <a:gd name="connsiteY63" fmla="*/ 8425 h 10000"/>
                <a:gd name="connsiteX64" fmla="*/ 4582 w 9949"/>
                <a:gd name="connsiteY64" fmla="*/ 8352 h 10000"/>
                <a:gd name="connsiteX65" fmla="*/ 4563 w 9949"/>
                <a:gd name="connsiteY65" fmla="*/ 8289 h 10000"/>
                <a:gd name="connsiteX66" fmla="*/ 4491 w 9949"/>
                <a:gd name="connsiteY66" fmla="*/ 8236 h 10000"/>
                <a:gd name="connsiteX67" fmla="*/ 4477 w 9949"/>
                <a:gd name="connsiteY67" fmla="*/ 8199 h 10000"/>
                <a:gd name="connsiteX68" fmla="*/ 4495 w 9949"/>
                <a:gd name="connsiteY68" fmla="*/ 8169 h 10000"/>
                <a:gd name="connsiteX69" fmla="*/ 4591 w 9949"/>
                <a:gd name="connsiteY69" fmla="*/ 8193 h 10000"/>
                <a:gd name="connsiteX70" fmla="*/ 4668 w 9949"/>
                <a:gd name="connsiteY70" fmla="*/ 8191 h 10000"/>
                <a:gd name="connsiteX71" fmla="*/ 4626 w 9949"/>
                <a:gd name="connsiteY71" fmla="*/ 8140 h 10000"/>
                <a:gd name="connsiteX72" fmla="*/ 4640 w 9949"/>
                <a:gd name="connsiteY72" fmla="*/ 8112 h 10000"/>
                <a:gd name="connsiteX73" fmla="*/ 4696 w 9949"/>
                <a:gd name="connsiteY73" fmla="*/ 8069 h 10000"/>
                <a:gd name="connsiteX74" fmla="*/ 4687 w 9949"/>
                <a:gd name="connsiteY74" fmla="*/ 8034 h 10000"/>
                <a:gd name="connsiteX75" fmla="*/ 4738 w 9949"/>
                <a:gd name="connsiteY75" fmla="*/ 7916 h 10000"/>
                <a:gd name="connsiteX76" fmla="*/ 4725 w 9949"/>
                <a:gd name="connsiteY76" fmla="*/ 7881 h 10000"/>
                <a:gd name="connsiteX77" fmla="*/ 4459 w 9949"/>
                <a:gd name="connsiteY77" fmla="*/ 7792 h 10000"/>
                <a:gd name="connsiteX78" fmla="*/ 4495 w 9949"/>
                <a:gd name="connsiteY78" fmla="*/ 7788 h 10000"/>
                <a:gd name="connsiteX79" fmla="*/ 4636 w 9949"/>
                <a:gd name="connsiteY79" fmla="*/ 7812 h 10000"/>
                <a:gd name="connsiteX80" fmla="*/ 4788 w 9949"/>
                <a:gd name="connsiteY80" fmla="*/ 7804 h 10000"/>
                <a:gd name="connsiteX81" fmla="*/ 4833 w 9949"/>
                <a:gd name="connsiteY81" fmla="*/ 7771 h 10000"/>
                <a:gd name="connsiteX82" fmla="*/ 4687 w 9949"/>
                <a:gd name="connsiteY82" fmla="*/ 7710 h 10000"/>
                <a:gd name="connsiteX83" fmla="*/ 4249 w 9949"/>
                <a:gd name="connsiteY83" fmla="*/ 7670 h 10000"/>
                <a:gd name="connsiteX84" fmla="*/ 4279 w 9949"/>
                <a:gd name="connsiteY84" fmla="*/ 7651 h 10000"/>
                <a:gd name="connsiteX85" fmla="*/ 4636 w 9949"/>
                <a:gd name="connsiteY85" fmla="*/ 7639 h 10000"/>
                <a:gd name="connsiteX86" fmla="*/ 4833 w 9949"/>
                <a:gd name="connsiteY86" fmla="*/ 7676 h 10000"/>
                <a:gd name="connsiteX87" fmla="*/ 4947 w 9949"/>
                <a:gd name="connsiteY87" fmla="*/ 7651 h 10000"/>
                <a:gd name="connsiteX88" fmla="*/ 4988 w 9949"/>
                <a:gd name="connsiteY88" fmla="*/ 7588 h 10000"/>
                <a:gd name="connsiteX89" fmla="*/ 5193 w 9949"/>
                <a:gd name="connsiteY89" fmla="*/ 7588 h 10000"/>
                <a:gd name="connsiteX90" fmla="*/ 5472 w 9949"/>
                <a:gd name="connsiteY90" fmla="*/ 7462 h 10000"/>
                <a:gd name="connsiteX91" fmla="*/ 5482 w 9949"/>
                <a:gd name="connsiteY91" fmla="*/ 7378 h 10000"/>
                <a:gd name="connsiteX92" fmla="*/ 5599 w 9949"/>
                <a:gd name="connsiteY92" fmla="*/ 7397 h 10000"/>
                <a:gd name="connsiteX93" fmla="*/ 5595 w 9949"/>
                <a:gd name="connsiteY93" fmla="*/ 7482 h 10000"/>
                <a:gd name="connsiteX94" fmla="*/ 5782 w 9949"/>
                <a:gd name="connsiteY94" fmla="*/ 7476 h 10000"/>
                <a:gd name="connsiteX95" fmla="*/ 5905 w 9949"/>
                <a:gd name="connsiteY95" fmla="*/ 7388 h 10000"/>
                <a:gd name="connsiteX96" fmla="*/ 6135 w 9949"/>
                <a:gd name="connsiteY96" fmla="*/ 7309 h 10000"/>
                <a:gd name="connsiteX97" fmla="*/ 6097 w 9949"/>
                <a:gd name="connsiteY97" fmla="*/ 7219 h 10000"/>
                <a:gd name="connsiteX98" fmla="*/ 6165 w 9949"/>
                <a:gd name="connsiteY98" fmla="*/ 7254 h 10000"/>
                <a:gd name="connsiteX99" fmla="*/ 6270 w 9949"/>
                <a:gd name="connsiteY99" fmla="*/ 7254 h 10000"/>
                <a:gd name="connsiteX100" fmla="*/ 6270 w 9949"/>
                <a:gd name="connsiteY100" fmla="*/ 7213 h 10000"/>
                <a:gd name="connsiteX101" fmla="*/ 6367 w 9949"/>
                <a:gd name="connsiteY101" fmla="*/ 7181 h 10000"/>
                <a:gd name="connsiteX102" fmla="*/ 6353 w 9949"/>
                <a:gd name="connsiteY102" fmla="*/ 7148 h 10000"/>
                <a:gd name="connsiteX103" fmla="*/ 5532 w 9949"/>
                <a:gd name="connsiteY103" fmla="*/ 7215 h 10000"/>
                <a:gd name="connsiteX104" fmla="*/ 5340 w 9949"/>
                <a:gd name="connsiteY104" fmla="*/ 7195 h 10000"/>
                <a:gd name="connsiteX105" fmla="*/ 5262 w 9949"/>
                <a:gd name="connsiteY105" fmla="*/ 7219 h 10000"/>
                <a:gd name="connsiteX106" fmla="*/ 5235 w 9949"/>
                <a:gd name="connsiteY106" fmla="*/ 7173 h 10000"/>
                <a:gd name="connsiteX107" fmla="*/ 5144 w 9949"/>
                <a:gd name="connsiteY107" fmla="*/ 7132 h 10000"/>
                <a:gd name="connsiteX108" fmla="*/ 4778 w 9949"/>
                <a:gd name="connsiteY108" fmla="*/ 7052 h 10000"/>
                <a:gd name="connsiteX109" fmla="*/ 4563 w 9949"/>
                <a:gd name="connsiteY109" fmla="*/ 7065 h 10000"/>
                <a:gd name="connsiteX110" fmla="*/ 4477 w 9949"/>
                <a:gd name="connsiteY110" fmla="*/ 7042 h 10000"/>
                <a:gd name="connsiteX111" fmla="*/ 4568 w 9949"/>
                <a:gd name="connsiteY111" fmla="*/ 7022 h 10000"/>
                <a:gd name="connsiteX112" fmla="*/ 4636 w 9949"/>
                <a:gd name="connsiteY112" fmla="*/ 6979 h 10000"/>
                <a:gd name="connsiteX113" fmla="*/ 4738 w 9949"/>
                <a:gd name="connsiteY113" fmla="*/ 6993 h 10000"/>
                <a:gd name="connsiteX114" fmla="*/ 4860 w 9949"/>
                <a:gd name="connsiteY114" fmla="*/ 6981 h 10000"/>
                <a:gd name="connsiteX115" fmla="*/ 5043 w 9949"/>
                <a:gd name="connsiteY115" fmla="*/ 6995 h 10000"/>
                <a:gd name="connsiteX116" fmla="*/ 5065 w 9949"/>
                <a:gd name="connsiteY116" fmla="*/ 6989 h 10000"/>
                <a:gd name="connsiteX117" fmla="*/ 5207 w 9949"/>
                <a:gd name="connsiteY117" fmla="*/ 7056 h 10000"/>
                <a:gd name="connsiteX118" fmla="*/ 5312 w 9949"/>
                <a:gd name="connsiteY118" fmla="*/ 7032 h 10000"/>
                <a:gd name="connsiteX119" fmla="*/ 5320 w 9949"/>
                <a:gd name="connsiteY119" fmla="*/ 7010 h 10000"/>
                <a:gd name="connsiteX120" fmla="*/ 5417 w 9949"/>
                <a:gd name="connsiteY120" fmla="*/ 7048 h 10000"/>
                <a:gd name="connsiteX121" fmla="*/ 5545 w 9949"/>
                <a:gd name="connsiteY121" fmla="*/ 7069 h 10000"/>
                <a:gd name="connsiteX122" fmla="*/ 5595 w 9949"/>
                <a:gd name="connsiteY122" fmla="*/ 7030 h 10000"/>
                <a:gd name="connsiteX123" fmla="*/ 5636 w 9949"/>
                <a:gd name="connsiteY123" fmla="*/ 7052 h 10000"/>
                <a:gd name="connsiteX124" fmla="*/ 5695 w 9949"/>
                <a:gd name="connsiteY124" fmla="*/ 7126 h 10000"/>
                <a:gd name="connsiteX125" fmla="*/ 5818 w 9949"/>
                <a:gd name="connsiteY125" fmla="*/ 7144 h 10000"/>
                <a:gd name="connsiteX126" fmla="*/ 6321 w 9949"/>
                <a:gd name="connsiteY126" fmla="*/ 7034 h 10000"/>
                <a:gd name="connsiteX127" fmla="*/ 6567 w 9949"/>
                <a:gd name="connsiteY127" fmla="*/ 6879 h 10000"/>
                <a:gd name="connsiteX128" fmla="*/ 6626 w 9949"/>
                <a:gd name="connsiteY128" fmla="*/ 6765 h 10000"/>
                <a:gd name="connsiteX129" fmla="*/ 6536 w 9949"/>
                <a:gd name="connsiteY129" fmla="*/ 6663 h 10000"/>
                <a:gd name="connsiteX130" fmla="*/ 6348 w 9949"/>
                <a:gd name="connsiteY130" fmla="*/ 6602 h 10000"/>
                <a:gd name="connsiteX131" fmla="*/ 6215 w 9949"/>
                <a:gd name="connsiteY131" fmla="*/ 6502 h 10000"/>
                <a:gd name="connsiteX132" fmla="*/ 6340 w 9949"/>
                <a:gd name="connsiteY132" fmla="*/ 6498 h 10000"/>
                <a:gd name="connsiteX133" fmla="*/ 6331 w 9949"/>
                <a:gd name="connsiteY133" fmla="*/ 6474 h 10000"/>
                <a:gd name="connsiteX134" fmla="*/ 6007 w 9949"/>
                <a:gd name="connsiteY134" fmla="*/ 6403 h 10000"/>
                <a:gd name="connsiteX135" fmla="*/ 5994 w 9949"/>
                <a:gd name="connsiteY135" fmla="*/ 6339 h 10000"/>
                <a:gd name="connsiteX136" fmla="*/ 5932 w 9949"/>
                <a:gd name="connsiteY136" fmla="*/ 6272 h 10000"/>
                <a:gd name="connsiteX137" fmla="*/ 5677 w 9949"/>
                <a:gd name="connsiteY137" fmla="*/ 6284 h 10000"/>
                <a:gd name="connsiteX138" fmla="*/ 5585 w 9949"/>
                <a:gd name="connsiteY138" fmla="*/ 6213 h 10000"/>
                <a:gd name="connsiteX139" fmla="*/ 5532 w 9949"/>
                <a:gd name="connsiteY139" fmla="*/ 6209 h 10000"/>
                <a:gd name="connsiteX140" fmla="*/ 5532 w 9949"/>
                <a:gd name="connsiteY140" fmla="*/ 6238 h 10000"/>
                <a:gd name="connsiteX141" fmla="*/ 5417 w 9949"/>
                <a:gd name="connsiteY141" fmla="*/ 6358 h 10000"/>
                <a:gd name="connsiteX142" fmla="*/ 5293 w 9949"/>
                <a:gd name="connsiteY142" fmla="*/ 6429 h 10000"/>
                <a:gd name="connsiteX143" fmla="*/ 4905 w 9949"/>
                <a:gd name="connsiteY143" fmla="*/ 6551 h 10000"/>
                <a:gd name="connsiteX144" fmla="*/ 4769 w 9949"/>
                <a:gd name="connsiteY144" fmla="*/ 6547 h 10000"/>
                <a:gd name="connsiteX145" fmla="*/ 4582 w 9949"/>
                <a:gd name="connsiteY145" fmla="*/ 6565 h 10000"/>
                <a:gd name="connsiteX146" fmla="*/ 4477 w 9949"/>
                <a:gd name="connsiteY146" fmla="*/ 6547 h 10000"/>
                <a:gd name="connsiteX147" fmla="*/ 4613 w 9949"/>
                <a:gd name="connsiteY147" fmla="*/ 6513 h 10000"/>
                <a:gd name="connsiteX148" fmla="*/ 4792 w 9949"/>
                <a:gd name="connsiteY148" fmla="*/ 6498 h 10000"/>
                <a:gd name="connsiteX149" fmla="*/ 4939 w 9949"/>
                <a:gd name="connsiteY149" fmla="*/ 6441 h 10000"/>
                <a:gd name="connsiteX150" fmla="*/ 5083 w 9949"/>
                <a:gd name="connsiteY150" fmla="*/ 6415 h 10000"/>
                <a:gd name="connsiteX151" fmla="*/ 5354 w 9949"/>
                <a:gd name="connsiteY151" fmla="*/ 6317 h 10000"/>
                <a:gd name="connsiteX152" fmla="*/ 5404 w 9949"/>
                <a:gd name="connsiteY152" fmla="*/ 6252 h 10000"/>
                <a:gd name="connsiteX153" fmla="*/ 5408 w 9949"/>
                <a:gd name="connsiteY153" fmla="*/ 6168 h 10000"/>
                <a:gd name="connsiteX154" fmla="*/ 5285 w 9949"/>
                <a:gd name="connsiteY154" fmla="*/ 6154 h 10000"/>
                <a:gd name="connsiteX155" fmla="*/ 5340 w 9949"/>
                <a:gd name="connsiteY155" fmla="*/ 6103 h 10000"/>
                <a:gd name="connsiteX156" fmla="*/ 5358 w 9949"/>
                <a:gd name="connsiteY156" fmla="*/ 6038 h 10000"/>
                <a:gd name="connsiteX157" fmla="*/ 5306 w 9949"/>
                <a:gd name="connsiteY157" fmla="*/ 5977 h 10000"/>
                <a:gd name="connsiteX158" fmla="*/ 5275 w 9949"/>
                <a:gd name="connsiteY158" fmla="*/ 5533 h 10000"/>
                <a:gd name="connsiteX159" fmla="*/ 5350 w 9949"/>
                <a:gd name="connsiteY159" fmla="*/ 5437 h 10000"/>
                <a:gd name="connsiteX160" fmla="*/ 5331 w 9949"/>
                <a:gd name="connsiteY160" fmla="*/ 5398 h 10000"/>
                <a:gd name="connsiteX161" fmla="*/ 5545 w 9949"/>
                <a:gd name="connsiteY161" fmla="*/ 5455 h 10000"/>
                <a:gd name="connsiteX162" fmla="*/ 5559 w 9949"/>
                <a:gd name="connsiteY162" fmla="*/ 5402 h 10000"/>
                <a:gd name="connsiteX163" fmla="*/ 5513 w 9949"/>
                <a:gd name="connsiteY163" fmla="*/ 5264 h 10000"/>
                <a:gd name="connsiteX164" fmla="*/ 5667 w 9949"/>
                <a:gd name="connsiteY164" fmla="*/ 5019 h 10000"/>
                <a:gd name="connsiteX165" fmla="*/ 5572 w 9949"/>
                <a:gd name="connsiteY165" fmla="*/ 4960 h 10000"/>
                <a:gd name="connsiteX166" fmla="*/ 5536 w 9949"/>
                <a:gd name="connsiteY166" fmla="*/ 4905 h 10000"/>
                <a:gd name="connsiteX167" fmla="*/ 5549 w 9949"/>
                <a:gd name="connsiteY167" fmla="*/ 4816 h 10000"/>
                <a:gd name="connsiteX168" fmla="*/ 5774 w 9949"/>
                <a:gd name="connsiteY168" fmla="*/ 4875 h 10000"/>
                <a:gd name="connsiteX169" fmla="*/ 5782 w 9949"/>
                <a:gd name="connsiteY169" fmla="*/ 4858 h 10000"/>
                <a:gd name="connsiteX170" fmla="*/ 5845 w 9949"/>
                <a:gd name="connsiteY170" fmla="*/ 4842 h 10000"/>
                <a:gd name="connsiteX171" fmla="*/ 5932 w 9949"/>
                <a:gd name="connsiteY171" fmla="*/ 4785 h 10000"/>
                <a:gd name="connsiteX172" fmla="*/ 5946 w 9949"/>
                <a:gd name="connsiteY172" fmla="*/ 4769 h 10000"/>
                <a:gd name="connsiteX173" fmla="*/ 5928 w 9949"/>
                <a:gd name="connsiteY173" fmla="*/ 4748 h 10000"/>
                <a:gd name="connsiteX174" fmla="*/ 5973 w 9949"/>
                <a:gd name="connsiteY174" fmla="*/ 4647 h 10000"/>
                <a:gd name="connsiteX175" fmla="*/ 5919 w 9949"/>
                <a:gd name="connsiteY175" fmla="*/ 4581 h 10000"/>
                <a:gd name="connsiteX176" fmla="*/ 5928 w 9949"/>
                <a:gd name="connsiteY176" fmla="*/ 4528 h 10000"/>
                <a:gd name="connsiteX177" fmla="*/ 5959 w 9949"/>
                <a:gd name="connsiteY177" fmla="*/ 4590 h 10000"/>
                <a:gd name="connsiteX178" fmla="*/ 6083 w 9949"/>
                <a:gd name="connsiteY178" fmla="*/ 4636 h 10000"/>
                <a:gd name="connsiteX179" fmla="*/ 6135 w 9949"/>
                <a:gd name="connsiteY179" fmla="*/ 4630 h 10000"/>
                <a:gd name="connsiteX180" fmla="*/ 6215 w 9949"/>
                <a:gd name="connsiteY180" fmla="*/ 4569 h 10000"/>
                <a:gd name="connsiteX181" fmla="*/ 6303 w 9949"/>
                <a:gd name="connsiteY181" fmla="*/ 4594 h 10000"/>
                <a:gd name="connsiteX182" fmla="*/ 6327 w 9949"/>
                <a:gd name="connsiteY182" fmla="*/ 4545 h 10000"/>
                <a:gd name="connsiteX183" fmla="*/ 6385 w 9949"/>
                <a:gd name="connsiteY183" fmla="*/ 4512 h 10000"/>
                <a:gd name="connsiteX184" fmla="*/ 6224 w 9949"/>
                <a:gd name="connsiteY184" fmla="*/ 4477 h 10000"/>
                <a:gd name="connsiteX185" fmla="*/ 6340 w 9949"/>
                <a:gd name="connsiteY185" fmla="*/ 4484 h 10000"/>
                <a:gd name="connsiteX186" fmla="*/ 6457 w 9949"/>
                <a:gd name="connsiteY186" fmla="*/ 4447 h 10000"/>
                <a:gd name="connsiteX187" fmla="*/ 6453 w 9949"/>
                <a:gd name="connsiteY187" fmla="*/ 4422 h 10000"/>
                <a:gd name="connsiteX188" fmla="*/ 6563 w 9949"/>
                <a:gd name="connsiteY188" fmla="*/ 4398 h 10000"/>
                <a:gd name="connsiteX189" fmla="*/ 6572 w 9949"/>
                <a:gd name="connsiteY189" fmla="*/ 4337 h 10000"/>
                <a:gd name="connsiteX190" fmla="*/ 6659 w 9949"/>
                <a:gd name="connsiteY190" fmla="*/ 4325 h 10000"/>
                <a:gd name="connsiteX191" fmla="*/ 6667 w 9949"/>
                <a:gd name="connsiteY191" fmla="*/ 4253 h 10000"/>
                <a:gd name="connsiteX192" fmla="*/ 6758 w 9949"/>
                <a:gd name="connsiteY192" fmla="*/ 4245 h 10000"/>
                <a:gd name="connsiteX193" fmla="*/ 6900 w 9949"/>
                <a:gd name="connsiteY193" fmla="*/ 4260 h 10000"/>
                <a:gd name="connsiteX194" fmla="*/ 7055 w 9949"/>
                <a:gd name="connsiteY194" fmla="*/ 4202 h 10000"/>
                <a:gd name="connsiteX195" fmla="*/ 7110 w 9949"/>
                <a:gd name="connsiteY195" fmla="*/ 4137 h 10000"/>
                <a:gd name="connsiteX196" fmla="*/ 7302 w 9949"/>
                <a:gd name="connsiteY196" fmla="*/ 4070 h 10000"/>
                <a:gd name="connsiteX197" fmla="*/ 7397 w 9949"/>
                <a:gd name="connsiteY197" fmla="*/ 4111 h 10000"/>
                <a:gd name="connsiteX198" fmla="*/ 7543 w 9949"/>
                <a:gd name="connsiteY198" fmla="*/ 4066 h 10000"/>
                <a:gd name="connsiteX199" fmla="*/ 7579 w 9949"/>
                <a:gd name="connsiteY199" fmla="*/ 4009 h 10000"/>
                <a:gd name="connsiteX200" fmla="*/ 7690 w 9949"/>
                <a:gd name="connsiteY200" fmla="*/ 3970 h 10000"/>
                <a:gd name="connsiteX201" fmla="*/ 7785 w 9949"/>
                <a:gd name="connsiteY201" fmla="*/ 3987 h 10000"/>
                <a:gd name="connsiteX202" fmla="*/ 7844 w 9949"/>
                <a:gd name="connsiteY202" fmla="*/ 3958 h 10000"/>
                <a:gd name="connsiteX203" fmla="*/ 8009 w 9949"/>
                <a:gd name="connsiteY203" fmla="*/ 3917 h 10000"/>
                <a:gd name="connsiteX204" fmla="*/ 8077 w 9949"/>
                <a:gd name="connsiteY204" fmla="*/ 3864 h 10000"/>
                <a:gd name="connsiteX205" fmla="*/ 8169 w 9949"/>
                <a:gd name="connsiteY205" fmla="*/ 3842 h 10000"/>
                <a:gd name="connsiteX206" fmla="*/ 8676 w 9949"/>
                <a:gd name="connsiteY206" fmla="*/ 3522 h 10000"/>
                <a:gd name="connsiteX207" fmla="*/ 9889 w 9949"/>
                <a:gd name="connsiteY207" fmla="*/ 978 h 10000"/>
                <a:gd name="connsiteX208" fmla="*/ 9949 w 9949"/>
                <a:gd name="connsiteY208" fmla="*/ 831 h 10000"/>
                <a:gd name="connsiteX209" fmla="*/ 9510 w 9949"/>
                <a:gd name="connsiteY209" fmla="*/ 517 h 10000"/>
                <a:gd name="connsiteX210" fmla="*/ 9296 w 9949"/>
                <a:gd name="connsiteY210" fmla="*/ 440 h 10000"/>
                <a:gd name="connsiteX211" fmla="*/ 8899 w 9949"/>
                <a:gd name="connsiteY211" fmla="*/ 389 h 10000"/>
                <a:gd name="connsiteX212" fmla="*/ 8077 w 9949"/>
                <a:gd name="connsiteY212" fmla="*/ 26 h 10000"/>
                <a:gd name="connsiteX213" fmla="*/ 8050 w 9949"/>
                <a:gd name="connsiteY213" fmla="*/ 2 h 10000"/>
                <a:gd name="connsiteX214" fmla="*/ 7771 w 9949"/>
                <a:gd name="connsiteY214" fmla="*/ 0 h 10000"/>
                <a:gd name="connsiteX215" fmla="*/ 7708 w 9949"/>
                <a:gd name="connsiteY215" fmla="*/ 14 h 10000"/>
                <a:gd name="connsiteX216" fmla="*/ 7722 w 9949"/>
                <a:gd name="connsiteY216" fmla="*/ 61 h 10000"/>
                <a:gd name="connsiteX217" fmla="*/ 7776 w 9949"/>
                <a:gd name="connsiteY217" fmla="*/ 86 h 10000"/>
                <a:gd name="connsiteX218" fmla="*/ 7791 w 9949"/>
                <a:gd name="connsiteY218" fmla="*/ 139 h 10000"/>
                <a:gd name="connsiteX219" fmla="*/ 7771 w 9949"/>
                <a:gd name="connsiteY219" fmla="*/ 181 h 10000"/>
                <a:gd name="connsiteX220" fmla="*/ 7722 w 9949"/>
                <a:gd name="connsiteY220" fmla="*/ 208 h 10000"/>
                <a:gd name="connsiteX221" fmla="*/ 7685 w 9949"/>
                <a:gd name="connsiteY221" fmla="*/ 283 h 10000"/>
                <a:gd name="connsiteX222" fmla="*/ 7617 w 9949"/>
                <a:gd name="connsiteY222" fmla="*/ 336 h 10000"/>
                <a:gd name="connsiteX223" fmla="*/ 7631 w 9949"/>
                <a:gd name="connsiteY223" fmla="*/ 387 h 10000"/>
                <a:gd name="connsiteX224" fmla="*/ 7735 w 9949"/>
                <a:gd name="connsiteY224" fmla="*/ 434 h 10000"/>
                <a:gd name="connsiteX225" fmla="*/ 7667 w 9949"/>
                <a:gd name="connsiteY225" fmla="*/ 475 h 10000"/>
                <a:gd name="connsiteX226" fmla="*/ 7566 w 9949"/>
                <a:gd name="connsiteY226" fmla="*/ 485 h 10000"/>
                <a:gd name="connsiteX227" fmla="*/ 6727 w 9949"/>
                <a:gd name="connsiteY227" fmla="*/ 387 h 10000"/>
                <a:gd name="connsiteX228" fmla="*/ 6626 w 9949"/>
                <a:gd name="connsiteY228" fmla="*/ 395 h 10000"/>
                <a:gd name="connsiteX229" fmla="*/ 6567 w 9949"/>
                <a:gd name="connsiteY229" fmla="*/ 414 h 10000"/>
                <a:gd name="connsiteX230" fmla="*/ 6507 w 9949"/>
                <a:gd name="connsiteY230" fmla="*/ 462 h 10000"/>
                <a:gd name="connsiteX231" fmla="*/ 6518 w 9949"/>
                <a:gd name="connsiteY231" fmla="*/ 581 h 10000"/>
                <a:gd name="connsiteX232" fmla="*/ 6425 w 9949"/>
                <a:gd name="connsiteY232" fmla="*/ 735 h 10000"/>
                <a:gd name="connsiteX233" fmla="*/ 6312 w 9949"/>
                <a:gd name="connsiteY233" fmla="*/ 815 h 10000"/>
                <a:gd name="connsiteX234" fmla="*/ 6266 w 9949"/>
                <a:gd name="connsiteY234" fmla="*/ 805 h 10000"/>
                <a:gd name="connsiteX235" fmla="*/ 6161 w 9949"/>
                <a:gd name="connsiteY235" fmla="*/ 739 h 10000"/>
                <a:gd name="connsiteX236" fmla="*/ 6029 w 9949"/>
                <a:gd name="connsiteY236" fmla="*/ 705 h 10000"/>
                <a:gd name="connsiteX237" fmla="*/ 5886 w 9949"/>
                <a:gd name="connsiteY237" fmla="*/ 715 h 10000"/>
                <a:gd name="connsiteX238" fmla="*/ 5555 w 9949"/>
                <a:gd name="connsiteY238" fmla="*/ 866 h 10000"/>
                <a:gd name="connsiteX239" fmla="*/ 5467 w 9949"/>
                <a:gd name="connsiteY239" fmla="*/ 1017 h 10000"/>
                <a:gd name="connsiteX240" fmla="*/ 5217 w 9949"/>
                <a:gd name="connsiteY240" fmla="*/ 1153 h 10000"/>
                <a:gd name="connsiteX241" fmla="*/ 5171 w 9949"/>
                <a:gd name="connsiteY241" fmla="*/ 1222 h 10000"/>
                <a:gd name="connsiteX242" fmla="*/ 5302 w 9949"/>
                <a:gd name="connsiteY242" fmla="*/ 1344 h 10000"/>
                <a:gd name="connsiteX243" fmla="*/ 5316 w 9949"/>
                <a:gd name="connsiteY243" fmla="*/ 1412 h 10000"/>
                <a:gd name="connsiteX244" fmla="*/ 4632 w 9949"/>
                <a:gd name="connsiteY244" fmla="*/ 1813 h 10000"/>
                <a:gd name="connsiteX245" fmla="*/ 4422 w 9949"/>
                <a:gd name="connsiteY245" fmla="*/ 2070 h 10000"/>
                <a:gd name="connsiteX246" fmla="*/ 4195 w 9949"/>
                <a:gd name="connsiteY246" fmla="*/ 2135 h 10000"/>
                <a:gd name="connsiteX247" fmla="*/ 4052 w 9949"/>
                <a:gd name="connsiteY247" fmla="*/ 2131 h 10000"/>
                <a:gd name="connsiteX248" fmla="*/ 3966 w 9949"/>
                <a:gd name="connsiteY248" fmla="*/ 2153 h 10000"/>
                <a:gd name="connsiteX249" fmla="*/ 3729 w 9949"/>
                <a:gd name="connsiteY249" fmla="*/ 2793 h 10000"/>
                <a:gd name="connsiteX250" fmla="*/ 3182 w 9949"/>
                <a:gd name="connsiteY250" fmla="*/ 3166 h 10000"/>
                <a:gd name="connsiteX251" fmla="*/ 3186 w 9949"/>
                <a:gd name="connsiteY251" fmla="*/ 3225 h 10000"/>
                <a:gd name="connsiteX252" fmla="*/ 3428 w 9949"/>
                <a:gd name="connsiteY252" fmla="*/ 3392 h 10000"/>
                <a:gd name="connsiteX253" fmla="*/ 3350 w 9949"/>
                <a:gd name="connsiteY253" fmla="*/ 3573 h 10000"/>
                <a:gd name="connsiteX254" fmla="*/ 3208 w 9949"/>
                <a:gd name="connsiteY254" fmla="*/ 3640 h 10000"/>
                <a:gd name="connsiteX255" fmla="*/ 2784 w 9949"/>
                <a:gd name="connsiteY255" fmla="*/ 3595 h 10000"/>
                <a:gd name="connsiteX256" fmla="*/ 2491 w 9949"/>
                <a:gd name="connsiteY256" fmla="*/ 3620 h 10000"/>
                <a:gd name="connsiteX257" fmla="*/ 2255 w 9949"/>
                <a:gd name="connsiteY257" fmla="*/ 3673 h 10000"/>
                <a:gd name="connsiteX258" fmla="*/ 1876 w 9949"/>
                <a:gd name="connsiteY258" fmla="*/ 3840 h 10000"/>
                <a:gd name="connsiteX259" fmla="*/ 1674 w 9949"/>
                <a:gd name="connsiteY259" fmla="*/ 4042 h 10000"/>
                <a:gd name="connsiteX260" fmla="*/ 1692 w 9949"/>
                <a:gd name="connsiteY260" fmla="*/ 4154 h 10000"/>
                <a:gd name="connsiteX261" fmla="*/ 1762 w 9949"/>
                <a:gd name="connsiteY261" fmla="*/ 4241 h 10000"/>
                <a:gd name="connsiteX262" fmla="*/ 1816 w 9949"/>
                <a:gd name="connsiteY262" fmla="*/ 4276 h 10000"/>
                <a:gd name="connsiteX263" fmla="*/ 1716 w 9949"/>
                <a:gd name="connsiteY263" fmla="*/ 4331 h 10000"/>
                <a:gd name="connsiteX264" fmla="*/ 1502 w 9949"/>
                <a:gd name="connsiteY264" fmla="*/ 4710 h 10000"/>
                <a:gd name="connsiteX265" fmla="*/ 1543 w 9949"/>
                <a:gd name="connsiteY265" fmla="*/ 4732 h 10000"/>
                <a:gd name="connsiteX266" fmla="*/ 1575 w 9949"/>
                <a:gd name="connsiteY266" fmla="*/ 4828 h 10000"/>
                <a:gd name="connsiteX267" fmla="*/ 1474 w 9949"/>
                <a:gd name="connsiteY267" fmla="*/ 5227 h 10000"/>
                <a:gd name="connsiteX268" fmla="*/ 1575 w 9949"/>
                <a:gd name="connsiteY268" fmla="*/ 5329 h 10000"/>
                <a:gd name="connsiteX269" fmla="*/ 1848 w 9949"/>
                <a:gd name="connsiteY269" fmla="*/ 5441 h 10000"/>
                <a:gd name="connsiteX270" fmla="*/ 1861 w 9949"/>
                <a:gd name="connsiteY270" fmla="*/ 5578 h 10000"/>
                <a:gd name="connsiteX271" fmla="*/ 1744 w 9949"/>
                <a:gd name="connsiteY271" fmla="*/ 5690 h 10000"/>
                <a:gd name="connsiteX272" fmla="*/ 1575 w 9949"/>
                <a:gd name="connsiteY272" fmla="*/ 5759 h 10000"/>
                <a:gd name="connsiteX273" fmla="*/ 1350 w 9949"/>
                <a:gd name="connsiteY273" fmla="*/ 5787 h 10000"/>
                <a:gd name="connsiteX274" fmla="*/ 1292 w 9949"/>
                <a:gd name="connsiteY274" fmla="*/ 5826 h 10000"/>
                <a:gd name="connsiteX275" fmla="*/ 1423 w 9949"/>
                <a:gd name="connsiteY275" fmla="*/ 5920 h 10000"/>
                <a:gd name="connsiteX276" fmla="*/ 1498 w 9949"/>
                <a:gd name="connsiteY276" fmla="*/ 6142 h 10000"/>
                <a:gd name="connsiteX277" fmla="*/ 1328 w 9949"/>
                <a:gd name="connsiteY277" fmla="*/ 6333 h 10000"/>
                <a:gd name="connsiteX278" fmla="*/ 1387 w 9949"/>
                <a:gd name="connsiteY278" fmla="*/ 6392 h 10000"/>
                <a:gd name="connsiteX279" fmla="*/ 1333 w 9949"/>
                <a:gd name="connsiteY279" fmla="*/ 6492 h 10000"/>
                <a:gd name="connsiteX280" fmla="*/ 1224 w 9949"/>
                <a:gd name="connsiteY280" fmla="*/ 6561 h 10000"/>
                <a:gd name="connsiteX281" fmla="*/ 794 w 9949"/>
                <a:gd name="connsiteY281" fmla="*/ 6614 h 10000"/>
                <a:gd name="connsiteX282" fmla="*/ 767 w 9949"/>
                <a:gd name="connsiteY282" fmla="*/ 6706 h 10000"/>
                <a:gd name="connsiteX283" fmla="*/ 535 w 9949"/>
                <a:gd name="connsiteY283" fmla="*/ 6843 h 10000"/>
                <a:gd name="connsiteX284" fmla="*/ 566 w 9949"/>
                <a:gd name="connsiteY284" fmla="*/ 7040 h 10000"/>
                <a:gd name="connsiteX285" fmla="*/ 370 w 9949"/>
                <a:gd name="connsiteY285" fmla="*/ 7293 h 10000"/>
                <a:gd name="connsiteX286" fmla="*/ 237 w 9949"/>
                <a:gd name="connsiteY286" fmla="*/ 7323 h 10000"/>
                <a:gd name="connsiteX287" fmla="*/ 183 w 9949"/>
                <a:gd name="connsiteY287" fmla="*/ 7262 h 10000"/>
                <a:gd name="connsiteX288" fmla="*/ 114 w 9949"/>
                <a:gd name="connsiteY288" fmla="*/ 7354 h 10000"/>
                <a:gd name="connsiteX289" fmla="*/ 159 w 9949"/>
                <a:gd name="connsiteY289" fmla="*/ 7197 h 10000"/>
                <a:gd name="connsiteX290" fmla="*/ 131 w 9949"/>
                <a:gd name="connsiteY290" fmla="*/ 7166 h 10000"/>
                <a:gd name="connsiteX0" fmla="*/ 132 w 10000"/>
                <a:gd name="connsiteY0" fmla="*/ 7166 h 10000"/>
                <a:gd name="connsiteX1" fmla="*/ 0 w 10000"/>
                <a:gd name="connsiteY1" fmla="*/ 7248 h 10000"/>
                <a:gd name="connsiteX2" fmla="*/ 0 w 10000"/>
                <a:gd name="connsiteY2" fmla="*/ 7651 h 10000"/>
                <a:gd name="connsiteX3" fmla="*/ 73 w 10000"/>
                <a:gd name="connsiteY3" fmla="*/ 7663 h 10000"/>
                <a:gd name="connsiteX4" fmla="*/ 90 w 10000"/>
                <a:gd name="connsiteY4" fmla="*/ 7694 h 10000"/>
                <a:gd name="connsiteX5" fmla="*/ 86 w 10000"/>
                <a:gd name="connsiteY5" fmla="*/ 7749 h 10000"/>
                <a:gd name="connsiteX6" fmla="*/ 59 w 10000"/>
                <a:gd name="connsiteY6" fmla="*/ 7773 h 10000"/>
                <a:gd name="connsiteX7" fmla="*/ 170 w 10000"/>
                <a:gd name="connsiteY7" fmla="*/ 7727 h 10000"/>
                <a:gd name="connsiteX8" fmla="*/ 217 w 10000"/>
                <a:gd name="connsiteY8" fmla="*/ 7680 h 10000"/>
                <a:gd name="connsiteX9" fmla="*/ 274 w 10000"/>
                <a:gd name="connsiteY9" fmla="*/ 7712 h 10000"/>
                <a:gd name="connsiteX10" fmla="*/ 211 w 10000"/>
                <a:gd name="connsiteY10" fmla="*/ 7778 h 10000"/>
                <a:gd name="connsiteX11" fmla="*/ 279 w 10000"/>
                <a:gd name="connsiteY11" fmla="*/ 7780 h 10000"/>
                <a:gd name="connsiteX12" fmla="*/ 312 w 10000"/>
                <a:gd name="connsiteY12" fmla="*/ 7796 h 10000"/>
                <a:gd name="connsiteX13" fmla="*/ 225 w 10000"/>
                <a:gd name="connsiteY13" fmla="*/ 7818 h 10000"/>
                <a:gd name="connsiteX14" fmla="*/ 86 w 10000"/>
                <a:gd name="connsiteY14" fmla="*/ 7886 h 10000"/>
                <a:gd name="connsiteX15" fmla="*/ 332 w 10000"/>
                <a:gd name="connsiteY15" fmla="*/ 7938 h 10000"/>
                <a:gd name="connsiteX16" fmla="*/ 362 w 10000"/>
                <a:gd name="connsiteY16" fmla="*/ 8014 h 10000"/>
                <a:gd name="connsiteX17" fmla="*/ 279 w 10000"/>
                <a:gd name="connsiteY17" fmla="*/ 8126 h 10000"/>
                <a:gd name="connsiteX18" fmla="*/ 459 w 10000"/>
                <a:gd name="connsiteY18" fmla="*/ 8118 h 10000"/>
                <a:gd name="connsiteX19" fmla="*/ 472 w 10000"/>
                <a:gd name="connsiteY19" fmla="*/ 8203 h 10000"/>
                <a:gd name="connsiteX20" fmla="*/ 353 w 10000"/>
                <a:gd name="connsiteY20" fmla="*/ 8260 h 10000"/>
                <a:gd name="connsiteX21" fmla="*/ 372 w 10000"/>
                <a:gd name="connsiteY21" fmla="*/ 8370 h 10000"/>
                <a:gd name="connsiteX22" fmla="*/ 326 w 10000"/>
                <a:gd name="connsiteY22" fmla="*/ 8456 h 10000"/>
                <a:gd name="connsiteX23" fmla="*/ 467 w 10000"/>
                <a:gd name="connsiteY23" fmla="*/ 8464 h 10000"/>
                <a:gd name="connsiteX24" fmla="*/ 606 w 10000"/>
                <a:gd name="connsiteY24" fmla="*/ 8792 h 10000"/>
                <a:gd name="connsiteX25" fmla="*/ 766 w 10000"/>
                <a:gd name="connsiteY25" fmla="*/ 8876 h 10000"/>
                <a:gd name="connsiteX26" fmla="*/ 835 w 10000"/>
                <a:gd name="connsiteY26" fmla="*/ 8965 h 10000"/>
                <a:gd name="connsiteX27" fmla="*/ 1009 w 10000"/>
                <a:gd name="connsiteY27" fmla="*/ 9030 h 10000"/>
                <a:gd name="connsiteX28" fmla="*/ 1120 w 10000"/>
                <a:gd name="connsiteY28" fmla="*/ 9112 h 10000"/>
                <a:gd name="connsiteX29" fmla="*/ 1106 w 10000"/>
                <a:gd name="connsiteY29" fmla="*/ 9171 h 10000"/>
                <a:gd name="connsiteX30" fmla="*/ 996 w 10000"/>
                <a:gd name="connsiteY30" fmla="*/ 9193 h 10000"/>
                <a:gd name="connsiteX31" fmla="*/ 876 w 10000"/>
                <a:gd name="connsiteY31" fmla="*/ 9179 h 10000"/>
                <a:gd name="connsiteX32" fmla="*/ 839 w 10000"/>
                <a:gd name="connsiteY32" fmla="*/ 9204 h 10000"/>
                <a:gd name="connsiteX33" fmla="*/ 931 w 10000"/>
                <a:gd name="connsiteY33" fmla="*/ 9332 h 10000"/>
                <a:gd name="connsiteX34" fmla="*/ 802 w 10000"/>
                <a:gd name="connsiteY34" fmla="*/ 9322 h 10000"/>
                <a:gd name="connsiteX35" fmla="*/ 693 w 10000"/>
                <a:gd name="connsiteY35" fmla="*/ 9291 h 10000"/>
                <a:gd name="connsiteX36" fmla="*/ 673 w 10000"/>
                <a:gd name="connsiteY36" fmla="*/ 9338 h 10000"/>
                <a:gd name="connsiteX37" fmla="*/ 1036 w 10000"/>
                <a:gd name="connsiteY37" fmla="*/ 9776 h 10000"/>
                <a:gd name="connsiteX38" fmla="*/ 978 w 10000"/>
                <a:gd name="connsiteY38" fmla="*/ 9817 h 10000"/>
                <a:gd name="connsiteX39" fmla="*/ 937 w 10000"/>
                <a:gd name="connsiteY39" fmla="*/ 9902 h 10000"/>
                <a:gd name="connsiteX40" fmla="*/ 886 w 10000"/>
                <a:gd name="connsiteY40" fmla="*/ 9908 h 10000"/>
                <a:gd name="connsiteX41" fmla="*/ 853 w 10000"/>
                <a:gd name="connsiteY41" fmla="*/ 9945 h 10000"/>
                <a:gd name="connsiteX42" fmla="*/ 1072 w 10000"/>
                <a:gd name="connsiteY42" fmla="*/ 9949 h 10000"/>
                <a:gd name="connsiteX43" fmla="*/ 1266 w 10000"/>
                <a:gd name="connsiteY43" fmla="*/ 9986 h 10000"/>
                <a:gd name="connsiteX44" fmla="*/ 1587 w 10000"/>
                <a:gd name="connsiteY44" fmla="*/ 9947 h 10000"/>
                <a:gd name="connsiteX45" fmla="*/ 1876 w 10000"/>
                <a:gd name="connsiteY45" fmla="*/ 9953 h 10000"/>
                <a:gd name="connsiteX46" fmla="*/ 2046 w 10000"/>
                <a:gd name="connsiteY46" fmla="*/ 10000 h 10000"/>
                <a:gd name="connsiteX47" fmla="*/ 2139 w 10000"/>
                <a:gd name="connsiteY47" fmla="*/ 9969 h 10000"/>
                <a:gd name="connsiteX48" fmla="*/ 2229 w 10000"/>
                <a:gd name="connsiteY48" fmla="*/ 9868 h 10000"/>
                <a:gd name="connsiteX49" fmla="*/ 2206 w 10000"/>
                <a:gd name="connsiteY49" fmla="*/ 9703 h 10000"/>
                <a:gd name="connsiteX50" fmla="*/ 2426 w 10000"/>
                <a:gd name="connsiteY50" fmla="*/ 9517 h 10000"/>
                <a:gd name="connsiteX51" fmla="*/ 2587 w 10000"/>
                <a:gd name="connsiteY51" fmla="*/ 9546 h 10000"/>
                <a:gd name="connsiteX52" fmla="*/ 2679 w 10000"/>
                <a:gd name="connsiteY52" fmla="*/ 9472 h 10000"/>
                <a:gd name="connsiteX53" fmla="*/ 2858 w 10000"/>
                <a:gd name="connsiteY53" fmla="*/ 9430 h 10000"/>
                <a:gd name="connsiteX54" fmla="*/ 3101 w 10000"/>
                <a:gd name="connsiteY54" fmla="*/ 9440 h 10000"/>
                <a:gd name="connsiteX55" fmla="*/ 3248 w 10000"/>
                <a:gd name="connsiteY55" fmla="*/ 9470 h 10000"/>
                <a:gd name="connsiteX56" fmla="*/ 3442 w 10000"/>
                <a:gd name="connsiteY56" fmla="*/ 9456 h 10000"/>
                <a:gd name="connsiteX57" fmla="*/ 3638 w 10000"/>
                <a:gd name="connsiteY57" fmla="*/ 9489 h 10000"/>
                <a:gd name="connsiteX58" fmla="*/ 3835 w 10000"/>
                <a:gd name="connsiteY58" fmla="*/ 9493 h 10000"/>
                <a:gd name="connsiteX59" fmla="*/ 4275 w 10000"/>
                <a:gd name="connsiteY59" fmla="*/ 9061 h 10000"/>
                <a:gd name="connsiteX60" fmla="*/ 4386 w 10000"/>
                <a:gd name="connsiteY60" fmla="*/ 8711 h 10000"/>
                <a:gd name="connsiteX61" fmla="*/ 4564 w 10000"/>
                <a:gd name="connsiteY61" fmla="*/ 8554 h 10000"/>
                <a:gd name="connsiteX62" fmla="*/ 4564 w 10000"/>
                <a:gd name="connsiteY62" fmla="*/ 8472 h 10000"/>
                <a:gd name="connsiteX63" fmla="*/ 4500 w 10000"/>
                <a:gd name="connsiteY63" fmla="*/ 8425 h 10000"/>
                <a:gd name="connsiteX64" fmla="*/ 4605 w 10000"/>
                <a:gd name="connsiteY64" fmla="*/ 8352 h 10000"/>
                <a:gd name="connsiteX65" fmla="*/ 4586 w 10000"/>
                <a:gd name="connsiteY65" fmla="*/ 8289 h 10000"/>
                <a:gd name="connsiteX66" fmla="*/ 4514 w 10000"/>
                <a:gd name="connsiteY66" fmla="*/ 8236 h 10000"/>
                <a:gd name="connsiteX67" fmla="*/ 4500 w 10000"/>
                <a:gd name="connsiteY67" fmla="*/ 8199 h 10000"/>
                <a:gd name="connsiteX68" fmla="*/ 4518 w 10000"/>
                <a:gd name="connsiteY68" fmla="*/ 8169 h 10000"/>
                <a:gd name="connsiteX69" fmla="*/ 4615 w 10000"/>
                <a:gd name="connsiteY69" fmla="*/ 8193 h 10000"/>
                <a:gd name="connsiteX70" fmla="*/ 4692 w 10000"/>
                <a:gd name="connsiteY70" fmla="*/ 8191 h 10000"/>
                <a:gd name="connsiteX71" fmla="*/ 4650 w 10000"/>
                <a:gd name="connsiteY71" fmla="*/ 8140 h 10000"/>
                <a:gd name="connsiteX72" fmla="*/ 4664 w 10000"/>
                <a:gd name="connsiteY72" fmla="*/ 8112 h 10000"/>
                <a:gd name="connsiteX73" fmla="*/ 4720 w 10000"/>
                <a:gd name="connsiteY73" fmla="*/ 8069 h 10000"/>
                <a:gd name="connsiteX74" fmla="*/ 4711 w 10000"/>
                <a:gd name="connsiteY74" fmla="*/ 8034 h 10000"/>
                <a:gd name="connsiteX75" fmla="*/ 4762 w 10000"/>
                <a:gd name="connsiteY75" fmla="*/ 7916 h 10000"/>
                <a:gd name="connsiteX76" fmla="*/ 4749 w 10000"/>
                <a:gd name="connsiteY76" fmla="*/ 7881 h 10000"/>
                <a:gd name="connsiteX77" fmla="*/ 4482 w 10000"/>
                <a:gd name="connsiteY77" fmla="*/ 7792 h 10000"/>
                <a:gd name="connsiteX78" fmla="*/ 4518 w 10000"/>
                <a:gd name="connsiteY78" fmla="*/ 7788 h 10000"/>
                <a:gd name="connsiteX79" fmla="*/ 4660 w 10000"/>
                <a:gd name="connsiteY79" fmla="*/ 7812 h 10000"/>
                <a:gd name="connsiteX80" fmla="*/ 4813 w 10000"/>
                <a:gd name="connsiteY80" fmla="*/ 7804 h 10000"/>
                <a:gd name="connsiteX81" fmla="*/ 4858 w 10000"/>
                <a:gd name="connsiteY81" fmla="*/ 7771 h 10000"/>
                <a:gd name="connsiteX82" fmla="*/ 4711 w 10000"/>
                <a:gd name="connsiteY82" fmla="*/ 7710 h 10000"/>
                <a:gd name="connsiteX83" fmla="*/ 4271 w 10000"/>
                <a:gd name="connsiteY83" fmla="*/ 7670 h 10000"/>
                <a:gd name="connsiteX84" fmla="*/ 4301 w 10000"/>
                <a:gd name="connsiteY84" fmla="*/ 7651 h 10000"/>
                <a:gd name="connsiteX85" fmla="*/ 4660 w 10000"/>
                <a:gd name="connsiteY85" fmla="*/ 7639 h 10000"/>
                <a:gd name="connsiteX86" fmla="*/ 4858 w 10000"/>
                <a:gd name="connsiteY86" fmla="*/ 7676 h 10000"/>
                <a:gd name="connsiteX87" fmla="*/ 4972 w 10000"/>
                <a:gd name="connsiteY87" fmla="*/ 7651 h 10000"/>
                <a:gd name="connsiteX88" fmla="*/ 5014 w 10000"/>
                <a:gd name="connsiteY88" fmla="*/ 7588 h 10000"/>
                <a:gd name="connsiteX89" fmla="*/ 5220 w 10000"/>
                <a:gd name="connsiteY89" fmla="*/ 7588 h 10000"/>
                <a:gd name="connsiteX90" fmla="*/ 5500 w 10000"/>
                <a:gd name="connsiteY90" fmla="*/ 7462 h 10000"/>
                <a:gd name="connsiteX91" fmla="*/ 5510 w 10000"/>
                <a:gd name="connsiteY91" fmla="*/ 7378 h 10000"/>
                <a:gd name="connsiteX92" fmla="*/ 5628 w 10000"/>
                <a:gd name="connsiteY92" fmla="*/ 7397 h 10000"/>
                <a:gd name="connsiteX93" fmla="*/ 5624 w 10000"/>
                <a:gd name="connsiteY93" fmla="*/ 7482 h 10000"/>
                <a:gd name="connsiteX94" fmla="*/ 5812 w 10000"/>
                <a:gd name="connsiteY94" fmla="*/ 7476 h 10000"/>
                <a:gd name="connsiteX95" fmla="*/ 5935 w 10000"/>
                <a:gd name="connsiteY95" fmla="*/ 7388 h 10000"/>
                <a:gd name="connsiteX96" fmla="*/ 6166 w 10000"/>
                <a:gd name="connsiteY96" fmla="*/ 7309 h 10000"/>
                <a:gd name="connsiteX97" fmla="*/ 6128 w 10000"/>
                <a:gd name="connsiteY97" fmla="*/ 7219 h 10000"/>
                <a:gd name="connsiteX98" fmla="*/ 6197 w 10000"/>
                <a:gd name="connsiteY98" fmla="*/ 7254 h 10000"/>
                <a:gd name="connsiteX99" fmla="*/ 6302 w 10000"/>
                <a:gd name="connsiteY99" fmla="*/ 7254 h 10000"/>
                <a:gd name="connsiteX100" fmla="*/ 6302 w 10000"/>
                <a:gd name="connsiteY100" fmla="*/ 7213 h 10000"/>
                <a:gd name="connsiteX101" fmla="*/ 6400 w 10000"/>
                <a:gd name="connsiteY101" fmla="*/ 7181 h 10000"/>
                <a:gd name="connsiteX102" fmla="*/ 6386 w 10000"/>
                <a:gd name="connsiteY102" fmla="*/ 7148 h 10000"/>
                <a:gd name="connsiteX103" fmla="*/ 5560 w 10000"/>
                <a:gd name="connsiteY103" fmla="*/ 7215 h 10000"/>
                <a:gd name="connsiteX104" fmla="*/ 5367 w 10000"/>
                <a:gd name="connsiteY104" fmla="*/ 7195 h 10000"/>
                <a:gd name="connsiteX105" fmla="*/ 5289 w 10000"/>
                <a:gd name="connsiteY105" fmla="*/ 7219 h 10000"/>
                <a:gd name="connsiteX106" fmla="*/ 5262 w 10000"/>
                <a:gd name="connsiteY106" fmla="*/ 7173 h 10000"/>
                <a:gd name="connsiteX107" fmla="*/ 5170 w 10000"/>
                <a:gd name="connsiteY107" fmla="*/ 7132 h 10000"/>
                <a:gd name="connsiteX108" fmla="*/ 4802 w 10000"/>
                <a:gd name="connsiteY108" fmla="*/ 7052 h 10000"/>
                <a:gd name="connsiteX109" fmla="*/ 4586 w 10000"/>
                <a:gd name="connsiteY109" fmla="*/ 7065 h 10000"/>
                <a:gd name="connsiteX110" fmla="*/ 4500 w 10000"/>
                <a:gd name="connsiteY110" fmla="*/ 7042 h 10000"/>
                <a:gd name="connsiteX111" fmla="*/ 4591 w 10000"/>
                <a:gd name="connsiteY111" fmla="*/ 7022 h 10000"/>
                <a:gd name="connsiteX112" fmla="*/ 4660 w 10000"/>
                <a:gd name="connsiteY112" fmla="*/ 6979 h 10000"/>
                <a:gd name="connsiteX113" fmla="*/ 4762 w 10000"/>
                <a:gd name="connsiteY113" fmla="*/ 6993 h 10000"/>
                <a:gd name="connsiteX114" fmla="*/ 4885 w 10000"/>
                <a:gd name="connsiteY114" fmla="*/ 6981 h 10000"/>
                <a:gd name="connsiteX115" fmla="*/ 5069 w 10000"/>
                <a:gd name="connsiteY115" fmla="*/ 6995 h 10000"/>
                <a:gd name="connsiteX116" fmla="*/ 5091 w 10000"/>
                <a:gd name="connsiteY116" fmla="*/ 6989 h 10000"/>
                <a:gd name="connsiteX117" fmla="*/ 5234 w 10000"/>
                <a:gd name="connsiteY117" fmla="*/ 7056 h 10000"/>
                <a:gd name="connsiteX118" fmla="*/ 5339 w 10000"/>
                <a:gd name="connsiteY118" fmla="*/ 7032 h 10000"/>
                <a:gd name="connsiteX119" fmla="*/ 5347 w 10000"/>
                <a:gd name="connsiteY119" fmla="*/ 7010 h 10000"/>
                <a:gd name="connsiteX120" fmla="*/ 5445 w 10000"/>
                <a:gd name="connsiteY120" fmla="*/ 7048 h 10000"/>
                <a:gd name="connsiteX121" fmla="*/ 5573 w 10000"/>
                <a:gd name="connsiteY121" fmla="*/ 7069 h 10000"/>
                <a:gd name="connsiteX122" fmla="*/ 5624 w 10000"/>
                <a:gd name="connsiteY122" fmla="*/ 7030 h 10000"/>
                <a:gd name="connsiteX123" fmla="*/ 5665 w 10000"/>
                <a:gd name="connsiteY123" fmla="*/ 7052 h 10000"/>
                <a:gd name="connsiteX124" fmla="*/ 5724 w 10000"/>
                <a:gd name="connsiteY124" fmla="*/ 7126 h 10000"/>
                <a:gd name="connsiteX125" fmla="*/ 5848 w 10000"/>
                <a:gd name="connsiteY125" fmla="*/ 7144 h 10000"/>
                <a:gd name="connsiteX126" fmla="*/ 6353 w 10000"/>
                <a:gd name="connsiteY126" fmla="*/ 7034 h 10000"/>
                <a:gd name="connsiteX127" fmla="*/ 6601 w 10000"/>
                <a:gd name="connsiteY127" fmla="*/ 6879 h 10000"/>
                <a:gd name="connsiteX128" fmla="*/ 6660 w 10000"/>
                <a:gd name="connsiteY128" fmla="*/ 6765 h 10000"/>
                <a:gd name="connsiteX129" fmla="*/ 6570 w 10000"/>
                <a:gd name="connsiteY129" fmla="*/ 6663 h 10000"/>
                <a:gd name="connsiteX130" fmla="*/ 6381 w 10000"/>
                <a:gd name="connsiteY130" fmla="*/ 6602 h 10000"/>
                <a:gd name="connsiteX131" fmla="*/ 6247 w 10000"/>
                <a:gd name="connsiteY131" fmla="*/ 6502 h 10000"/>
                <a:gd name="connsiteX132" fmla="*/ 6372 w 10000"/>
                <a:gd name="connsiteY132" fmla="*/ 6498 h 10000"/>
                <a:gd name="connsiteX133" fmla="*/ 6363 w 10000"/>
                <a:gd name="connsiteY133" fmla="*/ 6474 h 10000"/>
                <a:gd name="connsiteX134" fmla="*/ 6038 w 10000"/>
                <a:gd name="connsiteY134" fmla="*/ 6403 h 10000"/>
                <a:gd name="connsiteX135" fmla="*/ 6025 w 10000"/>
                <a:gd name="connsiteY135" fmla="*/ 6339 h 10000"/>
                <a:gd name="connsiteX136" fmla="*/ 5962 w 10000"/>
                <a:gd name="connsiteY136" fmla="*/ 6272 h 10000"/>
                <a:gd name="connsiteX137" fmla="*/ 5706 w 10000"/>
                <a:gd name="connsiteY137" fmla="*/ 6284 h 10000"/>
                <a:gd name="connsiteX138" fmla="*/ 5614 w 10000"/>
                <a:gd name="connsiteY138" fmla="*/ 6213 h 10000"/>
                <a:gd name="connsiteX139" fmla="*/ 5560 w 10000"/>
                <a:gd name="connsiteY139" fmla="*/ 6209 h 10000"/>
                <a:gd name="connsiteX140" fmla="*/ 5560 w 10000"/>
                <a:gd name="connsiteY140" fmla="*/ 6238 h 10000"/>
                <a:gd name="connsiteX141" fmla="*/ 5445 w 10000"/>
                <a:gd name="connsiteY141" fmla="*/ 6358 h 10000"/>
                <a:gd name="connsiteX142" fmla="*/ 5320 w 10000"/>
                <a:gd name="connsiteY142" fmla="*/ 6429 h 10000"/>
                <a:gd name="connsiteX143" fmla="*/ 4930 w 10000"/>
                <a:gd name="connsiteY143" fmla="*/ 6551 h 10000"/>
                <a:gd name="connsiteX144" fmla="*/ 4793 w 10000"/>
                <a:gd name="connsiteY144" fmla="*/ 6547 h 10000"/>
                <a:gd name="connsiteX145" fmla="*/ 4605 w 10000"/>
                <a:gd name="connsiteY145" fmla="*/ 6565 h 10000"/>
                <a:gd name="connsiteX146" fmla="*/ 4500 w 10000"/>
                <a:gd name="connsiteY146" fmla="*/ 6547 h 10000"/>
                <a:gd name="connsiteX147" fmla="*/ 4637 w 10000"/>
                <a:gd name="connsiteY147" fmla="*/ 6513 h 10000"/>
                <a:gd name="connsiteX148" fmla="*/ 4817 w 10000"/>
                <a:gd name="connsiteY148" fmla="*/ 6498 h 10000"/>
                <a:gd name="connsiteX149" fmla="*/ 4964 w 10000"/>
                <a:gd name="connsiteY149" fmla="*/ 6441 h 10000"/>
                <a:gd name="connsiteX150" fmla="*/ 5109 w 10000"/>
                <a:gd name="connsiteY150" fmla="*/ 6415 h 10000"/>
                <a:gd name="connsiteX151" fmla="*/ 5381 w 10000"/>
                <a:gd name="connsiteY151" fmla="*/ 6317 h 10000"/>
                <a:gd name="connsiteX152" fmla="*/ 5432 w 10000"/>
                <a:gd name="connsiteY152" fmla="*/ 6252 h 10000"/>
                <a:gd name="connsiteX153" fmla="*/ 5436 w 10000"/>
                <a:gd name="connsiteY153" fmla="*/ 6168 h 10000"/>
                <a:gd name="connsiteX154" fmla="*/ 5312 w 10000"/>
                <a:gd name="connsiteY154" fmla="*/ 6154 h 10000"/>
                <a:gd name="connsiteX155" fmla="*/ 5367 w 10000"/>
                <a:gd name="connsiteY155" fmla="*/ 6103 h 10000"/>
                <a:gd name="connsiteX156" fmla="*/ 5385 w 10000"/>
                <a:gd name="connsiteY156" fmla="*/ 6038 h 10000"/>
                <a:gd name="connsiteX157" fmla="*/ 5333 w 10000"/>
                <a:gd name="connsiteY157" fmla="*/ 5977 h 10000"/>
                <a:gd name="connsiteX158" fmla="*/ 5302 w 10000"/>
                <a:gd name="connsiteY158" fmla="*/ 5533 h 10000"/>
                <a:gd name="connsiteX159" fmla="*/ 5377 w 10000"/>
                <a:gd name="connsiteY159" fmla="*/ 5437 h 10000"/>
                <a:gd name="connsiteX160" fmla="*/ 5358 w 10000"/>
                <a:gd name="connsiteY160" fmla="*/ 5398 h 10000"/>
                <a:gd name="connsiteX161" fmla="*/ 5573 w 10000"/>
                <a:gd name="connsiteY161" fmla="*/ 5455 h 10000"/>
                <a:gd name="connsiteX162" fmla="*/ 5587 w 10000"/>
                <a:gd name="connsiteY162" fmla="*/ 5402 h 10000"/>
                <a:gd name="connsiteX163" fmla="*/ 5541 w 10000"/>
                <a:gd name="connsiteY163" fmla="*/ 5264 h 10000"/>
                <a:gd name="connsiteX164" fmla="*/ 5696 w 10000"/>
                <a:gd name="connsiteY164" fmla="*/ 5019 h 10000"/>
                <a:gd name="connsiteX165" fmla="*/ 5601 w 10000"/>
                <a:gd name="connsiteY165" fmla="*/ 4960 h 10000"/>
                <a:gd name="connsiteX166" fmla="*/ 5564 w 10000"/>
                <a:gd name="connsiteY166" fmla="*/ 4905 h 10000"/>
                <a:gd name="connsiteX167" fmla="*/ 5577 w 10000"/>
                <a:gd name="connsiteY167" fmla="*/ 4816 h 10000"/>
                <a:gd name="connsiteX168" fmla="*/ 5804 w 10000"/>
                <a:gd name="connsiteY168" fmla="*/ 4875 h 10000"/>
                <a:gd name="connsiteX169" fmla="*/ 5812 w 10000"/>
                <a:gd name="connsiteY169" fmla="*/ 4858 h 10000"/>
                <a:gd name="connsiteX170" fmla="*/ 5875 w 10000"/>
                <a:gd name="connsiteY170" fmla="*/ 4842 h 10000"/>
                <a:gd name="connsiteX171" fmla="*/ 5962 w 10000"/>
                <a:gd name="connsiteY171" fmla="*/ 4785 h 10000"/>
                <a:gd name="connsiteX172" fmla="*/ 5976 w 10000"/>
                <a:gd name="connsiteY172" fmla="*/ 4769 h 10000"/>
                <a:gd name="connsiteX173" fmla="*/ 5958 w 10000"/>
                <a:gd name="connsiteY173" fmla="*/ 4748 h 10000"/>
                <a:gd name="connsiteX174" fmla="*/ 6004 w 10000"/>
                <a:gd name="connsiteY174" fmla="*/ 4647 h 10000"/>
                <a:gd name="connsiteX175" fmla="*/ 5949 w 10000"/>
                <a:gd name="connsiteY175" fmla="*/ 4581 h 10000"/>
                <a:gd name="connsiteX176" fmla="*/ 5958 w 10000"/>
                <a:gd name="connsiteY176" fmla="*/ 4528 h 10000"/>
                <a:gd name="connsiteX177" fmla="*/ 5990 w 10000"/>
                <a:gd name="connsiteY177" fmla="*/ 4590 h 10000"/>
                <a:gd name="connsiteX178" fmla="*/ 6114 w 10000"/>
                <a:gd name="connsiteY178" fmla="*/ 4636 h 10000"/>
                <a:gd name="connsiteX179" fmla="*/ 6166 w 10000"/>
                <a:gd name="connsiteY179" fmla="*/ 4630 h 10000"/>
                <a:gd name="connsiteX180" fmla="*/ 6247 w 10000"/>
                <a:gd name="connsiteY180" fmla="*/ 4569 h 10000"/>
                <a:gd name="connsiteX181" fmla="*/ 6335 w 10000"/>
                <a:gd name="connsiteY181" fmla="*/ 4594 h 10000"/>
                <a:gd name="connsiteX182" fmla="*/ 6359 w 10000"/>
                <a:gd name="connsiteY182" fmla="*/ 4545 h 10000"/>
                <a:gd name="connsiteX183" fmla="*/ 6418 w 10000"/>
                <a:gd name="connsiteY183" fmla="*/ 4512 h 10000"/>
                <a:gd name="connsiteX184" fmla="*/ 6256 w 10000"/>
                <a:gd name="connsiteY184" fmla="*/ 4477 h 10000"/>
                <a:gd name="connsiteX185" fmla="*/ 6372 w 10000"/>
                <a:gd name="connsiteY185" fmla="*/ 4484 h 10000"/>
                <a:gd name="connsiteX186" fmla="*/ 6490 w 10000"/>
                <a:gd name="connsiteY186" fmla="*/ 4447 h 10000"/>
                <a:gd name="connsiteX187" fmla="*/ 6486 w 10000"/>
                <a:gd name="connsiteY187" fmla="*/ 4422 h 10000"/>
                <a:gd name="connsiteX188" fmla="*/ 6597 w 10000"/>
                <a:gd name="connsiteY188" fmla="*/ 4398 h 10000"/>
                <a:gd name="connsiteX189" fmla="*/ 6606 w 10000"/>
                <a:gd name="connsiteY189" fmla="*/ 4337 h 10000"/>
                <a:gd name="connsiteX190" fmla="*/ 6693 w 10000"/>
                <a:gd name="connsiteY190" fmla="*/ 4325 h 10000"/>
                <a:gd name="connsiteX191" fmla="*/ 6701 w 10000"/>
                <a:gd name="connsiteY191" fmla="*/ 4253 h 10000"/>
                <a:gd name="connsiteX192" fmla="*/ 6793 w 10000"/>
                <a:gd name="connsiteY192" fmla="*/ 4245 h 10000"/>
                <a:gd name="connsiteX193" fmla="*/ 6935 w 10000"/>
                <a:gd name="connsiteY193" fmla="*/ 4260 h 10000"/>
                <a:gd name="connsiteX194" fmla="*/ 7091 w 10000"/>
                <a:gd name="connsiteY194" fmla="*/ 4202 h 10000"/>
                <a:gd name="connsiteX195" fmla="*/ 7146 w 10000"/>
                <a:gd name="connsiteY195" fmla="*/ 4137 h 10000"/>
                <a:gd name="connsiteX196" fmla="*/ 7339 w 10000"/>
                <a:gd name="connsiteY196" fmla="*/ 4070 h 10000"/>
                <a:gd name="connsiteX197" fmla="*/ 7435 w 10000"/>
                <a:gd name="connsiteY197" fmla="*/ 4111 h 10000"/>
                <a:gd name="connsiteX198" fmla="*/ 7582 w 10000"/>
                <a:gd name="connsiteY198" fmla="*/ 4066 h 10000"/>
                <a:gd name="connsiteX199" fmla="*/ 7618 w 10000"/>
                <a:gd name="connsiteY199" fmla="*/ 4009 h 10000"/>
                <a:gd name="connsiteX200" fmla="*/ 7729 w 10000"/>
                <a:gd name="connsiteY200" fmla="*/ 3970 h 10000"/>
                <a:gd name="connsiteX201" fmla="*/ 7825 w 10000"/>
                <a:gd name="connsiteY201" fmla="*/ 3987 h 10000"/>
                <a:gd name="connsiteX202" fmla="*/ 7884 w 10000"/>
                <a:gd name="connsiteY202" fmla="*/ 3958 h 10000"/>
                <a:gd name="connsiteX203" fmla="*/ 8050 w 10000"/>
                <a:gd name="connsiteY203" fmla="*/ 3917 h 10000"/>
                <a:gd name="connsiteX204" fmla="*/ 8118 w 10000"/>
                <a:gd name="connsiteY204" fmla="*/ 3864 h 10000"/>
                <a:gd name="connsiteX205" fmla="*/ 8211 w 10000"/>
                <a:gd name="connsiteY205" fmla="*/ 3842 h 10000"/>
                <a:gd name="connsiteX206" fmla="*/ 8720 w 10000"/>
                <a:gd name="connsiteY206" fmla="*/ 3522 h 10000"/>
                <a:gd name="connsiteX207" fmla="*/ 10000 w 10000"/>
                <a:gd name="connsiteY207" fmla="*/ 831 h 10000"/>
                <a:gd name="connsiteX208" fmla="*/ 9559 w 10000"/>
                <a:gd name="connsiteY208" fmla="*/ 517 h 10000"/>
                <a:gd name="connsiteX209" fmla="*/ 9344 w 10000"/>
                <a:gd name="connsiteY209" fmla="*/ 440 h 10000"/>
                <a:gd name="connsiteX210" fmla="*/ 8945 w 10000"/>
                <a:gd name="connsiteY210" fmla="*/ 389 h 10000"/>
                <a:gd name="connsiteX211" fmla="*/ 8118 w 10000"/>
                <a:gd name="connsiteY211" fmla="*/ 26 h 10000"/>
                <a:gd name="connsiteX212" fmla="*/ 8091 w 10000"/>
                <a:gd name="connsiteY212" fmla="*/ 2 h 10000"/>
                <a:gd name="connsiteX213" fmla="*/ 7811 w 10000"/>
                <a:gd name="connsiteY213" fmla="*/ 0 h 10000"/>
                <a:gd name="connsiteX214" fmla="*/ 7748 w 10000"/>
                <a:gd name="connsiteY214" fmla="*/ 14 h 10000"/>
                <a:gd name="connsiteX215" fmla="*/ 7762 w 10000"/>
                <a:gd name="connsiteY215" fmla="*/ 61 h 10000"/>
                <a:gd name="connsiteX216" fmla="*/ 7816 w 10000"/>
                <a:gd name="connsiteY216" fmla="*/ 86 h 10000"/>
                <a:gd name="connsiteX217" fmla="*/ 7831 w 10000"/>
                <a:gd name="connsiteY217" fmla="*/ 139 h 10000"/>
                <a:gd name="connsiteX218" fmla="*/ 7811 w 10000"/>
                <a:gd name="connsiteY218" fmla="*/ 181 h 10000"/>
                <a:gd name="connsiteX219" fmla="*/ 7762 w 10000"/>
                <a:gd name="connsiteY219" fmla="*/ 208 h 10000"/>
                <a:gd name="connsiteX220" fmla="*/ 7724 w 10000"/>
                <a:gd name="connsiteY220" fmla="*/ 283 h 10000"/>
                <a:gd name="connsiteX221" fmla="*/ 7656 w 10000"/>
                <a:gd name="connsiteY221" fmla="*/ 336 h 10000"/>
                <a:gd name="connsiteX222" fmla="*/ 7670 w 10000"/>
                <a:gd name="connsiteY222" fmla="*/ 387 h 10000"/>
                <a:gd name="connsiteX223" fmla="*/ 7775 w 10000"/>
                <a:gd name="connsiteY223" fmla="*/ 434 h 10000"/>
                <a:gd name="connsiteX224" fmla="*/ 7706 w 10000"/>
                <a:gd name="connsiteY224" fmla="*/ 475 h 10000"/>
                <a:gd name="connsiteX225" fmla="*/ 7605 w 10000"/>
                <a:gd name="connsiteY225" fmla="*/ 485 h 10000"/>
                <a:gd name="connsiteX226" fmla="*/ 6761 w 10000"/>
                <a:gd name="connsiteY226" fmla="*/ 387 h 10000"/>
                <a:gd name="connsiteX227" fmla="*/ 6660 w 10000"/>
                <a:gd name="connsiteY227" fmla="*/ 395 h 10000"/>
                <a:gd name="connsiteX228" fmla="*/ 6601 w 10000"/>
                <a:gd name="connsiteY228" fmla="*/ 414 h 10000"/>
                <a:gd name="connsiteX229" fmla="*/ 6540 w 10000"/>
                <a:gd name="connsiteY229" fmla="*/ 462 h 10000"/>
                <a:gd name="connsiteX230" fmla="*/ 6551 w 10000"/>
                <a:gd name="connsiteY230" fmla="*/ 581 h 10000"/>
                <a:gd name="connsiteX231" fmla="*/ 6458 w 10000"/>
                <a:gd name="connsiteY231" fmla="*/ 735 h 10000"/>
                <a:gd name="connsiteX232" fmla="*/ 6344 w 10000"/>
                <a:gd name="connsiteY232" fmla="*/ 815 h 10000"/>
                <a:gd name="connsiteX233" fmla="*/ 6298 w 10000"/>
                <a:gd name="connsiteY233" fmla="*/ 805 h 10000"/>
                <a:gd name="connsiteX234" fmla="*/ 6193 w 10000"/>
                <a:gd name="connsiteY234" fmla="*/ 739 h 10000"/>
                <a:gd name="connsiteX235" fmla="*/ 6060 w 10000"/>
                <a:gd name="connsiteY235" fmla="*/ 705 h 10000"/>
                <a:gd name="connsiteX236" fmla="*/ 5916 w 10000"/>
                <a:gd name="connsiteY236" fmla="*/ 715 h 10000"/>
                <a:gd name="connsiteX237" fmla="*/ 5583 w 10000"/>
                <a:gd name="connsiteY237" fmla="*/ 866 h 10000"/>
                <a:gd name="connsiteX238" fmla="*/ 5495 w 10000"/>
                <a:gd name="connsiteY238" fmla="*/ 1017 h 10000"/>
                <a:gd name="connsiteX239" fmla="*/ 5244 w 10000"/>
                <a:gd name="connsiteY239" fmla="*/ 1153 h 10000"/>
                <a:gd name="connsiteX240" fmla="*/ 5198 w 10000"/>
                <a:gd name="connsiteY240" fmla="*/ 1222 h 10000"/>
                <a:gd name="connsiteX241" fmla="*/ 5329 w 10000"/>
                <a:gd name="connsiteY241" fmla="*/ 1344 h 10000"/>
                <a:gd name="connsiteX242" fmla="*/ 5343 w 10000"/>
                <a:gd name="connsiteY242" fmla="*/ 1412 h 10000"/>
                <a:gd name="connsiteX243" fmla="*/ 4656 w 10000"/>
                <a:gd name="connsiteY243" fmla="*/ 1813 h 10000"/>
                <a:gd name="connsiteX244" fmla="*/ 4445 w 10000"/>
                <a:gd name="connsiteY244" fmla="*/ 2070 h 10000"/>
                <a:gd name="connsiteX245" fmla="*/ 4217 w 10000"/>
                <a:gd name="connsiteY245" fmla="*/ 2135 h 10000"/>
                <a:gd name="connsiteX246" fmla="*/ 4073 w 10000"/>
                <a:gd name="connsiteY246" fmla="*/ 2131 h 10000"/>
                <a:gd name="connsiteX247" fmla="*/ 3986 w 10000"/>
                <a:gd name="connsiteY247" fmla="*/ 2153 h 10000"/>
                <a:gd name="connsiteX248" fmla="*/ 3748 w 10000"/>
                <a:gd name="connsiteY248" fmla="*/ 2793 h 10000"/>
                <a:gd name="connsiteX249" fmla="*/ 3198 w 10000"/>
                <a:gd name="connsiteY249" fmla="*/ 3166 h 10000"/>
                <a:gd name="connsiteX250" fmla="*/ 3202 w 10000"/>
                <a:gd name="connsiteY250" fmla="*/ 3225 h 10000"/>
                <a:gd name="connsiteX251" fmla="*/ 3446 w 10000"/>
                <a:gd name="connsiteY251" fmla="*/ 3392 h 10000"/>
                <a:gd name="connsiteX252" fmla="*/ 3367 w 10000"/>
                <a:gd name="connsiteY252" fmla="*/ 3573 h 10000"/>
                <a:gd name="connsiteX253" fmla="*/ 3224 w 10000"/>
                <a:gd name="connsiteY253" fmla="*/ 3640 h 10000"/>
                <a:gd name="connsiteX254" fmla="*/ 2798 w 10000"/>
                <a:gd name="connsiteY254" fmla="*/ 3595 h 10000"/>
                <a:gd name="connsiteX255" fmla="*/ 2504 w 10000"/>
                <a:gd name="connsiteY255" fmla="*/ 3620 h 10000"/>
                <a:gd name="connsiteX256" fmla="*/ 2267 w 10000"/>
                <a:gd name="connsiteY256" fmla="*/ 3673 h 10000"/>
                <a:gd name="connsiteX257" fmla="*/ 1886 w 10000"/>
                <a:gd name="connsiteY257" fmla="*/ 3840 h 10000"/>
                <a:gd name="connsiteX258" fmla="*/ 1683 w 10000"/>
                <a:gd name="connsiteY258" fmla="*/ 4042 h 10000"/>
                <a:gd name="connsiteX259" fmla="*/ 1701 w 10000"/>
                <a:gd name="connsiteY259" fmla="*/ 4154 h 10000"/>
                <a:gd name="connsiteX260" fmla="*/ 1771 w 10000"/>
                <a:gd name="connsiteY260" fmla="*/ 4241 h 10000"/>
                <a:gd name="connsiteX261" fmla="*/ 1825 w 10000"/>
                <a:gd name="connsiteY261" fmla="*/ 4276 h 10000"/>
                <a:gd name="connsiteX262" fmla="*/ 1725 w 10000"/>
                <a:gd name="connsiteY262" fmla="*/ 4331 h 10000"/>
                <a:gd name="connsiteX263" fmla="*/ 1510 w 10000"/>
                <a:gd name="connsiteY263" fmla="*/ 4710 h 10000"/>
                <a:gd name="connsiteX264" fmla="*/ 1551 w 10000"/>
                <a:gd name="connsiteY264" fmla="*/ 4732 h 10000"/>
                <a:gd name="connsiteX265" fmla="*/ 1583 w 10000"/>
                <a:gd name="connsiteY265" fmla="*/ 4828 h 10000"/>
                <a:gd name="connsiteX266" fmla="*/ 1482 w 10000"/>
                <a:gd name="connsiteY266" fmla="*/ 5227 h 10000"/>
                <a:gd name="connsiteX267" fmla="*/ 1583 w 10000"/>
                <a:gd name="connsiteY267" fmla="*/ 5329 h 10000"/>
                <a:gd name="connsiteX268" fmla="*/ 1857 w 10000"/>
                <a:gd name="connsiteY268" fmla="*/ 5441 h 10000"/>
                <a:gd name="connsiteX269" fmla="*/ 1871 w 10000"/>
                <a:gd name="connsiteY269" fmla="*/ 5578 h 10000"/>
                <a:gd name="connsiteX270" fmla="*/ 1753 w 10000"/>
                <a:gd name="connsiteY270" fmla="*/ 5690 h 10000"/>
                <a:gd name="connsiteX271" fmla="*/ 1583 w 10000"/>
                <a:gd name="connsiteY271" fmla="*/ 5759 h 10000"/>
                <a:gd name="connsiteX272" fmla="*/ 1357 w 10000"/>
                <a:gd name="connsiteY272" fmla="*/ 5787 h 10000"/>
                <a:gd name="connsiteX273" fmla="*/ 1299 w 10000"/>
                <a:gd name="connsiteY273" fmla="*/ 5826 h 10000"/>
                <a:gd name="connsiteX274" fmla="*/ 1430 w 10000"/>
                <a:gd name="connsiteY274" fmla="*/ 5920 h 10000"/>
                <a:gd name="connsiteX275" fmla="*/ 1506 w 10000"/>
                <a:gd name="connsiteY275" fmla="*/ 6142 h 10000"/>
                <a:gd name="connsiteX276" fmla="*/ 1335 w 10000"/>
                <a:gd name="connsiteY276" fmla="*/ 6333 h 10000"/>
                <a:gd name="connsiteX277" fmla="*/ 1394 w 10000"/>
                <a:gd name="connsiteY277" fmla="*/ 6392 h 10000"/>
                <a:gd name="connsiteX278" fmla="*/ 1340 w 10000"/>
                <a:gd name="connsiteY278" fmla="*/ 6492 h 10000"/>
                <a:gd name="connsiteX279" fmla="*/ 1230 w 10000"/>
                <a:gd name="connsiteY279" fmla="*/ 6561 h 10000"/>
                <a:gd name="connsiteX280" fmla="*/ 798 w 10000"/>
                <a:gd name="connsiteY280" fmla="*/ 6614 h 10000"/>
                <a:gd name="connsiteX281" fmla="*/ 771 w 10000"/>
                <a:gd name="connsiteY281" fmla="*/ 6706 h 10000"/>
                <a:gd name="connsiteX282" fmla="*/ 538 w 10000"/>
                <a:gd name="connsiteY282" fmla="*/ 6843 h 10000"/>
                <a:gd name="connsiteX283" fmla="*/ 569 w 10000"/>
                <a:gd name="connsiteY283" fmla="*/ 7040 h 10000"/>
                <a:gd name="connsiteX284" fmla="*/ 372 w 10000"/>
                <a:gd name="connsiteY284" fmla="*/ 7293 h 10000"/>
                <a:gd name="connsiteX285" fmla="*/ 238 w 10000"/>
                <a:gd name="connsiteY285" fmla="*/ 7323 h 10000"/>
                <a:gd name="connsiteX286" fmla="*/ 184 w 10000"/>
                <a:gd name="connsiteY286" fmla="*/ 7262 h 10000"/>
                <a:gd name="connsiteX287" fmla="*/ 115 w 10000"/>
                <a:gd name="connsiteY287" fmla="*/ 7354 h 10000"/>
                <a:gd name="connsiteX288" fmla="*/ 160 w 10000"/>
                <a:gd name="connsiteY288" fmla="*/ 7197 h 10000"/>
                <a:gd name="connsiteX289" fmla="*/ 132 w 10000"/>
                <a:gd name="connsiteY289" fmla="*/ 7166 h 10000"/>
                <a:gd name="connsiteX0" fmla="*/ 132 w 9559"/>
                <a:gd name="connsiteY0" fmla="*/ 7166 h 10000"/>
                <a:gd name="connsiteX1" fmla="*/ 0 w 9559"/>
                <a:gd name="connsiteY1" fmla="*/ 7248 h 10000"/>
                <a:gd name="connsiteX2" fmla="*/ 0 w 9559"/>
                <a:gd name="connsiteY2" fmla="*/ 7651 h 10000"/>
                <a:gd name="connsiteX3" fmla="*/ 73 w 9559"/>
                <a:gd name="connsiteY3" fmla="*/ 7663 h 10000"/>
                <a:gd name="connsiteX4" fmla="*/ 90 w 9559"/>
                <a:gd name="connsiteY4" fmla="*/ 7694 h 10000"/>
                <a:gd name="connsiteX5" fmla="*/ 86 w 9559"/>
                <a:gd name="connsiteY5" fmla="*/ 7749 h 10000"/>
                <a:gd name="connsiteX6" fmla="*/ 59 w 9559"/>
                <a:gd name="connsiteY6" fmla="*/ 7773 h 10000"/>
                <a:gd name="connsiteX7" fmla="*/ 170 w 9559"/>
                <a:gd name="connsiteY7" fmla="*/ 7727 h 10000"/>
                <a:gd name="connsiteX8" fmla="*/ 217 w 9559"/>
                <a:gd name="connsiteY8" fmla="*/ 7680 h 10000"/>
                <a:gd name="connsiteX9" fmla="*/ 274 w 9559"/>
                <a:gd name="connsiteY9" fmla="*/ 7712 h 10000"/>
                <a:gd name="connsiteX10" fmla="*/ 211 w 9559"/>
                <a:gd name="connsiteY10" fmla="*/ 7778 h 10000"/>
                <a:gd name="connsiteX11" fmla="*/ 279 w 9559"/>
                <a:gd name="connsiteY11" fmla="*/ 7780 h 10000"/>
                <a:gd name="connsiteX12" fmla="*/ 312 w 9559"/>
                <a:gd name="connsiteY12" fmla="*/ 7796 h 10000"/>
                <a:gd name="connsiteX13" fmla="*/ 225 w 9559"/>
                <a:gd name="connsiteY13" fmla="*/ 7818 h 10000"/>
                <a:gd name="connsiteX14" fmla="*/ 86 w 9559"/>
                <a:gd name="connsiteY14" fmla="*/ 7886 h 10000"/>
                <a:gd name="connsiteX15" fmla="*/ 332 w 9559"/>
                <a:gd name="connsiteY15" fmla="*/ 7938 h 10000"/>
                <a:gd name="connsiteX16" fmla="*/ 362 w 9559"/>
                <a:gd name="connsiteY16" fmla="*/ 8014 h 10000"/>
                <a:gd name="connsiteX17" fmla="*/ 279 w 9559"/>
                <a:gd name="connsiteY17" fmla="*/ 8126 h 10000"/>
                <a:gd name="connsiteX18" fmla="*/ 459 w 9559"/>
                <a:gd name="connsiteY18" fmla="*/ 8118 h 10000"/>
                <a:gd name="connsiteX19" fmla="*/ 472 w 9559"/>
                <a:gd name="connsiteY19" fmla="*/ 8203 h 10000"/>
                <a:gd name="connsiteX20" fmla="*/ 353 w 9559"/>
                <a:gd name="connsiteY20" fmla="*/ 8260 h 10000"/>
                <a:gd name="connsiteX21" fmla="*/ 372 w 9559"/>
                <a:gd name="connsiteY21" fmla="*/ 8370 h 10000"/>
                <a:gd name="connsiteX22" fmla="*/ 326 w 9559"/>
                <a:gd name="connsiteY22" fmla="*/ 8456 h 10000"/>
                <a:gd name="connsiteX23" fmla="*/ 467 w 9559"/>
                <a:gd name="connsiteY23" fmla="*/ 8464 h 10000"/>
                <a:gd name="connsiteX24" fmla="*/ 606 w 9559"/>
                <a:gd name="connsiteY24" fmla="*/ 8792 h 10000"/>
                <a:gd name="connsiteX25" fmla="*/ 766 w 9559"/>
                <a:gd name="connsiteY25" fmla="*/ 8876 h 10000"/>
                <a:gd name="connsiteX26" fmla="*/ 835 w 9559"/>
                <a:gd name="connsiteY26" fmla="*/ 8965 h 10000"/>
                <a:gd name="connsiteX27" fmla="*/ 1009 w 9559"/>
                <a:gd name="connsiteY27" fmla="*/ 9030 h 10000"/>
                <a:gd name="connsiteX28" fmla="*/ 1120 w 9559"/>
                <a:gd name="connsiteY28" fmla="*/ 9112 h 10000"/>
                <a:gd name="connsiteX29" fmla="*/ 1106 w 9559"/>
                <a:gd name="connsiteY29" fmla="*/ 9171 h 10000"/>
                <a:gd name="connsiteX30" fmla="*/ 996 w 9559"/>
                <a:gd name="connsiteY30" fmla="*/ 9193 h 10000"/>
                <a:gd name="connsiteX31" fmla="*/ 876 w 9559"/>
                <a:gd name="connsiteY31" fmla="*/ 9179 h 10000"/>
                <a:gd name="connsiteX32" fmla="*/ 839 w 9559"/>
                <a:gd name="connsiteY32" fmla="*/ 9204 h 10000"/>
                <a:gd name="connsiteX33" fmla="*/ 931 w 9559"/>
                <a:gd name="connsiteY33" fmla="*/ 9332 h 10000"/>
                <a:gd name="connsiteX34" fmla="*/ 802 w 9559"/>
                <a:gd name="connsiteY34" fmla="*/ 9322 h 10000"/>
                <a:gd name="connsiteX35" fmla="*/ 693 w 9559"/>
                <a:gd name="connsiteY35" fmla="*/ 9291 h 10000"/>
                <a:gd name="connsiteX36" fmla="*/ 673 w 9559"/>
                <a:gd name="connsiteY36" fmla="*/ 9338 h 10000"/>
                <a:gd name="connsiteX37" fmla="*/ 1036 w 9559"/>
                <a:gd name="connsiteY37" fmla="*/ 9776 h 10000"/>
                <a:gd name="connsiteX38" fmla="*/ 978 w 9559"/>
                <a:gd name="connsiteY38" fmla="*/ 9817 h 10000"/>
                <a:gd name="connsiteX39" fmla="*/ 937 w 9559"/>
                <a:gd name="connsiteY39" fmla="*/ 9902 h 10000"/>
                <a:gd name="connsiteX40" fmla="*/ 886 w 9559"/>
                <a:gd name="connsiteY40" fmla="*/ 9908 h 10000"/>
                <a:gd name="connsiteX41" fmla="*/ 853 w 9559"/>
                <a:gd name="connsiteY41" fmla="*/ 9945 h 10000"/>
                <a:gd name="connsiteX42" fmla="*/ 1072 w 9559"/>
                <a:gd name="connsiteY42" fmla="*/ 9949 h 10000"/>
                <a:gd name="connsiteX43" fmla="*/ 1266 w 9559"/>
                <a:gd name="connsiteY43" fmla="*/ 9986 h 10000"/>
                <a:gd name="connsiteX44" fmla="*/ 1587 w 9559"/>
                <a:gd name="connsiteY44" fmla="*/ 9947 h 10000"/>
                <a:gd name="connsiteX45" fmla="*/ 1876 w 9559"/>
                <a:gd name="connsiteY45" fmla="*/ 9953 h 10000"/>
                <a:gd name="connsiteX46" fmla="*/ 2046 w 9559"/>
                <a:gd name="connsiteY46" fmla="*/ 10000 h 10000"/>
                <a:gd name="connsiteX47" fmla="*/ 2139 w 9559"/>
                <a:gd name="connsiteY47" fmla="*/ 9969 h 10000"/>
                <a:gd name="connsiteX48" fmla="*/ 2229 w 9559"/>
                <a:gd name="connsiteY48" fmla="*/ 9868 h 10000"/>
                <a:gd name="connsiteX49" fmla="*/ 2206 w 9559"/>
                <a:gd name="connsiteY49" fmla="*/ 9703 h 10000"/>
                <a:gd name="connsiteX50" fmla="*/ 2426 w 9559"/>
                <a:gd name="connsiteY50" fmla="*/ 9517 h 10000"/>
                <a:gd name="connsiteX51" fmla="*/ 2587 w 9559"/>
                <a:gd name="connsiteY51" fmla="*/ 9546 h 10000"/>
                <a:gd name="connsiteX52" fmla="*/ 2679 w 9559"/>
                <a:gd name="connsiteY52" fmla="*/ 9472 h 10000"/>
                <a:gd name="connsiteX53" fmla="*/ 2858 w 9559"/>
                <a:gd name="connsiteY53" fmla="*/ 9430 h 10000"/>
                <a:gd name="connsiteX54" fmla="*/ 3101 w 9559"/>
                <a:gd name="connsiteY54" fmla="*/ 9440 h 10000"/>
                <a:gd name="connsiteX55" fmla="*/ 3248 w 9559"/>
                <a:gd name="connsiteY55" fmla="*/ 9470 h 10000"/>
                <a:gd name="connsiteX56" fmla="*/ 3442 w 9559"/>
                <a:gd name="connsiteY56" fmla="*/ 9456 h 10000"/>
                <a:gd name="connsiteX57" fmla="*/ 3638 w 9559"/>
                <a:gd name="connsiteY57" fmla="*/ 9489 h 10000"/>
                <a:gd name="connsiteX58" fmla="*/ 3835 w 9559"/>
                <a:gd name="connsiteY58" fmla="*/ 9493 h 10000"/>
                <a:gd name="connsiteX59" fmla="*/ 4275 w 9559"/>
                <a:gd name="connsiteY59" fmla="*/ 9061 h 10000"/>
                <a:gd name="connsiteX60" fmla="*/ 4386 w 9559"/>
                <a:gd name="connsiteY60" fmla="*/ 8711 h 10000"/>
                <a:gd name="connsiteX61" fmla="*/ 4564 w 9559"/>
                <a:gd name="connsiteY61" fmla="*/ 8554 h 10000"/>
                <a:gd name="connsiteX62" fmla="*/ 4564 w 9559"/>
                <a:gd name="connsiteY62" fmla="*/ 8472 h 10000"/>
                <a:gd name="connsiteX63" fmla="*/ 4500 w 9559"/>
                <a:gd name="connsiteY63" fmla="*/ 8425 h 10000"/>
                <a:gd name="connsiteX64" fmla="*/ 4605 w 9559"/>
                <a:gd name="connsiteY64" fmla="*/ 8352 h 10000"/>
                <a:gd name="connsiteX65" fmla="*/ 4586 w 9559"/>
                <a:gd name="connsiteY65" fmla="*/ 8289 h 10000"/>
                <a:gd name="connsiteX66" fmla="*/ 4514 w 9559"/>
                <a:gd name="connsiteY66" fmla="*/ 8236 h 10000"/>
                <a:gd name="connsiteX67" fmla="*/ 4500 w 9559"/>
                <a:gd name="connsiteY67" fmla="*/ 8199 h 10000"/>
                <a:gd name="connsiteX68" fmla="*/ 4518 w 9559"/>
                <a:gd name="connsiteY68" fmla="*/ 8169 h 10000"/>
                <a:gd name="connsiteX69" fmla="*/ 4615 w 9559"/>
                <a:gd name="connsiteY69" fmla="*/ 8193 h 10000"/>
                <a:gd name="connsiteX70" fmla="*/ 4692 w 9559"/>
                <a:gd name="connsiteY70" fmla="*/ 8191 h 10000"/>
                <a:gd name="connsiteX71" fmla="*/ 4650 w 9559"/>
                <a:gd name="connsiteY71" fmla="*/ 8140 h 10000"/>
                <a:gd name="connsiteX72" fmla="*/ 4664 w 9559"/>
                <a:gd name="connsiteY72" fmla="*/ 8112 h 10000"/>
                <a:gd name="connsiteX73" fmla="*/ 4720 w 9559"/>
                <a:gd name="connsiteY73" fmla="*/ 8069 h 10000"/>
                <a:gd name="connsiteX74" fmla="*/ 4711 w 9559"/>
                <a:gd name="connsiteY74" fmla="*/ 8034 h 10000"/>
                <a:gd name="connsiteX75" fmla="*/ 4762 w 9559"/>
                <a:gd name="connsiteY75" fmla="*/ 7916 h 10000"/>
                <a:gd name="connsiteX76" fmla="*/ 4749 w 9559"/>
                <a:gd name="connsiteY76" fmla="*/ 7881 h 10000"/>
                <a:gd name="connsiteX77" fmla="*/ 4482 w 9559"/>
                <a:gd name="connsiteY77" fmla="*/ 7792 h 10000"/>
                <a:gd name="connsiteX78" fmla="*/ 4518 w 9559"/>
                <a:gd name="connsiteY78" fmla="*/ 7788 h 10000"/>
                <a:gd name="connsiteX79" fmla="*/ 4660 w 9559"/>
                <a:gd name="connsiteY79" fmla="*/ 7812 h 10000"/>
                <a:gd name="connsiteX80" fmla="*/ 4813 w 9559"/>
                <a:gd name="connsiteY80" fmla="*/ 7804 h 10000"/>
                <a:gd name="connsiteX81" fmla="*/ 4858 w 9559"/>
                <a:gd name="connsiteY81" fmla="*/ 7771 h 10000"/>
                <a:gd name="connsiteX82" fmla="*/ 4711 w 9559"/>
                <a:gd name="connsiteY82" fmla="*/ 7710 h 10000"/>
                <a:gd name="connsiteX83" fmla="*/ 4271 w 9559"/>
                <a:gd name="connsiteY83" fmla="*/ 7670 h 10000"/>
                <a:gd name="connsiteX84" fmla="*/ 4301 w 9559"/>
                <a:gd name="connsiteY84" fmla="*/ 7651 h 10000"/>
                <a:gd name="connsiteX85" fmla="*/ 4660 w 9559"/>
                <a:gd name="connsiteY85" fmla="*/ 7639 h 10000"/>
                <a:gd name="connsiteX86" fmla="*/ 4858 w 9559"/>
                <a:gd name="connsiteY86" fmla="*/ 7676 h 10000"/>
                <a:gd name="connsiteX87" fmla="*/ 4972 w 9559"/>
                <a:gd name="connsiteY87" fmla="*/ 7651 h 10000"/>
                <a:gd name="connsiteX88" fmla="*/ 5014 w 9559"/>
                <a:gd name="connsiteY88" fmla="*/ 7588 h 10000"/>
                <a:gd name="connsiteX89" fmla="*/ 5220 w 9559"/>
                <a:gd name="connsiteY89" fmla="*/ 7588 h 10000"/>
                <a:gd name="connsiteX90" fmla="*/ 5500 w 9559"/>
                <a:gd name="connsiteY90" fmla="*/ 7462 h 10000"/>
                <a:gd name="connsiteX91" fmla="*/ 5510 w 9559"/>
                <a:gd name="connsiteY91" fmla="*/ 7378 h 10000"/>
                <a:gd name="connsiteX92" fmla="*/ 5628 w 9559"/>
                <a:gd name="connsiteY92" fmla="*/ 7397 h 10000"/>
                <a:gd name="connsiteX93" fmla="*/ 5624 w 9559"/>
                <a:gd name="connsiteY93" fmla="*/ 7482 h 10000"/>
                <a:gd name="connsiteX94" fmla="*/ 5812 w 9559"/>
                <a:gd name="connsiteY94" fmla="*/ 7476 h 10000"/>
                <a:gd name="connsiteX95" fmla="*/ 5935 w 9559"/>
                <a:gd name="connsiteY95" fmla="*/ 7388 h 10000"/>
                <a:gd name="connsiteX96" fmla="*/ 6166 w 9559"/>
                <a:gd name="connsiteY96" fmla="*/ 7309 h 10000"/>
                <a:gd name="connsiteX97" fmla="*/ 6128 w 9559"/>
                <a:gd name="connsiteY97" fmla="*/ 7219 h 10000"/>
                <a:gd name="connsiteX98" fmla="*/ 6197 w 9559"/>
                <a:gd name="connsiteY98" fmla="*/ 7254 h 10000"/>
                <a:gd name="connsiteX99" fmla="*/ 6302 w 9559"/>
                <a:gd name="connsiteY99" fmla="*/ 7254 h 10000"/>
                <a:gd name="connsiteX100" fmla="*/ 6302 w 9559"/>
                <a:gd name="connsiteY100" fmla="*/ 7213 h 10000"/>
                <a:gd name="connsiteX101" fmla="*/ 6400 w 9559"/>
                <a:gd name="connsiteY101" fmla="*/ 7181 h 10000"/>
                <a:gd name="connsiteX102" fmla="*/ 6386 w 9559"/>
                <a:gd name="connsiteY102" fmla="*/ 7148 h 10000"/>
                <a:gd name="connsiteX103" fmla="*/ 5560 w 9559"/>
                <a:gd name="connsiteY103" fmla="*/ 7215 h 10000"/>
                <a:gd name="connsiteX104" fmla="*/ 5367 w 9559"/>
                <a:gd name="connsiteY104" fmla="*/ 7195 h 10000"/>
                <a:gd name="connsiteX105" fmla="*/ 5289 w 9559"/>
                <a:gd name="connsiteY105" fmla="*/ 7219 h 10000"/>
                <a:gd name="connsiteX106" fmla="*/ 5262 w 9559"/>
                <a:gd name="connsiteY106" fmla="*/ 7173 h 10000"/>
                <a:gd name="connsiteX107" fmla="*/ 5170 w 9559"/>
                <a:gd name="connsiteY107" fmla="*/ 7132 h 10000"/>
                <a:gd name="connsiteX108" fmla="*/ 4802 w 9559"/>
                <a:gd name="connsiteY108" fmla="*/ 7052 h 10000"/>
                <a:gd name="connsiteX109" fmla="*/ 4586 w 9559"/>
                <a:gd name="connsiteY109" fmla="*/ 7065 h 10000"/>
                <a:gd name="connsiteX110" fmla="*/ 4500 w 9559"/>
                <a:gd name="connsiteY110" fmla="*/ 7042 h 10000"/>
                <a:gd name="connsiteX111" fmla="*/ 4591 w 9559"/>
                <a:gd name="connsiteY111" fmla="*/ 7022 h 10000"/>
                <a:gd name="connsiteX112" fmla="*/ 4660 w 9559"/>
                <a:gd name="connsiteY112" fmla="*/ 6979 h 10000"/>
                <a:gd name="connsiteX113" fmla="*/ 4762 w 9559"/>
                <a:gd name="connsiteY113" fmla="*/ 6993 h 10000"/>
                <a:gd name="connsiteX114" fmla="*/ 4885 w 9559"/>
                <a:gd name="connsiteY114" fmla="*/ 6981 h 10000"/>
                <a:gd name="connsiteX115" fmla="*/ 5069 w 9559"/>
                <a:gd name="connsiteY115" fmla="*/ 6995 h 10000"/>
                <a:gd name="connsiteX116" fmla="*/ 5091 w 9559"/>
                <a:gd name="connsiteY116" fmla="*/ 6989 h 10000"/>
                <a:gd name="connsiteX117" fmla="*/ 5234 w 9559"/>
                <a:gd name="connsiteY117" fmla="*/ 7056 h 10000"/>
                <a:gd name="connsiteX118" fmla="*/ 5339 w 9559"/>
                <a:gd name="connsiteY118" fmla="*/ 7032 h 10000"/>
                <a:gd name="connsiteX119" fmla="*/ 5347 w 9559"/>
                <a:gd name="connsiteY119" fmla="*/ 7010 h 10000"/>
                <a:gd name="connsiteX120" fmla="*/ 5445 w 9559"/>
                <a:gd name="connsiteY120" fmla="*/ 7048 h 10000"/>
                <a:gd name="connsiteX121" fmla="*/ 5573 w 9559"/>
                <a:gd name="connsiteY121" fmla="*/ 7069 h 10000"/>
                <a:gd name="connsiteX122" fmla="*/ 5624 w 9559"/>
                <a:gd name="connsiteY122" fmla="*/ 7030 h 10000"/>
                <a:gd name="connsiteX123" fmla="*/ 5665 w 9559"/>
                <a:gd name="connsiteY123" fmla="*/ 7052 h 10000"/>
                <a:gd name="connsiteX124" fmla="*/ 5724 w 9559"/>
                <a:gd name="connsiteY124" fmla="*/ 7126 h 10000"/>
                <a:gd name="connsiteX125" fmla="*/ 5848 w 9559"/>
                <a:gd name="connsiteY125" fmla="*/ 7144 h 10000"/>
                <a:gd name="connsiteX126" fmla="*/ 6353 w 9559"/>
                <a:gd name="connsiteY126" fmla="*/ 7034 h 10000"/>
                <a:gd name="connsiteX127" fmla="*/ 6601 w 9559"/>
                <a:gd name="connsiteY127" fmla="*/ 6879 h 10000"/>
                <a:gd name="connsiteX128" fmla="*/ 6660 w 9559"/>
                <a:gd name="connsiteY128" fmla="*/ 6765 h 10000"/>
                <a:gd name="connsiteX129" fmla="*/ 6570 w 9559"/>
                <a:gd name="connsiteY129" fmla="*/ 6663 h 10000"/>
                <a:gd name="connsiteX130" fmla="*/ 6381 w 9559"/>
                <a:gd name="connsiteY130" fmla="*/ 6602 h 10000"/>
                <a:gd name="connsiteX131" fmla="*/ 6247 w 9559"/>
                <a:gd name="connsiteY131" fmla="*/ 6502 h 10000"/>
                <a:gd name="connsiteX132" fmla="*/ 6372 w 9559"/>
                <a:gd name="connsiteY132" fmla="*/ 6498 h 10000"/>
                <a:gd name="connsiteX133" fmla="*/ 6363 w 9559"/>
                <a:gd name="connsiteY133" fmla="*/ 6474 h 10000"/>
                <a:gd name="connsiteX134" fmla="*/ 6038 w 9559"/>
                <a:gd name="connsiteY134" fmla="*/ 6403 h 10000"/>
                <a:gd name="connsiteX135" fmla="*/ 6025 w 9559"/>
                <a:gd name="connsiteY135" fmla="*/ 6339 h 10000"/>
                <a:gd name="connsiteX136" fmla="*/ 5962 w 9559"/>
                <a:gd name="connsiteY136" fmla="*/ 6272 h 10000"/>
                <a:gd name="connsiteX137" fmla="*/ 5706 w 9559"/>
                <a:gd name="connsiteY137" fmla="*/ 6284 h 10000"/>
                <a:gd name="connsiteX138" fmla="*/ 5614 w 9559"/>
                <a:gd name="connsiteY138" fmla="*/ 6213 h 10000"/>
                <a:gd name="connsiteX139" fmla="*/ 5560 w 9559"/>
                <a:gd name="connsiteY139" fmla="*/ 6209 h 10000"/>
                <a:gd name="connsiteX140" fmla="*/ 5560 w 9559"/>
                <a:gd name="connsiteY140" fmla="*/ 6238 h 10000"/>
                <a:gd name="connsiteX141" fmla="*/ 5445 w 9559"/>
                <a:gd name="connsiteY141" fmla="*/ 6358 h 10000"/>
                <a:gd name="connsiteX142" fmla="*/ 5320 w 9559"/>
                <a:gd name="connsiteY142" fmla="*/ 6429 h 10000"/>
                <a:gd name="connsiteX143" fmla="*/ 4930 w 9559"/>
                <a:gd name="connsiteY143" fmla="*/ 6551 h 10000"/>
                <a:gd name="connsiteX144" fmla="*/ 4793 w 9559"/>
                <a:gd name="connsiteY144" fmla="*/ 6547 h 10000"/>
                <a:gd name="connsiteX145" fmla="*/ 4605 w 9559"/>
                <a:gd name="connsiteY145" fmla="*/ 6565 h 10000"/>
                <a:gd name="connsiteX146" fmla="*/ 4500 w 9559"/>
                <a:gd name="connsiteY146" fmla="*/ 6547 h 10000"/>
                <a:gd name="connsiteX147" fmla="*/ 4637 w 9559"/>
                <a:gd name="connsiteY147" fmla="*/ 6513 h 10000"/>
                <a:gd name="connsiteX148" fmla="*/ 4817 w 9559"/>
                <a:gd name="connsiteY148" fmla="*/ 6498 h 10000"/>
                <a:gd name="connsiteX149" fmla="*/ 4964 w 9559"/>
                <a:gd name="connsiteY149" fmla="*/ 6441 h 10000"/>
                <a:gd name="connsiteX150" fmla="*/ 5109 w 9559"/>
                <a:gd name="connsiteY150" fmla="*/ 6415 h 10000"/>
                <a:gd name="connsiteX151" fmla="*/ 5381 w 9559"/>
                <a:gd name="connsiteY151" fmla="*/ 6317 h 10000"/>
                <a:gd name="connsiteX152" fmla="*/ 5432 w 9559"/>
                <a:gd name="connsiteY152" fmla="*/ 6252 h 10000"/>
                <a:gd name="connsiteX153" fmla="*/ 5436 w 9559"/>
                <a:gd name="connsiteY153" fmla="*/ 6168 h 10000"/>
                <a:gd name="connsiteX154" fmla="*/ 5312 w 9559"/>
                <a:gd name="connsiteY154" fmla="*/ 6154 h 10000"/>
                <a:gd name="connsiteX155" fmla="*/ 5367 w 9559"/>
                <a:gd name="connsiteY155" fmla="*/ 6103 h 10000"/>
                <a:gd name="connsiteX156" fmla="*/ 5385 w 9559"/>
                <a:gd name="connsiteY156" fmla="*/ 6038 h 10000"/>
                <a:gd name="connsiteX157" fmla="*/ 5333 w 9559"/>
                <a:gd name="connsiteY157" fmla="*/ 5977 h 10000"/>
                <a:gd name="connsiteX158" fmla="*/ 5302 w 9559"/>
                <a:gd name="connsiteY158" fmla="*/ 5533 h 10000"/>
                <a:gd name="connsiteX159" fmla="*/ 5377 w 9559"/>
                <a:gd name="connsiteY159" fmla="*/ 5437 h 10000"/>
                <a:gd name="connsiteX160" fmla="*/ 5358 w 9559"/>
                <a:gd name="connsiteY160" fmla="*/ 5398 h 10000"/>
                <a:gd name="connsiteX161" fmla="*/ 5573 w 9559"/>
                <a:gd name="connsiteY161" fmla="*/ 5455 h 10000"/>
                <a:gd name="connsiteX162" fmla="*/ 5587 w 9559"/>
                <a:gd name="connsiteY162" fmla="*/ 5402 h 10000"/>
                <a:gd name="connsiteX163" fmla="*/ 5541 w 9559"/>
                <a:gd name="connsiteY163" fmla="*/ 5264 h 10000"/>
                <a:gd name="connsiteX164" fmla="*/ 5696 w 9559"/>
                <a:gd name="connsiteY164" fmla="*/ 5019 h 10000"/>
                <a:gd name="connsiteX165" fmla="*/ 5601 w 9559"/>
                <a:gd name="connsiteY165" fmla="*/ 4960 h 10000"/>
                <a:gd name="connsiteX166" fmla="*/ 5564 w 9559"/>
                <a:gd name="connsiteY166" fmla="*/ 4905 h 10000"/>
                <a:gd name="connsiteX167" fmla="*/ 5577 w 9559"/>
                <a:gd name="connsiteY167" fmla="*/ 4816 h 10000"/>
                <a:gd name="connsiteX168" fmla="*/ 5804 w 9559"/>
                <a:gd name="connsiteY168" fmla="*/ 4875 h 10000"/>
                <a:gd name="connsiteX169" fmla="*/ 5812 w 9559"/>
                <a:gd name="connsiteY169" fmla="*/ 4858 h 10000"/>
                <a:gd name="connsiteX170" fmla="*/ 5875 w 9559"/>
                <a:gd name="connsiteY170" fmla="*/ 4842 h 10000"/>
                <a:gd name="connsiteX171" fmla="*/ 5962 w 9559"/>
                <a:gd name="connsiteY171" fmla="*/ 4785 h 10000"/>
                <a:gd name="connsiteX172" fmla="*/ 5976 w 9559"/>
                <a:gd name="connsiteY172" fmla="*/ 4769 h 10000"/>
                <a:gd name="connsiteX173" fmla="*/ 5958 w 9559"/>
                <a:gd name="connsiteY173" fmla="*/ 4748 h 10000"/>
                <a:gd name="connsiteX174" fmla="*/ 6004 w 9559"/>
                <a:gd name="connsiteY174" fmla="*/ 4647 h 10000"/>
                <a:gd name="connsiteX175" fmla="*/ 5949 w 9559"/>
                <a:gd name="connsiteY175" fmla="*/ 4581 h 10000"/>
                <a:gd name="connsiteX176" fmla="*/ 5958 w 9559"/>
                <a:gd name="connsiteY176" fmla="*/ 4528 h 10000"/>
                <a:gd name="connsiteX177" fmla="*/ 5990 w 9559"/>
                <a:gd name="connsiteY177" fmla="*/ 4590 h 10000"/>
                <a:gd name="connsiteX178" fmla="*/ 6114 w 9559"/>
                <a:gd name="connsiteY178" fmla="*/ 4636 h 10000"/>
                <a:gd name="connsiteX179" fmla="*/ 6166 w 9559"/>
                <a:gd name="connsiteY179" fmla="*/ 4630 h 10000"/>
                <a:gd name="connsiteX180" fmla="*/ 6247 w 9559"/>
                <a:gd name="connsiteY180" fmla="*/ 4569 h 10000"/>
                <a:gd name="connsiteX181" fmla="*/ 6335 w 9559"/>
                <a:gd name="connsiteY181" fmla="*/ 4594 h 10000"/>
                <a:gd name="connsiteX182" fmla="*/ 6359 w 9559"/>
                <a:gd name="connsiteY182" fmla="*/ 4545 h 10000"/>
                <a:gd name="connsiteX183" fmla="*/ 6418 w 9559"/>
                <a:gd name="connsiteY183" fmla="*/ 4512 h 10000"/>
                <a:gd name="connsiteX184" fmla="*/ 6256 w 9559"/>
                <a:gd name="connsiteY184" fmla="*/ 4477 h 10000"/>
                <a:gd name="connsiteX185" fmla="*/ 6372 w 9559"/>
                <a:gd name="connsiteY185" fmla="*/ 4484 h 10000"/>
                <a:gd name="connsiteX186" fmla="*/ 6490 w 9559"/>
                <a:gd name="connsiteY186" fmla="*/ 4447 h 10000"/>
                <a:gd name="connsiteX187" fmla="*/ 6486 w 9559"/>
                <a:gd name="connsiteY187" fmla="*/ 4422 h 10000"/>
                <a:gd name="connsiteX188" fmla="*/ 6597 w 9559"/>
                <a:gd name="connsiteY188" fmla="*/ 4398 h 10000"/>
                <a:gd name="connsiteX189" fmla="*/ 6606 w 9559"/>
                <a:gd name="connsiteY189" fmla="*/ 4337 h 10000"/>
                <a:gd name="connsiteX190" fmla="*/ 6693 w 9559"/>
                <a:gd name="connsiteY190" fmla="*/ 4325 h 10000"/>
                <a:gd name="connsiteX191" fmla="*/ 6701 w 9559"/>
                <a:gd name="connsiteY191" fmla="*/ 4253 h 10000"/>
                <a:gd name="connsiteX192" fmla="*/ 6793 w 9559"/>
                <a:gd name="connsiteY192" fmla="*/ 4245 h 10000"/>
                <a:gd name="connsiteX193" fmla="*/ 6935 w 9559"/>
                <a:gd name="connsiteY193" fmla="*/ 4260 h 10000"/>
                <a:gd name="connsiteX194" fmla="*/ 7091 w 9559"/>
                <a:gd name="connsiteY194" fmla="*/ 4202 h 10000"/>
                <a:gd name="connsiteX195" fmla="*/ 7146 w 9559"/>
                <a:gd name="connsiteY195" fmla="*/ 4137 h 10000"/>
                <a:gd name="connsiteX196" fmla="*/ 7339 w 9559"/>
                <a:gd name="connsiteY196" fmla="*/ 4070 h 10000"/>
                <a:gd name="connsiteX197" fmla="*/ 7435 w 9559"/>
                <a:gd name="connsiteY197" fmla="*/ 4111 h 10000"/>
                <a:gd name="connsiteX198" fmla="*/ 7582 w 9559"/>
                <a:gd name="connsiteY198" fmla="*/ 4066 h 10000"/>
                <a:gd name="connsiteX199" fmla="*/ 7618 w 9559"/>
                <a:gd name="connsiteY199" fmla="*/ 4009 h 10000"/>
                <a:gd name="connsiteX200" fmla="*/ 7729 w 9559"/>
                <a:gd name="connsiteY200" fmla="*/ 3970 h 10000"/>
                <a:gd name="connsiteX201" fmla="*/ 7825 w 9559"/>
                <a:gd name="connsiteY201" fmla="*/ 3987 h 10000"/>
                <a:gd name="connsiteX202" fmla="*/ 7884 w 9559"/>
                <a:gd name="connsiteY202" fmla="*/ 3958 h 10000"/>
                <a:gd name="connsiteX203" fmla="*/ 8050 w 9559"/>
                <a:gd name="connsiteY203" fmla="*/ 3917 h 10000"/>
                <a:gd name="connsiteX204" fmla="*/ 8118 w 9559"/>
                <a:gd name="connsiteY204" fmla="*/ 3864 h 10000"/>
                <a:gd name="connsiteX205" fmla="*/ 8211 w 9559"/>
                <a:gd name="connsiteY205" fmla="*/ 3842 h 10000"/>
                <a:gd name="connsiteX206" fmla="*/ 8720 w 9559"/>
                <a:gd name="connsiteY206" fmla="*/ 3522 h 10000"/>
                <a:gd name="connsiteX207" fmla="*/ 9559 w 9559"/>
                <a:gd name="connsiteY207" fmla="*/ 517 h 10000"/>
                <a:gd name="connsiteX208" fmla="*/ 9344 w 9559"/>
                <a:gd name="connsiteY208" fmla="*/ 440 h 10000"/>
                <a:gd name="connsiteX209" fmla="*/ 8945 w 9559"/>
                <a:gd name="connsiteY209" fmla="*/ 389 h 10000"/>
                <a:gd name="connsiteX210" fmla="*/ 8118 w 9559"/>
                <a:gd name="connsiteY210" fmla="*/ 26 h 10000"/>
                <a:gd name="connsiteX211" fmla="*/ 8091 w 9559"/>
                <a:gd name="connsiteY211" fmla="*/ 2 h 10000"/>
                <a:gd name="connsiteX212" fmla="*/ 7811 w 9559"/>
                <a:gd name="connsiteY212" fmla="*/ 0 h 10000"/>
                <a:gd name="connsiteX213" fmla="*/ 7748 w 9559"/>
                <a:gd name="connsiteY213" fmla="*/ 14 h 10000"/>
                <a:gd name="connsiteX214" fmla="*/ 7762 w 9559"/>
                <a:gd name="connsiteY214" fmla="*/ 61 h 10000"/>
                <a:gd name="connsiteX215" fmla="*/ 7816 w 9559"/>
                <a:gd name="connsiteY215" fmla="*/ 86 h 10000"/>
                <a:gd name="connsiteX216" fmla="*/ 7831 w 9559"/>
                <a:gd name="connsiteY216" fmla="*/ 139 h 10000"/>
                <a:gd name="connsiteX217" fmla="*/ 7811 w 9559"/>
                <a:gd name="connsiteY217" fmla="*/ 181 h 10000"/>
                <a:gd name="connsiteX218" fmla="*/ 7762 w 9559"/>
                <a:gd name="connsiteY218" fmla="*/ 208 h 10000"/>
                <a:gd name="connsiteX219" fmla="*/ 7724 w 9559"/>
                <a:gd name="connsiteY219" fmla="*/ 283 h 10000"/>
                <a:gd name="connsiteX220" fmla="*/ 7656 w 9559"/>
                <a:gd name="connsiteY220" fmla="*/ 336 h 10000"/>
                <a:gd name="connsiteX221" fmla="*/ 7670 w 9559"/>
                <a:gd name="connsiteY221" fmla="*/ 387 h 10000"/>
                <a:gd name="connsiteX222" fmla="*/ 7775 w 9559"/>
                <a:gd name="connsiteY222" fmla="*/ 434 h 10000"/>
                <a:gd name="connsiteX223" fmla="*/ 7706 w 9559"/>
                <a:gd name="connsiteY223" fmla="*/ 475 h 10000"/>
                <a:gd name="connsiteX224" fmla="*/ 7605 w 9559"/>
                <a:gd name="connsiteY224" fmla="*/ 485 h 10000"/>
                <a:gd name="connsiteX225" fmla="*/ 6761 w 9559"/>
                <a:gd name="connsiteY225" fmla="*/ 387 h 10000"/>
                <a:gd name="connsiteX226" fmla="*/ 6660 w 9559"/>
                <a:gd name="connsiteY226" fmla="*/ 395 h 10000"/>
                <a:gd name="connsiteX227" fmla="*/ 6601 w 9559"/>
                <a:gd name="connsiteY227" fmla="*/ 414 h 10000"/>
                <a:gd name="connsiteX228" fmla="*/ 6540 w 9559"/>
                <a:gd name="connsiteY228" fmla="*/ 462 h 10000"/>
                <a:gd name="connsiteX229" fmla="*/ 6551 w 9559"/>
                <a:gd name="connsiteY229" fmla="*/ 581 h 10000"/>
                <a:gd name="connsiteX230" fmla="*/ 6458 w 9559"/>
                <a:gd name="connsiteY230" fmla="*/ 735 h 10000"/>
                <a:gd name="connsiteX231" fmla="*/ 6344 w 9559"/>
                <a:gd name="connsiteY231" fmla="*/ 815 h 10000"/>
                <a:gd name="connsiteX232" fmla="*/ 6298 w 9559"/>
                <a:gd name="connsiteY232" fmla="*/ 805 h 10000"/>
                <a:gd name="connsiteX233" fmla="*/ 6193 w 9559"/>
                <a:gd name="connsiteY233" fmla="*/ 739 h 10000"/>
                <a:gd name="connsiteX234" fmla="*/ 6060 w 9559"/>
                <a:gd name="connsiteY234" fmla="*/ 705 h 10000"/>
                <a:gd name="connsiteX235" fmla="*/ 5916 w 9559"/>
                <a:gd name="connsiteY235" fmla="*/ 715 h 10000"/>
                <a:gd name="connsiteX236" fmla="*/ 5583 w 9559"/>
                <a:gd name="connsiteY236" fmla="*/ 866 h 10000"/>
                <a:gd name="connsiteX237" fmla="*/ 5495 w 9559"/>
                <a:gd name="connsiteY237" fmla="*/ 1017 h 10000"/>
                <a:gd name="connsiteX238" fmla="*/ 5244 w 9559"/>
                <a:gd name="connsiteY238" fmla="*/ 1153 h 10000"/>
                <a:gd name="connsiteX239" fmla="*/ 5198 w 9559"/>
                <a:gd name="connsiteY239" fmla="*/ 1222 h 10000"/>
                <a:gd name="connsiteX240" fmla="*/ 5329 w 9559"/>
                <a:gd name="connsiteY240" fmla="*/ 1344 h 10000"/>
                <a:gd name="connsiteX241" fmla="*/ 5343 w 9559"/>
                <a:gd name="connsiteY241" fmla="*/ 1412 h 10000"/>
                <a:gd name="connsiteX242" fmla="*/ 4656 w 9559"/>
                <a:gd name="connsiteY242" fmla="*/ 1813 h 10000"/>
                <a:gd name="connsiteX243" fmla="*/ 4445 w 9559"/>
                <a:gd name="connsiteY243" fmla="*/ 2070 h 10000"/>
                <a:gd name="connsiteX244" fmla="*/ 4217 w 9559"/>
                <a:gd name="connsiteY244" fmla="*/ 2135 h 10000"/>
                <a:gd name="connsiteX245" fmla="*/ 4073 w 9559"/>
                <a:gd name="connsiteY245" fmla="*/ 2131 h 10000"/>
                <a:gd name="connsiteX246" fmla="*/ 3986 w 9559"/>
                <a:gd name="connsiteY246" fmla="*/ 2153 h 10000"/>
                <a:gd name="connsiteX247" fmla="*/ 3748 w 9559"/>
                <a:gd name="connsiteY247" fmla="*/ 2793 h 10000"/>
                <a:gd name="connsiteX248" fmla="*/ 3198 w 9559"/>
                <a:gd name="connsiteY248" fmla="*/ 3166 h 10000"/>
                <a:gd name="connsiteX249" fmla="*/ 3202 w 9559"/>
                <a:gd name="connsiteY249" fmla="*/ 3225 h 10000"/>
                <a:gd name="connsiteX250" fmla="*/ 3446 w 9559"/>
                <a:gd name="connsiteY250" fmla="*/ 3392 h 10000"/>
                <a:gd name="connsiteX251" fmla="*/ 3367 w 9559"/>
                <a:gd name="connsiteY251" fmla="*/ 3573 h 10000"/>
                <a:gd name="connsiteX252" fmla="*/ 3224 w 9559"/>
                <a:gd name="connsiteY252" fmla="*/ 3640 h 10000"/>
                <a:gd name="connsiteX253" fmla="*/ 2798 w 9559"/>
                <a:gd name="connsiteY253" fmla="*/ 3595 h 10000"/>
                <a:gd name="connsiteX254" fmla="*/ 2504 w 9559"/>
                <a:gd name="connsiteY254" fmla="*/ 3620 h 10000"/>
                <a:gd name="connsiteX255" fmla="*/ 2267 w 9559"/>
                <a:gd name="connsiteY255" fmla="*/ 3673 h 10000"/>
                <a:gd name="connsiteX256" fmla="*/ 1886 w 9559"/>
                <a:gd name="connsiteY256" fmla="*/ 3840 h 10000"/>
                <a:gd name="connsiteX257" fmla="*/ 1683 w 9559"/>
                <a:gd name="connsiteY257" fmla="*/ 4042 h 10000"/>
                <a:gd name="connsiteX258" fmla="*/ 1701 w 9559"/>
                <a:gd name="connsiteY258" fmla="*/ 4154 h 10000"/>
                <a:gd name="connsiteX259" fmla="*/ 1771 w 9559"/>
                <a:gd name="connsiteY259" fmla="*/ 4241 h 10000"/>
                <a:gd name="connsiteX260" fmla="*/ 1825 w 9559"/>
                <a:gd name="connsiteY260" fmla="*/ 4276 h 10000"/>
                <a:gd name="connsiteX261" fmla="*/ 1725 w 9559"/>
                <a:gd name="connsiteY261" fmla="*/ 4331 h 10000"/>
                <a:gd name="connsiteX262" fmla="*/ 1510 w 9559"/>
                <a:gd name="connsiteY262" fmla="*/ 4710 h 10000"/>
                <a:gd name="connsiteX263" fmla="*/ 1551 w 9559"/>
                <a:gd name="connsiteY263" fmla="*/ 4732 h 10000"/>
                <a:gd name="connsiteX264" fmla="*/ 1583 w 9559"/>
                <a:gd name="connsiteY264" fmla="*/ 4828 h 10000"/>
                <a:gd name="connsiteX265" fmla="*/ 1482 w 9559"/>
                <a:gd name="connsiteY265" fmla="*/ 5227 h 10000"/>
                <a:gd name="connsiteX266" fmla="*/ 1583 w 9559"/>
                <a:gd name="connsiteY266" fmla="*/ 5329 h 10000"/>
                <a:gd name="connsiteX267" fmla="*/ 1857 w 9559"/>
                <a:gd name="connsiteY267" fmla="*/ 5441 h 10000"/>
                <a:gd name="connsiteX268" fmla="*/ 1871 w 9559"/>
                <a:gd name="connsiteY268" fmla="*/ 5578 h 10000"/>
                <a:gd name="connsiteX269" fmla="*/ 1753 w 9559"/>
                <a:gd name="connsiteY269" fmla="*/ 5690 h 10000"/>
                <a:gd name="connsiteX270" fmla="*/ 1583 w 9559"/>
                <a:gd name="connsiteY270" fmla="*/ 5759 h 10000"/>
                <a:gd name="connsiteX271" fmla="*/ 1357 w 9559"/>
                <a:gd name="connsiteY271" fmla="*/ 5787 h 10000"/>
                <a:gd name="connsiteX272" fmla="*/ 1299 w 9559"/>
                <a:gd name="connsiteY272" fmla="*/ 5826 h 10000"/>
                <a:gd name="connsiteX273" fmla="*/ 1430 w 9559"/>
                <a:gd name="connsiteY273" fmla="*/ 5920 h 10000"/>
                <a:gd name="connsiteX274" fmla="*/ 1506 w 9559"/>
                <a:gd name="connsiteY274" fmla="*/ 6142 h 10000"/>
                <a:gd name="connsiteX275" fmla="*/ 1335 w 9559"/>
                <a:gd name="connsiteY275" fmla="*/ 6333 h 10000"/>
                <a:gd name="connsiteX276" fmla="*/ 1394 w 9559"/>
                <a:gd name="connsiteY276" fmla="*/ 6392 h 10000"/>
                <a:gd name="connsiteX277" fmla="*/ 1340 w 9559"/>
                <a:gd name="connsiteY277" fmla="*/ 6492 h 10000"/>
                <a:gd name="connsiteX278" fmla="*/ 1230 w 9559"/>
                <a:gd name="connsiteY278" fmla="*/ 6561 h 10000"/>
                <a:gd name="connsiteX279" fmla="*/ 798 w 9559"/>
                <a:gd name="connsiteY279" fmla="*/ 6614 h 10000"/>
                <a:gd name="connsiteX280" fmla="*/ 771 w 9559"/>
                <a:gd name="connsiteY280" fmla="*/ 6706 h 10000"/>
                <a:gd name="connsiteX281" fmla="*/ 538 w 9559"/>
                <a:gd name="connsiteY281" fmla="*/ 6843 h 10000"/>
                <a:gd name="connsiteX282" fmla="*/ 569 w 9559"/>
                <a:gd name="connsiteY282" fmla="*/ 7040 h 10000"/>
                <a:gd name="connsiteX283" fmla="*/ 372 w 9559"/>
                <a:gd name="connsiteY283" fmla="*/ 7293 h 10000"/>
                <a:gd name="connsiteX284" fmla="*/ 238 w 9559"/>
                <a:gd name="connsiteY284" fmla="*/ 7323 h 10000"/>
                <a:gd name="connsiteX285" fmla="*/ 184 w 9559"/>
                <a:gd name="connsiteY285" fmla="*/ 7262 h 10000"/>
                <a:gd name="connsiteX286" fmla="*/ 115 w 9559"/>
                <a:gd name="connsiteY286" fmla="*/ 7354 h 10000"/>
                <a:gd name="connsiteX287" fmla="*/ 160 w 9559"/>
                <a:gd name="connsiteY287" fmla="*/ 7197 h 10000"/>
                <a:gd name="connsiteX288" fmla="*/ 132 w 9559"/>
                <a:gd name="connsiteY288" fmla="*/ 7166 h 10000"/>
                <a:gd name="connsiteX0" fmla="*/ 138 w 9775"/>
                <a:gd name="connsiteY0" fmla="*/ 7166 h 10000"/>
                <a:gd name="connsiteX1" fmla="*/ 0 w 9775"/>
                <a:gd name="connsiteY1" fmla="*/ 7248 h 10000"/>
                <a:gd name="connsiteX2" fmla="*/ 0 w 9775"/>
                <a:gd name="connsiteY2" fmla="*/ 7651 h 10000"/>
                <a:gd name="connsiteX3" fmla="*/ 76 w 9775"/>
                <a:gd name="connsiteY3" fmla="*/ 7663 h 10000"/>
                <a:gd name="connsiteX4" fmla="*/ 94 w 9775"/>
                <a:gd name="connsiteY4" fmla="*/ 7694 h 10000"/>
                <a:gd name="connsiteX5" fmla="*/ 90 w 9775"/>
                <a:gd name="connsiteY5" fmla="*/ 7749 h 10000"/>
                <a:gd name="connsiteX6" fmla="*/ 62 w 9775"/>
                <a:gd name="connsiteY6" fmla="*/ 7773 h 10000"/>
                <a:gd name="connsiteX7" fmla="*/ 178 w 9775"/>
                <a:gd name="connsiteY7" fmla="*/ 7727 h 10000"/>
                <a:gd name="connsiteX8" fmla="*/ 227 w 9775"/>
                <a:gd name="connsiteY8" fmla="*/ 7680 h 10000"/>
                <a:gd name="connsiteX9" fmla="*/ 287 w 9775"/>
                <a:gd name="connsiteY9" fmla="*/ 7712 h 10000"/>
                <a:gd name="connsiteX10" fmla="*/ 221 w 9775"/>
                <a:gd name="connsiteY10" fmla="*/ 7778 h 10000"/>
                <a:gd name="connsiteX11" fmla="*/ 292 w 9775"/>
                <a:gd name="connsiteY11" fmla="*/ 7780 h 10000"/>
                <a:gd name="connsiteX12" fmla="*/ 326 w 9775"/>
                <a:gd name="connsiteY12" fmla="*/ 7796 h 10000"/>
                <a:gd name="connsiteX13" fmla="*/ 235 w 9775"/>
                <a:gd name="connsiteY13" fmla="*/ 7818 h 10000"/>
                <a:gd name="connsiteX14" fmla="*/ 90 w 9775"/>
                <a:gd name="connsiteY14" fmla="*/ 7886 h 10000"/>
                <a:gd name="connsiteX15" fmla="*/ 347 w 9775"/>
                <a:gd name="connsiteY15" fmla="*/ 7938 h 10000"/>
                <a:gd name="connsiteX16" fmla="*/ 379 w 9775"/>
                <a:gd name="connsiteY16" fmla="*/ 8014 h 10000"/>
                <a:gd name="connsiteX17" fmla="*/ 292 w 9775"/>
                <a:gd name="connsiteY17" fmla="*/ 8126 h 10000"/>
                <a:gd name="connsiteX18" fmla="*/ 480 w 9775"/>
                <a:gd name="connsiteY18" fmla="*/ 8118 h 10000"/>
                <a:gd name="connsiteX19" fmla="*/ 494 w 9775"/>
                <a:gd name="connsiteY19" fmla="*/ 8203 h 10000"/>
                <a:gd name="connsiteX20" fmla="*/ 369 w 9775"/>
                <a:gd name="connsiteY20" fmla="*/ 8260 h 10000"/>
                <a:gd name="connsiteX21" fmla="*/ 389 w 9775"/>
                <a:gd name="connsiteY21" fmla="*/ 8370 h 10000"/>
                <a:gd name="connsiteX22" fmla="*/ 341 w 9775"/>
                <a:gd name="connsiteY22" fmla="*/ 8456 h 10000"/>
                <a:gd name="connsiteX23" fmla="*/ 489 w 9775"/>
                <a:gd name="connsiteY23" fmla="*/ 8464 h 10000"/>
                <a:gd name="connsiteX24" fmla="*/ 634 w 9775"/>
                <a:gd name="connsiteY24" fmla="*/ 8792 h 10000"/>
                <a:gd name="connsiteX25" fmla="*/ 801 w 9775"/>
                <a:gd name="connsiteY25" fmla="*/ 8876 h 10000"/>
                <a:gd name="connsiteX26" fmla="*/ 874 w 9775"/>
                <a:gd name="connsiteY26" fmla="*/ 8965 h 10000"/>
                <a:gd name="connsiteX27" fmla="*/ 1056 w 9775"/>
                <a:gd name="connsiteY27" fmla="*/ 9030 h 10000"/>
                <a:gd name="connsiteX28" fmla="*/ 1172 w 9775"/>
                <a:gd name="connsiteY28" fmla="*/ 9112 h 10000"/>
                <a:gd name="connsiteX29" fmla="*/ 1157 w 9775"/>
                <a:gd name="connsiteY29" fmla="*/ 9171 h 10000"/>
                <a:gd name="connsiteX30" fmla="*/ 1042 w 9775"/>
                <a:gd name="connsiteY30" fmla="*/ 9193 h 10000"/>
                <a:gd name="connsiteX31" fmla="*/ 916 w 9775"/>
                <a:gd name="connsiteY31" fmla="*/ 9179 h 10000"/>
                <a:gd name="connsiteX32" fmla="*/ 878 w 9775"/>
                <a:gd name="connsiteY32" fmla="*/ 9204 h 10000"/>
                <a:gd name="connsiteX33" fmla="*/ 974 w 9775"/>
                <a:gd name="connsiteY33" fmla="*/ 9332 h 10000"/>
                <a:gd name="connsiteX34" fmla="*/ 839 w 9775"/>
                <a:gd name="connsiteY34" fmla="*/ 9322 h 10000"/>
                <a:gd name="connsiteX35" fmla="*/ 725 w 9775"/>
                <a:gd name="connsiteY35" fmla="*/ 9291 h 10000"/>
                <a:gd name="connsiteX36" fmla="*/ 704 w 9775"/>
                <a:gd name="connsiteY36" fmla="*/ 9338 h 10000"/>
                <a:gd name="connsiteX37" fmla="*/ 1084 w 9775"/>
                <a:gd name="connsiteY37" fmla="*/ 9776 h 10000"/>
                <a:gd name="connsiteX38" fmla="*/ 1023 w 9775"/>
                <a:gd name="connsiteY38" fmla="*/ 9817 h 10000"/>
                <a:gd name="connsiteX39" fmla="*/ 980 w 9775"/>
                <a:gd name="connsiteY39" fmla="*/ 9902 h 10000"/>
                <a:gd name="connsiteX40" fmla="*/ 927 w 9775"/>
                <a:gd name="connsiteY40" fmla="*/ 9908 h 10000"/>
                <a:gd name="connsiteX41" fmla="*/ 892 w 9775"/>
                <a:gd name="connsiteY41" fmla="*/ 9945 h 10000"/>
                <a:gd name="connsiteX42" fmla="*/ 1121 w 9775"/>
                <a:gd name="connsiteY42" fmla="*/ 9949 h 10000"/>
                <a:gd name="connsiteX43" fmla="*/ 1324 w 9775"/>
                <a:gd name="connsiteY43" fmla="*/ 9986 h 10000"/>
                <a:gd name="connsiteX44" fmla="*/ 1660 w 9775"/>
                <a:gd name="connsiteY44" fmla="*/ 9947 h 10000"/>
                <a:gd name="connsiteX45" fmla="*/ 1963 w 9775"/>
                <a:gd name="connsiteY45" fmla="*/ 9953 h 10000"/>
                <a:gd name="connsiteX46" fmla="*/ 2140 w 9775"/>
                <a:gd name="connsiteY46" fmla="*/ 10000 h 10000"/>
                <a:gd name="connsiteX47" fmla="*/ 2238 w 9775"/>
                <a:gd name="connsiteY47" fmla="*/ 9969 h 10000"/>
                <a:gd name="connsiteX48" fmla="*/ 2332 w 9775"/>
                <a:gd name="connsiteY48" fmla="*/ 9868 h 10000"/>
                <a:gd name="connsiteX49" fmla="*/ 2308 w 9775"/>
                <a:gd name="connsiteY49" fmla="*/ 9703 h 10000"/>
                <a:gd name="connsiteX50" fmla="*/ 2538 w 9775"/>
                <a:gd name="connsiteY50" fmla="*/ 9517 h 10000"/>
                <a:gd name="connsiteX51" fmla="*/ 2706 w 9775"/>
                <a:gd name="connsiteY51" fmla="*/ 9546 h 10000"/>
                <a:gd name="connsiteX52" fmla="*/ 2803 w 9775"/>
                <a:gd name="connsiteY52" fmla="*/ 9472 h 10000"/>
                <a:gd name="connsiteX53" fmla="*/ 2990 w 9775"/>
                <a:gd name="connsiteY53" fmla="*/ 9430 h 10000"/>
                <a:gd name="connsiteX54" fmla="*/ 3244 w 9775"/>
                <a:gd name="connsiteY54" fmla="*/ 9440 h 10000"/>
                <a:gd name="connsiteX55" fmla="*/ 3398 w 9775"/>
                <a:gd name="connsiteY55" fmla="*/ 9470 h 10000"/>
                <a:gd name="connsiteX56" fmla="*/ 3601 w 9775"/>
                <a:gd name="connsiteY56" fmla="*/ 9456 h 10000"/>
                <a:gd name="connsiteX57" fmla="*/ 3806 w 9775"/>
                <a:gd name="connsiteY57" fmla="*/ 9489 h 10000"/>
                <a:gd name="connsiteX58" fmla="*/ 4012 w 9775"/>
                <a:gd name="connsiteY58" fmla="*/ 9493 h 10000"/>
                <a:gd name="connsiteX59" fmla="*/ 4472 w 9775"/>
                <a:gd name="connsiteY59" fmla="*/ 9061 h 10000"/>
                <a:gd name="connsiteX60" fmla="*/ 4588 w 9775"/>
                <a:gd name="connsiteY60" fmla="*/ 8711 h 10000"/>
                <a:gd name="connsiteX61" fmla="*/ 4775 w 9775"/>
                <a:gd name="connsiteY61" fmla="*/ 8554 h 10000"/>
                <a:gd name="connsiteX62" fmla="*/ 4775 w 9775"/>
                <a:gd name="connsiteY62" fmla="*/ 8472 h 10000"/>
                <a:gd name="connsiteX63" fmla="*/ 4708 w 9775"/>
                <a:gd name="connsiteY63" fmla="*/ 8425 h 10000"/>
                <a:gd name="connsiteX64" fmla="*/ 4817 w 9775"/>
                <a:gd name="connsiteY64" fmla="*/ 8352 h 10000"/>
                <a:gd name="connsiteX65" fmla="*/ 4798 w 9775"/>
                <a:gd name="connsiteY65" fmla="*/ 8289 h 10000"/>
                <a:gd name="connsiteX66" fmla="*/ 4722 w 9775"/>
                <a:gd name="connsiteY66" fmla="*/ 8236 h 10000"/>
                <a:gd name="connsiteX67" fmla="*/ 4708 w 9775"/>
                <a:gd name="connsiteY67" fmla="*/ 8199 h 10000"/>
                <a:gd name="connsiteX68" fmla="*/ 4726 w 9775"/>
                <a:gd name="connsiteY68" fmla="*/ 8169 h 10000"/>
                <a:gd name="connsiteX69" fmla="*/ 4828 w 9775"/>
                <a:gd name="connsiteY69" fmla="*/ 8193 h 10000"/>
                <a:gd name="connsiteX70" fmla="*/ 4908 w 9775"/>
                <a:gd name="connsiteY70" fmla="*/ 8191 h 10000"/>
                <a:gd name="connsiteX71" fmla="*/ 4865 w 9775"/>
                <a:gd name="connsiteY71" fmla="*/ 8140 h 10000"/>
                <a:gd name="connsiteX72" fmla="*/ 4879 w 9775"/>
                <a:gd name="connsiteY72" fmla="*/ 8112 h 10000"/>
                <a:gd name="connsiteX73" fmla="*/ 4938 w 9775"/>
                <a:gd name="connsiteY73" fmla="*/ 8069 h 10000"/>
                <a:gd name="connsiteX74" fmla="*/ 4928 w 9775"/>
                <a:gd name="connsiteY74" fmla="*/ 8034 h 10000"/>
                <a:gd name="connsiteX75" fmla="*/ 4982 w 9775"/>
                <a:gd name="connsiteY75" fmla="*/ 7916 h 10000"/>
                <a:gd name="connsiteX76" fmla="*/ 4968 w 9775"/>
                <a:gd name="connsiteY76" fmla="*/ 7881 h 10000"/>
                <a:gd name="connsiteX77" fmla="*/ 4689 w 9775"/>
                <a:gd name="connsiteY77" fmla="*/ 7792 h 10000"/>
                <a:gd name="connsiteX78" fmla="*/ 4726 w 9775"/>
                <a:gd name="connsiteY78" fmla="*/ 7788 h 10000"/>
                <a:gd name="connsiteX79" fmla="*/ 4875 w 9775"/>
                <a:gd name="connsiteY79" fmla="*/ 7812 h 10000"/>
                <a:gd name="connsiteX80" fmla="*/ 5035 w 9775"/>
                <a:gd name="connsiteY80" fmla="*/ 7804 h 10000"/>
                <a:gd name="connsiteX81" fmla="*/ 5082 w 9775"/>
                <a:gd name="connsiteY81" fmla="*/ 7771 h 10000"/>
                <a:gd name="connsiteX82" fmla="*/ 4928 w 9775"/>
                <a:gd name="connsiteY82" fmla="*/ 7710 h 10000"/>
                <a:gd name="connsiteX83" fmla="*/ 4468 w 9775"/>
                <a:gd name="connsiteY83" fmla="*/ 7670 h 10000"/>
                <a:gd name="connsiteX84" fmla="*/ 4499 w 9775"/>
                <a:gd name="connsiteY84" fmla="*/ 7651 h 10000"/>
                <a:gd name="connsiteX85" fmla="*/ 4875 w 9775"/>
                <a:gd name="connsiteY85" fmla="*/ 7639 h 10000"/>
                <a:gd name="connsiteX86" fmla="*/ 5082 w 9775"/>
                <a:gd name="connsiteY86" fmla="*/ 7676 h 10000"/>
                <a:gd name="connsiteX87" fmla="*/ 5201 w 9775"/>
                <a:gd name="connsiteY87" fmla="*/ 7651 h 10000"/>
                <a:gd name="connsiteX88" fmla="*/ 5245 w 9775"/>
                <a:gd name="connsiteY88" fmla="*/ 7588 h 10000"/>
                <a:gd name="connsiteX89" fmla="*/ 5461 w 9775"/>
                <a:gd name="connsiteY89" fmla="*/ 7588 h 10000"/>
                <a:gd name="connsiteX90" fmla="*/ 5754 w 9775"/>
                <a:gd name="connsiteY90" fmla="*/ 7462 h 10000"/>
                <a:gd name="connsiteX91" fmla="*/ 5764 w 9775"/>
                <a:gd name="connsiteY91" fmla="*/ 7378 h 10000"/>
                <a:gd name="connsiteX92" fmla="*/ 5888 w 9775"/>
                <a:gd name="connsiteY92" fmla="*/ 7397 h 10000"/>
                <a:gd name="connsiteX93" fmla="*/ 5883 w 9775"/>
                <a:gd name="connsiteY93" fmla="*/ 7482 h 10000"/>
                <a:gd name="connsiteX94" fmla="*/ 6080 w 9775"/>
                <a:gd name="connsiteY94" fmla="*/ 7476 h 10000"/>
                <a:gd name="connsiteX95" fmla="*/ 6209 w 9775"/>
                <a:gd name="connsiteY95" fmla="*/ 7388 h 10000"/>
                <a:gd name="connsiteX96" fmla="*/ 6450 w 9775"/>
                <a:gd name="connsiteY96" fmla="*/ 7309 h 10000"/>
                <a:gd name="connsiteX97" fmla="*/ 6411 w 9775"/>
                <a:gd name="connsiteY97" fmla="*/ 7219 h 10000"/>
                <a:gd name="connsiteX98" fmla="*/ 6483 w 9775"/>
                <a:gd name="connsiteY98" fmla="*/ 7254 h 10000"/>
                <a:gd name="connsiteX99" fmla="*/ 6593 w 9775"/>
                <a:gd name="connsiteY99" fmla="*/ 7254 h 10000"/>
                <a:gd name="connsiteX100" fmla="*/ 6593 w 9775"/>
                <a:gd name="connsiteY100" fmla="*/ 7213 h 10000"/>
                <a:gd name="connsiteX101" fmla="*/ 6695 w 9775"/>
                <a:gd name="connsiteY101" fmla="*/ 7181 h 10000"/>
                <a:gd name="connsiteX102" fmla="*/ 6681 w 9775"/>
                <a:gd name="connsiteY102" fmla="*/ 7148 h 10000"/>
                <a:gd name="connsiteX103" fmla="*/ 5817 w 9775"/>
                <a:gd name="connsiteY103" fmla="*/ 7215 h 10000"/>
                <a:gd name="connsiteX104" fmla="*/ 5615 w 9775"/>
                <a:gd name="connsiteY104" fmla="*/ 7195 h 10000"/>
                <a:gd name="connsiteX105" fmla="*/ 5533 w 9775"/>
                <a:gd name="connsiteY105" fmla="*/ 7219 h 10000"/>
                <a:gd name="connsiteX106" fmla="*/ 5505 w 9775"/>
                <a:gd name="connsiteY106" fmla="*/ 7173 h 10000"/>
                <a:gd name="connsiteX107" fmla="*/ 5409 w 9775"/>
                <a:gd name="connsiteY107" fmla="*/ 7132 h 10000"/>
                <a:gd name="connsiteX108" fmla="*/ 5024 w 9775"/>
                <a:gd name="connsiteY108" fmla="*/ 7052 h 10000"/>
                <a:gd name="connsiteX109" fmla="*/ 4798 w 9775"/>
                <a:gd name="connsiteY109" fmla="*/ 7065 h 10000"/>
                <a:gd name="connsiteX110" fmla="*/ 4708 w 9775"/>
                <a:gd name="connsiteY110" fmla="*/ 7042 h 10000"/>
                <a:gd name="connsiteX111" fmla="*/ 4803 w 9775"/>
                <a:gd name="connsiteY111" fmla="*/ 7022 h 10000"/>
                <a:gd name="connsiteX112" fmla="*/ 4875 w 9775"/>
                <a:gd name="connsiteY112" fmla="*/ 6979 h 10000"/>
                <a:gd name="connsiteX113" fmla="*/ 4982 w 9775"/>
                <a:gd name="connsiteY113" fmla="*/ 6993 h 10000"/>
                <a:gd name="connsiteX114" fmla="*/ 5110 w 9775"/>
                <a:gd name="connsiteY114" fmla="*/ 6981 h 10000"/>
                <a:gd name="connsiteX115" fmla="*/ 5303 w 9775"/>
                <a:gd name="connsiteY115" fmla="*/ 6995 h 10000"/>
                <a:gd name="connsiteX116" fmla="*/ 5326 w 9775"/>
                <a:gd name="connsiteY116" fmla="*/ 6989 h 10000"/>
                <a:gd name="connsiteX117" fmla="*/ 5475 w 9775"/>
                <a:gd name="connsiteY117" fmla="*/ 7056 h 10000"/>
                <a:gd name="connsiteX118" fmla="*/ 5585 w 9775"/>
                <a:gd name="connsiteY118" fmla="*/ 7032 h 10000"/>
                <a:gd name="connsiteX119" fmla="*/ 5594 w 9775"/>
                <a:gd name="connsiteY119" fmla="*/ 7010 h 10000"/>
                <a:gd name="connsiteX120" fmla="*/ 5696 w 9775"/>
                <a:gd name="connsiteY120" fmla="*/ 7048 h 10000"/>
                <a:gd name="connsiteX121" fmla="*/ 5830 w 9775"/>
                <a:gd name="connsiteY121" fmla="*/ 7069 h 10000"/>
                <a:gd name="connsiteX122" fmla="*/ 5883 w 9775"/>
                <a:gd name="connsiteY122" fmla="*/ 7030 h 10000"/>
                <a:gd name="connsiteX123" fmla="*/ 5926 w 9775"/>
                <a:gd name="connsiteY123" fmla="*/ 7052 h 10000"/>
                <a:gd name="connsiteX124" fmla="*/ 5988 w 9775"/>
                <a:gd name="connsiteY124" fmla="*/ 7126 h 10000"/>
                <a:gd name="connsiteX125" fmla="*/ 6118 w 9775"/>
                <a:gd name="connsiteY125" fmla="*/ 7144 h 10000"/>
                <a:gd name="connsiteX126" fmla="*/ 6646 w 9775"/>
                <a:gd name="connsiteY126" fmla="*/ 7034 h 10000"/>
                <a:gd name="connsiteX127" fmla="*/ 6906 w 9775"/>
                <a:gd name="connsiteY127" fmla="*/ 6879 h 10000"/>
                <a:gd name="connsiteX128" fmla="*/ 6967 w 9775"/>
                <a:gd name="connsiteY128" fmla="*/ 6765 h 10000"/>
                <a:gd name="connsiteX129" fmla="*/ 6873 w 9775"/>
                <a:gd name="connsiteY129" fmla="*/ 6663 h 10000"/>
                <a:gd name="connsiteX130" fmla="*/ 6675 w 9775"/>
                <a:gd name="connsiteY130" fmla="*/ 6602 h 10000"/>
                <a:gd name="connsiteX131" fmla="*/ 6535 w 9775"/>
                <a:gd name="connsiteY131" fmla="*/ 6502 h 10000"/>
                <a:gd name="connsiteX132" fmla="*/ 6666 w 9775"/>
                <a:gd name="connsiteY132" fmla="*/ 6498 h 10000"/>
                <a:gd name="connsiteX133" fmla="*/ 6657 w 9775"/>
                <a:gd name="connsiteY133" fmla="*/ 6474 h 10000"/>
                <a:gd name="connsiteX134" fmla="*/ 6317 w 9775"/>
                <a:gd name="connsiteY134" fmla="*/ 6403 h 10000"/>
                <a:gd name="connsiteX135" fmla="*/ 6303 w 9775"/>
                <a:gd name="connsiteY135" fmla="*/ 6339 h 10000"/>
                <a:gd name="connsiteX136" fmla="*/ 6237 w 9775"/>
                <a:gd name="connsiteY136" fmla="*/ 6272 h 10000"/>
                <a:gd name="connsiteX137" fmla="*/ 5969 w 9775"/>
                <a:gd name="connsiteY137" fmla="*/ 6284 h 10000"/>
                <a:gd name="connsiteX138" fmla="*/ 5873 w 9775"/>
                <a:gd name="connsiteY138" fmla="*/ 6213 h 10000"/>
                <a:gd name="connsiteX139" fmla="*/ 5817 w 9775"/>
                <a:gd name="connsiteY139" fmla="*/ 6209 h 10000"/>
                <a:gd name="connsiteX140" fmla="*/ 5817 w 9775"/>
                <a:gd name="connsiteY140" fmla="*/ 6238 h 10000"/>
                <a:gd name="connsiteX141" fmla="*/ 5696 w 9775"/>
                <a:gd name="connsiteY141" fmla="*/ 6358 h 10000"/>
                <a:gd name="connsiteX142" fmla="*/ 5565 w 9775"/>
                <a:gd name="connsiteY142" fmla="*/ 6429 h 10000"/>
                <a:gd name="connsiteX143" fmla="*/ 5157 w 9775"/>
                <a:gd name="connsiteY143" fmla="*/ 6551 h 10000"/>
                <a:gd name="connsiteX144" fmla="*/ 5014 w 9775"/>
                <a:gd name="connsiteY144" fmla="*/ 6547 h 10000"/>
                <a:gd name="connsiteX145" fmla="*/ 4817 w 9775"/>
                <a:gd name="connsiteY145" fmla="*/ 6565 h 10000"/>
                <a:gd name="connsiteX146" fmla="*/ 4708 w 9775"/>
                <a:gd name="connsiteY146" fmla="*/ 6547 h 10000"/>
                <a:gd name="connsiteX147" fmla="*/ 4851 w 9775"/>
                <a:gd name="connsiteY147" fmla="*/ 6513 h 10000"/>
                <a:gd name="connsiteX148" fmla="*/ 5039 w 9775"/>
                <a:gd name="connsiteY148" fmla="*/ 6498 h 10000"/>
                <a:gd name="connsiteX149" fmla="*/ 5193 w 9775"/>
                <a:gd name="connsiteY149" fmla="*/ 6441 h 10000"/>
                <a:gd name="connsiteX150" fmla="*/ 5345 w 9775"/>
                <a:gd name="connsiteY150" fmla="*/ 6415 h 10000"/>
                <a:gd name="connsiteX151" fmla="*/ 5629 w 9775"/>
                <a:gd name="connsiteY151" fmla="*/ 6317 h 10000"/>
                <a:gd name="connsiteX152" fmla="*/ 5683 w 9775"/>
                <a:gd name="connsiteY152" fmla="*/ 6252 h 10000"/>
                <a:gd name="connsiteX153" fmla="*/ 5687 w 9775"/>
                <a:gd name="connsiteY153" fmla="*/ 6168 h 10000"/>
                <a:gd name="connsiteX154" fmla="*/ 5557 w 9775"/>
                <a:gd name="connsiteY154" fmla="*/ 6154 h 10000"/>
                <a:gd name="connsiteX155" fmla="*/ 5615 w 9775"/>
                <a:gd name="connsiteY155" fmla="*/ 6103 h 10000"/>
                <a:gd name="connsiteX156" fmla="*/ 5633 w 9775"/>
                <a:gd name="connsiteY156" fmla="*/ 6038 h 10000"/>
                <a:gd name="connsiteX157" fmla="*/ 5579 w 9775"/>
                <a:gd name="connsiteY157" fmla="*/ 5977 h 10000"/>
                <a:gd name="connsiteX158" fmla="*/ 5547 w 9775"/>
                <a:gd name="connsiteY158" fmla="*/ 5533 h 10000"/>
                <a:gd name="connsiteX159" fmla="*/ 5625 w 9775"/>
                <a:gd name="connsiteY159" fmla="*/ 5437 h 10000"/>
                <a:gd name="connsiteX160" fmla="*/ 5605 w 9775"/>
                <a:gd name="connsiteY160" fmla="*/ 5398 h 10000"/>
                <a:gd name="connsiteX161" fmla="*/ 5830 w 9775"/>
                <a:gd name="connsiteY161" fmla="*/ 5455 h 10000"/>
                <a:gd name="connsiteX162" fmla="*/ 5845 w 9775"/>
                <a:gd name="connsiteY162" fmla="*/ 5402 h 10000"/>
                <a:gd name="connsiteX163" fmla="*/ 5797 w 9775"/>
                <a:gd name="connsiteY163" fmla="*/ 5264 h 10000"/>
                <a:gd name="connsiteX164" fmla="*/ 5959 w 9775"/>
                <a:gd name="connsiteY164" fmla="*/ 5019 h 10000"/>
                <a:gd name="connsiteX165" fmla="*/ 5859 w 9775"/>
                <a:gd name="connsiteY165" fmla="*/ 4960 h 10000"/>
                <a:gd name="connsiteX166" fmla="*/ 5821 w 9775"/>
                <a:gd name="connsiteY166" fmla="*/ 4905 h 10000"/>
                <a:gd name="connsiteX167" fmla="*/ 5834 w 9775"/>
                <a:gd name="connsiteY167" fmla="*/ 4816 h 10000"/>
                <a:gd name="connsiteX168" fmla="*/ 6072 w 9775"/>
                <a:gd name="connsiteY168" fmla="*/ 4875 h 10000"/>
                <a:gd name="connsiteX169" fmla="*/ 6080 w 9775"/>
                <a:gd name="connsiteY169" fmla="*/ 4858 h 10000"/>
                <a:gd name="connsiteX170" fmla="*/ 6146 w 9775"/>
                <a:gd name="connsiteY170" fmla="*/ 4842 h 10000"/>
                <a:gd name="connsiteX171" fmla="*/ 6237 w 9775"/>
                <a:gd name="connsiteY171" fmla="*/ 4785 h 10000"/>
                <a:gd name="connsiteX172" fmla="*/ 6252 w 9775"/>
                <a:gd name="connsiteY172" fmla="*/ 4769 h 10000"/>
                <a:gd name="connsiteX173" fmla="*/ 6233 w 9775"/>
                <a:gd name="connsiteY173" fmla="*/ 4748 h 10000"/>
                <a:gd name="connsiteX174" fmla="*/ 6281 w 9775"/>
                <a:gd name="connsiteY174" fmla="*/ 4647 h 10000"/>
                <a:gd name="connsiteX175" fmla="*/ 6223 w 9775"/>
                <a:gd name="connsiteY175" fmla="*/ 4581 h 10000"/>
                <a:gd name="connsiteX176" fmla="*/ 6233 w 9775"/>
                <a:gd name="connsiteY176" fmla="*/ 4528 h 10000"/>
                <a:gd name="connsiteX177" fmla="*/ 6266 w 9775"/>
                <a:gd name="connsiteY177" fmla="*/ 4590 h 10000"/>
                <a:gd name="connsiteX178" fmla="*/ 6396 w 9775"/>
                <a:gd name="connsiteY178" fmla="*/ 4636 h 10000"/>
                <a:gd name="connsiteX179" fmla="*/ 6450 w 9775"/>
                <a:gd name="connsiteY179" fmla="*/ 4630 h 10000"/>
                <a:gd name="connsiteX180" fmla="*/ 6535 w 9775"/>
                <a:gd name="connsiteY180" fmla="*/ 4569 h 10000"/>
                <a:gd name="connsiteX181" fmla="*/ 6627 w 9775"/>
                <a:gd name="connsiteY181" fmla="*/ 4594 h 10000"/>
                <a:gd name="connsiteX182" fmla="*/ 6652 w 9775"/>
                <a:gd name="connsiteY182" fmla="*/ 4545 h 10000"/>
                <a:gd name="connsiteX183" fmla="*/ 6714 w 9775"/>
                <a:gd name="connsiteY183" fmla="*/ 4512 h 10000"/>
                <a:gd name="connsiteX184" fmla="*/ 6545 w 9775"/>
                <a:gd name="connsiteY184" fmla="*/ 4477 h 10000"/>
                <a:gd name="connsiteX185" fmla="*/ 6666 w 9775"/>
                <a:gd name="connsiteY185" fmla="*/ 4484 h 10000"/>
                <a:gd name="connsiteX186" fmla="*/ 6789 w 9775"/>
                <a:gd name="connsiteY186" fmla="*/ 4447 h 10000"/>
                <a:gd name="connsiteX187" fmla="*/ 6785 w 9775"/>
                <a:gd name="connsiteY187" fmla="*/ 4422 h 10000"/>
                <a:gd name="connsiteX188" fmla="*/ 6901 w 9775"/>
                <a:gd name="connsiteY188" fmla="*/ 4398 h 10000"/>
                <a:gd name="connsiteX189" fmla="*/ 6911 w 9775"/>
                <a:gd name="connsiteY189" fmla="*/ 4337 h 10000"/>
                <a:gd name="connsiteX190" fmla="*/ 7002 w 9775"/>
                <a:gd name="connsiteY190" fmla="*/ 4325 h 10000"/>
                <a:gd name="connsiteX191" fmla="*/ 7010 w 9775"/>
                <a:gd name="connsiteY191" fmla="*/ 4253 h 10000"/>
                <a:gd name="connsiteX192" fmla="*/ 7106 w 9775"/>
                <a:gd name="connsiteY192" fmla="*/ 4245 h 10000"/>
                <a:gd name="connsiteX193" fmla="*/ 7255 w 9775"/>
                <a:gd name="connsiteY193" fmla="*/ 4260 h 10000"/>
                <a:gd name="connsiteX194" fmla="*/ 7418 w 9775"/>
                <a:gd name="connsiteY194" fmla="*/ 4202 h 10000"/>
                <a:gd name="connsiteX195" fmla="*/ 7476 w 9775"/>
                <a:gd name="connsiteY195" fmla="*/ 4137 h 10000"/>
                <a:gd name="connsiteX196" fmla="*/ 7678 w 9775"/>
                <a:gd name="connsiteY196" fmla="*/ 4070 h 10000"/>
                <a:gd name="connsiteX197" fmla="*/ 7778 w 9775"/>
                <a:gd name="connsiteY197" fmla="*/ 4111 h 10000"/>
                <a:gd name="connsiteX198" fmla="*/ 7932 w 9775"/>
                <a:gd name="connsiteY198" fmla="*/ 4066 h 10000"/>
                <a:gd name="connsiteX199" fmla="*/ 7969 w 9775"/>
                <a:gd name="connsiteY199" fmla="*/ 4009 h 10000"/>
                <a:gd name="connsiteX200" fmla="*/ 8086 w 9775"/>
                <a:gd name="connsiteY200" fmla="*/ 3970 h 10000"/>
                <a:gd name="connsiteX201" fmla="*/ 8186 w 9775"/>
                <a:gd name="connsiteY201" fmla="*/ 3987 h 10000"/>
                <a:gd name="connsiteX202" fmla="*/ 8248 w 9775"/>
                <a:gd name="connsiteY202" fmla="*/ 3958 h 10000"/>
                <a:gd name="connsiteX203" fmla="*/ 8421 w 9775"/>
                <a:gd name="connsiteY203" fmla="*/ 3917 h 10000"/>
                <a:gd name="connsiteX204" fmla="*/ 8493 w 9775"/>
                <a:gd name="connsiteY204" fmla="*/ 3864 h 10000"/>
                <a:gd name="connsiteX205" fmla="*/ 8590 w 9775"/>
                <a:gd name="connsiteY205" fmla="*/ 3842 h 10000"/>
                <a:gd name="connsiteX206" fmla="*/ 9122 w 9775"/>
                <a:gd name="connsiteY206" fmla="*/ 3522 h 10000"/>
                <a:gd name="connsiteX207" fmla="*/ 9775 w 9775"/>
                <a:gd name="connsiteY207" fmla="*/ 440 h 10000"/>
                <a:gd name="connsiteX208" fmla="*/ 9358 w 9775"/>
                <a:gd name="connsiteY208" fmla="*/ 389 h 10000"/>
                <a:gd name="connsiteX209" fmla="*/ 8493 w 9775"/>
                <a:gd name="connsiteY209" fmla="*/ 26 h 10000"/>
                <a:gd name="connsiteX210" fmla="*/ 8464 w 9775"/>
                <a:gd name="connsiteY210" fmla="*/ 2 h 10000"/>
                <a:gd name="connsiteX211" fmla="*/ 8171 w 9775"/>
                <a:gd name="connsiteY211" fmla="*/ 0 h 10000"/>
                <a:gd name="connsiteX212" fmla="*/ 8105 w 9775"/>
                <a:gd name="connsiteY212" fmla="*/ 14 h 10000"/>
                <a:gd name="connsiteX213" fmla="*/ 8120 w 9775"/>
                <a:gd name="connsiteY213" fmla="*/ 61 h 10000"/>
                <a:gd name="connsiteX214" fmla="*/ 8177 w 9775"/>
                <a:gd name="connsiteY214" fmla="*/ 86 h 10000"/>
                <a:gd name="connsiteX215" fmla="*/ 8192 w 9775"/>
                <a:gd name="connsiteY215" fmla="*/ 139 h 10000"/>
                <a:gd name="connsiteX216" fmla="*/ 8171 w 9775"/>
                <a:gd name="connsiteY216" fmla="*/ 181 h 10000"/>
                <a:gd name="connsiteX217" fmla="*/ 8120 w 9775"/>
                <a:gd name="connsiteY217" fmla="*/ 208 h 10000"/>
                <a:gd name="connsiteX218" fmla="*/ 8080 w 9775"/>
                <a:gd name="connsiteY218" fmla="*/ 283 h 10000"/>
                <a:gd name="connsiteX219" fmla="*/ 8009 w 9775"/>
                <a:gd name="connsiteY219" fmla="*/ 336 h 10000"/>
                <a:gd name="connsiteX220" fmla="*/ 8024 w 9775"/>
                <a:gd name="connsiteY220" fmla="*/ 387 h 10000"/>
                <a:gd name="connsiteX221" fmla="*/ 8134 w 9775"/>
                <a:gd name="connsiteY221" fmla="*/ 434 h 10000"/>
                <a:gd name="connsiteX222" fmla="*/ 8062 w 9775"/>
                <a:gd name="connsiteY222" fmla="*/ 475 h 10000"/>
                <a:gd name="connsiteX223" fmla="*/ 7956 w 9775"/>
                <a:gd name="connsiteY223" fmla="*/ 485 h 10000"/>
                <a:gd name="connsiteX224" fmla="*/ 7073 w 9775"/>
                <a:gd name="connsiteY224" fmla="*/ 387 h 10000"/>
                <a:gd name="connsiteX225" fmla="*/ 6967 w 9775"/>
                <a:gd name="connsiteY225" fmla="*/ 395 h 10000"/>
                <a:gd name="connsiteX226" fmla="*/ 6906 w 9775"/>
                <a:gd name="connsiteY226" fmla="*/ 414 h 10000"/>
                <a:gd name="connsiteX227" fmla="*/ 6842 w 9775"/>
                <a:gd name="connsiteY227" fmla="*/ 462 h 10000"/>
                <a:gd name="connsiteX228" fmla="*/ 6853 w 9775"/>
                <a:gd name="connsiteY228" fmla="*/ 581 h 10000"/>
                <a:gd name="connsiteX229" fmla="*/ 6756 w 9775"/>
                <a:gd name="connsiteY229" fmla="*/ 735 h 10000"/>
                <a:gd name="connsiteX230" fmla="*/ 6637 w 9775"/>
                <a:gd name="connsiteY230" fmla="*/ 815 h 10000"/>
                <a:gd name="connsiteX231" fmla="*/ 6589 w 9775"/>
                <a:gd name="connsiteY231" fmla="*/ 805 h 10000"/>
                <a:gd name="connsiteX232" fmla="*/ 6479 w 9775"/>
                <a:gd name="connsiteY232" fmla="*/ 739 h 10000"/>
                <a:gd name="connsiteX233" fmla="*/ 6340 w 9775"/>
                <a:gd name="connsiteY233" fmla="*/ 705 h 10000"/>
                <a:gd name="connsiteX234" fmla="*/ 6189 w 9775"/>
                <a:gd name="connsiteY234" fmla="*/ 715 h 10000"/>
                <a:gd name="connsiteX235" fmla="*/ 5841 w 9775"/>
                <a:gd name="connsiteY235" fmla="*/ 866 h 10000"/>
                <a:gd name="connsiteX236" fmla="*/ 5749 w 9775"/>
                <a:gd name="connsiteY236" fmla="*/ 1017 h 10000"/>
                <a:gd name="connsiteX237" fmla="*/ 5486 w 9775"/>
                <a:gd name="connsiteY237" fmla="*/ 1153 h 10000"/>
                <a:gd name="connsiteX238" fmla="*/ 5438 w 9775"/>
                <a:gd name="connsiteY238" fmla="*/ 1222 h 10000"/>
                <a:gd name="connsiteX239" fmla="*/ 5575 w 9775"/>
                <a:gd name="connsiteY239" fmla="*/ 1344 h 10000"/>
                <a:gd name="connsiteX240" fmla="*/ 5589 w 9775"/>
                <a:gd name="connsiteY240" fmla="*/ 1412 h 10000"/>
                <a:gd name="connsiteX241" fmla="*/ 4871 w 9775"/>
                <a:gd name="connsiteY241" fmla="*/ 1813 h 10000"/>
                <a:gd name="connsiteX242" fmla="*/ 4650 w 9775"/>
                <a:gd name="connsiteY242" fmla="*/ 2070 h 10000"/>
                <a:gd name="connsiteX243" fmla="*/ 4412 w 9775"/>
                <a:gd name="connsiteY243" fmla="*/ 2135 h 10000"/>
                <a:gd name="connsiteX244" fmla="*/ 4261 w 9775"/>
                <a:gd name="connsiteY244" fmla="*/ 2131 h 10000"/>
                <a:gd name="connsiteX245" fmla="*/ 4170 w 9775"/>
                <a:gd name="connsiteY245" fmla="*/ 2153 h 10000"/>
                <a:gd name="connsiteX246" fmla="*/ 3921 w 9775"/>
                <a:gd name="connsiteY246" fmla="*/ 2793 h 10000"/>
                <a:gd name="connsiteX247" fmla="*/ 3346 w 9775"/>
                <a:gd name="connsiteY247" fmla="*/ 3166 h 10000"/>
                <a:gd name="connsiteX248" fmla="*/ 3350 w 9775"/>
                <a:gd name="connsiteY248" fmla="*/ 3225 h 10000"/>
                <a:gd name="connsiteX249" fmla="*/ 3605 w 9775"/>
                <a:gd name="connsiteY249" fmla="*/ 3392 h 10000"/>
                <a:gd name="connsiteX250" fmla="*/ 3522 w 9775"/>
                <a:gd name="connsiteY250" fmla="*/ 3573 h 10000"/>
                <a:gd name="connsiteX251" fmla="*/ 3373 w 9775"/>
                <a:gd name="connsiteY251" fmla="*/ 3640 h 10000"/>
                <a:gd name="connsiteX252" fmla="*/ 2927 w 9775"/>
                <a:gd name="connsiteY252" fmla="*/ 3595 h 10000"/>
                <a:gd name="connsiteX253" fmla="*/ 2620 w 9775"/>
                <a:gd name="connsiteY253" fmla="*/ 3620 h 10000"/>
                <a:gd name="connsiteX254" fmla="*/ 2372 w 9775"/>
                <a:gd name="connsiteY254" fmla="*/ 3673 h 10000"/>
                <a:gd name="connsiteX255" fmla="*/ 1973 w 9775"/>
                <a:gd name="connsiteY255" fmla="*/ 3840 h 10000"/>
                <a:gd name="connsiteX256" fmla="*/ 1761 w 9775"/>
                <a:gd name="connsiteY256" fmla="*/ 4042 h 10000"/>
                <a:gd name="connsiteX257" fmla="*/ 1779 w 9775"/>
                <a:gd name="connsiteY257" fmla="*/ 4154 h 10000"/>
                <a:gd name="connsiteX258" fmla="*/ 1853 w 9775"/>
                <a:gd name="connsiteY258" fmla="*/ 4241 h 10000"/>
                <a:gd name="connsiteX259" fmla="*/ 1909 w 9775"/>
                <a:gd name="connsiteY259" fmla="*/ 4276 h 10000"/>
                <a:gd name="connsiteX260" fmla="*/ 1805 w 9775"/>
                <a:gd name="connsiteY260" fmla="*/ 4331 h 10000"/>
                <a:gd name="connsiteX261" fmla="*/ 1580 w 9775"/>
                <a:gd name="connsiteY261" fmla="*/ 4710 h 10000"/>
                <a:gd name="connsiteX262" fmla="*/ 1623 w 9775"/>
                <a:gd name="connsiteY262" fmla="*/ 4732 h 10000"/>
                <a:gd name="connsiteX263" fmla="*/ 1656 w 9775"/>
                <a:gd name="connsiteY263" fmla="*/ 4828 h 10000"/>
                <a:gd name="connsiteX264" fmla="*/ 1550 w 9775"/>
                <a:gd name="connsiteY264" fmla="*/ 5227 h 10000"/>
                <a:gd name="connsiteX265" fmla="*/ 1656 w 9775"/>
                <a:gd name="connsiteY265" fmla="*/ 5329 h 10000"/>
                <a:gd name="connsiteX266" fmla="*/ 1943 w 9775"/>
                <a:gd name="connsiteY266" fmla="*/ 5441 h 10000"/>
                <a:gd name="connsiteX267" fmla="*/ 1957 w 9775"/>
                <a:gd name="connsiteY267" fmla="*/ 5578 h 10000"/>
                <a:gd name="connsiteX268" fmla="*/ 1834 w 9775"/>
                <a:gd name="connsiteY268" fmla="*/ 5690 h 10000"/>
                <a:gd name="connsiteX269" fmla="*/ 1656 w 9775"/>
                <a:gd name="connsiteY269" fmla="*/ 5759 h 10000"/>
                <a:gd name="connsiteX270" fmla="*/ 1420 w 9775"/>
                <a:gd name="connsiteY270" fmla="*/ 5787 h 10000"/>
                <a:gd name="connsiteX271" fmla="*/ 1359 w 9775"/>
                <a:gd name="connsiteY271" fmla="*/ 5826 h 10000"/>
                <a:gd name="connsiteX272" fmla="*/ 1496 w 9775"/>
                <a:gd name="connsiteY272" fmla="*/ 5920 h 10000"/>
                <a:gd name="connsiteX273" fmla="*/ 1575 w 9775"/>
                <a:gd name="connsiteY273" fmla="*/ 6142 h 10000"/>
                <a:gd name="connsiteX274" fmla="*/ 1397 w 9775"/>
                <a:gd name="connsiteY274" fmla="*/ 6333 h 10000"/>
                <a:gd name="connsiteX275" fmla="*/ 1458 w 9775"/>
                <a:gd name="connsiteY275" fmla="*/ 6392 h 10000"/>
                <a:gd name="connsiteX276" fmla="*/ 1402 w 9775"/>
                <a:gd name="connsiteY276" fmla="*/ 6492 h 10000"/>
                <a:gd name="connsiteX277" fmla="*/ 1287 w 9775"/>
                <a:gd name="connsiteY277" fmla="*/ 6561 h 10000"/>
                <a:gd name="connsiteX278" fmla="*/ 835 w 9775"/>
                <a:gd name="connsiteY278" fmla="*/ 6614 h 10000"/>
                <a:gd name="connsiteX279" fmla="*/ 807 w 9775"/>
                <a:gd name="connsiteY279" fmla="*/ 6706 h 10000"/>
                <a:gd name="connsiteX280" fmla="*/ 563 w 9775"/>
                <a:gd name="connsiteY280" fmla="*/ 6843 h 10000"/>
                <a:gd name="connsiteX281" fmla="*/ 595 w 9775"/>
                <a:gd name="connsiteY281" fmla="*/ 7040 h 10000"/>
                <a:gd name="connsiteX282" fmla="*/ 389 w 9775"/>
                <a:gd name="connsiteY282" fmla="*/ 7293 h 10000"/>
                <a:gd name="connsiteX283" fmla="*/ 249 w 9775"/>
                <a:gd name="connsiteY283" fmla="*/ 7323 h 10000"/>
                <a:gd name="connsiteX284" fmla="*/ 192 w 9775"/>
                <a:gd name="connsiteY284" fmla="*/ 7262 h 10000"/>
                <a:gd name="connsiteX285" fmla="*/ 120 w 9775"/>
                <a:gd name="connsiteY285" fmla="*/ 7354 h 10000"/>
                <a:gd name="connsiteX286" fmla="*/ 167 w 9775"/>
                <a:gd name="connsiteY286" fmla="*/ 7197 h 10000"/>
                <a:gd name="connsiteX287" fmla="*/ 138 w 9775"/>
                <a:gd name="connsiteY287" fmla="*/ 7166 h 10000"/>
                <a:gd name="connsiteX0" fmla="*/ 141 w 9601"/>
                <a:gd name="connsiteY0" fmla="*/ 7166 h 10000"/>
                <a:gd name="connsiteX1" fmla="*/ 0 w 9601"/>
                <a:gd name="connsiteY1" fmla="*/ 7248 h 10000"/>
                <a:gd name="connsiteX2" fmla="*/ 0 w 9601"/>
                <a:gd name="connsiteY2" fmla="*/ 7651 h 10000"/>
                <a:gd name="connsiteX3" fmla="*/ 78 w 9601"/>
                <a:gd name="connsiteY3" fmla="*/ 7663 h 10000"/>
                <a:gd name="connsiteX4" fmla="*/ 96 w 9601"/>
                <a:gd name="connsiteY4" fmla="*/ 7694 h 10000"/>
                <a:gd name="connsiteX5" fmla="*/ 92 w 9601"/>
                <a:gd name="connsiteY5" fmla="*/ 7749 h 10000"/>
                <a:gd name="connsiteX6" fmla="*/ 63 w 9601"/>
                <a:gd name="connsiteY6" fmla="*/ 7773 h 10000"/>
                <a:gd name="connsiteX7" fmla="*/ 182 w 9601"/>
                <a:gd name="connsiteY7" fmla="*/ 7727 h 10000"/>
                <a:gd name="connsiteX8" fmla="*/ 232 w 9601"/>
                <a:gd name="connsiteY8" fmla="*/ 7680 h 10000"/>
                <a:gd name="connsiteX9" fmla="*/ 294 w 9601"/>
                <a:gd name="connsiteY9" fmla="*/ 7712 h 10000"/>
                <a:gd name="connsiteX10" fmla="*/ 226 w 9601"/>
                <a:gd name="connsiteY10" fmla="*/ 7778 h 10000"/>
                <a:gd name="connsiteX11" fmla="*/ 299 w 9601"/>
                <a:gd name="connsiteY11" fmla="*/ 7780 h 10000"/>
                <a:gd name="connsiteX12" fmla="*/ 334 w 9601"/>
                <a:gd name="connsiteY12" fmla="*/ 7796 h 10000"/>
                <a:gd name="connsiteX13" fmla="*/ 240 w 9601"/>
                <a:gd name="connsiteY13" fmla="*/ 7818 h 10000"/>
                <a:gd name="connsiteX14" fmla="*/ 92 w 9601"/>
                <a:gd name="connsiteY14" fmla="*/ 7886 h 10000"/>
                <a:gd name="connsiteX15" fmla="*/ 355 w 9601"/>
                <a:gd name="connsiteY15" fmla="*/ 7938 h 10000"/>
                <a:gd name="connsiteX16" fmla="*/ 388 w 9601"/>
                <a:gd name="connsiteY16" fmla="*/ 8014 h 10000"/>
                <a:gd name="connsiteX17" fmla="*/ 299 w 9601"/>
                <a:gd name="connsiteY17" fmla="*/ 8126 h 10000"/>
                <a:gd name="connsiteX18" fmla="*/ 491 w 9601"/>
                <a:gd name="connsiteY18" fmla="*/ 8118 h 10000"/>
                <a:gd name="connsiteX19" fmla="*/ 505 w 9601"/>
                <a:gd name="connsiteY19" fmla="*/ 8203 h 10000"/>
                <a:gd name="connsiteX20" fmla="*/ 377 w 9601"/>
                <a:gd name="connsiteY20" fmla="*/ 8260 h 10000"/>
                <a:gd name="connsiteX21" fmla="*/ 398 w 9601"/>
                <a:gd name="connsiteY21" fmla="*/ 8370 h 10000"/>
                <a:gd name="connsiteX22" fmla="*/ 349 w 9601"/>
                <a:gd name="connsiteY22" fmla="*/ 8456 h 10000"/>
                <a:gd name="connsiteX23" fmla="*/ 500 w 9601"/>
                <a:gd name="connsiteY23" fmla="*/ 8464 h 10000"/>
                <a:gd name="connsiteX24" fmla="*/ 649 w 9601"/>
                <a:gd name="connsiteY24" fmla="*/ 8792 h 10000"/>
                <a:gd name="connsiteX25" fmla="*/ 819 w 9601"/>
                <a:gd name="connsiteY25" fmla="*/ 8876 h 10000"/>
                <a:gd name="connsiteX26" fmla="*/ 894 w 9601"/>
                <a:gd name="connsiteY26" fmla="*/ 8965 h 10000"/>
                <a:gd name="connsiteX27" fmla="*/ 1080 w 9601"/>
                <a:gd name="connsiteY27" fmla="*/ 9030 h 10000"/>
                <a:gd name="connsiteX28" fmla="*/ 1199 w 9601"/>
                <a:gd name="connsiteY28" fmla="*/ 9112 h 10000"/>
                <a:gd name="connsiteX29" fmla="*/ 1184 w 9601"/>
                <a:gd name="connsiteY29" fmla="*/ 9171 h 10000"/>
                <a:gd name="connsiteX30" fmla="*/ 1066 w 9601"/>
                <a:gd name="connsiteY30" fmla="*/ 9193 h 10000"/>
                <a:gd name="connsiteX31" fmla="*/ 937 w 9601"/>
                <a:gd name="connsiteY31" fmla="*/ 9179 h 10000"/>
                <a:gd name="connsiteX32" fmla="*/ 898 w 9601"/>
                <a:gd name="connsiteY32" fmla="*/ 9204 h 10000"/>
                <a:gd name="connsiteX33" fmla="*/ 996 w 9601"/>
                <a:gd name="connsiteY33" fmla="*/ 9332 h 10000"/>
                <a:gd name="connsiteX34" fmla="*/ 858 w 9601"/>
                <a:gd name="connsiteY34" fmla="*/ 9322 h 10000"/>
                <a:gd name="connsiteX35" fmla="*/ 742 w 9601"/>
                <a:gd name="connsiteY35" fmla="*/ 9291 h 10000"/>
                <a:gd name="connsiteX36" fmla="*/ 720 w 9601"/>
                <a:gd name="connsiteY36" fmla="*/ 9338 h 10000"/>
                <a:gd name="connsiteX37" fmla="*/ 1109 w 9601"/>
                <a:gd name="connsiteY37" fmla="*/ 9776 h 10000"/>
                <a:gd name="connsiteX38" fmla="*/ 1047 w 9601"/>
                <a:gd name="connsiteY38" fmla="*/ 9817 h 10000"/>
                <a:gd name="connsiteX39" fmla="*/ 1003 w 9601"/>
                <a:gd name="connsiteY39" fmla="*/ 9902 h 10000"/>
                <a:gd name="connsiteX40" fmla="*/ 948 w 9601"/>
                <a:gd name="connsiteY40" fmla="*/ 9908 h 10000"/>
                <a:gd name="connsiteX41" fmla="*/ 913 w 9601"/>
                <a:gd name="connsiteY41" fmla="*/ 9945 h 10000"/>
                <a:gd name="connsiteX42" fmla="*/ 1147 w 9601"/>
                <a:gd name="connsiteY42" fmla="*/ 9949 h 10000"/>
                <a:gd name="connsiteX43" fmla="*/ 1354 w 9601"/>
                <a:gd name="connsiteY43" fmla="*/ 9986 h 10000"/>
                <a:gd name="connsiteX44" fmla="*/ 1698 w 9601"/>
                <a:gd name="connsiteY44" fmla="*/ 9947 h 10000"/>
                <a:gd name="connsiteX45" fmla="*/ 2008 w 9601"/>
                <a:gd name="connsiteY45" fmla="*/ 9953 h 10000"/>
                <a:gd name="connsiteX46" fmla="*/ 2189 w 9601"/>
                <a:gd name="connsiteY46" fmla="*/ 10000 h 10000"/>
                <a:gd name="connsiteX47" fmla="*/ 2290 w 9601"/>
                <a:gd name="connsiteY47" fmla="*/ 9969 h 10000"/>
                <a:gd name="connsiteX48" fmla="*/ 2386 w 9601"/>
                <a:gd name="connsiteY48" fmla="*/ 9868 h 10000"/>
                <a:gd name="connsiteX49" fmla="*/ 2361 w 9601"/>
                <a:gd name="connsiteY49" fmla="*/ 9703 h 10000"/>
                <a:gd name="connsiteX50" fmla="*/ 2596 w 9601"/>
                <a:gd name="connsiteY50" fmla="*/ 9517 h 10000"/>
                <a:gd name="connsiteX51" fmla="*/ 2768 w 9601"/>
                <a:gd name="connsiteY51" fmla="*/ 9546 h 10000"/>
                <a:gd name="connsiteX52" fmla="*/ 2868 w 9601"/>
                <a:gd name="connsiteY52" fmla="*/ 9472 h 10000"/>
                <a:gd name="connsiteX53" fmla="*/ 3059 w 9601"/>
                <a:gd name="connsiteY53" fmla="*/ 9430 h 10000"/>
                <a:gd name="connsiteX54" fmla="*/ 3319 w 9601"/>
                <a:gd name="connsiteY54" fmla="*/ 9440 h 10000"/>
                <a:gd name="connsiteX55" fmla="*/ 3476 w 9601"/>
                <a:gd name="connsiteY55" fmla="*/ 9470 h 10000"/>
                <a:gd name="connsiteX56" fmla="*/ 3684 w 9601"/>
                <a:gd name="connsiteY56" fmla="*/ 9456 h 10000"/>
                <a:gd name="connsiteX57" fmla="*/ 3894 w 9601"/>
                <a:gd name="connsiteY57" fmla="*/ 9489 h 10000"/>
                <a:gd name="connsiteX58" fmla="*/ 4104 w 9601"/>
                <a:gd name="connsiteY58" fmla="*/ 9493 h 10000"/>
                <a:gd name="connsiteX59" fmla="*/ 4575 w 9601"/>
                <a:gd name="connsiteY59" fmla="*/ 9061 h 10000"/>
                <a:gd name="connsiteX60" fmla="*/ 4694 w 9601"/>
                <a:gd name="connsiteY60" fmla="*/ 8711 h 10000"/>
                <a:gd name="connsiteX61" fmla="*/ 4885 w 9601"/>
                <a:gd name="connsiteY61" fmla="*/ 8554 h 10000"/>
                <a:gd name="connsiteX62" fmla="*/ 4885 w 9601"/>
                <a:gd name="connsiteY62" fmla="*/ 8472 h 10000"/>
                <a:gd name="connsiteX63" fmla="*/ 4816 w 9601"/>
                <a:gd name="connsiteY63" fmla="*/ 8425 h 10000"/>
                <a:gd name="connsiteX64" fmla="*/ 4928 w 9601"/>
                <a:gd name="connsiteY64" fmla="*/ 8352 h 10000"/>
                <a:gd name="connsiteX65" fmla="*/ 4908 w 9601"/>
                <a:gd name="connsiteY65" fmla="*/ 8289 h 10000"/>
                <a:gd name="connsiteX66" fmla="*/ 4831 w 9601"/>
                <a:gd name="connsiteY66" fmla="*/ 8236 h 10000"/>
                <a:gd name="connsiteX67" fmla="*/ 4816 w 9601"/>
                <a:gd name="connsiteY67" fmla="*/ 8199 h 10000"/>
                <a:gd name="connsiteX68" fmla="*/ 4835 w 9601"/>
                <a:gd name="connsiteY68" fmla="*/ 8169 h 10000"/>
                <a:gd name="connsiteX69" fmla="*/ 4939 w 9601"/>
                <a:gd name="connsiteY69" fmla="*/ 8193 h 10000"/>
                <a:gd name="connsiteX70" fmla="*/ 5021 w 9601"/>
                <a:gd name="connsiteY70" fmla="*/ 8191 h 10000"/>
                <a:gd name="connsiteX71" fmla="*/ 4977 w 9601"/>
                <a:gd name="connsiteY71" fmla="*/ 8140 h 10000"/>
                <a:gd name="connsiteX72" fmla="*/ 4991 w 9601"/>
                <a:gd name="connsiteY72" fmla="*/ 8112 h 10000"/>
                <a:gd name="connsiteX73" fmla="*/ 5052 w 9601"/>
                <a:gd name="connsiteY73" fmla="*/ 8069 h 10000"/>
                <a:gd name="connsiteX74" fmla="*/ 5041 w 9601"/>
                <a:gd name="connsiteY74" fmla="*/ 8034 h 10000"/>
                <a:gd name="connsiteX75" fmla="*/ 5097 w 9601"/>
                <a:gd name="connsiteY75" fmla="*/ 7916 h 10000"/>
                <a:gd name="connsiteX76" fmla="*/ 5082 w 9601"/>
                <a:gd name="connsiteY76" fmla="*/ 7881 h 10000"/>
                <a:gd name="connsiteX77" fmla="*/ 4797 w 9601"/>
                <a:gd name="connsiteY77" fmla="*/ 7792 h 10000"/>
                <a:gd name="connsiteX78" fmla="*/ 4835 w 9601"/>
                <a:gd name="connsiteY78" fmla="*/ 7788 h 10000"/>
                <a:gd name="connsiteX79" fmla="*/ 4987 w 9601"/>
                <a:gd name="connsiteY79" fmla="*/ 7812 h 10000"/>
                <a:gd name="connsiteX80" fmla="*/ 5151 w 9601"/>
                <a:gd name="connsiteY80" fmla="*/ 7804 h 10000"/>
                <a:gd name="connsiteX81" fmla="*/ 5199 w 9601"/>
                <a:gd name="connsiteY81" fmla="*/ 7771 h 10000"/>
                <a:gd name="connsiteX82" fmla="*/ 5041 w 9601"/>
                <a:gd name="connsiteY82" fmla="*/ 7710 h 10000"/>
                <a:gd name="connsiteX83" fmla="*/ 4571 w 9601"/>
                <a:gd name="connsiteY83" fmla="*/ 7670 h 10000"/>
                <a:gd name="connsiteX84" fmla="*/ 4603 w 9601"/>
                <a:gd name="connsiteY84" fmla="*/ 7651 h 10000"/>
                <a:gd name="connsiteX85" fmla="*/ 4987 w 9601"/>
                <a:gd name="connsiteY85" fmla="*/ 7639 h 10000"/>
                <a:gd name="connsiteX86" fmla="*/ 5199 w 9601"/>
                <a:gd name="connsiteY86" fmla="*/ 7676 h 10000"/>
                <a:gd name="connsiteX87" fmla="*/ 5321 w 9601"/>
                <a:gd name="connsiteY87" fmla="*/ 7651 h 10000"/>
                <a:gd name="connsiteX88" fmla="*/ 5366 w 9601"/>
                <a:gd name="connsiteY88" fmla="*/ 7588 h 10000"/>
                <a:gd name="connsiteX89" fmla="*/ 5587 w 9601"/>
                <a:gd name="connsiteY89" fmla="*/ 7588 h 10000"/>
                <a:gd name="connsiteX90" fmla="*/ 5886 w 9601"/>
                <a:gd name="connsiteY90" fmla="*/ 7462 h 10000"/>
                <a:gd name="connsiteX91" fmla="*/ 5897 w 9601"/>
                <a:gd name="connsiteY91" fmla="*/ 7378 h 10000"/>
                <a:gd name="connsiteX92" fmla="*/ 6024 w 9601"/>
                <a:gd name="connsiteY92" fmla="*/ 7397 h 10000"/>
                <a:gd name="connsiteX93" fmla="*/ 6018 w 9601"/>
                <a:gd name="connsiteY93" fmla="*/ 7482 h 10000"/>
                <a:gd name="connsiteX94" fmla="*/ 6220 w 9601"/>
                <a:gd name="connsiteY94" fmla="*/ 7476 h 10000"/>
                <a:gd name="connsiteX95" fmla="*/ 6352 w 9601"/>
                <a:gd name="connsiteY95" fmla="*/ 7388 h 10000"/>
                <a:gd name="connsiteX96" fmla="*/ 6598 w 9601"/>
                <a:gd name="connsiteY96" fmla="*/ 7309 h 10000"/>
                <a:gd name="connsiteX97" fmla="*/ 6559 w 9601"/>
                <a:gd name="connsiteY97" fmla="*/ 7219 h 10000"/>
                <a:gd name="connsiteX98" fmla="*/ 6632 w 9601"/>
                <a:gd name="connsiteY98" fmla="*/ 7254 h 10000"/>
                <a:gd name="connsiteX99" fmla="*/ 6745 w 9601"/>
                <a:gd name="connsiteY99" fmla="*/ 7254 h 10000"/>
                <a:gd name="connsiteX100" fmla="*/ 6745 w 9601"/>
                <a:gd name="connsiteY100" fmla="*/ 7213 h 10000"/>
                <a:gd name="connsiteX101" fmla="*/ 6849 w 9601"/>
                <a:gd name="connsiteY101" fmla="*/ 7181 h 10000"/>
                <a:gd name="connsiteX102" fmla="*/ 6835 w 9601"/>
                <a:gd name="connsiteY102" fmla="*/ 7148 h 10000"/>
                <a:gd name="connsiteX103" fmla="*/ 5951 w 9601"/>
                <a:gd name="connsiteY103" fmla="*/ 7215 h 10000"/>
                <a:gd name="connsiteX104" fmla="*/ 5744 w 9601"/>
                <a:gd name="connsiteY104" fmla="*/ 7195 h 10000"/>
                <a:gd name="connsiteX105" fmla="*/ 5660 w 9601"/>
                <a:gd name="connsiteY105" fmla="*/ 7219 h 10000"/>
                <a:gd name="connsiteX106" fmla="*/ 5632 w 9601"/>
                <a:gd name="connsiteY106" fmla="*/ 7173 h 10000"/>
                <a:gd name="connsiteX107" fmla="*/ 5534 w 9601"/>
                <a:gd name="connsiteY107" fmla="*/ 7132 h 10000"/>
                <a:gd name="connsiteX108" fmla="*/ 5140 w 9601"/>
                <a:gd name="connsiteY108" fmla="*/ 7052 h 10000"/>
                <a:gd name="connsiteX109" fmla="*/ 4908 w 9601"/>
                <a:gd name="connsiteY109" fmla="*/ 7065 h 10000"/>
                <a:gd name="connsiteX110" fmla="*/ 4816 w 9601"/>
                <a:gd name="connsiteY110" fmla="*/ 7042 h 10000"/>
                <a:gd name="connsiteX111" fmla="*/ 4914 w 9601"/>
                <a:gd name="connsiteY111" fmla="*/ 7022 h 10000"/>
                <a:gd name="connsiteX112" fmla="*/ 4987 w 9601"/>
                <a:gd name="connsiteY112" fmla="*/ 6979 h 10000"/>
                <a:gd name="connsiteX113" fmla="*/ 5097 w 9601"/>
                <a:gd name="connsiteY113" fmla="*/ 6993 h 10000"/>
                <a:gd name="connsiteX114" fmla="*/ 5228 w 9601"/>
                <a:gd name="connsiteY114" fmla="*/ 6981 h 10000"/>
                <a:gd name="connsiteX115" fmla="*/ 5425 w 9601"/>
                <a:gd name="connsiteY115" fmla="*/ 6995 h 10000"/>
                <a:gd name="connsiteX116" fmla="*/ 5449 w 9601"/>
                <a:gd name="connsiteY116" fmla="*/ 6989 h 10000"/>
                <a:gd name="connsiteX117" fmla="*/ 5601 w 9601"/>
                <a:gd name="connsiteY117" fmla="*/ 7056 h 10000"/>
                <a:gd name="connsiteX118" fmla="*/ 5714 w 9601"/>
                <a:gd name="connsiteY118" fmla="*/ 7032 h 10000"/>
                <a:gd name="connsiteX119" fmla="*/ 5723 w 9601"/>
                <a:gd name="connsiteY119" fmla="*/ 7010 h 10000"/>
                <a:gd name="connsiteX120" fmla="*/ 5827 w 9601"/>
                <a:gd name="connsiteY120" fmla="*/ 7048 h 10000"/>
                <a:gd name="connsiteX121" fmla="*/ 5964 w 9601"/>
                <a:gd name="connsiteY121" fmla="*/ 7069 h 10000"/>
                <a:gd name="connsiteX122" fmla="*/ 6018 w 9601"/>
                <a:gd name="connsiteY122" fmla="*/ 7030 h 10000"/>
                <a:gd name="connsiteX123" fmla="*/ 6062 w 9601"/>
                <a:gd name="connsiteY123" fmla="*/ 7052 h 10000"/>
                <a:gd name="connsiteX124" fmla="*/ 6126 w 9601"/>
                <a:gd name="connsiteY124" fmla="*/ 7126 h 10000"/>
                <a:gd name="connsiteX125" fmla="*/ 6259 w 9601"/>
                <a:gd name="connsiteY125" fmla="*/ 7144 h 10000"/>
                <a:gd name="connsiteX126" fmla="*/ 6799 w 9601"/>
                <a:gd name="connsiteY126" fmla="*/ 7034 h 10000"/>
                <a:gd name="connsiteX127" fmla="*/ 7065 w 9601"/>
                <a:gd name="connsiteY127" fmla="*/ 6879 h 10000"/>
                <a:gd name="connsiteX128" fmla="*/ 7127 w 9601"/>
                <a:gd name="connsiteY128" fmla="*/ 6765 h 10000"/>
                <a:gd name="connsiteX129" fmla="*/ 7031 w 9601"/>
                <a:gd name="connsiteY129" fmla="*/ 6663 h 10000"/>
                <a:gd name="connsiteX130" fmla="*/ 6829 w 9601"/>
                <a:gd name="connsiteY130" fmla="*/ 6602 h 10000"/>
                <a:gd name="connsiteX131" fmla="*/ 6685 w 9601"/>
                <a:gd name="connsiteY131" fmla="*/ 6502 h 10000"/>
                <a:gd name="connsiteX132" fmla="*/ 6819 w 9601"/>
                <a:gd name="connsiteY132" fmla="*/ 6498 h 10000"/>
                <a:gd name="connsiteX133" fmla="*/ 6810 w 9601"/>
                <a:gd name="connsiteY133" fmla="*/ 6474 h 10000"/>
                <a:gd name="connsiteX134" fmla="*/ 6462 w 9601"/>
                <a:gd name="connsiteY134" fmla="*/ 6403 h 10000"/>
                <a:gd name="connsiteX135" fmla="*/ 6448 w 9601"/>
                <a:gd name="connsiteY135" fmla="*/ 6339 h 10000"/>
                <a:gd name="connsiteX136" fmla="*/ 6381 w 9601"/>
                <a:gd name="connsiteY136" fmla="*/ 6272 h 10000"/>
                <a:gd name="connsiteX137" fmla="*/ 6106 w 9601"/>
                <a:gd name="connsiteY137" fmla="*/ 6284 h 10000"/>
                <a:gd name="connsiteX138" fmla="*/ 6008 w 9601"/>
                <a:gd name="connsiteY138" fmla="*/ 6213 h 10000"/>
                <a:gd name="connsiteX139" fmla="*/ 5951 w 9601"/>
                <a:gd name="connsiteY139" fmla="*/ 6209 h 10000"/>
                <a:gd name="connsiteX140" fmla="*/ 5951 w 9601"/>
                <a:gd name="connsiteY140" fmla="*/ 6238 h 10000"/>
                <a:gd name="connsiteX141" fmla="*/ 5827 w 9601"/>
                <a:gd name="connsiteY141" fmla="*/ 6358 h 10000"/>
                <a:gd name="connsiteX142" fmla="*/ 5693 w 9601"/>
                <a:gd name="connsiteY142" fmla="*/ 6429 h 10000"/>
                <a:gd name="connsiteX143" fmla="*/ 5276 w 9601"/>
                <a:gd name="connsiteY143" fmla="*/ 6551 h 10000"/>
                <a:gd name="connsiteX144" fmla="*/ 5129 w 9601"/>
                <a:gd name="connsiteY144" fmla="*/ 6547 h 10000"/>
                <a:gd name="connsiteX145" fmla="*/ 4928 w 9601"/>
                <a:gd name="connsiteY145" fmla="*/ 6565 h 10000"/>
                <a:gd name="connsiteX146" fmla="*/ 4816 w 9601"/>
                <a:gd name="connsiteY146" fmla="*/ 6547 h 10000"/>
                <a:gd name="connsiteX147" fmla="*/ 4963 w 9601"/>
                <a:gd name="connsiteY147" fmla="*/ 6513 h 10000"/>
                <a:gd name="connsiteX148" fmla="*/ 5155 w 9601"/>
                <a:gd name="connsiteY148" fmla="*/ 6498 h 10000"/>
                <a:gd name="connsiteX149" fmla="*/ 5313 w 9601"/>
                <a:gd name="connsiteY149" fmla="*/ 6441 h 10000"/>
                <a:gd name="connsiteX150" fmla="*/ 5468 w 9601"/>
                <a:gd name="connsiteY150" fmla="*/ 6415 h 10000"/>
                <a:gd name="connsiteX151" fmla="*/ 5759 w 9601"/>
                <a:gd name="connsiteY151" fmla="*/ 6317 h 10000"/>
                <a:gd name="connsiteX152" fmla="*/ 5814 w 9601"/>
                <a:gd name="connsiteY152" fmla="*/ 6252 h 10000"/>
                <a:gd name="connsiteX153" fmla="*/ 5818 w 9601"/>
                <a:gd name="connsiteY153" fmla="*/ 6168 h 10000"/>
                <a:gd name="connsiteX154" fmla="*/ 5685 w 9601"/>
                <a:gd name="connsiteY154" fmla="*/ 6154 h 10000"/>
                <a:gd name="connsiteX155" fmla="*/ 5744 w 9601"/>
                <a:gd name="connsiteY155" fmla="*/ 6103 h 10000"/>
                <a:gd name="connsiteX156" fmla="*/ 5763 w 9601"/>
                <a:gd name="connsiteY156" fmla="*/ 6038 h 10000"/>
                <a:gd name="connsiteX157" fmla="*/ 5707 w 9601"/>
                <a:gd name="connsiteY157" fmla="*/ 5977 h 10000"/>
                <a:gd name="connsiteX158" fmla="*/ 5675 w 9601"/>
                <a:gd name="connsiteY158" fmla="*/ 5533 h 10000"/>
                <a:gd name="connsiteX159" fmla="*/ 5754 w 9601"/>
                <a:gd name="connsiteY159" fmla="*/ 5437 h 10000"/>
                <a:gd name="connsiteX160" fmla="*/ 5734 w 9601"/>
                <a:gd name="connsiteY160" fmla="*/ 5398 h 10000"/>
                <a:gd name="connsiteX161" fmla="*/ 5964 w 9601"/>
                <a:gd name="connsiteY161" fmla="*/ 5455 h 10000"/>
                <a:gd name="connsiteX162" fmla="*/ 5980 w 9601"/>
                <a:gd name="connsiteY162" fmla="*/ 5402 h 10000"/>
                <a:gd name="connsiteX163" fmla="*/ 5930 w 9601"/>
                <a:gd name="connsiteY163" fmla="*/ 5264 h 10000"/>
                <a:gd name="connsiteX164" fmla="*/ 6096 w 9601"/>
                <a:gd name="connsiteY164" fmla="*/ 5019 h 10000"/>
                <a:gd name="connsiteX165" fmla="*/ 5994 w 9601"/>
                <a:gd name="connsiteY165" fmla="*/ 4960 h 10000"/>
                <a:gd name="connsiteX166" fmla="*/ 5955 w 9601"/>
                <a:gd name="connsiteY166" fmla="*/ 4905 h 10000"/>
                <a:gd name="connsiteX167" fmla="*/ 5968 w 9601"/>
                <a:gd name="connsiteY167" fmla="*/ 4816 h 10000"/>
                <a:gd name="connsiteX168" fmla="*/ 6212 w 9601"/>
                <a:gd name="connsiteY168" fmla="*/ 4875 h 10000"/>
                <a:gd name="connsiteX169" fmla="*/ 6220 w 9601"/>
                <a:gd name="connsiteY169" fmla="*/ 4858 h 10000"/>
                <a:gd name="connsiteX170" fmla="*/ 6287 w 9601"/>
                <a:gd name="connsiteY170" fmla="*/ 4842 h 10000"/>
                <a:gd name="connsiteX171" fmla="*/ 6381 w 9601"/>
                <a:gd name="connsiteY171" fmla="*/ 4785 h 10000"/>
                <a:gd name="connsiteX172" fmla="*/ 6396 w 9601"/>
                <a:gd name="connsiteY172" fmla="*/ 4769 h 10000"/>
                <a:gd name="connsiteX173" fmla="*/ 6376 w 9601"/>
                <a:gd name="connsiteY173" fmla="*/ 4748 h 10000"/>
                <a:gd name="connsiteX174" fmla="*/ 6426 w 9601"/>
                <a:gd name="connsiteY174" fmla="*/ 4647 h 10000"/>
                <a:gd name="connsiteX175" fmla="*/ 6366 w 9601"/>
                <a:gd name="connsiteY175" fmla="*/ 4581 h 10000"/>
                <a:gd name="connsiteX176" fmla="*/ 6376 w 9601"/>
                <a:gd name="connsiteY176" fmla="*/ 4528 h 10000"/>
                <a:gd name="connsiteX177" fmla="*/ 6410 w 9601"/>
                <a:gd name="connsiteY177" fmla="*/ 4590 h 10000"/>
                <a:gd name="connsiteX178" fmla="*/ 6543 w 9601"/>
                <a:gd name="connsiteY178" fmla="*/ 4636 h 10000"/>
                <a:gd name="connsiteX179" fmla="*/ 6598 w 9601"/>
                <a:gd name="connsiteY179" fmla="*/ 4630 h 10000"/>
                <a:gd name="connsiteX180" fmla="*/ 6685 w 9601"/>
                <a:gd name="connsiteY180" fmla="*/ 4569 h 10000"/>
                <a:gd name="connsiteX181" fmla="*/ 6780 w 9601"/>
                <a:gd name="connsiteY181" fmla="*/ 4594 h 10000"/>
                <a:gd name="connsiteX182" fmla="*/ 6805 w 9601"/>
                <a:gd name="connsiteY182" fmla="*/ 4545 h 10000"/>
                <a:gd name="connsiteX183" fmla="*/ 6869 w 9601"/>
                <a:gd name="connsiteY183" fmla="*/ 4512 h 10000"/>
                <a:gd name="connsiteX184" fmla="*/ 6696 w 9601"/>
                <a:gd name="connsiteY184" fmla="*/ 4477 h 10000"/>
                <a:gd name="connsiteX185" fmla="*/ 6819 w 9601"/>
                <a:gd name="connsiteY185" fmla="*/ 4484 h 10000"/>
                <a:gd name="connsiteX186" fmla="*/ 6945 w 9601"/>
                <a:gd name="connsiteY186" fmla="*/ 4447 h 10000"/>
                <a:gd name="connsiteX187" fmla="*/ 6941 w 9601"/>
                <a:gd name="connsiteY187" fmla="*/ 4422 h 10000"/>
                <a:gd name="connsiteX188" fmla="*/ 7060 w 9601"/>
                <a:gd name="connsiteY188" fmla="*/ 4398 h 10000"/>
                <a:gd name="connsiteX189" fmla="*/ 7070 w 9601"/>
                <a:gd name="connsiteY189" fmla="*/ 4337 h 10000"/>
                <a:gd name="connsiteX190" fmla="*/ 7163 w 9601"/>
                <a:gd name="connsiteY190" fmla="*/ 4325 h 10000"/>
                <a:gd name="connsiteX191" fmla="*/ 7171 w 9601"/>
                <a:gd name="connsiteY191" fmla="*/ 4253 h 10000"/>
                <a:gd name="connsiteX192" fmla="*/ 7270 w 9601"/>
                <a:gd name="connsiteY192" fmla="*/ 4245 h 10000"/>
                <a:gd name="connsiteX193" fmla="*/ 7422 w 9601"/>
                <a:gd name="connsiteY193" fmla="*/ 4260 h 10000"/>
                <a:gd name="connsiteX194" fmla="*/ 7589 w 9601"/>
                <a:gd name="connsiteY194" fmla="*/ 4202 h 10000"/>
                <a:gd name="connsiteX195" fmla="*/ 7648 w 9601"/>
                <a:gd name="connsiteY195" fmla="*/ 4137 h 10000"/>
                <a:gd name="connsiteX196" fmla="*/ 7855 w 9601"/>
                <a:gd name="connsiteY196" fmla="*/ 4070 h 10000"/>
                <a:gd name="connsiteX197" fmla="*/ 7957 w 9601"/>
                <a:gd name="connsiteY197" fmla="*/ 4111 h 10000"/>
                <a:gd name="connsiteX198" fmla="*/ 8115 w 9601"/>
                <a:gd name="connsiteY198" fmla="*/ 4066 h 10000"/>
                <a:gd name="connsiteX199" fmla="*/ 8152 w 9601"/>
                <a:gd name="connsiteY199" fmla="*/ 4009 h 10000"/>
                <a:gd name="connsiteX200" fmla="*/ 8272 w 9601"/>
                <a:gd name="connsiteY200" fmla="*/ 3970 h 10000"/>
                <a:gd name="connsiteX201" fmla="*/ 8374 w 9601"/>
                <a:gd name="connsiteY201" fmla="*/ 3987 h 10000"/>
                <a:gd name="connsiteX202" fmla="*/ 8438 w 9601"/>
                <a:gd name="connsiteY202" fmla="*/ 3958 h 10000"/>
                <a:gd name="connsiteX203" fmla="*/ 8615 w 9601"/>
                <a:gd name="connsiteY203" fmla="*/ 3917 h 10000"/>
                <a:gd name="connsiteX204" fmla="*/ 8688 w 9601"/>
                <a:gd name="connsiteY204" fmla="*/ 3864 h 10000"/>
                <a:gd name="connsiteX205" fmla="*/ 8788 w 9601"/>
                <a:gd name="connsiteY205" fmla="*/ 3842 h 10000"/>
                <a:gd name="connsiteX206" fmla="*/ 9332 w 9601"/>
                <a:gd name="connsiteY206" fmla="*/ 3522 h 10000"/>
                <a:gd name="connsiteX207" fmla="*/ 9573 w 9601"/>
                <a:gd name="connsiteY207" fmla="*/ 389 h 10000"/>
                <a:gd name="connsiteX208" fmla="*/ 8688 w 9601"/>
                <a:gd name="connsiteY208" fmla="*/ 26 h 10000"/>
                <a:gd name="connsiteX209" fmla="*/ 8659 w 9601"/>
                <a:gd name="connsiteY209" fmla="*/ 2 h 10000"/>
                <a:gd name="connsiteX210" fmla="*/ 8359 w 9601"/>
                <a:gd name="connsiteY210" fmla="*/ 0 h 10000"/>
                <a:gd name="connsiteX211" fmla="*/ 8292 w 9601"/>
                <a:gd name="connsiteY211" fmla="*/ 14 h 10000"/>
                <a:gd name="connsiteX212" fmla="*/ 8307 w 9601"/>
                <a:gd name="connsiteY212" fmla="*/ 61 h 10000"/>
                <a:gd name="connsiteX213" fmla="*/ 8365 w 9601"/>
                <a:gd name="connsiteY213" fmla="*/ 86 h 10000"/>
                <a:gd name="connsiteX214" fmla="*/ 8381 w 9601"/>
                <a:gd name="connsiteY214" fmla="*/ 139 h 10000"/>
                <a:gd name="connsiteX215" fmla="*/ 8359 w 9601"/>
                <a:gd name="connsiteY215" fmla="*/ 181 h 10000"/>
                <a:gd name="connsiteX216" fmla="*/ 8307 w 9601"/>
                <a:gd name="connsiteY216" fmla="*/ 208 h 10000"/>
                <a:gd name="connsiteX217" fmla="*/ 8266 w 9601"/>
                <a:gd name="connsiteY217" fmla="*/ 283 h 10000"/>
                <a:gd name="connsiteX218" fmla="*/ 8193 w 9601"/>
                <a:gd name="connsiteY218" fmla="*/ 336 h 10000"/>
                <a:gd name="connsiteX219" fmla="*/ 8209 w 9601"/>
                <a:gd name="connsiteY219" fmla="*/ 387 h 10000"/>
                <a:gd name="connsiteX220" fmla="*/ 8321 w 9601"/>
                <a:gd name="connsiteY220" fmla="*/ 434 h 10000"/>
                <a:gd name="connsiteX221" fmla="*/ 8248 w 9601"/>
                <a:gd name="connsiteY221" fmla="*/ 475 h 10000"/>
                <a:gd name="connsiteX222" fmla="*/ 8139 w 9601"/>
                <a:gd name="connsiteY222" fmla="*/ 485 h 10000"/>
                <a:gd name="connsiteX223" fmla="*/ 7236 w 9601"/>
                <a:gd name="connsiteY223" fmla="*/ 387 h 10000"/>
                <a:gd name="connsiteX224" fmla="*/ 7127 w 9601"/>
                <a:gd name="connsiteY224" fmla="*/ 395 h 10000"/>
                <a:gd name="connsiteX225" fmla="*/ 7065 w 9601"/>
                <a:gd name="connsiteY225" fmla="*/ 414 h 10000"/>
                <a:gd name="connsiteX226" fmla="*/ 6999 w 9601"/>
                <a:gd name="connsiteY226" fmla="*/ 462 h 10000"/>
                <a:gd name="connsiteX227" fmla="*/ 7011 w 9601"/>
                <a:gd name="connsiteY227" fmla="*/ 581 h 10000"/>
                <a:gd name="connsiteX228" fmla="*/ 6912 w 9601"/>
                <a:gd name="connsiteY228" fmla="*/ 735 h 10000"/>
                <a:gd name="connsiteX229" fmla="*/ 6790 w 9601"/>
                <a:gd name="connsiteY229" fmla="*/ 815 h 10000"/>
                <a:gd name="connsiteX230" fmla="*/ 6741 w 9601"/>
                <a:gd name="connsiteY230" fmla="*/ 805 h 10000"/>
                <a:gd name="connsiteX231" fmla="*/ 6628 w 9601"/>
                <a:gd name="connsiteY231" fmla="*/ 739 h 10000"/>
                <a:gd name="connsiteX232" fmla="*/ 6486 w 9601"/>
                <a:gd name="connsiteY232" fmla="*/ 705 h 10000"/>
                <a:gd name="connsiteX233" fmla="*/ 6331 w 9601"/>
                <a:gd name="connsiteY233" fmla="*/ 715 h 10000"/>
                <a:gd name="connsiteX234" fmla="*/ 5975 w 9601"/>
                <a:gd name="connsiteY234" fmla="*/ 866 h 10000"/>
                <a:gd name="connsiteX235" fmla="*/ 5881 w 9601"/>
                <a:gd name="connsiteY235" fmla="*/ 1017 h 10000"/>
                <a:gd name="connsiteX236" fmla="*/ 5612 w 9601"/>
                <a:gd name="connsiteY236" fmla="*/ 1153 h 10000"/>
                <a:gd name="connsiteX237" fmla="*/ 5563 w 9601"/>
                <a:gd name="connsiteY237" fmla="*/ 1222 h 10000"/>
                <a:gd name="connsiteX238" fmla="*/ 5703 w 9601"/>
                <a:gd name="connsiteY238" fmla="*/ 1344 h 10000"/>
                <a:gd name="connsiteX239" fmla="*/ 5718 w 9601"/>
                <a:gd name="connsiteY239" fmla="*/ 1412 h 10000"/>
                <a:gd name="connsiteX240" fmla="*/ 4983 w 9601"/>
                <a:gd name="connsiteY240" fmla="*/ 1813 h 10000"/>
                <a:gd name="connsiteX241" fmla="*/ 4757 w 9601"/>
                <a:gd name="connsiteY241" fmla="*/ 2070 h 10000"/>
                <a:gd name="connsiteX242" fmla="*/ 4514 w 9601"/>
                <a:gd name="connsiteY242" fmla="*/ 2135 h 10000"/>
                <a:gd name="connsiteX243" fmla="*/ 4359 w 9601"/>
                <a:gd name="connsiteY243" fmla="*/ 2131 h 10000"/>
                <a:gd name="connsiteX244" fmla="*/ 4266 w 9601"/>
                <a:gd name="connsiteY244" fmla="*/ 2153 h 10000"/>
                <a:gd name="connsiteX245" fmla="*/ 4011 w 9601"/>
                <a:gd name="connsiteY245" fmla="*/ 2793 h 10000"/>
                <a:gd name="connsiteX246" fmla="*/ 3423 w 9601"/>
                <a:gd name="connsiteY246" fmla="*/ 3166 h 10000"/>
                <a:gd name="connsiteX247" fmla="*/ 3427 w 9601"/>
                <a:gd name="connsiteY247" fmla="*/ 3225 h 10000"/>
                <a:gd name="connsiteX248" fmla="*/ 3688 w 9601"/>
                <a:gd name="connsiteY248" fmla="*/ 3392 h 10000"/>
                <a:gd name="connsiteX249" fmla="*/ 3603 w 9601"/>
                <a:gd name="connsiteY249" fmla="*/ 3573 h 10000"/>
                <a:gd name="connsiteX250" fmla="*/ 3451 w 9601"/>
                <a:gd name="connsiteY250" fmla="*/ 3640 h 10000"/>
                <a:gd name="connsiteX251" fmla="*/ 2994 w 9601"/>
                <a:gd name="connsiteY251" fmla="*/ 3595 h 10000"/>
                <a:gd name="connsiteX252" fmla="*/ 2680 w 9601"/>
                <a:gd name="connsiteY252" fmla="*/ 3620 h 10000"/>
                <a:gd name="connsiteX253" fmla="*/ 2427 w 9601"/>
                <a:gd name="connsiteY253" fmla="*/ 3673 h 10000"/>
                <a:gd name="connsiteX254" fmla="*/ 2018 w 9601"/>
                <a:gd name="connsiteY254" fmla="*/ 3840 h 10000"/>
                <a:gd name="connsiteX255" fmla="*/ 1802 w 9601"/>
                <a:gd name="connsiteY255" fmla="*/ 4042 h 10000"/>
                <a:gd name="connsiteX256" fmla="*/ 1820 w 9601"/>
                <a:gd name="connsiteY256" fmla="*/ 4154 h 10000"/>
                <a:gd name="connsiteX257" fmla="*/ 1896 w 9601"/>
                <a:gd name="connsiteY257" fmla="*/ 4241 h 10000"/>
                <a:gd name="connsiteX258" fmla="*/ 1953 w 9601"/>
                <a:gd name="connsiteY258" fmla="*/ 4276 h 10000"/>
                <a:gd name="connsiteX259" fmla="*/ 1847 w 9601"/>
                <a:gd name="connsiteY259" fmla="*/ 4331 h 10000"/>
                <a:gd name="connsiteX260" fmla="*/ 1616 w 9601"/>
                <a:gd name="connsiteY260" fmla="*/ 4710 h 10000"/>
                <a:gd name="connsiteX261" fmla="*/ 1660 w 9601"/>
                <a:gd name="connsiteY261" fmla="*/ 4732 h 10000"/>
                <a:gd name="connsiteX262" fmla="*/ 1694 w 9601"/>
                <a:gd name="connsiteY262" fmla="*/ 4828 h 10000"/>
                <a:gd name="connsiteX263" fmla="*/ 1586 w 9601"/>
                <a:gd name="connsiteY263" fmla="*/ 5227 h 10000"/>
                <a:gd name="connsiteX264" fmla="*/ 1694 w 9601"/>
                <a:gd name="connsiteY264" fmla="*/ 5329 h 10000"/>
                <a:gd name="connsiteX265" fmla="*/ 1988 w 9601"/>
                <a:gd name="connsiteY265" fmla="*/ 5441 h 10000"/>
                <a:gd name="connsiteX266" fmla="*/ 2002 w 9601"/>
                <a:gd name="connsiteY266" fmla="*/ 5578 h 10000"/>
                <a:gd name="connsiteX267" fmla="*/ 1876 w 9601"/>
                <a:gd name="connsiteY267" fmla="*/ 5690 h 10000"/>
                <a:gd name="connsiteX268" fmla="*/ 1694 w 9601"/>
                <a:gd name="connsiteY268" fmla="*/ 5759 h 10000"/>
                <a:gd name="connsiteX269" fmla="*/ 1453 w 9601"/>
                <a:gd name="connsiteY269" fmla="*/ 5787 h 10000"/>
                <a:gd name="connsiteX270" fmla="*/ 1390 w 9601"/>
                <a:gd name="connsiteY270" fmla="*/ 5826 h 10000"/>
                <a:gd name="connsiteX271" fmla="*/ 1530 w 9601"/>
                <a:gd name="connsiteY271" fmla="*/ 5920 h 10000"/>
                <a:gd name="connsiteX272" fmla="*/ 1611 w 9601"/>
                <a:gd name="connsiteY272" fmla="*/ 6142 h 10000"/>
                <a:gd name="connsiteX273" fmla="*/ 1429 w 9601"/>
                <a:gd name="connsiteY273" fmla="*/ 6333 h 10000"/>
                <a:gd name="connsiteX274" fmla="*/ 1492 w 9601"/>
                <a:gd name="connsiteY274" fmla="*/ 6392 h 10000"/>
                <a:gd name="connsiteX275" fmla="*/ 1434 w 9601"/>
                <a:gd name="connsiteY275" fmla="*/ 6492 h 10000"/>
                <a:gd name="connsiteX276" fmla="*/ 1317 w 9601"/>
                <a:gd name="connsiteY276" fmla="*/ 6561 h 10000"/>
                <a:gd name="connsiteX277" fmla="*/ 854 w 9601"/>
                <a:gd name="connsiteY277" fmla="*/ 6614 h 10000"/>
                <a:gd name="connsiteX278" fmla="*/ 826 w 9601"/>
                <a:gd name="connsiteY278" fmla="*/ 6706 h 10000"/>
                <a:gd name="connsiteX279" fmla="*/ 576 w 9601"/>
                <a:gd name="connsiteY279" fmla="*/ 6843 h 10000"/>
                <a:gd name="connsiteX280" fmla="*/ 609 w 9601"/>
                <a:gd name="connsiteY280" fmla="*/ 7040 h 10000"/>
                <a:gd name="connsiteX281" fmla="*/ 398 w 9601"/>
                <a:gd name="connsiteY281" fmla="*/ 7293 h 10000"/>
                <a:gd name="connsiteX282" fmla="*/ 255 w 9601"/>
                <a:gd name="connsiteY282" fmla="*/ 7323 h 10000"/>
                <a:gd name="connsiteX283" fmla="*/ 196 w 9601"/>
                <a:gd name="connsiteY283" fmla="*/ 7262 h 10000"/>
                <a:gd name="connsiteX284" fmla="*/ 123 w 9601"/>
                <a:gd name="connsiteY284" fmla="*/ 7354 h 10000"/>
                <a:gd name="connsiteX285" fmla="*/ 171 w 9601"/>
                <a:gd name="connsiteY285" fmla="*/ 7197 h 10000"/>
                <a:gd name="connsiteX286" fmla="*/ 141 w 9601"/>
                <a:gd name="connsiteY286" fmla="*/ 7166 h 10000"/>
                <a:gd name="connsiteX0" fmla="*/ 147 w 10000"/>
                <a:gd name="connsiteY0" fmla="*/ 7176 h 10010"/>
                <a:gd name="connsiteX1" fmla="*/ 0 w 10000"/>
                <a:gd name="connsiteY1" fmla="*/ 7258 h 10010"/>
                <a:gd name="connsiteX2" fmla="*/ 0 w 10000"/>
                <a:gd name="connsiteY2" fmla="*/ 7661 h 10010"/>
                <a:gd name="connsiteX3" fmla="*/ 81 w 10000"/>
                <a:gd name="connsiteY3" fmla="*/ 7673 h 10010"/>
                <a:gd name="connsiteX4" fmla="*/ 100 w 10000"/>
                <a:gd name="connsiteY4" fmla="*/ 7704 h 10010"/>
                <a:gd name="connsiteX5" fmla="*/ 96 w 10000"/>
                <a:gd name="connsiteY5" fmla="*/ 7759 h 10010"/>
                <a:gd name="connsiteX6" fmla="*/ 66 w 10000"/>
                <a:gd name="connsiteY6" fmla="*/ 7783 h 10010"/>
                <a:gd name="connsiteX7" fmla="*/ 190 w 10000"/>
                <a:gd name="connsiteY7" fmla="*/ 7737 h 10010"/>
                <a:gd name="connsiteX8" fmla="*/ 242 w 10000"/>
                <a:gd name="connsiteY8" fmla="*/ 7690 h 10010"/>
                <a:gd name="connsiteX9" fmla="*/ 306 w 10000"/>
                <a:gd name="connsiteY9" fmla="*/ 7722 h 10010"/>
                <a:gd name="connsiteX10" fmla="*/ 235 w 10000"/>
                <a:gd name="connsiteY10" fmla="*/ 7788 h 10010"/>
                <a:gd name="connsiteX11" fmla="*/ 311 w 10000"/>
                <a:gd name="connsiteY11" fmla="*/ 7790 h 10010"/>
                <a:gd name="connsiteX12" fmla="*/ 348 w 10000"/>
                <a:gd name="connsiteY12" fmla="*/ 7806 h 10010"/>
                <a:gd name="connsiteX13" fmla="*/ 250 w 10000"/>
                <a:gd name="connsiteY13" fmla="*/ 7828 h 10010"/>
                <a:gd name="connsiteX14" fmla="*/ 96 w 10000"/>
                <a:gd name="connsiteY14" fmla="*/ 7896 h 10010"/>
                <a:gd name="connsiteX15" fmla="*/ 370 w 10000"/>
                <a:gd name="connsiteY15" fmla="*/ 7948 h 10010"/>
                <a:gd name="connsiteX16" fmla="*/ 404 w 10000"/>
                <a:gd name="connsiteY16" fmla="*/ 8024 h 10010"/>
                <a:gd name="connsiteX17" fmla="*/ 311 w 10000"/>
                <a:gd name="connsiteY17" fmla="*/ 8136 h 10010"/>
                <a:gd name="connsiteX18" fmla="*/ 511 w 10000"/>
                <a:gd name="connsiteY18" fmla="*/ 8128 h 10010"/>
                <a:gd name="connsiteX19" fmla="*/ 526 w 10000"/>
                <a:gd name="connsiteY19" fmla="*/ 8213 h 10010"/>
                <a:gd name="connsiteX20" fmla="*/ 393 w 10000"/>
                <a:gd name="connsiteY20" fmla="*/ 8270 h 10010"/>
                <a:gd name="connsiteX21" fmla="*/ 415 w 10000"/>
                <a:gd name="connsiteY21" fmla="*/ 8380 h 10010"/>
                <a:gd name="connsiteX22" fmla="*/ 364 w 10000"/>
                <a:gd name="connsiteY22" fmla="*/ 8466 h 10010"/>
                <a:gd name="connsiteX23" fmla="*/ 521 w 10000"/>
                <a:gd name="connsiteY23" fmla="*/ 8474 h 10010"/>
                <a:gd name="connsiteX24" fmla="*/ 676 w 10000"/>
                <a:gd name="connsiteY24" fmla="*/ 8802 h 10010"/>
                <a:gd name="connsiteX25" fmla="*/ 853 w 10000"/>
                <a:gd name="connsiteY25" fmla="*/ 8886 h 10010"/>
                <a:gd name="connsiteX26" fmla="*/ 931 w 10000"/>
                <a:gd name="connsiteY26" fmla="*/ 8975 h 10010"/>
                <a:gd name="connsiteX27" fmla="*/ 1125 w 10000"/>
                <a:gd name="connsiteY27" fmla="*/ 9040 h 10010"/>
                <a:gd name="connsiteX28" fmla="*/ 1249 w 10000"/>
                <a:gd name="connsiteY28" fmla="*/ 9122 h 10010"/>
                <a:gd name="connsiteX29" fmla="*/ 1233 w 10000"/>
                <a:gd name="connsiteY29" fmla="*/ 9181 h 10010"/>
                <a:gd name="connsiteX30" fmla="*/ 1110 w 10000"/>
                <a:gd name="connsiteY30" fmla="*/ 9203 h 10010"/>
                <a:gd name="connsiteX31" fmla="*/ 976 w 10000"/>
                <a:gd name="connsiteY31" fmla="*/ 9189 h 10010"/>
                <a:gd name="connsiteX32" fmla="*/ 935 w 10000"/>
                <a:gd name="connsiteY32" fmla="*/ 9214 h 10010"/>
                <a:gd name="connsiteX33" fmla="*/ 1037 w 10000"/>
                <a:gd name="connsiteY33" fmla="*/ 9342 h 10010"/>
                <a:gd name="connsiteX34" fmla="*/ 894 w 10000"/>
                <a:gd name="connsiteY34" fmla="*/ 9332 h 10010"/>
                <a:gd name="connsiteX35" fmla="*/ 773 w 10000"/>
                <a:gd name="connsiteY35" fmla="*/ 9301 h 10010"/>
                <a:gd name="connsiteX36" fmla="*/ 750 w 10000"/>
                <a:gd name="connsiteY36" fmla="*/ 9348 h 10010"/>
                <a:gd name="connsiteX37" fmla="*/ 1155 w 10000"/>
                <a:gd name="connsiteY37" fmla="*/ 9786 h 10010"/>
                <a:gd name="connsiteX38" fmla="*/ 1091 w 10000"/>
                <a:gd name="connsiteY38" fmla="*/ 9827 h 10010"/>
                <a:gd name="connsiteX39" fmla="*/ 1045 w 10000"/>
                <a:gd name="connsiteY39" fmla="*/ 9912 h 10010"/>
                <a:gd name="connsiteX40" fmla="*/ 987 w 10000"/>
                <a:gd name="connsiteY40" fmla="*/ 9918 h 10010"/>
                <a:gd name="connsiteX41" fmla="*/ 951 w 10000"/>
                <a:gd name="connsiteY41" fmla="*/ 9955 h 10010"/>
                <a:gd name="connsiteX42" fmla="*/ 1195 w 10000"/>
                <a:gd name="connsiteY42" fmla="*/ 9959 h 10010"/>
                <a:gd name="connsiteX43" fmla="*/ 1410 w 10000"/>
                <a:gd name="connsiteY43" fmla="*/ 9996 h 10010"/>
                <a:gd name="connsiteX44" fmla="*/ 1769 w 10000"/>
                <a:gd name="connsiteY44" fmla="*/ 9957 h 10010"/>
                <a:gd name="connsiteX45" fmla="*/ 2091 w 10000"/>
                <a:gd name="connsiteY45" fmla="*/ 9963 h 10010"/>
                <a:gd name="connsiteX46" fmla="*/ 2280 w 10000"/>
                <a:gd name="connsiteY46" fmla="*/ 10010 h 10010"/>
                <a:gd name="connsiteX47" fmla="*/ 2385 w 10000"/>
                <a:gd name="connsiteY47" fmla="*/ 9979 h 10010"/>
                <a:gd name="connsiteX48" fmla="*/ 2485 w 10000"/>
                <a:gd name="connsiteY48" fmla="*/ 9878 h 10010"/>
                <a:gd name="connsiteX49" fmla="*/ 2459 w 10000"/>
                <a:gd name="connsiteY49" fmla="*/ 9713 h 10010"/>
                <a:gd name="connsiteX50" fmla="*/ 2704 w 10000"/>
                <a:gd name="connsiteY50" fmla="*/ 9527 h 10010"/>
                <a:gd name="connsiteX51" fmla="*/ 2883 w 10000"/>
                <a:gd name="connsiteY51" fmla="*/ 9556 h 10010"/>
                <a:gd name="connsiteX52" fmla="*/ 2987 w 10000"/>
                <a:gd name="connsiteY52" fmla="*/ 9482 h 10010"/>
                <a:gd name="connsiteX53" fmla="*/ 3186 w 10000"/>
                <a:gd name="connsiteY53" fmla="*/ 9440 h 10010"/>
                <a:gd name="connsiteX54" fmla="*/ 3457 w 10000"/>
                <a:gd name="connsiteY54" fmla="*/ 9450 h 10010"/>
                <a:gd name="connsiteX55" fmla="*/ 3620 w 10000"/>
                <a:gd name="connsiteY55" fmla="*/ 9480 h 10010"/>
                <a:gd name="connsiteX56" fmla="*/ 3837 w 10000"/>
                <a:gd name="connsiteY56" fmla="*/ 9466 h 10010"/>
                <a:gd name="connsiteX57" fmla="*/ 4056 w 10000"/>
                <a:gd name="connsiteY57" fmla="*/ 9499 h 10010"/>
                <a:gd name="connsiteX58" fmla="*/ 4275 w 10000"/>
                <a:gd name="connsiteY58" fmla="*/ 9503 h 10010"/>
                <a:gd name="connsiteX59" fmla="*/ 4765 w 10000"/>
                <a:gd name="connsiteY59" fmla="*/ 9071 h 10010"/>
                <a:gd name="connsiteX60" fmla="*/ 4889 w 10000"/>
                <a:gd name="connsiteY60" fmla="*/ 8721 h 10010"/>
                <a:gd name="connsiteX61" fmla="*/ 5088 w 10000"/>
                <a:gd name="connsiteY61" fmla="*/ 8564 h 10010"/>
                <a:gd name="connsiteX62" fmla="*/ 5088 w 10000"/>
                <a:gd name="connsiteY62" fmla="*/ 8482 h 10010"/>
                <a:gd name="connsiteX63" fmla="*/ 5016 w 10000"/>
                <a:gd name="connsiteY63" fmla="*/ 8435 h 10010"/>
                <a:gd name="connsiteX64" fmla="*/ 5133 w 10000"/>
                <a:gd name="connsiteY64" fmla="*/ 8362 h 10010"/>
                <a:gd name="connsiteX65" fmla="*/ 5112 w 10000"/>
                <a:gd name="connsiteY65" fmla="*/ 8299 h 10010"/>
                <a:gd name="connsiteX66" fmla="*/ 5032 w 10000"/>
                <a:gd name="connsiteY66" fmla="*/ 8246 h 10010"/>
                <a:gd name="connsiteX67" fmla="*/ 5016 w 10000"/>
                <a:gd name="connsiteY67" fmla="*/ 8209 h 10010"/>
                <a:gd name="connsiteX68" fmla="*/ 5036 w 10000"/>
                <a:gd name="connsiteY68" fmla="*/ 8179 h 10010"/>
                <a:gd name="connsiteX69" fmla="*/ 5144 w 10000"/>
                <a:gd name="connsiteY69" fmla="*/ 8203 h 10010"/>
                <a:gd name="connsiteX70" fmla="*/ 5230 w 10000"/>
                <a:gd name="connsiteY70" fmla="*/ 8201 h 10010"/>
                <a:gd name="connsiteX71" fmla="*/ 5184 w 10000"/>
                <a:gd name="connsiteY71" fmla="*/ 8150 h 10010"/>
                <a:gd name="connsiteX72" fmla="*/ 5198 w 10000"/>
                <a:gd name="connsiteY72" fmla="*/ 8122 h 10010"/>
                <a:gd name="connsiteX73" fmla="*/ 5262 w 10000"/>
                <a:gd name="connsiteY73" fmla="*/ 8079 h 10010"/>
                <a:gd name="connsiteX74" fmla="*/ 5250 w 10000"/>
                <a:gd name="connsiteY74" fmla="*/ 8044 h 10010"/>
                <a:gd name="connsiteX75" fmla="*/ 5309 w 10000"/>
                <a:gd name="connsiteY75" fmla="*/ 7926 h 10010"/>
                <a:gd name="connsiteX76" fmla="*/ 5293 w 10000"/>
                <a:gd name="connsiteY76" fmla="*/ 7891 h 10010"/>
                <a:gd name="connsiteX77" fmla="*/ 4996 w 10000"/>
                <a:gd name="connsiteY77" fmla="*/ 7802 h 10010"/>
                <a:gd name="connsiteX78" fmla="*/ 5036 w 10000"/>
                <a:gd name="connsiteY78" fmla="*/ 7798 h 10010"/>
                <a:gd name="connsiteX79" fmla="*/ 5194 w 10000"/>
                <a:gd name="connsiteY79" fmla="*/ 7822 h 10010"/>
                <a:gd name="connsiteX80" fmla="*/ 5365 w 10000"/>
                <a:gd name="connsiteY80" fmla="*/ 7814 h 10010"/>
                <a:gd name="connsiteX81" fmla="*/ 5415 w 10000"/>
                <a:gd name="connsiteY81" fmla="*/ 7781 h 10010"/>
                <a:gd name="connsiteX82" fmla="*/ 5250 w 10000"/>
                <a:gd name="connsiteY82" fmla="*/ 7720 h 10010"/>
                <a:gd name="connsiteX83" fmla="*/ 4761 w 10000"/>
                <a:gd name="connsiteY83" fmla="*/ 7680 h 10010"/>
                <a:gd name="connsiteX84" fmla="*/ 4794 w 10000"/>
                <a:gd name="connsiteY84" fmla="*/ 7661 h 10010"/>
                <a:gd name="connsiteX85" fmla="*/ 5194 w 10000"/>
                <a:gd name="connsiteY85" fmla="*/ 7649 h 10010"/>
                <a:gd name="connsiteX86" fmla="*/ 5415 w 10000"/>
                <a:gd name="connsiteY86" fmla="*/ 7686 h 10010"/>
                <a:gd name="connsiteX87" fmla="*/ 5542 w 10000"/>
                <a:gd name="connsiteY87" fmla="*/ 7661 h 10010"/>
                <a:gd name="connsiteX88" fmla="*/ 5589 w 10000"/>
                <a:gd name="connsiteY88" fmla="*/ 7598 h 10010"/>
                <a:gd name="connsiteX89" fmla="*/ 5819 w 10000"/>
                <a:gd name="connsiteY89" fmla="*/ 7598 h 10010"/>
                <a:gd name="connsiteX90" fmla="*/ 6131 w 10000"/>
                <a:gd name="connsiteY90" fmla="*/ 7472 h 10010"/>
                <a:gd name="connsiteX91" fmla="*/ 6142 w 10000"/>
                <a:gd name="connsiteY91" fmla="*/ 7388 h 10010"/>
                <a:gd name="connsiteX92" fmla="*/ 6274 w 10000"/>
                <a:gd name="connsiteY92" fmla="*/ 7407 h 10010"/>
                <a:gd name="connsiteX93" fmla="*/ 6268 w 10000"/>
                <a:gd name="connsiteY93" fmla="*/ 7492 h 10010"/>
                <a:gd name="connsiteX94" fmla="*/ 6478 w 10000"/>
                <a:gd name="connsiteY94" fmla="*/ 7486 h 10010"/>
                <a:gd name="connsiteX95" fmla="*/ 6616 w 10000"/>
                <a:gd name="connsiteY95" fmla="*/ 7398 h 10010"/>
                <a:gd name="connsiteX96" fmla="*/ 6872 w 10000"/>
                <a:gd name="connsiteY96" fmla="*/ 7319 h 10010"/>
                <a:gd name="connsiteX97" fmla="*/ 6832 w 10000"/>
                <a:gd name="connsiteY97" fmla="*/ 7229 h 10010"/>
                <a:gd name="connsiteX98" fmla="*/ 6908 w 10000"/>
                <a:gd name="connsiteY98" fmla="*/ 7264 h 10010"/>
                <a:gd name="connsiteX99" fmla="*/ 7025 w 10000"/>
                <a:gd name="connsiteY99" fmla="*/ 7264 h 10010"/>
                <a:gd name="connsiteX100" fmla="*/ 7025 w 10000"/>
                <a:gd name="connsiteY100" fmla="*/ 7223 h 10010"/>
                <a:gd name="connsiteX101" fmla="*/ 7134 w 10000"/>
                <a:gd name="connsiteY101" fmla="*/ 7191 h 10010"/>
                <a:gd name="connsiteX102" fmla="*/ 7119 w 10000"/>
                <a:gd name="connsiteY102" fmla="*/ 7158 h 10010"/>
                <a:gd name="connsiteX103" fmla="*/ 6198 w 10000"/>
                <a:gd name="connsiteY103" fmla="*/ 7225 h 10010"/>
                <a:gd name="connsiteX104" fmla="*/ 5983 w 10000"/>
                <a:gd name="connsiteY104" fmla="*/ 7205 h 10010"/>
                <a:gd name="connsiteX105" fmla="*/ 5895 w 10000"/>
                <a:gd name="connsiteY105" fmla="*/ 7229 h 10010"/>
                <a:gd name="connsiteX106" fmla="*/ 5866 w 10000"/>
                <a:gd name="connsiteY106" fmla="*/ 7183 h 10010"/>
                <a:gd name="connsiteX107" fmla="*/ 5764 w 10000"/>
                <a:gd name="connsiteY107" fmla="*/ 7142 h 10010"/>
                <a:gd name="connsiteX108" fmla="*/ 5354 w 10000"/>
                <a:gd name="connsiteY108" fmla="*/ 7062 h 10010"/>
                <a:gd name="connsiteX109" fmla="*/ 5112 w 10000"/>
                <a:gd name="connsiteY109" fmla="*/ 7075 h 10010"/>
                <a:gd name="connsiteX110" fmla="*/ 5016 w 10000"/>
                <a:gd name="connsiteY110" fmla="*/ 7052 h 10010"/>
                <a:gd name="connsiteX111" fmla="*/ 5118 w 10000"/>
                <a:gd name="connsiteY111" fmla="*/ 7032 h 10010"/>
                <a:gd name="connsiteX112" fmla="*/ 5194 w 10000"/>
                <a:gd name="connsiteY112" fmla="*/ 6989 h 10010"/>
                <a:gd name="connsiteX113" fmla="*/ 5309 w 10000"/>
                <a:gd name="connsiteY113" fmla="*/ 7003 h 10010"/>
                <a:gd name="connsiteX114" fmla="*/ 5445 w 10000"/>
                <a:gd name="connsiteY114" fmla="*/ 6991 h 10010"/>
                <a:gd name="connsiteX115" fmla="*/ 5650 w 10000"/>
                <a:gd name="connsiteY115" fmla="*/ 7005 h 10010"/>
                <a:gd name="connsiteX116" fmla="*/ 5675 w 10000"/>
                <a:gd name="connsiteY116" fmla="*/ 6999 h 10010"/>
                <a:gd name="connsiteX117" fmla="*/ 5834 w 10000"/>
                <a:gd name="connsiteY117" fmla="*/ 7066 h 10010"/>
                <a:gd name="connsiteX118" fmla="*/ 5951 w 10000"/>
                <a:gd name="connsiteY118" fmla="*/ 7042 h 10010"/>
                <a:gd name="connsiteX119" fmla="*/ 5961 w 10000"/>
                <a:gd name="connsiteY119" fmla="*/ 7020 h 10010"/>
                <a:gd name="connsiteX120" fmla="*/ 6069 w 10000"/>
                <a:gd name="connsiteY120" fmla="*/ 7058 h 10010"/>
                <a:gd name="connsiteX121" fmla="*/ 6212 w 10000"/>
                <a:gd name="connsiteY121" fmla="*/ 7079 h 10010"/>
                <a:gd name="connsiteX122" fmla="*/ 6268 w 10000"/>
                <a:gd name="connsiteY122" fmla="*/ 7040 h 10010"/>
                <a:gd name="connsiteX123" fmla="*/ 6314 w 10000"/>
                <a:gd name="connsiteY123" fmla="*/ 7062 h 10010"/>
                <a:gd name="connsiteX124" fmla="*/ 6381 w 10000"/>
                <a:gd name="connsiteY124" fmla="*/ 7136 h 10010"/>
                <a:gd name="connsiteX125" fmla="*/ 6519 w 10000"/>
                <a:gd name="connsiteY125" fmla="*/ 7154 h 10010"/>
                <a:gd name="connsiteX126" fmla="*/ 7082 w 10000"/>
                <a:gd name="connsiteY126" fmla="*/ 7044 h 10010"/>
                <a:gd name="connsiteX127" fmla="*/ 7359 w 10000"/>
                <a:gd name="connsiteY127" fmla="*/ 6889 h 10010"/>
                <a:gd name="connsiteX128" fmla="*/ 7423 w 10000"/>
                <a:gd name="connsiteY128" fmla="*/ 6775 h 10010"/>
                <a:gd name="connsiteX129" fmla="*/ 7323 w 10000"/>
                <a:gd name="connsiteY129" fmla="*/ 6673 h 10010"/>
                <a:gd name="connsiteX130" fmla="*/ 7113 w 10000"/>
                <a:gd name="connsiteY130" fmla="*/ 6612 h 10010"/>
                <a:gd name="connsiteX131" fmla="*/ 6963 w 10000"/>
                <a:gd name="connsiteY131" fmla="*/ 6512 h 10010"/>
                <a:gd name="connsiteX132" fmla="*/ 7102 w 10000"/>
                <a:gd name="connsiteY132" fmla="*/ 6508 h 10010"/>
                <a:gd name="connsiteX133" fmla="*/ 7093 w 10000"/>
                <a:gd name="connsiteY133" fmla="*/ 6484 h 10010"/>
                <a:gd name="connsiteX134" fmla="*/ 6731 w 10000"/>
                <a:gd name="connsiteY134" fmla="*/ 6413 h 10010"/>
                <a:gd name="connsiteX135" fmla="*/ 6716 w 10000"/>
                <a:gd name="connsiteY135" fmla="*/ 6349 h 10010"/>
                <a:gd name="connsiteX136" fmla="*/ 6646 w 10000"/>
                <a:gd name="connsiteY136" fmla="*/ 6282 h 10010"/>
                <a:gd name="connsiteX137" fmla="*/ 6360 w 10000"/>
                <a:gd name="connsiteY137" fmla="*/ 6294 h 10010"/>
                <a:gd name="connsiteX138" fmla="*/ 6258 w 10000"/>
                <a:gd name="connsiteY138" fmla="*/ 6223 h 10010"/>
                <a:gd name="connsiteX139" fmla="*/ 6198 w 10000"/>
                <a:gd name="connsiteY139" fmla="*/ 6219 h 10010"/>
                <a:gd name="connsiteX140" fmla="*/ 6198 w 10000"/>
                <a:gd name="connsiteY140" fmla="*/ 6248 h 10010"/>
                <a:gd name="connsiteX141" fmla="*/ 6069 w 10000"/>
                <a:gd name="connsiteY141" fmla="*/ 6368 h 10010"/>
                <a:gd name="connsiteX142" fmla="*/ 5930 w 10000"/>
                <a:gd name="connsiteY142" fmla="*/ 6439 h 10010"/>
                <a:gd name="connsiteX143" fmla="*/ 5495 w 10000"/>
                <a:gd name="connsiteY143" fmla="*/ 6561 h 10010"/>
                <a:gd name="connsiteX144" fmla="*/ 5342 w 10000"/>
                <a:gd name="connsiteY144" fmla="*/ 6557 h 10010"/>
                <a:gd name="connsiteX145" fmla="*/ 5133 w 10000"/>
                <a:gd name="connsiteY145" fmla="*/ 6575 h 10010"/>
                <a:gd name="connsiteX146" fmla="*/ 5016 w 10000"/>
                <a:gd name="connsiteY146" fmla="*/ 6557 h 10010"/>
                <a:gd name="connsiteX147" fmla="*/ 5169 w 10000"/>
                <a:gd name="connsiteY147" fmla="*/ 6523 h 10010"/>
                <a:gd name="connsiteX148" fmla="*/ 5369 w 10000"/>
                <a:gd name="connsiteY148" fmla="*/ 6508 h 10010"/>
                <a:gd name="connsiteX149" fmla="*/ 5534 w 10000"/>
                <a:gd name="connsiteY149" fmla="*/ 6451 h 10010"/>
                <a:gd name="connsiteX150" fmla="*/ 5695 w 10000"/>
                <a:gd name="connsiteY150" fmla="*/ 6425 h 10010"/>
                <a:gd name="connsiteX151" fmla="*/ 5998 w 10000"/>
                <a:gd name="connsiteY151" fmla="*/ 6327 h 10010"/>
                <a:gd name="connsiteX152" fmla="*/ 6056 w 10000"/>
                <a:gd name="connsiteY152" fmla="*/ 6262 h 10010"/>
                <a:gd name="connsiteX153" fmla="*/ 6060 w 10000"/>
                <a:gd name="connsiteY153" fmla="*/ 6178 h 10010"/>
                <a:gd name="connsiteX154" fmla="*/ 5921 w 10000"/>
                <a:gd name="connsiteY154" fmla="*/ 6164 h 10010"/>
                <a:gd name="connsiteX155" fmla="*/ 5983 w 10000"/>
                <a:gd name="connsiteY155" fmla="*/ 6113 h 10010"/>
                <a:gd name="connsiteX156" fmla="*/ 6002 w 10000"/>
                <a:gd name="connsiteY156" fmla="*/ 6048 h 10010"/>
                <a:gd name="connsiteX157" fmla="*/ 5944 w 10000"/>
                <a:gd name="connsiteY157" fmla="*/ 5987 h 10010"/>
                <a:gd name="connsiteX158" fmla="*/ 5911 w 10000"/>
                <a:gd name="connsiteY158" fmla="*/ 5543 h 10010"/>
                <a:gd name="connsiteX159" fmla="*/ 5993 w 10000"/>
                <a:gd name="connsiteY159" fmla="*/ 5447 h 10010"/>
                <a:gd name="connsiteX160" fmla="*/ 5972 w 10000"/>
                <a:gd name="connsiteY160" fmla="*/ 5408 h 10010"/>
                <a:gd name="connsiteX161" fmla="*/ 6212 w 10000"/>
                <a:gd name="connsiteY161" fmla="*/ 5465 h 10010"/>
                <a:gd name="connsiteX162" fmla="*/ 6229 w 10000"/>
                <a:gd name="connsiteY162" fmla="*/ 5412 h 10010"/>
                <a:gd name="connsiteX163" fmla="*/ 6176 w 10000"/>
                <a:gd name="connsiteY163" fmla="*/ 5274 h 10010"/>
                <a:gd name="connsiteX164" fmla="*/ 6349 w 10000"/>
                <a:gd name="connsiteY164" fmla="*/ 5029 h 10010"/>
                <a:gd name="connsiteX165" fmla="*/ 6243 w 10000"/>
                <a:gd name="connsiteY165" fmla="*/ 4970 h 10010"/>
                <a:gd name="connsiteX166" fmla="*/ 6202 w 10000"/>
                <a:gd name="connsiteY166" fmla="*/ 4915 h 10010"/>
                <a:gd name="connsiteX167" fmla="*/ 6216 w 10000"/>
                <a:gd name="connsiteY167" fmla="*/ 4826 h 10010"/>
                <a:gd name="connsiteX168" fmla="*/ 6470 w 10000"/>
                <a:gd name="connsiteY168" fmla="*/ 4885 h 10010"/>
                <a:gd name="connsiteX169" fmla="*/ 6478 w 10000"/>
                <a:gd name="connsiteY169" fmla="*/ 4868 h 10010"/>
                <a:gd name="connsiteX170" fmla="*/ 6548 w 10000"/>
                <a:gd name="connsiteY170" fmla="*/ 4852 h 10010"/>
                <a:gd name="connsiteX171" fmla="*/ 6646 w 10000"/>
                <a:gd name="connsiteY171" fmla="*/ 4795 h 10010"/>
                <a:gd name="connsiteX172" fmla="*/ 6662 w 10000"/>
                <a:gd name="connsiteY172" fmla="*/ 4779 h 10010"/>
                <a:gd name="connsiteX173" fmla="*/ 6641 w 10000"/>
                <a:gd name="connsiteY173" fmla="*/ 4758 h 10010"/>
                <a:gd name="connsiteX174" fmla="*/ 6693 w 10000"/>
                <a:gd name="connsiteY174" fmla="*/ 4657 h 10010"/>
                <a:gd name="connsiteX175" fmla="*/ 6631 w 10000"/>
                <a:gd name="connsiteY175" fmla="*/ 4591 h 10010"/>
                <a:gd name="connsiteX176" fmla="*/ 6641 w 10000"/>
                <a:gd name="connsiteY176" fmla="*/ 4538 h 10010"/>
                <a:gd name="connsiteX177" fmla="*/ 6676 w 10000"/>
                <a:gd name="connsiteY177" fmla="*/ 4600 h 10010"/>
                <a:gd name="connsiteX178" fmla="*/ 6815 w 10000"/>
                <a:gd name="connsiteY178" fmla="*/ 4646 h 10010"/>
                <a:gd name="connsiteX179" fmla="*/ 6872 w 10000"/>
                <a:gd name="connsiteY179" fmla="*/ 4640 h 10010"/>
                <a:gd name="connsiteX180" fmla="*/ 6963 w 10000"/>
                <a:gd name="connsiteY180" fmla="*/ 4579 h 10010"/>
                <a:gd name="connsiteX181" fmla="*/ 7062 w 10000"/>
                <a:gd name="connsiteY181" fmla="*/ 4604 h 10010"/>
                <a:gd name="connsiteX182" fmla="*/ 7088 w 10000"/>
                <a:gd name="connsiteY182" fmla="*/ 4555 h 10010"/>
                <a:gd name="connsiteX183" fmla="*/ 7154 w 10000"/>
                <a:gd name="connsiteY183" fmla="*/ 4522 h 10010"/>
                <a:gd name="connsiteX184" fmla="*/ 6974 w 10000"/>
                <a:gd name="connsiteY184" fmla="*/ 4487 h 10010"/>
                <a:gd name="connsiteX185" fmla="*/ 7102 w 10000"/>
                <a:gd name="connsiteY185" fmla="*/ 4494 h 10010"/>
                <a:gd name="connsiteX186" fmla="*/ 7234 w 10000"/>
                <a:gd name="connsiteY186" fmla="*/ 4457 h 10010"/>
                <a:gd name="connsiteX187" fmla="*/ 7229 w 10000"/>
                <a:gd name="connsiteY187" fmla="*/ 4432 h 10010"/>
                <a:gd name="connsiteX188" fmla="*/ 7353 w 10000"/>
                <a:gd name="connsiteY188" fmla="*/ 4408 h 10010"/>
                <a:gd name="connsiteX189" fmla="*/ 7364 w 10000"/>
                <a:gd name="connsiteY189" fmla="*/ 4347 h 10010"/>
                <a:gd name="connsiteX190" fmla="*/ 7461 w 10000"/>
                <a:gd name="connsiteY190" fmla="*/ 4335 h 10010"/>
                <a:gd name="connsiteX191" fmla="*/ 7469 w 10000"/>
                <a:gd name="connsiteY191" fmla="*/ 4263 h 10010"/>
                <a:gd name="connsiteX192" fmla="*/ 7572 w 10000"/>
                <a:gd name="connsiteY192" fmla="*/ 4255 h 10010"/>
                <a:gd name="connsiteX193" fmla="*/ 7730 w 10000"/>
                <a:gd name="connsiteY193" fmla="*/ 4270 h 10010"/>
                <a:gd name="connsiteX194" fmla="*/ 7904 w 10000"/>
                <a:gd name="connsiteY194" fmla="*/ 4212 h 10010"/>
                <a:gd name="connsiteX195" fmla="*/ 7966 w 10000"/>
                <a:gd name="connsiteY195" fmla="*/ 4147 h 10010"/>
                <a:gd name="connsiteX196" fmla="*/ 8181 w 10000"/>
                <a:gd name="connsiteY196" fmla="*/ 4080 h 10010"/>
                <a:gd name="connsiteX197" fmla="*/ 8288 w 10000"/>
                <a:gd name="connsiteY197" fmla="*/ 4121 h 10010"/>
                <a:gd name="connsiteX198" fmla="*/ 8452 w 10000"/>
                <a:gd name="connsiteY198" fmla="*/ 4076 h 10010"/>
                <a:gd name="connsiteX199" fmla="*/ 8491 w 10000"/>
                <a:gd name="connsiteY199" fmla="*/ 4019 h 10010"/>
                <a:gd name="connsiteX200" fmla="*/ 8616 w 10000"/>
                <a:gd name="connsiteY200" fmla="*/ 3980 h 10010"/>
                <a:gd name="connsiteX201" fmla="*/ 8722 w 10000"/>
                <a:gd name="connsiteY201" fmla="*/ 3997 h 10010"/>
                <a:gd name="connsiteX202" fmla="*/ 8789 w 10000"/>
                <a:gd name="connsiteY202" fmla="*/ 3968 h 10010"/>
                <a:gd name="connsiteX203" fmla="*/ 8973 w 10000"/>
                <a:gd name="connsiteY203" fmla="*/ 3927 h 10010"/>
                <a:gd name="connsiteX204" fmla="*/ 9049 w 10000"/>
                <a:gd name="connsiteY204" fmla="*/ 3874 h 10010"/>
                <a:gd name="connsiteX205" fmla="*/ 9153 w 10000"/>
                <a:gd name="connsiteY205" fmla="*/ 3852 h 10010"/>
                <a:gd name="connsiteX206" fmla="*/ 9720 w 10000"/>
                <a:gd name="connsiteY206" fmla="*/ 3532 h 10010"/>
                <a:gd name="connsiteX207" fmla="*/ 9971 w 10000"/>
                <a:gd name="connsiteY207" fmla="*/ 399 h 10010"/>
                <a:gd name="connsiteX208" fmla="*/ 9049 w 10000"/>
                <a:gd name="connsiteY208" fmla="*/ 36 h 10010"/>
                <a:gd name="connsiteX209" fmla="*/ 8706 w 10000"/>
                <a:gd name="connsiteY209" fmla="*/ 10 h 10010"/>
                <a:gd name="connsiteX210" fmla="*/ 8637 w 10000"/>
                <a:gd name="connsiteY210" fmla="*/ 24 h 10010"/>
                <a:gd name="connsiteX211" fmla="*/ 8652 w 10000"/>
                <a:gd name="connsiteY211" fmla="*/ 71 h 10010"/>
                <a:gd name="connsiteX212" fmla="*/ 8713 w 10000"/>
                <a:gd name="connsiteY212" fmla="*/ 96 h 10010"/>
                <a:gd name="connsiteX213" fmla="*/ 8729 w 10000"/>
                <a:gd name="connsiteY213" fmla="*/ 149 h 10010"/>
                <a:gd name="connsiteX214" fmla="*/ 8706 w 10000"/>
                <a:gd name="connsiteY214" fmla="*/ 191 h 10010"/>
                <a:gd name="connsiteX215" fmla="*/ 8652 w 10000"/>
                <a:gd name="connsiteY215" fmla="*/ 218 h 10010"/>
                <a:gd name="connsiteX216" fmla="*/ 8610 w 10000"/>
                <a:gd name="connsiteY216" fmla="*/ 293 h 10010"/>
                <a:gd name="connsiteX217" fmla="*/ 8533 w 10000"/>
                <a:gd name="connsiteY217" fmla="*/ 346 h 10010"/>
                <a:gd name="connsiteX218" fmla="*/ 8550 w 10000"/>
                <a:gd name="connsiteY218" fmla="*/ 397 h 10010"/>
                <a:gd name="connsiteX219" fmla="*/ 8667 w 10000"/>
                <a:gd name="connsiteY219" fmla="*/ 444 h 10010"/>
                <a:gd name="connsiteX220" fmla="*/ 8591 w 10000"/>
                <a:gd name="connsiteY220" fmla="*/ 485 h 10010"/>
                <a:gd name="connsiteX221" fmla="*/ 8477 w 10000"/>
                <a:gd name="connsiteY221" fmla="*/ 495 h 10010"/>
                <a:gd name="connsiteX222" fmla="*/ 7537 w 10000"/>
                <a:gd name="connsiteY222" fmla="*/ 397 h 10010"/>
                <a:gd name="connsiteX223" fmla="*/ 7423 w 10000"/>
                <a:gd name="connsiteY223" fmla="*/ 405 h 10010"/>
                <a:gd name="connsiteX224" fmla="*/ 7359 w 10000"/>
                <a:gd name="connsiteY224" fmla="*/ 424 h 10010"/>
                <a:gd name="connsiteX225" fmla="*/ 7290 w 10000"/>
                <a:gd name="connsiteY225" fmla="*/ 472 h 10010"/>
                <a:gd name="connsiteX226" fmla="*/ 7302 w 10000"/>
                <a:gd name="connsiteY226" fmla="*/ 591 h 10010"/>
                <a:gd name="connsiteX227" fmla="*/ 7199 w 10000"/>
                <a:gd name="connsiteY227" fmla="*/ 745 h 10010"/>
                <a:gd name="connsiteX228" fmla="*/ 7072 w 10000"/>
                <a:gd name="connsiteY228" fmla="*/ 825 h 10010"/>
                <a:gd name="connsiteX229" fmla="*/ 7021 w 10000"/>
                <a:gd name="connsiteY229" fmla="*/ 815 h 10010"/>
                <a:gd name="connsiteX230" fmla="*/ 6903 w 10000"/>
                <a:gd name="connsiteY230" fmla="*/ 749 h 10010"/>
                <a:gd name="connsiteX231" fmla="*/ 6756 w 10000"/>
                <a:gd name="connsiteY231" fmla="*/ 715 h 10010"/>
                <a:gd name="connsiteX232" fmla="*/ 6594 w 10000"/>
                <a:gd name="connsiteY232" fmla="*/ 725 h 10010"/>
                <a:gd name="connsiteX233" fmla="*/ 6223 w 10000"/>
                <a:gd name="connsiteY233" fmla="*/ 876 h 10010"/>
                <a:gd name="connsiteX234" fmla="*/ 6125 w 10000"/>
                <a:gd name="connsiteY234" fmla="*/ 1027 h 10010"/>
                <a:gd name="connsiteX235" fmla="*/ 5845 w 10000"/>
                <a:gd name="connsiteY235" fmla="*/ 1163 h 10010"/>
                <a:gd name="connsiteX236" fmla="*/ 5794 w 10000"/>
                <a:gd name="connsiteY236" fmla="*/ 1232 h 10010"/>
                <a:gd name="connsiteX237" fmla="*/ 5940 w 10000"/>
                <a:gd name="connsiteY237" fmla="*/ 1354 h 10010"/>
                <a:gd name="connsiteX238" fmla="*/ 5956 w 10000"/>
                <a:gd name="connsiteY238" fmla="*/ 1422 h 10010"/>
                <a:gd name="connsiteX239" fmla="*/ 5190 w 10000"/>
                <a:gd name="connsiteY239" fmla="*/ 1823 h 10010"/>
                <a:gd name="connsiteX240" fmla="*/ 4955 w 10000"/>
                <a:gd name="connsiteY240" fmla="*/ 2080 h 10010"/>
                <a:gd name="connsiteX241" fmla="*/ 4702 w 10000"/>
                <a:gd name="connsiteY241" fmla="*/ 2145 h 10010"/>
                <a:gd name="connsiteX242" fmla="*/ 4540 w 10000"/>
                <a:gd name="connsiteY242" fmla="*/ 2141 h 10010"/>
                <a:gd name="connsiteX243" fmla="*/ 4443 w 10000"/>
                <a:gd name="connsiteY243" fmla="*/ 2163 h 10010"/>
                <a:gd name="connsiteX244" fmla="*/ 4178 w 10000"/>
                <a:gd name="connsiteY244" fmla="*/ 2803 h 10010"/>
                <a:gd name="connsiteX245" fmla="*/ 3565 w 10000"/>
                <a:gd name="connsiteY245" fmla="*/ 3176 h 10010"/>
                <a:gd name="connsiteX246" fmla="*/ 3569 w 10000"/>
                <a:gd name="connsiteY246" fmla="*/ 3235 h 10010"/>
                <a:gd name="connsiteX247" fmla="*/ 3841 w 10000"/>
                <a:gd name="connsiteY247" fmla="*/ 3402 h 10010"/>
                <a:gd name="connsiteX248" fmla="*/ 3753 w 10000"/>
                <a:gd name="connsiteY248" fmla="*/ 3583 h 10010"/>
                <a:gd name="connsiteX249" fmla="*/ 3594 w 10000"/>
                <a:gd name="connsiteY249" fmla="*/ 3650 h 10010"/>
                <a:gd name="connsiteX250" fmla="*/ 3118 w 10000"/>
                <a:gd name="connsiteY250" fmla="*/ 3605 h 10010"/>
                <a:gd name="connsiteX251" fmla="*/ 2791 w 10000"/>
                <a:gd name="connsiteY251" fmla="*/ 3630 h 10010"/>
                <a:gd name="connsiteX252" fmla="*/ 2528 w 10000"/>
                <a:gd name="connsiteY252" fmla="*/ 3683 h 10010"/>
                <a:gd name="connsiteX253" fmla="*/ 2102 w 10000"/>
                <a:gd name="connsiteY253" fmla="*/ 3850 h 10010"/>
                <a:gd name="connsiteX254" fmla="*/ 1877 w 10000"/>
                <a:gd name="connsiteY254" fmla="*/ 4052 h 10010"/>
                <a:gd name="connsiteX255" fmla="*/ 1896 w 10000"/>
                <a:gd name="connsiteY255" fmla="*/ 4164 h 10010"/>
                <a:gd name="connsiteX256" fmla="*/ 1975 w 10000"/>
                <a:gd name="connsiteY256" fmla="*/ 4251 h 10010"/>
                <a:gd name="connsiteX257" fmla="*/ 2034 w 10000"/>
                <a:gd name="connsiteY257" fmla="*/ 4286 h 10010"/>
                <a:gd name="connsiteX258" fmla="*/ 1924 w 10000"/>
                <a:gd name="connsiteY258" fmla="*/ 4341 h 10010"/>
                <a:gd name="connsiteX259" fmla="*/ 1683 w 10000"/>
                <a:gd name="connsiteY259" fmla="*/ 4720 h 10010"/>
                <a:gd name="connsiteX260" fmla="*/ 1729 w 10000"/>
                <a:gd name="connsiteY260" fmla="*/ 4742 h 10010"/>
                <a:gd name="connsiteX261" fmla="*/ 1764 w 10000"/>
                <a:gd name="connsiteY261" fmla="*/ 4838 h 10010"/>
                <a:gd name="connsiteX262" fmla="*/ 1652 w 10000"/>
                <a:gd name="connsiteY262" fmla="*/ 5237 h 10010"/>
                <a:gd name="connsiteX263" fmla="*/ 1764 w 10000"/>
                <a:gd name="connsiteY263" fmla="*/ 5339 h 10010"/>
                <a:gd name="connsiteX264" fmla="*/ 2071 w 10000"/>
                <a:gd name="connsiteY264" fmla="*/ 5451 h 10010"/>
                <a:gd name="connsiteX265" fmla="*/ 2085 w 10000"/>
                <a:gd name="connsiteY265" fmla="*/ 5588 h 10010"/>
                <a:gd name="connsiteX266" fmla="*/ 1954 w 10000"/>
                <a:gd name="connsiteY266" fmla="*/ 5700 h 10010"/>
                <a:gd name="connsiteX267" fmla="*/ 1764 w 10000"/>
                <a:gd name="connsiteY267" fmla="*/ 5769 h 10010"/>
                <a:gd name="connsiteX268" fmla="*/ 1513 w 10000"/>
                <a:gd name="connsiteY268" fmla="*/ 5797 h 10010"/>
                <a:gd name="connsiteX269" fmla="*/ 1448 w 10000"/>
                <a:gd name="connsiteY269" fmla="*/ 5836 h 10010"/>
                <a:gd name="connsiteX270" fmla="*/ 1594 w 10000"/>
                <a:gd name="connsiteY270" fmla="*/ 5930 h 10010"/>
                <a:gd name="connsiteX271" fmla="*/ 1678 w 10000"/>
                <a:gd name="connsiteY271" fmla="*/ 6152 h 10010"/>
                <a:gd name="connsiteX272" fmla="*/ 1488 w 10000"/>
                <a:gd name="connsiteY272" fmla="*/ 6343 h 10010"/>
                <a:gd name="connsiteX273" fmla="*/ 1554 w 10000"/>
                <a:gd name="connsiteY273" fmla="*/ 6402 h 10010"/>
                <a:gd name="connsiteX274" fmla="*/ 1494 w 10000"/>
                <a:gd name="connsiteY274" fmla="*/ 6502 h 10010"/>
                <a:gd name="connsiteX275" fmla="*/ 1372 w 10000"/>
                <a:gd name="connsiteY275" fmla="*/ 6571 h 10010"/>
                <a:gd name="connsiteX276" fmla="*/ 889 w 10000"/>
                <a:gd name="connsiteY276" fmla="*/ 6624 h 10010"/>
                <a:gd name="connsiteX277" fmla="*/ 860 w 10000"/>
                <a:gd name="connsiteY277" fmla="*/ 6716 h 10010"/>
                <a:gd name="connsiteX278" fmla="*/ 600 w 10000"/>
                <a:gd name="connsiteY278" fmla="*/ 6853 h 10010"/>
                <a:gd name="connsiteX279" fmla="*/ 634 w 10000"/>
                <a:gd name="connsiteY279" fmla="*/ 7050 h 10010"/>
                <a:gd name="connsiteX280" fmla="*/ 415 w 10000"/>
                <a:gd name="connsiteY280" fmla="*/ 7303 h 10010"/>
                <a:gd name="connsiteX281" fmla="*/ 266 w 10000"/>
                <a:gd name="connsiteY281" fmla="*/ 7333 h 10010"/>
                <a:gd name="connsiteX282" fmla="*/ 204 w 10000"/>
                <a:gd name="connsiteY282" fmla="*/ 7272 h 10010"/>
                <a:gd name="connsiteX283" fmla="*/ 128 w 10000"/>
                <a:gd name="connsiteY283" fmla="*/ 7364 h 10010"/>
                <a:gd name="connsiteX284" fmla="*/ 178 w 10000"/>
                <a:gd name="connsiteY284" fmla="*/ 7207 h 10010"/>
                <a:gd name="connsiteX285" fmla="*/ 147 w 10000"/>
                <a:gd name="connsiteY285" fmla="*/ 7176 h 10010"/>
                <a:gd name="connsiteX0" fmla="*/ 147 w 10000"/>
                <a:gd name="connsiteY0" fmla="*/ 7176 h 10010"/>
                <a:gd name="connsiteX1" fmla="*/ 0 w 10000"/>
                <a:gd name="connsiteY1" fmla="*/ 7258 h 10010"/>
                <a:gd name="connsiteX2" fmla="*/ 0 w 10000"/>
                <a:gd name="connsiteY2" fmla="*/ 7661 h 10010"/>
                <a:gd name="connsiteX3" fmla="*/ 81 w 10000"/>
                <a:gd name="connsiteY3" fmla="*/ 7673 h 10010"/>
                <a:gd name="connsiteX4" fmla="*/ 100 w 10000"/>
                <a:gd name="connsiteY4" fmla="*/ 7704 h 10010"/>
                <a:gd name="connsiteX5" fmla="*/ 96 w 10000"/>
                <a:gd name="connsiteY5" fmla="*/ 7759 h 10010"/>
                <a:gd name="connsiteX6" fmla="*/ 66 w 10000"/>
                <a:gd name="connsiteY6" fmla="*/ 7783 h 10010"/>
                <a:gd name="connsiteX7" fmla="*/ 190 w 10000"/>
                <a:gd name="connsiteY7" fmla="*/ 7737 h 10010"/>
                <a:gd name="connsiteX8" fmla="*/ 242 w 10000"/>
                <a:gd name="connsiteY8" fmla="*/ 7690 h 10010"/>
                <a:gd name="connsiteX9" fmla="*/ 306 w 10000"/>
                <a:gd name="connsiteY9" fmla="*/ 7722 h 10010"/>
                <a:gd name="connsiteX10" fmla="*/ 235 w 10000"/>
                <a:gd name="connsiteY10" fmla="*/ 7788 h 10010"/>
                <a:gd name="connsiteX11" fmla="*/ 311 w 10000"/>
                <a:gd name="connsiteY11" fmla="*/ 7790 h 10010"/>
                <a:gd name="connsiteX12" fmla="*/ 348 w 10000"/>
                <a:gd name="connsiteY12" fmla="*/ 7806 h 10010"/>
                <a:gd name="connsiteX13" fmla="*/ 250 w 10000"/>
                <a:gd name="connsiteY13" fmla="*/ 7828 h 10010"/>
                <a:gd name="connsiteX14" fmla="*/ 96 w 10000"/>
                <a:gd name="connsiteY14" fmla="*/ 7896 h 10010"/>
                <a:gd name="connsiteX15" fmla="*/ 370 w 10000"/>
                <a:gd name="connsiteY15" fmla="*/ 7948 h 10010"/>
                <a:gd name="connsiteX16" fmla="*/ 404 w 10000"/>
                <a:gd name="connsiteY16" fmla="*/ 8024 h 10010"/>
                <a:gd name="connsiteX17" fmla="*/ 311 w 10000"/>
                <a:gd name="connsiteY17" fmla="*/ 8136 h 10010"/>
                <a:gd name="connsiteX18" fmla="*/ 511 w 10000"/>
                <a:gd name="connsiteY18" fmla="*/ 8128 h 10010"/>
                <a:gd name="connsiteX19" fmla="*/ 526 w 10000"/>
                <a:gd name="connsiteY19" fmla="*/ 8213 h 10010"/>
                <a:gd name="connsiteX20" fmla="*/ 393 w 10000"/>
                <a:gd name="connsiteY20" fmla="*/ 8270 h 10010"/>
                <a:gd name="connsiteX21" fmla="*/ 415 w 10000"/>
                <a:gd name="connsiteY21" fmla="*/ 8380 h 10010"/>
                <a:gd name="connsiteX22" fmla="*/ 364 w 10000"/>
                <a:gd name="connsiteY22" fmla="*/ 8466 h 10010"/>
                <a:gd name="connsiteX23" fmla="*/ 521 w 10000"/>
                <a:gd name="connsiteY23" fmla="*/ 8474 h 10010"/>
                <a:gd name="connsiteX24" fmla="*/ 676 w 10000"/>
                <a:gd name="connsiteY24" fmla="*/ 8802 h 10010"/>
                <a:gd name="connsiteX25" fmla="*/ 853 w 10000"/>
                <a:gd name="connsiteY25" fmla="*/ 8886 h 10010"/>
                <a:gd name="connsiteX26" fmla="*/ 931 w 10000"/>
                <a:gd name="connsiteY26" fmla="*/ 8975 h 10010"/>
                <a:gd name="connsiteX27" fmla="*/ 1125 w 10000"/>
                <a:gd name="connsiteY27" fmla="*/ 9040 h 10010"/>
                <a:gd name="connsiteX28" fmla="*/ 1249 w 10000"/>
                <a:gd name="connsiteY28" fmla="*/ 9122 h 10010"/>
                <a:gd name="connsiteX29" fmla="*/ 1233 w 10000"/>
                <a:gd name="connsiteY29" fmla="*/ 9181 h 10010"/>
                <a:gd name="connsiteX30" fmla="*/ 1110 w 10000"/>
                <a:gd name="connsiteY30" fmla="*/ 9203 h 10010"/>
                <a:gd name="connsiteX31" fmla="*/ 976 w 10000"/>
                <a:gd name="connsiteY31" fmla="*/ 9189 h 10010"/>
                <a:gd name="connsiteX32" fmla="*/ 935 w 10000"/>
                <a:gd name="connsiteY32" fmla="*/ 9214 h 10010"/>
                <a:gd name="connsiteX33" fmla="*/ 1037 w 10000"/>
                <a:gd name="connsiteY33" fmla="*/ 9342 h 10010"/>
                <a:gd name="connsiteX34" fmla="*/ 894 w 10000"/>
                <a:gd name="connsiteY34" fmla="*/ 9332 h 10010"/>
                <a:gd name="connsiteX35" fmla="*/ 773 w 10000"/>
                <a:gd name="connsiteY35" fmla="*/ 9301 h 10010"/>
                <a:gd name="connsiteX36" fmla="*/ 750 w 10000"/>
                <a:gd name="connsiteY36" fmla="*/ 9348 h 10010"/>
                <a:gd name="connsiteX37" fmla="*/ 1155 w 10000"/>
                <a:gd name="connsiteY37" fmla="*/ 9786 h 10010"/>
                <a:gd name="connsiteX38" fmla="*/ 1091 w 10000"/>
                <a:gd name="connsiteY38" fmla="*/ 9827 h 10010"/>
                <a:gd name="connsiteX39" fmla="*/ 1045 w 10000"/>
                <a:gd name="connsiteY39" fmla="*/ 9912 h 10010"/>
                <a:gd name="connsiteX40" fmla="*/ 987 w 10000"/>
                <a:gd name="connsiteY40" fmla="*/ 9918 h 10010"/>
                <a:gd name="connsiteX41" fmla="*/ 951 w 10000"/>
                <a:gd name="connsiteY41" fmla="*/ 9955 h 10010"/>
                <a:gd name="connsiteX42" fmla="*/ 1195 w 10000"/>
                <a:gd name="connsiteY42" fmla="*/ 9959 h 10010"/>
                <a:gd name="connsiteX43" fmla="*/ 1410 w 10000"/>
                <a:gd name="connsiteY43" fmla="*/ 9996 h 10010"/>
                <a:gd name="connsiteX44" fmla="*/ 1769 w 10000"/>
                <a:gd name="connsiteY44" fmla="*/ 9957 h 10010"/>
                <a:gd name="connsiteX45" fmla="*/ 2091 w 10000"/>
                <a:gd name="connsiteY45" fmla="*/ 9963 h 10010"/>
                <a:gd name="connsiteX46" fmla="*/ 2280 w 10000"/>
                <a:gd name="connsiteY46" fmla="*/ 10010 h 10010"/>
                <a:gd name="connsiteX47" fmla="*/ 2385 w 10000"/>
                <a:gd name="connsiteY47" fmla="*/ 9979 h 10010"/>
                <a:gd name="connsiteX48" fmla="*/ 2485 w 10000"/>
                <a:gd name="connsiteY48" fmla="*/ 9878 h 10010"/>
                <a:gd name="connsiteX49" fmla="*/ 2459 w 10000"/>
                <a:gd name="connsiteY49" fmla="*/ 9713 h 10010"/>
                <a:gd name="connsiteX50" fmla="*/ 2704 w 10000"/>
                <a:gd name="connsiteY50" fmla="*/ 9527 h 10010"/>
                <a:gd name="connsiteX51" fmla="*/ 2883 w 10000"/>
                <a:gd name="connsiteY51" fmla="*/ 9556 h 10010"/>
                <a:gd name="connsiteX52" fmla="*/ 2987 w 10000"/>
                <a:gd name="connsiteY52" fmla="*/ 9482 h 10010"/>
                <a:gd name="connsiteX53" fmla="*/ 3186 w 10000"/>
                <a:gd name="connsiteY53" fmla="*/ 9440 h 10010"/>
                <a:gd name="connsiteX54" fmla="*/ 3457 w 10000"/>
                <a:gd name="connsiteY54" fmla="*/ 9450 h 10010"/>
                <a:gd name="connsiteX55" fmla="*/ 3620 w 10000"/>
                <a:gd name="connsiteY55" fmla="*/ 9480 h 10010"/>
                <a:gd name="connsiteX56" fmla="*/ 3837 w 10000"/>
                <a:gd name="connsiteY56" fmla="*/ 9466 h 10010"/>
                <a:gd name="connsiteX57" fmla="*/ 4056 w 10000"/>
                <a:gd name="connsiteY57" fmla="*/ 9499 h 10010"/>
                <a:gd name="connsiteX58" fmla="*/ 4275 w 10000"/>
                <a:gd name="connsiteY58" fmla="*/ 9503 h 10010"/>
                <a:gd name="connsiteX59" fmla="*/ 4765 w 10000"/>
                <a:gd name="connsiteY59" fmla="*/ 9071 h 10010"/>
                <a:gd name="connsiteX60" fmla="*/ 4889 w 10000"/>
                <a:gd name="connsiteY60" fmla="*/ 8721 h 10010"/>
                <a:gd name="connsiteX61" fmla="*/ 5088 w 10000"/>
                <a:gd name="connsiteY61" fmla="*/ 8564 h 10010"/>
                <a:gd name="connsiteX62" fmla="*/ 5088 w 10000"/>
                <a:gd name="connsiteY62" fmla="*/ 8482 h 10010"/>
                <a:gd name="connsiteX63" fmla="*/ 5016 w 10000"/>
                <a:gd name="connsiteY63" fmla="*/ 8435 h 10010"/>
                <a:gd name="connsiteX64" fmla="*/ 5133 w 10000"/>
                <a:gd name="connsiteY64" fmla="*/ 8362 h 10010"/>
                <a:gd name="connsiteX65" fmla="*/ 5112 w 10000"/>
                <a:gd name="connsiteY65" fmla="*/ 8299 h 10010"/>
                <a:gd name="connsiteX66" fmla="*/ 5032 w 10000"/>
                <a:gd name="connsiteY66" fmla="*/ 8246 h 10010"/>
                <a:gd name="connsiteX67" fmla="*/ 5016 w 10000"/>
                <a:gd name="connsiteY67" fmla="*/ 8209 h 10010"/>
                <a:gd name="connsiteX68" fmla="*/ 5036 w 10000"/>
                <a:gd name="connsiteY68" fmla="*/ 8179 h 10010"/>
                <a:gd name="connsiteX69" fmla="*/ 5144 w 10000"/>
                <a:gd name="connsiteY69" fmla="*/ 8203 h 10010"/>
                <a:gd name="connsiteX70" fmla="*/ 5230 w 10000"/>
                <a:gd name="connsiteY70" fmla="*/ 8201 h 10010"/>
                <a:gd name="connsiteX71" fmla="*/ 5184 w 10000"/>
                <a:gd name="connsiteY71" fmla="*/ 8150 h 10010"/>
                <a:gd name="connsiteX72" fmla="*/ 5198 w 10000"/>
                <a:gd name="connsiteY72" fmla="*/ 8122 h 10010"/>
                <a:gd name="connsiteX73" fmla="*/ 5262 w 10000"/>
                <a:gd name="connsiteY73" fmla="*/ 8079 h 10010"/>
                <a:gd name="connsiteX74" fmla="*/ 5250 w 10000"/>
                <a:gd name="connsiteY74" fmla="*/ 8044 h 10010"/>
                <a:gd name="connsiteX75" fmla="*/ 5309 w 10000"/>
                <a:gd name="connsiteY75" fmla="*/ 7926 h 10010"/>
                <a:gd name="connsiteX76" fmla="*/ 5293 w 10000"/>
                <a:gd name="connsiteY76" fmla="*/ 7891 h 10010"/>
                <a:gd name="connsiteX77" fmla="*/ 4996 w 10000"/>
                <a:gd name="connsiteY77" fmla="*/ 7802 h 10010"/>
                <a:gd name="connsiteX78" fmla="*/ 5036 w 10000"/>
                <a:gd name="connsiteY78" fmla="*/ 7798 h 10010"/>
                <a:gd name="connsiteX79" fmla="*/ 5194 w 10000"/>
                <a:gd name="connsiteY79" fmla="*/ 7822 h 10010"/>
                <a:gd name="connsiteX80" fmla="*/ 5365 w 10000"/>
                <a:gd name="connsiteY80" fmla="*/ 7814 h 10010"/>
                <a:gd name="connsiteX81" fmla="*/ 5415 w 10000"/>
                <a:gd name="connsiteY81" fmla="*/ 7781 h 10010"/>
                <a:gd name="connsiteX82" fmla="*/ 5250 w 10000"/>
                <a:gd name="connsiteY82" fmla="*/ 7720 h 10010"/>
                <a:gd name="connsiteX83" fmla="*/ 4761 w 10000"/>
                <a:gd name="connsiteY83" fmla="*/ 7680 h 10010"/>
                <a:gd name="connsiteX84" fmla="*/ 4794 w 10000"/>
                <a:gd name="connsiteY84" fmla="*/ 7661 h 10010"/>
                <a:gd name="connsiteX85" fmla="*/ 5194 w 10000"/>
                <a:gd name="connsiteY85" fmla="*/ 7649 h 10010"/>
                <a:gd name="connsiteX86" fmla="*/ 5415 w 10000"/>
                <a:gd name="connsiteY86" fmla="*/ 7686 h 10010"/>
                <a:gd name="connsiteX87" fmla="*/ 5542 w 10000"/>
                <a:gd name="connsiteY87" fmla="*/ 7661 h 10010"/>
                <a:gd name="connsiteX88" fmla="*/ 5589 w 10000"/>
                <a:gd name="connsiteY88" fmla="*/ 7598 h 10010"/>
                <a:gd name="connsiteX89" fmla="*/ 5819 w 10000"/>
                <a:gd name="connsiteY89" fmla="*/ 7598 h 10010"/>
                <a:gd name="connsiteX90" fmla="*/ 6131 w 10000"/>
                <a:gd name="connsiteY90" fmla="*/ 7472 h 10010"/>
                <a:gd name="connsiteX91" fmla="*/ 6142 w 10000"/>
                <a:gd name="connsiteY91" fmla="*/ 7388 h 10010"/>
                <a:gd name="connsiteX92" fmla="*/ 6274 w 10000"/>
                <a:gd name="connsiteY92" fmla="*/ 7407 h 10010"/>
                <a:gd name="connsiteX93" fmla="*/ 6268 w 10000"/>
                <a:gd name="connsiteY93" fmla="*/ 7492 h 10010"/>
                <a:gd name="connsiteX94" fmla="*/ 6478 w 10000"/>
                <a:gd name="connsiteY94" fmla="*/ 7486 h 10010"/>
                <a:gd name="connsiteX95" fmla="*/ 6616 w 10000"/>
                <a:gd name="connsiteY95" fmla="*/ 7398 h 10010"/>
                <a:gd name="connsiteX96" fmla="*/ 6872 w 10000"/>
                <a:gd name="connsiteY96" fmla="*/ 7319 h 10010"/>
                <a:gd name="connsiteX97" fmla="*/ 6832 w 10000"/>
                <a:gd name="connsiteY97" fmla="*/ 7229 h 10010"/>
                <a:gd name="connsiteX98" fmla="*/ 6908 w 10000"/>
                <a:gd name="connsiteY98" fmla="*/ 7264 h 10010"/>
                <a:gd name="connsiteX99" fmla="*/ 7025 w 10000"/>
                <a:gd name="connsiteY99" fmla="*/ 7264 h 10010"/>
                <a:gd name="connsiteX100" fmla="*/ 7025 w 10000"/>
                <a:gd name="connsiteY100" fmla="*/ 7223 h 10010"/>
                <a:gd name="connsiteX101" fmla="*/ 7134 w 10000"/>
                <a:gd name="connsiteY101" fmla="*/ 7191 h 10010"/>
                <a:gd name="connsiteX102" fmla="*/ 7119 w 10000"/>
                <a:gd name="connsiteY102" fmla="*/ 7158 h 10010"/>
                <a:gd name="connsiteX103" fmla="*/ 6198 w 10000"/>
                <a:gd name="connsiteY103" fmla="*/ 7225 h 10010"/>
                <a:gd name="connsiteX104" fmla="*/ 5983 w 10000"/>
                <a:gd name="connsiteY104" fmla="*/ 7205 h 10010"/>
                <a:gd name="connsiteX105" fmla="*/ 5895 w 10000"/>
                <a:gd name="connsiteY105" fmla="*/ 7229 h 10010"/>
                <a:gd name="connsiteX106" fmla="*/ 5866 w 10000"/>
                <a:gd name="connsiteY106" fmla="*/ 7183 h 10010"/>
                <a:gd name="connsiteX107" fmla="*/ 5764 w 10000"/>
                <a:gd name="connsiteY107" fmla="*/ 7142 h 10010"/>
                <a:gd name="connsiteX108" fmla="*/ 5354 w 10000"/>
                <a:gd name="connsiteY108" fmla="*/ 7062 h 10010"/>
                <a:gd name="connsiteX109" fmla="*/ 5112 w 10000"/>
                <a:gd name="connsiteY109" fmla="*/ 7075 h 10010"/>
                <a:gd name="connsiteX110" fmla="*/ 5016 w 10000"/>
                <a:gd name="connsiteY110" fmla="*/ 7052 h 10010"/>
                <a:gd name="connsiteX111" fmla="*/ 5118 w 10000"/>
                <a:gd name="connsiteY111" fmla="*/ 7032 h 10010"/>
                <a:gd name="connsiteX112" fmla="*/ 5194 w 10000"/>
                <a:gd name="connsiteY112" fmla="*/ 6989 h 10010"/>
                <a:gd name="connsiteX113" fmla="*/ 5309 w 10000"/>
                <a:gd name="connsiteY113" fmla="*/ 7003 h 10010"/>
                <a:gd name="connsiteX114" fmla="*/ 5445 w 10000"/>
                <a:gd name="connsiteY114" fmla="*/ 6991 h 10010"/>
                <a:gd name="connsiteX115" fmla="*/ 5650 w 10000"/>
                <a:gd name="connsiteY115" fmla="*/ 7005 h 10010"/>
                <a:gd name="connsiteX116" fmla="*/ 5675 w 10000"/>
                <a:gd name="connsiteY116" fmla="*/ 6999 h 10010"/>
                <a:gd name="connsiteX117" fmla="*/ 5834 w 10000"/>
                <a:gd name="connsiteY117" fmla="*/ 7066 h 10010"/>
                <a:gd name="connsiteX118" fmla="*/ 5951 w 10000"/>
                <a:gd name="connsiteY118" fmla="*/ 7042 h 10010"/>
                <a:gd name="connsiteX119" fmla="*/ 5961 w 10000"/>
                <a:gd name="connsiteY119" fmla="*/ 7020 h 10010"/>
                <a:gd name="connsiteX120" fmla="*/ 6069 w 10000"/>
                <a:gd name="connsiteY120" fmla="*/ 7058 h 10010"/>
                <a:gd name="connsiteX121" fmla="*/ 6212 w 10000"/>
                <a:gd name="connsiteY121" fmla="*/ 7079 h 10010"/>
                <a:gd name="connsiteX122" fmla="*/ 6268 w 10000"/>
                <a:gd name="connsiteY122" fmla="*/ 7040 h 10010"/>
                <a:gd name="connsiteX123" fmla="*/ 6314 w 10000"/>
                <a:gd name="connsiteY123" fmla="*/ 7062 h 10010"/>
                <a:gd name="connsiteX124" fmla="*/ 6381 w 10000"/>
                <a:gd name="connsiteY124" fmla="*/ 7136 h 10010"/>
                <a:gd name="connsiteX125" fmla="*/ 6519 w 10000"/>
                <a:gd name="connsiteY125" fmla="*/ 7154 h 10010"/>
                <a:gd name="connsiteX126" fmla="*/ 7082 w 10000"/>
                <a:gd name="connsiteY126" fmla="*/ 7044 h 10010"/>
                <a:gd name="connsiteX127" fmla="*/ 7359 w 10000"/>
                <a:gd name="connsiteY127" fmla="*/ 6889 h 10010"/>
                <a:gd name="connsiteX128" fmla="*/ 7423 w 10000"/>
                <a:gd name="connsiteY128" fmla="*/ 6775 h 10010"/>
                <a:gd name="connsiteX129" fmla="*/ 7323 w 10000"/>
                <a:gd name="connsiteY129" fmla="*/ 6673 h 10010"/>
                <a:gd name="connsiteX130" fmla="*/ 7113 w 10000"/>
                <a:gd name="connsiteY130" fmla="*/ 6612 h 10010"/>
                <a:gd name="connsiteX131" fmla="*/ 6963 w 10000"/>
                <a:gd name="connsiteY131" fmla="*/ 6512 h 10010"/>
                <a:gd name="connsiteX132" fmla="*/ 7102 w 10000"/>
                <a:gd name="connsiteY132" fmla="*/ 6508 h 10010"/>
                <a:gd name="connsiteX133" fmla="*/ 7093 w 10000"/>
                <a:gd name="connsiteY133" fmla="*/ 6484 h 10010"/>
                <a:gd name="connsiteX134" fmla="*/ 6731 w 10000"/>
                <a:gd name="connsiteY134" fmla="*/ 6413 h 10010"/>
                <a:gd name="connsiteX135" fmla="*/ 6716 w 10000"/>
                <a:gd name="connsiteY135" fmla="*/ 6349 h 10010"/>
                <a:gd name="connsiteX136" fmla="*/ 6646 w 10000"/>
                <a:gd name="connsiteY136" fmla="*/ 6282 h 10010"/>
                <a:gd name="connsiteX137" fmla="*/ 6360 w 10000"/>
                <a:gd name="connsiteY137" fmla="*/ 6294 h 10010"/>
                <a:gd name="connsiteX138" fmla="*/ 6258 w 10000"/>
                <a:gd name="connsiteY138" fmla="*/ 6223 h 10010"/>
                <a:gd name="connsiteX139" fmla="*/ 6198 w 10000"/>
                <a:gd name="connsiteY139" fmla="*/ 6219 h 10010"/>
                <a:gd name="connsiteX140" fmla="*/ 6198 w 10000"/>
                <a:gd name="connsiteY140" fmla="*/ 6248 h 10010"/>
                <a:gd name="connsiteX141" fmla="*/ 6069 w 10000"/>
                <a:gd name="connsiteY141" fmla="*/ 6368 h 10010"/>
                <a:gd name="connsiteX142" fmla="*/ 5930 w 10000"/>
                <a:gd name="connsiteY142" fmla="*/ 6439 h 10010"/>
                <a:gd name="connsiteX143" fmla="*/ 5495 w 10000"/>
                <a:gd name="connsiteY143" fmla="*/ 6561 h 10010"/>
                <a:gd name="connsiteX144" fmla="*/ 5342 w 10000"/>
                <a:gd name="connsiteY144" fmla="*/ 6557 h 10010"/>
                <a:gd name="connsiteX145" fmla="*/ 5133 w 10000"/>
                <a:gd name="connsiteY145" fmla="*/ 6575 h 10010"/>
                <a:gd name="connsiteX146" fmla="*/ 5016 w 10000"/>
                <a:gd name="connsiteY146" fmla="*/ 6557 h 10010"/>
                <a:gd name="connsiteX147" fmla="*/ 5169 w 10000"/>
                <a:gd name="connsiteY147" fmla="*/ 6523 h 10010"/>
                <a:gd name="connsiteX148" fmla="*/ 5369 w 10000"/>
                <a:gd name="connsiteY148" fmla="*/ 6508 h 10010"/>
                <a:gd name="connsiteX149" fmla="*/ 5534 w 10000"/>
                <a:gd name="connsiteY149" fmla="*/ 6451 h 10010"/>
                <a:gd name="connsiteX150" fmla="*/ 5695 w 10000"/>
                <a:gd name="connsiteY150" fmla="*/ 6425 h 10010"/>
                <a:gd name="connsiteX151" fmla="*/ 5998 w 10000"/>
                <a:gd name="connsiteY151" fmla="*/ 6327 h 10010"/>
                <a:gd name="connsiteX152" fmla="*/ 6056 w 10000"/>
                <a:gd name="connsiteY152" fmla="*/ 6262 h 10010"/>
                <a:gd name="connsiteX153" fmla="*/ 6060 w 10000"/>
                <a:gd name="connsiteY153" fmla="*/ 6178 h 10010"/>
                <a:gd name="connsiteX154" fmla="*/ 5921 w 10000"/>
                <a:gd name="connsiteY154" fmla="*/ 6164 h 10010"/>
                <a:gd name="connsiteX155" fmla="*/ 5983 w 10000"/>
                <a:gd name="connsiteY155" fmla="*/ 6113 h 10010"/>
                <a:gd name="connsiteX156" fmla="*/ 6002 w 10000"/>
                <a:gd name="connsiteY156" fmla="*/ 6048 h 10010"/>
                <a:gd name="connsiteX157" fmla="*/ 5944 w 10000"/>
                <a:gd name="connsiteY157" fmla="*/ 5987 h 10010"/>
                <a:gd name="connsiteX158" fmla="*/ 5911 w 10000"/>
                <a:gd name="connsiteY158" fmla="*/ 5543 h 10010"/>
                <a:gd name="connsiteX159" fmla="*/ 5993 w 10000"/>
                <a:gd name="connsiteY159" fmla="*/ 5447 h 10010"/>
                <a:gd name="connsiteX160" fmla="*/ 5972 w 10000"/>
                <a:gd name="connsiteY160" fmla="*/ 5408 h 10010"/>
                <a:gd name="connsiteX161" fmla="*/ 6212 w 10000"/>
                <a:gd name="connsiteY161" fmla="*/ 5465 h 10010"/>
                <a:gd name="connsiteX162" fmla="*/ 6229 w 10000"/>
                <a:gd name="connsiteY162" fmla="*/ 5412 h 10010"/>
                <a:gd name="connsiteX163" fmla="*/ 6176 w 10000"/>
                <a:gd name="connsiteY163" fmla="*/ 5274 h 10010"/>
                <a:gd name="connsiteX164" fmla="*/ 6349 w 10000"/>
                <a:gd name="connsiteY164" fmla="*/ 5029 h 10010"/>
                <a:gd name="connsiteX165" fmla="*/ 6243 w 10000"/>
                <a:gd name="connsiteY165" fmla="*/ 4970 h 10010"/>
                <a:gd name="connsiteX166" fmla="*/ 6202 w 10000"/>
                <a:gd name="connsiteY166" fmla="*/ 4915 h 10010"/>
                <a:gd name="connsiteX167" fmla="*/ 6216 w 10000"/>
                <a:gd name="connsiteY167" fmla="*/ 4826 h 10010"/>
                <a:gd name="connsiteX168" fmla="*/ 6470 w 10000"/>
                <a:gd name="connsiteY168" fmla="*/ 4885 h 10010"/>
                <a:gd name="connsiteX169" fmla="*/ 6478 w 10000"/>
                <a:gd name="connsiteY169" fmla="*/ 4868 h 10010"/>
                <a:gd name="connsiteX170" fmla="*/ 6548 w 10000"/>
                <a:gd name="connsiteY170" fmla="*/ 4852 h 10010"/>
                <a:gd name="connsiteX171" fmla="*/ 6646 w 10000"/>
                <a:gd name="connsiteY171" fmla="*/ 4795 h 10010"/>
                <a:gd name="connsiteX172" fmla="*/ 6662 w 10000"/>
                <a:gd name="connsiteY172" fmla="*/ 4779 h 10010"/>
                <a:gd name="connsiteX173" fmla="*/ 6641 w 10000"/>
                <a:gd name="connsiteY173" fmla="*/ 4758 h 10010"/>
                <a:gd name="connsiteX174" fmla="*/ 6693 w 10000"/>
                <a:gd name="connsiteY174" fmla="*/ 4657 h 10010"/>
                <a:gd name="connsiteX175" fmla="*/ 6631 w 10000"/>
                <a:gd name="connsiteY175" fmla="*/ 4591 h 10010"/>
                <a:gd name="connsiteX176" fmla="*/ 6641 w 10000"/>
                <a:gd name="connsiteY176" fmla="*/ 4538 h 10010"/>
                <a:gd name="connsiteX177" fmla="*/ 6676 w 10000"/>
                <a:gd name="connsiteY177" fmla="*/ 4600 h 10010"/>
                <a:gd name="connsiteX178" fmla="*/ 6815 w 10000"/>
                <a:gd name="connsiteY178" fmla="*/ 4646 h 10010"/>
                <a:gd name="connsiteX179" fmla="*/ 6872 w 10000"/>
                <a:gd name="connsiteY179" fmla="*/ 4640 h 10010"/>
                <a:gd name="connsiteX180" fmla="*/ 6963 w 10000"/>
                <a:gd name="connsiteY180" fmla="*/ 4579 h 10010"/>
                <a:gd name="connsiteX181" fmla="*/ 7062 w 10000"/>
                <a:gd name="connsiteY181" fmla="*/ 4604 h 10010"/>
                <a:gd name="connsiteX182" fmla="*/ 7088 w 10000"/>
                <a:gd name="connsiteY182" fmla="*/ 4555 h 10010"/>
                <a:gd name="connsiteX183" fmla="*/ 7154 w 10000"/>
                <a:gd name="connsiteY183" fmla="*/ 4522 h 10010"/>
                <a:gd name="connsiteX184" fmla="*/ 6974 w 10000"/>
                <a:gd name="connsiteY184" fmla="*/ 4487 h 10010"/>
                <a:gd name="connsiteX185" fmla="*/ 7102 w 10000"/>
                <a:gd name="connsiteY185" fmla="*/ 4494 h 10010"/>
                <a:gd name="connsiteX186" fmla="*/ 7234 w 10000"/>
                <a:gd name="connsiteY186" fmla="*/ 4457 h 10010"/>
                <a:gd name="connsiteX187" fmla="*/ 7229 w 10000"/>
                <a:gd name="connsiteY187" fmla="*/ 4432 h 10010"/>
                <a:gd name="connsiteX188" fmla="*/ 7353 w 10000"/>
                <a:gd name="connsiteY188" fmla="*/ 4408 h 10010"/>
                <a:gd name="connsiteX189" fmla="*/ 7364 w 10000"/>
                <a:gd name="connsiteY189" fmla="*/ 4347 h 10010"/>
                <a:gd name="connsiteX190" fmla="*/ 7461 w 10000"/>
                <a:gd name="connsiteY190" fmla="*/ 4335 h 10010"/>
                <a:gd name="connsiteX191" fmla="*/ 7469 w 10000"/>
                <a:gd name="connsiteY191" fmla="*/ 4263 h 10010"/>
                <a:gd name="connsiteX192" fmla="*/ 7572 w 10000"/>
                <a:gd name="connsiteY192" fmla="*/ 4255 h 10010"/>
                <a:gd name="connsiteX193" fmla="*/ 7730 w 10000"/>
                <a:gd name="connsiteY193" fmla="*/ 4270 h 10010"/>
                <a:gd name="connsiteX194" fmla="*/ 7904 w 10000"/>
                <a:gd name="connsiteY194" fmla="*/ 4212 h 10010"/>
                <a:gd name="connsiteX195" fmla="*/ 7966 w 10000"/>
                <a:gd name="connsiteY195" fmla="*/ 4147 h 10010"/>
                <a:gd name="connsiteX196" fmla="*/ 8181 w 10000"/>
                <a:gd name="connsiteY196" fmla="*/ 4080 h 10010"/>
                <a:gd name="connsiteX197" fmla="*/ 8288 w 10000"/>
                <a:gd name="connsiteY197" fmla="*/ 4121 h 10010"/>
                <a:gd name="connsiteX198" fmla="*/ 8452 w 10000"/>
                <a:gd name="connsiteY198" fmla="*/ 4076 h 10010"/>
                <a:gd name="connsiteX199" fmla="*/ 8491 w 10000"/>
                <a:gd name="connsiteY199" fmla="*/ 4019 h 10010"/>
                <a:gd name="connsiteX200" fmla="*/ 8616 w 10000"/>
                <a:gd name="connsiteY200" fmla="*/ 3980 h 10010"/>
                <a:gd name="connsiteX201" fmla="*/ 8722 w 10000"/>
                <a:gd name="connsiteY201" fmla="*/ 3997 h 10010"/>
                <a:gd name="connsiteX202" fmla="*/ 8789 w 10000"/>
                <a:gd name="connsiteY202" fmla="*/ 3968 h 10010"/>
                <a:gd name="connsiteX203" fmla="*/ 8973 w 10000"/>
                <a:gd name="connsiteY203" fmla="*/ 3927 h 10010"/>
                <a:gd name="connsiteX204" fmla="*/ 9049 w 10000"/>
                <a:gd name="connsiteY204" fmla="*/ 3874 h 10010"/>
                <a:gd name="connsiteX205" fmla="*/ 9153 w 10000"/>
                <a:gd name="connsiteY205" fmla="*/ 3852 h 10010"/>
                <a:gd name="connsiteX206" fmla="*/ 9720 w 10000"/>
                <a:gd name="connsiteY206" fmla="*/ 3532 h 10010"/>
                <a:gd name="connsiteX207" fmla="*/ 9971 w 10000"/>
                <a:gd name="connsiteY207" fmla="*/ 399 h 10010"/>
                <a:gd name="connsiteX208" fmla="*/ 9049 w 10000"/>
                <a:gd name="connsiteY208" fmla="*/ 36 h 10010"/>
                <a:gd name="connsiteX209" fmla="*/ 8706 w 10000"/>
                <a:gd name="connsiteY209" fmla="*/ 10 h 10010"/>
                <a:gd name="connsiteX210" fmla="*/ 8637 w 10000"/>
                <a:gd name="connsiteY210" fmla="*/ 24 h 10010"/>
                <a:gd name="connsiteX211" fmla="*/ 8713 w 10000"/>
                <a:gd name="connsiteY211" fmla="*/ 96 h 10010"/>
                <a:gd name="connsiteX212" fmla="*/ 8729 w 10000"/>
                <a:gd name="connsiteY212" fmla="*/ 149 h 10010"/>
                <a:gd name="connsiteX213" fmla="*/ 8706 w 10000"/>
                <a:gd name="connsiteY213" fmla="*/ 191 h 10010"/>
                <a:gd name="connsiteX214" fmla="*/ 8652 w 10000"/>
                <a:gd name="connsiteY214" fmla="*/ 218 h 10010"/>
                <a:gd name="connsiteX215" fmla="*/ 8610 w 10000"/>
                <a:gd name="connsiteY215" fmla="*/ 293 h 10010"/>
                <a:gd name="connsiteX216" fmla="*/ 8533 w 10000"/>
                <a:gd name="connsiteY216" fmla="*/ 346 h 10010"/>
                <a:gd name="connsiteX217" fmla="*/ 8550 w 10000"/>
                <a:gd name="connsiteY217" fmla="*/ 397 h 10010"/>
                <a:gd name="connsiteX218" fmla="*/ 8667 w 10000"/>
                <a:gd name="connsiteY218" fmla="*/ 444 h 10010"/>
                <a:gd name="connsiteX219" fmla="*/ 8591 w 10000"/>
                <a:gd name="connsiteY219" fmla="*/ 485 h 10010"/>
                <a:gd name="connsiteX220" fmla="*/ 8477 w 10000"/>
                <a:gd name="connsiteY220" fmla="*/ 495 h 10010"/>
                <a:gd name="connsiteX221" fmla="*/ 7537 w 10000"/>
                <a:gd name="connsiteY221" fmla="*/ 397 h 10010"/>
                <a:gd name="connsiteX222" fmla="*/ 7423 w 10000"/>
                <a:gd name="connsiteY222" fmla="*/ 405 h 10010"/>
                <a:gd name="connsiteX223" fmla="*/ 7359 w 10000"/>
                <a:gd name="connsiteY223" fmla="*/ 424 h 10010"/>
                <a:gd name="connsiteX224" fmla="*/ 7290 w 10000"/>
                <a:gd name="connsiteY224" fmla="*/ 472 h 10010"/>
                <a:gd name="connsiteX225" fmla="*/ 7302 w 10000"/>
                <a:gd name="connsiteY225" fmla="*/ 591 h 10010"/>
                <a:gd name="connsiteX226" fmla="*/ 7199 w 10000"/>
                <a:gd name="connsiteY226" fmla="*/ 745 h 10010"/>
                <a:gd name="connsiteX227" fmla="*/ 7072 w 10000"/>
                <a:gd name="connsiteY227" fmla="*/ 825 h 10010"/>
                <a:gd name="connsiteX228" fmla="*/ 7021 w 10000"/>
                <a:gd name="connsiteY228" fmla="*/ 815 h 10010"/>
                <a:gd name="connsiteX229" fmla="*/ 6903 w 10000"/>
                <a:gd name="connsiteY229" fmla="*/ 749 h 10010"/>
                <a:gd name="connsiteX230" fmla="*/ 6756 w 10000"/>
                <a:gd name="connsiteY230" fmla="*/ 715 h 10010"/>
                <a:gd name="connsiteX231" fmla="*/ 6594 w 10000"/>
                <a:gd name="connsiteY231" fmla="*/ 725 h 10010"/>
                <a:gd name="connsiteX232" fmla="*/ 6223 w 10000"/>
                <a:gd name="connsiteY232" fmla="*/ 876 h 10010"/>
                <a:gd name="connsiteX233" fmla="*/ 6125 w 10000"/>
                <a:gd name="connsiteY233" fmla="*/ 1027 h 10010"/>
                <a:gd name="connsiteX234" fmla="*/ 5845 w 10000"/>
                <a:gd name="connsiteY234" fmla="*/ 1163 h 10010"/>
                <a:gd name="connsiteX235" fmla="*/ 5794 w 10000"/>
                <a:gd name="connsiteY235" fmla="*/ 1232 h 10010"/>
                <a:gd name="connsiteX236" fmla="*/ 5940 w 10000"/>
                <a:gd name="connsiteY236" fmla="*/ 1354 h 10010"/>
                <a:gd name="connsiteX237" fmla="*/ 5956 w 10000"/>
                <a:gd name="connsiteY237" fmla="*/ 1422 h 10010"/>
                <a:gd name="connsiteX238" fmla="*/ 5190 w 10000"/>
                <a:gd name="connsiteY238" fmla="*/ 1823 h 10010"/>
                <a:gd name="connsiteX239" fmla="*/ 4955 w 10000"/>
                <a:gd name="connsiteY239" fmla="*/ 2080 h 10010"/>
                <a:gd name="connsiteX240" fmla="*/ 4702 w 10000"/>
                <a:gd name="connsiteY240" fmla="*/ 2145 h 10010"/>
                <a:gd name="connsiteX241" fmla="*/ 4540 w 10000"/>
                <a:gd name="connsiteY241" fmla="*/ 2141 h 10010"/>
                <a:gd name="connsiteX242" fmla="*/ 4443 w 10000"/>
                <a:gd name="connsiteY242" fmla="*/ 2163 h 10010"/>
                <a:gd name="connsiteX243" fmla="*/ 4178 w 10000"/>
                <a:gd name="connsiteY243" fmla="*/ 2803 h 10010"/>
                <a:gd name="connsiteX244" fmla="*/ 3565 w 10000"/>
                <a:gd name="connsiteY244" fmla="*/ 3176 h 10010"/>
                <a:gd name="connsiteX245" fmla="*/ 3569 w 10000"/>
                <a:gd name="connsiteY245" fmla="*/ 3235 h 10010"/>
                <a:gd name="connsiteX246" fmla="*/ 3841 w 10000"/>
                <a:gd name="connsiteY246" fmla="*/ 3402 h 10010"/>
                <a:gd name="connsiteX247" fmla="*/ 3753 w 10000"/>
                <a:gd name="connsiteY247" fmla="*/ 3583 h 10010"/>
                <a:gd name="connsiteX248" fmla="*/ 3594 w 10000"/>
                <a:gd name="connsiteY248" fmla="*/ 3650 h 10010"/>
                <a:gd name="connsiteX249" fmla="*/ 3118 w 10000"/>
                <a:gd name="connsiteY249" fmla="*/ 3605 h 10010"/>
                <a:gd name="connsiteX250" fmla="*/ 2791 w 10000"/>
                <a:gd name="connsiteY250" fmla="*/ 3630 h 10010"/>
                <a:gd name="connsiteX251" fmla="*/ 2528 w 10000"/>
                <a:gd name="connsiteY251" fmla="*/ 3683 h 10010"/>
                <a:gd name="connsiteX252" fmla="*/ 2102 w 10000"/>
                <a:gd name="connsiteY252" fmla="*/ 3850 h 10010"/>
                <a:gd name="connsiteX253" fmla="*/ 1877 w 10000"/>
                <a:gd name="connsiteY253" fmla="*/ 4052 h 10010"/>
                <a:gd name="connsiteX254" fmla="*/ 1896 w 10000"/>
                <a:gd name="connsiteY254" fmla="*/ 4164 h 10010"/>
                <a:gd name="connsiteX255" fmla="*/ 1975 w 10000"/>
                <a:gd name="connsiteY255" fmla="*/ 4251 h 10010"/>
                <a:gd name="connsiteX256" fmla="*/ 2034 w 10000"/>
                <a:gd name="connsiteY256" fmla="*/ 4286 h 10010"/>
                <a:gd name="connsiteX257" fmla="*/ 1924 w 10000"/>
                <a:gd name="connsiteY257" fmla="*/ 4341 h 10010"/>
                <a:gd name="connsiteX258" fmla="*/ 1683 w 10000"/>
                <a:gd name="connsiteY258" fmla="*/ 4720 h 10010"/>
                <a:gd name="connsiteX259" fmla="*/ 1729 w 10000"/>
                <a:gd name="connsiteY259" fmla="*/ 4742 h 10010"/>
                <a:gd name="connsiteX260" fmla="*/ 1764 w 10000"/>
                <a:gd name="connsiteY260" fmla="*/ 4838 h 10010"/>
                <a:gd name="connsiteX261" fmla="*/ 1652 w 10000"/>
                <a:gd name="connsiteY261" fmla="*/ 5237 h 10010"/>
                <a:gd name="connsiteX262" fmla="*/ 1764 w 10000"/>
                <a:gd name="connsiteY262" fmla="*/ 5339 h 10010"/>
                <a:gd name="connsiteX263" fmla="*/ 2071 w 10000"/>
                <a:gd name="connsiteY263" fmla="*/ 5451 h 10010"/>
                <a:gd name="connsiteX264" fmla="*/ 2085 w 10000"/>
                <a:gd name="connsiteY264" fmla="*/ 5588 h 10010"/>
                <a:gd name="connsiteX265" fmla="*/ 1954 w 10000"/>
                <a:gd name="connsiteY265" fmla="*/ 5700 h 10010"/>
                <a:gd name="connsiteX266" fmla="*/ 1764 w 10000"/>
                <a:gd name="connsiteY266" fmla="*/ 5769 h 10010"/>
                <a:gd name="connsiteX267" fmla="*/ 1513 w 10000"/>
                <a:gd name="connsiteY267" fmla="*/ 5797 h 10010"/>
                <a:gd name="connsiteX268" fmla="*/ 1448 w 10000"/>
                <a:gd name="connsiteY268" fmla="*/ 5836 h 10010"/>
                <a:gd name="connsiteX269" fmla="*/ 1594 w 10000"/>
                <a:gd name="connsiteY269" fmla="*/ 5930 h 10010"/>
                <a:gd name="connsiteX270" fmla="*/ 1678 w 10000"/>
                <a:gd name="connsiteY270" fmla="*/ 6152 h 10010"/>
                <a:gd name="connsiteX271" fmla="*/ 1488 w 10000"/>
                <a:gd name="connsiteY271" fmla="*/ 6343 h 10010"/>
                <a:gd name="connsiteX272" fmla="*/ 1554 w 10000"/>
                <a:gd name="connsiteY272" fmla="*/ 6402 h 10010"/>
                <a:gd name="connsiteX273" fmla="*/ 1494 w 10000"/>
                <a:gd name="connsiteY273" fmla="*/ 6502 h 10010"/>
                <a:gd name="connsiteX274" fmla="*/ 1372 w 10000"/>
                <a:gd name="connsiteY274" fmla="*/ 6571 h 10010"/>
                <a:gd name="connsiteX275" fmla="*/ 889 w 10000"/>
                <a:gd name="connsiteY275" fmla="*/ 6624 h 10010"/>
                <a:gd name="connsiteX276" fmla="*/ 860 w 10000"/>
                <a:gd name="connsiteY276" fmla="*/ 6716 h 10010"/>
                <a:gd name="connsiteX277" fmla="*/ 600 w 10000"/>
                <a:gd name="connsiteY277" fmla="*/ 6853 h 10010"/>
                <a:gd name="connsiteX278" fmla="*/ 634 w 10000"/>
                <a:gd name="connsiteY278" fmla="*/ 7050 h 10010"/>
                <a:gd name="connsiteX279" fmla="*/ 415 w 10000"/>
                <a:gd name="connsiteY279" fmla="*/ 7303 h 10010"/>
                <a:gd name="connsiteX280" fmla="*/ 266 w 10000"/>
                <a:gd name="connsiteY280" fmla="*/ 7333 h 10010"/>
                <a:gd name="connsiteX281" fmla="*/ 204 w 10000"/>
                <a:gd name="connsiteY281" fmla="*/ 7272 h 10010"/>
                <a:gd name="connsiteX282" fmla="*/ 128 w 10000"/>
                <a:gd name="connsiteY282" fmla="*/ 7364 h 10010"/>
                <a:gd name="connsiteX283" fmla="*/ 178 w 10000"/>
                <a:gd name="connsiteY283" fmla="*/ 7207 h 10010"/>
                <a:gd name="connsiteX284" fmla="*/ 147 w 10000"/>
                <a:gd name="connsiteY284" fmla="*/ 7176 h 10010"/>
                <a:gd name="connsiteX0" fmla="*/ 147 w 10000"/>
                <a:gd name="connsiteY0" fmla="*/ 7176 h 10010"/>
                <a:gd name="connsiteX1" fmla="*/ 0 w 10000"/>
                <a:gd name="connsiteY1" fmla="*/ 7258 h 10010"/>
                <a:gd name="connsiteX2" fmla="*/ 0 w 10000"/>
                <a:gd name="connsiteY2" fmla="*/ 7661 h 10010"/>
                <a:gd name="connsiteX3" fmla="*/ 81 w 10000"/>
                <a:gd name="connsiteY3" fmla="*/ 7673 h 10010"/>
                <a:gd name="connsiteX4" fmla="*/ 100 w 10000"/>
                <a:gd name="connsiteY4" fmla="*/ 7704 h 10010"/>
                <a:gd name="connsiteX5" fmla="*/ 96 w 10000"/>
                <a:gd name="connsiteY5" fmla="*/ 7759 h 10010"/>
                <a:gd name="connsiteX6" fmla="*/ 66 w 10000"/>
                <a:gd name="connsiteY6" fmla="*/ 7783 h 10010"/>
                <a:gd name="connsiteX7" fmla="*/ 190 w 10000"/>
                <a:gd name="connsiteY7" fmla="*/ 7737 h 10010"/>
                <a:gd name="connsiteX8" fmla="*/ 242 w 10000"/>
                <a:gd name="connsiteY8" fmla="*/ 7690 h 10010"/>
                <a:gd name="connsiteX9" fmla="*/ 306 w 10000"/>
                <a:gd name="connsiteY9" fmla="*/ 7722 h 10010"/>
                <a:gd name="connsiteX10" fmla="*/ 235 w 10000"/>
                <a:gd name="connsiteY10" fmla="*/ 7788 h 10010"/>
                <a:gd name="connsiteX11" fmla="*/ 311 w 10000"/>
                <a:gd name="connsiteY11" fmla="*/ 7790 h 10010"/>
                <a:gd name="connsiteX12" fmla="*/ 348 w 10000"/>
                <a:gd name="connsiteY12" fmla="*/ 7806 h 10010"/>
                <a:gd name="connsiteX13" fmla="*/ 250 w 10000"/>
                <a:gd name="connsiteY13" fmla="*/ 7828 h 10010"/>
                <a:gd name="connsiteX14" fmla="*/ 96 w 10000"/>
                <a:gd name="connsiteY14" fmla="*/ 7896 h 10010"/>
                <a:gd name="connsiteX15" fmla="*/ 370 w 10000"/>
                <a:gd name="connsiteY15" fmla="*/ 7948 h 10010"/>
                <a:gd name="connsiteX16" fmla="*/ 404 w 10000"/>
                <a:gd name="connsiteY16" fmla="*/ 8024 h 10010"/>
                <a:gd name="connsiteX17" fmla="*/ 311 w 10000"/>
                <a:gd name="connsiteY17" fmla="*/ 8136 h 10010"/>
                <a:gd name="connsiteX18" fmla="*/ 511 w 10000"/>
                <a:gd name="connsiteY18" fmla="*/ 8128 h 10010"/>
                <a:gd name="connsiteX19" fmla="*/ 526 w 10000"/>
                <a:gd name="connsiteY19" fmla="*/ 8213 h 10010"/>
                <a:gd name="connsiteX20" fmla="*/ 393 w 10000"/>
                <a:gd name="connsiteY20" fmla="*/ 8270 h 10010"/>
                <a:gd name="connsiteX21" fmla="*/ 415 w 10000"/>
                <a:gd name="connsiteY21" fmla="*/ 8380 h 10010"/>
                <a:gd name="connsiteX22" fmla="*/ 364 w 10000"/>
                <a:gd name="connsiteY22" fmla="*/ 8466 h 10010"/>
                <a:gd name="connsiteX23" fmla="*/ 521 w 10000"/>
                <a:gd name="connsiteY23" fmla="*/ 8474 h 10010"/>
                <a:gd name="connsiteX24" fmla="*/ 676 w 10000"/>
                <a:gd name="connsiteY24" fmla="*/ 8802 h 10010"/>
                <a:gd name="connsiteX25" fmla="*/ 853 w 10000"/>
                <a:gd name="connsiteY25" fmla="*/ 8886 h 10010"/>
                <a:gd name="connsiteX26" fmla="*/ 931 w 10000"/>
                <a:gd name="connsiteY26" fmla="*/ 8975 h 10010"/>
                <a:gd name="connsiteX27" fmla="*/ 1125 w 10000"/>
                <a:gd name="connsiteY27" fmla="*/ 9040 h 10010"/>
                <a:gd name="connsiteX28" fmla="*/ 1249 w 10000"/>
                <a:gd name="connsiteY28" fmla="*/ 9122 h 10010"/>
                <a:gd name="connsiteX29" fmla="*/ 1233 w 10000"/>
                <a:gd name="connsiteY29" fmla="*/ 9181 h 10010"/>
                <a:gd name="connsiteX30" fmla="*/ 1110 w 10000"/>
                <a:gd name="connsiteY30" fmla="*/ 9203 h 10010"/>
                <a:gd name="connsiteX31" fmla="*/ 976 w 10000"/>
                <a:gd name="connsiteY31" fmla="*/ 9189 h 10010"/>
                <a:gd name="connsiteX32" fmla="*/ 935 w 10000"/>
                <a:gd name="connsiteY32" fmla="*/ 9214 h 10010"/>
                <a:gd name="connsiteX33" fmla="*/ 1037 w 10000"/>
                <a:gd name="connsiteY33" fmla="*/ 9342 h 10010"/>
                <a:gd name="connsiteX34" fmla="*/ 894 w 10000"/>
                <a:gd name="connsiteY34" fmla="*/ 9332 h 10010"/>
                <a:gd name="connsiteX35" fmla="*/ 773 w 10000"/>
                <a:gd name="connsiteY35" fmla="*/ 9301 h 10010"/>
                <a:gd name="connsiteX36" fmla="*/ 750 w 10000"/>
                <a:gd name="connsiteY36" fmla="*/ 9348 h 10010"/>
                <a:gd name="connsiteX37" fmla="*/ 1155 w 10000"/>
                <a:gd name="connsiteY37" fmla="*/ 9786 h 10010"/>
                <a:gd name="connsiteX38" fmla="*/ 1091 w 10000"/>
                <a:gd name="connsiteY38" fmla="*/ 9827 h 10010"/>
                <a:gd name="connsiteX39" fmla="*/ 1045 w 10000"/>
                <a:gd name="connsiteY39" fmla="*/ 9912 h 10010"/>
                <a:gd name="connsiteX40" fmla="*/ 987 w 10000"/>
                <a:gd name="connsiteY40" fmla="*/ 9918 h 10010"/>
                <a:gd name="connsiteX41" fmla="*/ 951 w 10000"/>
                <a:gd name="connsiteY41" fmla="*/ 9955 h 10010"/>
                <a:gd name="connsiteX42" fmla="*/ 1195 w 10000"/>
                <a:gd name="connsiteY42" fmla="*/ 9959 h 10010"/>
                <a:gd name="connsiteX43" fmla="*/ 1410 w 10000"/>
                <a:gd name="connsiteY43" fmla="*/ 9996 h 10010"/>
                <a:gd name="connsiteX44" fmla="*/ 1769 w 10000"/>
                <a:gd name="connsiteY44" fmla="*/ 9957 h 10010"/>
                <a:gd name="connsiteX45" fmla="*/ 2091 w 10000"/>
                <a:gd name="connsiteY45" fmla="*/ 9963 h 10010"/>
                <a:gd name="connsiteX46" fmla="*/ 2280 w 10000"/>
                <a:gd name="connsiteY46" fmla="*/ 10010 h 10010"/>
                <a:gd name="connsiteX47" fmla="*/ 2385 w 10000"/>
                <a:gd name="connsiteY47" fmla="*/ 9979 h 10010"/>
                <a:gd name="connsiteX48" fmla="*/ 2485 w 10000"/>
                <a:gd name="connsiteY48" fmla="*/ 9878 h 10010"/>
                <a:gd name="connsiteX49" fmla="*/ 2459 w 10000"/>
                <a:gd name="connsiteY49" fmla="*/ 9713 h 10010"/>
                <a:gd name="connsiteX50" fmla="*/ 2704 w 10000"/>
                <a:gd name="connsiteY50" fmla="*/ 9527 h 10010"/>
                <a:gd name="connsiteX51" fmla="*/ 2883 w 10000"/>
                <a:gd name="connsiteY51" fmla="*/ 9556 h 10010"/>
                <a:gd name="connsiteX52" fmla="*/ 2987 w 10000"/>
                <a:gd name="connsiteY52" fmla="*/ 9482 h 10010"/>
                <a:gd name="connsiteX53" fmla="*/ 3186 w 10000"/>
                <a:gd name="connsiteY53" fmla="*/ 9440 h 10010"/>
                <a:gd name="connsiteX54" fmla="*/ 3457 w 10000"/>
                <a:gd name="connsiteY54" fmla="*/ 9450 h 10010"/>
                <a:gd name="connsiteX55" fmla="*/ 3620 w 10000"/>
                <a:gd name="connsiteY55" fmla="*/ 9480 h 10010"/>
                <a:gd name="connsiteX56" fmla="*/ 3837 w 10000"/>
                <a:gd name="connsiteY56" fmla="*/ 9466 h 10010"/>
                <a:gd name="connsiteX57" fmla="*/ 4056 w 10000"/>
                <a:gd name="connsiteY57" fmla="*/ 9499 h 10010"/>
                <a:gd name="connsiteX58" fmla="*/ 4275 w 10000"/>
                <a:gd name="connsiteY58" fmla="*/ 9503 h 10010"/>
                <a:gd name="connsiteX59" fmla="*/ 4765 w 10000"/>
                <a:gd name="connsiteY59" fmla="*/ 9071 h 10010"/>
                <a:gd name="connsiteX60" fmla="*/ 4889 w 10000"/>
                <a:gd name="connsiteY60" fmla="*/ 8721 h 10010"/>
                <a:gd name="connsiteX61" fmla="*/ 5088 w 10000"/>
                <a:gd name="connsiteY61" fmla="*/ 8564 h 10010"/>
                <a:gd name="connsiteX62" fmla="*/ 5088 w 10000"/>
                <a:gd name="connsiteY62" fmla="*/ 8482 h 10010"/>
                <a:gd name="connsiteX63" fmla="*/ 5016 w 10000"/>
                <a:gd name="connsiteY63" fmla="*/ 8435 h 10010"/>
                <a:gd name="connsiteX64" fmla="*/ 5133 w 10000"/>
                <a:gd name="connsiteY64" fmla="*/ 8362 h 10010"/>
                <a:gd name="connsiteX65" fmla="*/ 5112 w 10000"/>
                <a:gd name="connsiteY65" fmla="*/ 8299 h 10010"/>
                <a:gd name="connsiteX66" fmla="*/ 5032 w 10000"/>
                <a:gd name="connsiteY66" fmla="*/ 8246 h 10010"/>
                <a:gd name="connsiteX67" fmla="*/ 5016 w 10000"/>
                <a:gd name="connsiteY67" fmla="*/ 8209 h 10010"/>
                <a:gd name="connsiteX68" fmla="*/ 5036 w 10000"/>
                <a:gd name="connsiteY68" fmla="*/ 8179 h 10010"/>
                <a:gd name="connsiteX69" fmla="*/ 5144 w 10000"/>
                <a:gd name="connsiteY69" fmla="*/ 8203 h 10010"/>
                <a:gd name="connsiteX70" fmla="*/ 5230 w 10000"/>
                <a:gd name="connsiteY70" fmla="*/ 8201 h 10010"/>
                <a:gd name="connsiteX71" fmla="*/ 5184 w 10000"/>
                <a:gd name="connsiteY71" fmla="*/ 8150 h 10010"/>
                <a:gd name="connsiteX72" fmla="*/ 5198 w 10000"/>
                <a:gd name="connsiteY72" fmla="*/ 8122 h 10010"/>
                <a:gd name="connsiteX73" fmla="*/ 5262 w 10000"/>
                <a:gd name="connsiteY73" fmla="*/ 8079 h 10010"/>
                <a:gd name="connsiteX74" fmla="*/ 5250 w 10000"/>
                <a:gd name="connsiteY74" fmla="*/ 8044 h 10010"/>
                <a:gd name="connsiteX75" fmla="*/ 5309 w 10000"/>
                <a:gd name="connsiteY75" fmla="*/ 7926 h 10010"/>
                <a:gd name="connsiteX76" fmla="*/ 5293 w 10000"/>
                <a:gd name="connsiteY76" fmla="*/ 7891 h 10010"/>
                <a:gd name="connsiteX77" fmla="*/ 4996 w 10000"/>
                <a:gd name="connsiteY77" fmla="*/ 7802 h 10010"/>
                <a:gd name="connsiteX78" fmla="*/ 5036 w 10000"/>
                <a:gd name="connsiteY78" fmla="*/ 7798 h 10010"/>
                <a:gd name="connsiteX79" fmla="*/ 5194 w 10000"/>
                <a:gd name="connsiteY79" fmla="*/ 7822 h 10010"/>
                <a:gd name="connsiteX80" fmla="*/ 5365 w 10000"/>
                <a:gd name="connsiteY80" fmla="*/ 7814 h 10010"/>
                <a:gd name="connsiteX81" fmla="*/ 5415 w 10000"/>
                <a:gd name="connsiteY81" fmla="*/ 7781 h 10010"/>
                <a:gd name="connsiteX82" fmla="*/ 5250 w 10000"/>
                <a:gd name="connsiteY82" fmla="*/ 7720 h 10010"/>
                <a:gd name="connsiteX83" fmla="*/ 4761 w 10000"/>
                <a:gd name="connsiteY83" fmla="*/ 7680 h 10010"/>
                <a:gd name="connsiteX84" fmla="*/ 4794 w 10000"/>
                <a:gd name="connsiteY84" fmla="*/ 7661 h 10010"/>
                <a:gd name="connsiteX85" fmla="*/ 5194 w 10000"/>
                <a:gd name="connsiteY85" fmla="*/ 7649 h 10010"/>
                <a:gd name="connsiteX86" fmla="*/ 5415 w 10000"/>
                <a:gd name="connsiteY86" fmla="*/ 7686 h 10010"/>
                <a:gd name="connsiteX87" fmla="*/ 5542 w 10000"/>
                <a:gd name="connsiteY87" fmla="*/ 7661 h 10010"/>
                <a:gd name="connsiteX88" fmla="*/ 5589 w 10000"/>
                <a:gd name="connsiteY88" fmla="*/ 7598 h 10010"/>
                <a:gd name="connsiteX89" fmla="*/ 5819 w 10000"/>
                <a:gd name="connsiteY89" fmla="*/ 7598 h 10010"/>
                <a:gd name="connsiteX90" fmla="*/ 6131 w 10000"/>
                <a:gd name="connsiteY90" fmla="*/ 7472 h 10010"/>
                <a:gd name="connsiteX91" fmla="*/ 6142 w 10000"/>
                <a:gd name="connsiteY91" fmla="*/ 7388 h 10010"/>
                <a:gd name="connsiteX92" fmla="*/ 6274 w 10000"/>
                <a:gd name="connsiteY92" fmla="*/ 7407 h 10010"/>
                <a:gd name="connsiteX93" fmla="*/ 6268 w 10000"/>
                <a:gd name="connsiteY93" fmla="*/ 7492 h 10010"/>
                <a:gd name="connsiteX94" fmla="*/ 6478 w 10000"/>
                <a:gd name="connsiteY94" fmla="*/ 7486 h 10010"/>
                <a:gd name="connsiteX95" fmla="*/ 6616 w 10000"/>
                <a:gd name="connsiteY95" fmla="*/ 7398 h 10010"/>
                <a:gd name="connsiteX96" fmla="*/ 6872 w 10000"/>
                <a:gd name="connsiteY96" fmla="*/ 7319 h 10010"/>
                <a:gd name="connsiteX97" fmla="*/ 6832 w 10000"/>
                <a:gd name="connsiteY97" fmla="*/ 7229 h 10010"/>
                <a:gd name="connsiteX98" fmla="*/ 6908 w 10000"/>
                <a:gd name="connsiteY98" fmla="*/ 7264 h 10010"/>
                <a:gd name="connsiteX99" fmla="*/ 7025 w 10000"/>
                <a:gd name="connsiteY99" fmla="*/ 7264 h 10010"/>
                <a:gd name="connsiteX100" fmla="*/ 7025 w 10000"/>
                <a:gd name="connsiteY100" fmla="*/ 7223 h 10010"/>
                <a:gd name="connsiteX101" fmla="*/ 7134 w 10000"/>
                <a:gd name="connsiteY101" fmla="*/ 7191 h 10010"/>
                <a:gd name="connsiteX102" fmla="*/ 7119 w 10000"/>
                <a:gd name="connsiteY102" fmla="*/ 7158 h 10010"/>
                <a:gd name="connsiteX103" fmla="*/ 6198 w 10000"/>
                <a:gd name="connsiteY103" fmla="*/ 7225 h 10010"/>
                <a:gd name="connsiteX104" fmla="*/ 5983 w 10000"/>
                <a:gd name="connsiteY104" fmla="*/ 7205 h 10010"/>
                <a:gd name="connsiteX105" fmla="*/ 5895 w 10000"/>
                <a:gd name="connsiteY105" fmla="*/ 7229 h 10010"/>
                <a:gd name="connsiteX106" fmla="*/ 5866 w 10000"/>
                <a:gd name="connsiteY106" fmla="*/ 7183 h 10010"/>
                <a:gd name="connsiteX107" fmla="*/ 5764 w 10000"/>
                <a:gd name="connsiteY107" fmla="*/ 7142 h 10010"/>
                <a:gd name="connsiteX108" fmla="*/ 5354 w 10000"/>
                <a:gd name="connsiteY108" fmla="*/ 7062 h 10010"/>
                <a:gd name="connsiteX109" fmla="*/ 5112 w 10000"/>
                <a:gd name="connsiteY109" fmla="*/ 7075 h 10010"/>
                <a:gd name="connsiteX110" fmla="*/ 5016 w 10000"/>
                <a:gd name="connsiteY110" fmla="*/ 7052 h 10010"/>
                <a:gd name="connsiteX111" fmla="*/ 5118 w 10000"/>
                <a:gd name="connsiteY111" fmla="*/ 7032 h 10010"/>
                <a:gd name="connsiteX112" fmla="*/ 5194 w 10000"/>
                <a:gd name="connsiteY112" fmla="*/ 6989 h 10010"/>
                <a:gd name="connsiteX113" fmla="*/ 5309 w 10000"/>
                <a:gd name="connsiteY113" fmla="*/ 7003 h 10010"/>
                <a:gd name="connsiteX114" fmla="*/ 5445 w 10000"/>
                <a:gd name="connsiteY114" fmla="*/ 6991 h 10010"/>
                <a:gd name="connsiteX115" fmla="*/ 5650 w 10000"/>
                <a:gd name="connsiteY115" fmla="*/ 7005 h 10010"/>
                <a:gd name="connsiteX116" fmla="*/ 5675 w 10000"/>
                <a:gd name="connsiteY116" fmla="*/ 6999 h 10010"/>
                <a:gd name="connsiteX117" fmla="*/ 5834 w 10000"/>
                <a:gd name="connsiteY117" fmla="*/ 7066 h 10010"/>
                <a:gd name="connsiteX118" fmla="*/ 5951 w 10000"/>
                <a:gd name="connsiteY118" fmla="*/ 7042 h 10010"/>
                <a:gd name="connsiteX119" fmla="*/ 5961 w 10000"/>
                <a:gd name="connsiteY119" fmla="*/ 7020 h 10010"/>
                <a:gd name="connsiteX120" fmla="*/ 6069 w 10000"/>
                <a:gd name="connsiteY120" fmla="*/ 7058 h 10010"/>
                <a:gd name="connsiteX121" fmla="*/ 6212 w 10000"/>
                <a:gd name="connsiteY121" fmla="*/ 7079 h 10010"/>
                <a:gd name="connsiteX122" fmla="*/ 6268 w 10000"/>
                <a:gd name="connsiteY122" fmla="*/ 7040 h 10010"/>
                <a:gd name="connsiteX123" fmla="*/ 6314 w 10000"/>
                <a:gd name="connsiteY123" fmla="*/ 7062 h 10010"/>
                <a:gd name="connsiteX124" fmla="*/ 6381 w 10000"/>
                <a:gd name="connsiteY124" fmla="*/ 7136 h 10010"/>
                <a:gd name="connsiteX125" fmla="*/ 6519 w 10000"/>
                <a:gd name="connsiteY125" fmla="*/ 7154 h 10010"/>
                <a:gd name="connsiteX126" fmla="*/ 7082 w 10000"/>
                <a:gd name="connsiteY126" fmla="*/ 7044 h 10010"/>
                <a:gd name="connsiteX127" fmla="*/ 7359 w 10000"/>
                <a:gd name="connsiteY127" fmla="*/ 6889 h 10010"/>
                <a:gd name="connsiteX128" fmla="*/ 7423 w 10000"/>
                <a:gd name="connsiteY128" fmla="*/ 6775 h 10010"/>
                <a:gd name="connsiteX129" fmla="*/ 7323 w 10000"/>
                <a:gd name="connsiteY129" fmla="*/ 6673 h 10010"/>
                <a:gd name="connsiteX130" fmla="*/ 7113 w 10000"/>
                <a:gd name="connsiteY130" fmla="*/ 6612 h 10010"/>
                <a:gd name="connsiteX131" fmla="*/ 6963 w 10000"/>
                <a:gd name="connsiteY131" fmla="*/ 6512 h 10010"/>
                <a:gd name="connsiteX132" fmla="*/ 7102 w 10000"/>
                <a:gd name="connsiteY132" fmla="*/ 6508 h 10010"/>
                <a:gd name="connsiteX133" fmla="*/ 7093 w 10000"/>
                <a:gd name="connsiteY133" fmla="*/ 6484 h 10010"/>
                <a:gd name="connsiteX134" fmla="*/ 6731 w 10000"/>
                <a:gd name="connsiteY134" fmla="*/ 6413 h 10010"/>
                <a:gd name="connsiteX135" fmla="*/ 6716 w 10000"/>
                <a:gd name="connsiteY135" fmla="*/ 6349 h 10010"/>
                <a:gd name="connsiteX136" fmla="*/ 6646 w 10000"/>
                <a:gd name="connsiteY136" fmla="*/ 6282 h 10010"/>
                <a:gd name="connsiteX137" fmla="*/ 6360 w 10000"/>
                <a:gd name="connsiteY137" fmla="*/ 6294 h 10010"/>
                <a:gd name="connsiteX138" fmla="*/ 6258 w 10000"/>
                <a:gd name="connsiteY138" fmla="*/ 6223 h 10010"/>
                <a:gd name="connsiteX139" fmla="*/ 6198 w 10000"/>
                <a:gd name="connsiteY139" fmla="*/ 6219 h 10010"/>
                <a:gd name="connsiteX140" fmla="*/ 6198 w 10000"/>
                <a:gd name="connsiteY140" fmla="*/ 6248 h 10010"/>
                <a:gd name="connsiteX141" fmla="*/ 6069 w 10000"/>
                <a:gd name="connsiteY141" fmla="*/ 6368 h 10010"/>
                <a:gd name="connsiteX142" fmla="*/ 5930 w 10000"/>
                <a:gd name="connsiteY142" fmla="*/ 6439 h 10010"/>
                <a:gd name="connsiteX143" fmla="*/ 5495 w 10000"/>
                <a:gd name="connsiteY143" fmla="*/ 6561 h 10010"/>
                <a:gd name="connsiteX144" fmla="*/ 5342 w 10000"/>
                <a:gd name="connsiteY144" fmla="*/ 6557 h 10010"/>
                <a:gd name="connsiteX145" fmla="*/ 5133 w 10000"/>
                <a:gd name="connsiteY145" fmla="*/ 6575 h 10010"/>
                <a:gd name="connsiteX146" fmla="*/ 5016 w 10000"/>
                <a:gd name="connsiteY146" fmla="*/ 6557 h 10010"/>
                <a:gd name="connsiteX147" fmla="*/ 5169 w 10000"/>
                <a:gd name="connsiteY147" fmla="*/ 6523 h 10010"/>
                <a:gd name="connsiteX148" fmla="*/ 5369 w 10000"/>
                <a:gd name="connsiteY148" fmla="*/ 6508 h 10010"/>
                <a:gd name="connsiteX149" fmla="*/ 5534 w 10000"/>
                <a:gd name="connsiteY149" fmla="*/ 6451 h 10010"/>
                <a:gd name="connsiteX150" fmla="*/ 5695 w 10000"/>
                <a:gd name="connsiteY150" fmla="*/ 6425 h 10010"/>
                <a:gd name="connsiteX151" fmla="*/ 5998 w 10000"/>
                <a:gd name="connsiteY151" fmla="*/ 6327 h 10010"/>
                <a:gd name="connsiteX152" fmla="*/ 6056 w 10000"/>
                <a:gd name="connsiteY152" fmla="*/ 6262 h 10010"/>
                <a:gd name="connsiteX153" fmla="*/ 6060 w 10000"/>
                <a:gd name="connsiteY153" fmla="*/ 6178 h 10010"/>
                <a:gd name="connsiteX154" fmla="*/ 5921 w 10000"/>
                <a:gd name="connsiteY154" fmla="*/ 6164 h 10010"/>
                <a:gd name="connsiteX155" fmla="*/ 5983 w 10000"/>
                <a:gd name="connsiteY155" fmla="*/ 6113 h 10010"/>
                <a:gd name="connsiteX156" fmla="*/ 6002 w 10000"/>
                <a:gd name="connsiteY156" fmla="*/ 6048 h 10010"/>
                <a:gd name="connsiteX157" fmla="*/ 5944 w 10000"/>
                <a:gd name="connsiteY157" fmla="*/ 5987 h 10010"/>
                <a:gd name="connsiteX158" fmla="*/ 5911 w 10000"/>
                <a:gd name="connsiteY158" fmla="*/ 5543 h 10010"/>
                <a:gd name="connsiteX159" fmla="*/ 5993 w 10000"/>
                <a:gd name="connsiteY159" fmla="*/ 5447 h 10010"/>
                <a:gd name="connsiteX160" fmla="*/ 5972 w 10000"/>
                <a:gd name="connsiteY160" fmla="*/ 5408 h 10010"/>
                <a:gd name="connsiteX161" fmla="*/ 6212 w 10000"/>
                <a:gd name="connsiteY161" fmla="*/ 5465 h 10010"/>
                <a:gd name="connsiteX162" fmla="*/ 6229 w 10000"/>
                <a:gd name="connsiteY162" fmla="*/ 5412 h 10010"/>
                <a:gd name="connsiteX163" fmla="*/ 6176 w 10000"/>
                <a:gd name="connsiteY163" fmla="*/ 5274 h 10010"/>
                <a:gd name="connsiteX164" fmla="*/ 6349 w 10000"/>
                <a:gd name="connsiteY164" fmla="*/ 5029 h 10010"/>
                <a:gd name="connsiteX165" fmla="*/ 6243 w 10000"/>
                <a:gd name="connsiteY165" fmla="*/ 4970 h 10010"/>
                <a:gd name="connsiteX166" fmla="*/ 6202 w 10000"/>
                <a:gd name="connsiteY166" fmla="*/ 4915 h 10010"/>
                <a:gd name="connsiteX167" fmla="*/ 6216 w 10000"/>
                <a:gd name="connsiteY167" fmla="*/ 4826 h 10010"/>
                <a:gd name="connsiteX168" fmla="*/ 6470 w 10000"/>
                <a:gd name="connsiteY168" fmla="*/ 4885 h 10010"/>
                <a:gd name="connsiteX169" fmla="*/ 6478 w 10000"/>
                <a:gd name="connsiteY169" fmla="*/ 4868 h 10010"/>
                <a:gd name="connsiteX170" fmla="*/ 6548 w 10000"/>
                <a:gd name="connsiteY170" fmla="*/ 4852 h 10010"/>
                <a:gd name="connsiteX171" fmla="*/ 6646 w 10000"/>
                <a:gd name="connsiteY171" fmla="*/ 4795 h 10010"/>
                <a:gd name="connsiteX172" fmla="*/ 6662 w 10000"/>
                <a:gd name="connsiteY172" fmla="*/ 4779 h 10010"/>
                <a:gd name="connsiteX173" fmla="*/ 6641 w 10000"/>
                <a:gd name="connsiteY173" fmla="*/ 4758 h 10010"/>
                <a:gd name="connsiteX174" fmla="*/ 6693 w 10000"/>
                <a:gd name="connsiteY174" fmla="*/ 4657 h 10010"/>
                <a:gd name="connsiteX175" fmla="*/ 6631 w 10000"/>
                <a:gd name="connsiteY175" fmla="*/ 4591 h 10010"/>
                <a:gd name="connsiteX176" fmla="*/ 6641 w 10000"/>
                <a:gd name="connsiteY176" fmla="*/ 4538 h 10010"/>
                <a:gd name="connsiteX177" fmla="*/ 6676 w 10000"/>
                <a:gd name="connsiteY177" fmla="*/ 4600 h 10010"/>
                <a:gd name="connsiteX178" fmla="*/ 6815 w 10000"/>
                <a:gd name="connsiteY178" fmla="*/ 4646 h 10010"/>
                <a:gd name="connsiteX179" fmla="*/ 6872 w 10000"/>
                <a:gd name="connsiteY179" fmla="*/ 4640 h 10010"/>
                <a:gd name="connsiteX180" fmla="*/ 6963 w 10000"/>
                <a:gd name="connsiteY180" fmla="*/ 4579 h 10010"/>
                <a:gd name="connsiteX181" fmla="*/ 7062 w 10000"/>
                <a:gd name="connsiteY181" fmla="*/ 4604 h 10010"/>
                <a:gd name="connsiteX182" fmla="*/ 7088 w 10000"/>
                <a:gd name="connsiteY182" fmla="*/ 4555 h 10010"/>
                <a:gd name="connsiteX183" fmla="*/ 7154 w 10000"/>
                <a:gd name="connsiteY183" fmla="*/ 4522 h 10010"/>
                <a:gd name="connsiteX184" fmla="*/ 6974 w 10000"/>
                <a:gd name="connsiteY184" fmla="*/ 4487 h 10010"/>
                <a:gd name="connsiteX185" fmla="*/ 7102 w 10000"/>
                <a:gd name="connsiteY185" fmla="*/ 4494 h 10010"/>
                <a:gd name="connsiteX186" fmla="*/ 7234 w 10000"/>
                <a:gd name="connsiteY186" fmla="*/ 4457 h 10010"/>
                <a:gd name="connsiteX187" fmla="*/ 7229 w 10000"/>
                <a:gd name="connsiteY187" fmla="*/ 4432 h 10010"/>
                <a:gd name="connsiteX188" fmla="*/ 7353 w 10000"/>
                <a:gd name="connsiteY188" fmla="*/ 4408 h 10010"/>
                <a:gd name="connsiteX189" fmla="*/ 7364 w 10000"/>
                <a:gd name="connsiteY189" fmla="*/ 4347 h 10010"/>
                <a:gd name="connsiteX190" fmla="*/ 7461 w 10000"/>
                <a:gd name="connsiteY190" fmla="*/ 4335 h 10010"/>
                <a:gd name="connsiteX191" fmla="*/ 7469 w 10000"/>
                <a:gd name="connsiteY191" fmla="*/ 4263 h 10010"/>
                <a:gd name="connsiteX192" fmla="*/ 7572 w 10000"/>
                <a:gd name="connsiteY192" fmla="*/ 4255 h 10010"/>
                <a:gd name="connsiteX193" fmla="*/ 7730 w 10000"/>
                <a:gd name="connsiteY193" fmla="*/ 4270 h 10010"/>
                <a:gd name="connsiteX194" fmla="*/ 7904 w 10000"/>
                <a:gd name="connsiteY194" fmla="*/ 4212 h 10010"/>
                <a:gd name="connsiteX195" fmla="*/ 7966 w 10000"/>
                <a:gd name="connsiteY195" fmla="*/ 4147 h 10010"/>
                <a:gd name="connsiteX196" fmla="*/ 8181 w 10000"/>
                <a:gd name="connsiteY196" fmla="*/ 4080 h 10010"/>
                <a:gd name="connsiteX197" fmla="*/ 8288 w 10000"/>
                <a:gd name="connsiteY197" fmla="*/ 4121 h 10010"/>
                <a:gd name="connsiteX198" fmla="*/ 8452 w 10000"/>
                <a:gd name="connsiteY198" fmla="*/ 4076 h 10010"/>
                <a:gd name="connsiteX199" fmla="*/ 8491 w 10000"/>
                <a:gd name="connsiteY199" fmla="*/ 4019 h 10010"/>
                <a:gd name="connsiteX200" fmla="*/ 8616 w 10000"/>
                <a:gd name="connsiteY200" fmla="*/ 3980 h 10010"/>
                <a:gd name="connsiteX201" fmla="*/ 8722 w 10000"/>
                <a:gd name="connsiteY201" fmla="*/ 3997 h 10010"/>
                <a:gd name="connsiteX202" fmla="*/ 8789 w 10000"/>
                <a:gd name="connsiteY202" fmla="*/ 3968 h 10010"/>
                <a:gd name="connsiteX203" fmla="*/ 8973 w 10000"/>
                <a:gd name="connsiteY203" fmla="*/ 3927 h 10010"/>
                <a:gd name="connsiteX204" fmla="*/ 9049 w 10000"/>
                <a:gd name="connsiteY204" fmla="*/ 3874 h 10010"/>
                <a:gd name="connsiteX205" fmla="*/ 9153 w 10000"/>
                <a:gd name="connsiteY205" fmla="*/ 3852 h 10010"/>
                <a:gd name="connsiteX206" fmla="*/ 9720 w 10000"/>
                <a:gd name="connsiteY206" fmla="*/ 3532 h 10010"/>
                <a:gd name="connsiteX207" fmla="*/ 9971 w 10000"/>
                <a:gd name="connsiteY207" fmla="*/ 399 h 10010"/>
                <a:gd name="connsiteX208" fmla="*/ 9049 w 10000"/>
                <a:gd name="connsiteY208" fmla="*/ 36 h 10010"/>
                <a:gd name="connsiteX209" fmla="*/ 8706 w 10000"/>
                <a:gd name="connsiteY209" fmla="*/ 10 h 10010"/>
                <a:gd name="connsiteX210" fmla="*/ 8637 w 10000"/>
                <a:gd name="connsiteY210" fmla="*/ 24 h 10010"/>
                <a:gd name="connsiteX211" fmla="*/ 8729 w 10000"/>
                <a:gd name="connsiteY211" fmla="*/ 149 h 10010"/>
                <a:gd name="connsiteX212" fmla="*/ 8706 w 10000"/>
                <a:gd name="connsiteY212" fmla="*/ 191 h 10010"/>
                <a:gd name="connsiteX213" fmla="*/ 8652 w 10000"/>
                <a:gd name="connsiteY213" fmla="*/ 218 h 10010"/>
                <a:gd name="connsiteX214" fmla="*/ 8610 w 10000"/>
                <a:gd name="connsiteY214" fmla="*/ 293 h 10010"/>
                <a:gd name="connsiteX215" fmla="*/ 8533 w 10000"/>
                <a:gd name="connsiteY215" fmla="*/ 346 h 10010"/>
                <a:gd name="connsiteX216" fmla="*/ 8550 w 10000"/>
                <a:gd name="connsiteY216" fmla="*/ 397 h 10010"/>
                <a:gd name="connsiteX217" fmla="*/ 8667 w 10000"/>
                <a:gd name="connsiteY217" fmla="*/ 444 h 10010"/>
                <a:gd name="connsiteX218" fmla="*/ 8591 w 10000"/>
                <a:gd name="connsiteY218" fmla="*/ 485 h 10010"/>
                <a:gd name="connsiteX219" fmla="*/ 8477 w 10000"/>
                <a:gd name="connsiteY219" fmla="*/ 495 h 10010"/>
                <a:gd name="connsiteX220" fmla="*/ 7537 w 10000"/>
                <a:gd name="connsiteY220" fmla="*/ 397 h 10010"/>
                <a:gd name="connsiteX221" fmla="*/ 7423 w 10000"/>
                <a:gd name="connsiteY221" fmla="*/ 405 h 10010"/>
                <a:gd name="connsiteX222" fmla="*/ 7359 w 10000"/>
                <a:gd name="connsiteY222" fmla="*/ 424 h 10010"/>
                <a:gd name="connsiteX223" fmla="*/ 7290 w 10000"/>
                <a:gd name="connsiteY223" fmla="*/ 472 h 10010"/>
                <a:gd name="connsiteX224" fmla="*/ 7302 w 10000"/>
                <a:gd name="connsiteY224" fmla="*/ 591 h 10010"/>
                <a:gd name="connsiteX225" fmla="*/ 7199 w 10000"/>
                <a:gd name="connsiteY225" fmla="*/ 745 h 10010"/>
                <a:gd name="connsiteX226" fmla="*/ 7072 w 10000"/>
                <a:gd name="connsiteY226" fmla="*/ 825 h 10010"/>
                <a:gd name="connsiteX227" fmla="*/ 7021 w 10000"/>
                <a:gd name="connsiteY227" fmla="*/ 815 h 10010"/>
                <a:gd name="connsiteX228" fmla="*/ 6903 w 10000"/>
                <a:gd name="connsiteY228" fmla="*/ 749 h 10010"/>
                <a:gd name="connsiteX229" fmla="*/ 6756 w 10000"/>
                <a:gd name="connsiteY229" fmla="*/ 715 h 10010"/>
                <a:gd name="connsiteX230" fmla="*/ 6594 w 10000"/>
                <a:gd name="connsiteY230" fmla="*/ 725 h 10010"/>
                <a:gd name="connsiteX231" fmla="*/ 6223 w 10000"/>
                <a:gd name="connsiteY231" fmla="*/ 876 h 10010"/>
                <a:gd name="connsiteX232" fmla="*/ 6125 w 10000"/>
                <a:gd name="connsiteY232" fmla="*/ 1027 h 10010"/>
                <a:gd name="connsiteX233" fmla="*/ 5845 w 10000"/>
                <a:gd name="connsiteY233" fmla="*/ 1163 h 10010"/>
                <a:gd name="connsiteX234" fmla="*/ 5794 w 10000"/>
                <a:gd name="connsiteY234" fmla="*/ 1232 h 10010"/>
                <a:gd name="connsiteX235" fmla="*/ 5940 w 10000"/>
                <a:gd name="connsiteY235" fmla="*/ 1354 h 10010"/>
                <a:gd name="connsiteX236" fmla="*/ 5956 w 10000"/>
                <a:gd name="connsiteY236" fmla="*/ 1422 h 10010"/>
                <a:gd name="connsiteX237" fmla="*/ 5190 w 10000"/>
                <a:gd name="connsiteY237" fmla="*/ 1823 h 10010"/>
                <a:gd name="connsiteX238" fmla="*/ 4955 w 10000"/>
                <a:gd name="connsiteY238" fmla="*/ 2080 h 10010"/>
                <a:gd name="connsiteX239" fmla="*/ 4702 w 10000"/>
                <a:gd name="connsiteY239" fmla="*/ 2145 h 10010"/>
                <a:gd name="connsiteX240" fmla="*/ 4540 w 10000"/>
                <a:gd name="connsiteY240" fmla="*/ 2141 h 10010"/>
                <a:gd name="connsiteX241" fmla="*/ 4443 w 10000"/>
                <a:gd name="connsiteY241" fmla="*/ 2163 h 10010"/>
                <a:gd name="connsiteX242" fmla="*/ 4178 w 10000"/>
                <a:gd name="connsiteY242" fmla="*/ 2803 h 10010"/>
                <a:gd name="connsiteX243" fmla="*/ 3565 w 10000"/>
                <a:gd name="connsiteY243" fmla="*/ 3176 h 10010"/>
                <a:gd name="connsiteX244" fmla="*/ 3569 w 10000"/>
                <a:gd name="connsiteY244" fmla="*/ 3235 h 10010"/>
                <a:gd name="connsiteX245" fmla="*/ 3841 w 10000"/>
                <a:gd name="connsiteY245" fmla="*/ 3402 h 10010"/>
                <a:gd name="connsiteX246" fmla="*/ 3753 w 10000"/>
                <a:gd name="connsiteY246" fmla="*/ 3583 h 10010"/>
                <a:gd name="connsiteX247" fmla="*/ 3594 w 10000"/>
                <a:gd name="connsiteY247" fmla="*/ 3650 h 10010"/>
                <a:gd name="connsiteX248" fmla="*/ 3118 w 10000"/>
                <a:gd name="connsiteY248" fmla="*/ 3605 h 10010"/>
                <a:gd name="connsiteX249" fmla="*/ 2791 w 10000"/>
                <a:gd name="connsiteY249" fmla="*/ 3630 h 10010"/>
                <a:gd name="connsiteX250" fmla="*/ 2528 w 10000"/>
                <a:gd name="connsiteY250" fmla="*/ 3683 h 10010"/>
                <a:gd name="connsiteX251" fmla="*/ 2102 w 10000"/>
                <a:gd name="connsiteY251" fmla="*/ 3850 h 10010"/>
                <a:gd name="connsiteX252" fmla="*/ 1877 w 10000"/>
                <a:gd name="connsiteY252" fmla="*/ 4052 h 10010"/>
                <a:gd name="connsiteX253" fmla="*/ 1896 w 10000"/>
                <a:gd name="connsiteY253" fmla="*/ 4164 h 10010"/>
                <a:gd name="connsiteX254" fmla="*/ 1975 w 10000"/>
                <a:gd name="connsiteY254" fmla="*/ 4251 h 10010"/>
                <a:gd name="connsiteX255" fmla="*/ 2034 w 10000"/>
                <a:gd name="connsiteY255" fmla="*/ 4286 h 10010"/>
                <a:gd name="connsiteX256" fmla="*/ 1924 w 10000"/>
                <a:gd name="connsiteY256" fmla="*/ 4341 h 10010"/>
                <a:gd name="connsiteX257" fmla="*/ 1683 w 10000"/>
                <a:gd name="connsiteY257" fmla="*/ 4720 h 10010"/>
                <a:gd name="connsiteX258" fmla="*/ 1729 w 10000"/>
                <a:gd name="connsiteY258" fmla="*/ 4742 h 10010"/>
                <a:gd name="connsiteX259" fmla="*/ 1764 w 10000"/>
                <a:gd name="connsiteY259" fmla="*/ 4838 h 10010"/>
                <a:gd name="connsiteX260" fmla="*/ 1652 w 10000"/>
                <a:gd name="connsiteY260" fmla="*/ 5237 h 10010"/>
                <a:gd name="connsiteX261" fmla="*/ 1764 w 10000"/>
                <a:gd name="connsiteY261" fmla="*/ 5339 h 10010"/>
                <a:gd name="connsiteX262" fmla="*/ 2071 w 10000"/>
                <a:gd name="connsiteY262" fmla="*/ 5451 h 10010"/>
                <a:gd name="connsiteX263" fmla="*/ 2085 w 10000"/>
                <a:gd name="connsiteY263" fmla="*/ 5588 h 10010"/>
                <a:gd name="connsiteX264" fmla="*/ 1954 w 10000"/>
                <a:gd name="connsiteY264" fmla="*/ 5700 h 10010"/>
                <a:gd name="connsiteX265" fmla="*/ 1764 w 10000"/>
                <a:gd name="connsiteY265" fmla="*/ 5769 h 10010"/>
                <a:gd name="connsiteX266" fmla="*/ 1513 w 10000"/>
                <a:gd name="connsiteY266" fmla="*/ 5797 h 10010"/>
                <a:gd name="connsiteX267" fmla="*/ 1448 w 10000"/>
                <a:gd name="connsiteY267" fmla="*/ 5836 h 10010"/>
                <a:gd name="connsiteX268" fmla="*/ 1594 w 10000"/>
                <a:gd name="connsiteY268" fmla="*/ 5930 h 10010"/>
                <a:gd name="connsiteX269" fmla="*/ 1678 w 10000"/>
                <a:gd name="connsiteY269" fmla="*/ 6152 h 10010"/>
                <a:gd name="connsiteX270" fmla="*/ 1488 w 10000"/>
                <a:gd name="connsiteY270" fmla="*/ 6343 h 10010"/>
                <a:gd name="connsiteX271" fmla="*/ 1554 w 10000"/>
                <a:gd name="connsiteY271" fmla="*/ 6402 h 10010"/>
                <a:gd name="connsiteX272" fmla="*/ 1494 w 10000"/>
                <a:gd name="connsiteY272" fmla="*/ 6502 h 10010"/>
                <a:gd name="connsiteX273" fmla="*/ 1372 w 10000"/>
                <a:gd name="connsiteY273" fmla="*/ 6571 h 10010"/>
                <a:gd name="connsiteX274" fmla="*/ 889 w 10000"/>
                <a:gd name="connsiteY274" fmla="*/ 6624 h 10010"/>
                <a:gd name="connsiteX275" fmla="*/ 860 w 10000"/>
                <a:gd name="connsiteY275" fmla="*/ 6716 h 10010"/>
                <a:gd name="connsiteX276" fmla="*/ 600 w 10000"/>
                <a:gd name="connsiteY276" fmla="*/ 6853 h 10010"/>
                <a:gd name="connsiteX277" fmla="*/ 634 w 10000"/>
                <a:gd name="connsiteY277" fmla="*/ 7050 h 10010"/>
                <a:gd name="connsiteX278" fmla="*/ 415 w 10000"/>
                <a:gd name="connsiteY278" fmla="*/ 7303 h 10010"/>
                <a:gd name="connsiteX279" fmla="*/ 266 w 10000"/>
                <a:gd name="connsiteY279" fmla="*/ 7333 h 10010"/>
                <a:gd name="connsiteX280" fmla="*/ 204 w 10000"/>
                <a:gd name="connsiteY280" fmla="*/ 7272 h 10010"/>
                <a:gd name="connsiteX281" fmla="*/ 128 w 10000"/>
                <a:gd name="connsiteY281" fmla="*/ 7364 h 10010"/>
                <a:gd name="connsiteX282" fmla="*/ 178 w 10000"/>
                <a:gd name="connsiteY282" fmla="*/ 7207 h 10010"/>
                <a:gd name="connsiteX283" fmla="*/ 147 w 10000"/>
                <a:gd name="connsiteY283" fmla="*/ 7176 h 10010"/>
                <a:gd name="connsiteX0" fmla="*/ 147 w 10000"/>
                <a:gd name="connsiteY0" fmla="*/ 7176 h 10010"/>
                <a:gd name="connsiteX1" fmla="*/ 0 w 10000"/>
                <a:gd name="connsiteY1" fmla="*/ 7258 h 10010"/>
                <a:gd name="connsiteX2" fmla="*/ 0 w 10000"/>
                <a:gd name="connsiteY2" fmla="*/ 7661 h 10010"/>
                <a:gd name="connsiteX3" fmla="*/ 81 w 10000"/>
                <a:gd name="connsiteY3" fmla="*/ 7673 h 10010"/>
                <a:gd name="connsiteX4" fmla="*/ 100 w 10000"/>
                <a:gd name="connsiteY4" fmla="*/ 7704 h 10010"/>
                <a:gd name="connsiteX5" fmla="*/ 96 w 10000"/>
                <a:gd name="connsiteY5" fmla="*/ 7759 h 10010"/>
                <a:gd name="connsiteX6" fmla="*/ 66 w 10000"/>
                <a:gd name="connsiteY6" fmla="*/ 7783 h 10010"/>
                <a:gd name="connsiteX7" fmla="*/ 190 w 10000"/>
                <a:gd name="connsiteY7" fmla="*/ 7737 h 10010"/>
                <a:gd name="connsiteX8" fmla="*/ 242 w 10000"/>
                <a:gd name="connsiteY8" fmla="*/ 7690 h 10010"/>
                <a:gd name="connsiteX9" fmla="*/ 306 w 10000"/>
                <a:gd name="connsiteY9" fmla="*/ 7722 h 10010"/>
                <a:gd name="connsiteX10" fmla="*/ 235 w 10000"/>
                <a:gd name="connsiteY10" fmla="*/ 7788 h 10010"/>
                <a:gd name="connsiteX11" fmla="*/ 311 w 10000"/>
                <a:gd name="connsiteY11" fmla="*/ 7790 h 10010"/>
                <a:gd name="connsiteX12" fmla="*/ 348 w 10000"/>
                <a:gd name="connsiteY12" fmla="*/ 7806 h 10010"/>
                <a:gd name="connsiteX13" fmla="*/ 250 w 10000"/>
                <a:gd name="connsiteY13" fmla="*/ 7828 h 10010"/>
                <a:gd name="connsiteX14" fmla="*/ 96 w 10000"/>
                <a:gd name="connsiteY14" fmla="*/ 7896 h 10010"/>
                <a:gd name="connsiteX15" fmla="*/ 370 w 10000"/>
                <a:gd name="connsiteY15" fmla="*/ 7948 h 10010"/>
                <a:gd name="connsiteX16" fmla="*/ 404 w 10000"/>
                <a:gd name="connsiteY16" fmla="*/ 8024 h 10010"/>
                <a:gd name="connsiteX17" fmla="*/ 311 w 10000"/>
                <a:gd name="connsiteY17" fmla="*/ 8136 h 10010"/>
                <a:gd name="connsiteX18" fmla="*/ 511 w 10000"/>
                <a:gd name="connsiteY18" fmla="*/ 8128 h 10010"/>
                <a:gd name="connsiteX19" fmla="*/ 526 w 10000"/>
                <a:gd name="connsiteY19" fmla="*/ 8213 h 10010"/>
                <a:gd name="connsiteX20" fmla="*/ 393 w 10000"/>
                <a:gd name="connsiteY20" fmla="*/ 8270 h 10010"/>
                <a:gd name="connsiteX21" fmla="*/ 415 w 10000"/>
                <a:gd name="connsiteY21" fmla="*/ 8380 h 10010"/>
                <a:gd name="connsiteX22" fmla="*/ 364 w 10000"/>
                <a:gd name="connsiteY22" fmla="*/ 8466 h 10010"/>
                <a:gd name="connsiteX23" fmla="*/ 521 w 10000"/>
                <a:gd name="connsiteY23" fmla="*/ 8474 h 10010"/>
                <a:gd name="connsiteX24" fmla="*/ 676 w 10000"/>
                <a:gd name="connsiteY24" fmla="*/ 8802 h 10010"/>
                <a:gd name="connsiteX25" fmla="*/ 853 w 10000"/>
                <a:gd name="connsiteY25" fmla="*/ 8886 h 10010"/>
                <a:gd name="connsiteX26" fmla="*/ 931 w 10000"/>
                <a:gd name="connsiteY26" fmla="*/ 8975 h 10010"/>
                <a:gd name="connsiteX27" fmla="*/ 1125 w 10000"/>
                <a:gd name="connsiteY27" fmla="*/ 9040 h 10010"/>
                <a:gd name="connsiteX28" fmla="*/ 1249 w 10000"/>
                <a:gd name="connsiteY28" fmla="*/ 9122 h 10010"/>
                <a:gd name="connsiteX29" fmla="*/ 1233 w 10000"/>
                <a:gd name="connsiteY29" fmla="*/ 9181 h 10010"/>
                <a:gd name="connsiteX30" fmla="*/ 1110 w 10000"/>
                <a:gd name="connsiteY30" fmla="*/ 9203 h 10010"/>
                <a:gd name="connsiteX31" fmla="*/ 976 w 10000"/>
                <a:gd name="connsiteY31" fmla="*/ 9189 h 10010"/>
                <a:gd name="connsiteX32" fmla="*/ 935 w 10000"/>
                <a:gd name="connsiteY32" fmla="*/ 9214 h 10010"/>
                <a:gd name="connsiteX33" fmla="*/ 1037 w 10000"/>
                <a:gd name="connsiteY33" fmla="*/ 9342 h 10010"/>
                <a:gd name="connsiteX34" fmla="*/ 894 w 10000"/>
                <a:gd name="connsiteY34" fmla="*/ 9332 h 10010"/>
                <a:gd name="connsiteX35" fmla="*/ 773 w 10000"/>
                <a:gd name="connsiteY35" fmla="*/ 9301 h 10010"/>
                <a:gd name="connsiteX36" fmla="*/ 750 w 10000"/>
                <a:gd name="connsiteY36" fmla="*/ 9348 h 10010"/>
                <a:gd name="connsiteX37" fmla="*/ 1155 w 10000"/>
                <a:gd name="connsiteY37" fmla="*/ 9786 h 10010"/>
                <a:gd name="connsiteX38" fmla="*/ 1091 w 10000"/>
                <a:gd name="connsiteY38" fmla="*/ 9827 h 10010"/>
                <a:gd name="connsiteX39" fmla="*/ 1045 w 10000"/>
                <a:gd name="connsiteY39" fmla="*/ 9912 h 10010"/>
                <a:gd name="connsiteX40" fmla="*/ 987 w 10000"/>
                <a:gd name="connsiteY40" fmla="*/ 9918 h 10010"/>
                <a:gd name="connsiteX41" fmla="*/ 951 w 10000"/>
                <a:gd name="connsiteY41" fmla="*/ 9955 h 10010"/>
                <a:gd name="connsiteX42" fmla="*/ 1195 w 10000"/>
                <a:gd name="connsiteY42" fmla="*/ 9959 h 10010"/>
                <a:gd name="connsiteX43" fmla="*/ 1410 w 10000"/>
                <a:gd name="connsiteY43" fmla="*/ 9996 h 10010"/>
                <a:gd name="connsiteX44" fmla="*/ 1769 w 10000"/>
                <a:gd name="connsiteY44" fmla="*/ 9957 h 10010"/>
                <a:gd name="connsiteX45" fmla="*/ 2091 w 10000"/>
                <a:gd name="connsiteY45" fmla="*/ 9963 h 10010"/>
                <a:gd name="connsiteX46" fmla="*/ 2280 w 10000"/>
                <a:gd name="connsiteY46" fmla="*/ 10010 h 10010"/>
                <a:gd name="connsiteX47" fmla="*/ 2385 w 10000"/>
                <a:gd name="connsiteY47" fmla="*/ 9979 h 10010"/>
                <a:gd name="connsiteX48" fmla="*/ 2485 w 10000"/>
                <a:gd name="connsiteY48" fmla="*/ 9878 h 10010"/>
                <a:gd name="connsiteX49" fmla="*/ 2459 w 10000"/>
                <a:gd name="connsiteY49" fmla="*/ 9713 h 10010"/>
                <a:gd name="connsiteX50" fmla="*/ 2704 w 10000"/>
                <a:gd name="connsiteY50" fmla="*/ 9527 h 10010"/>
                <a:gd name="connsiteX51" fmla="*/ 2883 w 10000"/>
                <a:gd name="connsiteY51" fmla="*/ 9556 h 10010"/>
                <a:gd name="connsiteX52" fmla="*/ 2987 w 10000"/>
                <a:gd name="connsiteY52" fmla="*/ 9482 h 10010"/>
                <a:gd name="connsiteX53" fmla="*/ 3186 w 10000"/>
                <a:gd name="connsiteY53" fmla="*/ 9440 h 10010"/>
                <a:gd name="connsiteX54" fmla="*/ 3457 w 10000"/>
                <a:gd name="connsiteY54" fmla="*/ 9450 h 10010"/>
                <a:gd name="connsiteX55" fmla="*/ 3620 w 10000"/>
                <a:gd name="connsiteY55" fmla="*/ 9480 h 10010"/>
                <a:gd name="connsiteX56" fmla="*/ 3837 w 10000"/>
                <a:gd name="connsiteY56" fmla="*/ 9466 h 10010"/>
                <a:gd name="connsiteX57" fmla="*/ 4056 w 10000"/>
                <a:gd name="connsiteY57" fmla="*/ 9499 h 10010"/>
                <a:gd name="connsiteX58" fmla="*/ 4275 w 10000"/>
                <a:gd name="connsiteY58" fmla="*/ 9503 h 10010"/>
                <a:gd name="connsiteX59" fmla="*/ 4765 w 10000"/>
                <a:gd name="connsiteY59" fmla="*/ 9071 h 10010"/>
                <a:gd name="connsiteX60" fmla="*/ 4889 w 10000"/>
                <a:gd name="connsiteY60" fmla="*/ 8721 h 10010"/>
                <a:gd name="connsiteX61" fmla="*/ 5088 w 10000"/>
                <a:gd name="connsiteY61" fmla="*/ 8564 h 10010"/>
                <a:gd name="connsiteX62" fmla="*/ 5088 w 10000"/>
                <a:gd name="connsiteY62" fmla="*/ 8482 h 10010"/>
                <a:gd name="connsiteX63" fmla="*/ 5016 w 10000"/>
                <a:gd name="connsiteY63" fmla="*/ 8435 h 10010"/>
                <a:gd name="connsiteX64" fmla="*/ 5133 w 10000"/>
                <a:gd name="connsiteY64" fmla="*/ 8362 h 10010"/>
                <a:gd name="connsiteX65" fmla="*/ 5112 w 10000"/>
                <a:gd name="connsiteY65" fmla="*/ 8299 h 10010"/>
                <a:gd name="connsiteX66" fmla="*/ 5032 w 10000"/>
                <a:gd name="connsiteY66" fmla="*/ 8246 h 10010"/>
                <a:gd name="connsiteX67" fmla="*/ 5016 w 10000"/>
                <a:gd name="connsiteY67" fmla="*/ 8209 h 10010"/>
                <a:gd name="connsiteX68" fmla="*/ 5036 w 10000"/>
                <a:gd name="connsiteY68" fmla="*/ 8179 h 10010"/>
                <a:gd name="connsiteX69" fmla="*/ 5144 w 10000"/>
                <a:gd name="connsiteY69" fmla="*/ 8203 h 10010"/>
                <a:gd name="connsiteX70" fmla="*/ 5230 w 10000"/>
                <a:gd name="connsiteY70" fmla="*/ 8201 h 10010"/>
                <a:gd name="connsiteX71" fmla="*/ 5184 w 10000"/>
                <a:gd name="connsiteY71" fmla="*/ 8150 h 10010"/>
                <a:gd name="connsiteX72" fmla="*/ 5198 w 10000"/>
                <a:gd name="connsiteY72" fmla="*/ 8122 h 10010"/>
                <a:gd name="connsiteX73" fmla="*/ 5262 w 10000"/>
                <a:gd name="connsiteY73" fmla="*/ 8079 h 10010"/>
                <a:gd name="connsiteX74" fmla="*/ 5250 w 10000"/>
                <a:gd name="connsiteY74" fmla="*/ 8044 h 10010"/>
                <a:gd name="connsiteX75" fmla="*/ 5309 w 10000"/>
                <a:gd name="connsiteY75" fmla="*/ 7926 h 10010"/>
                <a:gd name="connsiteX76" fmla="*/ 5293 w 10000"/>
                <a:gd name="connsiteY76" fmla="*/ 7891 h 10010"/>
                <a:gd name="connsiteX77" fmla="*/ 4996 w 10000"/>
                <a:gd name="connsiteY77" fmla="*/ 7802 h 10010"/>
                <a:gd name="connsiteX78" fmla="*/ 5036 w 10000"/>
                <a:gd name="connsiteY78" fmla="*/ 7798 h 10010"/>
                <a:gd name="connsiteX79" fmla="*/ 5194 w 10000"/>
                <a:gd name="connsiteY79" fmla="*/ 7822 h 10010"/>
                <a:gd name="connsiteX80" fmla="*/ 5365 w 10000"/>
                <a:gd name="connsiteY80" fmla="*/ 7814 h 10010"/>
                <a:gd name="connsiteX81" fmla="*/ 5415 w 10000"/>
                <a:gd name="connsiteY81" fmla="*/ 7781 h 10010"/>
                <a:gd name="connsiteX82" fmla="*/ 5250 w 10000"/>
                <a:gd name="connsiteY82" fmla="*/ 7720 h 10010"/>
                <a:gd name="connsiteX83" fmla="*/ 4761 w 10000"/>
                <a:gd name="connsiteY83" fmla="*/ 7680 h 10010"/>
                <a:gd name="connsiteX84" fmla="*/ 4794 w 10000"/>
                <a:gd name="connsiteY84" fmla="*/ 7661 h 10010"/>
                <a:gd name="connsiteX85" fmla="*/ 5194 w 10000"/>
                <a:gd name="connsiteY85" fmla="*/ 7649 h 10010"/>
                <a:gd name="connsiteX86" fmla="*/ 5415 w 10000"/>
                <a:gd name="connsiteY86" fmla="*/ 7686 h 10010"/>
                <a:gd name="connsiteX87" fmla="*/ 5542 w 10000"/>
                <a:gd name="connsiteY87" fmla="*/ 7661 h 10010"/>
                <a:gd name="connsiteX88" fmla="*/ 5589 w 10000"/>
                <a:gd name="connsiteY88" fmla="*/ 7598 h 10010"/>
                <a:gd name="connsiteX89" fmla="*/ 5819 w 10000"/>
                <a:gd name="connsiteY89" fmla="*/ 7598 h 10010"/>
                <a:gd name="connsiteX90" fmla="*/ 6131 w 10000"/>
                <a:gd name="connsiteY90" fmla="*/ 7472 h 10010"/>
                <a:gd name="connsiteX91" fmla="*/ 6142 w 10000"/>
                <a:gd name="connsiteY91" fmla="*/ 7388 h 10010"/>
                <a:gd name="connsiteX92" fmla="*/ 6274 w 10000"/>
                <a:gd name="connsiteY92" fmla="*/ 7407 h 10010"/>
                <a:gd name="connsiteX93" fmla="*/ 6268 w 10000"/>
                <a:gd name="connsiteY93" fmla="*/ 7492 h 10010"/>
                <a:gd name="connsiteX94" fmla="*/ 6478 w 10000"/>
                <a:gd name="connsiteY94" fmla="*/ 7486 h 10010"/>
                <a:gd name="connsiteX95" fmla="*/ 6616 w 10000"/>
                <a:gd name="connsiteY95" fmla="*/ 7398 h 10010"/>
                <a:gd name="connsiteX96" fmla="*/ 6872 w 10000"/>
                <a:gd name="connsiteY96" fmla="*/ 7319 h 10010"/>
                <a:gd name="connsiteX97" fmla="*/ 6832 w 10000"/>
                <a:gd name="connsiteY97" fmla="*/ 7229 h 10010"/>
                <a:gd name="connsiteX98" fmla="*/ 6908 w 10000"/>
                <a:gd name="connsiteY98" fmla="*/ 7264 h 10010"/>
                <a:gd name="connsiteX99" fmla="*/ 7025 w 10000"/>
                <a:gd name="connsiteY99" fmla="*/ 7264 h 10010"/>
                <a:gd name="connsiteX100" fmla="*/ 7025 w 10000"/>
                <a:gd name="connsiteY100" fmla="*/ 7223 h 10010"/>
                <a:gd name="connsiteX101" fmla="*/ 7134 w 10000"/>
                <a:gd name="connsiteY101" fmla="*/ 7191 h 10010"/>
                <a:gd name="connsiteX102" fmla="*/ 7119 w 10000"/>
                <a:gd name="connsiteY102" fmla="*/ 7158 h 10010"/>
                <a:gd name="connsiteX103" fmla="*/ 6198 w 10000"/>
                <a:gd name="connsiteY103" fmla="*/ 7225 h 10010"/>
                <a:gd name="connsiteX104" fmla="*/ 5983 w 10000"/>
                <a:gd name="connsiteY104" fmla="*/ 7205 h 10010"/>
                <a:gd name="connsiteX105" fmla="*/ 5895 w 10000"/>
                <a:gd name="connsiteY105" fmla="*/ 7229 h 10010"/>
                <a:gd name="connsiteX106" fmla="*/ 5866 w 10000"/>
                <a:gd name="connsiteY106" fmla="*/ 7183 h 10010"/>
                <a:gd name="connsiteX107" fmla="*/ 5764 w 10000"/>
                <a:gd name="connsiteY107" fmla="*/ 7142 h 10010"/>
                <a:gd name="connsiteX108" fmla="*/ 5354 w 10000"/>
                <a:gd name="connsiteY108" fmla="*/ 7062 h 10010"/>
                <a:gd name="connsiteX109" fmla="*/ 5112 w 10000"/>
                <a:gd name="connsiteY109" fmla="*/ 7075 h 10010"/>
                <a:gd name="connsiteX110" fmla="*/ 5016 w 10000"/>
                <a:gd name="connsiteY110" fmla="*/ 7052 h 10010"/>
                <a:gd name="connsiteX111" fmla="*/ 5118 w 10000"/>
                <a:gd name="connsiteY111" fmla="*/ 7032 h 10010"/>
                <a:gd name="connsiteX112" fmla="*/ 5194 w 10000"/>
                <a:gd name="connsiteY112" fmla="*/ 6989 h 10010"/>
                <a:gd name="connsiteX113" fmla="*/ 5309 w 10000"/>
                <a:gd name="connsiteY113" fmla="*/ 7003 h 10010"/>
                <a:gd name="connsiteX114" fmla="*/ 5445 w 10000"/>
                <a:gd name="connsiteY114" fmla="*/ 6991 h 10010"/>
                <a:gd name="connsiteX115" fmla="*/ 5650 w 10000"/>
                <a:gd name="connsiteY115" fmla="*/ 7005 h 10010"/>
                <a:gd name="connsiteX116" fmla="*/ 5675 w 10000"/>
                <a:gd name="connsiteY116" fmla="*/ 6999 h 10010"/>
                <a:gd name="connsiteX117" fmla="*/ 5834 w 10000"/>
                <a:gd name="connsiteY117" fmla="*/ 7066 h 10010"/>
                <a:gd name="connsiteX118" fmla="*/ 5951 w 10000"/>
                <a:gd name="connsiteY118" fmla="*/ 7042 h 10010"/>
                <a:gd name="connsiteX119" fmla="*/ 5961 w 10000"/>
                <a:gd name="connsiteY119" fmla="*/ 7020 h 10010"/>
                <a:gd name="connsiteX120" fmla="*/ 6069 w 10000"/>
                <a:gd name="connsiteY120" fmla="*/ 7058 h 10010"/>
                <a:gd name="connsiteX121" fmla="*/ 6212 w 10000"/>
                <a:gd name="connsiteY121" fmla="*/ 7079 h 10010"/>
                <a:gd name="connsiteX122" fmla="*/ 6268 w 10000"/>
                <a:gd name="connsiteY122" fmla="*/ 7040 h 10010"/>
                <a:gd name="connsiteX123" fmla="*/ 6314 w 10000"/>
                <a:gd name="connsiteY123" fmla="*/ 7062 h 10010"/>
                <a:gd name="connsiteX124" fmla="*/ 6381 w 10000"/>
                <a:gd name="connsiteY124" fmla="*/ 7136 h 10010"/>
                <a:gd name="connsiteX125" fmla="*/ 6519 w 10000"/>
                <a:gd name="connsiteY125" fmla="*/ 7154 h 10010"/>
                <a:gd name="connsiteX126" fmla="*/ 7082 w 10000"/>
                <a:gd name="connsiteY126" fmla="*/ 7044 h 10010"/>
                <a:gd name="connsiteX127" fmla="*/ 7359 w 10000"/>
                <a:gd name="connsiteY127" fmla="*/ 6889 h 10010"/>
                <a:gd name="connsiteX128" fmla="*/ 7423 w 10000"/>
                <a:gd name="connsiteY128" fmla="*/ 6775 h 10010"/>
                <a:gd name="connsiteX129" fmla="*/ 7323 w 10000"/>
                <a:gd name="connsiteY129" fmla="*/ 6673 h 10010"/>
                <a:gd name="connsiteX130" fmla="*/ 7113 w 10000"/>
                <a:gd name="connsiteY130" fmla="*/ 6612 h 10010"/>
                <a:gd name="connsiteX131" fmla="*/ 6963 w 10000"/>
                <a:gd name="connsiteY131" fmla="*/ 6512 h 10010"/>
                <a:gd name="connsiteX132" fmla="*/ 7102 w 10000"/>
                <a:gd name="connsiteY132" fmla="*/ 6508 h 10010"/>
                <a:gd name="connsiteX133" fmla="*/ 7093 w 10000"/>
                <a:gd name="connsiteY133" fmla="*/ 6484 h 10010"/>
                <a:gd name="connsiteX134" fmla="*/ 6731 w 10000"/>
                <a:gd name="connsiteY134" fmla="*/ 6413 h 10010"/>
                <a:gd name="connsiteX135" fmla="*/ 6716 w 10000"/>
                <a:gd name="connsiteY135" fmla="*/ 6349 h 10010"/>
                <a:gd name="connsiteX136" fmla="*/ 6646 w 10000"/>
                <a:gd name="connsiteY136" fmla="*/ 6282 h 10010"/>
                <a:gd name="connsiteX137" fmla="*/ 6360 w 10000"/>
                <a:gd name="connsiteY137" fmla="*/ 6294 h 10010"/>
                <a:gd name="connsiteX138" fmla="*/ 6258 w 10000"/>
                <a:gd name="connsiteY138" fmla="*/ 6223 h 10010"/>
                <a:gd name="connsiteX139" fmla="*/ 6198 w 10000"/>
                <a:gd name="connsiteY139" fmla="*/ 6219 h 10010"/>
                <a:gd name="connsiteX140" fmla="*/ 6198 w 10000"/>
                <a:gd name="connsiteY140" fmla="*/ 6248 h 10010"/>
                <a:gd name="connsiteX141" fmla="*/ 6069 w 10000"/>
                <a:gd name="connsiteY141" fmla="*/ 6368 h 10010"/>
                <a:gd name="connsiteX142" fmla="*/ 5930 w 10000"/>
                <a:gd name="connsiteY142" fmla="*/ 6439 h 10010"/>
                <a:gd name="connsiteX143" fmla="*/ 5495 w 10000"/>
                <a:gd name="connsiteY143" fmla="*/ 6561 h 10010"/>
                <a:gd name="connsiteX144" fmla="*/ 5342 w 10000"/>
                <a:gd name="connsiteY144" fmla="*/ 6557 h 10010"/>
                <a:gd name="connsiteX145" fmla="*/ 5133 w 10000"/>
                <a:gd name="connsiteY145" fmla="*/ 6575 h 10010"/>
                <a:gd name="connsiteX146" fmla="*/ 5016 w 10000"/>
                <a:gd name="connsiteY146" fmla="*/ 6557 h 10010"/>
                <a:gd name="connsiteX147" fmla="*/ 5169 w 10000"/>
                <a:gd name="connsiteY147" fmla="*/ 6523 h 10010"/>
                <a:gd name="connsiteX148" fmla="*/ 5369 w 10000"/>
                <a:gd name="connsiteY148" fmla="*/ 6508 h 10010"/>
                <a:gd name="connsiteX149" fmla="*/ 5534 w 10000"/>
                <a:gd name="connsiteY149" fmla="*/ 6451 h 10010"/>
                <a:gd name="connsiteX150" fmla="*/ 5695 w 10000"/>
                <a:gd name="connsiteY150" fmla="*/ 6425 h 10010"/>
                <a:gd name="connsiteX151" fmla="*/ 5998 w 10000"/>
                <a:gd name="connsiteY151" fmla="*/ 6327 h 10010"/>
                <a:gd name="connsiteX152" fmla="*/ 6056 w 10000"/>
                <a:gd name="connsiteY152" fmla="*/ 6262 h 10010"/>
                <a:gd name="connsiteX153" fmla="*/ 6060 w 10000"/>
                <a:gd name="connsiteY153" fmla="*/ 6178 h 10010"/>
                <a:gd name="connsiteX154" fmla="*/ 5921 w 10000"/>
                <a:gd name="connsiteY154" fmla="*/ 6164 h 10010"/>
                <a:gd name="connsiteX155" fmla="*/ 5983 w 10000"/>
                <a:gd name="connsiteY155" fmla="*/ 6113 h 10010"/>
                <a:gd name="connsiteX156" fmla="*/ 6002 w 10000"/>
                <a:gd name="connsiteY156" fmla="*/ 6048 h 10010"/>
                <a:gd name="connsiteX157" fmla="*/ 5944 w 10000"/>
                <a:gd name="connsiteY157" fmla="*/ 5987 h 10010"/>
                <a:gd name="connsiteX158" fmla="*/ 5911 w 10000"/>
                <a:gd name="connsiteY158" fmla="*/ 5543 h 10010"/>
                <a:gd name="connsiteX159" fmla="*/ 5993 w 10000"/>
                <a:gd name="connsiteY159" fmla="*/ 5447 h 10010"/>
                <a:gd name="connsiteX160" fmla="*/ 5972 w 10000"/>
                <a:gd name="connsiteY160" fmla="*/ 5408 h 10010"/>
                <a:gd name="connsiteX161" fmla="*/ 6212 w 10000"/>
                <a:gd name="connsiteY161" fmla="*/ 5465 h 10010"/>
                <a:gd name="connsiteX162" fmla="*/ 6229 w 10000"/>
                <a:gd name="connsiteY162" fmla="*/ 5412 h 10010"/>
                <a:gd name="connsiteX163" fmla="*/ 6176 w 10000"/>
                <a:gd name="connsiteY163" fmla="*/ 5274 h 10010"/>
                <a:gd name="connsiteX164" fmla="*/ 6349 w 10000"/>
                <a:gd name="connsiteY164" fmla="*/ 5029 h 10010"/>
                <a:gd name="connsiteX165" fmla="*/ 6243 w 10000"/>
                <a:gd name="connsiteY165" fmla="*/ 4970 h 10010"/>
                <a:gd name="connsiteX166" fmla="*/ 6202 w 10000"/>
                <a:gd name="connsiteY166" fmla="*/ 4915 h 10010"/>
                <a:gd name="connsiteX167" fmla="*/ 6216 w 10000"/>
                <a:gd name="connsiteY167" fmla="*/ 4826 h 10010"/>
                <a:gd name="connsiteX168" fmla="*/ 6470 w 10000"/>
                <a:gd name="connsiteY168" fmla="*/ 4885 h 10010"/>
                <a:gd name="connsiteX169" fmla="*/ 6478 w 10000"/>
                <a:gd name="connsiteY169" fmla="*/ 4868 h 10010"/>
                <a:gd name="connsiteX170" fmla="*/ 6548 w 10000"/>
                <a:gd name="connsiteY170" fmla="*/ 4852 h 10010"/>
                <a:gd name="connsiteX171" fmla="*/ 6646 w 10000"/>
                <a:gd name="connsiteY171" fmla="*/ 4795 h 10010"/>
                <a:gd name="connsiteX172" fmla="*/ 6662 w 10000"/>
                <a:gd name="connsiteY172" fmla="*/ 4779 h 10010"/>
                <a:gd name="connsiteX173" fmla="*/ 6641 w 10000"/>
                <a:gd name="connsiteY173" fmla="*/ 4758 h 10010"/>
                <a:gd name="connsiteX174" fmla="*/ 6693 w 10000"/>
                <a:gd name="connsiteY174" fmla="*/ 4657 h 10010"/>
                <a:gd name="connsiteX175" fmla="*/ 6631 w 10000"/>
                <a:gd name="connsiteY175" fmla="*/ 4591 h 10010"/>
                <a:gd name="connsiteX176" fmla="*/ 6641 w 10000"/>
                <a:gd name="connsiteY176" fmla="*/ 4538 h 10010"/>
                <a:gd name="connsiteX177" fmla="*/ 6676 w 10000"/>
                <a:gd name="connsiteY177" fmla="*/ 4600 h 10010"/>
                <a:gd name="connsiteX178" fmla="*/ 6815 w 10000"/>
                <a:gd name="connsiteY178" fmla="*/ 4646 h 10010"/>
                <a:gd name="connsiteX179" fmla="*/ 6872 w 10000"/>
                <a:gd name="connsiteY179" fmla="*/ 4640 h 10010"/>
                <a:gd name="connsiteX180" fmla="*/ 6963 w 10000"/>
                <a:gd name="connsiteY180" fmla="*/ 4579 h 10010"/>
                <a:gd name="connsiteX181" fmla="*/ 7062 w 10000"/>
                <a:gd name="connsiteY181" fmla="*/ 4604 h 10010"/>
                <a:gd name="connsiteX182" fmla="*/ 7088 w 10000"/>
                <a:gd name="connsiteY182" fmla="*/ 4555 h 10010"/>
                <a:gd name="connsiteX183" fmla="*/ 7154 w 10000"/>
                <a:gd name="connsiteY183" fmla="*/ 4522 h 10010"/>
                <a:gd name="connsiteX184" fmla="*/ 6974 w 10000"/>
                <a:gd name="connsiteY184" fmla="*/ 4487 h 10010"/>
                <a:gd name="connsiteX185" fmla="*/ 7102 w 10000"/>
                <a:gd name="connsiteY185" fmla="*/ 4494 h 10010"/>
                <a:gd name="connsiteX186" fmla="*/ 7234 w 10000"/>
                <a:gd name="connsiteY186" fmla="*/ 4457 h 10010"/>
                <a:gd name="connsiteX187" fmla="*/ 7229 w 10000"/>
                <a:gd name="connsiteY187" fmla="*/ 4432 h 10010"/>
                <a:gd name="connsiteX188" fmla="*/ 7353 w 10000"/>
                <a:gd name="connsiteY188" fmla="*/ 4408 h 10010"/>
                <a:gd name="connsiteX189" fmla="*/ 7364 w 10000"/>
                <a:gd name="connsiteY189" fmla="*/ 4347 h 10010"/>
                <a:gd name="connsiteX190" fmla="*/ 7461 w 10000"/>
                <a:gd name="connsiteY190" fmla="*/ 4335 h 10010"/>
                <a:gd name="connsiteX191" fmla="*/ 7469 w 10000"/>
                <a:gd name="connsiteY191" fmla="*/ 4263 h 10010"/>
                <a:gd name="connsiteX192" fmla="*/ 7572 w 10000"/>
                <a:gd name="connsiteY192" fmla="*/ 4255 h 10010"/>
                <a:gd name="connsiteX193" fmla="*/ 7730 w 10000"/>
                <a:gd name="connsiteY193" fmla="*/ 4270 h 10010"/>
                <a:gd name="connsiteX194" fmla="*/ 7904 w 10000"/>
                <a:gd name="connsiteY194" fmla="*/ 4212 h 10010"/>
                <a:gd name="connsiteX195" fmla="*/ 7966 w 10000"/>
                <a:gd name="connsiteY195" fmla="*/ 4147 h 10010"/>
                <a:gd name="connsiteX196" fmla="*/ 8181 w 10000"/>
                <a:gd name="connsiteY196" fmla="*/ 4080 h 10010"/>
                <a:gd name="connsiteX197" fmla="*/ 8288 w 10000"/>
                <a:gd name="connsiteY197" fmla="*/ 4121 h 10010"/>
                <a:gd name="connsiteX198" fmla="*/ 8452 w 10000"/>
                <a:gd name="connsiteY198" fmla="*/ 4076 h 10010"/>
                <a:gd name="connsiteX199" fmla="*/ 8491 w 10000"/>
                <a:gd name="connsiteY199" fmla="*/ 4019 h 10010"/>
                <a:gd name="connsiteX200" fmla="*/ 8616 w 10000"/>
                <a:gd name="connsiteY200" fmla="*/ 3980 h 10010"/>
                <a:gd name="connsiteX201" fmla="*/ 8722 w 10000"/>
                <a:gd name="connsiteY201" fmla="*/ 3997 h 10010"/>
                <a:gd name="connsiteX202" fmla="*/ 8789 w 10000"/>
                <a:gd name="connsiteY202" fmla="*/ 3968 h 10010"/>
                <a:gd name="connsiteX203" fmla="*/ 8973 w 10000"/>
                <a:gd name="connsiteY203" fmla="*/ 3927 h 10010"/>
                <a:gd name="connsiteX204" fmla="*/ 9049 w 10000"/>
                <a:gd name="connsiteY204" fmla="*/ 3874 h 10010"/>
                <a:gd name="connsiteX205" fmla="*/ 9153 w 10000"/>
                <a:gd name="connsiteY205" fmla="*/ 3852 h 10010"/>
                <a:gd name="connsiteX206" fmla="*/ 9720 w 10000"/>
                <a:gd name="connsiteY206" fmla="*/ 3532 h 10010"/>
                <a:gd name="connsiteX207" fmla="*/ 9971 w 10000"/>
                <a:gd name="connsiteY207" fmla="*/ 399 h 10010"/>
                <a:gd name="connsiteX208" fmla="*/ 9049 w 10000"/>
                <a:gd name="connsiteY208" fmla="*/ 36 h 10010"/>
                <a:gd name="connsiteX209" fmla="*/ 8706 w 10000"/>
                <a:gd name="connsiteY209" fmla="*/ 10 h 10010"/>
                <a:gd name="connsiteX210" fmla="*/ 8637 w 10000"/>
                <a:gd name="connsiteY210" fmla="*/ 24 h 10010"/>
                <a:gd name="connsiteX211" fmla="*/ 8706 w 10000"/>
                <a:gd name="connsiteY211" fmla="*/ 191 h 10010"/>
                <a:gd name="connsiteX212" fmla="*/ 8652 w 10000"/>
                <a:gd name="connsiteY212" fmla="*/ 218 h 10010"/>
                <a:gd name="connsiteX213" fmla="*/ 8610 w 10000"/>
                <a:gd name="connsiteY213" fmla="*/ 293 h 10010"/>
                <a:gd name="connsiteX214" fmla="*/ 8533 w 10000"/>
                <a:gd name="connsiteY214" fmla="*/ 346 h 10010"/>
                <a:gd name="connsiteX215" fmla="*/ 8550 w 10000"/>
                <a:gd name="connsiteY215" fmla="*/ 397 h 10010"/>
                <a:gd name="connsiteX216" fmla="*/ 8667 w 10000"/>
                <a:gd name="connsiteY216" fmla="*/ 444 h 10010"/>
                <a:gd name="connsiteX217" fmla="*/ 8591 w 10000"/>
                <a:gd name="connsiteY217" fmla="*/ 485 h 10010"/>
                <a:gd name="connsiteX218" fmla="*/ 8477 w 10000"/>
                <a:gd name="connsiteY218" fmla="*/ 495 h 10010"/>
                <a:gd name="connsiteX219" fmla="*/ 7537 w 10000"/>
                <a:gd name="connsiteY219" fmla="*/ 397 h 10010"/>
                <a:gd name="connsiteX220" fmla="*/ 7423 w 10000"/>
                <a:gd name="connsiteY220" fmla="*/ 405 h 10010"/>
                <a:gd name="connsiteX221" fmla="*/ 7359 w 10000"/>
                <a:gd name="connsiteY221" fmla="*/ 424 h 10010"/>
                <a:gd name="connsiteX222" fmla="*/ 7290 w 10000"/>
                <a:gd name="connsiteY222" fmla="*/ 472 h 10010"/>
                <a:gd name="connsiteX223" fmla="*/ 7302 w 10000"/>
                <a:gd name="connsiteY223" fmla="*/ 591 h 10010"/>
                <a:gd name="connsiteX224" fmla="*/ 7199 w 10000"/>
                <a:gd name="connsiteY224" fmla="*/ 745 h 10010"/>
                <a:gd name="connsiteX225" fmla="*/ 7072 w 10000"/>
                <a:gd name="connsiteY225" fmla="*/ 825 h 10010"/>
                <a:gd name="connsiteX226" fmla="*/ 7021 w 10000"/>
                <a:gd name="connsiteY226" fmla="*/ 815 h 10010"/>
                <a:gd name="connsiteX227" fmla="*/ 6903 w 10000"/>
                <a:gd name="connsiteY227" fmla="*/ 749 h 10010"/>
                <a:gd name="connsiteX228" fmla="*/ 6756 w 10000"/>
                <a:gd name="connsiteY228" fmla="*/ 715 h 10010"/>
                <a:gd name="connsiteX229" fmla="*/ 6594 w 10000"/>
                <a:gd name="connsiteY229" fmla="*/ 725 h 10010"/>
                <a:gd name="connsiteX230" fmla="*/ 6223 w 10000"/>
                <a:gd name="connsiteY230" fmla="*/ 876 h 10010"/>
                <a:gd name="connsiteX231" fmla="*/ 6125 w 10000"/>
                <a:gd name="connsiteY231" fmla="*/ 1027 h 10010"/>
                <a:gd name="connsiteX232" fmla="*/ 5845 w 10000"/>
                <a:gd name="connsiteY232" fmla="*/ 1163 h 10010"/>
                <a:gd name="connsiteX233" fmla="*/ 5794 w 10000"/>
                <a:gd name="connsiteY233" fmla="*/ 1232 h 10010"/>
                <a:gd name="connsiteX234" fmla="*/ 5940 w 10000"/>
                <a:gd name="connsiteY234" fmla="*/ 1354 h 10010"/>
                <a:gd name="connsiteX235" fmla="*/ 5956 w 10000"/>
                <a:gd name="connsiteY235" fmla="*/ 1422 h 10010"/>
                <a:gd name="connsiteX236" fmla="*/ 5190 w 10000"/>
                <a:gd name="connsiteY236" fmla="*/ 1823 h 10010"/>
                <a:gd name="connsiteX237" fmla="*/ 4955 w 10000"/>
                <a:gd name="connsiteY237" fmla="*/ 2080 h 10010"/>
                <a:gd name="connsiteX238" fmla="*/ 4702 w 10000"/>
                <a:gd name="connsiteY238" fmla="*/ 2145 h 10010"/>
                <a:gd name="connsiteX239" fmla="*/ 4540 w 10000"/>
                <a:gd name="connsiteY239" fmla="*/ 2141 h 10010"/>
                <a:gd name="connsiteX240" fmla="*/ 4443 w 10000"/>
                <a:gd name="connsiteY240" fmla="*/ 2163 h 10010"/>
                <a:gd name="connsiteX241" fmla="*/ 4178 w 10000"/>
                <a:gd name="connsiteY241" fmla="*/ 2803 h 10010"/>
                <a:gd name="connsiteX242" fmla="*/ 3565 w 10000"/>
                <a:gd name="connsiteY242" fmla="*/ 3176 h 10010"/>
                <a:gd name="connsiteX243" fmla="*/ 3569 w 10000"/>
                <a:gd name="connsiteY243" fmla="*/ 3235 h 10010"/>
                <a:gd name="connsiteX244" fmla="*/ 3841 w 10000"/>
                <a:gd name="connsiteY244" fmla="*/ 3402 h 10010"/>
                <a:gd name="connsiteX245" fmla="*/ 3753 w 10000"/>
                <a:gd name="connsiteY245" fmla="*/ 3583 h 10010"/>
                <a:gd name="connsiteX246" fmla="*/ 3594 w 10000"/>
                <a:gd name="connsiteY246" fmla="*/ 3650 h 10010"/>
                <a:gd name="connsiteX247" fmla="*/ 3118 w 10000"/>
                <a:gd name="connsiteY247" fmla="*/ 3605 h 10010"/>
                <a:gd name="connsiteX248" fmla="*/ 2791 w 10000"/>
                <a:gd name="connsiteY248" fmla="*/ 3630 h 10010"/>
                <a:gd name="connsiteX249" fmla="*/ 2528 w 10000"/>
                <a:gd name="connsiteY249" fmla="*/ 3683 h 10010"/>
                <a:gd name="connsiteX250" fmla="*/ 2102 w 10000"/>
                <a:gd name="connsiteY250" fmla="*/ 3850 h 10010"/>
                <a:gd name="connsiteX251" fmla="*/ 1877 w 10000"/>
                <a:gd name="connsiteY251" fmla="*/ 4052 h 10010"/>
                <a:gd name="connsiteX252" fmla="*/ 1896 w 10000"/>
                <a:gd name="connsiteY252" fmla="*/ 4164 h 10010"/>
                <a:gd name="connsiteX253" fmla="*/ 1975 w 10000"/>
                <a:gd name="connsiteY253" fmla="*/ 4251 h 10010"/>
                <a:gd name="connsiteX254" fmla="*/ 2034 w 10000"/>
                <a:gd name="connsiteY254" fmla="*/ 4286 h 10010"/>
                <a:gd name="connsiteX255" fmla="*/ 1924 w 10000"/>
                <a:gd name="connsiteY255" fmla="*/ 4341 h 10010"/>
                <a:gd name="connsiteX256" fmla="*/ 1683 w 10000"/>
                <a:gd name="connsiteY256" fmla="*/ 4720 h 10010"/>
                <a:gd name="connsiteX257" fmla="*/ 1729 w 10000"/>
                <a:gd name="connsiteY257" fmla="*/ 4742 h 10010"/>
                <a:gd name="connsiteX258" fmla="*/ 1764 w 10000"/>
                <a:gd name="connsiteY258" fmla="*/ 4838 h 10010"/>
                <a:gd name="connsiteX259" fmla="*/ 1652 w 10000"/>
                <a:gd name="connsiteY259" fmla="*/ 5237 h 10010"/>
                <a:gd name="connsiteX260" fmla="*/ 1764 w 10000"/>
                <a:gd name="connsiteY260" fmla="*/ 5339 h 10010"/>
                <a:gd name="connsiteX261" fmla="*/ 2071 w 10000"/>
                <a:gd name="connsiteY261" fmla="*/ 5451 h 10010"/>
                <a:gd name="connsiteX262" fmla="*/ 2085 w 10000"/>
                <a:gd name="connsiteY262" fmla="*/ 5588 h 10010"/>
                <a:gd name="connsiteX263" fmla="*/ 1954 w 10000"/>
                <a:gd name="connsiteY263" fmla="*/ 5700 h 10010"/>
                <a:gd name="connsiteX264" fmla="*/ 1764 w 10000"/>
                <a:gd name="connsiteY264" fmla="*/ 5769 h 10010"/>
                <a:gd name="connsiteX265" fmla="*/ 1513 w 10000"/>
                <a:gd name="connsiteY265" fmla="*/ 5797 h 10010"/>
                <a:gd name="connsiteX266" fmla="*/ 1448 w 10000"/>
                <a:gd name="connsiteY266" fmla="*/ 5836 h 10010"/>
                <a:gd name="connsiteX267" fmla="*/ 1594 w 10000"/>
                <a:gd name="connsiteY267" fmla="*/ 5930 h 10010"/>
                <a:gd name="connsiteX268" fmla="*/ 1678 w 10000"/>
                <a:gd name="connsiteY268" fmla="*/ 6152 h 10010"/>
                <a:gd name="connsiteX269" fmla="*/ 1488 w 10000"/>
                <a:gd name="connsiteY269" fmla="*/ 6343 h 10010"/>
                <a:gd name="connsiteX270" fmla="*/ 1554 w 10000"/>
                <a:gd name="connsiteY270" fmla="*/ 6402 h 10010"/>
                <a:gd name="connsiteX271" fmla="*/ 1494 w 10000"/>
                <a:gd name="connsiteY271" fmla="*/ 6502 h 10010"/>
                <a:gd name="connsiteX272" fmla="*/ 1372 w 10000"/>
                <a:gd name="connsiteY272" fmla="*/ 6571 h 10010"/>
                <a:gd name="connsiteX273" fmla="*/ 889 w 10000"/>
                <a:gd name="connsiteY273" fmla="*/ 6624 h 10010"/>
                <a:gd name="connsiteX274" fmla="*/ 860 w 10000"/>
                <a:gd name="connsiteY274" fmla="*/ 6716 h 10010"/>
                <a:gd name="connsiteX275" fmla="*/ 600 w 10000"/>
                <a:gd name="connsiteY275" fmla="*/ 6853 h 10010"/>
                <a:gd name="connsiteX276" fmla="*/ 634 w 10000"/>
                <a:gd name="connsiteY276" fmla="*/ 7050 h 10010"/>
                <a:gd name="connsiteX277" fmla="*/ 415 w 10000"/>
                <a:gd name="connsiteY277" fmla="*/ 7303 h 10010"/>
                <a:gd name="connsiteX278" fmla="*/ 266 w 10000"/>
                <a:gd name="connsiteY278" fmla="*/ 7333 h 10010"/>
                <a:gd name="connsiteX279" fmla="*/ 204 w 10000"/>
                <a:gd name="connsiteY279" fmla="*/ 7272 h 10010"/>
                <a:gd name="connsiteX280" fmla="*/ 128 w 10000"/>
                <a:gd name="connsiteY280" fmla="*/ 7364 h 10010"/>
                <a:gd name="connsiteX281" fmla="*/ 178 w 10000"/>
                <a:gd name="connsiteY281" fmla="*/ 7207 h 10010"/>
                <a:gd name="connsiteX282" fmla="*/ 147 w 10000"/>
                <a:gd name="connsiteY282" fmla="*/ 7176 h 10010"/>
                <a:gd name="connsiteX0" fmla="*/ 147 w 10000"/>
                <a:gd name="connsiteY0" fmla="*/ 7176 h 10010"/>
                <a:gd name="connsiteX1" fmla="*/ 0 w 10000"/>
                <a:gd name="connsiteY1" fmla="*/ 7258 h 10010"/>
                <a:gd name="connsiteX2" fmla="*/ 0 w 10000"/>
                <a:gd name="connsiteY2" fmla="*/ 7661 h 10010"/>
                <a:gd name="connsiteX3" fmla="*/ 81 w 10000"/>
                <a:gd name="connsiteY3" fmla="*/ 7673 h 10010"/>
                <a:gd name="connsiteX4" fmla="*/ 100 w 10000"/>
                <a:gd name="connsiteY4" fmla="*/ 7704 h 10010"/>
                <a:gd name="connsiteX5" fmla="*/ 96 w 10000"/>
                <a:gd name="connsiteY5" fmla="*/ 7759 h 10010"/>
                <a:gd name="connsiteX6" fmla="*/ 66 w 10000"/>
                <a:gd name="connsiteY6" fmla="*/ 7783 h 10010"/>
                <a:gd name="connsiteX7" fmla="*/ 190 w 10000"/>
                <a:gd name="connsiteY7" fmla="*/ 7737 h 10010"/>
                <a:gd name="connsiteX8" fmla="*/ 242 w 10000"/>
                <a:gd name="connsiteY8" fmla="*/ 7690 h 10010"/>
                <a:gd name="connsiteX9" fmla="*/ 306 w 10000"/>
                <a:gd name="connsiteY9" fmla="*/ 7722 h 10010"/>
                <a:gd name="connsiteX10" fmla="*/ 235 w 10000"/>
                <a:gd name="connsiteY10" fmla="*/ 7788 h 10010"/>
                <a:gd name="connsiteX11" fmla="*/ 311 w 10000"/>
                <a:gd name="connsiteY11" fmla="*/ 7790 h 10010"/>
                <a:gd name="connsiteX12" fmla="*/ 348 w 10000"/>
                <a:gd name="connsiteY12" fmla="*/ 7806 h 10010"/>
                <a:gd name="connsiteX13" fmla="*/ 250 w 10000"/>
                <a:gd name="connsiteY13" fmla="*/ 7828 h 10010"/>
                <a:gd name="connsiteX14" fmla="*/ 96 w 10000"/>
                <a:gd name="connsiteY14" fmla="*/ 7896 h 10010"/>
                <a:gd name="connsiteX15" fmla="*/ 370 w 10000"/>
                <a:gd name="connsiteY15" fmla="*/ 7948 h 10010"/>
                <a:gd name="connsiteX16" fmla="*/ 404 w 10000"/>
                <a:gd name="connsiteY16" fmla="*/ 8024 h 10010"/>
                <a:gd name="connsiteX17" fmla="*/ 311 w 10000"/>
                <a:gd name="connsiteY17" fmla="*/ 8136 h 10010"/>
                <a:gd name="connsiteX18" fmla="*/ 511 w 10000"/>
                <a:gd name="connsiteY18" fmla="*/ 8128 h 10010"/>
                <a:gd name="connsiteX19" fmla="*/ 526 w 10000"/>
                <a:gd name="connsiteY19" fmla="*/ 8213 h 10010"/>
                <a:gd name="connsiteX20" fmla="*/ 393 w 10000"/>
                <a:gd name="connsiteY20" fmla="*/ 8270 h 10010"/>
                <a:gd name="connsiteX21" fmla="*/ 415 w 10000"/>
                <a:gd name="connsiteY21" fmla="*/ 8380 h 10010"/>
                <a:gd name="connsiteX22" fmla="*/ 364 w 10000"/>
                <a:gd name="connsiteY22" fmla="*/ 8466 h 10010"/>
                <a:gd name="connsiteX23" fmla="*/ 521 w 10000"/>
                <a:gd name="connsiteY23" fmla="*/ 8474 h 10010"/>
                <a:gd name="connsiteX24" fmla="*/ 676 w 10000"/>
                <a:gd name="connsiteY24" fmla="*/ 8802 h 10010"/>
                <a:gd name="connsiteX25" fmla="*/ 853 w 10000"/>
                <a:gd name="connsiteY25" fmla="*/ 8886 h 10010"/>
                <a:gd name="connsiteX26" fmla="*/ 931 w 10000"/>
                <a:gd name="connsiteY26" fmla="*/ 8975 h 10010"/>
                <a:gd name="connsiteX27" fmla="*/ 1125 w 10000"/>
                <a:gd name="connsiteY27" fmla="*/ 9040 h 10010"/>
                <a:gd name="connsiteX28" fmla="*/ 1249 w 10000"/>
                <a:gd name="connsiteY28" fmla="*/ 9122 h 10010"/>
                <a:gd name="connsiteX29" fmla="*/ 1233 w 10000"/>
                <a:gd name="connsiteY29" fmla="*/ 9181 h 10010"/>
                <a:gd name="connsiteX30" fmla="*/ 1110 w 10000"/>
                <a:gd name="connsiteY30" fmla="*/ 9203 h 10010"/>
                <a:gd name="connsiteX31" fmla="*/ 976 w 10000"/>
                <a:gd name="connsiteY31" fmla="*/ 9189 h 10010"/>
                <a:gd name="connsiteX32" fmla="*/ 935 w 10000"/>
                <a:gd name="connsiteY32" fmla="*/ 9214 h 10010"/>
                <a:gd name="connsiteX33" fmla="*/ 1037 w 10000"/>
                <a:gd name="connsiteY33" fmla="*/ 9342 h 10010"/>
                <a:gd name="connsiteX34" fmla="*/ 894 w 10000"/>
                <a:gd name="connsiteY34" fmla="*/ 9332 h 10010"/>
                <a:gd name="connsiteX35" fmla="*/ 773 w 10000"/>
                <a:gd name="connsiteY35" fmla="*/ 9301 h 10010"/>
                <a:gd name="connsiteX36" fmla="*/ 750 w 10000"/>
                <a:gd name="connsiteY36" fmla="*/ 9348 h 10010"/>
                <a:gd name="connsiteX37" fmla="*/ 1155 w 10000"/>
                <a:gd name="connsiteY37" fmla="*/ 9786 h 10010"/>
                <a:gd name="connsiteX38" fmla="*/ 1091 w 10000"/>
                <a:gd name="connsiteY38" fmla="*/ 9827 h 10010"/>
                <a:gd name="connsiteX39" fmla="*/ 1045 w 10000"/>
                <a:gd name="connsiteY39" fmla="*/ 9912 h 10010"/>
                <a:gd name="connsiteX40" fmla="*/ 987 w 10000"/>
                <a:gd name="connsiteY40" fmla="*/ 9918 h 10010"/>
                <a:gd name="connsiteX41" fmla="*/ 951 w 10000"/>
                <a:gd name="connsiteY41" fmla="*/ 9955 h 10010"/>
                <a:gd name="connsiteX42" fmla="*/ 1195 w 10000"/>
                <a:gd name="connsiteY42" fmla="*/ 9959 h 10010"/>
                <a:gd name="connsiteX43" fmla="*/ 1410 w 10000"/>
                <a:gd name="connsiteY43" fmla="*/ 9996 h 10010"/>
                <a:gd name="connsiteX44" fmla="*/ 1769 w 10000"/>
                <a:gd name="connsiteY44" fmla="*/ 9957 h 10010"/>
                <a:gd name="connsiteX45" fmla="*/ 2091 w 10000"/>
                <a:gd name="connsiteY45" fmla="*/ 9963 h 10010"/>
                <a:gd name="connsiteX46" fmla="*/ 2280 w 10000"/>
                <a:gd name="connsiteY46" fmla="*/ 10010 h 10010"/>
                <a:gd name="connsiteX47" fmla="*/ 2385 w 10000"/>
                <a:gd name="connsiteY47" fmla="*/ 9979 h 10010"/>
                <a:gd name="connsiteX48" fmla="*/ 2485 w 10000"/>
                <a:gd name="connsiteY48" fmla="*/ 9878 h 10010"/>
                <a:gd name="connsiteX49" fmla="*/ 2459 w 10000"/>
                <a:gd name="connsiteY49" fmla="*/ 9713 h 10010"/>
                <a:gd name="connsiteX50" fmla="*/ 2704 w 10000"/>
                <a:gd name="connsiteY50" fmla="*/ 9527 h 10010"/>
                <a:gd name="connsiteX51" fmla="*/ 2883 w 10000"/>
                <a:gd name="connsiteY51" fmla="*/ 9556 h 10010"/>
                <a:gd name="connsiteX52" fmla="*/ 2987 w 10000"/>
                <a:gd name="connsiteY52" fmla="*/ 9482 h 10010"/>
                <a:gd name="connsiteX53" fmla="*/ 3186 w 10000"/>
                <a:gd name="connsiteY53" fmla="*/ 9440 h 10010"/>
                <a:gd name="connsiteX54" fmla="*/ 3457 w 10000"/>
                <a:gd name="connsiteY54" fmla="*/ 9450 h 10010"/>
                <a:gd name="connsiteX55" fmla="*/ 3620 w 10000"/>
                <a:gd name="connsiteY55" fmla="*/ 9480 h 10010"/>
                <a:gd name="connsiteX56" fmla="*/ 3837 w 10000"/>
                <a:gd name="connsiteY56" fmla="*/ 9466 h 10010"/>
                <a:gd name="connsiteX57" fmla="*/ 4056 w 10000"/>
                <a:gd name="connsiteY57" fmla="*/ 9499 h 10010"/>
                <a:gd name="connsiteX58" fmla="*/ 4275 w 10000"/>
                <a:gd name="connsiteY58" fmla="*/ 9503 h 10010"/>
                <a:gd name="connsiteX59" fmla="*/ 4765 w 10000"/>
                <a:gd name="connsiteY59" fmla="*/ 9071 h 10010"/>
                <a:gd name="connsiteX60" fmla="*/ 4889 w 10000"/>
                <a:gd name="connsiteY60" fmla="*/ 8721 h 10010"/>
                <a:gd name="connsiteX61" fmla="*/ 5088 w 10000"/>
                <a:gd name="connsiteY61" fmla="*/ 8564 h 10010"/>
                <a:gd name="connsiteX62" fmla="*/ 5088 w 10000"/>
                <a:gd name="connsiteY62" fmla="*/ 8482 h 10010"/>
                <a:gd name="connsiteX63" fmla="*/ 5016 w 10000"/>
                <a:gd name="connsiteY63" fmla="*/ 8435 h 10010"/>
                <a:gd name="connsiteX64" fmla="*/ 5133 w 10000"/>
                <a:gd name="connsiteY64" fmla="*/ 8362 h 10010"/>
                <a:gd name="connsiteX65" fmla="*/ 5112 w 10000"/>
                <a:gd name="connsiteY65" fmla="*/ 8299 h 10010"/>
                <a:gd name="connsiteX66" fmla="*/ 5032 w 10000"/>
                <a:gd name="connsiteY66" fmla="*/ 8246 h 10010"/>
                <a:gd name="connsiteX67" fmla="*/ 5016 w 10000"/>
                <a:gd name="connsiteY67" fmla="*/ 8209 h 10010"/>
                <a:gd name="connsiteX68" fmla="*/ 5036 w 10000"/>
                <a:gd name="connsiteY68" fmla="*/ 8179 h 10010"/>
                <a:gd name="connsiteX69" fmla="*/ 5144 w 10000"/>
                <a:gd name="connsiteY69" fmla="*/ 8203 h 10010"/>
                <a:gd name="connsiteX70" fmla="*/ 5230 w 10000"/>
                <a:gd name="connsiteY70" fmla="*/ 8201 h 10010"/>
                <a:gd name="connsiteX71" fmla="*/ 5184 w 10000"/>
                <a:gd name="connsiteY71" fmla="*/ 8150 h 10010"/>
                <a:gd name="connsiteX72" fmla="*/ 5198 w 10000"/>
                <a:gd name="connsiteY72" fmla="*/ 8122 h 10010"/>
                <a:gd name="connsiteX73" fmla="*/ 5262 w 10000"/>
                <a:gd name="connsiteY73" fmla="*/ 8079 h 10010"/>
                <a:gd name="connsiteX74" fmla="*/ 5250 w 10000"/>
                <a:gd name="connsiteY74" fmla="*/ 8044 h 10010"/>
                <a:gd name="connsiteX75" fmla="*/ 5309 w 10000"/>
                <a:gd name="connsiteY75" fmla="*/ 7926 h 10010"/>
                <a:gd name="connsiteX76" fmla="*/ 5293 w 10000"/>
                <a:gd name="connsiteY76" fmla="*/ 7891 h 10010"/>
                <a:gd name="connsiteX77" fmla="*/ 4996 w 10000"/>
                <a:gd name="connsiteY77" fmla="*/ 7802 h 10010"/>
                <a:gd name="connsiteX78" fmla="*/ 5036 w 10000"/>
                <a:gd name="connsiteY78" fmla="*/ 7798 h 10010"/>
                <a:gd name="connsiteX79" fmla="*/ 5194 w 10000"/>
                <a:gd name="connsiteY79" fmla="*/ 7822 h 10010"/>
                <a:gd name="connsiteX80" fmla="*/ 5365 w 10000"/>
                <a:gd name="connsiteY80" fmla="*/ 7814 h 10010"/>
                <a:gd name="connsiteX81" fmla="*/ 5415 w 10000"/>
                <a:gd name="connsiteY81" fmla="*/ 7781 h 10010"/>
                <a:gd name="connsiteX82" fmla="*/ 5250 w 10000"/>
                <a:gd name="connsiteY82" fmla="*/ 7720 h 10010"/>
                <a:gd name="connsiteX83" fmla="*/ 4761 w 10000"/>
                <a:gd name="connsiteY83" fmla="*/ 7680 h 10010"/>
                <a:gd name="connsiteX84" fmla="*/ 4794 w 10000"/>
                <a:gd name="connsiteY84" fmla="*/ 7661 h 10010"/>
                <a:gd name="connsiteX85" fmla="*/ 5194 w 10000"/>
                <a:gd name="connsiteY85" fmla="*/ 7649 h 10010"/>
                <a:gd name="connsiteX86" fmla="*/ 5415 w 10000"/>
                <a:gd name="connsiteY86" fmla="*/ 7686 h 10010"/>
                <a:gd name="connsiteX87" fmla="*/ 5542 w 10000"/>
                <a:gd name="connsiteY87" fmla="*/ 7661 h 10010"/>
                <a:gd name="connsiteX88" fmla="*/ 5589 w 10000"/>
                <a:gd name="connsiteY88" fmla="*/ 7598 h 10010"/>
                <a:gd name="connsiteX89" fmla="*/ 5819 w 10000"/>
                <a:gd name="connsiteY89" fmla="*/ 7598 h 10010"/>
                <a:gd name="connsiteX90" fmla="*/ 6131 w 10000"/>
                <a:gd name="connsiteY90" fmla="*/ 7472 h 10010"/>
                <a:gd name="connsiteX91" fmla="*/ 6142 w 10000"/>
                <a:gd name="connsiteY91" fmla="*/ 7388 h 10010"/>
                <a:gd name="connsiteX92" fmla="*/ 6274 w 10000"/>
                <a:gd name="connsiteY92" fmla="*/ 7407 h 10010"/>
                <a:gd name="connsiteX93" fmla="*/ 6268 w 10000"/>
                <a:gd name="connsiteY93" fmla="*/ 7492 h 10010"/>
                <a:gd name="connsiteX94" fmla="*/ 6478 w 10000"/>
                <a:gd name="connsiteY94" fmla="*/ 7486 h 10010"/>
                <a:gd name="connsiteX95" fmla="*/ 6616 w 10000"/>
                <a:gd name="connsiteY95" fmla="*/ 7398 h 10010"/>
                <a:gd name="connsiteX96" fmla="*/ 6872 w 10000"/>
                <a:gd name="connsiteY96" fmla="*/ 7319 h 10010"/>
                <a:gd name="connsiteX97" fmla="*/ 6832 w 10000"/>
                <a:gd name="connsiteY97" fmla="*/ 7229 h 10010"/>
                <a:gd name="connsiteX98" fmla="*/ 6908 w 10000"/>
                <a:gd name="connsiteY98" fmla="*/ 7264 h 10010"/>
                <a:gd name="connsiteX99" fmla="*/ 7025 w 10000"/>
                <a:gd name="connsiteY99" fmla="*/ 7264 h 10010"/>
                <a:gd name="connsiteX100" fmla="*/ 7025 w 10000"/>
                <a:gd name="connsiteY100" fmla="*/ 7223 h 10010"/>
                <a:gd name="connsiteX101" fmla="*/ 7134 w 10000"/>
                <a:gd name="connsiteY101" fmla="*/ 7191 h 10010"/>
                <a:gd name="connsiteX102" fmla="*/ 7119 w 10000"/>
                <a:gd name="connsiteY102" fmla="*/ 7158 h 10010"/>
                <a:gd name="connsiteX103" fmla="*/ 6198 w 10000"/>
                <a:gd name="connsiteY103" fmla="*/ 7225 h 10010"/>
                <a:gd name="connsiteX104" fmla="*/ 5983 w 10000"/>
                <a:gd name="connsiteY104" fmla="*/ 7205 h 10010"/>
                <a:gd name="connsiteX105" fmla="*/ 5895 w 10000"/>
                <a:gd name="connsiteY105" fmla="*/ 7229 h 10010"/>
                <a:gd name="connsiteX106" fmla="*/ 5866 w 10000"/>
                <a:gd name="connsiteY106" fmla="*/ 7183 h 10010"/>
                <a:gd name="connsiteX107" fmla="*/ 5764 w 10000"/>
                <a:gd name="connsiteY107" fmla="*/ 7142 h 10010"/>
                <a:gd name="connsiteX108" fmla="*/ 5354 w 10000"/>
                <a:gd name="connsiteY108" fmla="*/ 7062 h 10010"/>
                <a:gd name="connsiteX109" fmla="*/ 5112 w 10000"/>
                <a:gd name="connsiteY109" fmla="*/ 7075 h 10010"/>
                <a:gd name="connsiteX110" fmla="*/ 5016 w 10000"/>
                <a:gd name="connsiteY110" fmla="*/ 7052 h 10010"/>
                <a:gd name="connsiteX111" fmla="*/ 5118 w 10000"/>
                <a:gd name="connsiteY111" fmla="*/ 7032 h 10010"/>
                <a:gd name="connsiteX112" fmla="*/ 5194 w 10000"/>
                <a:gd name="connsiteY112" fmla="*/ 6989 h 10010"/>
                <a:gd name="connsiteX113" fmla="*/ 5309 w 10000"/>
                <a:gd name="connsiteY113" fmla="*/ 7003 h 10010"/>
                <a:gd name="connsiteX114" fmla="*/ 5445 w 10000"/>
                <a:gd name="connsiteY114" fmla="*/ 6991 h 10010"/>
                <a:gd name="connsiteX115" fmla="*/ 5650 w 10000"/>
                <a:gd name="connsiteY115" fmla="*/ 7005 h 10010"/>
                <a:gd name="connsiteX116" fmla="*/ 5675 w 10000"/>
                <a:gd name="connsiteY116" fmla="*/ 6999 h 10010"/>
                <a:gd name="connsiteX117" fmla="*/ 5834 w 10000"/>
                <a:gd name="connsiteY117" fmla="*/ 7066 h 10010"/>
                <a:gd name="connsiteX118" fmla="*/ 5951 w 10000"/>
                <a:gd name="connsiteY118" fmla="*/ 7042 h 10010"/>
                <a:gd name="connsiteX119" fmla="*/ 5961 w 10000"/>
                <a:gd name="connsiteY119" fmla="*/ 7020 h 10010"/>
                <a:gd name="connsiteX120" fmla="*/ 6069 w 10000"/>
                <a:gd name="connsiteY120" fmla="*/ 7058 h 10010"/>
                <a:gd name="connsiteX121" fmla="*/ 6212 w 10000"/>
                <a:gd name="connsiteY121" fmla="*/ 7079 h 10010"/>
                <a:gd name="connsiteX122" fmla="*/ 6268 w 10000"/>
                <a:gd name="connsiteY122" fmla="*/ 7040 h 10010"/>
                <a:gd name="connsiteX123" fmla="*/ 6314 w 10000"/>
                <a:gd name="connsiteY123" fmla="*/ 7062 h 10010"/>
                <a:gd name="connsiteX124" fmla="*/ 6381 w 10000"/>
                <a:gd name="connsiteY124" fmla="*/ 7136 h 10010"/>
                <a:gd name="connsiteX125" fmla="*/ 6519 w 10000"/>
                <a:gd name="connsiteY125" fmla="*/ 7154 h 10010"/>
                <a:gd name="connsiteX126" fmla="*/ 7082 w 10000"/>
                <a:gd name="connsiteY126" fmla="*/ 7044 h 10010"/>
                <a:gd name="connsiteX127" fmla="*/ 7359 w 10000"/>
                <a:gd name="connsiteY127" fmla="*/ 6889 h 10010"/>
                <a:gd name="connsiteX128" fmla="*/ 7423 w 10000"/>
                <a:gd name="connsiteY128" fmla="*/ 6775 h 10010"/>
                <a:gd name="connsiteX129" fmla="*/ 7323 w 10000"/>
                <a:gd name="connsiteY129" fmla="*/ 6673 h 10010"/>
                <a:gd name="connsiteX130" fmla="*/ 7113 w 10000"/>
                <a:gd name="connsiteY130" fmla="*/ 6612 h 10010"/>
                <a:gd name="connsiteX131" fmla="*/ 6963 w 10000"/>
                <a:gd name="connsiteY131" fmla="*/ 6512 h 10010"/>
                <a:gd name="connsiteX132" fmla="*/ 7102 w 10000"/>
                <a:gd name="connsiteY132" fmla="*/ 6508 h 10010"/>
                <a:gd name="connsiteX133" fmla="*/ 7093 w 10000"/>
                <a:gd name="connsiteY133" fmla="*/ 6484 h 10010"/>
                <a:gd name="connsiteX134" fmla="*/ 6731 w 10000"/>
                <a:gd name="connsiteY134" fmla="*/ 6413 h 10010"/>
                <a:gd name="connsiteX135" fmla="*/ 6716 w 10000"/>
                <a:gd name="connsiteY135" fmla="*/ 6349 h 10010"/>
                <a:gd name="connsiteX136" fmla="*/ 6646 w 10000"/>
                <a:gd name="connsiteY136" fmla="*/ 6282 h 10010"/>
                <a:gd name="connsiteX137" fmla="*/ 6360 w 10000"/>
                <a:gd name="connsiteY137" fmla="*/ 6294 h 10010"/>
                <a:gd name="connsiteX138" fmla="*/ 6258 w 10000"/>
                <a:gd name="connsiteY138" fmla="*/ 6223 h 10010"/>
                <a:gd name="connsiteX139" fmla="*/ 6198 w 10000"/>
                <a:gd name="connsiteY139" fmla="*/ 6219 h 10010"/>
                <a:gd name="connsiteX140" fmla="*/ 6198 w 10000"/>
                <a:gd name="connsiteY140" fmla="*/ 6248 h 10010"/>
                <a:gd name="connsiteX141" fmla="*/ 6069 w 10000"/>
                <a:gd name="connsiteY141" fmla="*/ 6368 h 10010"/>
                <a:gd name="connsiteX142" fmla="*/ 5930 w 10000"/>
                <a:gd name="connsiteY142" fmla="*/ 6439 h 10010"/>
                <a:gd name="connsiteX143" fmla="*/ 5495 w 10000"/>
                <a:gd name="connsiteY143" fmla="*/ 6561 h 10010"/>
                <a:gd name="connsiteX144" fmla="*/ 5342 w 10000"/>
                <a:gd name="connsiteY144" fmla="*/ 6557 h 10010"/>
                <a:gd name="connsiteX145" fmla="*/ 5133 w 10000"/>
                <a:gd name="connsiteY145" fmla="*/ 6575 h 10010"/>
                <a:gd name="connsiteX146" fmla="*/ 5016 w 10000"/>
                <a:gd name="connsiteY146" fmla="*/ 6557 h 10010"/>
                <a:gd name="connsiteX147" fmla="*/ 5169 w 10000"/>
                <a:gd name="connsiteY147" fmla="*/ 6523 h 10010"/>
                <a:gd name="connsiteX148" fmla="*/ 5369 w 10000"/>
                <a:gd name="connsiteY148" fmla="*/ 6508 h 10010"/>
                <a:gd name="connsiteX149" fmla="*/ 5534 w 10000"/>
                <a:gd name="connsiteY149" fmla="*/ 6451 h 10010"/>
                <a:gd name="connsiteX150" fmla="*/ 5695 w 10000"/>
                <a:gd name="connsiteY150" fmla="*/ 6425 h 10010"/>
                <a:gd name="connsiteX151" fmla="*/ 5998 w 10000"/>
                <a:gd name="connsiteY151" fmla="*/ 6327 h 10010"/>
                <a:gd name="connsiteX152" fmla="*/ 6056 w 10000"/>
                <a:gd name="connsiteY152" fmla="*/ 6262 h 10010"/>
                <a:gd name="connsiteX153" fmla="*/ 6060 w 10000"/>
                <a:gd name="connsiteY153" fmla="*/ 6178 h 10010"/>
                <a:gd name="connsiteX154" fmla="*/ 5921 w 10000"/>
                <a:gd name="connsiteY154" fmla="*/ 6164 h 10010"/>
                <a:gd name="connsiteX155" fmla="*/ 5983 w 10000"/>
                <a:gd name="connsiteY155" fmla="*/ 6113 h 10010"/>
                <a:gd name="connsiteX156" fmla="*/ 6002 w 10000"/>
                <a:gd name="connsiteY156" fmla="*/ 6048 h 10010"/>
                <a:gd name="connsiteX157" fmla="*/ 5944 w 10000"/>
                <a:gd name="connsiteY157" fmla="*/ 5987 h 10010"/>
                <a:gd name="connsiteX158" fmla="*/ 5911 w 10000"/>
                <a:gd name="connsiteY158" fmla="*/ 5543 h 10010"/>
                <a:gd name="connsiteX159" fmla="*/ 5993 w 10000"/>
                <a:gd name="connsiteY159" fmla="*/ 5447 h 10010"/>
                <a:gd name="connsiteX160" fmla="*/ 5972 w 10000"/>
                <a:gd name="connsiteY160" fmla="*/ 5408 h 10010"/>
                <a:gd name="connsiteX161" fmla="*/ 6212 w 10000"/>
                <a:gd name="connsiteY161" fmla="*/ 5465 h 10010"/>
                <a:gd name="connsiteX162" fmla="*/ 6229 w 10000"/>
                <a:gd name="connsiteY162" fmla="*/ 5412 h 10010"/>
                <a:gd name="connsiteX163" fmla="*/ 6176 w 10000"/>
                <a:gd name="connsiteY163" fmla="*/ 5274 h 10010"/>
                <a:gd name="connsiteX164" fmla="*/ 6349 w 10000"/>
                <a:gd name="connsiteY164" fmla="*/ 5029 h 10010"/>
                <a:gd name="connsiteX165" fmla="*/ 6243 w 10000"/>
                <a:gd name="connsiteY165" fmla="*/ 4970 h 10010"/>
                <a:gd name="connsiteX166" fmla="*/ 6202 w 10000"/>
                <a:gd name="connsiteY166" fmla="*/ 4915 h 10010"/>
                <a:gd name="connsiteX167" fmla="*/ 6216 w 10000"/>
                <a:gd name="connsiteY167" fmla="*/ 4826 h 10010"/>
                <a:gd name="connsiteX168" fmla="*/ 6470 w 10000"/>
                <a:gd name="connsiteY168" fmla="*/ 4885 h 10010"/>
                <a:gd name="connsiteX169" fmla="*/ 6478 w 10000"/>
                <a:gd name="connsiteY169" fmla="*/ 4868 h 10010"/>
                <a:gd name="connsiteX170" fmla="*/ 6548 w 10000"/>
                <a:gd name="connsiteY170" fmla="*/ 4852 h 10010"/>
                <a:gd name="connsiteX171" fmla="*/ 6646 w 10000"/>
                <a:gd name="connsiteY171" fmla="*/ 4795 h 10010"/>
                <a:gd name="connsiteX172" fmla="*/ 6662 w 10000"/>
                <a:gd name="connsiteY172" fmla="*/ 4779 h 10010"/>
                <a:gd name="connsiteX173" fmla="*/ 6641 w 10000"/>
                <a:gd name="connsiteY173" fmla="*/ 4758 h 10010"/>
                <a:gd name="connsiteX174" fmla="*/ 6693 w 10000"/>
                <a:gd name="connsiteY174" fmla="*/ 4657 h 10010"/>
                <a:gd name="connsiteX175" fmla="*/ 6631 w 10000"/>
                <a:gd name="connsiteY175" fmla="*/ 4591 h 10010"/>
                <a:gd name="connsiteX176" fmla="*/ 6641 w 10000"/>
                <a:gd name="connsiteY176" fmla="*/ 4538 h 10010"/>
                <a:gd name="connsiteX177" fmla="*/ 6676 w 10000"/>
                <a:gd name="connsiteY177" fmla="*/ 4600 h 10010"/>
                <a:gd name="connsiteX178" fmla="*/ 6815 w 10000"/>
                <a:gd name="connsiteY178" fmla="*/ 4646 h 10010"/>
                <a:gd name="connsiteX179" fmla="*/ 6872 w 10000"/>
                <a:gd name="connsiteY179" fmla="*/ 4640 h 10010"/>
                <a:gd name="connsiteX180" fmla="*/ 6963 w 10000"/>
                <a:gd name="connsiteY180" fmla="*/ 4579 h 10010"/>
                <a:gd name="connsiteX181" fmla="*/ 7062 w 10000"/>
                <a:gd name="connsiteY181" fmla="*/ 4604 h 10010"/>
                <a:gd name="connsiteX182" fmla="*/ 7088 w 10000"/>
                <a:gd name="connsiteY182" fmla="*/ 4555 h 10010"/>
                <a:gd name="connsiteX183" fmla="*/ 7154 w 10000"/>
                <a:gd name="connsiteY183" fmla="*/ 4522 h 10010"/>
                <a:gd name="connsiteX184" fmla="*/ 6974 w 10000"/>
                <a:gd name="connsiteY184" fmla="*/ 4487 h 10010"/>
                <a:gd name="connsiteX185" fmla="*/ 7102 w 10000"/>
                <a:gd name="connsiteY185" fmla="*/ 4494 h 10010"/>
                <a:gd name="connsiteX186" fmla="*/ 7234 w 10000"/>
                <a:gd name="connsiteY186" fmla="*/ 4457 h 10010"/>
                <a:gd name="connsiteX187" fmla="*/ 7229 w 10000"/>
                <a:gd name="connsiteY187" fmla="*/ 4432 h 10010"/>
                <a:gd name="connsiteX188" fmla="*/ 7353 w 10000"/>
                <a:gd name="connsiteY188" fmla="*/ 4408 h 10010"/>
                <a:gd name="connsiteX189" fmla="*/ 7364 w 10000"/>
                <a:gd name="connsiteY189" fmla="*/ 4347 h 10010"/>
                <a:gd name="connsiteX190" fmla="*/ 7461 w 10000"/>
                <a:gd name="connsiteY190" fmla="*/ 4335 h 10010"/>
                <a:gd name="connsiteX191" fmla="*/ 7469 w 10000"/>
                <a:gd name="connsiteY191" fmla="*/ 4263 h 10010"/>
                <a:gd name="connsiteX192" fmla="*/ 7572 w 10000"/>
                <a:gd name="connsiteY192" fmla="*/ 4255 h 10010"/>
                <a:gd name="connsiteX193" fmla="*/ 7730 w 10000"/>
                <a:gd name="connsiteY193" fmla="*/ 4270 h 10010"/>
                <a:gd name="connsiteX194" fmla="*/ 7904 w 10000"/>
                <a:gd name="connsiteY194" fmla="*/ 4212 h 10010"/>
                <a:gd name="connsiteX195" fmla="*/ 7966 w 10000"/>
                <a:gd name="connsiteY195" fmla="*/ 4147 h 10010"/>
                <a:gd name="connsiteX196" fmla="*/ 8181 w 10000"/>
                <a:gd name="connsiteY196" fmla="*/ 4080 h 10010"/>
                <a:gd name="connsiteX197" fmla="*/ 8288 w 10000"/>
                <a:gd name="connsiteY197" fmla="*/ 4121 h 10010"/>
                <a:gd name="connsiteX198" fmla="*/ 8452 w 10000"/>
                <a:gd name="connsiteY198" fmla="*/ 4076 h 10010"/>
                <a:gd name="connsiteX199" fmla="*/ 8491 w 10000"/>
                <a:gd name="connsiteY199" fmla="*/ 4019 h 10010"/>
                <a:gd name="connsiteX200" fmla="*/ 8616 w 10000"/>
                <a:gd name="connsiteY200" fmla="*/ 3980 h 10010"/>
                <a:gd name="connsiteX201" fmla="*/ 8722 w 10000"/>
                <a:gd name="connsiteY201" fmla="*/ 3997 h 10010"/>
                <a:gd name="connsiteX202" fmla="*/ 8789 w 10000"/>
                <a:gd name="connsiteY202" fmla="*/ 3968 h 10010"/>
                <a:gd name="connsiteX203" fmla="*/ 8973 w 10000"/>
                <a:gd name="connsiteY203" fmla="*/ 3927 h 10010"/>
                <a:gd name="connsiteX204" fmla="*/ 9049 w 10000"/>
                <a:gd name="connsiteY204" fmla="*/ 3874 h 10010"/>
                <a:gd name="connsiteX205" fmla="*/ 9153 w 10000"/>
                <a:gd name="connsiteY205" fmla="*/ 3852 h 10010"/>
                <a:gd name="connsiteX206" fmla="*/ 9720 w 10000"/>
                <a:gd name="connsiteY206" fmla="*/ 3532 h 10010"/>
                <a:gd name="connsiteX207" fmla="*/ 9971 w 10000"/>
                <a:gd name="connsiteY207" fmla="*/ 399 h 10010"/>
                <a:gd name="connsiteX208" fmla="*/ 9049 w 10000"/>
                <a:gd name="connsiteY208" fmla="*/ 36 h 10010"/>
                <a:gd name="connsiteX209" fmla="*/ 8706 w 10000"/>
                <a:gd name="connsiteY209" fmla="*/ 10 h 10010"/>
                <a:gd name="connsiteX210" fmla="*/ 8706 w 10000"/>
                <a:gd name="connsiteY210" fmla="*/ 191 h 10010"/>
                <a:gd name="connsiteX211" fmla="*/ 8652 w 10000"/>
                <a:gd name="connsiteY211" fmla="*/ 218 h 10010"/>
                <a:gd name="connsiteX212" fmla="*/ 8610 w 10000"/>
                <a:gd name="connsiteY212" fmla="*/ 293 h 10010"/>
                <a:gd name="connsiteX213" fmla="*/ 8533 w 10000"/>
                <a:gd name="connsiteY213" fmla="*/ 346 h 10010"/>
                <a:gd name="connsiteX214" fmla="*/ 8550 w 10000"/>
                <a:gd name="connsiteY214" fmla="*/ 397 h 10010"/>
                <a:gd name="connsiteX215" fmla="*/ 8667 w 10000"/>
                <a:gd name="connsiteY215" fmla="*/ 444 h 10010"/>
                <a:gd name="connsiteX216" fmla="*/ 8591 w 10000"/>
                <a:gd name="connsiteY216" fmla="*/ 485 h 10010"/>
                <a:gd name="connsiteX217" fmla="*/ 8477 w 10000"/>
                <a:gd name="connsiteY217" fmla="*/ 495 h 10010"/>
                <a:gd name="connsiteX218" fmla="*/ 7537 w 10000"/>
                <a:gd name="connsiteY218" fmla="*/ 397 h 10010"/>
                <a:gd name="connsiteX219" fmla="*/ 7423 w 10000"/>
                <a:gd name="connsiteY219" fmla="*/ 405 h 10010"/>
                <a:gd name="connsiteX220" fmla="*/ 7359 w 10000"/>
                <a:gd name="connsiteY220" fmla="*/ 424 h 10010"/>
                <a:gd name="connsiteX221" fmla="*/ 7290 w 10000"/>
                <a:gd name="connsiteY221" fmla="*/ 472 h 10010"/>
                <a:gd name="connsiteX222" fmla="*/ 7302 w 10000"/>
                <a:gd name="connsiteY222" fmla="*/ 591 h 10010"/>
                <a:gd name="connsiteX223" fmla="*/ 7199 w 10000"/>
                <a:gd name="connsiteY223" fmla="*/ 745 h 10010"/>
                <a:gd name="connsiteX224" fmla="*/ 7072 w 10000"/>
                <a:gd name="connsiteY224" fmla="*/ 825 h 10010"/>
                <a:gd name="connsiteX225" fmla="*/ 7021 w 10000"/>
                <a:gd name="connsiteY225" fmla="*/ 815 h 10010"/>
                <a:gd name="connsiteX226" fmla="*/ 6903 w 10000"/>
                <a:gd name="connsiteY226" fmla="*/ 749 h 10010"/>
                <a:gd name="connsiteX227" fmla="*/ 6756 w 10000"/>
                <a:gd name="connsiteY227" fmla="*/ 715 h 10010"/>
                <a:gd name="connsiteX228" fmla="*/ 6594 w 10000"/>
                <a:gd name="connsiteY228" fmla="*/ 725 h 10010"/>
                <a:gd name="connsiteX229" fmla="*/ 6223 w 10000"/>
                <a:gd name="connsiteY229" fmla="*/ 876 h 10010"/>
                <a:gd name="connsiteX230" fmla="*/ 6125 w 10000"/>
                <a:gd name="connsiteY230" fmla="*/ 1027 h 10010"/>
                <a:gd name="connsiteX231" fmla="*/ 5845 w 10000"/>
                <a:gd name="connsiteY231" fmla="*/ 1163 h 10010"/>
                <a:gd name="connsiteX232" fmla="*/ 5794 w 10000"/>
                <a:gd name="connsiteY232" fmla="*/ 1232 h 10010"/>
                <a:gd name="connsiteX233" fmla="*/ 5940 w 10000"/>
                <a:gd name="connsiteY233" fmla="*/ 1354 h 10010"/>
                <a:gd name="connsiteX234" fmla="*/ 5956 w 10000"/>
                <a:gd name="connsiteY234" fmla="*/ 1422 h 10010"/>
                <a:gd name="connsiteX235" fmla="*/ 5190 w 10000"/>
                <a:gd name="connsiteY235" fmla="*/ 1823 h 10010"/>
                <a:gd name="connsiteX236" fmla="*/ 4955 w 10000"/>
                <a:gd name="connsiteY236" fmla="*/ 2080 h 10010"/>
                <a:gd name="connsiteX237" fmla="*/ 4702 w 10000"/>
                <a:gd name="connsiteY237" fmla="*/ 2145 h 10010"/>
                <a:gd name="connsiteX238" fmla="*/ 4540 w 10000"/>
                <a:gd name="connsiteY238" fmla="*/ 2141 h 10010"/>
                <a:gd name="connsiteX239" fmla="*/ 4443 w 10000"/>
                <a:gd name="connsiteY239" fmla="*/ 2163 h 10010"/>
                <a:gd name="connsiteX240" fmla="*/ 4178 w 10000"/>
                <a:gd name="connsiteY240" fmla="*/ 2803 h 10010"/>
                <a:gd name="connsiteX241" fmla="*/ 3565 w 10000"/>
                <a:gd name="connsiteY241" fmla="*/ 3176 h 10010"/>
                <a:gd name="connsiteX242" fmla="*/ 3569 w 10000"/>
                <a:gd name="connsiteY242" fmla="*/ 3235 h 10010"/>
                <a:gd name="connsiteX243" fmla="*/ 3841 w 10000"/>
                <a:gd name="connsiteY243" fmla="*/ 3402 h 10010"/>
                <a:gd name="connsiteX244" fmla="*/ 3753 w 10000"/>
                <a:gd name="connsiteY244" fmla="*/ 3583 h 10010"/>
                <a:gd name="connsiteX245" fmla="*/ 3594 w 10000"/>
                <a:gd name="connsiteY245" fmla="*/ 3650 h 10010"/>
                <a:gd name="connsiteX246" fmla="*/ 3118 w 10000"/>
                <a:gd name="connsiteY246" fmla="*/ 3605 h 10010"/>
                <a:gd name="connsiteX247" fmla="*/ 2791 w 10000"/>
                <a:gd name="connsiteY247" fmla="*/ 3630 h 10010"/>
                <a:gd name="connsiteX248" fmla="*/ 2528 w 10000"/>
                <a:gd name="connsiteY248" fmla="*/ 3683 h 10010"/>
                <a:gd name="connsiteX249" fmla="*/ 2102 w 10000"/>
                <a:gd name="connsiteY249" fmla="*/ 3850 h 10010"/>
                <a:gd name="connsiteX250" fmla="*/ 1877 w 10000"/>
                <a:gd name="connsiteY250" fmla="*/ 4052 h 10010"/>
                <a:gd name="connsiteX251" fmla="*/ 1896 w 10000"/>
                <a:gd name="connsiteY251" fmla="*/ 4164 h 10010"/>
                <a:gd name="connsiteX252" fmla="*/ 1975 w 10000"/>
                <a:gd name="connsiteY252" fmla="*/ 4251 h 10010"/>
                <a:gd name="connsiteX253" fmla="*/ 2034 w 10000"/>
                <a:gd name="connsiteY253" fmla="*/ 4286 h 10010"/>
                <a:gd name="connsiteX254" fmla="*/ 1924 w 10000"/>
                <a:gd name="connsiteY254" fmla="*/ 4341 h 10010"/>
                <a:gd name="connsiteX255" fmla="*/ 1683 w 10000"/>
                <a:gd name="connsiteY255" fmla="*/ 4720 h 10010"/>
                <a:gd name="connsiteX256" fmla="*/ 1729 w 10000"/>
                <a:gd name="connsiteY256" fmla="*/ 4742 h 10010"/>
                <a:gd name="connsiteX257" fmla="*/ 1764 w 10000"/>
                <a:gd name="connsiteY257" fmla="*/ 4838 h 10010"/>
                <a:gd name="connsiteX258" fmla="*/ 1652 w 10000"/>
                <a:gd name="connsiteY258" fmla="*/ 5237 h 10010"/>
                <a:gd name="connsiteX259" fmla="*/ 1764 w 10000"/>
                <a:gd name="connsiteY259" fmla="*/ 5339 h 10010"/>
                <a:gd name="connsiteX260" fmla="*/ 2071 w 10000"/>
                <a:gd name="connsiteY260" fmla="*/ 5451 h 10010"/>
                <a:gd name="connsiteX261" fmla="*/ 2085 w 10000"/>
                <a:gd name="connsiteY261" fmla="*/ 5588 h 10010"/>
                <a:gd name="connsiteX262" fmla="*/ 1954 w 10000"/>
                <a:gd name="connsiteY262" fmla="*/ 5700 h 10010"/>
                <a:gd name="connsiteX263" fmla="*/ 1764 w 10000"/>
                <a:gd name="connsiteY263" fmla="*/ 5769 h 10010"/>
                <a:gd name="connsiteX264" fmla="*/ 1513 w 10000"/>
                <a:gd name="connsiteY264" fmla="*/ 5797 h 10010"/>
                <a:gd name="connsiteX265" fmla="*/ 1448 w 10000"/>
                <a:gd name="connsiteY265" fmla="*/ 5836 h 10010"/>
                <a:gd name="connsiteX266" fmla="*/ 1594 w 10000"/>
                <a:gd name="connsiteY266" fmla="*/ 5930 h 10010"/>
                <a:gd name="connsiteX267" fmla="*/ 1678 w 10000"/>
                <a:gd name="connsiteY267" fmla="*/ 6152 h 10010"/>
                <a:gd name="connsiteX268" fmla="*/ 1488 w 10000"/>
                <a:gd name="connsiteY268" fmla="*/ 6343 h 10010"/>
                <a:gd name="connsiteX269" fmla="*/ 1554 w 10000"/>
                <a:gd name="connsiteY269" fmla="*/ 6402 h 10010"/>
                <a:gd name="connsiteX270" fmla="*/ 1494 w 10000"/>
                <a:gd name="connsiteY270" fmla="*/ 6502 h 10010"/>
                <a:gd name="connsiteX271" fmla="*/ 1372 w 10000"/>
                <a:gd name="connsiteY271" fmla="*/ 6571 h 10010"/>
                <a:gd name="connsiteX272" fmla="*/ 889 w 10000"/>
                <a:gd name="connsiteY272" fmla="*/ 6624 h 10010"/>
                <a:gd name="connsiteX273" fmla="*/ 860 w 10000"/>
                <a:gd name="connsiteY273" fmla="*/ 6716 h 10010"/>
                <a:gd name="connsiteX274" fmla="*/ 600 w 10000"/>
                <a:gd name="connsiteY274" fmla="*/ 6853 h 10010"/>
                <a:gd name="connsiteX275" fmla="*/ 634 w 10000"/>
                <a:gd name="connsiteY275" fmla="*/ 7050 h 10010"/>
                <a:gd name="connsiteX276" fmla="*/ 415 w 10000"/>
                <a:gd name="connsiteY276" fmla="*/ 7303 h 10010"/>
                <a:gd name="connsiteX277" fmla="*/ 266 w 10000"/>
                <a:gd name="connsiteY277" fmla="*/ 7333 h 10010"/>
                <a:gd name="connsiteX278" fmla="*/ 204 w 10000"/>
                <a:gd name="connsiteY278" fmla="*/ 7272 h 10010"/>
                <a:gd name="connsiteX279" fmla="*/ 128 w 10000"/>
                <a:gd name="connsiteY279" fmla="*/ 7364 h 10010"/>
                <a:gd name="connsiteX280" fmla="*/ 178 w 10000"/>
                <a:gd name="connsiteY280" fmla="*/ 7207 h 10010"/>
                <a:gd name="connsiteX281" fmla="*/ 147 w 10000"/>
                <a:gd name="connsiteY281" fmla="*/ 7176 h 10010"/>
                <a:gd name="connsiteX0" fmla="*/ 147 w 10000"/>
                <a:gd name="connsiteY0" fmla="*/ 7176 h 10010"/>
                <a:gd name="connsiteX1" fmla="*/ 0 w 10000"/>
                <a:gd name="connsiteY1" fmla="*/ 7258 h 10010"/>
                <a:gd name="connsiteX2" fmla="*/ 0 w 10000"/>
                <a:gd name="connsiteY2" fmla="*/ 7661 h 10010"/>
                <a:gd name="connsiteX3" fmla="*/ 81 w 10000"/>
                <a:gd name="connsiteY3" fmla="*/ 7673 h 10010"/>
                <a:gd name="connsiteX4" fmla="*/ 100 w 10000"/>
                <a:gd name="connsiteY4" fmla="*/ 7704 h 10010"/>
                <a:gd name="connsiteX5" fmla="*/ 96 w 10000"/>
                <a:gd name="connsiteY5" fmla="*/ 7759 h 10010"/>
                <a:gd name="connsiteX6" fmla="*/ 66 w 10000"/>
                <a:gd name="connsiteY6" fmla="*/ 7783 h 10010"/>
                <a:gd name="connsiteX7" fmla="*/ 190 w 10000"/>
                <a:gd name="connsiteY7" fmla="*/ 7737 h 10010"/>
                <a:gd name="connsiteX8" fmla="*/ 242 w 10000"/>
                <a:gd name="connsiteY8" fmla="*/ 7690 h 10010"/>
                <a:gd name="connsiteX9" fmla="*/ 306 w 10000"/>
                <a:gd name="connsiteY9" fmla="*/ 7722 h 10010"/>
                <a:gd name="connsiteX10" fmla="*/ 235 w 10000"/>
                <a:gd name="connsiteY10" fmla="*/ 7788 h 10010"/>
                <a:gd name="connsiteX11" fmla="*/ 311 w 10000"/>
                <a:gd name="connsiteY11" fmla="*/ 7790 h 10010"/>
                <a:gd name="connsiteX12" fmla="*/ 348 w 10000"/>
                <a:gd name="connsiteY12" fmla="*/ 7806 h 10010"/>
                <a:gd name="connsiteX13" fmla="*/ 250 w 10000"/>
                <a:gd name="connsiteY13" fmla="*/ 7828 h 10010"/>
                <a:gd name="connsiteX14" fmla="*/ 96 w 10000"/>
                <a:gd name="connsiteY14" fmla="*/ 7896 h 10010"/>
                <a:gd name="connsiteX15" fmla="*/ 370 w 10000"/>
                <a:gd name="connsiteY15" fmla="*/ 7948 h 10010"/>
                <a:gd name="connsiteX16" fmla="*/ 404 w 10000"/>
                <a:gd name="connsiteY16" fmla="*/ 8024 h 10010"/>
                <a:gd name="connsiteX17" fmla="*/ 311 w 10000"/>
                <a:gd name="connsiteY17" fmla="*/ 8136 h 10010"/>
                <a:gd name="connsiteX18" fmla="*/ 511 w 10000"/>
                <a:gd name="connsiteY18" fmla="*/ 8128 h 10010"/>
                <a:gd name="connsiteX19" fmla="*/ 526 w 10000"/>
                <a:gd name="connsiteY19" fmla="*/ 8213 h 10010"/>
                <a:gd name="connsiteX20" fmla="*/ 393 w 10000"/>
                <a:gd name="connsiteY20" fmla="*/ 8270 h 10010"/>
                <a:gd name="connsiteX21" fmla="*/ 415 w 10000"/>
                <a:gd name="connsiteY21" fmla="*/ 8380 h 10010"/>
                <a:gd name="connsiteX22" fmla="*/ 364 w 10000"/>
                <a:gd name="connsiteY22" fmla="*/ 8466 h 10010"/>
                <a:gd name="connsiteX23" fmla="*/ 521 w 10000"/>
                <a:gd name="connsiteY23" fmla="*/ 8474 h 10010"/>
                <a:gd name="connsiteX24" fmla="*/ 676 w 10000"/>
                <a:gd name="connsiteY24" fmla="*/ 8802 h 10010"/>
                <a:gd name="connsiteX25" fmla="*/ 853 w 10000"/>
                <a:gd name="connsiteY25" fmla="*/ 8886 h 10010"/>
                <a:gd name="connsiteX26" fmla="*/ 931 w 10000"/>
                <a:gd name="connsiteY26" fmla="*/ 8975 h 10010"/>
                <a:gd name="connsiteX27" fmla="*/ 1125 w 10000"/>
                <a:gd name="connsiteY27" fmla="*/ 9040 h 10010"/>
                <a:gd name="connsiteX28" fmla="*/ 1249 w 10000"/>
                <a:gd name="connsiteY28" fmla="*/ 9122 h 10010"/>
                <a:gd name="connsiteX29" fmla="*/ 1233 w 10000"/>
                <a:gd name="connsiteY29" fmla="*/ 9181 h 10010"/>
                <a:gd name="connsiteX30" fmla="*/ 1110 w 10000"/>
                <a:gd name="connsiteY30" fmla="*/ 9203 h 10010"/>
                <a:gd name="connsiteX31" fmla="*/ 976 w 10000"/>
                <a:gd name="connsiteY31" fmla="*/ 9189 h 10010"/>
                <a:gd name="connsiteX32" fmla="*/ 935 w 10000"/>
                <a:gd name="connsiteY32" fmla="*/ 9214 h 10010"/>
                <a:gd name="connsiteX33" fmla="*/ 1037 w 10000"/>
                <a:gd name="connsiteY33" fmla="*/ 9342 h 10010"/>
                <a:gd name="connsiteX34" fmla="*/ 894 w 10000"/>
                <a:gd name="connsiteY34" fmla="*/ 9332 h 10010"/>
                <a:gd name="connsiteX35" fmla="*/ 773 w 10000"/>
                <a:gd name="connsiteY35" fmla="*/ 9301 h 10010"/>
                <a:gd name="connsiteX36" fmla="*/ 750 w 10000"/>
                <a:gd name="connsiteY36" fmla="*/ 9348 h 10010"/>
                <a:gd name="connsiteX37" fmla="*/ 1155 w 10000"/>
                <a:gd name="connsiteY37" fmla="*/ 9786 h 10010"/>
                <a:gd name="connsiteX38" fmla="*/ 1091 w 10000"/>
                <a:gd name="connsiteY38" fmla="*/ 9827 h 10010"/>
                <a:gd name="connsiteX39" fmla="*/ 1045 w 10000"/>
                <a:gd name="connsiteY39" fmla="*/ 9912 h 10010"/>
                <a:gd name="connsiteX40" fmla="*/ 987 w 10000"/>
                <a:gd name="connsiteY40" fmla="*/ 9918 h 10010"/>
                <a:gd name="connsiteX41" fmla="*/ 951 w 10000"/>
                <a:gd name="connsiteY41" fmla="*/ 9955 h 10010"/>
                <a:gd name="connsiteX42" fmla="*/ 1195 w 10000"/>
                <a:gd name="connsiteY42" fmla="*/ 9959 h 10010"/>
                <a:gd name="connsiteX43" fmla="*/ 1410 w 10000"/>
                <a:gd name="connsiteY43" fmla="*/ 9996 h 10010"/>
                <a:gd name="connsiteX44" fmla="*/ 1769 w 10000"/>
                <a:gd name="connsiteY44" fmla="*/ 9957 h 10010"/>
                <a:gd name="connsiteX45" fmla="*/ 2091 w 10000"/>
                <a:gd name="connsiteY45" fmla="*/ 9963 h 10010"/>
                <a:gd name="connsiteX46" fmla="*/ 2280 w 10000"/>
                <a:gd name="connsiteY46" fmla="*/ 10010 h 10010"/>
                <a:gd name="connsiteX47" fmla="*/ 2385 w 10000"/>
                <a:gd name="connsiteY47" fmla="*/ 9979 h 10010"/>
                <a:gd name="connsiteX48" fmla="*/ 2485 w 10000"/>
                <a:gd name="connsiteY48" fmla="*/ 9878 h 10010"/>
                <a:gd name="connsiteX49" fmla="*/ 2459 w 10000"/>
                <a:gd name="connsiteY49" fmla="*/ 9713 h 10010"/>
                <a:gd name="connsiteX50" fmla="*/ 2704 w 10000"/>
                <a:gd name="connsiteY50" fmla="*/ 9527 h 10010"/>
                <a:gd name="connsiteX51" fmla="*/ 2883 w 10000"/>
                <a:gd name="connsiteY51" fmla="*/ 9556 h 10010"/>
                <a:gd name="connsiteX52" fmla="*/ 2987 w 10000"/>
                <a:gd name="connsiteY52" fmla="*/ 9482 h 10010"/>
                <a:gd name="connsiteX53" fmla="*/ 3186 w 10000"/>
                <a:gd name="connsiteY53" fmla="*/ 9440 h 10010"/>
                <a:gd name="connsiteX54" fmla="*/ 3457 w 10000"/>
                <a:gd name="connsiteY54" fmla="*/ 9450 h 10010"/>
                <a:gd name="connsiteX55" fmla="*/ 3620 w 10000"/>
                <a:gd name="connsiteY55" fmla="*/ 9480 h 10010"/>
                <a:gd name="connsiteX56" fmla="*/ 3837 w 10000"/>
                <a:gd name="connsiteY56" fmla="*/ 9466 h 10010"/>
                <a:gd name="connsiteX57" fmla="*/ 4056 w 10000"/>
                <a:gd name="connsiteY57" fmla="*/ 9499 h 10010"/>
                <a:gd name="connsiteX58" fmla="*/ 4275 w 10000"/>
                <a:gd name="connsiteY58" fmla="*/ 9503 h 10010"/>
                <a:gd name="connsiteX59" fmla="*/ 4765 w 10000"/>
                <a:gd name="connsiteY59" fmla="*/ 9071 h 10010"/>
                <a:gd name="connsiteX60" fmla="*/ 4889 w 10000"/>
                <a:gd name="connsiteY60" fmla="*/ 8721 h 10010"/>
                <a:gd name="connsiteX61" fmla="*/ 5088 w 10000"/>
                <a:gd name="connsiteY61" fmla="*/ 8564 h 10010"/>
                <a:gd name="connsiteX62" fmla="*/ 5088 w 10000"/>
                <a:gd name="connsiteY62" fmla="*/ 8482 h 10010"/>
                <a:gd name="connsiteX63" fmla="*/ 5016 w 10000"/>
                <a:gd name="connsiteY63" fmla="*/ 8435 h 10010"/>
                <a:gd name="connsiteX64" fmla="*/ 5133 w 10000"/>
                <a:gd name="connsiteY64" fmla="*/ 8362 h 10010"/>
                <a:gd name="connsiteX65" fmla="*/ 5112 w 10000"/>
                <a:gd name="connsiteY65" fmla="*/ 8299 h 10010"/>
                <a:gd name="connsiteX66" fmla="*/ 5032 w 10000"/>
                <a:gd name="connsiteY66" fmla="*/ 8246 h 10010"/>
                <a:gd name="connsiteX67" fmla="*/ 5016 w 10000"/>
                <a:gd name="connsiteY67" fmla="*/ 8209 h 10010"/>
                <a:gd name="connsiteX68" fmla="*/ 5036 w 10000"/>
                <a:gd name="connsiteY68" fmla="*/ 8179 h 10010"/>
                <a:gd name="connsiteX69" fmla="*/ 5144 w 10000"/>
                <a:gd name="connsiteY69" fmla="*/ 8203 h 10010"/>
                <a:gd name="connsiteX70" fmla="*/ 5230 w 10000"/>
                <a:gd name="connsiteY70" fmla="*/ 8201 h 10010"/>
                <a:gd name="connsiteX71" fmla="*/ 5184 w 10000"/>
                <a:gd name="connsiteY71" fmla="*/ 8150 h 10010"/>
                <a:gd name="connsiteX72" fmla="*/ 5198 w 10000"/>
                <a:gd name="connsiteY72" fmla="*/ 8122 h 10010"/>
                <a:gd name="connsiteX73" fmla="*/ 5262 w 10000"/>
                <a:gd name="connsiteY73" fmla="*/ 8079 h 10010"/>
                <a:gd name="connsiteX74" fmla="*/ 5250 w 10000"/>
                <a:gd name="connsiteY74" fmla="*/ 8044 h 10010"/>
                <a:gd name="connsiteX75" fmla="*/ 5309 w 10000"/>
                <a:gd name="connsiteY75" fmla="*/ 7926 h 10010"/>
                <a:gd name="connsiteX76" fmla="*/ 5293 w 10000"/>
                <a:gd name="connsiteY76" fmla="*/ 7891 h 10010"/>
                <a:gd name="connsiteX77" fmla="*/ 4996 w 10000"/>
                <a:gd name="connsiteY77" fmla="*/ 7802 h 10010"/>
                <a:gd name="connsiteX78" fmla="*/ 5036 w 10000"/>
                <a:gd name="connsiteY78" fmla="*/ 7798 h 10010"/>
                <a:gd name="connsiteX79" fmla="*/ 5194 w 10000"/>
                <a:gd name="connsiteY79" fmla="*/ 7822 h 10010"/>
                <a:gd name="connsiteX80" fmla="*/ 5365 w 10000"/>
                <a:gd name="connsiteY80" fmla="*/ 7814 h 10010"/>
                <a:gd name="connsiteX81" fmla="*/ 5415 w 10000"/>
                <a:gd name="connsiteY81" fmla="*/ 7781 h 10010"/>
                <a:gd name="connsiteX82" fmla="*/ 5250 w 10000"/>
                <a:gd name="connsiteY82" fmla="*/ 7720 h 10010"/>
                <a:gd name="connsiteX83" fmla="*/ 4761 w 10000"/>
                <a:gd name="connsiteY83" fmla="*/ 7680 h 10010"/>
                <a:gd name="connsiteX84" fmla="*/ 4794 w 10000"/>
                <a:gd name="connsiteY84" fmla="*/ 7661 h 10010"/>
                <a:gd name="connsiteX85" fmla="*/ 5194 w 10000"/>
                <a:gd name="connsiteY85" fmla="*/ 7649 h 10010"/>
                <a:gd name="connsiteX86" fmla="*/ 5415 w 10000"/>
                <a:gd name="connsiteY86" fmla="*/ 7686 h 10010"/>
                <a:gd name="connsiteX87" fmla="*/ 5542 w 10000"/>
                <a:gd name="connsiteY87" fmla="*/ 7661 h 10010"/>
                <a:gd name="connsiteX88" fmla="*/ 5589 w 10000"/>
                <a:gd name="connsiteY88" fmla="*/ 7598 h 10010"/>
                <a:gd name="connsiteX89" fmla="*/ 5819 w 10000"/>
                <a:gd name="connsiteY89" fmla="*/ 7598 h 10010"/>
                <a:gd name="connsiteX90" fmla="*/ 6131 w 10000"/>
                <a:gd name="connsiteY90" fmla="*/ 7472 h 10010"/>
                <a:gd name="connsiteX91" fmla="*/ 6142 w 10000"/>
                <a:gd name="connsiteY91" fmla="*/ 7388 h 10010"/>
                <a:gd name="connsiteX92" fmla="*/ 6274 w 10000"/>
                <a:gd name="connsiteY92" fmla="*/ 7407 h 10010"/>
                <a:gd name="connsiteX93" fmla="*/ 6268 w 10000"/>
                <a:gd name="connsiteY93" fmla="*/ 7492 h 10010"/>
                <a:gd name="connsiteX94" fmla="*/ 6478 w 10000"/>
                <a:gd name="connsiteY94" fmla="*/ 7486 h 10010"/>
                <a:gd name="connsiteX95" fmla="*/ 6616 w 10000"/>
                <a:gd name="connsiteY95" fmla="*/ 7398 h 10010"/>
                <a:gd name="connsiteX96" fmla="*/ 6872 w 10000"/>
                <a:gd name="connsiteY96" fmla="*/ 7319 h 10010"/>
                <a:gd name="connsiteX97" fmla="*/ 6832 w 10000"/>
                <a:gd name="connsiteY97" fmla="*/ 7229 h 10010"/>
                <a:gd name="connsiteX98" fmla="*/ 6908 w 10000"/>
                <a:gd name="connsiteY98" fmla="*/ 7264 h 10010"/>
                <a:gd name="connsiteX99" fmla="*/ 7025 w 10000"/>
                <a:gd name="connsiteY99" fmla="*/ 7264 h 10010"/>
                <a:gd name="connsiteX100" fmla="*/ 7025 w 10000"/>
                <a:gd name="connsiteY100" fmla="*/ 7223 h 10010"/>
                <a:gd name="connsiteX101" fmla="*/ 7134 w 10000"/>
                <a:gd name="connsiteY101" fmla="*/ 7191 h 10010"/>
                <a:gd name="connsiteX102" fmla="*/ 7119 w 10000"/>
                <a:gd name="connsiteY102" fmla="*/ 7158 h 10010"/>
                <a:gd name="connsiteX103" fmla="*/ 6198 w 10000"/>
                <a:gd name="connsiteY103" fmla="*/ 7225 h 10010"/>
                <a:gd name="connsiteX104" fmla="*/ 5983 w 10000"/>
                <a:gd name="connsiteY104" fmla="*/ 7205 h 10010"/>
                <a:gd name="connsiteX105" fmla="*/ 5895 w 10000"/>
                <a:gd name="connsiteY105" fmla="*/ 7229 h 10010"/>
                <a:gd name="connsiteX106" fmla="*/ 5866 w 10000"/>
                <a:gd name="connsiteY106" fmla="*/ 7183 h 10010"/>
                <a:gd name="connsiteX107" fmla="*/ 5764 w 10000"/>
                <a:gd name="connsiteY107" fmla="*/ 7142 h 10010"/>
                <a:gd name="connsiteX108" fmla="*/ 5354 w 10000"/>
                <a:gd name="connsiteY108" fmla="*/ 7062 h 10010"/>
                <a:gd name="connsiteX109" fmla="*/ 5112 w 10000"/>
                <a:gd name="connsiteY109" fmla="*/ 7075 h 10010"/>
                <a:gd name="connsiteX110" fmla="*/ 5016 w 10000"/>
                <a:gd name="connsiteY110" fmla="*/ 7052 h 10010"/>
                <a:gd name="connsiteX111" fmla="*/ 5118 w 10000"/>
                <a:gd name="connsiteY111" fmla="*/ 7032 h 10010"/>
                <a:gd name="connsiteX112" fmla="*/ 5194 w 10000"/>
                <a:gd name="connsiteY112" fmla="*/ 6989 h 10010"/>
                <a:gd name="connsiteX113" fmla="*/ 5309 w 10000"/>
                <a:gd name="connsiteY113" fmla="*/ 7003 h 10010"/>
                <a:gd name="connsiteX114" fmla="*/ 5445 w 10000"/>
                <a:gd name="connsiteY114" fmla="*/ 6991 h 10010"/>
                <a:gd name="connsiteX115" fmla="*/ 5650 w 10000"/>
                <a:gd name="connsiteY115" fmla="*/ 7005 h 10010"/>
                <a:gd name="connsiteX116" fmla="*/ 5675 w 10000"/>
                <a:gd name="connsiteY116" fmla="*/ 6999 h 10010"/>
                <a:gd name="connsiteX117" fmla="*/ 5834 w 10000"/>
                <a:gd name="connsiteY117" fmla="*/ 7066 h 10010"/>
                <a:gd name="connsiteX118" fmla="*/ 5951 w 10000"/>
                <a:gd name="connsiteY118" fmla="*/ 7042 h 10010"/>
                <a:gd name="connsiteX119" fmla="*/ 5961 w 10000"/>
                <a:gd name="connsiteY119" fmla="*/ 7020 h 10010"/>
                <a:gd name="connsiteX120" fmla="*/ 6069 w 10000"/>
                <a:gd name="connsiteY120" fmla="*/ 7058 h 10010"/>
                <a:gd name="connsiteX121" fmla="*/ 6212 w 10000"/>
                <a:gd name="connsiteY121" fmla="*/ 7079 h 10010"/>
                <a:gd name="connsiteX122" fmla="*/ 6268 w 10000"/>
                <a:gd name="connsiteY122" fmla="*/ 7040 h 10010"/>
                <a:gd name="connsiteX123" fmla="*/ 6314 w 10000"/>
                <a:gd name="connsiteY123" fmla="*/ 7062 h 10010"/>
                <a:gd name="connsiteX124" fmla="*/ 6381 w 10000"/>
                <a:gd name="connsiteY124" fmla="*/ 7136 h 10010"/>
                <a:gd name="connsiteX125" fmla="*/ 6519 w 10000"/>
                <a:gd name="connsiteY125" fmla="*/ 7154 h 10010"/>
                <a:gd name="connsiteX126" fmla="*/ 7082 w 10000"/>
                <a:gd name="connsiteY126" fmla="*/ 7044 h 10010"/>
                <a:gd name="connsiteX127" fmla="*/ 7359 w 10000"/>
                <a:gd name="connsiteY127" fmla="*/ 6889 h 10010"/>
                <a:gd name="connsiteX128" fmla="*/ 7423 w 10000"/>
                <a:gd name="connsiteY128" fmla="*/ 6775 h 10010"/>
                <a:gd name="connsiteX129" fmla="*/ 7323 w 10000"/>
                <a:gd name="connsiteY129" fmla="*/ 6673 h 10010"/>
                <a:gd name="connsiteX130" fmla="*/ 7113 w 10000"/>
                <a:gd name="connsiteY130" fmla="*/ 6612 h 10010"/>
                <a:gd name="connsiteX131" fmla="*/ 6963 w 10000"/>
                <a:gd name="connsiteY131" fmla="*/ 6512 h 10010"/>
                <a:gd name="connsiteX132" fmla="*/ 7102 w 10000"/>
                <a:gd name="connsiteY132" fmla="*/ 6508 h 10010"/>
                <a:gd name="connsiteX133" fmla="*/ 7093 w 10000"/>
                <a:gd name="connsiteY133" fmla="*/ 6484 h 10010"/>
                <a:gd name="connsiteX134" fmla="*/ 6731 w 10000"/>
                <a:gd name="connsiteY134" fmla="*/ 6413 h 10010"/>
                <a:gd name="connsiteX135" fmla="*/ 6716 w 10000"/>
                <a:gd name="connsiteY135" fmla="*/ 6349 h 10010"/>
                <a:gd name="connsiteX136" fmla="*/ 6646 w 10000"/>
                <a:gd name="connsiteY136" fmla="*/ 6282 h 10010"/>
                <a:gd name="connsiteX137" fmla="*/ 6360 w 10000"/>
                <a:gd name="connsiteY137" fmla="*/ 6294 h 10010"/>
                <a:gd name="connsiteX138" fmla="*/ 6258 w 10000"/>
                <a:gd name="connsiteY138" fmla="*/ 6223 h 10010"/>
                <a:gd name="connsiteX139" fmla="*/ 6198 w 10000"/>
                <a:gd name="connsiteY139" fmla="*/ 6219 h 10010"/>
                <a:gd name="connsiteX140" fmla="*/ 6198 w 10000"/>
                <a:gd name="connsiteY140" fmla="*/ 6248 h 10010"/>
                <a:gd name="connsiteX141" fmla="*/ 6069 w 10000"/>
                <a:gd name="connsiteY141" fmla="*/ 6368 h 10010"/>
                <a:gd name="connsiteX142" fmla="*/ 5930 w 10000"/>
                <a:gd name="connsiteY142" fmla="*/ 6439 h 10010"/>
                <a:gd name="connsiteX143" fmla="*/ 5495 w 10000"/>
                <a:gd name="connsiteY143" fmla="*/ 6561 h 10010"/>
                <a:gd name="connsiteX144" fmla="*/ 5342 w 10000"/>
                <a:gd name="connsiteY144" fmla="*/ 6557 h 10010"/>
                <a:gd name="connsiteX145" fmla="*/ 5133 w 10000"/>
                <a:gd name="connsiteY145" fmla="*/ 6575 h 10010"/>
                <a:gd name="connsiteX146" fmla="*/ 5016 w 10000"/>
                <a:gd name="connsiteY146" fmla="*/ 6557 h 10010"/>
                <a:gd name="connsiteX147" fmla="*/ 5169 w 10000"/>
                <a:gd name="connsiteY147" fmla="*/ 6523 h 10010"/>
                <a:gd name="connsiteX148" fmla="*/ 5369 w 10000"/>
                <a:gd name="connsiteY148" fmla="*/ 6508 h 10010"/>
                <a:gd name="connsiteX149" fmla="*/ 5534 w 10000"/>
                <a:gd name="connsiteY149" fmla="*/ 6451 h 10010"/>
                <a:gd name="connsiteX150" fmla="*/ 5695 w 10000"/>
                <a:gd name="connsiteY150" fmla="*/ 6425 h 10010"/>
                <a:gd name="connsiteX151" fmla="*/ 5998 w 10000"/>
                <a:gd name="connsiteY151" fmla="*/ 6327 h 10010"/>
                <a:gd name="connsiteX152" fmla="*/ 6056 w 10000"/>
                <a:gd name="connsiteY152" fmla="*/ 6262 h 10010"/>
                <a:gd name="connsiteX153" fmla="*/ 6060 w 10000"/>
                <a:gd name="connsiteY153" fmla="*/ 6178 h 10010"/>
                <a:gd name="connsiteX154" fmla="*/ 5921 w 10000"/>
                <a:gd name="connsiteY154" fmla="*/ 6164 h 10010"/>
                <a:gd name="connsiteX155" fmla="*/ 5983 w 10000"/>
                <a:gd name="connsiteY155" fmla="*/ 6113 h 10010"/>
                <a:gd name="connsiteX156" fmla="*/ 6002 w 10000"/>
                <a:gd name="connsiteY156" fmla="*/ 6048 h 10010"/>
                <a:gd name="connsiteX157" fmla="*/ 5944 w 10000"/>
                <a:gd name="connsiteY157" fmla="*/ 5987 h 10010"/>
                <a:gd name="connsiteX158" fmla="*/ 5911 w 10000"/>
                <a:gd name="connsiteY158" fmla="*/ 5543 h 10010"/>
                <a:gd name="connsiteX159" fmla="*/ 5993 w 10000"/>
                <a:gd name="connsiteY159" fmla="*/ 5447 h 10010"/>
                <a:gd name="connsiteX160" fmla="*/ 5972 w 10000"/>
                <a:gd name="connsiteY160" fmla="*/ 5408 h 10010"/>
                <a:gd name="connsiteX161" fmla="*/ 6212 w 10000"/>
                <a:gd name="connsiteY161" fmla="*/ 5465 h 10010"/>
                <a:gd name="connsiteX162" fmla="*/ 6229 w 10000"/>
                <a:gd name="connsiteY162" fmla="*/ 5412 h 10010"/>
                <a:gd name="connsiteX163" fmla="*/ 6176 w 10000"/>
                <a:gd name="connsiteY163" fmla="*/ 5274 h 10010"/>
                <a:gd name="connsiteX164" fmla="*/ 6349 w 10000"/>
                <a:gd name="connsiteY164" fmla="*/ 5029 h 10010"/>
                <a:gd name="connsiteX165" fmla="*/ 6243 w 10000"/>
                <a:gd name="connsiteY165" fmla="*/ 4970 h 10010"/>
                <a:gd name="connsiteX166" fmla="*/ 6202 w 10000"/>
                <a:gd name="connsiteY166" fmla="*/ 4915 h 10010"/>
                <a:gd name="connsiteX167" fmla="*/ 6216 w 10000"/>
                <a:gd name="connsiteY167" fmla="*/ 4826 h 10010"/>
                <a:gd name="connsiteX168" fmla="*/ 6470 w 10000"/>
                <a:gd name="connsiteY168" fmla="*/ 4885 h 10010"/>
                <a:gd name="connsiteX169" fmla="*/ 6478 w 10000"/>
                <a:gd name="connsiteY169" fmla="*/ 4868 h 10010"/>
                <a:gd name="connsiteX170" fmla="*/ 6548 w 10000"/>
                <a:gd name="connsiteY170" fmla="*/ 4852 h 10010"/>
                <a:gd name="connsiteX171" fmla="*/ 6646 w 10000"/>
                <a:gd name="connsiteY171" fmla="*/ 4795 h 10010"/>
                <a:gd name="connsiteX172" fmla="*/ 6662 w 10000"/>
                <a:gd name="connsiteY172" fmla="*/ 4779 h 10010"/>
                <a:gd name="connsiteX173" fmla="*/ 6641 w 10000"/>
                <a:gd name="connsiteY173" fmla="*/ 4758 h 10010"/>
                <a:gd name="connsiteX174" fmla="*/ 6693 w 10000"/>
                <a:gd name="connsiteY174" fmla="*/ 4657 h 10010"/>
                <a:gd name="connsiteX175" fmla="*/ 6631 w 10000"/>
                <a:gd name="connsiteY175" fmla="*/ 4591 h 10010"/>
                <a:gd name="connsiteX176" fmla="*/ 6641 w 10000"/>
                <a:gd name="connsiteY176" fmla="*/ 4538 h 10010"/>
                <a:gd name="connsiteX177" fmla="*/ 6676 w 10000"/>
                <a:gd name="connsiteY177" fmla="*/ 4600 h 10010"/>
                <a:gd name="connsiteX178" fmla="*/ 6815 w 10000"/>
                <a:gd name="connsiteY178" fmla="*/ 4646 h 10010"/>
                <a:gd name="connsiteX179" fmla="*/ 6872 w 10000"/>
                <a:gd name="connsiteY179" fmla="*/ 4640 h 10010"/>
                <a:gd name="connsiteX180" fmla="*/ 6963 w 10000"/>
                <a:gd name="connsiteY180" fmla="*/ 4579 h 10010"/>
                <a:gd name="connsiteX181" fmla="*/ 7062 w 10000"/>
                <a:gd name="connsiteY181" fmla="*/ 4604 h 10010"/>
                <a:gd name="connsiteX182" fmla="*/ 7088 w 10000"/>
                <a:gd name="connsiteY182" fmla="*/ 4555 h 10010"/>
                <a:gd name="connsiteX183" fmla="*/ 7154 w 10000"/>
                <a:gd name="connsiteY183" fmla="*/ 4522 h 10010"/>
                <a:gd name="connsiteX184" fmla="*/ 6974 w 10000"/>
                <a:gd name="connsiteY184" fmla="*/ 4487 h 10010"/>
                <a:gd name="connsiteX185" fmla="*/ 7102 w 10000"/>
                <a:gd name="connsiteY185" fmla="*/ 4494 h 10010"/>
                <a:gd name="connsiteX186" fmla="*/ 7234 w 10000"/>
                <a:gd name="connsiteY186" fmla="*/ 4457 h 10010"/>
                <a:gd name="connsiteX187" fmla="*/ 7229 w 10000"/>
                <a:gd name="connsiteY187" fmla="*/ 4432 h 10010"/>
                <a:gd name="connsiteX188" fmla="*/ 7353 w 10000"/>
                <a:gd name="connsiteY188" fmla="*/ 4408 h 10010"/>
                <a:gd name="connsiteX189" fmla="*/ 7364 w 10000"/>
                <a:gd name="connsiteY189" fmla="*/ 4347 h 10010"/>
                <a:gd name="connsiteX190" fmla="*/ 7461 w 10000"/>
                <a:gd name="connsiteY190" fmla="*/ 4335 h 10010"/>
                <a:gd name="connsiteX191" fmla="*/ 7469 w 10000"/>
                <a:gd name="connsiteY191" fmla="*/ 4263 h 10010"/>
                <a:gd name="connsiteX192" fmla="*/ 7572 w 10000"/>
                <a:gd name="connsiteY192" fmla="*/ 4255 h 10010"/>
                <a:gd name="connsiteX193" fmla="*/ 7730 w 10000"/>
                <a:gd name="connsiteY193" fmla="*/ 4270 h 10010"/>
                <a:gd name="connsiteX194" fmla="*/ 7904 w 10000"/>
                <a:gd name="connsiteY194" fmla="*/ 4212 h 10010"/>
                <a:gd name="connsiteX195" fmla="*/ 7966 w 10000"/>
                <a:gd name="connsiteY195" fmla="*/ 4147 h 10010"/>
                <a:gd name="connsiteX196" fmla="*/ 8181 w 10000"/>
                <a:gd name="connsiteY196" fmla="*/ 4080 h 10010"/>
                <a:gd name="connsiteX197" fmla="*/ 8288 w 10000"/>
                <a:gd name="connsiteY197" fmla="*/ 4121 h 10010"/>
                <a:gd name="connsiteX198" fmla="*/ 8452 w 10000"/>
                <a:gd name="connsiteY198" fmla="*/ 4076 h 10010"/>
                <a:gd name="connsiteX199" fmla="*/ 8491 w 10000"/>
                <a:gd name="connsiteY199" fmla="*/ 4019 h 10010"/>
                <a:gd name="connsiteX200" fmla="*/ 8616 w 10000"/>
                <a:gd name="connsiteY200" fmla="*/ 3980 h 10010"/>
                <a:gd name="connsiteX201" fmla="*/ 8722 w 10000"/>
                <a:gd name="connsiteY201" fmla="*/ 3997 h 10010"/>
                <a:gd name="connsiteX202" fmla="*/ 8789 w 10000"/>
                <a:gd name="connsiteY202" fmla="*/ 3968 h 10010"/>
                <a:gd name="connsiteX203" fmla="*/ 8973 w 10000"/>
                <a:gd name="connsiteY203" fmla="*/ 3927 h 10010"/>
                <a:gd name="connsiteX204" fmla="*/ 9049 w 10000"/>
                <a:gd name="connsiteY204" fmla="*/ 3874 h 10010"/>
                <a:gd name="connsiteX205" fmla="*/ 9153 w 10000"/>
                <a:gd name="connsiteY205" fmla="*/ 3852 h 10010"/>
                <a:gd name="connsiteX206" fmla="*/ 9720 w 10000"/>
                <a:gd name="connsiteY206" fmla="*/ 3532 h 10010"/>
                <a:gd name="connsiteX207" fmla="*/ 9971 w 10000"/>
                <a:gd name="connsiteY207" fmla="*/ 399 h 10010"/>
                <a:gd name="connsiteX208" fmla="*/ 9049 w 10000"/>
                <a:gd name="connsiteY208" fmla="*/ 36 h 10010"/>
                <a:gd name="connsiteX209" fmla="*/ 8706 w 10000"/>
                <a:gd name="connsiteY209" fmla="*/ 10 h 10010"/>
                <a:gd name="connsiteX210" fmla="*/ 8652 w 10000"/>
                <a:gd name="connsiteY210" fmla="*/ 218 h 10010"/>
                <a:gd name="connsiteX211" fmla="*/ 8610 w 10000"/>
                <a:gd name="connsiteY211" fmla="*/ 293 h 10010"/>
                <a:gd name="connsiteX212" fmla="*/ 8533 w 10000"/>
                <a:gd name="connsiteY212" fmla="*/ 346 h 10010"/>
                <a:gd name="connsiteX213" fmla="*/ 8550 w 10000"/>
                <a:gd name="connsiteY213" fmla="*/ 397 h 10010"/>
                <a:gd name="connsiteX214" fmla="*/ 8667 w 10000"/>
                <a:gd name="connsiteY214" fmla="*/ 444 h 10010"/>
                <a:gd name="connsiteX215" fmla="*/ 8591 w 10000"/>
                <a:gd name="connsiteY215" fmla="*/ 485 h 10010"/>
                <a:gd name="connsiteX216" fmla="*/ 8477 w 10000"/>
                <a:gd name="connsiteY216" fmla="*/ 495 h 10010"/>
                <a:gd name="connsiteX217" fmla="*/ 7537 w 10000"/>
                <a:gd name="connsiteY217" fmla="*/ 397 h 10010"/>
                <a:gd name="connsiteX218" fmla="*/ 7423 w 10000"/>
                <a:gd name="connsiteY218" fmla="*/ 405 h 10010"/>
                <a:gd name="connsiteX219" fmla="*/ 7359 w 10000"/>
                <a:gd name="connsiteY219" fmla="*/ 424 h 10010"/>
                <a:gd name="connsiteX220" fmla="*/ 7290 w 10000"/>
                <a:gd name="connsiteY220" fmla="*/ 472 h 10010"/>
                <a:gd name="connsiteX221" fmla="*/ 7302 w 10000"/>
                <a:gd name="connsiteY221" fmla="*/ 591 h 10010"/>
                <a:gd name="connsiteX222" fmla="*/ 7199 w 10000"/>
                <a:gd name="connsiteY222" fmla="*/ 745 h 10010"/>
                <a:gd name="connsiteX223" fmla="*/ 7072 w 10000"/>
                <a:gd name="connsiteY223" fmla="*/ 825 h 10010"/>
                <a:gd name="connsiteX224" fmla="*/ 7021 w 10000"/>
                <a:gd name="connsiteY224" fmla="*/ 815 h 10010"/>
                <a:gd name="connsiteX225" fmla="*/ 6903 w 10000"/>
                <a:gd name="connsiteY225" fmla="*/ 749 h 10010"/>
                <a:gd name="connsiteX226" fmla="*/ 6756 w 10000"/>
                <a:gd name="connsiteY226" fmla="*/ 715 h 10010"/>
                <a:gd name="connsiteX227" fmla="*/ 6594 w 10000"/>
                <a:gd name="connsiteY227" fmla="*/ 725 h 10010"/>
                <a:gd name="connsiteX228" fmla="*/ 6223 w 10000"/>
                <a:gd name="connsiteY228" fmla="*/ 876 h 10010"/>
                <a:gd name="connsiteX229" fmla="*/ 6125 w 10000"/>
                <a:gd name="connsiteY229" fmla="*/ 1027 h 10010"/>
                <a:gd name="connsiteX230" fmla="*/ 5845 w 10000"/>
                <a:gd name="connsiteY230" fmla="*/ 1163 h 10010"/>
                <a:gd name="connsiteX231" fmla="*/ 5794 w 10000"/>
                <a:gd name="connsiteY231" fmla="*/ 1232 h 10010"/>
                <a:gd name="connsiteX232" fmla="*/ 5940 w 10000"/>
                <a:gd name="connsiteY232" fmla="*/ 1354 h 10010"/>
                <a:gd name="connsiteX233" fmla="*/ 5956 w 10000"/>
                <a:gd name="connsiteY233" fmla="*/ 1422 h 10010"/>
                <a:gd name="connsiteX234" fmla="*/ 5190 w 10000"/>
                <a:gd name="connsiteY234" fmla="*/ 1823 h 10010"/>
                <a:gd name="connsiteX235" fmla="*/ 4955 w 10000"/>
                <a:gd name="connsiteY235" fmla="*/ 2080 h 10010"/>
                <a:gd name="connsiteX236" fmla="*/ 4702 w 10000"/>
                <a:gd name="connsiteY236" fmla="*/ 2145 h 10010"/>
                <a:gd name="connsiteX237" fmla="*/ 4540 w 10000"/>
                <a:gd name="connsiteY237" fmla="*/ 2141 h 10010"/>
                <a:gd name="connsiteX238" fmla="*/ 4443 w 10000"/>
                <a:gd name="connsiteY238" fmla="*/ 2163 h 10010"/>
                <a:gd name="connsiteX239" fmla="*/ 4178 w 10000"/>
                <a:gd name="connsiteY239" fmla="*/ 2803 h 10010"/>
                <a:gd name="connsiteX240" fmla="*/ 3565 w 10000"/>
                <a:gd name="connsiteY240" fmla="*/ 3176 h 10010"/>
                <a:gd name="connsiteX241" fmla="*/ 3569 w 10000"/>
                <a:gd name="connsiteY241" fmla="*/ 3235 h 10010"/>
                <a:gd name="connsiteX242" fmla="*/ 3841 w 10000"/>
                <a:gd name="connsiteY242" fmla="*/ 3402 h 10010"/>
                <a:gd name="connsiteX243" fmla="*/ 3753 w 10000"/>
                <a:gd name="connsiteY243" fmla="*/ 3583 h 10010"/>
                <a:gd name="connsiteX244" fmla="*/ 3594 w 10000"/>
                <a:gd name="connsiteY244" fmla="*/ 3650 h 10010"/>
                <a:gd name="connsiteX245" fmla="*/ 3118 w 10000"/>
                <a:gd name="connsiteY245" fmla="*/ 3605 h 10010"/>
                <a:gd name="connsiteX246" fmla="*/ 2791 w 10000"/>
                <a:gd name="connsiteY246" fmla="*/ 3630 h 10010"/>
                <a:gd name="connsiteX247" fmla="*/ 2528 w 10000"/>
                <a:gd name="connsiteY247" fmla="*/ 3683 h 10010"/>
                <a:gd name="connsiteX248" fmla="*/ 2102 w 10000"/>
                <a:gd name="connsiteY248" fmla="*/ 3850 h 10010"/>
                <a:gd name="connsiteX249" fmla="*/ 1877 w 10000"/>
                <a:gd name="connsiteY249" fmla="*/ 4052 h 10010"/>
                <a:gd name="connsiteX250" fmla="*/ 1896 w 10000"/>
                <a:gd name="connsiteY250" fmla="*/ 4164 h 10010"/>
                <a:gd name="connsiteX251" fmla="*/ 1975 w 10000"/>
                <a:gd name="connsiteY251" fmla="*/ 4251 h 10010"/>
                <a:gd name="connsiteX252" fmla="*/ 2034 w 10000"/>
                <a:gd name="connsiteY252" fmla="*/ 4286 h 10010"/>
                <a:gd name="connsiteX253" fmla="*/ 1924 w 10000"/>
                <a:gd name="connsiteY253" fmla="*/ 4341 h 10010"/>
                <a:gd name="connsiteX254" fmla="*/ 1683 w 10000"/>
                <a:gd name="connsiteY254" fmla="*/ 4720 h 10010"/>
                <a:gd name="connsiteX255" fmla="*/ 1729 w 10000"/>
                <a:gd name="connsiteY255" fmla="*/ 4742 h 10010"/>
                <a:gd name="connsiteX256" fmla="*/ 1764 w 10000"/>
                <a:gd name="connsiteY256" fmla="*/ 4838 h 10010"/>
                <a:gd name="connsiteX257" fmla="*/ 1652 w 10000"/>
                <a:gd name="connsiteY257" fmla="*/ 5237 h 10010"/>
                <a:gd name="connsiteX258" fmla="*/ 1764 w 10000"/>
                <a:gd name="connsiteY258" fmla="*/ 5339 h 10010"/>
                <a:gd name="connsiteX259" fmla="*/ 2071 w 10000"/>
                <a:gd name="connsiteY259" fmla="*/ 5451 h 10010"/>
                <a:gd name="connsiteX260" fmla="*/ 2085 w 10000"/>
                <a:gd name="connsiteY260" fmla="*/ 5588 h 10010"/>
                <a:gd name="connsiteX261" fmla="*/ 1954 w 10000"/>
                <a:gd name="connsiteY261" fmla="*/ 5700 h 10010"/>
                <a:gd name="connsiteX262" fmla="*/ 1764 w 10000"/>
                <a:gd name="connsiteY262" fmla="*/ 5769 h 10010"/>
                <a:gd name="connsiteX263" fmla="*/ 1513 w 10000"/>
                <a:gd name="connsiteY263" fmla="*/ 5797 h 10010"/>
                <a:gd name="connsiteX264" fmla="*/ 1448 w 10000"/>
                <a:gd name="connsiteY264" fmla="*/ 5836 h 10010"/>
                <a:gd name="connsiteX265" fmla="*/ 1594 w 10000"/>
                <a:gd name="connsiteY265" fmla="*/ 5930 h 10010"/>
                <a:gd name="connsiteX266" fmla="*/ 1678 w 10000"/>
                <a:gd name="connsiteY266" fmla="*/ 6152 h 10010"/>
                <a:gd name="connsiteX267" fmla="*/ 1488 w 10000"/>
                <a:gd name="connsiteY267" fmla="*/ 6343 h 10010"/>
                <a:gd name="connsiteX268" fmla="*/ 1554 w 10000"/>
                <a:gd name="connsiteY268" fmla="*/ 6402 h 10010"/>
                <a:gd name="connsiteX269" fmla="*/ 1494 w 10000"/>
                <a:gd name="connsiteY269" fmla="*/ 6502 h 10010"/>
                <a:gd name="connsiteX270" fmla="*/ 1372 w 10000"/>
                <a:gd name="connsiteY270" fmla="*/ 6571 h 10010"/>
                <a:gd name="connsiteX271" fmla="*/ 889 w 10000"/>
                <a:gd name="connsiteY271" fmla="*/ 6624 h 10010"/>
                <a:gd name="connsiteX272" fmla="*/ 860 w 10000"/>
                <a:gd name="connsiteY272" fmla="*/ 6716 h 10010"/>
                <a:gd name="connsiteX273" fmla="*/ 600 w 10000"/>
                <a:gd name="connsiteY273" fmla="*/ 6853 h 10010"/>
                <a:gd name="connsiteX274" fmla="*/ 634 w 10000"/>
                <a:gd name="connsiteY274" fmla="*/ 7050 h 10010"/>
                <a:gd name="connsiteX275" fmla="*/ 415 w 10000"/>
                <a:gd name="connsiteY275" fmla="*/ 7303 h 10010"/>
                <a:gd name="connsiteX276" fmla="*/ 266 w 10000"/>
                <a:gd name="connsiteY276" fmla="*/ 7333 h 10010"/>
                <a:gd name="connsiteX277" fmla="*/ 204 w 10000"/>
                <a:gd name="connsiteY277" fmla="*/ 7272 h 10010"/>
                <a:gd name="connsiteX278" fmla="*/ 128 w 10000"/>
                <a:gd name="connsiteY278" fmla="*/ 7364 h 10010"/>
                <a:gd name="connsiteX279" fmla="*/ 178 w 10000"/>
                <a:gd name="connsiteY279" fmla="*/ 7207 h 10010"/>
                <a:gd name="connsiteX280" fmla="*/ 147 w 10000"/>
                <a:gd name="connsiteY280" fmla="*/ 7176 h 10010"/>
                <a:gd name="connsiteX0" fmla="*/ 147 w 10000"/>
                <a:gd name="connsiteY0" fmla="*/ 7176 h 10010"/>
                <a:gd name="connsiteX1" fmla="*/ 0 w 10000"/>
                <a:gd name="connsiteY1" fmla="*/ 7258 h 10010"/>
                <a:gd name="connsiteX2" fmla="*/ 0 w 10000"/>
                <a:gd name="connsiteY2" fmla="*/ 7661 h 10010"/>
                <a:gd name="connsiteX3" fmla="*/ 81 w 10000"/>
                <a:gd name="connsiteY3" fmla="*/ 7673 h 10010"/>
                <a:gd name="connsiteX4" fmla="*/ 100 w 10000"/>
                <a:gd name="connsiteY4" fmla="*/ 7704 h 10010"/>
                <a:gd name="connsiteX5" fmla="*/ 96 w 10000"/>
                <a:gd name="connsiteY5" fmla="*/ 7759 h 10010"/>
                <a:gd name="connsiteX6" fmla="*/ 66 w 10000"/>
                <a:gd name="connsiteY6" fmla="*/ 7783 h 10010"/>
                <a:gd name="connsiteX7" fmla="*/ 190 w 10000"/>
                <a:gd name="connsiteY7" fmla="*/ 7737 h 10010"/>
                <a:gd name="connsiteX8" fmla="*/ 242 w 10000"/>
                <a:gd name="connsiteY8" fmla="*/ 7690 h 10010"/>
                <a:gd name="connsiteX9" fmla="*/ 306 w 10000"/>
                <a:gd name="connsiteY9" fmla="*/ 7722 h 10010"/>
                <a:gd name="connsiteX10" fmla="*/ 235 w 10000"/>
                <a:gd name="connsiteY10" fmla="*/ 7788 h 10010"/>
                <a:gd name="connsiteX11" fmla="*/ 311 w 10000"/>
                <a:gd name="connsiteY11" fmla="*/ 7790 h 10010"/>
                <a:gd name="connsiteX12" fmla="*/ 348 w 10000"/>
                <a:gd name="connsiteY12" fmla="*/ 7806 h 10010"/>
                <a:gd name="connsiteX13" fmla="*/ 250 w 10000"/>
                <a:gd name="connsiteY13" fmla="*/ 7828 h 10010"/>
                <a:gd name="connsiteX14" fmla="*/ 96 w 10000"/>
                <a:gd name="connsiteY14" fmla="*/ 7896 h 10010"/>
                <a:gd name="connsiteX15" fmla="*/ 370 w 10000"/>
                <a:gd name="connsiteY15" fmla="*/ 7948 h 10010"/>
                <a:gd name="connsiteX16" fmla="*/ 404 w 10000"/>
                <a:gd name="connsiteY16" fmla="*/ 8024 h 10010"/>
                <a:gd name="connsiteX17" fmla="*/ 311 w 10000"/>
                <a:gd name="connsiteY17" fmla="*/ 8136 h 10010"/>
                <a:gd name="connsiteX18" fmla="*/ 511 w 10000"/>
                <a:gd name="connsiteY18" fmla="*/ 8128 h 10010"/>
                <a:gd name="connsiteX19" fmla="*/ 526 w 10000"/>
                <a:gd name="connsiteY19" fmla="*/ 8213 h 10010"/>
                <a:gd name="connsiteX20" fmla="*/ 393 w 10000"/>
                <a:gd name="connsiteY20" fmla="*/ 8270 h 10010"/>
                <a:gd name="connsiteX21" fmla="*/ 415 w 10000"/>
                <a:gd name="connsiteY21" fmla="*/ 8380 h 10010"/>
                <a:gd name="connsiteX22" fmla="*/ 364 w 10000"/>
                <a:gd name="connsiteY22" fmla="*/ 8466 h 10010"/>
                <a:gd name="connsiteX23" fmla="*/ 521 w 10000"/>
                <a:gd name="connsiteY23" fmla="*/ 8474 h 10010"/>
                <a:gd name="connsiteX24" fmla="*/ 676 w 10000"/>
                <a:gd name="connsiteY24" fmla="*/ 8802 h 10010"/>
                <a:gd name="connsiteX25" fmla="*/ 853 w 10000"/>
                <a:gd name="connsiteY25" fmla="*/ 8886 h 10010"/>
                <a:gd name="connsiteX26" fmla="*/ 931 w 10000"/>
                <a:gd name="connsiteY26" fmla="*/ 8975 h 10010"/>
                <a:gd name="connsiteX27" fmla="*/ 1125 w 10000"/>
                <a:gd name="connsiteY27" fmla="*/ 9040 h 10010"/>
                <a:gd name="connsiteX28" fmla="*/ 1249 w 10000"/>
                <a:gd name="connsiteY28" fmla="*/ 9122 h 10010"/>
                <a:gd name="connsiteX29" fmla="*/ 1233 w 10000"/>
                <a:gd name="connsiteY29" fmla="*/ 9181 h 10010"/>
                <a:gd name="connsiteX30" fmla="*/ 1110 w 10000"/>
                <a:gd name="connsiteY30" fmla="*/ 9203 h 10010"/>
                <a:gd name="connsiteX31" fmla="*/ 976 w 10000"/>
                <a:gd name="connsiteY31" fmla="*/ 9189 h 10010"/>
                <a:gd name="connsiteX32" fmla="*/ 935 w 10000"/>
                <a:gd name="connsiteY32" fmla="*/ 9214 h 10010"/>
                <a:gd name="connsiteX33" fmla="*/ 1037 w 10000"/>
                <a:gd name="connsiteY33" fmla="*/ 9342 h 10010"/>
                <a:gd name="connsiteX34" fmla="*/ 894 w 10000"/>
                <a:gd name="connsiteY34" fmla="*/ 9332 h 10010"/>
                <a:gd name="connsiteX35" fmla="*/ 773 w 10000"/>
                <a:gd name="connsiteY35" fmla="*/ 9301 h 10010"/>
                <a:gd name="connsiteX36" fmla="*/ 750 w 10000"/>
                <a:gd name="connsiteY36" fmla="*/ 9348 h 10010"/>
                <a:gd name="connsiteX37" fmla="*/ 1155 w 10000"/>
                <a:gd name="connsiteY37" fmla="*/ 9786 h 10010"/>
                <a:gd name="connsiteX38" fmla="*/ 1091 w 10000"/>
                <a:gd name="connsiteY38" fmla="*/ 9827 h 10010"/>
                <a:gd name="connsiteX39" fmla="*/ 1045 w 10000"/>
                <a:gd name="connsiteY39" fmla="*/ 9912 h 10010"/>
                <a:gd name="connsiteX40" fmla="*/ 987 w 10000"/>
                <a:gd name="connsiteY40" fmla="*/ 9918 h 10010"/>
                <a:gd name="connsiteX41" fmla="*/ 951 w 10000"/>
                <a:gd name="connsiteY41" fmla="*/ 9955 h 10010"/>
                <a:gd name="connsiteX42" fmla="*/ 1195 w 10000"/>
                <a:gd name="connsiteY42" fmla="*/ 9959 h 10010"/>
                <a:gd name="connsiteX43" fmla="*/ 1410 w 10000"/>
                <a:gd name="connsiteY43" fmla="*/ 9996 h 10010"/>
                <a:gd name="connsiteX44" fmla="*/ 1769 w 10000"/>
                <a:gd name="connsiteY44" fmla="*/ 9957 h 10010"/>
                <a:gd name="connsiteX45" fmla="*/ 2091 w 10000"/>
                <a:gd name="connsiteY45" fmla="*/ 9963 h 10010"/>
                <a:gd name="connsiteX46" fmla="*/ 2280 w 10000"/>
                <a:gd name="connsiteY46" fmla="*/ 10010 h 10010"/>
                <a:gd name="connsiteX47" fmla="*/ 2385 w 10000"/>
                <a:gd name="connsiteY47" fmla="*/ 9979 h 10010"/>
                <a:gd name="connsiteX48" fmla="*/ 2485 w 10000"/>
                <a:gd name="connsiteY48" fmla="*/ 9878 h 10010"/>
                <a:gd name="connsiteX49" fmla="*/ 2459 w 10000"/>
                <a:gd name="connsiteY49" fmla="*/ 9713 h 10010"/>
                <a:gd name="connsiteX50" fmla="*/ 2704 w 10000"/>
                <a:gd name="connsiteY50" fmla="*/ 9527 h 10010"/>
                <a:gd name="connsiteX51" fmla="*/ 2883 w 10000"/>
                <a:gd name="connsiteY51" fmla="*/ 9556 h 10010"/>
                <a:gd name="connsiteX52" fmla="*/ 2987 w 10000"/>
                <a:gd name="connsiteY52" fmla="*/ 9482 h 10010"/>
                <a:gd name="connsiteX53" fmla="*/ 3186 w 10000"/>
                <a:gd name="connsiteY53" fmla="*/ 9440 h 10010"/>
                <a:gd name="connsiteX54" fmla="*/ 3457 w 10000"/>
                <a:gd name="connsiteY54" fmla="*/ 9450 h 10010"/>
                <a:gd name="connsiteX55" fmla="*/ 3620 w 10000"/>
                <a:gd name="connsiteY55" fmla="*/ 9480 h 10010"/>
                <a:gd name="connsiteX56" fmla="*/ 3837 w 10000"/>
                <a:gd name="connsiteY56" fmla="*/ 9466 h 10010"/>
                <a:gd name="connsiteX57" fmla="*/ 4056 w 10000"/>
                <a:gd name="connsiteY57" fmla="*/ 9499 h 10010"/>
                <a:gd name="connsiteX58" fmla="*/ 4275 w 10000"/>
                <a:gd name="connsiteY58" fmla="*/ 9503 h 10010"/>
                <a:gd name="connsiteX59" fmla="*/ 4765 w 10000"/>
                <a:gd name="connsiteY59" fmla="*/ 9071 h 10010"/>
                <a:gd name="connsiteX60" fmla="*/ 4889 w 10000"/>
                <a:gd name="connsiteY60" fmla="*/ 8721 h 10010"/>
                <a:gd name="connsiteX61" fmla="*/ 5088 w 10000"/>
                <a:gd name="connsiteY61" fmla="*/ 8564 h 10010"/>
                <a:gd name="connsiteX62" fmla="*/ 5088 w 10000"/>
                <a:gd name="connsiteY62" fmla="*/ 8482 h 10010"/>
                <a:gd name="connsiteX63" fmla="*/ 5016 w 10000"/>
                <a:gd name="connsiteY63" fmla="*/ 8435 h 10010"/>
                <a:gd name="connsiteX64" fmla="*/ 5133 w 10000"/>
                <a:gd name="connsiteY64" fmla="*/ 8362 h 10010"/>
                <a:gd name="connsiteX65" fmla="*/ 5112 w 10000"/>
                <a:gd name="connsiteY65" fmla="*/ 8299 h 10010"/>
                <a:gd name="connsiteX66" fmla="*/ 5032 w 10000"/>
                <a:gd name="connsiteY66" fmla="*/ 8246 h 10010"/>
                <a:gd name="connsiteX67" fmla="*/ 5016 w 10000"/>
                <a:gd name="connsiteY67" fmla="*/ 8209 h 10010"/>
                <a:gd name="connsiteX68" fmla="*/ 5036 w 10000"/>
                <a:gd name="connsiteY68" fmla="*/ 8179 h 10010"/>
                <a:gd name="connsiteX69" fmla="*/ 5144 w 10000"/>
                <a:gd name="connsiteY69" fmla="*/ 8203 h 10010"/>
                <a:gd name="connsiteX70" fmla="*/ 5230 w 10000"/>
                <a:gd name="connsiteY70" fmla="*/ 8201 h 10010"/>
                <a:gd name="connsiteX71" fmla="*/ 5184 w 10000"/>
                <a:gd name="connsiteY71" fmla="*/ 8150 h 10010"/>
                <a:gd name="connsiteX72" fmla="*/ 5198 w 10000"/>
                <a:gd name="connsiteY72" fmla="*/ 8122 h 10010"/>
                <a:gd name="connsiteX73" fmla="*/ 5262 w 10000"/>
                <a:gd name="connsiteY73" fmla="*/ 8079 h 10010"/>
                <a:gd name="connsiteX74" fmla="*/ 5250 w 10000"/>
                <a:gd name="connsiteY74" fmla="*/ 8044 h 10010"/>
                <a:gd name="connsiteX75" fmla="*/ 5309 w 10000"/>
                <a:gd name="connsiteY75" fmla="*/ 7926 h 10010"/>
                <a:gd name="connsiteX76" fmla="*/ 5293 w 10000"/>
                <a:gd name="connsiteY76" fmla="*/ 7891 h 10010"/>
                <a:gd name="connsiteX77" fmla="*/ 4996 w 10000"/>
                <a:gd name="connsiteY77" fmla="*/ 7802 h 10010"/>
                <a:gd name="connsiteX78" fmla="*/ 5036 w 10000"/>
                <a:gd name="connsiteY78" fmla="*/ 7798 h 10010"/>
                <a:gd name="connsiteX79" fmla="*/ 5194 w 10000"/>
                <a:gd name="connsiteY79" fmla="*/ 7822 h 10010"/>
                <a:gd name="connsiteX80" fmla="*/ 5365 w 10000"/>
                <a:gd name="connsiteY80" fmla="*/ 7814 h 10010"/>
                <a:gd name="connsiteX81" fmla="*/ 5415 w 10000"/>
                <a:gd name="connsiteY81" fmla="*/ 7781 h 10010"/>
                <a:gd name="connsiteX82" fmla="*/ 5250 w 10000"/>
                <a:gd name="connsiteY82" fmla="*/ 7720 h 10010"/>
                <a:gd name="connsiteX83" fmla="*/ 4761 w 10000"/>
                <a:gd name="connsiteY83" fmla="*/ 7680 h 10010"/>
                <a:gd name="connsiteX84" fmla="*/ 4794 w 10000"/>
                <a:gd name="connsiteY84" fmla="*/ 7661 h 10010"/>
                <a:gd name="connsiteX85" fmla="*/ 5194 w 10000"/>
                <a:gd name="connsiteY85" fmla="*/ 7649 h 10010"/>
                <a:gd name="connsiteX86" fmla="*/ 5415 w 10000"/>
                <a:gd name="connsiteY86" fmla="*/ 7686 h 10010"/>
                <a:gd name="connsiteX87" fmla="*/ 5542 w 10000"/>
                <a:gd name="connsiteY87" fmla="*/ 7661 h 10010"/>
                <a:gd name="connsiteX88" fmla="*/ 5589 w 10000"/>
                <a:gd name="connsiteY88" fmla="*/ 7598 h 10010"/>
                <a:gd name="connsiteX89" fmla="*/ 5819 w 10000"/>
                <a:gd name="connsiteY89" fmla="*/ 7598 h 10010"/>
                <a:gd name="connsiteX90" fmla="*/ 6131 w 10000"/>
                <a:gd name="connsiteY90" fmla="*/ 7472 h 10010"/>
                <a:gd name="connsiteX91" fmla="*/ 6142 w 10000"/>
                <a:gd name="connsiteY91" fmla="*/ 7388 h 10010"/>
                <a:gd name="connsiteX92" fmla="*/ 6274 w 10000"/>
                <a:gd name="connsiteY92" fmla="*/ 7407 h 10010"/>
                <a:gd name="connsiteX93" fmla="*/ 6268 w 10000"/>
                <a:gd name="connsiteY93" fmla="*/ 7492 h 10010"/>
                <a:gd name="connsiteX94" fmla="*/ 6478 w 10000"/>
                <a:gd name="connsiteY94" fmla="*/ 7486 h 10010"/>
                <a:gd name="connsiteX95" fmla="*/ 6616 w 10000"/>
                <a:gd name="connsiteY95" fmla="*/ 7398 h 10010"/>
                <a:gd name="connsiteX96" fmla="*/ 6872 w 10000"/>
                <a:gd name="connsiteY96" fmla="*/ 7319 h 10010"/>
                <a:gd name="connsiteX97" fmla="*/ 6832 w 10000"/>
                <a:gd name="connsiteY97" fmla="*/ 7229 h 10010"/>
                <a:gd name="connsiteX98" fmla="*/ 6908 w 10000"/>
                <a:gd name="connsiteY98" fmla="*/ 7264 h 10010"/>
                <a:gd name="connsiteX99" fmla="*/ 7025 w 10000"/>
                <a:gd name="connsiteY99" fmla="*/ 7264 h 10010"/>
                <a:gd name="connsiteX100" fmla="*/ 7025 w 10000"/>
                <a:gd name="connsiteY100" fmla="*/ 7223 h 10010"/>
                <a:gd name="connsiteX101" fmla="*/ 7134 w 10000"/>
                <a:gd name="connsiteY101" fmla="*/ 7191 h 10010"/>
                <a:gd name="connsiteX102" fmla="*/ 7119 w 10000"/>
                <a:gd name="connsiteY102" fmla="*/ 7158 h 10010"/>
                <a:gd name="connsiteX103" fmla="*/ 6198 w 10000"/>
                <a:gd name="connsiteY103" fmla="*/ 7225 h 10010"/>
                <a:gd name="connsiteX104" fmla="*/ 5983 w 10000"/>
                <a:gd name="connsiteY104" fmla="*/ 7205 h 10010"/>
                <a:gd name="connsiteX105" fmla="*/ 5895 w 10000"/>
                <a:gd name="connsiteY105" fmla="*/ 7229 h 10010"/>
                <a:gd name="connsiteX106" fmla="*/ 5866 w 10000"/>
                <a:gd name="connsiteY106" fmla="*/ 7183 h 10010"/>
                <a:gd name="connsiteX107" fmla="*/ 5764 w 10000"/>
                <a:gd name="connsiteY107" fmla="*/ 7142 h 10010"/>
                <a:gd name="connsiteX108" fmla="*/ 5354 w 10000"/>
                <a:gd name="connsiteY108" fmla="*/ 7062 h 10010"/>
                <a:gd name="connsiteX109" fmla="*/ 5112 w 10000"/>
                <a:gd name="connsiteY109" fmla="*/ 7075 h 10010"/>
                <a:gd name="connsiteX110" fmla="*/ 5016 w 10000"/>
                <a:gd name="connsiteY110" fmla="*/ 7052 h 10010"/>
                <a:gd name="connsiteX111" fmla="*/ 5118 w 10000"/>
                <a:gd name="connsiteY111" fmla="*/ 7032 h 10010"/>
                <a:gd name="connsiteX112" fmla="*/ 5194 w 10000"/>
                <a:gd name="connsiteY112" fmla="*/ 6989 h 10010"/>
                <a:gd name="connsiteX113" fmla="*/ 5309 w 10000"/>
                <a:gd name="connsiteY113" fmla="*/ 7003 h 10010"/>
                <a:gd name="connsiteX114" fmla="*/ 5445 w 10000"/>
                <a:gd name="connsiteY114" fmla="*/ 6991 h 10010"/>
                <a:gd name="connsiteX115" fmla="*/ 5650 w 10000"/>
                <a:gd name="connsiteY115" fmla="*/ 7005 h 10010"/>
                <a:gd name="connsiteX116" fmla="*/ 5675 w 10000"/>
                <a:gd name="connsiteY116" fmla="*/ 6999 h 10010"/>
                <a:gd name="connsiteX117" fmla="*/ 5834 w 10000"/>
                <a:gd name="connsiteY117" fmla="*/ 7066 h 10010"/>
                <a:gd name="connsiteX118" fmla="*/ 5951 w 10000"/>
                <a:gd name="connsiteY118" fmla="*/ 7042 h 10010"/>
                <a:gd name="connsiteX119" fmla="*/ 5961 w 10000"/>
                <a:gd name="connsiteY119" fmla="*/ 7020 h 10010"/>
                <a:gd name="connsiteX120" fmla="*/ 6069 w 10000"/>
                <a:gd name="connsiteY120" fmla="*/ 7058 h 10010"/>
                <a:gd name="connsiteX121" fmla="*/ 6212 w 10000"/>
                <a:gd name="connsiteY121" fmla="*/ 7079 h 10010"/>
                <a:gd name="connsiteX122" fmla="*/ 6268 w 10000"/>
                <a:gd name="connsiteY122" fmla="*/ 7040 h 10010"/>
                <a:gd name="connsiteX123" fmla="*/ 6314 w 10000"/>
                <a:gd name="connsiteY123" fmla="*/ 7062 h 10010"/>
                <a:gd name="connsiteX124" fmla="*/ 6381 w 10000"/>
                <a:gd name="connsiteY124" fmla="*/ 7136 h 10010"/>
                <a:gd name="connsiteX125" fmla="*/ 6519 w 10000"/>
                <a:gd name="connsiteY125" fmla="*/ 7154 h 10010"/>
                <a:gd name="connsiteX126" fmla="*/ 7082 w 10000"/>
                <a:gd name="connsiteY126" fmla="*/ 7044 h 10010"/>
                <a:gd name="connsiteX127" fmla="*/ 7359 w 10000"/>
                <a:gd name="connsiteY127" fmla="*/ 6889 h 10010"/>
                <a:gd name="connsiteX128" fmla="*/ 7423 w 10000"/>
                <a:gd name="connsiteY128" fmla="*/ 6775 h 10010"/>
                <a:gd name="connsiteX129" fmla="*/ 7323 w 10000"/>
                <a:gd name="connsiteY129" fmla="*/ 6673 h 10010"/>
                <a:gd name="connsiteX130" fmla="*/ 7113 w 10000"/>
                <a:gd name="connsiteY130" fmla="*/ 6612 h 10010"/>
                <a:gd name="connsiteX131" fmla="*/ 6963 w 10000"/>
                <a:gd name="connsiteY131" fmla="*/ 6512 h 10010"/>
                <a:gd name="connsiteX132" fmla="*/ 7102 w 10000"/>
                <a:gd name="connsiteY132" fmla="*/ 6508 h 10010"/>
                <a:gd name="connsiteX133" fmla="*/ 7093 w 10000"/>
                <a:gd name="connsiteY133" fmla="*/ 6484 h 10010"/>
                <a:gd name="connsiteX134" fmla="*/ 6731 w 10000"/>
                <a:gd name="connsiteY134" fmla="*/ 6413 h 10010"/>
                <a:gd name="connsiteX135" fmla="*/ 6716 w 10000"/>
                <a:gd name="connsiteY135" fmla="*/ 6349 h 10010"/>
                <a:gd name="connsiteX136" fmla="*/ 6646 w 10000"/>
                <a:gd name="connsiteY136" fmla="*/ 6282 h 10010"/>
                <a:gd name="connsiteX137" fmla="*/ 6360 w 10000"/>
                <a:gd name="connsiteY137" fmla="*/ 6294 h 10010"/>
                <a:gd name="connsiteX138" fmla="*/ 6258 w 10000"/>
                <a:gd name="connsiteY138" fmla="*/ 6223 h 10010"/>
                <a:gd name="connsiteX139" fmla="*/ 6198 w 10000"/>
                <a:gd name="connsiteY139" fmla="*/ 6219 h 10010"/>
                <a:gd name="connsiteX140" fmla="*/ 6198 w 10000"/>
                <a:gd name="connsiteY140" fmla="*/ 6248 h 10010"/>
                <a:gd name="connsiteX141" fmla="*/ 6069 w 10000"/>
                <a:gd name="connsiteY141" fmla="*/ 6368 h 10010"/>
                <a:gd name="connsiteX142" fmla="*/ 5930 w 10000"/>
                <a:gd name="connsiteY142" fmla="*/ 6439 h 10010"/>
                <a:gd name="connsiteX143" fmla="*/ 5495 w 10000"/>
                <a:gd name="connsiteY143" fmla="*/ 6561 h 10010"/>
                <a:gd name="connsiteX144" fmla="*/ 5342 w 10000"/>
                <a:gd name="connsiteY144" fmla="*/ 6557 h 10010"/>
                <a:gd name="connsiteX145" fmla="*/ 5133 w 10000"/>
                <a:gd name="connsiteY145" fmla="*/ 6575 h 10010"/>
                <a:gd name="connsiteX146" fmla="*/ 5016 w 10000"/>
                <a:gd name="connsiteY146" fmla="*/ 6557 h 10010"/>
                <a:gd name="connsiteX147" fmla="*/ 5169 w 10000"/>
                <a:gd name="connsiteY147" fmla="*/ 6523 h 10010"/>
                <a:gd name="connsiteX148" fmla="*/ 5369 w 10000"/>
                <a:gd name="connsiteY148" fmla="*/ 6508 h 10010"/>
                <a:gd name="connsiteX149" fmla="*/ 5534 w 10000"/>
                <a:gd name="connsiteY149" fmla="*/ 6451 h 10010"/>
                <a:gd name="connsiteX150" fmla="*/ 5695 w 10000"/>
                <a:gd name="connsiteY150" fmla="*/ 6425 h 10010"/>
                <a:gd name="connsiteX151" fmla="*/ 5998 w 10000"/>
                <a:gd name="connsiteY151" fmla="*/ 6327 h 10010"/>
                <a:gd name="connsiteX152" fmla="*/ 6056 w 10000"/>
                <a:gd name="connsiteY152" fmla="*/ 6262 h 10010"/>
                <a:gd name="connsiteX153" fmla="*/ 6060 w 10000"/>
                <a:gd name="connsiteY153" fmla="*/ 6178 h 10010"/>
                <a:gd name="connsiteX154" fmla="*/ 5921 w 10000"/>
                <a:gd name="connsiteY154" fmla="*/ 6164 h 10010"/>
                <a:gd name="connsiteX155" fmla="*/ 5983 w 10000"/>
                <a:gd name="connsiteY155" fmla="*/ 6113 h 10010"/>
                <a:gd name="connsiteX156" fmla="*/ 6002 w 10000"/>
                <a:gd name="connsiteY156" fmla="*/ 6048 h 10010"/>
                <a:gd name="connsiteX157" fmla="*/ 5944 w 10000"/>
                <a:gd name="connsiteY157" fmla="*/ 5987 h 10010"/>
                <a:gd name="connsiteX158" fmla="*/ 5911 w 10000"/>
                <a:gd name="connsiteY158" fmla="*/ 5543 h 10010"/>
                <a:gd name="connsiteX159" fmla="*/ 5993 w 10000"/>
                <a:gd name="connsiteY159" fmla="*/ 5447 h 10010"/>
                <a:gd name="connsiteX160" fmla="*/ 5972 w 10000"/>
                <a:gd name="connsiteY160" fmla="*/ 5408 h 10010"/>
                <a:gd name="connsiteX161" fmla="*/ 6212 w 10000"/>
                <a:gd name="connsiteY161" fmla="*/ 5465 h 10010"/>
                <a:gd name="connsiteX162" fmla="*/ 6229 w 10000"/>
                <a:gd name="connsiteY162" fmla="*/ 5412 h 10010"/>
                <a:gd name="connsiteX163" fmla="*/ 6176 w 10000"/>
                <a:gd name="connsiteY163" fmla="*/ 5274 h 10010"/>
                <a:gd name="connsiteX164" fmla="*/ 6349 w 10000"/>
                <a:gd name="connsiteY164" fmla="*/ 5029 h 10010"/>
                <a:gd name="connsiteX165" fmla="*/ 6243 w 10000"/>
                <a:gd name="connsiteY165" fmla="*/ 4970 h 10010"/>
                <a:gd name="connsiteX166" fmla="*/ 6202 w 10000"/>
                <a:gd name="connsiteY166" fmla="*/ 4915 h 10010"/>
                <a:gd name="connsiteX167" fmla="*/ 6216 w 10000"/>
                <a:gd name="connsiteY167" fmla="*/ 4826 h 10010"/>
                <a:gd name="connsiteX168" fmla="*/ 6470 w 10000"/>
                <a:gd name="connsiteY168" fmla="*/ 4885 h 10010"/>
                <a:gd name="connsiteX169" fmla="*/ 6478 w 10000"/>
                <a:gd name="connsiteY169" fmla="*/ 4868 h 10010"/>
                <a:gd name="connsiteX170" fmla="*/ 6548 w 10000"/>
                <a:gd name="connsiteY170" fmla="*/ 4852 h 10010"/>
                <a:gd name="connsiteX171" fmla="*/ 6646 w 10000"/>
                <a:gd name="connsiteY171" fmla="*/ 4795 h 10010"/>
                <a:gd name="connsiteX172" fmla="*/ 6662 w 10000"/>
                <a:gd name="connsiteY172" fmla="*/ 4779 h 10010"/>
                <a:gd name="connsiteX173" fmla="*/ 6641 w 10000"/>
                <a:gd name="connsiteY173" fmla="*/ 4758 h 10010"/>
                <a:gd name="connsiteX174" fmla="*/ 6693 w 10000"/>
                <a:gd name="connsiteY174" fmla="*/ 4657 h 10010"/>
                <a:gd name="connsiteX175" fmla="*/ 6631 w 10000"/>
                <a:gd name="connsiteY175" fmla="*/ 4591 h 10010"/>
                <a:gd name="connsiteX176" fmla="*/ 6641 w 10000"/>
                <a:gd name="connsiteY176" fmla="*/ 4538 h 10010"/>
                <a:gd name="connsiteX177" fmla="*/ 6676 w 10000"/>
                <a:gd name="connsiteY177" fmla="*/ 4600 h 10010"/>
                <a:gd name="connsiteX178" fmla="*/ 6815 w 10000"/>
                <a:gd name="connsiteY178" fmla="*/ 4646 h 10010"/>
                <a:gd name="connsiteX179" fmla="*/ 6872 w 10000"/>
                <a:gd name="connsiteY179" fmla="*/ 4640 h 10010"/>
                <a:gd name="connsiteX180" fmla="*/ 6963 w 10000"/>
                <a:gd name="connsiteY180" fmla="*/ 4579 h 10010"/>
                <a:gd name="connsiteX181" fmla="*/ 7062 w 10000"/>
                <a:gd name="connsiteY181" fmla="*/ 4604 h 10010"/>
                <a:gd name="connsiteX182" fmla="*/ 7088 w 10000"/>
                <a:gd name="connsiteY182" fmla="*/ 4555 h 10010"/>
                <a:gd name="connsiteX183" fmla="*/ 7154 w 10000"/>
                <a:gd name="connsiteY183" fmla="*/ 4522 h 10010"/>
                <a:gd name="connsiteX184" fmla="*/ 6974 w 10000"/>
                <a:gd name="connsiteY184" fmla="*/ 4487 h 10010"/>
                <a:gd name="connsiteX185" fmla="*/ 7102 w 10000"/>
                <a:gd name="connsiteY185" fmla="*/ 4494 h 10010"/>
                <a:gd name="connsiteX186" fmla="*/ 7234 w 10000"/>
                <a:gd name="connsiteY186" fmla="*/ 4457 h 10010"/>
                <a:gd name="connsiteX187" fmla="*/ 7229 w 10000"/>
                <a:gd name="connsiteY187" fmla="*/ 4432 h 10010"/>
                <a:gd name="connsiteX188" fmla="*/ 7353 w 10000"/>
                <a:gd name="connsiteY188" fmla="*/ 4408 h 10010"/>
                <a:gd name="connsiteX189" fmla="*/ 7364 w 10000"/>
                <a:gd name="connsiteY189" fmla="*/ 4347 h 10010"/>
                <a:gd name="connsiteX190" fmla="*/ 7461 w 10000"/>
                <a:gd name="connsiteY190" fmla="*/ 4335 h 10010"/>
                <a:gd name="connsiteX191" fmla="*/ 7469 w 10000"/>
                <a:gd name="connsiteY191" fmla="*/ 4263 h 10010"/>
                <a:gd name="connsiteX192" fmla="*/ 7572 w 10000"/>
                <a:gd name="connsiteY192" fmla="*/ 4255 h 10010"/>
                <a:gd name="connsiteX193" fmla="*/ 7730 w 10000"/>
                <a:gd name="connsiteY193" fmla="*/ 4270 h 10010"/>
                <a:gd name="connsiteX194" fmla="*/ 7904 w 10000"/>
                <a:gd name="connsiteY194" fmla="*/ 4212 h 10010"/>
                <a:gd name="connsiteX195" fmla="*/ 7966 w 10000"/>
                <a:gd name="connsiteY195" fmla="*/ 4147 h 10010"/>
                <a:gd name="connsiteX196" fmla="*/ 8181 w 10000"/>
                <a:gd name="connsiteY196" fmla="*/ 4080 h 10010"/>
                <a:gd name="connsiteX197" fmla="*/ 8288 w 10000"/>
                <a:gd name="connsiteY197" fmla="*/ 4121 h 10010"/>
                <a:gd name="connsiteX198" fmla="*/ 8452 w 10000"/>
                <a:gd name="connsiteY198" fmla="*/ 4076 h 10010"/>
                <a:gd name="connsiteX199" fmla="*/ 8491 w 10000"/>
                <a:gd name="connsiteY199" fmla="*/ 4019 h 10010"/>
                <a:gd name="connsiteX200" fmla="*/ 8616 w 10000"/>
                <a:gd name="connsiteY200" fmla="*/ 3980 h 10010"/>
                <a:gd name="connsiteX201" fmla="*/ 8722 w 10000"/>
                <a:gd name="connsiteY201" fmla="*/ 3997 h 10010"/>
                <a:gd name="connsiteX202" fmla="*/ 8789 w 10000"/>
                <a:gd name="connsiteY202" fmla="*/ 3968 h 10010"/>
                <a:gd name="connsiteX203" fmla="*/ 8973 w 10000"/>
                <a:gd name="connsiteY203" fmla="*/ 3927 h 10010"/>
                <a:gd name="connsiteX204" fmla="*/ 9049 w 10000"/>
                <a:gd name="connsiteY204" fmla="*/ 3874 h 10010"/>
                <a:gd name="connsiteX205" fmla="*/ 9153 w 10000"/>
                <a:gd name="connsiteY205" fmla="*/ 3852 h 10010"/>
                <a:gd name="connsiteX206" fmla="*/ 9720 w 10000"/>
                <a:gd name="connsiteY206" fmla="*/ 3532 h 10010"/>
                <a:gd name="connsiteX207" fmla="*/ 9971 w 10000"/>
                <a:gd name="connsiteY207" fmla="*/ 399 h 10010"/>
                <a:gd name="connsiteX208" fmla="*/ 9049 w 10000"/>
                <a:gd name="connsiteY208" fmla="*/ 36 h 10010"/>
                <a:gd name="connsiteX209" fmla="*/ 8706 w 10000"/>
                <a:gd name="connsiteY209" fmla="*/ 10 h 10010"/>
                <a:gd name="connsiteX210" fmla="*/ 8652 w 10000"/>
                <a:gd name="connsiteY210" fmla="*/ 218 h 10010"/>
                <a:gd name="connsiteX211" fmla="*/ 8533 w 10000"/>
                <a:gd name="connsiteY211" fmla="*/ 346 h 10010"/>
                <a:gd name="connsiteX212" fmla="*/ 8550 w 10000"/>
                <a:gd name="connsiteY212" fmla="*/ 397 h 10010"/>
                <a:gd name="connsiteX213" fmla="*/ 8667 w 10000"/>
                <a:gd name="connsiteY213" fmla="*/ 444 h 10010"/>
                <a:gd name="connsiteX214" fmla="*/ 8591 w 10000"/>
                <a:gd name="connsiteY214" fmla="*/ 485 h 10010"/>
                <a:gd name="connsiteX215" fmla="*/ 8477 w 10000"/>
                <a:gd name="connsiteY215" fmla="*/ 495 h 10010"/>
                <a:gd name="connsiteX216" fmla="*/ 7537 w 10000"/>
                <a:gd name="connsiteY216" fmla="*/ 397 h 10010"/>
                <a:gd name="connsiteX217" fmla="*/ 7423 w 10000"/>
                <a:gd name="connsiteY217" fmla="*/ 405 h 10010"/>
                <a:gd name="connsiteX218" fmla="*/ 7359 w 10000"/>
                <a:gd name="connsiteY218" fmla="*/ 424 h 10010"/>
                <a:gd name="connsiteX219" fmla="*/ 7290 w 10000"/>
                <a:gd name="connsiteY219" fmla="*/ 472 h 10010"/>
                <a:gd name="connsiteX220" fmla="*/ 7302 w 10000"/>
                <a:gd name="connsiteY220" fmla="*/ 591 h 10010"/>
                <a:gd name="connsiteX221" fmla="*/ 7199 w 10000"/>
                <a:gd name="connsiteY221" fmla="*/ 745 h 10010"/>
                <a:gd name="connsiteX222" fmla="*/ 7072 w 10000"/>
                <a:gd name="connsiteY222" fmla="*/ 825 h 10010"/>
                <a:gd name="connsiteX223" fmla="*/ 7021 w 10000"/>
                <a:gd name="connsiteY223" fmla="*/ 815 h 10010"/>
                <a:gd name="connsiteX224" fmla="*/ 6903 w 10000"/>
                <a:gd name="connsiteY224" fmla="*/ 749 h 10010"/>
                <a:gd name="connsiteX225" fmla="*/ 6756 w 10000"/>
                <a:gd name="connsiteY225" fmla="*/ 715 h 10010"/>
                <a:gd name="connsiteX226" fmla="*/ 6594 w 10000"/>
                <a:gd name="connsiteY226" fmla="*/ 725 h 10010"/>
                <a:gd name="connsiteX227" fmla="*/ 6223 w 10000"/>
                <a:gd name="connsiteY227" fmla="*/ 876 h 10010"/>
                <a:gd name="connsiteX228" fmla="*/ 6125 w 10000"/>
                <a:gd name="connsiteY228" fmla="*/ 1027 h 10010"/>
                <a:gd name="connsiteX229" fmla="*/ 5845 w 10000"/>
                <a:gd name="connsiteY229" fmla="*/ 1163 h 10010"/>
                <a:gd name="connsiteX230" fmla="*/ 5794 w 10000"/>
                <a:gd name="connsiteY230" fmla="*/ 1232 h 10010"/>
                <a:gd name="connsiteX231" fmla="*/ 5940 w 10000"/>
                <a:gd name="connsiteY231" fmla="*/ 1354 h 10010"/>
                <a:gd name="connsiteX232" fmla="*/ 5956 w 10000"/>
                <a:gd name="connsiteY232" fmla="*/ 1422 h 10010"/>
                <a:gd name="connsiteX233" fmla="*/ 5190 w 10000"/>
                <a:gd name="connsiteY233" fmla="*/ 1823 h 10010"/>
                <a:gd name="connsiteX234" fmla="*/ 4955 w 10000"/>
                <a:gd name="connsiteY234" fmla="*/ 2080 h 10010"/>
                <a:gd name="connsiteX235" fmla="*/ 4702 w 10000"/>
                <a:gd name="connsiteY235" fmla="*/ 2145 h 10010"/>
                <a:gd name="connsiteX236" fmla="*/ 4540 w 10000"/>
                <a:gd name="connsiteY236" fmla="*/ 2141 h 10010"/>
                <a:gd name="connsiteX237" fmla="*/ 4443 w 10000"/>
                <a:gd name="connsiteY237" fmla="*/ 2163 h 10010"/>
                <a:gd name="connsiteX238" fmla="*/ 4178 w 10000"/>
                <a:gd name="connsiteY238" fmla="*/ 2803 h 10010"/>
                <a:gd name="connsiteX239" fmla="*/ 3565 w 10000"/>
                <a:gd name="connsiteY239" fmla="*/ 3176 h 10010"/>
                <a:gd name="connsiteX240" fmla="*/ 3569 w 10000"/>
                <a:gd name="connsiteY240" fmla="*/ 3235 h 10010"/>
                <a:gd name="connsiteX241" fmla="*/ 3841 w 10000"/>
                <a:gd name="connsiteY241" fmla="*/ 3402 h 10010"/>
                <a:gd name="connsiteX242" fmla="*/ 3753 w 10000"/>
                <a:gd name="connsiteY242" fmla="*/ 3583 h 10010"/>
                <a:gd name="connsiteX243" fmla="*/ 3594 w 10000"/>
                <a:gd name="connsiteY243" fmla="*/ 3650 h 10010"/>
                <a:gd name="connsiteX244" fmla="*/ 3118 w 10000"/>
                <a:gd name="connsiteY244" fmla="*/ 3605 h 10010"/>
                <a:gd name="connsiteX245" fmla="*/ 2791 w 10000"/>
                <a:gd name="connsiteY245" fmla="*/ 3630 h 10010"/>
                <a:gd name="connsiteX246" fmla="*/ 2528 w 10000"/>
                <a:gd name="connsiteY246" fmla="*/ 3683 h 10010"/>
                <a:gd name="connsiteX247" fmla="*/ 2102 w 10000"/>
                <a:gd name="connsiteY247" fmla="*/ 3850 h 10010"/>
                <a:gd name="connsiteX248" fmla="*/ 1877 w 10000"/>
                <a:gd name="connsiteY248" fmla="*/ 4052 h 10010"/>
                <a:gd name="connsiteX249" fmla="*/ 1896 w 10000"/>
                <a:gd name="connsiteY249" fmla="*/ 4164 h 10010"/>
                <a:gd name="connsiteX250" fmla="*/ 1975 w 10000"/>
                <a:gd name="connsiteY250" fmla="*/ 4251 h 10010"/>
                <a:gd name="connsiteX251" fmla="*/ 2034 w 10000"/>
                <a:gd name="connsiteY251" fmla="*/ 4286 h 10010"/>
                <a:gd name="connsiteX252" fmla="*/ 1924 w 10000"/>
                <a:gd name="connsiteY252" fmla="*/ 4341 h 10010"/>
                <a:gd name="connsiteX253" fmla="*/ 1683 w 10000"/>
                <a:gd name="connsiteY253" fmla="*/ 4720 h 10010"/>
                <a:gd name="connsiteX254" fmla="*/ 1729 w 10000"/>
                <a:gd name="connsiteY254" fmla="*/ 4742 h 10010"/>
                <a:gd name="connsiteX255" fmla="*/ 1764 w 10000"/>
                <a:gd name="connsiteY255" fmla="*/ 4838 h 10010"/>
                <a:gd name="connsiteX256" fmla="*/ 1652 w 10000"/>
                <a:gd name="connsiteY256" fmla="*/ 5237 h 10010"/>
                <a:gd name="connsiteX257" fmla="*/ 1764 w 10000"/>
                <a:gd name="connsiteY257" fmla="*/ 5339 h 10010"/>
                <a:gd name="connsiteX258" fmla="*/ 2071 w 10000"/>
                <a:gd name="connsiteY258" fmla="*/ 5451 h 10010"/>
                <a:gd name="connsiteX259" fmla="*/ 2085 w 10000"/>
                <a:gd name="connsiteY259" fmla="*/ 5588 h 10010"/>
                <a:gd name="connsiteX260" fmla="*/ 1954 w 10000"/>
                <a:gd name="connsiteY260" fmla="*/ 5700 h 10010"/>
                <a:gd name="connsiteX261" fmla="*/ 1764 w 10000"/>
                <a:gd name="connsiteY261" fmla="*/ 5769 h 10010"/>
                <a:gd name="connsiteX262" fmla="*/ 1513 w 10000"/>
                <a:gd name="connsiteY262" fmla="*/ 5797 h 10010"/>
                <a:gd name="connsiteX263" fmla="*/ 1448 w 10000"/>
                <a:gd name="connsiteY263" fmla="*/ 5836 h 10010"/>
                <a:gd name="connsiteX264" fmla="*/ 1594 w 10000"/>
                <a:gd name="connsiteY264" fmla="*/ 5930 h 10010"/>
                <a:gd name="connsiteX265" fmla="*/ 1678 w 10000"/>
                <a:gd name="connsiteY265" fmla="*/ 6152 h 10010"/>
                <a:gd name="connsiteX266" fmla="*/ 1488 w 10000"/>
                <a:gd name="connsiteY266" fmla="*/ 6343 h 10010"/>
                <a:gd name="connsiteX267" fmla="*/ 1554 w 10000"/>
                <a:gd name="connsiteY267" fmla="*/ 6402 h 10010"/>
                <a:gd name="connsiteX268" fmla="*/ 1494 w 10000"/>
                <a:gd name="connsiteY268" fmla="*/ 6502 h 10010"/>
                <a:gd name="connsiteX269" fmla="*/ 1372 w 10000"/>
                <a:gd name="connsiteY269" fmla="*/ 6571 h 10010"/>
                <a:gd name="connsiteX270" fmla="*/ 889 w 10000"/>
                <a:gd name="connsiteY270" fmla="*/ 6624 h 10010"/>
                <a:gd name="connsiteX271" fmla="*/ 860 w 10000"/>
                <a:gd name="connsiteY271" fmla="*/ 6716 h 10010"/>
                <a:gd name="connsiteX272" fmla="*/ 600 w 10000"/>
                <a:gd name="connsiteY272" fmla="*/ 6853 h 10010"/>
                <a:gd name="connsiteX273" fmla="*/ 634 w 10000"/>
                <a:gd name="connsiteY273" fmla="*/ 7050 h 10010"/>
                <a:gd name="connsiteX274" fmla="*/ 415 w 10000"/>
                <a:gd name="connsiteY274" fmla="*/ 7303 h 10010"/>
                <a:gd name="connsiteX275" fmla="*/ 266 w 10000"/>
                <a:gd name="connsiteY275" fmla="*/ 7333 h 10010"/>
                <a:gd name="connsiteX276" fmla="*/ 204 w 10000"/>
                <a:gd name="connsiteY276" fmla="*/ 7272 h 10010"/>
                <a:gd name="connsiteX277" fmla="*/ 128 w 10000"/>
                <a:gd name="connsiteY277" fmla="*/ 7364 h 10010"/>
                <a:gd name="connsiteX278" fmla="*/ 178 w 10000"/>
                <a:gd name="connsiteY278" fmla="*/ 7207 h 10010"/>
                <a:gd name="connsiteX279" fmla="*/ 147 w 10000"/>
                <a:gd name="connsiteY279" fmla="*/ 7176 h 10010"/>
                <a:gd name="connsiteX0" fmla="*/ 147 w 10000"/>
                <a:gd name="connsiteY0" fmla="*/ 7176 h 10010"/>
                <a:gd name="connsiteX1" fmla="*/ 0 w 10000"/>
                <a:gd name="connsiteY1" fmla="*/ 7258 h 10010"/>
                <a:gd name="connsiteX2" fmla="*/ 0 w 10000"/>
                <a:gd name="connsiteY2" fmla="*/ 7661 h 10010"/>
                <a:gd name="connsiteX3" fmla="*/ 81 w 10000"/>
                <a:gd name="connsiteY3" fmla="*/ 7673 h 10010"/>
                <a:gd name="connsiteX4" fmla="*/ 100 w 10000"/>
                <a:gd name="connsiteY4" fmla="*/ 7704 h 10010"/>
                <a:gd name="connsiteX5" fmla="*/ 96 w 10000"/>
                <a:gd name="connsiteY5" fmla="*/ 7759 h 10010"/>
                <a:gd name="connsiteX6" fmla="*/ 66 w 10000"/>
                <a:gd name="connsiteY6" fmla="*/ 7783 h 10010"/>
                <a:gd name="connsiteX7" fmla="*/ 190 w 10000"/>
                <a:gd name="connsiteY7" fmla="*/ 7737 h 10010"/>
                <a:gd name="connsiteX8" fmla="*/ 242 w 10000"/>
                <a:gd name="connsiteY8" fmla="*/ 7690 h 10010"/>
                <a:gd name="connsiteX9" fmla="*/ 306 w 10000"/>
                <a:gd name="connsiteY9" fmla="*/ 7722 h 10010"/>
                <a:gd name="connsiteX10" fmla="*/ 235 w 10000"/>
                <a:gd name="connsiteY10" fmla="*/ 7788 h 10010"/>
                <a:gd name="connsiteX11" fmla="*/ 311 w 10000"/>
                <a:gd name="connsiteY11" fmla="*/ 7790 h 10010"/>
                <a:gd name="connsiteX12" fmla="*/ 348 w 10000"/>
                <a:gd name="connsiteY12" fmla="*/ 7806 h 10010"/>
                <a:gd name="connsiteX13" fmla="*/ 250 w 10000"/>
                <a:gd name="connsiteY13" fmla="*/ 7828 h 10010"/>
                <a:gd name="connsiteX14" fmla="*/ 96 w 10000"/>
                <a:gd name="connsiteY14" fmla="*/ 7896 h 10010"/>
                <a:gd name="connsiteX15" fmla="*/ 370 w 10000"/>
                <a:gd name="connsiteY15" fmla="*/ 7948 h 10010"/>
                <a:gd name="connsiteX16" fmla="*/ 404 w 10000"/>
                <a:gd name="connsiteY16" fmla="*/ 8024 h 10010"/>
                <a:gd name="connsiteX17" fmla="*/ 311 w 10000"/>
                <a:gd name="connsiteY17" fmla="*/ 8136 h 10010"/>
                <a:gd name="connsiteX18" fmla="*/ 511 w 10000"/>
                <a:gd name="connsiteY18" fmla="*/ 8128 h 10010"/>
                <a:gd name="connsiteX19" fmla="*/ 526 w 10000"/>
                <a:gd name="connsiteY19" fmla="*/ 8213 h 10010"/>
                <a:gd name="connsiteX20" fmla="*/ 393 w 10000"/>
                <a:gd name="connsiteY20" fmla="*/ 8270 h 10010"/>
                <a:gd name="connsiteX21" fmla="*/ 415 w 10000"/>
                <a:gd name="connsiteY21" fmla="*/ 8380 h 10010"/>
                <a:gd name="connsiteX22" fmla="*/ 364 w 10000"/>
                <a:gd name="connsiteY22" fmla="*/ 8466 h 10010"/>
                <a:gd name="connsiteX23" fmla="*/ 521 w 10000"/>
                <a:gd name="connsiteY23" fmla="*/ 8474 h 10010"/>
                <a:gd name="connsiteX24" fmla="*/ 676 w 10000"/>
                <a:gd name="connsiteY24" fmla="*/ 8802 h 10010"/>
                <a:gd name="connsiteX25" fmla="*/ 853 w 10000"/>
                <a:gd name="connsiteY25" fmla="*/ 8886 h 10010"/>
                <a:gd name="connsiteX26" fmla="*/ 931 w 10000"/>
                <a:gd name="connsiteY26" fmla="*/ 8975 h 10010"/>
                <a:gd name="connsiteX27" fmla="*/ 1125 w 10000"/>
                <a:gd name="connsiteY27" fmla="*/ 9040 h 10010"/>
                <a:gd name="connsiteX28" fmla="*/ 1249 w 10000"/>
                <a:gd name="connsiteY28" fmla="*/ 9122 h 10010"/>
                <a:gd name="connsiteX29" fmla="*/ 1233 w 10000"/>
                <a:gd name="connsiteY29" fmla="*/ 9181 h 10010"/>
                <a:gd name="connsiteX30" fmla="*/ 1110 w 10000"/>
                <a:gd name="connsiteY30" fmla="*/ 9203 h 10010"/>
                <a:gd name="connsiteX31" fmla="*/ 976 w 10000"/>
                <a:gd name="connsiteY31" fmla="*/ 9189 h 10010"/>
                <a:gd name="connsiteX32" fmla="*/ 935 w 10000"/>
                <a:gd name="connsiteY32" fmla="*/ 9214 h 10010"/>
                <a:gd name="connsiteX33" fmla="*/ 1037 w 10000"/>
                <a:gd name="connsiteY33" fmla="*/ 9342 h 10010"/>
                <a:gd name="connsiteX34" fmla="*/ 894 w 10000"/>
                <a:gd name="connsiteY34" fmla="*/ 9332 h 10010"/>
                <a:gd name="connsiteX35" fmla="*/ 773 w 10000"/>
                <a:gd name="connsiteY35" fmla="*/ 9301 h 10010"/>
                <a:gd name="connsiteX36" fmla="*/ 750 w 10000"/>
                <a:gd name="connsiteY36" fmla="*/ 9348 h 10010"/>
                <a:gd name="connsiteX37" fmla="*/ 1155 w 10000"/>
                <a:gd name="connsiteY37" fmla="*/ 9786 h 10010"/>
                <a:gd name="connsiteX38" fmla="*/ 1091 w 10000"/>
                <a:gd name="connsiteY38" fmla="*/ 9827 h 10010"/>
                <a:gd name="connsiteX39" fmla="*/ 1045 w 10000"/>
                <a:gd name="connsiteY39" fmla="*/ 9912 h 10010"/>
                <a:gd name="connsiteX40" fmla="*/ 987 w 10000"/>
                <a:gd name="connsiteY40" fmla="*/ 9918 h 10010"/>
                <a:gd name="connsiteX41" fmla="*/ 951 w 10000"/>
                <a:gd name="connsiteY41" fmla="*/ 9955 h 10010"/>
                <a:gd name="connsiteX42" fmla="*/ 1195 w 10000"/>
                <a:gd name="connsiteY42" fmla="*/ 9959 h 10010"/>
                <a:gd name="connsiteX43" fmla="*/ 1410 w 10000"/>
                <a:gd name="connsiteY43" fmla="*/ 9996 h 10010"/>
                <a:gd name="connsiteX44" fmla="*/ 1769 w 10000"/>
                <a:gd name="connsiteY44" fmla="*/ 9957 h 10010"/>
                <a:gd name="connsiteX45" fmla="*/ 2091 w 10000"/>
                <a:gd name="connsiteY45" fmla="*/ 9963 h 10010"/>
                <a:gd name="connsiteX46" fmla="*/ 2280 w 10000"/>
                <a:gd name="connsiteY46" fmla="*/ 10010 h 10010"/>
                <a:gd name="connsiteX47" fmla="*/ 2385 w 10000"/>
                <a:gd name="connsiteY47" fmla="*/ 9979 h 10010"/>
                <a:gd name="connsiteX48" fmla="*/ 2485 w 10000"/>
                <a:gd name="connsiteY48" fmla="*/ 9878 h 10010"/>
                <a:gd name="connsiteX49" fmla="*/ 2459 w 10000"/>
                <a:gd name="connsiteY49" fmla="*/ 9713 h 10010"/>
                <a:gd name="connsiteX50" fmla="*/ 2704 w 10000"/>
                <a:gd name="connsiteY50" fmla="*/ 9527 h 10010"/>
                <a:gd name="connsiteX51" fmla="*/ 2883 w 10000"/>
                <a:gd name="connsiteY51" fmla="*/ 9556 h 10010"/>
                <a:gd name="connsiteX52" fmla="*/ 2987 w 10000"/>
                <a:gd name="connsiteY52" fmla="*/ 9482 h 10010"/>
                <a:gd name="connsiteX53" fmla="*/ 3186 w 10000"/>
                <a:gd name="connsiteY53" fmla="*/ 9440 h 10010"/>
                <a:gd name="connsiteX54" fmla="*/ 3457 w 10000"/>
                <a:gd name="connsiteY54" fmla="*/ 9450 h 10010"/>
                <a:gd name="connsiteX55" fmla="*/ 3620 w 10000"/>
                <a:gd name="connsiteY55" fmla="*/ 9480 h 10010"/>
                <a:gd name="connsiteX56" fmla="*/ 3837 w 10000"/>
                <a:gd name="connsiteY56" fmla="*/ 9466 h 10010"/>
                <a:gd name="connsiteX57" fmla="*/ 4056 w 10000"/>
                <a:gd name="connsiteY57" fmla="*/ 9499 h 10010"/>
                <a:gd name="connsiteX58" fmla="*/ 4275 w 10000"/>
                <a:gd name="connsiteY58" fmla="*/ 9503 h 10010"/>
                <a:gd name="connsiteX59" fmla="*/ 4765 w 10000"/>
                <a:gd name="connsiteY59" fmla="*/ 9071 h 10010"/>
                <a:gd name="connsiteX60" fmla="*/ 4889 w 10000"/>
                <a:gd name="connsiteY60" fmla="*/ 8721 h 10010"/>
                <a:gd name="connsiteX61" fmla="*/ 5088 w 10000"/>
                <a:gd name="connsiteY61" fmla="*/ 8564 h 10010"/>
                <a:gd name="connsiteX62" fmla="*/ 5088 w 10000"/>
                <a:gd name="connsiteY62" fmla="*/ 8482 h 10010"/>
                <a:gd name="connsiteX63" fmla="*/ 5016 w 10000"/>
                <a:gd name="connsiteY63" fmla="*/ 8435 h 10010"/>
                <a:gd name="connsiteX64" fmla="*/ 5133 w 10000"/>
                <a:gd name="connsiteY64" fmla="*/ 8362 h 10010"/>
                <a:gd name="connsiteX65" fmla="*/ 5112 w 10000"/>
                <a:gd name="connsiteY65" fmla="*/ 8299 h 10010"/>
                <a:gd name="connsiteX66" fmla="*/ 5032 w 10000"/>
                <a:gd name="connsiteY66" fmla="*/ 8246 h 10010"/>
                <a:gd name="connsiteX67" fmla="*/ 5016 w 10000"/>
                <a:gd name="connsiteY67" fmla="*/ 8209 h 10010"/>
                <a:gd name="connsiteX68" fmla="*/ 5036 w 10000"/>
                <a:gd name="connsiteY68" fmla="*/ 8179 h 10010"/>
                <a:gd name="connsiteX69" fmla="*/ 5144 w 10000"/>
                <a:gd name="connsiteY69" fmla="*/ 8203 h 10010"/>
                <a:gd name="connsiteX70" fmla="*/ 5230 w 10000"/>
                <a:gd name="connsiteY70" fmla="*/ 8201 h 10010"/>
                <a:gd name="connsiteX71" fmla="*/ 5184 w 10000"/>
                <a:gd name="connsiteY71" fmla="*/ 8150 h 10010"/>
                <a:gd name="connsiteX72" fmla="*/ 5198 w 10000"/>
                <a:gd name="connsiteY72" fmla="*/ 8122 h 10010"/>
                <a:gd name="connsiteX73" fmla="*/ 5262 w 10000"/>
                <a:gd name="connsiteY73" fmla="*/ 8079 h 10010"/>
                <a:gd name="connsiteX74" fmla="*/ 5250 w 10000"/>
                <a:gd name="connsiteY74" fmla="*/ 8044 h 10010"/>
                <a:gd name="connsiteX75" fmla="*/ 5309 w 10000"/>
                <a:gd name="connsiteY75" fmla="*/ 7926 h 10010"/>
                <a:gd name="connsiteX76" fmla="*/ 5293 w 10000"/>
                <a:gd name="connsiteY76" fmla="*/ 7891 h 10010"/>
                <a:gd name="connsiteX77" fmla="*/ 4996 w 10000"/>
                <a:gd name="connsiteY77" fmla="*/ 7802 h 10010"/>
                <a:gd name="connsiteX78" fmla="*/ 5036 w 10000"/>
                <a:gd name="connsiteY78" fmla="*/ 7798 h 10010"/>
                <a:gd name="connsiteX79" fmla="*/ 5194 w 10000"/>
                <a:gd name="connsiteY79" fmla="*/ 7822 h 10010"/>
                <a:gd name="connsiteX80" fmla="*/ 5365 w 10000"/>
                <a:gd name="connsiteY80" fmla="*/ 7814 h 10010"/>
                <a:gd name="connsiteX81" fmla="*/ 5415 w 10000"/>
                <a:gd name="connsiteY81" fmla="*/ 7781 h 10010"/>
                <a:gd name="connsiteX82" fmla="*/ 5250 w 10000"/>
                <a:gd name="connsiteY82" fmla="*/ 7720 h 10010"/>
                <a:gd name="connsiteX83" fmla="*/ 4761 w 10000"/>
                <a:gd name="connsiteY83" fmla="*/ 7680 h 10010"/>
                <a:gd name="connsiteX84" fmla="*/ 4794 w 10000"/>
                <a:gd name="connsiteY84" fmla="*/ 7661 h 10010"/>
                <a:gd name="connsiteX85" fmla="*/ 5194 w 10000"/>
                <a:gd name="connsiteY85" fmla="*/ 7649 h 10010"/>
                <a:gd name="connsiteX86" fmla="*/ 5415 w 10000"/>
                <a:gd name="connsiteY86" fmla="*/ 7686 h 10010"/>
                <a:gd name="connsiteX87" fmla="*/ 5542 w 10000"/>
                <a:gd name="connsiteY87" fmla="*/ 7661 h 10010"/>
                <a:gd name="connsiteX88" fmla="*/ 5589 w 10000"/>
                <a:gd name="connsiteY88" fmla="*/ 7598 h 10010"/>
                <a:gd name="connsiteX89" fmla="*/ 5819 w 10000"/>
                <a:gd name="connsiteY89" fmla="*/ 7598 h 10010"/>
                <a:gd name="connsiteX90" fmla="*/ 6131 w 10000"/>
                <a:gd name="connsiteY90" fmla="*/ 7472 h 10010"/>
                <a:gd name="connsiteX91" fmla="*/ 6142 w 10000"/>
                <a:gd name="connsiteY91" fmla="*/ 7388 h 10010"/>
                <a:gd name="connsiteX92" fmla="*/ 6274 w 10000"/>
                <a:gd name="connsiteY92" fmla="*/ 7407 h 10010"/>
                <a:gd name="connsiteX93" fmla="*/ 6268 w 10000"/>
                <a:gd name="connsiteY93" fmla="*/ 7492 h 10010"/>
                <a:gd name="connsiteX94" fmla="*/ 6478 w 10000"/>
                <a:gd name="connsiteY94" fmla="*/ 7486 h 10010"/>
                <a:gd name="connsiteX95" fmla="*/ 6616 w 10000"/>
                <a:gd name="connsiteY95" fmla="*/ 7398 h 10010"/>
                <a:gd name="connsiteX96" fmla="*/ 6872 w 10000"/>
                <a:gd name="connsiteY96" fmla="*/ 7319 h 10010"/>
                <a:gd name="connsiteX97" fmla="*/ 6832 w 10000"/>
                <a:gd name="connsiteY97" fmla="*/ 7229 h 10010"/>
                <a:gd name="connsiteX98" fmla="*/ 6908 w 10000"/>
                <a:gd name="connsiteY98" fmla="*/ 7264 h 10010"/>
                <a:gd name="connsiteX99" fmla="*/ 7025 w 10000"/>
                <a:gd name="connsiteY99" fmla="*/ 7264 h 10010"/>
                <a:gd name="connsiteX100" fmla="*/ 7025 w 10000"/>
                <a:gd name="connsiteY100" fmla="*/ 7223 h 10010"/>
                <a:gd name="connsiteX101" fmla="*/ 7134 w 10000"/>
                <a:gd name="connsiteY101" fmla="*/ 7191 h 10010"/>
                <a:gd name="connsiteX102" fmla="*/ 7119 w 10000"/>
                <a:gd name="connsiteY102" fmla="*/ 7158 h 10010"/>
                <a:gd name="connsiteX103" fmla="*/ 6198 w 10000"/>
                <a:gd name="connsiteY103" fmla="*/ 7225 h 10010"/>
                <a:gd name="connsiteX104" fmla="*/ 5983 w 10000"/>
                <a:gd name="connsiteY104" fmla="*/ 7205 h 10010"/>
                <a:gd name="connsiteX105" fmla="*/ 5895 w 10000"/>
                <a:gd name="connsiteY105" fmla="*/ 7229 h 10010"/>
                <a:gd name="connsiteX106" fmla="*/ 5866 w 10000"/>
                <a:gd name="connsiteY106" fmla="*/ 7183 h 10010"/>
                <a:gd name="connsiteX107" fmla="*/ 5764 w 10000"/>
                <a:gd name="connsiteY107" fmla="*/ 7142 h 10010"/>
                <a:gd name="connsiteX108" fmla="*/ 5354 w 10000"/>
                <a:gd name="connsiteY108" fmla="*/ 7062 h 10010"/>
                <a:gd name="connsiteX109" fmla="*/ 5112 w 10000"/>
                <a:gd name="connsiteY109" fmla="*/ 7075 h 10010"/>
                <a:gd name="connsiteX110" fmla="*/ 5016 w 10000"/>
                <a:gd name="connsiteY110" fmla="*/ 7052 h 10010"/>
                <a:gd name="connsiteX111" fmla="*/ 5118 w 10000"/>
                <a:gd name="connsiteY111" fmla="*/ 7032 h 10010"/>
                <a:gd name="connsiteX112" fmla="*/ 5194 w 10000"/>
                <a:gd name="connsiteY112" fmla="*/ 6989 h 10010"/>
                <a:gd name="connsiteX113" fmla="*/ 5309 w 10000"/>
                <a:gd name="connsiteY113" fmla="*/ 7003 h 10010"/>
                <a:gd name="connsiteX114" fmla="*/ 5445 w 10000"/>
                <a:gd name="connsiteY114" fmla="*/ 6991 h 10010"/>
                <a:gd name="connsiteX115" fmla="*/ 5650 w 10000"/>
                <a:gd name="connsiteY115" fmla="*/ 7005 h 10010"/>
                <a:gd name="connsiteX116" fmla="*/ 5675 w 10000"/>
                <a:gd name="connsiteY116" fmla="*/ 6999 h 10010"/>
                <a:gd name="connsiteX117" fmla="*/ 5834 w 10000"/>
                <a:gd name="connsiteY117" fmla="*/ 7066 h 10010"/>
                <a:gd name="connsiteX118" fmla="*/ 5951 w 10000"/>
                <a:gd name="connsiteY118" fmla="*/ 7042 h 10010"/>
                <a:gd name="connsiteX119" fmla="*/ 5961 w 10000"/>
                <a:gd name="connsiteY119" fmla="*/ 7020 h 10010"/>
                <a:gd name="connsiteX120" fmla="*/ 6069 w 10000"/>
                <a:gd name="connsiteY120" fmla="*/ 7058 h 10010"/>
                <a:gd name="connsiteX121" fmla="*/ 6212 w 10000"/>
                <a:gd name="connsiteY121" fmla="*/ 7079 h 10010"/>
                <a:gd name="connsiteX122" fmla="*/ 6268 w 10000"/>
                <a:gd name="connsiteY122" fmla="*/ 7040 h 10010"/>
                <a:gd name="connsiteX123" fmla="*/ 6314 w 10000"/>
                <a:gd name="connsiteY123" fmla="*/ 7062 h 10010"/>
                <a:gd name="connsiteX124" fmla="*/ 6381 w 10000"/>
                <a:gd name="connsiteY124" fmla="*/ 7136 h 10010"/>
                <a:gd name="connsiteX125" fmla="*/ 6519 w 10000"/>
                <a:gd name="connsiteY125" fmla="*/ 7154 h 10010"/>
                <a:gd name="connsiteX126" fmla="*/ 7082 w 10000"/>
                <a:gd name="connsiteY126" fmla="*/ 7044 h 10010"/>
                <a:gd name="connsiteX127" fmla="*/ 7359 w 10000"/>
                <a:gd name="connsiteY127" fmla="*/ 6889 h 10010"/>
                <a:gd name="connsiteX128" fmla="*/ 7423 w 10000"/>
                <a:gd name="connsiteY128" fmla="*/ 6775 h 10010"/>
                <a:gd name="connsiteX129" fmla="*/ 7323 w 10000"/>
                <a:gd name="connsiteY129" fmla="*/ 6673 h 10010"/>
                <a:gd name="connsiteX130" fmla="*/ 7113 w 10000"/>
                <a:gd name="connsiteY130" fmla="*/ 6612 h 10010"/>
                <a:gd name="connsiteX131" fmla="*/ 6963 w 10000"/>
                <a:gd name="connsiteY131" fmla="*/ 6512 h 10010"/>
                <a:gd name="connsiteX132" fmla="*/ 7102 w 10000"/>
                <a:gd name="connsiteY132" fmla="*/ 6508 h 10010"/>
                <a:gd name="connsiteX133" fmla="*/ 7093 w 10000"/>
                <a:gd name="connsiteY133" fmla="*/ 6484 h 10010"/>
                <a:gd name="connsiteX134" fmla="*/ 6731 w 10000"/>
                <a:gd name="connsiteY134" fmla="*/ 6413 h 10010"/>
                <a:gd name="connsiteX135" fmla="*/ 6716 w 10000"/>
                <a:gd name="connsiteY135" fmla="*/ 6349 h 10010"/>
                <a:gd name="connsiteX136" fmla="*/ 6646 w 10000"/>
                <a:gd name="connsiteY136" fmla="*/ 6282 h 10010"/>
                <a:gd name="connsiteX137" fmla="*/ 6360 w 10000"/>
                <a:gd name="connsiteY137" fmla="*/ 6294 h 10010"/>
                <a:gd name="connsiteX138" fmla="*/ 6258 w 10000"/>
                <a:gd name="connsiteY138" fmla="*/ 6223 h 10010"/>
                <a:gd name="connsiteX139" fmla="*/ 6198 w 10000"/>
                <a:gd name="connsiteY139" fmla="*/ 6219 h 10010"/>
                <a:gd name="connsiteX140" fmla="*/ 6198 w 10000"/>
                <a:gd name="connsiteY140" fmla="*/ 6248 h 10010"/>
                <a:gd name="connsiteX141" fmla="*/ 6069 w 10000"/>
                <a:gd name="connsiteY141" fmla="*/ 6368 h 10010"/>
                <a:gd name="connsiteX142" fmla="*/ 5930 w 10000"/>
                <a:gd name="connsiteY142" fmla="*/ 6439 h 10010"/>
                <a:gd name="connsiteX143" fmla="*/ 5495 w 10000"/>
                <a:gd name="connsiteY143" fmla="*/ 6561 h 10010"/>
                <a:gd name="connsiteX144" fmla="*/ 5342 w 10000"/>
                <a:gd name="connsiteY144" fmla="*/ 6557 h 10010"/>
                <a:gd name="connsiteX145" fmla="*/ 5133 w 10000"/>
                <a:gd name="connsiteY145" fmla="*/ 6575 h 10010"/>
                <a:gd name="connsiteX146" fmla="*/ 5016 w 10000"/>
                <a:gd name="connsiteY146" fmla="*/ 6557 h 10010"/>
                <a:gd name="connsiteX147" fmla="*/ 5169 w 10000"/>
                <a:gd name="connsiteY147" fmla="*/ 6523 h 10010"/>
                <a:gd name="connsiteX148" fmla="*/ 5369 w 10000"/>
                <a:gd name="connsiteY148" fmla="*/ 6508 h 10010"/>
                <a:gd name="connsiteX149" fmla="*/ 5534 w 10000"/>
                <a:gd name="connsiteY149" fmla="*/ 6451 h 10010"/>
                <a:gd name="connsiteX150" fmla="*/ 5695 w 10000"/>
                <a:gd name="connsiteY150" fmla="*/ 6425 h 10010"/>
                <a:gd name="connsiteX151" fmla="*/ 5998 w 10000"/>
                <a:gd name="connsiteY151" fmla="*/ 6327 h 10010"/>
                <a:gd name="connsiteX152" fmla="*/ 6056 w 10000"/>
                <a:gd name="connsiteY152" fmla="*/ 6262 h 10010"/>
                <a:gd name="connsiteX153" fmla="*/ 6060 w 10000"/>
                <a:gd name="connsiteY153" fmla="*/ 6178 h 10010"/>
                <a:gd name="connsiteX154" fmla="*/ 5921 w 10000"/>
                <a:gd name="connsiteY154" fmla="*/ 6164 h 10010"/>
                <a:gd name="connsiteX155" fmla="*/ 5983 w 10000"/>
                <a:gd name="connsiteY155" fmla="*/ 6113 h 10010"/>
                <a:gd name="connsiteX156" fmla="*/ 6002 w 10000"/>
                <a:gd name="connsiteY156" fmla="*/ 6048 h 10010"/>
                <a:gd name="connsiteX157" fmla="*/ 5944 w 10000"/>
                <a:gd name="connsiteY157" fmla="*/ 5987 h 10010"/>
                <a:gd name="connsiteX158" fmla="*/ 5911 w 10000"/>
                <a:gd name="connsiteY158" fmla="*/ 5543 h 10010"/>
                <a:gd name="connsiteX159" fmla="*/ 5993 w 10000"/>
                <a:gd name="connsiteY159" fmla="*/ 5447 h 10010"/>
                <a:gd name="connsiteX160" fmla="*/ 5972 w 10000"/>
                <a:gd name="connsiteY160" fmla="*/ 5408 h 10010"/>
                <a:gd name="connsiteX161" fmla="*/ 6212 w 10000"/>
                <a:gd name="connsiteY161" fmla="*/ 5465 h 10010"/>
                <a:gd name="connsiteX162" fmla="*/ 6229 w 10000"/>
                <a:gd name="connsiteY162" fmla="*/ 5412 h 10010"/>
                <a:gd name="connsiteX163" fmla="*/ 6176 w 10000"/>
                <a:gd name="connsiteY163" fmla="*/ 5274 h 10010"/>
                <a:gd name="connsiteX164" fmla="*/ 6349 w 10000"/>
                <a:gd name="connsiteY164" fmla="*/ 5029 h 10010"/>
                <a:gd name="connsiteX165" fmla="*/ 6243 w 10000"/>
                <a:gd name="connsiteY165" fmla="*/ 4970 h 10010"/>
                <a:gd name="connsiteX166" fmla="*/ 6202 w 10000"/>
                <a:gd name="connsiteY166" fmla="*/ 4915 h 10010"/>
                <a:gd name="connsiteX167" fmla="*/ 6216 w 10000"/>
                <a:gd name="connsiteY167" fmla="*/ 4826 h 10010"/>
                <a:gd name="connsiteX168" fmla="*/ 6470 w 10000"/>
                <a:gd name="connsiteY168" fmla="*/ 4885 h 10010"/>
                <a:gd name="connsiteX169" fmla="*/ 6478 w 10000"/>
                <a:gd name="connsiteY169" fmla="*/ 4868 h 10010"/>
                <a:gd name="connsiteX170" fmla="*/ 6548 w 10000"/>
                <a:gd name="connsiteY170" fmla="*/ 4852 h 10010"/>
                <a:gd name="connsiteX171" fmla="*/ 6646 w 10000"/>
                <a:gd name="connsiteY171" fmla="*/ 4795 h 10010"/>
                <a:gd name="connsiteX172" fmla="*/ 6662 w 10000"/>
                <a:gd name="connsiteY172" fmla="*/ 4779 h 10010"/>
                <a:gd name="connsiteX173" fmla="*/ 6641 w 10000"/>
                <a:gd name="connsiteY173" fmla="*/ 4758 h 10010"/>
                <a:gd name="connsiteX174" fmla="*/ 6693 w 10000"/>
                <a:gd name="connsiteY174" fmla="*/ 4657 h 10010"/>
                <a:gd name="connsiteX175" fmla="*/ 6631 w 10000"/>
                <a:gd name="connsiteY175" fmla="*/ 4591 h 10010"/>
                <a:gd name="connsiteX176" fmla="*/ 6641 w 10000"/>
                <a:gd name="connsiteY176" fmla="*/ 4538 h 10010"/>
                <a:gd name="connsiteX177" fmla="*/ 6676 w 10000"/>
                <a:gd name="connsiteY177" fmla="*/ 4600 h 10010"/>
                <a:gd name="connsiteX178" fmla="*/ 6815 w 10000"/>
                <a:gd name="connsiteY178" fmla="*/ 4646 h 10010"/>
                <a:gd name="connsiteX179" fmla="*/ 6872 w 10000"/>
                <a:gd name="connsiteY179" fmla="*/ 4640 h 10010"/>
                <a:gd name="connsiteX180" fmla="*/ 6963 w 10000"/>
                <a:gd name="connsiteY180" fmla="*/ 4579 h 10010"/>
                <a:gd name="connsiteX181" fmla="*/ 7062 w 10000"/>
                <a:gd name="connsiteY181" fmla="*/ 4604 h 10010"/>
                <a:gd name="connsiteX182" fmla="*/ 7088 w 10000"/>
                <a:gd name="connsiteY182" fmla="*/ 4555 h 10010"/>
                <a:gd name="connsiteX183" fmla="*/ 7154 w 10000"/>
                <a:gd name="connsiteY183" fmla="*/ 4522 h 10010"/>
                <a:gd name="connsiteX184" fmla="*/ 6974 w 10000"/>
                <a:gd name="connsiteY184" fmla="*/ 4487 h 10010"/>
                <a:gd name="connsiteX185" fmla="*/ 7102 w 10000"/>
                <a:gd name="connsiteY185" fmla="*/ 4494 h 10010"/>
                <a:gd name="connsiteX186" fmla="*/ 7234 w 10000"/>
                <a:gd name="connsiteY186" fmla="*/ 4457 h 10010"/>
                <a:gd name="connsiteX187" fmla="*/ 7229 w 10000"/>
                <a:gd name="connsiteY187" fmla="*/ 4432 h 10010"/>
                <a:gd name="connsiteX188" fmla="*/ 7353 w 10000"/>
                <a:gd name="connsiteY188" fmla="*/ 4408 h 10010"/>
                <a:gd name="connsiteX189" fmla="*/ 7364 w 10000"/>
                <a:gd name="connsiteY189" fmla="*/ 4347 h 10010"/>
                <a:gd name="connsiteX190" fmla="*/ 7461 w 10000"/>
                <a:gd name="connsiteY190" fmla="*/ 4335 h 10010"/>
                <a:gd name="connsiteX191" fmla="*/ 7469 w 10000"/>
                <a:gd name="connsiteY191" fmla="*/ 4263 h 10010"/>
                <a:gd name="connsiteX192" fmla="*/ 7572 w 10000"/>
                <a:gd name="connsiteY192" fmla="*/ 4255 h 10010"/>
                <a:gd name="connsiteX193" fmla="*/ 7730 w 10000"/>
                <a:gd name="connsiteY193" fmla="*/ 4270 h 10010"/>
                <a:gd name="connsiteX194" fmla="*/ 7904 w 10000"/>
                <a:gd name="connsiteY194" fmla="*/ 4212 h 10010"/>
                <a:gd name="connsiteX195" fmla="*/ 7966 w 10000"/>
                <a:gd name="connsiteY195" fmla="*/ 4147 h 10010"/>
                <a:gd name="connsiteX196" fmla="*/ 8181 w 10000"/>
                <a:gd name="connsiteY196" fmla="*/ 4080 h 10010"/>
                <a:gd name="connsiteX197" fmla="*/ 8288 w 10000"/>
                <a:gd name="connsiteY197" fmla="*/ 4121 h 10010"/>
                <a:gd name="connsiteX198" fmla="*/ 8452 w 10000"/>
                <a:gd name="connsiteY198" fmla="*/ 4076 h 10010"/>
                <a:gd name="connsiteX199" fmla="*/ 8491 w 10000"/>
                <a:gd name="connsiteY199" fmla="*/ 4019 h 10010"/>
                <a:gd name="connsiteX200" fmla="*/ 8616 w 10000"/>
                <a:gd name="connsiteY200" fmla="*/ 3980 h 10010"/>
                <a:gd name="connsiteX201" fmla="*/ 8722 w 10000"/>
                <a:gd name="connsiteY201" fmla="*/ 3997 h 10010"/>
                <a:gd name="connsiteX202" fmla="*/ 8789 w 10000"/>
                <a:gd name="connsiteY202" fmla="*/ 3968 h 10010"/>
                <a:gd name="connsiteX203" fmla="*/ 8973 w 10000"/>
                <a:gd name="connsiteY203" fmla="*/ 3927 h 10010"/>
                <a:gd name="connsiteX204" fmla="*/ 9049 w 10000"/>
                <a:gd name="connsiteY204" fmla="*/ 3874 h 10010"/>
                <a:gd name="connsiteX205" fmla="*/ 9153 w 10000"/>
                <a:gd name="connsiteY205" fmla="*/ 3852 h 10010"/>
                <a:gd name="connsiteX206" fmla="*/ 9720 w 10000"/>
                <a:gd name="connsiteY206" fmla="*/ 3532 h 10010"/>
                <a:gd name="connsiteX207" fmla="*/ 9971 w 10000"/>
                <a:gd name="connsiteY207" fmla="*/ 399 h 10010"/>
                <a:gd name="connsiteX208" fmla="*/ 9049 w 10000"/>
                <a:gd name="connsiteY208" fmla="*/ 36 h 10010"/>
                <a:gd name="connsiteX209" fmla="*/ 8706 w 10000"/>
                <a:gd name="connsiteY209" fmla="*/ 10 h 10010"/>
                <a:gd name="connsiteX210" fmla="*/ 8652 w 10000"/>
                <a:gd name="connsiteY210" fmla="*/ 218 h 10010"/>
                <a:gd name="connsiteX211" fmla="*/ 8550 w 10000"/>
                <a:gd name="connsiteY211" fmla="*/ 397 h 10010"/>
                <a:gd name="connsiteX212" fmla="*/ 8667 w 10000"/>
                <a:gd name="connsiteY212" fmla="*/ 444 h 10010"/>
                <a:gd name="connsiteX213" fmla="*/ 8591 w 10000"/>
                <a:gd name="connsiteY213" fmla="*/ 485 h 10010"/>
                <a:gd name="connsiteX214" fmla="*/ 8477 w 10000"/>
                <a:gd name="connsiteY214" fmla="*/ 495 h 10010"/>
                <a:gd name="connsiteX215" fmla="*/ 7537 w 10000"/>
                <a:gd name="connsiteY215" fmla="*/ 397 h 10010"/>
                <a:gd name="connsiteX216" fmla="*/ 7423 w 10000"/>
                <a:gd name="connsiteY216" fmla="*/ 405 h 10010"/>
                <a:gd name="connsiteX217" fmla="*/ 7359 w 10000"/>
                <a:gd name="connsiteY217" fmla="*/ 424 h 10010"/>
                <a:gd name="connsiteX218" fmla="*/ 7290 w 10000"/>
                <a:gd name="connsiteY218" fmla="*/ 472 h 10010"/>
                <a:gd name="connsiteX219" fmla="*/ 7302 w 10000"/>
                <a:gd name="connsiteY219" fmla="*/ 591 h 10010"/>
                <a:gd name="connsiteX220" fmla="*/ 7199 w 10000"/>
                <a:gd name="connsiteY220" fmla="*/ 745 h 10010"/>
                <a:gd name="connsiteX221" fmla="*/ 7072 w 10000"/>
                <a:gd name="connsiteY221" fmla="*/ 825 h 10010"/>
                <a:gd name="connsiteX222" fmla="*/ 7021 w 10000"/>
                <a:gd name="connsiteY222" fmla="*/ 815 h 10010"/>
                <a:gd name="connsiteX223" fmla="*/ 6903 w 10000"/>
                <a:gd name="connsiteY223" fmla="*/ 749 h 10010"/>
                <a:gd name="connsiteX224" fmla="*/ 6756 w 10000"/>
                <a:gd name="connsiteY224" fmla="*/ 715 h 10010"/>
                <a:gd name="connsiteX225" fmla="*/ 6594 w 10000"/>
                <a:gd name="connsiteY225" fmla="*/ 725 h 10010"/>
                <a:gd name="connsiteX226" fmla="*/ 6223 w 10000"/>
                <a:gd name="connsiteY226" fmla="*/ 876 h 10010"/>
                <a:gd name="connsiteX227" fmla="*/ 6125 w 10000"/>
                <a:gd name="connsiteY227" fmla="*/ 1027 h 10010"/>
                <a:gd name="connsiteX228" fmla="*/ 5845 w 10000"/>
                <a:gd name="connsiteY228" fmla="*/ 1163 h 10010"/>
                <a:gd name="connsiteX229" fmla="*/ 5794 w 10000"/>
                <a:gd name="connsiteY229" fmla="*/ 1232 h 10010"/>
                <a:gd name="connsiteX230" fmla="*/ 5940 w 10000"/>
                <a:gd name="connsiteY230" fmla="*/ 1354 h 10010"/>
                <a:gd name="connsiteX231" fmla="*/ 5956 w 10000"/>
                <a:gd name="connsiteY231" fmla="*/ 1422 h 10010"/>
                <a:gd name="connsiteX232" fmla="*/ 5190 w 10000"/>
                <a:gd name="connsiteY232" fmla="*/ 1823 h 10010"/>
                <a:gd name="connsiteX233" fmla="*/ 4955 w 10000"/>
                <a:gd name="connsiteY233" fmla="*/ 2080 h 10010"/>
                <a:gd name="connsiteX234" fmla="*/ 4702 w 10000"/>
                <a:gd name="connsiteY234" fmla="*/ 2145 h 10010"/>
                <a:gd name="connsiteX235" fmla="*/ 4540 w 10000"/>
                <a:gd name="connsiteY235" fmla="*/ 2141 h 10010"/>
                <a:gd name="connsiteX236" fmla="*/ 4443 w 10000"/>
                <a:gd name="connsiteY236" fmla="*/ 2163 h 10010"/>
                <a:gd name="connsiteX237" fmla="*/ 4178 w 10000"/>
                <a:gd name="connsiteY237" fmla="*/ 2803 h 10010"/>
                <a:gd name="connsiteX238" fmla="*/ 3565 w 10000"/>
                <a:gd name="connsiteY238" fmla="*/ 3176 h 10010"/>
                <a:gd name="connsiteX239" fmla="*/ 3569 w 10000"/>
                <a:gd name="connsiteY239" fmla="*/ 3235 h 10010"/>
                <a:gd name="connsiteX240" fmla="*/ 3841 w 10000"/>
                <a:gd name="connsiteY240" fmla="*/ 3402 h 10010"/>
                <a:gd name="connsiteX241" fmla="*/ 3753 w 10000"/>
                <a:gd name="connsiteY241" fmla="*/ 3583 h 10010"/>
                <a:gd name="connsiteX242" fmla="*/ 3594 w 10000"/>
                <a:gd name="connsiteY242" fmla="*/ 3650 h 10010"/>
                <a:gd name="connsiteX243" fmla="*/ 3118 w 10000"/>
                <a:gd name="connsiteY243" fmla="*/ 3605 h 10010"/>
                <a:gd name="connsiteX244" fmla="*/ 2791 w 10000"/>
                <a:gd name="connsiteY244" fmla="*/ 3630 h 10010"/>
                <a:gd name="connsiteX245" fmla="*/ 2528 w 10000"/>
                <a:gd name="connsiteY245" fmla="*/ 3683 h 10010"/>
                <a:gd name="connsiteX246" fmla="*/ 2102 w 10000"/>
                <a:gd name="connsiteY246" fmla="*/ 3850 h 10010"/>
                <a:gd name="connsiteX247" fmla="*/ 1877 w 10000"/>
                <a:gd name="connsiteY247" fmla="*/ 4052 h 10010"/>
                <a:gd name="connsiteX248" fmla="*/ 1896 w 10000"/>
                <a:gd name="connsiteY248" fmla="*/ 4164 h 10010"/>
                <a:gd name="connsiteX249" fmla="*/ 1975 w 10000"/>
                <a:gd name="connsiteY249" fmla="*/ 4251 h 10010"/>
                <a:gd name="connsiteX250" fmla="*/ 2034 w 10000"/>
                <a:gd name="connsiteY250" fmla="*/ 4286 h 10010"/>
                <a:gd name="connsiteX251" fmla="*/ 1924 w 10000"/>
                <a:gd name="connsiteY251" fmla="*/ 4341 h 10010"/>
                <a:gd name="connsiteX252" fmla="*/ 1683 w 10000"/>
                <a:gd name="connsiteY252" fmla="*/ 4720 h 10010"/>
                <a:gd name="connsiteX253" fmla="*/ 1729 w 10000"/>
                <a:gd name="connsiteY253" fmla="*/ 4742 h 10010"/>
                <a:gd name="connsiteX254" fmla="*/ 1764 w 10000"/>
                <a:gd name="connsiteY254" fmla="*/ 4838 h 10010"/>
                <a:gd name="connsiteX255" fmla="*/ 1652 w 10000"/>
                <a:gd name="connsiteY255" fmla="*/ 5237 h 10010"/>
                <a:gd name="connsiteX256" fmla="*/ 1764 w 10000"/>
                <a:gd name="connsiteY256" fmla="*/ 5339 h 10010"/>
                <a:gd name="connsiteX257" fmla="*/ 2071 w 10000"/>
                <a:gd name="connsiteY257" fmla="*/ 5451 h 10010"/>
                <a:gd name="connsiteX258" fmla="*/ 2085 w 10000"/>
                <a:gd name="connsiteY258" fmla="*/ 5588 h 10010"/>
                <a:gd name="connsiteX259" fmla="*/ 1954 w 10000"/>
                <a:gd name="connsiteY259" fmla="*/ 5700 h 10010"/>
                <a:gd name="connsiteX260" fmla="*/ 1764 w 10000"/>
                <a:gd name="connsiteY260" fmla="*/ 5769 h 10010"/>
                <a:gd name="connsiteX261" fmla="*/ 1513 w 10000"/>
                <a:gd name="connsiteY261" fmla="*/ 5797 h 10010"/>
                <a:gd name="connsiteX262" fmla="*/ 1448 w 10000"/>
                <a:gd name="connsiteY262" fmla="*/ 5836 h 10010"/>
                <a:gd name="connsiteX263" fmla="*/ 1594 w 10000"/>
                <a:gd name="connsiteY263" fmla="*/ 5930 h 10010"/>
                <a:gd name="connsiteX264" fmla="*/ 1678 w 10000"/>
                <a:gd name="connsiteY264" fmla="*/ 6152 h 10010"/>
                <a:gd name="connsiteX265" fmla="*/ 1488 w 10000"/>
                <a:gd name="connsiteY265" fmla="*/ 6343 h 10010"/>
                <a:gd name="connsiteX266" fmla="*/ 1554 w 10000"/>
                <a:gd name="connsiteY266" fmla="*/ 6402 h 10010"/>
                <a:gd name="connsiteX267" fmla="*/ 1494 w 10000"/>
                <a:gd name="connsiteY267" fmla="*/ 6502 h 10010"/>
                <a:gd name="connsiteX268" fmla="*/ 1372 w 10000"/>
                <a:gd name="connsiteY268" fmla="*/ 6571 h 10010"/>
                <a:gd name="connsiteX269" fmla="*/ 889 w 10000"/>
                <a:gd name="connsiteY269" fmla="*/ 6624 h 10010"/>
                <a:gd name="connsiteX270" fmla="*/ 860 w 10000"/>
                <a:gd name="connsiteY270" fmla="*/ 6716 h 10010"/>
                <a:gd name="connsiteX271" fmla="*/ 600 w 10000"/>
                <a:gd name="connsiteY271" fmla="*/ 6853 h 10010"/>
                <a:gd name="connsiteX272" fmla="*/ 634 w 10000"/>
                <a:gd name="connsiteY272" fmla="*/ 7050 h 10010"/>
                <a:gd name="connsiteX273" fmla="*/ 415 w 10000"/>
                <a:gd name="connsiteY273" fmla="*/ 7303 h 10010"/>
                <a:gd name="connsiteX274" fmla="*/ 266 w 10000"/>
                <a:gd name="connsiteY274" fmla="*/ 7333 h 10010"/>
                <a:gd name="connsiteX275" fmla="*/ 204 w 10000"/>
                <a:gd name="connsiteY275" fmla="*/ 7272 h 10010"/>
                <a:gd name="connsiteX276" fmla="*/ 128 w 10000"/>
                <a:gd name="connsiteY276" fmla="*/ 7364 h 10010"/>
                <a:gd name="connsiteX277" fmla="*/ 178 w 10000"/>
                <a:gd name="connsiteY277" fmla="*/ 7207 h 10010"/>
                <a:gd name="connsiteX278" fmla="*/ 147 w 10000"/>
                <a:gd name="connsiteY278" fmla="*/ 7176 h 10010"/>
                <a:gd name="connsiteX0" fmla="*/ 147 w 10000"/>
                <a:gd name="connsiteY0" fmla="*/ 7176 h 10010"/>
                <a:gd name="connsiteX1" fmla="*/ 0 w 10000"/>
                <a:gd name="connsiteY1" fmla="*/ 7258 h 10010"/>
                <a:gd name="connsiteX2" fmla="*/ 0 w 10000"/>
                <a:gd name="connsiteY2" fmla="*/ 7661 h 10010"/>
                <a:gd name="connsiteX3" fmla="*/ 81 w 10000"/>
                <a:gd name="connsiteY3" fmla="*/ 7673 h 10010"/>
                <a:gd name="connsiteX4" fmla="*/ 100 w 10000"/>
                <a:gd name="connsiteY4" fmla="*/ 7704 h 10010"/>
                <a:gd name="connsiteX5" fmla="*/ 96 w 10000"/>
                <a:gd name="connsiteY5" fmla="*/ 7759 h 10010"/>
                <a:gd name="connsiteX6" fmla="*/ 66 w 10000"/>
                <a:gd name="connsiteY6" fmla="*/ 7783 h 10010"/>
                <a:gd name="connsiteX7" fmla="*/ 190 w 10000"/>
                <a:gd name="connsiteY7" fmla="*/ 7737 h 10010"/>
                <a:gd name="connsiteX8" fmla="*/ 242 w 10000"/>
                <a:gd name="connsiteY8" fmla="*/ 7690 h 10010"/>
                <a:gd name="connsiteX9" fmla="*/ 306 w 10000"/>
                <a:gd name="connsiteY9" fmla="*/ 7722 h 10010"/>
                <a:gd name="connsiteX10" fmla="*/ 235 w 10000"/>
                <a:gd name="connsiteY10" fmla="*/ 7788 h 10010"/>
                <a:gd name="connsiteX11" fmla="*/ 311 w 10000"/>
                <a:gd name="connsiteY11" fmla="*/ 7790 h 10010"/>
                <a:gd name="connsiteX12" fmla="*/ 348 w 10000"/>
                <a:gd name="connsiteY12" fmla="*/ 7806 h 10010"/>
                <a:gd name="connsiteX13" fmla="*/ 250 w 10000"/>
                <a:gd name="connsiteY13" fmla="*/ 7828 h 10010"/>
                <a:gd name="connsiteX14" fmla="*/ 96 w 10000"/>
                <a:gd name="connsiteY14" fmla="*/ 7896 h 10010"/>
                <a:gd name="connsiteX15" fmla="*/ 370 w 10000"/>
                <a:gd name="connsiteY15" fmla="*/ 7948 h 10010"/>
                <a:gd name="connsiteX16" fmla="*/ 404 w 10000"/>
                <a:gd name="connsiteY16" fmla="*/ 8024 h 10010"/>
                <a:gd name="connsiteX17" fmla="*/ 311 w 10000"/>
                <a:gd name="connsiteY17" fmla="*/ 8136 h 10010"/>
                <a:gd name="connsiteX18" fmla="*/ 511 w 10000"/>
                <a:gd name="connsiteY18" fmla="*/ 8128 h 10010"/>
                <a:gd name="connsiteX19" fmla="*/ 526 w 10000"/>
                <a:gd name="connsiteY19" fmla="*/ 8213 h 10010"/>
                <a:gd name="connsiteX20" fmla="*/ 393 w 10000"/>
                <a:gd name="connsiteY20" fmla="*/ 8270 h 10010"/>
                <a:gd name="connsiteX21" fmla="*/ 415 w 10000"/>
                <a:gd name="connsiteY21" fmla="*/ 8380 h 10010"/>
                <a:gd name="connsiteX22" fmla="*/ 364 w 10000"/>
                <a:gd name="connsiteY22" fmla="*/ 8466 h 10010"/>
                <a:gd name="connsiteX23" fmla="*/ 521 w 10000"/>
                <a:gd name="connsiteY23" fmla="*/ 8474 h 10010"/>
                <a:gd name="connsiteX24" fmla="*/ 676 w 10000"/>
                <a:gd name="connsiteY24" fmla="*/ 8802 h 10010"/>
                <a:gd name="connsiteX25" fmla="*/ 853 w 10000"/>
                <a:gd name="connsiteY25" fmla="*/ 8886 h 10010"/>
                <a:gd name="connsiteX26" fmla="*/ 931 w 10000"/>
                <a:gd name="connsiteY26" fmla="*/ 8975 h 10010"/>
                <a:gd name="connsiteX27" fmla="*/ 1125 w 10000"/>
                <a:gd name="connsiteY27" fmla="*/ 9040 h 10010"/>
                <a:gd name="connsiteX28" fmla="*/ 1249 w 10000"/>
                <a:gd name="connsiteY28" fmla="*/ 9122 h 10010"/>
                <a:gd name="connsiteX29" fmla="*/ 1233 w 10000"/>
                <a:gd name="connsiteY29" fmla="*/ 9181 h 10010"/>
                <a:gd name="connsiteX30" fmla="*/ 1110 w 10000"/>
                <a:gd name="connsiteY30" fmla="*/ 9203 h 10010"/>
                <a:gd name="connsiteX31" fmla="*/ 976 w 10000"/>
                <a:gd name="connsiteY31" fmla="*/ 9189 h 10010"/>
                <a:gd name="connsiteX32" fmla="*/ 935 w 10000"/>
                <a:gd name="connsiteY32" fmla="*/ 9214 h 10010"/>
                <a:gd name="connsiteX33" fmla="*/ 1037 w 10000"/>
                <a:gd name="connsiteY33" fmla="*/ 9342 h 10010"/>
                <a:gd name="connsiteX34" fmla="*/ 894 w 10000"/>
                <a:gd name="connsiteY34" fmla="*/ 9332 h 10010"/>
                <a:gd name="connsiteX35" fmla="*/ 773 w 10000"/>
                <a:gd name="connsiteY35" fmla="*/ 9301 h 10010"/>
                <a:gd name="connsiteX36" fmla="*/ 750 w 10000"/>
                <a:gd name="connsiteY36" fmla="*/ 9348 h 10010"/>
                <a:gd name="connsiteX37" fmla="*/ 1155 w 10000"/>
                <a:gd name="connsiteY37" fmla="*/ 9786 h 10010"/>
                <a:gd name="connsiteX38" fmla="*/ 1091 w 10000"/>
                <a:gd name="connsiteY38" fmla="*/ 9827 h 10010"/>
                <a:gd name="connsiteX39" fmla="*/ 1045 w 10000"/>
                <a:gd name="connsiteY39" fmla="*/ 9912 h 10010"/>
                <a:gd name="connsiteX40" fmla="*/ 987 w 10000"/>
                <a:gd name="connsiteY40" fmla="*/ 9918 h 10010"/>
                <a:gd name="connsiteX41" fmla="*/ 951 w 10000"/>
                <a:gd name="connsiteY41" fmla="*/ 9955 h 10010"/>
                <a:gd name="connsiteX42" fmla="*/ 1195 w 10000"/>
                <a:gd name="connsiteY42" fmla="*/ 9959 h 10010"/>
                <a:gd name="connsiteX43" fmla="*/ 1410 w 10000"/>
                <a:gd name="connsiteY43" fmla="*/ 9996 h 10010"/>
                <a:gd name="connsiteX44" fmla="*/ 1769 w 10000"/>
                <a:gd name="connsiteY44" fmla="*/ 9957 h 10010"/>
                <a:gd name="connsiteX45" fmla="*/ 2091 w 10000"/>
                <a:gd name="connsiteY45" fmla="*/ 9963 h 10010"/>
                <a:gd name="connsiteX46" fmla="*/ 2280 w 10000"/>
                <a:gd name="connsiteY46" fmla="*/ 10010 h 10010"/>
                <a:gd name="connsiteX47" fmla="*/ 2385 w 10000"/>
                <a:gd name="connsiteY47" fmla="*/ 9979 h 10010"/>
                <a:gd name="connsiteX48" fmla="*/ 2485 w 10000"/>
                <a:gd name="connsiteY48" fmla="*/ 9878 h 10010"/>
                <a:gd name="connsiteX49" fmla="*/ 2459 w 10000"/>
                <a:gd name="connsiteY49" fmla="*/ 9713 h 10010"/>
                <a:gd name="connsiteX50" fmla="*/ 2704 w 10000"/>
                <a:gd name="connsiteY50" fmla="*/ 9527 h 10010"/>
                <a:gd name="connsiteX51" fmla="*/ 2883 w 10000"/>
                <a:gd name="connsiteY51" fmla="*/ 9556 h 10010"/>
                <a:gd name="connsiteX52" fmla="*/ 2987 w 10000"/>
                <a:gd name="connsiteY52" fmla="*/ 9482 h 10010"/>
                <a:gd name="connsiteX53" fmla="*/ 3186 w 10000"/>
                <a:gd name="connsiteY53" fmla="*/ 9440 h 10010"/>
                <a:gd name="connsiteX54" fmla="*/ 3457 w 10000"/>
                <a:gd name="connsiteY54" fmla="*/ 9450 h 10010"/>
                <a:gd name="connsiteX55" fmla="*/ 3620 w 10000"/>
                <a:gd name="connsiteY55" fmla="*/ 9480 h 10010"/>
                <a:gd name="connsiteX56" fmla="*/ 3837 w 10000"/>
                <a:gd name="connsiteY56" fmla="*/ 9466 h 10010"/>
                <a:gd name="connsiteX57" fmla="*/ 4056 w 10000"/>
                <a:gd name="connsiteY57" fmla="*/ 9499 h 10010"/>
                <a:gd name="connsiteX58" fmla="*/ 4275 w 10000"/>
                <a:gd name="connsiteY58" fmla="*/ 9503 h 10010"/>
                <a:gd name="connsiteX59" fmla="*/ 4765 w 10000"/>
                <a:gd name="connsiteY59" fmla="*/ 9071 h 10010"/>
                <a:gd name="connsiteX60" fmla="*/ 4889 w 10000"/>
                <a:gd name="connsiteY60" fmla="*/ 8721 h 10010"/>
                <a:gd name="connsiteX61" fmla="*/ 5088 w 10000"/>
                <a:gd name="connsiteY61" fmla="*/ 8564 h 10010"/>
                <a:gd name="connsiteX62" fmla="*/ 5088 w 10000"/>
                <a:gd name="connsiteY62" fmla="*/ 8482 h 10010"/>
                <a:gd name="connsiteX63" fmla="*/ 5016 w 10000"/>
                <a:gd name="connsiteY63" fmla="*/ 8435 h 10010"/>
                <a:gd name="connsiteX64" fmla="*/ 5133 w 10000"/>
                <a:gd name="connsiteY64" fmla="*/ 8362 h 10010"/>
                <a:gd name="connsiteX65" fmla="*/ 5112 w 10000"/>
                <a:gd name="connsiteY65" fmla="*/ 8299 h 10010"/>
                <a:gd name="connsiteX66" fmla="*/ 5032 w 10000"/>
                <a:gd name="connsiteY66" fmla="*/ 8246 h 10010"/>
                <a:gd name="connsiteX67" fmla="*/ 5016 w 10000"/>
                <a:gd name="connsiteY67" fmla="*/ 8209 h 10010"/>
                <a:gd name="connsiteX68" fmla="*/ 5036 w 10000"/>
                <a:gd name="connsiteY68" fmla="*/ 8179 h 10010"/>
                <a:gd name="connsiteX69" fmla="*/ 5144 w 10000"/>
                <a:gd name="connsiteY69" fmla="*/ 8203 h 10010"/>
                <a:gd name="connsiteX70" fmla="*/ 5230 w 10000"/>
                <a:gd name="connsiteY70" fmla="*/ 8201 h 10010"/>
                <a:gd name="connsiteX71" fmla="*/ 5184 w 10000"/>
                <a:gd name="connsiteY71" fmla="*/ 8150 h 10010"/>
                <a:gd name="connsiteX72" fmla="*/ 5198 w 10000"/>
                <a:gd name="connsiteY72" fmla="*/ 8122 h 10010"/>
                <a:gd name="connsiteX73" fmla="*/ 5262 w 10000"/>
                <a:gd name="connsiteY73" fmla="*/ 8079 h 10010"/>
                <a:gd name="connsiteX74" fmla="*/ 5250 w 10000"/>
                <a:gd name="connsiteY74" fmla="*/ 8044 h 10010"/>
                <a:gd name="connsiteX75" fmla="*/ 5309 w 10000"/>
                <a:gd name="connsiteY75" fmla="*/ 7926 h 10010"/>
                <a:gd name="connsiteX76" fmla="*/ 5293 w 10000"/>
                <a:gd name="connsiteY76" fmla="*/ 7891 h 10010"/>
                <a:gd name="connsiteX77" fmla="*/ 4996 w 10000"/>
                <a:gd name="connsiteY77" fmla="*/ 7802 h 10010"/>
                <a:gd name="connsiteX78" fmla="*/ 5036 w 10000"/>
                <a:gd name="connsiteY78" fmla="*/ 7798 h 10010"/>
                <a:gd name="connsiteX79" fmla="*/ 5194 w 10000"/>
                <a:gd name="connsiteY79" fmla="*/ 7822 h 10010"/>
                <a:gd name="connsiteX80" fmla="*/ 5365 w 10000"/>
                <a:gd name="connsiteY80" fmla="*/ 7814 h 10010"/>
                <a:gd name="connsiteX81" fmla="*/ 5415 w 10000"/>
                <a:gd name="connsiteY81" fmla="*/ 7781 h 10010"/>
                <a:gd name="connsiteX82" fmla="*/ 5250 w 10000"/>
                <a:gd name="connsiteY82" fmla="*/ 7720 h 10010"/>
                <a:gd name="connsiteX83" fmla="*/ 4761 w 10000"/>
                <a:gd name="connsiteY83" fmla="*/ 7680 h 10010"/>
                <a:gd name="connsiteX84" fmla="*/ 4794 w 10000"/>
                <a:gd name="connsiteY84" fmla="*/ 7661 h 10010"/>
                <a:gd name="connsiteX85" fmla="*/ 5194 w 10000"/>
                <a:gd name="connsiteY85" fmla="*/ 7649 h 10010"/>
                <a:gd name="connsiteX86" fmla="*/ 5415 w 10000"/>
                <a:gd name="connsiteY86" fmla="*/ 7686 h 10010"/>
                <a:gd name="connsiteX87" fmla="*/ 5542 w 10000"/>
                <a:gd name="connsiteY87" fmla="*/ 7661 h 10010"/>
                <a:gd name="connsiteX88" fmla="*/ 5589 w 10000"/>
                <a:gd name="connsiteY88" fmla="*/ 7598 h 10010"/>
                <a:gd name="connsiteX89" fmla="*/ 5819 w 10000"/>
                <a:gd name="connsiteY89" fmla="*/ 7598 h 10010"/>
                <a:gd name="connsiteX90" fmla="*/ 6131 w 10000"/>
                <a:gd name="connsiteY90" fmla="*/ 7472 h 10010"/>
                <a:gd name="connsiteX91" fmla="*/ 6142 w 10000"/>
                <a:gd name="connsiteY91" fmla="*/ 7388 h 10010"/>
                <a:gd name="connsiteX92" fmla="*/ 6274 w 10000"/>
                <a:gd name="connsiteY92" fmla="*/ 7407 h 10010"/>
                <a:gd name="connsiteX93" fmla="*/ 6268 w 10000"/>
                <a:gd name="connsiteY93" fmla="*/ 7492 h 10010"/>
                <a:gd name="connsiteX94" fmla="*/ 6478 w 10000"/>
                <a:gd name="connsiteY94" fmla="*/ 7486 h 10010"/>
                <a:gd name="connsiteX95" fmla="*/ 6616 w 10000"/>
                <a:gd name="connsiteY95" fmla="*/ 7398 h 10010"/>
                <a:gd name="connsiteX96" fmla="*/ 6872 w 10000"/>
                <a:gd name="connsiteY96" fmla="*/ 7319 h 10010"/>
                <a:gd name="connsiteX97" fmla="*/ 6832 w 10000"/>
                <a:gd name="connsiteY97" fmla="*/ 7229 h 10010"/>
                <a:gd name="connsiteX98" fmla="*/ 6908 w 10000"/>
                <a:gd name="connsiteY98" fmla="*/ 7264 h 10010"/>
                <a:gd name="connsiteX99" fmla="*/ 7025 w 10000"/>
                <a:gd name="connsiteY99" fmla="*/ 7264 h 10010"/>
                <a:gd name="connsiteX100" fmla="*/ 7025 w 10000"/>
                <a:gd name="connsiteY100" fmla="*/ 7223 h 10010"/>
                <a:gd name="connsiteX101" fmla="*/ 7134 w 10000"/>
                <a:gd name="connsiteY101" fmla="*/ 7191 h 10010"/>
                <a:gd name="connsiteX102" fmla="*/ 7119 w 10000"/>
                <a:gd name="connsiteY102" fmla="*/ 7158 h 10010"/>
                <a:gd name="connsiteX103" fmla="*/ 6198 w 10000"/>
                <a:gd name="connsiteY103" fmla="*/ 7225 h 10010"/>
                <a:gd name="connsiteX104" fmla="*/ 5983 w 10000"/>
                <a:gd name="connsiteY104" fmla="*/ 7205 h 10010"/>
                <a:gd name="connsiteX105" fmla="*/ 5895 w 10000"/>
                <a:gd name="connsiteY105" fmla="*/ 7229 h 10010"/>
                <a:gd name="connsiteX106" fmla="*/ 5866 w 10000"/>
                <a:gd name="connsiteY106" fmla="*/ 7183 h 10010"/>
                <a:gd name="connsiteX107" fmla="*/ 5764 w 10000"/>
                <a:gd name="connsiteY107" fmla="*/ 7142 h 10010"/>
                <a:gd name="connsiteX108" fmla="*/ 5354 w 10000"/>
                <a:gd name="connsiteY108" fmla="*/ 7062 h 10010"/>
                <a:gd name="connsiteX109" fmla="*/ 5112 w 10000"/>
                <a:gd name="connsiteY109" fmla="*/ 7075 h 10010"/>
                <a:gd name="connsiteX110" fmla="*/ 5016 w 10000"/>
                <a:gd name="connsiteY110" fmla="*/ 7052 h 10010"/>
                <a:gd name="connsiteX111" fmla="*/ 5118 w 10000"/>
                <a:gd name="connsiteY111" fmla="*/ 7032 h 10010"/>
                <a:gd name="connsiteX112" fmla="*/ 5194 w 10000"/>
                <a:gd name="connsiteY112" fmla="*/ 6989 h 10010"/>
                <a:gd name="connsiteX113" fmla="*/ 5309 w 10000"/>
                <a:gd name="connsiteY113" fmla="*/ 7003 h 10010"/>
                <a:gd name="connsiteX114" fmla="*/ 5445 w 10000"/>
                <a:gd name="connsiteY114" fmla="*/ 6991 h 10010"/>
                <a:gd name="connsiteX115" fmla="*/ 5650 w 10000"/>
                <a:gd name="connsiteY115" fmla="*/ 7005 h 10010"/>
                <a:gd name="connsiteX116" fmla="*/ 5675 w 10000"/>
                <a:gd name="connsiteY116" fmla="*/ 6999 h 10010"/>
                <a:gd name="connsiteX117" fmla="*/ 5834 w 10000"/>
                <a:gd name="connsiteY117" fmla="*/ 7066 h 10010"/>
                <a:gd name="connsiteX118" fmla="*/ 5951 w 10000"/>
                <a:gd name="connsiteY118" fmla="*/ 7042 h 10010"/>
                <a:gd name="connsiteX119" fmla="*/ 5961 w 10000"/>
                <a:gd name="connsiteY119" fmla="*/ 7020 h 10010"/>
                <a:gd name="connsiteX120" fmla="*/ 6069 w 10000"/>
                <a:gd name="connsiteY120" fmla="*/ 7058 h 10010"/>
                <a:gd name="connsiteX121" fmla="*/ 6212 w 10000"/>
                <a:gd name="connsiteY121" fmla="*/ 7079 h 10010"/>
                <a:gd name="connsiteX122" fmla="*/ 6268 w 10000"/>
                <a:gd name="connsiteY122" fmla="*/ 7040 h 10010"/>
                <a:gd name="connsiteX123" fmla="*/ 6314 w 10000"/>
                <a:gd name="connsiteY123" fmla="*/ 7062 h 10010"/>
                <a:gd name="connsiteX124" fmla="*/ 6381 w 10000"/>
                <a:gd name="connsiteY124" fmla="*/ 7136 h 10010"/>
                <a:gd name="connsiteX125" fmla="*/ 6519 w 10000"/>
                <a:gd name="connsiteY125" fmla="*/ 7154 h 10010"/>
                <a:gd name="connsiteX126" fmla="*/ 7082 w 10000"/>
                <a:gd name="connsiteY126" fmla="*/ 7044 h 10010"/>
                <a:gd name="connsiteX127" fmla="*/ 7359 w 10000"/>
                <a:gd name="connsiteY127" fmla="*/ 6889 h 10010"/>
                <a:gd name="connsiteX128" fmla="*/ 7423 w 10000"/>
                <a:gd name="connsiteY128" fmla="*/ 6775 h 10010"/>
                <a:gd name="connsiteX129" fmla="*/ 7323 w 10000"/>
                <a:gd name="connsiteY129" fmla="*/ 6673 h 10010"/>
                <a:gd name="connsiteX130" fmla="*/ 7113 w 10000"/>
                <a:gd name="connsiteY130" fmla="*/ 6612 h 10010"/>
                <a:gd name="connsiteX131" fmla="*/ 6963 w 10000"/>
                <a:gd name="connsiteY131" fmla="*/ 6512 h 10010"/>
                <a:gd name="connsiteX132" fmla="*/ 7102 w 10000"/>
                <a:gd name="connsiteY132" fmla="*/ 6508 h 10010"/>
                <a:gd name="connsiteX133" fmla="*/ 7093 w 10000"/>
                <a:gd name="connsiteY133" fmla="*/ 6484 h 10010"/>
                <a:gd name="connsiteX134" fmla="*/ 6731 w 10000"/>
                <a:gd name="connsiteY134" fmla="*/ 6413 h 10010"/>
                <a:gd name="connsiteX135" fmla="*/ 6716 w 10000"/>
                <a:gd name="connsiteY135" fmla="*/ 6349 h 10010"/>
                <a:gd name="connsiteX136" fmla="*/ 6646 w 10000"/>
                <a:gd name="connsiteY136" fmla="*/ 6282 h 10010"/>
                <a:gd name="connsiteX137" fmla="*/ 6360 w 10000"/>
                <a:gd name="connsiteY137" fmla="*/ 6294 h 10010"/>
                <a:gd name="connsiteX138" fmla="*/ 6258 w 10000"/>
                <a:gd name="connsiteY138" fmla="*/ 6223 h 10010"/>
                <a:gd name="connsiteX139" fmla="*/ 6198 w 10000"/>
                <a:gd name="connsiteY139" fmla="*/ 6219 h 10010"/>
                <a:gd name="connsiteX140" fmla="*/ 6198 w 10000"/>
                <a:gd name="connsiteY140" fmla="*/ 6248 h 10010"/>
                <a:gd name="connsiteX141" fmla="*/ 6069 w 10000"/>
                <a:gd name="connsiteY141" fmla="*/ 6368 h 10010"/>
                <a:gd name="connsiteX142" fmla="*/ 5930 w 10000"/>
                <a:gd name="connsiteY142" fmla="*/ 6439 h 10010"/>
                <a:gd name="connsiteX143" fmla="*/ 5495 w 10000"/>
                <a:gd name="connsiteY143" fmla="*/ 6561 h 10010"/>
                <a:gd name="connsiteX144" fmla="*/ 5342 w 10000"/>
                <a:gd name="connsiteY144" fmla="*/ 6557 h 10010"/>
                <a:gd name="connsiteX145" fmla="*/ 5133 w 10000"/>
                <a:gd name="connsiteY145" fmla="*/ 6575 h 10010"/>
                <a:gd name="connsiteX146" fmla="*/ 5016 w 10000"/>
                <a:gd name="connsiteY146" fmla="*/ 6557 h 10010"/>
                <a:gd name="connsiteX147" fmla="*/ 5169 w 10000"/>
                <a:gd name="connsiteY147" fmla="*/ 6523 h 10010"/>
                <a:gd name="connsiteX148" fmla="*/ 5369 w 10000"/>
                <a:gd name="connsiteY148" fmla="*/ 6508 h 10010"/>
                <a:gd name="connsiteX149" fmla="*/ 5534 w 10000"/>
                <a:gd name="connsiteY149" fmla="*/ 6451 h 10010"/>
                <a:gd name="connsiteX150" fmla="*/ 5695 w 10000"/>
                <a:gd name="connsiteY150" fmla="*/ 6425 h 10010"/>
                <a:gd name="connsiteX151" fmla="*/ 5998 w 10000"/>
                <a:gd name="connsiteY151" fmla="*/ 6327 h 10010"/>
                <a:gd name="connsiteX152" fmla="*/ 6056 w 10000"/>
                <a:gd name="connsiteY152" fmla="*/ 6262 h 10010"/>
                <a:gd name="connsiteX153" fmla="*/ 6060 w 10000"/>
                <a:gd name="connsiteY153" fmla="*/ 6178 h 10010"/>
                <a:gd name="connsiteX154" fmla="*/ 5921 w 10000"/>
                <a:gd name="connsiteY154" fmla="*/ 6164 h 10010"/>
                <a:gd name="connsiteX155" fmla="*/ 5983 w 10000"/>
                <a:gd name="connsiteY155" fmla="*/ 6113 h 10010"/>
                <a:gd name="connsiteX156" fmla="*/ 6002 w 10000"/>
                <a:gd name="connsiteY156" fmla="*/ 6048 h 10010"/>
                <a:gd name="connsiteX157" fmla="*/ 5944 w 10000"/>
                <a:gd name="connsiteY157" fmla="*/ 5987 h 10010"/>
                <a:gd name="connsiteX158" fmla="*/ 5911 w 10000"/>
                <a:gd name="connsiteY158" fmla="*/ 5543 h 10010"/>
                <a:gd name="connsiteX159" fmla="*/ 5993 w 10000"/>
                <a:gd name="connsiteY159" fmla="*/ 5447 h 10010"/>
                <a:gd name="connsiteX160" fmla="*/ 5972 w 10000"/>
                <a:gd name="connsiteY160" fmla="*/ 5408 h 10010"/>
                <a:gd name="connsiteX161" fmla="*/ 6212 w 10000"/>
                <a:gd name="connsiteY161" fmla="*/ 5465 h 10010"/>
                <a:gd name="connsiteX162" fmla="*/ 6229 w 10000"/>
                <a:gd name="connsiteY162" fmla="*/ 5412 h 10010"/>
                <a:gd name="connsiteX163" fmla="*/ 6176 w 10000"/>
                <a:gd name="connsiteY163" fmla="*/ 5274 h 10010"/>
                <a:gd name="connsiteX164" fmla="*/ 6349 w 10000"/>
                <a:gd name="connsiteY164" fmla="*/ 5029 h 10010"/>
                <a:gd name="connsiteX165" fmla="*/ 6243 w 10000"/>
                <a:gd name="connsiteY165" fmla="*/ 4970 h 10010"/>
                <a:gd name="connsiteX166" fmla="*/ 6202 w 10000"/>
                <a:gd name="connsiteY166" fmla="*/ 4915 h 10010"/>
                <a:gd name="connsiteX167" fmla="*/ 6216 w 10000"/>
                <a:gd name="connsiteY167" fmla="*/ 4826 h 10010"/>
                <a:gd name="connsiteX168" fmla="*/ 6470 w 10000"/>
                <a:gd name="connsiteY168" fmla="*/ 4885 h 10010"/>
                <a:gd name="connsiteX169" fmla="*/ 6478 w 10000"/>
                <a:gd name="connsiteY169" fmla="*/ 4868 h 10010"/>
                <a:gd name="connsiteX170" fmla="*/ 6548 w 10000"/>
                <a:gd name="connsiteY170" fmla="*/ 4852 h 10010"/>
                <a:gd name="connsiteX171" fmla="*/ 6646 w 10000"/>
                <a:gd name="connsiteY171" fmla="*/ 4795 h 10010"/>
                <a:gd name="connsiteX172" fmla="*/ 6662 w 10000"/>
                <a:gd name="connsiteY172" fmla="*/ 4779 h 10010"/>
                <a:gd name="connsiteX173" fmla="*/ 6641 w 10000"/>
                <a:gd name="connsiteY173" fmla="*/ 4758 h 10010"/>
                <a:gd name="connsiteX174" fmla="*/ 6693 w 10000"/>
                <a:gd name="connsiteY174" fmla="*/ 4657 h 10010"/>
                <a:gd name="connsiteX175" fmla="*/ 6631 w 10000"/>
                <a:gd name="connsiteY175" fmla="*/ 4591 h 10010"/>
                <a:gd name="connsiteX176" fmla="*/ 6641 w 10000"/>
                <a:gd name="connsiteY176" fmla="*/ 4538 h 10010"/>
                <a:gd name="connsiteX177" fmla="*/ 6676 w 10000"/>
                <a:gd name="connsiteY177" fmla="*/ 4600 h 10010"/>
                <a:gd name="connsiteX178" fmla="*/ 6815 w 10000"/>
                <a:gd name="connsiteY178" fmla="*/ 4646 h 10010"/>
                <a:gd name="connsiteX179" fmla="*/ 6872 w 10000"/>
                <a:gd name="connsiteY179" fmla="*/ 4640 h 10010"/>
                <a:gd name="connsiteX180" fmla="*/ 6963 w 10000"/>
                <a:gd name="connsiteY180" fmla="*/ 4579 h 10010"/>
                <a:gd name="connsiteX181" fmla="*/ 7062 w 10000"/>
                <a:gd name="connsiteY181" fmla="*/ 4604 h 10010"/>
                <a:gd name="connsiteX182" fmla="*/ 7088 w 10000"/>
                <a:gd name="connsiteY182" fmla="*/ 4555 h 10010"/>
                <a:gd name="connsiteX183" fmla="*/ 7154 w 10000"/>
                <a:gd name="connsiteY183" fmla="*/ 4522 h 10010"/>
                <a:gd name="connsiteX184" fmla="*/ 6974 w 10000"/>
                <a:gd name="connsiteY184" fmla="*/ 4487 h 10010"/>
                <a:gd name="connsiteX185" fmla="*/ 7102 w 10000"/>
                <a:gd name="connsiteY185" fmla="*/ 4494 h 10010"/>
                <a:gd name="connsiteX186" fmla="*/ 7234 w 10000"/>
                <a:gd name="connsiteY186" fmla="*/ 4457 h 10010"/>
                <a:gd name="connsiteX187" fmla="*/ 7229 w 10000"/>
                <a:gd name="connsiteY187" fmla="*/ 4432 h 10010"/>
                <a:gd name="connsiteX188" fmla="*/ 7353 w 10000"/>
                <a:gd name="connsiteY188" fmla="*/ 4408 h 10010"/>
                <a:gd name="connsiteX189" fmla="*/ 7364 w 10000"/>
                <a:gd name="connsiteY189" fmla="*/ 4347 h 10010"/>
                <a:gd name="connsiteX190" fmla="*/ 7461 w 10000"/>
                <a:gd name="connsiteY190" fmla="*/ 4335 h 10010"/>
                <a:gd name="connsiteX191" fmla="*/ 7469 w 10000"/>
                <a:gd name="connsiteY191" fmla="*/ 4263 h 10010"/>
                <a:gd name="connsiteX192" fmla="*/ 7572 w 10000"/>
                <a:gd name="connsiteY192" fmla="*/ 4255 h 10010"/>
                <a:gd name="connsiteX193" fmla="*/ 7730 w 10000"/>
                <a:gd name="connsiteY193" fmla="*/ 4270 h 10010"/>
                <a:gd name="connsiteX194" fmla="*/ 7904 w 10000"/>
                <a:gd name="connsiteY194" fmla="*/ 4212 h 10010"/>
                <a:gd name="connsiteX195" fmla="*/ 7966 w 10000"/>
                <a:gd name="connsiteY195" fmla="*/ 4147 h 10010"/>
                <a:gd name="connsiteX196" fmla="*/ 8181 w 10000"/>
                <a:gd name="connsiteY196" fmla="*/ 4080 h 10010"/>
                <a:gd name="connsiteX197" fmla="*/ 8288 w 10000"/>
                <a:gd name="connsiteY197" fmla="*/ 4121 h 10010"/>
                <a:gd name="connsiteX198" fmla="*/ 8452 w 10000"/>
                <a:gd name="connsiteY198" fmla="*/ 4076 h 10010"/>
                <a:gd name="connsiteX199" fmla="*/ 8491 w 10000"/>
                <a:gd name="connsiteY199" fmla="*/ 4019 h 10010"/>
                <a:gd name="connsiteX200" fmla="*/ 8616 w 10000"/>
                <a:gd name="connsiteY200" fmla="*/ 3980 h 10010"/>
                <a:gd name="connsiteX201" fmla="*/ 8722 w 10000"/>
                <a:gd name="connsiteY201" fmla="*/ 3997 h 10010"/>
                <a:gd name="connsiteX202" fmla="*/ 8789 w 10000"/>
                <a:gd name="connsiteY202" fmla="*/ 3968 h 10010"/>
                <a:gd name="connsiteX203" fmla="*/ 8973 w 10000"/>
                <a:gd name="connsiteY203" fmla="*/ 3927 h 10010"/>
                <a:gd name="connsiteX204" fmla="*/ 9049 w 10000"/>
                <a:gd name="connsiteY204" fmla="*/ 3874 h 10010"/>
                <a:gd name="connsiteX205" fmla="*/ 9153 w 10000"/>
                <a:gd name="connsiteY205" fmla="*/ 3852 h 10010"/>
                <a:gd name="connsiteX206" fmla="*/ 9720 w 10000"/>
                <a:gd name="connsiteY206" fmla="*/ 3532 h 10010"/>
                <a:gd name="connsiteX207" fmla="*/ 9971 w 10000"/>
                <a:gd name="connsiteY207" fmla="*/ 399 h 10010"/>
                <a:gd name="connsiteX208" fmla="*/ 9049 w 10000"/>
                <a:gd name="connsiteY208" fmla="*/ 36 h 10010"/>
                <a:gd name="connsiteX209" fmla="*/ 8706 w 10000"/>
                <a:gd name="connsiteY209" fmla="*/ 10 h 10010"/>
                <a:gd name="connsiteX210" fmla="*/ 8652 w 10000"/>
                <a:gd name="connsiteY210" fmla="*/ 218 h 10010"/>
                <a:gd name="connsiteX211" fmla="*/ 8667 w 10000"/>
                <a:gd name="connsiteY211" fmla="*/ 444 h 10010"/>
                <a:gd name="connsiteX212" fmla="*/ 8591 w 10000"/>
                <a:gd name="connsiteY212" fmla="*/ 485 h 10010"/>
                <a:gd name="connsiteX213" fmla="*/ 8477 w 10000"/>
                <a:gd name="connsiteY213" fmla="*/ 495 h 10010"/>
                <a:gd name="connsiteX214" fmla="*/ 7537 w 10000"/>
                <a:gd name="connsiteY214" fmla="*/ 397 h 10010"/>
                <a:gd name="connsiteX215" fmla="*/ 7423 w 10000"/>
                <a:gd name="connsiteY215" fmla="*/ 405 h 10010"/>
                <a:gd name="connsiteX216" fmla="*/ 7359 w 10000"/>
                <a:gd name="connsiteY216" fmla="*/ 424 h 10010"/>
                <a:gd name="connsiteX217" fmla="*/ 7290 w 10000"/>
                <a:gd name="connsiteY217" fmla="*/ 472 h 10010"/>
                <a:gd name="connsiteX218" fmla="*/ 7302 w 10000"/>
                <a:gd name="connsiteY218" fmla="*/ 591 h 10010"/>
                <a:gd name="connsiteX219" fmla="*/ 7199 w 10000"/>
                <a:gd name="connsiteY219" fmla="*/ 745 h 10010"/>
                <a:gd name="connsiteX220" fmla="*/ 7072 w 10000"/>
                <a:gd name="connsiteY220" fmla="*/ 825 h 10010"/>
                <a:gd name="connsiteX221" fmla="*/ 7021 w 10000"/>
                <a:gd name="connsiteY221" fmla="*/ 815 h 10010"/>
                <a:gd name="connsiteX222" fmla="*/ 6903 w 10000"/>
                <a:gd name="connsiteY222" fmla="*/ 749 h 10010"/>
                <a:gd name="connsiteX223" fmla="*/ 6756 w 10000"/>
                <a:gd name="connsiteY223" fmla="*/ 715 h 10010"/>
                <a:gd name="connsiteX224" fmla="*/ 6594 w 10000"/>
                <a:gd name="connsiteY224" fmla="*/ 725 h 10010"/>
                <a:gd name="connsiteX225" fmla="*/ 6223 w 10000"/>
                <a:gd name="connsiteY225" fmla="*/ 876 h 10010"/>
                <a:gd name="connsiteX226" fmla="*/ 6125 w 10000"/>
                <a:gd name="connsiteY226" fmla="*/ 1027 h 10010"/>
                <a:gd name="connsiteX227" fmla="*/ 5845 w 10000"/>
                <a:gd name="connsiteY227" fmla="*/ 1163 h 10010"/>
                <a:gd name="connsiteX228" fmla="*/ 5794 w 10000"/>
                <a:gd name="connsiteY228" fmla="*/ 1232 h 10010"/>
                <a:gd name="connsiteX229" fmla="*/ 5940 w 10000"/>
                <a:gd name="connsiteY229" fmla="*/ 1354 h 10010"/>
                <a:gd name="connsiteX230" fmla="*/ 5956 w 10000"/>
                <a:gd name="connsiteY230" fmla="*/ 1422 h 10010"/>
                <a:gd name="connsiteX231" fmla="*/ 5190 w 10000"/>
                <a:gd name="connsiteY231" fmla="*/ 1823 h 10010"/>
                <a:gd name="connsiteX232" fmla="*/ 4955 w 10000"/>
                <a:gd name="connsiteY232" fmla="*/ 2080 h 10010"/>
                <a:gd name="connsiteX233" fmla="*/ 4702 w 10000"/>
                <a:gd name="connsiteY233" fmla="*/ 2145 h 10010"/>
                <a:gd name="connsiteX234" fmla="*/ 4540 w 10000"/>
                <a:gd name="connsiteY234" fmla="*/ 2141 h 10010"/>
                <a:gd name="connsiteX235" fmla="*/ 4443 w 10000"/>
                <a:gd name="connsiteY235" fmla="*/ 2163 h 10010"/>
                <a:gd name="connsiteX236" fmla="*/ 4178 w 10000"/>
                <a:gd name="connsiteY236" fmla="*/ 2803 h 10010"/>
                <a:gd name="connsiteX237" fmla="*/ 3565 w 10000"/>
                <a:gd name="connsiteY237" fmla="*/ 3176 h 10010"/>
                <a:gd name="connsiteX238" fmla="*/ 3569 w 10000"/>
                <a:gd name="connsiteY238" fmla="*/ 3235 h 10010"/>
                <a:gd name="connsiteX239" fmla="*/ 3841 w 10000"/>
                <a:gd name="connsiteY239" fmla="*/ 3402 h 10010"/>
                <a:gd name="connsiteX240" fmla="*/ 3753 w 10000"/>
                <a:gd name="connsiteY240" fmla="*/ 3583 h 10010"/>
                <a:gd name="connsiteX241" fmla="*/ 3594 w 10000"/>
                <a:gd name="connsiteY241" fmla="*/ 3650 h 10010"/>
                <a:gd name="connsiteX242" fmla="*/ 3118 w 10000"/>
                <a:gd name="connsiteY242" fmla="*/ 3605 h 10010"/>
                <a:gd name="connsiteX243" fmla="*/ 2791 w 10000"/>
                <a:gd name="connsiteY243" fmla="*/ 3630 h 10010"/>
                <a:gd name="connsiteX244" fmla="*/ 2528 w 10000"/>
                <a:gd name="connsiteY244" fmla="*/ 3683 h 10010"/>
                <a:gd name="connsiteX245" fmla="*/ 2102 w 10000"/>
                <a:gd name="connsiteY245" fmla="*/ 3850 h 10010"/>
                <a:gd name="connsiteX246" fmla="*/ 1877 w 10000"/>
                <a:gd name="connsiteY246" fmla="*/ 4052 h 10010"/>
                <a:gd name="connsiteX247" fmla="*/ 1896 w 10000"/>
                <a:gd name="connsiteY247" fmla="*/ 4164 h 10010"/>
                <a:gd name="connsiteX248" fmla="*/ 1975 w 10000"/>
                <a:gd name="connsiteY248" fmla="*/ 4251 h 10010"/>
                <a:gd name="connsiteX249" fmla="*/ 2034 w 10000"/>
                <a:gd name="connsiteY249" fmla="*/ 4286 h 10010"/>
                <a:gd name="connsiteX250" fmla="*/ 1924 w 10000"/>
                <a:gd name="connsiteY250" fmla="*/ 4341 h 10010"/>
                <a:gd name="connsiteX251" fmla="*/ 1683 w 10000"/>
                <a:gd name="connsiteY251" fmla="*/ 4720 h 10010"/>
                <a:gd name="connsiteX252" fmla="*/ 1729 w 10000"/>
                <a:gd name="connsiteY252" fmla="*/ 4742 h 10010"/>
                <a:gd name="connsiteX253" fmla="*/ 1764 w 10000"/>
                <a:gd name="connsiteY253" fmla="*/ 4838 h 10010"/>
                <a:gd name="connsiteX254" fmla="*/ 1652 w 10000"/>
                <a:gd name="connsiteY254" fmla="*/ 5237 h 10010"/>
                <a:gd name="connsiteX255" fmla="*/ 1764 w 10000"/>
                <a:gd name="connsiteY255" fmla="*/ 5339 h 10010"/>
                <a:gd name="connsiteX256" fmla="*/ 2071 w 10000"/>
                <a:gd name="connsiteY256" fmla="*/ 5451 h 10010"/>
                <a:gd name="connsiteX257" fmla="*/ 2085 w 10000"/>
                <a:gd name="connsiteY257" fmla="*/ 5588 h 10010"/>
                <a:gd name="connsiteX258" fmla="*/ 1954 w 10000"/>
                <a:gd name="connsiteY258" fmla="*/ 5700 h 10010"/>
                <a:gd name="connsiteX259" fmla="*/ 1764 w 10000"/>
                <a:gd name="connsiteY259" fmla="*/ 5769 h 10010"/>
                <a:gd name="connsiteX260" fmla="*/ 1513 w 10000"/>
                <a:gd name="connsiteY260" fmla="*/ 5797 h 10010"/>
                <a:gd name="connsiteX261" fmla="*/ 1448 w 10000"/>
                <a:gd name="connsiteY261" fmla="*/ 5836 h 10010"/>
                <a:gd name="connsiteX262" fmla="*/ 1594 w 10000"/>
                <a:gd name="connsiteY262" fmla="*/ 5930 h 10010"/>
                <a:gd name="connsiteX263" fmla="*/ 1678 w 10000"/>
                <a:gd name="connsiteY263" fmla="*/ 6152 h 10010"/>
                <a:gd name="connsiteX264" fmla="*/ 1488 w 10000"/>
                <a:gd name="connsiteY264" fmla="*/ 6343 h 10010"/>
                <a:gd name="connsiteX265" fmla="*/ 1554 w 10000"/>
                <a:gd name="connsiteY265" fmla="*/ 6402 h 10010"/>
                <a:gd name="connsiteX266" fmla="*/ 1494 w 10000"/>
                <a:gd name="connsiteY266" fmla="*/ 6502 h 10010"/>
                <a:gd name="connsiteX267" fmla="*/ 1372 w 10000"/>
                <a:gd name="connsiteY267" fmla="*/ 6571 h 10010"/>
                <a:gd name="connsiteX268" fmla="*/ 889 w 10000"/>
                <a:gd name="connsiteY268" fmla="*/ 6624 h 10010"/>
                <a:gd name="connsiteX269" fmla="*/ 860 w 10000"/>
                <a:gd name="connsiteY269" fmla="*/ 6716 h 10010"/>
                <a:gd name="connsiteX270" fmla="*/ 600 w 10000"/>
                <a:gd name="connsiteY270" fmla="*/ 6853 h 10010"/>
                <a:gd name="connsiteX271" fmla="*/ 634 w 10000"/>
                <a:gd name="connsiteY271" fmla="*/ 7050 h 10010"/>
                <a:gd name="connsiteX272" fmla="*/ 415 w 10000"/>
                <a:gd name="connsiteY272" fmla="*/ 7303 h 10010"/>
                <a:gd name="connsiteX273" fmla="*/ 266 w 10000"/>
                <a:gd name="connsiteY273" fmla="*/ 7333 h 10010"/>
                <a:gd name="connsiteX274" fmla="*/ 204 w 10000"/>
                <a:gd name="connsiteY274" fmla="*/ 7272 h 10010"/>
                <a:gd name="connsiteX275" fmla="*/ 128 w 10000"/>
                <a:gd name="connsiteY275" fmla="*/ 7364 h 10010"/>
                <a:gd name="connsiteX276" fmla="*/ 178 w 10000"/>
                <a:gd name="connsiteY276" fmla="*/ 7207 h 10010"/>
                <a:gd name="connsiteX277" fmla="*/ 147 w 10000"/>
                <a:gd name="connsiteY277" fmla="*/ 7176 h 10010"/>
                <a:gd name="connsiteX0" fmla="*/ 147 w 10000"/>
                <a:gd name="connsiteY0" fmla="*/ 7176 h 10010"/>
                <a:gd name="connsiteX1" fmla="*/ 0 w 10000"/>
                <a:gd name="connsiteY1" fmla="*/ 7258 h 10010"/>
                <a:gd name="connsiteX2" fmla="*/ 0 w 10000"/>
                <a:gd name="connsiteY2" fmla="*/ 7661 h 10010"/>
                <a:gd name="connsiteX3" fmla="*/ 81 w 10000"/>
                <a:gd name="connsiteY3" fmla="*/ 7673 h 10010"/>
                <a:gd name="connsiteX4" fmla="*/ 100 w 10000"/>
                <a:gd name="connsiteY4" fmla="*/ 7704 h 10010"/>
                <a:gd name="connsiteX5" fmla="*/ 96 w 10000"/>
                <a:gd name="connsiteY5" fmla="*/ 7759 h 10010"/>
                <a:gd name="connsiteX6" fmla="*/ 66 w 10000"/>
                <a:gd name="connsiteY6" fmla="*/ 7783 h 10010"/>
                <a:gd name="connsiteX7" fmla="*/ 190 w 10000"/>
                <a:gd name="connsiteY7" fmla="*/ 7737 h 10010"/>
                <a:gd name="connsiteX8" fmla="*/ 242 w 10000"/>
                <a:gd name="connsiteY8" fmla="*/ 7690 h 10010"/>
                <a:gd name="connsiteX9" fmla="*/ 306 w 10000"/>
                <a:gd name="connsiteY9" fmla="*/ 7722 h 10010"/>
                <a:gd name="connsiteX10" fmla="*/ 235 w 10000"/>
                <a:gd name="connsiteY10" fmla="*/ 7788 h 10010"/>
                <a:gd name="connsiteX11" fmla="*/ 311 w 10000"/>
                <a:gd name="connsiteY11" fmla="*/ 7790 h 10010"/>
                <a:gd name="connsiteX12" fmla="*/ 348 w 10000"/>
                <a:gd name="connsiteY12" fmla="*/ 7806 h 10010"/>
                <a:gd name="connsiteX13" fmla="*/ 250 w 10000"/>
                <a:gd name="connsiteY13" fmla="*/ 7828 h 10010"/>
                <a:gd name="connsiteX14" fmla="*/ 96 w 10000"/>
                <a:gd name="connsiteY14" fmla="*/ 7896 h 10010"/>
                <a:gd name="connsiteX15" fmla="*/ 370 w 10000"/>
                <a:gd name="connsiteY15" fmla="*/ 7948 h 10010"/>
                <a:gd name="connsiteX16" fmla="*/ 404 w 10000"/>
                <a:gd name="connsiteY16" fmla="*/ 8024 h 10010"/>
                <a:gd name="connsiteX17" fmla="*/ 311 w 10000"/>
                <a:gd name="connsiteY17" fmla="*/ 8136 h 10010"/>
                <a:gd name="connsiteX18" fmla="*/ 511 w 10000"/>
                <a:gd name="connsiteY18" fmla="*/ 8128 h 10010"/>
                <a:gd name="connsiteX19" fmla="*/ 526 w 10000"/>
                <a:gd name="connsiteY19" fmla="*/ 8213 h 10010"/>
                <a:gd name="connsiteX20" fmla="*/ 393 w 10000"/>
                <a:gd name="connsiteY20" fmla="*/ 8270 h 10010"/>
                <a:gd name="connsiteX21" fmla="*/ 415 w 10000"/>
                <a:gd name="connsiteY21" fmla="*/ 8380 h 10010"/>
                <a:gd name="connsiteX22" fmla="*/ 364 w 10000"/>
                <a:gd name="connsiteY22" fmla="*/ 8466 h 10010"/>
                <a:gd name="connsiteX23" fmla="*/ 521 w 10000"/>
                <a:gd name="connsiteY23" fmla="*/ 8474 h 10010"/>
                <a:gd name="connsiteX24" fmla="*/ 676 w 10000"/>
                <a:gd name="connsiteY24" fmla="*/ 8802 h 10010"/>
                <a:gd name="connsiteX25" fmla="*/ 853 w 10000"/>
                <a:gd name="connsiteY25" fmla="*/ 8886 h 10010"/>
                <a:gd name="connsiteX26" fmla="*/ 931 w 10000"/>
                <a:gd name="connsiteY26" fmla="*/ 8975 h 10010"/>
                <a:gd name="connsiteX27" fmla="*/ 1125 w 10000"/>
                <a:gd name="connsiteY27" fmla="*/ 9040 h 10010"/>
                <a:gd name="connsiteX28" fmla="*/ 1249 w 10000"/>
                <a:gd name="connsiteY28" fmla="*/ 9122 h 10010"/>
                <a:gd name="connsiteX29" fmla="*/ 1233 w 10000"/>
                <a:gd name="connsiteY29" fmla="*/ 9181 h 10010"/>
                <a:gd name="connsiteX30" fmla="*/ 1110 w 10000"/>
                <a:gd name="connsiteY30" fmla="*/ 9203 h 10010"/>
                <a:gd name="connsiteX31" fmla="*/ 976 w 10000"/>
                <a:gd name="connsiteY31" fmla="*/ 9189 h 10010"/>
                <a:gd name="connsiteX32" fmla="*/ 935 w 10000"/>
                <a:gd name="connsiteY32" fmla="*/ 9214 h 10010"/>
                <a:gd name="connsiteX33" fmla="*/ 1037 w 10000"/>
                <a:gd name="connsiteY33" fmla="*/ 9342 h 10010"/>
                <a:gd name="connsiteX34" fmla="*/ 894 w 10000"/>
                <a:gd name="connsiteY34" fmla="*/ 9332 h 10010"/>
                <a:gd name="connsiteX35" fmla="*/ 773 w 10000"/>
                <a:gd name="connsiteY35" fmla="*/ 9301 h 10010"/>
                <a:gd name="connsiteX36" fmla="*/ 750 w 10000"/>
                <a:gd name="connsiteY36" fmla="*/ 9348 h 10010"/>
                <a:gd name="connsiteX37" fmla="*/ 1155 w 10000"/>
                <a:gd name="connsiteY37" fmla="*/ 9786 h 10010"/>
                <a:gd name="connsiteX38" fmla="*/ 1091 w 10000"/>
                <a:gd name="connsiteY38" fmla="*/ 9827 h 10010"/>
                <a:gd name="connsiteX39" fmla="*/ 1045 w 10000"/>
                <a:gd name="connsiteY39" fmla="*/ 9912 h 10010"/>
                <a:gd name="connsiteX40" fmla="*/ 987 w 10000"/>
                <a:gd name="connsiteY40" fmla="*/ 9918 h 10010"/>
                <a:gd name="connsiteX41" fmla="*/ 951 w 10000"/>
                <a:gd name="connsiteY41" fmla="*/ 9955 h 10010"/>
                <a:gd name="connsiteX42" fmla="*/ 1195 w 10000"/>
                <a:gd name="connsiteY42" fmla="*/ 9959 h 10010"/>
                <a:gd name="connsiteX43" fmla="*/ 1410 w 10000"/>
                <a:gd name="connsiteY43" fmla="*/ 9996 h 10010"/>
                <a:gd name="connsiteX44" fmla="*/ 1769 w 10000"/>
                <a:gd name="connsiteY44" fmla="*/ 9957 h 10010"/>
                <a:gd name="connsiteX45" fmla="*/ 2091 w 10000"/>
                <a:gd name="connsiteY45" fmla="*/ 9963 h 10010"/>
                <a:gd name="connsiteX46" fmla="*/ 2280 w 10000"/>
                <a:gd name="connsiteY46" fmla="*/ 10010 h 10010"/>
                <a:gd name="connsiteX47" fmla="*/ 2385 w 10000"/>
                <a:gd name="connsiteY47" fmla="*/ 9979 h 10010"/>
                <a:gd name="connsiteX48" fmla="*/ 2485 w 10000"/>
                <a:gd name="connsiteY48" fmla="*/ 9878 h 10010"/>
                <a:gd name="connsiteX49" fmla="*/ 2459 w 10000"/>
                <a:gd name="connsiteY49" fmla="*/ 9713 h 10010"/>
                <a:gd name="connsiteX50" fmla="*/ 2704 w 10000"/>
                <a:gd name="connsiteY50" fmla="*/ 9527 h 10010"/>
                <a:gd name="connsiteX51" fmla="*/ 2883 w 10000"/>
                <a:gd name="connsiteY51" fmla="*/ 9556 h 10010"/>
                <a:gd name="connsiteX52" fmla="*/ 2987 w 10000"/>
                <a:gd name="connsiteY52" fmla="*/ 9482 h 10010"/>
                <a:gd name="connsiteX53" fmla="*/ 3186 w 10000"/>
                <a:gd name="connsiteY53" fmla="*/ 9440 h 10010"/>
                <a:gd name="connsiteX54" fmla="*/ 3457 w 10000"/>
                <a:gd name="connsiteY54" fmla="*/ 9450 h 10010"/>
                <a:gd name="connsiteX55" fmla="*/ 3620 w 10000"/>
                <a:gd name="connsiteY55" fmla="*/ 9480 h 10010"/>
                <a:gd name="connsiteX56" fmla="*/ 3837 w 10000"/>
                <a:gd name="connsiteY56" fmla="*/ 9466 h 10010"/>
                <a:gd name="connsiteX57" fmla="*/ 4056 w 10000"/>
                <a:gd name="connsiteY57" fmla="*/ 9499 h 10010"/>
                <a:gd name="connsiteX58" fmla="*/ 4275 w 10000"/>
                <a:gd name="connsiteY58" fmla="*/ 9503 h 10010"/>
                <a:gd name="connsiteX59" fmla="*/ 4765 w 10000"/>
                <a:gd name="connsiteY59" fmla="*/ 9071 h 10010"/>
                <a:gd name="connsiteX60" fmla="*/ 4889 w 10000"/>
                <a:gd name="connsiteY60" fmla="*/ 8721 h 10010"/>
                <a:gd name="connsiteX61" fmla="*/ 5088 w 10000"/>
                <a:gd name="connsiteY61" fmla="*/ 8564 h 10010"/>
                <a:gd name="connsiteX62" fmla="*/ 5088 w 10000"/>
                <a:gd name="connsiteY62" fmla="*/ 8482 h 10010"/>
                <a:gd name="connsiteX63" fmla="*/ 5016 w 10000"/>
                <a:gd name="connsiteY63" fmla="*/ 8435 h 10010"/>
                <a:gd name="connsiteX64" fmla="*/ 5133 w 10000"/>
                <a:gd name="connsiteY64" fmla="*/ 8362 h 10010"/>
                <a:gd name="connsiteX65" fmla="*/ 5112 w 10000"/>
                <a:gd name="connsiteY65" fmla="*/ 8299 h 10010"/>
                <a:gd name="connsiteX66" fmla="*/ 5032 w 10000"/>
                <a:gd name="connsiteY66" fmla="*/ 8246 h 10010"/>
                <a:gd name="connsiteX67" fmla="*/ 5016 w 10000"/>
                <a:gd name="connsiteY67" fmla="*/ 8209 h 10010"/>
                <a:gd name="connsiteX68" fmla="*/ 5036 w 10000"/>
                <a:gd name="connsiteY68" fmla="*/ 8179 h 10010"/>
                <a:gd name="connsiteX69" fmla="*/ 5144 w 10000"/>
                <a:gd name="connsiteY69" fmla="*/ 8203 h 10010"/>
                <a:gd name="connsiteX70" fmla="*/ 5230 w 10000"/>
                <a:gd name="connsiteY70" fmla="*/ 8201 h 10010"/>
                <a:gd name="connsiteX71" fmla="*/ 5184 w 10000"/>
                <a:gd name="connsiteY71" fmla="*/ 8150 h 10010"/>
                <a:gd name="connsiteX72" fmla="*/ 5198 w 10000"/>
                <a:gd name="connsiteY72" fmla="*/ 8122 h 10010"/>
                <a:gd name="connsiteX73" fmla="*/ 5262 w 10000"/>
                <a:gd name="connsiteY73" fmla="*/ 8079 h 10010"/>
                <a:gd name="connsiteX74" fmla="*/ 5250 w 10000"/>
                <a:gd name="connsiteY74" fmla="*/ 8044 h 10010"/>
                <a:gd name="connsiteX75" fmla="*/ 5309 w 10000"/>
                <a:gd name="connsiteY75" fmla="*/ 7926 h 10010"/>
                <a:gd name="connsiteX76" fmla="*/ 5293 w 10000"/>
                <a:gd name="connsiteY76" fmla="*/ 7891 h 10010"/>
                <a:gd name="connsiteX77" fmla="*/ 4996 w 10000"/>
                <a:gd name="connsiteY77" fmla="*/ 7802 h 10010"/>
                <a:gd name="connsiteX78" fmla="*/ 5036 w 10000"/>
                <a:gd name="connsiteY78" fmla="*/ 7798 h 10010"/>
                <a:gd name="connsiteX79" fmla="*/ 5194 w 10000"/>
                <a:gd name="connsiteY79" fmla="*/ 7822 h 10010"/>
                <a:gd name="connsiteX80" fmla="*/ 5365 w 10000"/>
                <a:gd name="connsiteY80" fmla="*/ 7814 h 10010"/>
                <a:gd name="connsiteX81" fmla="*/ 5415 w 10000"/>
                <a:gd name="connsiteY81" fmla="*/ 7781 h 10010"/>
                <a:gd name="connsiteX82" fmla="*/ 5250 w 10000"/>
                <a:gd name="connsiteY82" fmla="*/ 7720 h 10010"/>
                <a:gd name="connsiteX83" fmla="*/ 4761 w 10000"/>
                <a:gd name="connsiteY83" fmla="*/ 7680 h 10010"/>
                <a:gd name="connsiteX84" fmla="*/ 4794 w 10000"/>
                <a:gd name="connsiteY84" fmla="*/ 7661 h 10010"/>
                <a:gd name="connsiteX85" fmla="*/ 5194 w 10000"/>
                <a:gd name="connsiteY85" fmla="*/ 7649 h 10010"/>
                <a:gd name="connsiteX86" fmla="*/ 5415 w 10000"/>
                <a:gd name="connsiteY86" fmla="*/ 7686 h 10010"/>
                <a:gd name="connsiteX87" fmla="*/ 5542 w 10000"/>
                <a:gd name="connsiteY87" fmla="*/ 7661 h 10010"/>
                <a:gd name="connsiteX88" fmla="*/ 5589 w 10000"/>
                <a:gd name="connsiteY88" fmla="*/ 7598 h 10010"/>
                <a:gd name="connsiteX89" fmla="*/ 5819 w 10000"/>
                <a:gd name="connsiteY89" fmla="*/ 7598 h 10010"/>
                <a:gd name="connsiteX90" fmla="*/ 6131 w 10000"/>
                <a:gd name="connsiteY90" fmla="*/ 7472 h 10010"/>
                <a:gd name="connsiteX91" fmla="*/ 6142 w 10000"/>
                <a:gd name="connsiteY91" fmla="*/ 7388 h 10010"/>
                <a:gd name="connsiteX92" fmla="*/ 6274 w 10000"/>
                <a:gd name="connsiteY92" fmla="*/ 7407 h 10010"/>
                <a:gd name="connsiteX93" fmla="*/ 6268 w 10000"/>
                <a:gd name="connsiteY93" fmla="*/ 7492 h 10010"/>
                <a:gd name="connsiteX94" fmla="*/ 6478 w 10000"/>
                <a:gd name="connsiteY94" fmla="*/ 7486 h 10010"/>
                <a:gd name="connsiteX95" fmla="*/ 6616 w 10000"/>
                <a:gd name="connsiteY95" fmla="*/ 7398 h 10010"/>
                <a:gd name="connsiteX96" fmla="*/ 6872 w 10000"/>
                <a:gd name="connsiteY96" fmla="*/ 7319 h 10010"/>
                <a:gd name="connsiteX97" fmla="*/ 6832 w 10000"/>
                <a:gd name="connsiteY97" fmla="*/ 7229 h 10010"/>
                <a:gd name="connsiteX98" fmla="*/ 6908 w 10000"/>
                <a:gd name="connsiteY98" fmla="*/ 7264 h 10010"/>
                <a:gd name="connsiteX99" fmla="*/ 7025 w 10000"/>
                <a:gd name="connsiteY99" fmla="*/ 7264 h 10010"/>
                <a:gd name="connsiteX100" fmla="*/ 7025 w 10000"/>
                <a:gd name="connsiteY100" fmla="*/ 7223 h 10010"/>
                <a:gd name="connsiteX101" fmla="*/ 7134 w 10000"/>
                <a:gd name="connsiteY101" fmla="*/ 7191 h 10010"/>
                <a:gd name="connsiteX102" fmla="*/ 7119 w 10000"/>
                <a:gd name="connsiteY102" fmla="*/ 7158 h 10010"/>
                <a:gd name="connsiteX103" fmla="*/ 6198 w 10000"/>
                <a:gd name="connsiteY103" fmla="*/ 7225 h 10010"/>
                <a:gd name="connsiteX104" fmla="*/ 5983 w 10000"/>
                <a:gd name="connsiteY104" fmla="*/ 7205 h 10010"/>
                <a:gd name="connsiteX105" fmla="*/ 5895 w 10000"/>
                <a:gd name="connsiteY105" fmla="*/ 7229 h 10010"/>
                <a:gd name="connsiteX106" fmla="*/ 5866 w 10000"/>
                <a:gd name="connsiteY106" fmla="*/ 7183 h 10010"/>
                <a:gd name="connsiteX107" fmla="*/ 5764 w 10000"/>
                <a:gd name="connsiteY107" fmla="*/ 7142 h 10010"/>
                <a:gd name="connsiteX108" fmla="*/ 5354 w 10000"/>
                <a:gd name="connsiteY108" fmla="*/ 7062 h 10010"/>
                <a:gd name="connsiteX109" fmla="*/ 5112 w 10000"/>
                <a:gd name="connsiteY109" fmla="*/ 7075 h 10010"/>
                <a:gd name="connsiteX110" fmla="*/ 5016 w 10000"/>
                <a:gd name="connsiteY110" fmla="*/ 7052 h 10010"/>
                <a:gd name="connsiteX111" fmla="*/ 5118 w 10000"/>
                <a:gd name="connsiteY111" fmla="*/ 7032 h 10010"/>
                <a:gd name="connsiteX112" fmla="*/ 5194 w 10000"/>
                <a:gd name="connsiteY112" fmla="*/ 6989 h 10010"/>
                <a:gd name="connsiteX113" fmla="*/ 5309 w 10000"/>
                <a:gd name="connsiteY113" fmla="*/ 7003 h 10010"/>
                <a:gd name="connsiteX114" fmla="*/ 5445 w 10000"/>
                <a:gd name="connsiteY114" fmla="*/ 6991 h 10010"/>
                <a:gd name="connsiteX115" fmla="*/ 5650 w 10000"/>
                <a:gd name="connsiteY115" fmla="*/ 7005 h 10010"/>
                <a:gd name="connsiteX116" fmla="*/ 5675 w 10000"/>
                <a:gd name="connsiteY116" fmla="*/ 6999 h 10010"/>
                <a:gd name="connsiteX117" fmla="*/ 5834 w 10000"/>
                <a:gd name="connsiteY117" fmla="*/ 7066 h 10010"/>
                <a:gd name="connsiteX118" fmla="*/ 5951 w 10000"/>
                <a:gd name="connsiteY118" fmla="*/ 7042 h 10010"/>
                <a:gd name="connsiteX119" fmla="*/ 5961 w 10000"/>
                <a:gd name="connsiteY119" fmla="*/ 7020 h 10010"/>
                <a:gd name="connsiteX120" fmla="*/ 6069 w 10000"/>
                <a:gd name="connsiteY120" fmla="*/ 7058 h 10010"/>
                <a:gd name="connsiteX121" fmla="*/ 6212 w 10000"/>
                <a:gd name="connsiteY121" fmla="*/ 7079 h 10010"/>
                <a:gd name="connsiteX122" fmla="*/ 6268 w 10000"/>
                <a:gd name="connsiteY122" fmla="*/ 7040 h 10010"/>
                <a:gd name="connsiteX123" fmla="*/ 6314 w 10000"/>
                <a:gd name="connsiteY123" fmla="*/ 7062 h 10010"/>
                <a:gd name="connsiteX124" fmla="*/ 6381 w 10000"/>
                <a:gd name="connsiteY124" fmla="*/ 7136 h 10010"/>
                <a:gd name="connsiteX125" fmla="*/ 6519 w 10000"/>
                <a:gd name="connsiteY125" fmla="*/ 7154 h 10010"/>
                <a:gd name="connsiteX126" fmla="*/ 7082 w 10000"/>
                <a:gd name="connsiteY126" fmla="*/ 7044 h 10010"/>
                <a:gd name="connsiteX127" fmla="*/ 7359 w 10000"/>
                <a:gd name="connsiteY127" fmla="*/ 6889 h 10010"/>
                <a:gd name="connsiteX128" fmla="*/ 7423 w 10000"/>
                <a:gd name="connsiteY128" fmla="*/ 6775 h 10010"/>
                <a:gd name="connsiteX129" fmla="*/ 7323 w 10000"/>
                <a:gd name="connsiteY129" fmla="*/ 6673 h 10010"/>
                <a:gd name="connsiteX130" fmla="*/ 7113 w 10000"/>
                <a:gd name="connsiteY130" fmla="*/ 6612 h 10010"/>
                <a:gd name="connsiteX131" fmla="*/ 6963 w 10000"/>
                <a:gd name="connsiteY131" fmla="*/ 6512 h 10010"/>
                <a:gd name="connsiteX132" fmla="*/ 7102 w 10000"/>
                <a:gd name="connsiteY132" fmla="*/ 6508 h 10010"/>
                <a:gd name="connsiteX133" fmla="*/ 7093 w 10000"/>
                <a:gd name="connsiteY133" fmla="*/ 6484 h 10010"/>
                <a:gd name="connsiteX134" fmla="*/ 6731 w 10000"/>
                <a:gd name="connsiteY134" fmla="*/ 6413 h 10010"/>
                <a:gd name="connsiteX135" fmla="*/ 6716 w 10000"/>
                <a:gd name="connsiteY135" fmla="*/ 6349 h 10010"/>
                <a:gd name="connsiteX136" fmla="*/ 6646 w 10000"/>
                <a:gd name="connsiteY136" fmla="*/ 6282 h 10010"/>
                <a:gd name="connsiteX137" fmla="*/ 6360 w 10000"/>
                <a:gd name="connsiteY137" fmla="*/ 6294 h 10010"/>
                <a:gd name="connsiteX138" fmla="*/ 6258 w 10000"/>
                <a:gd name="connsiteY138" fmla="*/ 6223 h 10010"/>
                <a:gd name="connsiteX139" fmla="*/ 6198 w 10000"/>
                <a:gd name="connsiteY139" fmla="*/ 6219 h 10010"/>
                <a:gd name="connsiteX140" fmla="*/ 6198 w 10000"/>
                <a:gd name="connsiteY140" fmla="*/ 6248 h 10010"/>
                <a:gd name="connsiteX141" fmla="*/ 6069 w 10000"/>
                <a:gd name="connsiteY141" fmla="*/ 6368 h 10010"/>
                <a:gd name="connsiteX142" fmla="*/ 5930 w 10000"/>
                <a:gd name="connsiteY142" fmla="*/ 6439 h 10010"/>
                <a:gd name="connsiteX143" fmla="*/ 5495 w 10000"/>
                <a:gd name="connsiteY143" fmla="*/ 6561 h 10010"/>
                <a:gd name="connsiteX144" fmla="*/ 5342 w 10000"/>
                <a:gd name="connsiteY144" fmla="*/ 6557 h 10010"/>
                <a:gd name="connsiteX145" fmla="*/ 5133 w 10000"/>
                <a:gd name="connsiteY145" fmla="*/ 6575 h 10010"/>
                <a:gd name="connsiteX146" fmla="*/ 5016 w 10000"/>
                <a:gd name="connsiteY146" fmla="*/ 6557 h 10010"/>
                <a:gd name="connsiteX147" fmla="*/ 5169 w 10000"/>
                <a:gd name="connsiteY147" fmla="*/ 6523 h 10010"/>
                <a:gd name="connsiteX148" fmla="*/ 5369 w 10000"/>
                <a:gd name="connsiteY148" fmla="*/ 6508 h 10010"/>
                <a:gd name="connsiteX149" fmla="*/ 5534 w 10000"/>
                <a:gd name="connsiteY149" fmla="*/ 6451 h 10010"/>
                <a:gd name="connsiteX150" fmla="*/ 5695 w 10000"/>
                <a:gd name="connsiteY150" fmla="*/ 6425 h 10010"/>
                <a:gd name="connsiteX151" fmla="*/ 5998 w 10000"/>
                <a:gd name="connsiteY151" fmla="*/ 6327 h 10010"/>
                <a:gd name="connsiteX152" fmla="*/ 6056 w 10000"/>
                <a:gd name="connsiteY152" fmla="*/ 6262 h 10010"/>
                <a:gd name="connsiteX153" fmla="*/ 6060 w 10000"/>
                <a:gd name="connsiteY153" fmla="*/ 6178 h 10010"/>
                <a:gd name="connsiteX154" fmla="*/ 5921 w 10000"/>
                <a:gd name="connsiteY154" fmla="*/ 6164 h 10010"/>
                <a:gd name="connsiteX155" fmla="*/ 5983 w 10000"/>
                <a:gd name="connsiteY155" fmla="*/ 6113 h 10010"/>
                <a:gd name="connsiteX156" fmla="*/ 6002 w 10000"/>
                <a:gd name="connsiteY156" fmla="*/ 6048 h 10010"/>
                <a:gd name="connsiteX157" fmla="*/ 5944 w 10000"/>
                <a:gd name="connsiteY157" fmla="*/ 5987 h 10010"/>
                <a:gd name="connsiteX158" fmla="*/ 5911 w 10000"/>
                <a:gd name="connsiteY158" fmla="*/ 5543 h 10010"/>
                <a:gd name="connsiteX159" fmla="*/ 5993 w 10000"/>
                <a:gd name="connsiteY159" fmla="*/ 5447 h 10010"/>
                <a:gd name="connsiteX160" fmla="*/ 5972 w 10000"/>
                <a:gd name="connsiteY160" fmla="*/ 5408 h 10010"/>
                <a:gd name="connsiteX161" fmla="*/ 6212 w 10000"/>
                <a:gd name="connsiteY161" fmla="*/ 5465 h 10010"/>
                <a:gd name="connsiteX162" fmla="*/ 6229 w 10000"/>
                <a:gd name="connsiteY162" fmla="*/ 5412 h 10010"/>
                <a:gd name="connsiteX163" fmla="*/ 6176 w 10000"/>
                <a:gd name="connsiteY163" fmla="*/ 5274 h 10010"/>
                <a:gd name="connsiteX164" fmla="*/ 6349 w 10000"/>
                <a:gd name="connsiteY164" fmla="*/ 5029 h 10010"/>
                <a:gd name="connsiteX165" fmla="*/ 6243 w 10000"/>
                <a:gd name="connsiteY165" fmla="*/ 4970 h 10010"/>
                <a:gd name="connsiteX166" fmla="*/ 6202 w 10000"/>
                <a:gd name="connsiteY166" fmla="*/ 4915 h 10010"/>
                <a:gd name="connsiteX167" fmla="*/ 6216 w 10000"/>
                <a:gd name="connsiteY167" fmla="*/ 4826 h 10010"/>
                <a:gd name="connsiteX168" fmla="*/ 6470 w 10000"/>
                <a:gd name="connsiteY168" fmla="*/ 4885 h 10010"/>
                <a:gd name="connsiteX169" fmla="*/ 6478 w 10000"/>
                <a:gd name="connsiteY169" fmla="*/ 4868 h 10010"/>
                <a:gd name="connsiteX170" fmla="*/ 6548 w 10000"/>
                <a:gd name="connsiteY170" fmla="*/ 4852 h 10010"/>
                <a:gd name="connsiteX171" fmla="*/ 6646 w 10000"/>
                <a:gd name="connsiteY171" fmla="*/ 4795 h 10010"/>
                <a:gd name="connsiteX172" fmla="*/ 6662 w 10000"/>
                <a:gd name="connsiteY172" fmla="*/ 4779 h 10010"/>
                <a:gd name="connsiteX173" fmla="*/ 6641 w 10000"/>
                <a:gd name="connsiteY173" fmla="*/ 4758 h 10010"/>
                <a:gd name="connsiteX174" fmla="*/ 6693 w 10000"/>
                <a:gd name="connsiteY174" fmla="*/ 4657 h 10010"/>
                <a:gd name="connsiteX175" fmla="*/ 6631 w 10000"/>
                <a:gd name="connsiteY175" fmla="*/ 4591 h 10010"/>
                <a:gd name="connsiteX176" fmla="*/ 6641 w 10000"/>
                <a:gd name="connsiteY176" fmla="*/ 4538 h 10010"/>
                <a:gd name="connsiteX177" fmla="*/ 6676 w 10000"/>
                <a:gd name="connsiteY177" fmla="*/ 4600 h 10010"/>
                <a:gd name="connsiteX178" fmla="*/ 6815 w 10000"/>
                <a:gd name="connsiteY178" fmla="*/ 4646 h 10010"/>
                <a:gd name="connsiteX179" fmla="*/ 6872 w 10000"/>
                <a:gd name="connsiteY179" fmla="*/ 4640 h 10010"/>
                <a:gd name="connsiteX180" fmla="*/ 6963 w 10000"/>
                <a:gd name="connsiteY180" fmla="*/ 4579 h 10010"/>
                <a:gd name="connsiteX181" fmla="*/ 7062 w 10000"/>
                <a:gd name="connsiteY181" fmla="*/ 4604 h 10010"/>
                <a:gd name="connsiteX182" fmla="*/ 7088 w 10000"/>
                <a:gd name="connsiteY182" fmla="*/ 4555 h 10010"/>
                <a:gd name="connsiteX183" fmla="*/ 7154 w 10000"/>
                <a:gd name="connsiteY183" fmla="*/ 4522 h 10010"/>
                <a:gd name="connsiteX184" fmla="*/ 6974 w 10000"/>
                <a:gd name="connsiteY184" fmla="*/ 4487 h 10010"/>
                <a:gd name="connsiteX185" fmla="*/ 7102 w 10000"/>
                <a:gd name="connsiteY185" fmla="*/ 4494 h 10010"/>
                <a:gd name="connsiteX186" fmla="*/ 7234 w 10000"/>
                <a:gd name="connsiteY186" fmla="*/ 4457 h 10010"/>
                <a:gd name="connsiteX187" fmla="*/ 7229 w 10000"/>
                <a:gd name="connsiteY187" fmla="*/ 4432 h 10010"/>
                <a:gd name="connsiteX188" fmla="*/ 7353 w 10000"/>
                <a:gd name="connsiteY188" fmla="*/ 4408 h 10010"/>
                <a:gd name="connsiteX189" fmla="*/ 7364 w 10000"/>
                <a:gd name="connsiteY189" fmla="*/ 4347 h 10010"/>
                <a:gd name="connsiteX190" fmla="*/ 7461 w 10000"/>
                <a:gd name="connsiteY190" fmla="*/ 4335 h 10010"/>
                <a:gd name="connsiteX191" fmla="*/ 7469 w 10000"/>
                <a:gd name="connsiteY191" fmla="*/ 4263 h 10010"/>
                <a:gd name="connsiteX192" fmla="*/ 7572 w 10000"/>
                <a:gd name="connsiteY192" fmla="*/ 4255 h 10010"/>
                <a:gd name="connsiteX193" fmla="*/ 7730 w 10000"/>
                <a:gd name="connsiteY193" fmla="*/ 4270 h 10010"/>
                <a:gd name="connsiteX194" fmla="*/ 7904 w 10000"/>
                <a:gd name="connsiteY194" fmla="*/ 4212 h 10010"/>
                <a:gd name="connsiteX195" fmla="*/ 7966 w 10000"/>
                <a:gd name="connsiteY195" fmla="*/ 4147 h 10010"/>
                <a:gd name="connsiteX196" fmla="*/ 8181 w 10000"/>
                <a:gd name="connsiteY196" fmla="*/ 4080 h 10010"/>
                <a:gd name="connsiteX197" fmla="*/ 8288 w 10000"/>
                <a:gd name="connsiteY197" fmla="*/ 4121 h 10010"/>
                <a:gd name="connsiteX198" fmla="*/ 8452 w 10000"/>
                <a:gd name="connsiteY198" fmla="*/ 4076 h 10010"/>
                <a:gd name="connsiteX199" fmla="*/ 8491 w 10000"/>
                <a:gd name="connsiteY199" fmla="*/ 4019 h 10010"/>
                <a:gd name="connsiteX200" fmla="*/ 8616 w 10000"/>
                <a:gd name="connsiteY200" fmla="*/ 3980 h 10010"/>
                <a:gd name="connsiteX201" fmla="*/ 8722 w 10000"/>
                <a:gd name="connsiteY201" fmla="*/ 3997 h 10010"/>
                <a:gd name="connsiteX202" fmla="*/ 8789 w 10000"/>
                <a:gd name="connsiteY202" fmla="*/ 3968 h 10010"/>
                <a:gd name="connsiteX203" fmla="*/ 8973 w 10000"/>
                <a:gd name="connsiteY203" fmla="*/ 3927 h 10010"/>
                <a:gd name="connsiteX204" fmla="*/ 9049 w 10000"/>
                <a:gd name="connsiteY204" fmla="*/ 3874 h 10010"/>
                <a:gd name="connsiteX205" fmla="*/ 9153 w 10000"/>
                <a:gd name="connsiteY205" fmla="*/ 3852 h 10010"/>
                <a:gd name="connsiteX206" fmla="*/ 9720 w 10000"/>
                <a:gd name="connsiteY206" fmla="*/ 3532 h 10010"/>
                <a:gd name="connsiteX207" fmla="*/ 9971 w 10000"/>
                <a:gd name="connsiteY207" fmla="*/ 399 h 10010"/>
                <a:gd name="connsiteX208" fmla="*/ 9049 w 10000"/>
                <a:gd name="connsiteY208" fmla="*/ 36 h 10010"/>
                <a:gd name="connsiteX209" fmla="*/ 8706 w 10000"/>
                <a:gd name="connsiteY209" fmla="*/ 10 h 10010"/>
                <a:gd name="connsiteX210" fmla="*/ 8652 w 10000"/>
                <a:gd name="connsiteY210" fmla="*/ 218 h 10010"/>
                <a:gd name="connsiteX211" fmla="*/ 8591 w 10000"/>
                <a:gd name="connsiteY211" fmla="*/ 485 h 10010"/>
                <a:gd name="connsiteX212" fmla="*/ 8477 w 10000"/>
                <a:gd name="connsiteY212" fmla="*/ 495 h 10010"/>
                <a:gd name="connsiteX213" fmla="*/ 7537 w 10000"/>
                <a:gd name="connsiteY213" fmla="*/ 397 h 10010"/>
                <a:gd name="connsiteX214" fmla="*/ 7423 w 10000"/>
                <a:gd name="connsiteY214" fmla="*/ 405 h 10010"/>
                <a:gd name="connsiteX215" fmla="*/ 7359 w 10000"/>
                <a:gd name="connsiteY215" fmla="*/ 424 h 10010"/>
                <a:gd name="connsiteX216" fmla="*/ 7290 w 10000"/>
                <a:gd name="connsiteY216" fmla="*/ 472 h 10010"/>
                <a:gd name="connsiteX217" fmla="*/ 7302 w 10000"/>
                <a:gd name="connsiteY217" fmla="*/ 591 h 10010"/>
                <a:gd name="connsiteX218" fmla="*/ 7199 w 10000"/>
                <a:gd name="connsiteY218" fmla="*/ 745 h 10010"/>
                <a:gd name="connsiteX219" fmla="*/ 7072 w 10000"/>
                <a:gd name="connsiteY219" fmla="*/ 825 h 10010"/>
                <a:gd name="connsiteX220" fmla="*/ 7021 w 10000"/>
                <a:gd name="connsiteY220" fmla="*/ 815 h 10010"/>
                <a:gd name="connsiteX221" fmla="*/ 6903 w 10000"/>
                <a:gd name="connsiteY221" fmla="*/ 749 h 10010"/>
                <a:gd name="connsiteX222" fmla="*/ 6756 w 10000"/>
                <a:gd name="connsiteY222" fmla="*/ 715 h 10010"/>
                <a:gd name="connsiteX223" fmla="*/ 6594 w 10000"/>
                <a:gd name="connsiteY223" fmla="*/ 725 h 10010"/>
                <a:gd name="connsiteX224" fmla="*/ 6223 w 10000"/>
                <a:gd name="connsiteY224" fmla="*/ 876 h 10010"/>
                <a:gd name="connsiteX225" fmla="*/ 6125 w 10000"/>
                <a:gd name="connsiteY225" fmla="*/ 1027 h 10010"/>
                <a:gd name="connsiteX226" fmla="*/ 5845 w 10000"/>
                <a:gd name="connsiteY226" fmla="*/ 1163 h 10010"/>
                <a:gd name="connsiteX227" fmla="*/ 5794 w 10000"/>
                <a:gd name="connsiteY227" fmla="*/ 1232 h 10010"/>
                <a:gd name="connsiteX228" fmla="*/ 5940 w 10000"/>
                <a:gd name="connsiteY228" fmla="*/ 1354 h 10010"/>
                <a:gd name="connsiteX229" fmla="*/ 5956 w 10000"/>
                <a:gd name="connsiteY229" fmla="*/ 1422 h 10010"/>
                <a:gd name="connsiteX230" fmla="*/ 5190 w 10000"/>
                <a:gd name="connsiteY230" fmla="*/ 1823 h 10010"/>
                <a:gd name="connsiteX231" fmla="*/ 4955 w 10000"/>
                <a:gd name="connsiteY231" fmla="*/ 2080 h 10010"/>
                <a:gd name="connsiteX232" fmla="*/ 4702 w 10000"/>
                <a:gd name="connsiteY232" fmla="*/ 2145 h 10010"/>
                <a:gd name="connsiteX233" fmla="*/ 4540 w 10000"/>
                <a:gd name="connsiteY233" fmla="*/ 2141 h 10010"/>
                <a:gd name="connsiteX234" fmla="*/ 4443 w 10000"/>
                <a:gd name="connsiteY234" fmla="*/ 2163 h 10010"/>
                <a:gd name="connsiteX235" fmla="*/ 4178 w 10000"/>
                <a:gd name="connsiteY235" fmla="*/ 2803 h 10010"/>
                <a:gd name="connsiteX236" fmla="*/ 3565 w 10000"/>
                <a:gd name="connsiteY236" fmla="*/ 3176 h 10010"/>
                <a:gd name="connsiteX237" fmla="*/ 3569 w 10000"/>
                <a:gd name="connsiteY237" fmla="*/ 3235 h 10010"/>
                <a:gd name="connsiteX238" fmla="*/ 3841 w 10000"/>
                <a:gd name="connsiteY238" fmla="*/ 3402 h 10010"/>
                <a:gd name="connsiteX239" fmla="*/ 3753 w 10000"/>
                <a:gd name="connsiteY239" fmla="*/ 3583 h 10010"/>
                <a:gd name="connsiteX240" fmla="*/ 3594 w 10000"/>
                <a:gd name="connsiteY240" fmla="*/ 3650 h 10010"/>
                <a:gd name="connsiteX241" fmla="*/ 3118 w 10000"/>
                <a:gd name="connsiteY241" fmla="*/ 3605 h 10010"/>
                <a:gd name="connsiteX242" fmla="*/ 2791 w 10000"/>
                <a:gd name="connsiteY242" fmla="*/ 3630 h 10010"/>
                <a:gd name="connsiteX243" fmla="*/ 2528 w 10000"/>
                <a:gd name="connsiteY243" fmla="*/ 3683 h 10010"/>
                <a:gd name="connsiteX244" fmla="*/ 2102 w 10000"/>
                <a:gd name="connsiteY244" fmla="*/ 3850 h 10010"/>
                <a:gd name="connsiteX245" fmla="*/ 1877 w 10000"/>
                <a:gd name="connsiteY245" fmla="*/ 4052 h 10010"/>
                <a:gd name="connsiteX246" fmla="*/ 1896 w 10000"/>
                <a:gd name="connsiteY246" fmla="*/ 4164 h 10010"/>
                <a:gd name="connsiteX247" fmla="*/ 1975 w 10000"/>
                <a:gd name="connsiteY247" fmla="*/ 4251 h 10010"/>
                <a:gd name="connsiteX248" fmla="*/ 2034 w 10000"/>
                <a:gd name="connsiteY248" fmla="*/ 4286 h 10010"/>
                <a:gd name="connsiteX249" fmla="*/ 1924 w 10000"/>
                <a:gd name="connsiteY249" fmla="*/ 4341 h 10010"/>
                <a:gd name="connsiteX250" fmla="*/ 1683 w 10000"/>
                <a:gd name="connsiteY250" fmla="*/ 4720 h 10010"/>
                <a:gd name="connsiteX251" fmla="*/ 1729 w 10000"/>
                <a:gd name="connsiteY251" fmla="*/ 4742 h 10010"/>
                <a:gd name="connsiteX252" fmla="*/ 1764 w 10000"/>
                <a:gd name="connsiteY252" fmla="*/ 4838 h 10010"/>
                <a:gd name="connsiteX253" fmla="*/ 1652 w 10000"/>
                <a:gd name="connsiteY253" fmla="*/ 5237 h 10010"/>
                <a:gd name="connsiteX254" fmla="*/ 1764 w 10000"/>
                <a:gd name="connsiteY254" fmla="*/ 5339 h 10010"/>
                <a:gd name="connsiteX255" fmla="*/ 2071 w 10000"/>
                <a:gd name="connsiteY255" fmla="*/ 5451 h 10010"/>
                <a:gd name="connsiteX256" fmla="*/ 2085 w 10000"/>
                <a:gd name="connsiteY256" fmla="*/ 5588 h 10010"/>
                <a:gd name="connsiteX257" fmla="*/ 1954 w 10000"/>
                <a:gd name="connsiteY257" fmla="*/ 5700 h 10010"/>
                <a:gd name="connsiteX258" fmla="*/ 1764 w 10000"/>
                <a:gd name="connsiteY258" fmla="*/ 5769 h 10010"/>
                <a:gd name="connsiteX259" fmla="*/ 1513 w 10000"/>
                <a:gd name="connsiteY259" fmla="*/ 5797 h 10010"/>
                <a:gd name="connsiteX260" fmla="*/ 1448 w 10000"/>
                <a:gd name="connsiteY260" fmla="*/ 5836 h 10010"/>
                <a:gd name="connsiteX261" fmla="*/ 1594 w 10000"/>
                <a:gd name="connsiteY261" fmla="*/ 5930 h 10010"/>
                <a:gd name="connsiteX262" fmla="*/ 1678 w 10000"/>
                <a:gd name="connsiteY262" fmla="*/ 6152 h 10010"/>
                <a:gd name="connsiteX263" fmla="*/ 1488 w 10000"/>
                <a:gd name="connsiteY263" fmla="*/ 6343 h 10010"/>
                <a:gd name="connsiteX264" fmla="*/ 1554 w 10000"/>
                <a:gd name="connsiteY264" fmla="*/ 6402 h 10010"/>
                <a:gd name="connsiteX265" fmla="*/ 1494 w 10000"/>
                <a:gd name="connsiteY265" fmla="*/ 6502 h 10010"/>
                <a:gd name="connsiteX266" fmla="*/ 1372 w 10000"/>
                <a:gd name="connsiteY266" fmla="*/ 6571 h 10010"/>
                <a:gd name="connsiteX267" fmla="*/ 889 w 10000"/>
                <a:gd name="connsiteY267" fmla="*/ 6624 h 10010"/>
                <a:gd name="connsiteX268" fmla="*/ 860 w 10000"/>
                <a:gd name="connsiteY268" fmla="*/ 6716 h 10010"/>
                <a:gd name="connsiteX269" fmla="*/ 600 w 10000"/>
                <a:gd name="connsiteY269" fmla="*/ 6853 h 10010"/>
                <a:gd name="connsiteX270" fmla="*/ 634 w 10000"/>
                <a:gd name="connsiteY270" fmla="*/ 7050 h 10010"/>
                <a:gd name="connsiteX271" fmla="*/ 415 w 10000"/>
                <a:gd name="connsiteY271" fmla="*/ 7303 h 10010"/>
                <a:gd name="connsiteX272" fmla="*/ 266 w 10000"/>
                <a:gd name="connsiteY272" fmla="*/ 7333 h 10010"/>
                <a:gd name="connsiteX273" fmla="*/ 204 w 10000"/>
                <a:gd name="connsiteY273" fmla="*/ 7272 h 10010"/>
                <a:gd name="connsiteX274" fmla="*/ 128 w 10000"/>
                <a:gd name="connsiteY274" fmla="*/ 7364 h 10010"/>
                <a:gd name="connsiteX275" fmla="*/ 178 w 10000"/>
                <a:gd name="connsiteY275" fmla="*/ 7207 h 10010"/>
                <a:gd name="connsiteX276" fmla="*/ 147 w 10000"/>
                <a:gd name="connsiteY276" fmla="*/ 7176 h 10010"/>
                <a:gd name="connsiteX0" fmla="*/ 147 w 10000"/>
                <a:gd name="connsiteY0" fmla="*/ 7176 h 10010"/>
                <a:gd name="connsiteX1" fmla="*/ 0 w 10000"/>
                <a:gd name="connsiteY1" fmla="*/ 7258 h 10010"/>
                <a:gd name="connsiteX2" fmla="*/ 0 w 10000"/>
                <a:gd name="connsiteY2" fmla="*/ 7661 h 10010"/>
                <a:gd name="connsiteX3" fmla="*/ 81 w 10000"/>
                <a:gd name="connsiteY3" fmla="*/ 7673 h 10010"/>
                <a:gd name="connsiteX4" fmla="*/ 100 w 10000"/>
                <a:gd name="connsiteY4" fmla="*/ 7704 h 10010"/>
                <a:gd name="connsiteX5" fmla="*/ 96 w 10000"/>
                <a:gd name="connsiteY5" fmla="*/ 7759 h 10010"/>
                <a:gd name="connsiteX6" fmla="*/ 66 w 10000"/>
                <a:gd name="connsiteY6" fmla="*/ 7783 h 10010"/>
                <a:gd name="connsiteX7" fmla="*/ 190 w 10000"/>
                <a:gd name="connsiteY7" fmla="*/ 7737 h 10010"/>
                <a:gd name="connsiteX8" fmla="*/ 242 w 10000"/>
                <a:gd name="connsiteY8" fmla="*/ 7690 h 10010"/>
                <a:gd name="connsiteX9" fmla="*/ 306 w 10000"/>
                <a:gd name="connsiteY9" fmla="*/ 7722 h 10010"/>
                <a:gd name="connsiteX10" fmla="*/ 235 w 10000"/>
                <a:gd name="connsiteY10" fmla="*/ 7788 h 10010"/>
                <a:gd name="connsiteX11" fmla="*/ 311 w 10000"/>
                <a:gd name="connsiteY11" fmla="*/ 7790 h 10010"/>
                <a:gd name="connsiteX12" fmla="*/ 348 w 10000"/>
                <a:gd name="connsiteY12" fmla="*/ 7806 h 10010"/>
                <a:gd name="connsiteX13" fmla="*/ 250 w 10000"/>
                <a:gd name="connsiteY13" fmla="*/ 7828 h 10010"/>
                <a:gd name="connsiteX14" fmla="*/ 96 w 10000"/>
                <a:gd name="connsiteY14" fmla="*/ 7896 h 10010"/>
                <a:gd name="connsiteX15" fmla="*/ 370 w 10000"/>
                <a:gd name="connsiteY15" fmla="*/ 7948 h 10010"/>
                <a:gd name="connsiteX16" fmla="*/ 404 w 10000"/>
                <a:gd name="connsiteY16" fmla="*/ 8024 h 10010"/>
                <a:gd name="connsiteX17" fmla="*/ 311 w 10000"/>
                <a:gd name="connsiteY17" fmla="*/ 8136 h 10010"/>
                <a:gd name="connsiteX18" fmla="*/ 511 w 10000"/>
                <a:gd name="connsiteY18" fmla="*/ 8128 h 10010"/>
                <a:gd name="connsiteX19" fmla="*/ 526 w 10000"/>
                <a:gd name="connsiteY19" fmla="*/ 8213 h 10010"/>
                <a:gd name="connsiteX20" fmla="*/ 393 w 10000"/>
                <a:gd name="connsiteY20" fmla="*/ 8270 h 10010"/>
                <a:gd name="connsiteX21" fmla="*/ 415 w 10000"/>
                <a:gd name="connsiteY21" fmla="*/ 8380 h 10010"/>
                <a:gd name="connsiteX22" fmla="*/ 364 w 10000"/>
                <a:gd name="connsiteY22" fmla="*/ 8466 h 10010"/>
                <a:gd name="connsiteX23" fmla="*/ 521 w 10000"/>
                <a:gd name="connsiteY23" fmla="*/ 8474 h 10010"/>
                <a:gd name="connsiteX24" fmla="*/ 676 w 10000"/>
                <a:gd name="connsiteY24" fmla="*/ 8802 h 10010"/>
                <a:gd name="connsiteX25" fmla="*/ 853 w 10000"/>
                <a:gd name="connsiteY25" fmla="*/ 8886 h 10010"/>
                <a:gd name="connsiteX26" fmla="*/ 931 w 10000"/>
                <a:gd name="connsiteY26" fmla="*/ 8975 h 10010"/>
                <a:gd name="connsiteX27" fmla="*/ 1125 w 10000"/>
                <a:gd name="connsiteY27" fmla="*/ 9040 h 10010"/>
                <a:gd name="connsiteX28" fmla="*/ 1249 w 10000"/>
                <a:gd name="connsiteY28" fmla="*/ 9122 h 10010"/>
                <a:gd name="connsiteX29" fmla="*/ 1233 w 10000"/>
                <a:gd name="connsiteY29" fmla="*/ 9181 h 10010"/>
                <a:gd name="connsiteX30" fmla="*/ 1110 w 10000"/>
                <a:gd name="connsiteY30" fmla="*/ 9203 h 10010"/>
                <a:gd name="connsiteX31" fmla="*/ 976 w 10000"/>
                <a:gd name="connsiteY31" fmla="*/ 9189 h 10010"/>
                <a:gd name="connsiteX32" fmla="*/ 935 w 10000"/>
                <a:gd name="connsiteY32" fmla="*/ 9214 h 10010"/>
                <a:gd name="connsiteX33" fmla="*/ 1037 w 10000"/>
                <a:gd name="connsiteY33" fmla="*/ 9342 h 10010"/>
                <a:gd name="connsiteX34" fmla="*/ 894 w 10000"/>
                <a:gd name="connsiteY34" fmla="*/ 9332 h 10010"/>
                <a:gd name="connsiteX35" fmla="*/ 773 w 10000"/>
                <a:gd name="connsiteY35" fmla="*/ 9301 h 10010"/>
                <a:gd name="connsiteX36" fmla="*/ 750 w 10000"/>
                <a:gd name="connsiteY36" fmla="*/ 9348 h 10010"/>
                <a:gd name="connsiteX37" fmla="*/ 1155 w 10000"/>
                <a:gd name="connsiteY37" fmla="*/ 9786 h 10010"/>
                <a:gd name="connsiteX38" fmla="*/ 1091 w 10000"/>
                <a:gd name="connsiteY38" fmla="*/ 9827 h 10010"/>
                <a:gd name="connsiteX39" fmla="*/ 1045 w 10000"/>
                <a:gd name="connsiteY39" fmla="*/ 9912 h 10010"/>
                <a:gd name="connsiteX40" fmla="*/ 987 w 10000"/>
                <a:gd name="connsiteY40" fmla="*/ 9918 h 10010"/>
                <a:gd name="connsiteX41" fmla="*/ 951 w 10000"/>
                <a:gd name="connsiteY41" fmla="*/ 9955 h 10010"/>
                <a:gd name="connsiteX42" fmla="*/ 1195 w 10000"/>
                <a:gd name="connsiteY42" fmla="*/ 9959 h 10010"/>
                <a:gd name="connsiteX43" fmla="*/ 1410 w 10000"/>
                <a:gd name="connsiteY43" fmla="*/ 9996 h 10010"/>
                <a:gd name="connsiteX44" fmla="*/ 1769 w 10000"/>
                <a:gd name="connsiteY44" fmla="*/ 9957 h 10010"/>
                <a:gd name="connsiteX45" fmla="*/ 2091 w 10000"/>
                <a:gd name="connsiteY45" fmla="*/ 9963 h 10010"/>
                <a:gd name="connsiteX46" fmla="*/ 2280 w 10000"/>
                <a:gd name="connsiteY46" fmla="*/ 10010 h 10010"/>
                <a:gd name="connsiteX47" fmla="*/ 2385 w 10000"/>
                <a:gd name="connsiteY47" fmla="*/ 9979 h 10010"/>
                <a:gd name="connsiteX48" fmla="*/ 2485 w 10000"/>
                <a:gd name="connsiteY48" fmla="*/ 9878 h 10010"/>
                <a:gd name="connsiteX49" fmla="*/ 2459 w 10000"/>
                <a:gd name="connsiteY49" fmla="*/ 9713 h 10010"/>
                <a:gd name="connsiteX50" fmla="*/ 2704 w 10000"/>
                <a:gd name="connsiteY50" fmla="*/ 9527 h 10010"/>
                <a:gd name="connsiteX51" fmla="*/ 2883 w 10000"/>
                <a:gd name="connsiteY51" fmla="*/ 9556 h 10010"/>
                <a:gd name="connsiteX52" fmla="*/ 2987 w 10000"/>
                <a:gd name="connsiteY52" fmla="*/ 9482 h 10010"/>
                <a:gd name="connsiteX53" fmla="*/ 3186 w 10000"/>
                <a:gd name="connsiteY53" fmla="*/ 9440 h 10010"/>
                <a:gd name="connsiteX54" fmla="*/ 3457 w 10000"/>
                <a:gd name="connsiteY54" fmla="*/ 9450 h 10010"/>
                <a:gd name="connsiteX55" fmla="*/ 3620 w 10000"/>
                <a:gd name="connsiteY55" fmla="*/ 9480 h 10010"/>
                <a:gd name="connsiteX56" fmla="*/ 3837 w 10000"/>
                <a:gd name="connsiteY56" fmla="*/ 9466 h 10010"/>
                <a:gd name="connsiteX57" fmla="*/ 4056 w 10000"/>
                <a:gd name="connsiteY57" fmla="*/ 9499 h 10010"/>
                <a:gd name="connsiteX58" fmla="*/ 4275 w 10000"/>
                <a:gd name="connsiteY58" fmla="*/ 9503 h 10010"/>
                <a:gd name="connsiteX59" fmla="*/ 4765 w 10000"/>
                <a:gd name="connsiteY59" fmla="*/ 9071 h 10010"/>
                <a:gd name="connsiteX60" fmla="*/ 4889 w 10000"/>
                <a:gd name="connsiteY60" fmla="*/ 8721 h 10010"/>
                <a:gd name="connsiteX61" fmla="*/ 5088 w 10000"/>
                <a:gd name="connsiteY61" fmla="*/ 8564 h 10010"/>
                <a:gd name="connsiteX62" fmla="*/ 5088 w 10000"/>
                <a:gd name="connsiteY62" fmla="*/ 8482 h 10010"/>
                <a:gd name="connsiteX63" fmla="*/ 5016 w 10000"/>
                <a:gd name="connsiteY63" fmla="*/ 8435 h 10010"/>
                <a:gd name="connsiteX64" fmla="*/ 5133 w 10000"/>
                <a:gd name="connsiteY64" fmla="*/ 8362 h 10010"/>
                <a:gd name="connsiteX65" fmla="*/ 5112 w 10000"/>
                <a:gd name="connsiteY65" fmla="*/ 8299 h 10010"/>
                <a:gd name="connsiteX66" fmla="*/ 5032 w 10000"/>
                <a:gd name="connsiteY66" fmla="*/ 8246 h 10010"/>
                <a:gd name="connsiteX67" fmla="*/ 5016 w 10000"/>
                <a:gd name="connsiteY67" fmla="*/ 8209 h 10010"/>
                <a:gd name="connsiteX68" fmla="*/ 5036 w 10000"/>
                <a:gd name="connsiteY68" fmla="*/ 8179 h 10010"/>
                <a:gd name="connsiteX69" fmla="*/ 5144 w 10000"/>
                <a:gd name="connsiteY69" fmla="*/ 8203 h 10010"/>
                <a:gd name="connsiteX70" fmla="*/ 5230 w 10000"/>
                <a:gd name="connsiteY70" fmla="*/ 8201 h 10010"/>
                <a:gd name="connsiteX71" fmla="*/ 5184 w 10000"/>
                <a:gd name="connsiteY71" fmla="*/ 8150 h 10010"/>
                <a:gd name="connsiteX72" fmla="*/ 5198 w 10000"/>
                <a:gd name="connsiteY72" fmla="*/ 8122 h 10010"/>
                <a:gd name="connsiteX73" fmla="*/ 5262 w 10000"/>
                <a:gd name="connsiteY73" fmla="*/ 8079 h 10010"/>
                <a:gd name="connsiteX74" fmla="*/ 5250 w 10000"/>
                <a:gd name="connsiteY74" fmla="*/ 8044 h 10010"/>
                <a:gd name="connsiteX75" fmla="*/ 5309 w 10000"/>
                <a:gd name="connsiteY75" fmla="*/ 7926 h 10010"/>
                <a:gd name="connsiteX76" fmla="*/ 5293 w 10000"/>
                <a:gd name="connsiteY76" fmla="*/ 7891 h 10010"/>
                <a:gd name="connsiteX77" fmla="*/ 4996 w 10000"/>
                <a:gd name="connsiteY77" fmla="*/ 7802 h 10010"/>
                <a:gd name="connsiteX78" fmla="*/ 5036 w 10000"/>
                <a:gd name="connsiteY78" fmla="*/ 7798 h 10010"/>
                <a:gd name="connsiteX79" fmla="*/ 5194 w 10000"/>
                <a:gd name="connsiteY79" fmla="*/ 7822 h 10010"/>
                <a:gd name="connsiteX80" fmla="*/ 5365 w 10000"/>
                <a:gd name="connsiteY80" fmla="*/ 7814 h 10010"/>
                <a:gd name="connsiteX81" fmla="*/ 5415 w 10000"/>
                <a:gd name="connsiteY81" fmla="*/ 7781 h 10010"/>
                <a:gd name="connsiteX82" fmla="*/ 5250 w 10000"/>
                <a:gd name="connsiteY82" fmla="*/ 7720 h 10010"/>
                <a:gd name="connsiteX83" fmla="*/ 4761 w 10000"/>
                <a:gd name="connsiteY83" fmla="*/ 7680 h 10010"/>
                <a:gd name="connsiteX84" fmla="*/ 4794 w 10000"/>
                <a:gd name="connsiteY84" fmla="*/ 7661 h 10010"/>
                <a:gd name="connsiteX85" fmla="*/ 5194 w 10000"/>
                <a:gd name="connsiteY85" fmla="*/ 7649 h 10010"/>
                <a:gd name="connsiteX86" fmla="*/ 5415 w 10000"/>
                <a:gd name="connsiteY86" fmla="*/ 7686 h 10010"/>
                <a:gd name="connsiteX87" fmla="*/ 5542 w 10000"/>
                <a:gd name="connsiteY87" fmla="*/ 7661 h 10010"/>
                <a:gd name="connsiteX88" fmla="*/ 5589 w 10000"/>
                <a:gd name="connsiteY88" fmla="*/ 7598 h 10010"/>
                <a:gd name="connsiteX89" fmla="*/ 5819 w 10000"/>
                <a:gd name="connsiteY89" fmla="*/ 7598 h 10010"/>
                <a:gd name="connsiteX90" fmla="*/ 6131 w 10000"/>
                <a:gd name="connsiteY90" fmla="*/ 7472 h 10010"/>
                <a:gd name="connsiteX91" fmla="*/ 6142 w 10000"/>
                <a:gd name="connsiteY91" fmla="*/ 7388 h 10010"/>
                <a:gd name="connsiteX92" fmla="*/ 6274 w 10000"/>
                <a:gd name="connsiteY92" fmla="*/ 7407 h 10010"/>
                <a:gd name="connsiteX93" fmla="*/ 6268 w 10000"/>
                <a:gd name="connsiteY93" fmla="*/ 7492 h 10010"/>
                <a:gd name="connsiteX94" fmla="*/ 6478 w 10000"/>
                <a:gd name="connsiteY94" fmla="*/ 7486 h 10010"/>
                <a:gd name="connsiteX95" fmla="*/ 6616 w 10000"/>
                <a:gd name="connsiteY95" fmla="*/ 7398 h 10010"/>
                <a:gd name="connsiteX96" fmla="*/ 6872 w 10000"/>
                <a:gd name="connsiteY96" fmla="*/ 7319 h 10010"/>
                <a:gd name="connsiteX97" fmla="*/ 6832 w 10000"/>
                <a:gd name="connsiteY97" fmla="*/ 7229 h 10010"/>
                <a:gd name="connsiteX98" fmla="*/ 6908 w 10000"/>
                <a:gd name="connsiteY98" fmla="*/ 7264 h 10010"/>
                <a:gd name="connsiteX99" fmla="*/ 7025 w 10000"/>
                <a:gd name="connsiteY99" fmla="*/ 7264 h 10010"/>
                <a:gd name="connsiteX100" fmla="*/ 7025 w 10000"/>
                <a:gd name="connsiteY100" fmla="*/ 7223 h 10010"/>
                <a:gd name="connsiteX101" fmla="*/ 7134 w 10000"/>
                <a:gd name="connsiteY101" fmla="*/ 7191 h 10010"/>
                <a:gd name="connsiteX102" fmla="*/ 7119 w 10000"/>
                <a:gd name="connsiteY102" fmla="*/ 7158 h 10010"/>
                <a:gd name="connsiteX103" fmla="*/ 6198 w 10000"/>
                <a:gd name="connsiteY103" fmla="*/ 7225 h 10010"/>
                <a:gd name="connsiteX104" fmla="*/ 5983 w 10000"/>
                <a:gd name="connsiteY104" fmla="*/ 7205 h 10010"/>
                <a:gd name="connsiteX105" fmla="*/ 5895 w 10000"/>
                <a:gd name="connsiteY105" fmla="*/ 7229 h 10010"/>
                <a:gd name="connsiteX106" fmla="*/ 5866 w 10000"/>
                <a:gd name="connsiteY106" fmla="*/ 7183 h 10010"/>
                <a:gd name="connsiteX107" fmla="*/ 5764 w 10000"/>
                <a:gd name="connsiteY107" fmla="*/ 7142 h 10010"/>
                <a:gd name="connsiteX108" fmla="*/ 5354 w 10000"/>
                <a:gd name="connsiteY108" fmla="*/ 7062 h 10010"/>
                <a:gd name="connsiteX109" fmla="*/ 5112 w 10000"/>
                <a:gd name="connsiteY109" fmla="*/ 7075 h 10010"/>
                <a:gd name="connsiteX110" fmla="*/ 5016 w 10000"/>
                <a:gd name="connsiteY110" fmla="*/ 7052 h 10010"/>
                <a:gd name="connsiteX111" fmla="*/ 5118 w 10000"/>
                <a:gd name="connsiteY111" fmla="*/ 7032 h 10010"/>
                <a:gd name="connsiteX112" fmla="*/ 5194 w 10000"/>
                <a:gd name="connsiteY112" fmla="*/ 6989 h 10010"/>
                <a:gd name="connsiteX113" fmla="*/ 5309 w 10000"/>
                <a:gd name="connsiteY113" fmla="*/ 7003 h 10010"/>
                <a:gd name="connsiteX114" fmla="*/ 5445 w 10000"/>
                <a:gd name="connsiteY114" fmla="*/ 6991 h 10010"/>
                <a:gd name="connsiteX115" fmla="*/ 5650 w 10000"/>
                <a:gd name="connsiteY115" fmla="*/ 7005 h 10010"/>
                <a:gd name="connsiteX116" fmla="*/ 5675 w 10000"/>
                <a:gd name="connsiteY116" fmla="*/ 6999 h 10010"/>
                <a:gd name="connsiteX117" fmla="*/ 5834 w 10000"/>
                <a:gd name="connsiteY117" fmla="*/ 7066 h 10010"/>
                <a:gd name="connsiteX118" fmla="*/ 5951 w 10000"/>
                <a:gd name="connsiteY118" fmla="*/ 7042 h 10010"/>
                <a:gd name="connsiteX119" fmla="*/ 5961 w 10000"/>
                <a:gd name="connsiteY119" fmla="*/ 7020 h 10010"/>
                <a:gd name="connsiteX120" fmla="*/ 6069 w 10000"/>
                <a:gd name="connsiteY120" fmla="*/ 7058 h 10010"/>
                <a:gd name="connsiteX121" fmla="*/ 6212 w 10000"/>
                <a:gd name="connsiteY121" fmla="*/ 7079 h 10010"/>
                <a:gd name="connsiteX122" fmla="*/ 6268 w 10000"/>
                <a:gd name="connsiteY122" fmla="*/ 7040 h 10010"/>
                <a:gd name="connsiteX123" fmla="*/ 6314 w 10000"/>
                <a:gd name="connsiteY123" fmla="*/ 7062 h 10010"/>
                <a:gd name="connsiteX124" fmla="*/ 6381 w 10000"/>
                <a:gd name="connsiteY124" fmla="*/ 7136 h 10010"/>
                <a:gd name="connsiteX125" fmla="*/ 6519 w 10000"/>
                <a:gd name="connsiteY125" fmla="*/ 7154 h 10010"/>
                <a:gd name="connsiteX126" fmla="*/ 7082 w 10000"/>
                <a:gd name="connsiteY126" fmla="*/ 7044 h 10010"/>
                <a:gd name="connsiteX127" fmla="*/ 7359 w 10000"/>
                <a:gd name="connsiteY127" fmla="*/ 6889 h 10010"/>
                <a:gd name="connsiteX128" fmla="*/ 7423 w 10000"/>
                <a:gd name="connsiteY128" fmla="*/ 6775 h 10010"/>
                <a:gd name="connsiteX129" fmla="*/ 7323 w 10000"/>
                <a:gd name="connsiteY129" fmla="*/ 6673 h 10010"/>
                <a:gd name="connsiteX130" fmla="*/ 7113 w 10000"/>
                <a:gd name="connsiteY130" fmla="*/ 6612 h 10010"/>
                <a:gd name="connsiteX131" fmla="*/ 6963 w 10000"/>
                <a:gd name="connsiteY131" fmla="*/ 6512 h 10010"/>
                <a:gd name="connsiteX132" fmla="*/ 7102 w 10000"/>
                <a:gd name="connsiteY132" fmla="*/ 6508 h 10010"/>
                <a:gd name="connsiteX133" fmla="*/ 7093 w 10000"/>
                <a:gd name="connsiteY133" fmla="*/ 6484 h 10010"/>
                <a:gd name="connsiteX134" fmla="*/ 6731 w 10000"/>
                <a:gd name="connsiteY134" fmla="*/ 6413 h 10010"/>
                <a:gd name="connsiteX135" fmla="*/ 6716 w 10000"/>
                <a:gd name="connsiteY135" fmla="*/ 6349 h 10010"/>
                <a:gd name="connsiteX136" fmla="*/ 6646 w 10000"/>
                <a:gd name="connsiteY136" fmla="*/ 6282 h 10010"/>
                <a:gd name="connsiteX137" fmla="*/ 6360 w 10000"/>
                <a:gd name="connsiteY137" fmla="*/ 6294 h 10010"/>
                <a:gd name="connsiteX138" fmla="*/ 6258 w 10000"/>
                <a:gd name="connsiteY138" fmla="*/ 6223 h 10010"/>
                <a:gd name="connsiteX139" fmla="*/ 6198 w 10000"/>
                <a:gd name="connsiteY139" fmla="*/ 6219 h 10010"/>
                <a:gd name="connsiteX140" fmla="*/ 6198 w 10000"/>
                <a:gd name="connsiteY140" fmla="*/ 6248 h 10010"/>
                <a:gd name="connsiteX141" fmla="*/ 6069 w 10000"/>
                <a:gd name="connsiteY141" fmla="*/ 6368 h 10010"/>
                <a:gd name="connsiteX142" fmla="*/ 5930 w 10000"/>
                <a:gd name="connsiteY142" fmla="*/ 6439 h 10010"/>
                <a:gd name="connsiteX143" fmla="*/ 5495 w 10000"/>
                <a:gd name="connsiteY143" fmla="*/ 6561 h 10010"/>
                <a:gd name="connsiteX144" fmla="*/ 5342 w 10000"/>
                <a:gd name="connsiteY144" fmla="*/ 6557 h 10010"/>
                <a:gd name="connsiteX145" fmla="*/ 5133 w 10000"/>
                <a:gd name="connsiteY145" fmla="*/ 6575 h 10010"/>
                <a:gd name="connsiteX146" fmla="*/ 5016 w 10000"/>
                <a:gd name="connsiteY146" fmla="*/ 6557 h 10010"/>
                <a:gd name="connsiteX147" fmla="*/ 5169 w 10000"/>
                <a:gd name="connsiteY147" fmla="*/ 6523 h 10010"/>
                <a:gd name="connsiteX148" fmla="*/ 5369 w 10000"/>
                <a:gd name="connsiteY148" fmla="*/ 6508 h 10010"/>
                <a:gd name="connsiteX149" fmla="*/ 5534 w 10000"/>
                <a:gd name="connsiteY149" fmla="*/ 6451 h 10010"/>
                <a:gd name="connsiteX150" fmla="*/ 5695 w 10000"/>
                <a:gd name="connsiteY150" fmla="*/ 6425 h 10010"/>
                <a:gd name="connsiteX151" fmla="*/ 5998 w 10000"/>
                <a:gd name="connsiteY151" fmla="*/ 6327 h 10010"/>
                <a:gd name="connsiteX152" fmla="*/ 6056 w 10000"/>
                <a:gd name="connsiteY152" fmla="*/ 6262 h 10010"/>
                <a:gd name="connsiteX153" fmla="*/ 6060 w 10000"/>
                <a:gd name="connsiteY153" fmla="*/ 6178 h 10010"/>
                <a:gd name="connsiteX154" fmla="*/ 5921 w 10000"/>
                <a:gd name="connsiteY154" fmla="*/ 6164 h 10010"/>
                <a:gd name="connsiteX155" fmla="*/ 5983 w 10000"/>
                <a:gd name="connsiteY155" fmla="*/ 6113 h 10010"/>
                <a:gd name="connsiteX156" fmla="*/ 6002 w 10000"/>
                <a:gd name="connsiteY156" fmla="*/ 6048 h 10010"/>
                <a:gd name="connsiteX157" fmla="*/ 5944 w 10000"/>
                <a:gd name="connsiteY157" fmla="*/ 5987 h 10010"/>
                <a:gd name="connsiteX158" fmla="*/ 5911 w 10000"/>
                <a:gd name="connsiteY158" fmla="*/ 5543 h 10010"/>
                <a:gd name="connsiteX159" fmla="*/ 5993 w 10000"/>
                <a:gd name="connsiteY159" fmla="*/ 5447 h 10010"/>
                <a:gd name="connsiteX160" fmla="*/ 5972 w 10000"/>
                <a:gd name="connsiteY160" fmla="*/ 5408 h 10010"/>
                <a:gd name="connsiteX161" fmla="*/ 6212 w 10000"/>
                <a:gd name="connsiteY161" fmla="*/ 5465 h 10010"/>
                <a:gd name="connsiteX162" fmla="*/ 6229 w 10000"/>
                <a:gd name="connsiteY162" fmla="*/ 5412 h 10010"/>
                <a:gd name="connsiteX163" fmla="*/ 6176 w 10000"/>
                <a:gd name="connsiteY163" fmla="*/ 5274 h 10010"/>
                <a:gd name="connsiteX164" fmla="*/ 6349 w 10000"/>
                <a:gd name="connsiteY164" fmla="*/ 5029 h 10010"/>
                <a:gd name="connsiteX165" fmla="*/ 6243 w 10000"/>
                <a:gd name="connsiteY165" fmla="*/ 4970 h 10010"/>
                <a:gd name="connsiteX166" fmla="*/ 6202 w 10000"/>
                <a:gd name="connsiteY166" fmla="*/ 4915 h 10010"/>
                <a:gd name="connsiteX167" fmla="*/ 6216 w 10000"/>
                <a:gd name="connsiteY167" fmla="*/ 4826 h 10010"/>
                <a:gd name="connsiteX168" fmla="*/ 6470 w 10000"/>
                <a:gd name="connsiteY168" fmla="*/ 4885 h 10010"/>
                <a:gd name="connsiteX169" fmla="*/ 6478 w 10000"/>
                <a:gd name="connsiteY169" fmla="*/ 4868 h 10010"/>
                <a:gd name="connsiteX170" fmla="*/ 6548 w 10000"/>
                <a:gd name="connsiteY170" fmla="*/ 4852 h 10010"/>
                <a:gd name="connsiteX171" fmla="*/ 6646 w 10000"/>
                <a:gd name="connsiteY171" fmla="*/ 4795 h 10010"/>
                <a:gd name="connsiteX172" fmla="*/ 6662 w 10000"/>
                <a:gd name="connsiteY172" fmla="*/ 4779 h 10010"/>
                <a:gd name="connsiteX173" fmla="*/ 6641 w 10000"/>
                <a:gd name="connsiteY173" fmla="*/ 4758 h 10010"/>
                <a:gd name="connsiteX174" fmla="*/ 6693 w 10000"/>
                <a:gd name="connsiteY174" fmla="*/ 4657 h 10010"/>
                <a:gd name="connsiteX175" fmla="*/ 6631 w 10000"/>
                <a:gd name="connsiteY175" fmla="*/ 4591 h 10010"/>
                <a:gd name="connsiteX176" fmla="*/ 6641 w 10000"/>
                <a:gd name="connsiteY176" fmla="*/ 4538 h 10010"/>
                <a:gd name="connsiteX177" fmla="*/ 6676 w 10000"/>
                <a:gd name="connsiteY177" fmla="*/ 4600 h 10010"/>
                <a:gd name="connsiteX178" fmla="*/ 6815 w 10000"/>
                <a:gd name="connsiteY178" fmla="*/ 4646 h 10010"/>
                <a:gd name="connsiteX179" fmla="*/ 6872 w 10000"/>
                <a:gd name="connsiteY179" fmla="*/ 4640 h 10010"/>
                <a:gd name="connsiteX180" fmla="*/ 6963 w 10000"/>
                <a:gd name="connsiteY180" fmla="*/ 4579 h 10010"/>
                <a:gd name="connsiteX181" fmla="*/ 7062 w 10000"/>
                <a:gd name="connsiteY181" fmla="*/ 4604 h 10010"/>
                <a:gd name="connsiteX182" fmla="*/ 7088 w 10000"/>
                <a:gd name="connsiteY182" fmla="*/ 4555 h 10010"/>
                <a:gd name="connsiteX183" fmla="*/ 7154 w 10000"/>
                <a:gd name="connsiteY183" fmla="*/ 4522 h 10010"/>
                <a:gd name="connsiteX184" fmla="*/ 6974 w 10000"/>
                <a:gd name="connsiteY184" fmla="*/ 4487 h 10010"/>
                <a:gd name="connsiteX185" fmla="*/ 7102 w 10000"/>
                <a:gd name="connsiteY185" fmla="*/ 4494 h 10010"/>
                <a:gd name="connsiteX186" fmla="*/ 7234 w 10000"/>
                <a:gd name="connsiteY186" fmla="*/ 4457 h 10010"/>
                <a:gd name="connsiteX187" fmla="*/ 7229 w 10000"/>
                <a:gd name="connsiteY187" fmla="*/ 4432 h 10010"/>
                <a:gd name="connsiteX188" fmla="*/ 7353 w 10000"/>
                <a:gd name="connsiteY188" fmla="*/ 4408 h 10010"/>
                <a:gd name="connsiteX189" fmla="*/ 7364 w 10000"/>
                <a:gd name="connsiteY189" fmla="*/ 4347 h 10010"/>
                <a:gd name="connsiteX190" fmla="*/ 7461 w 10000"/>
                <a:gd name="connsiteY190" fmla="*/ 4335 h 10010"/>
                <a:gd name="connsiteX191" fmla="*/ 7469 w 10000"/>
                <a:gd name="connsiteY191" fmla="*/ 4263 h 10010"/>
                <a:gd name="connsiteX192" fmla="*/ 7572 w 10000"/>
                <a:gd name="connsiteY192" fmla="*/ 4255 h 10010"/>
                <a:gd name="connsiteX193" fmla="*/ 7730 w 10000"/>
                <a:gd name="connsiteY193" fmla="*/ 4270 h 10010"/>
                <a:gd name="connsiteX194" fmla="*/ 7904 w 10000"/>
                <a:gd name="connsiteY194" fmla="*/ 4212 h 10010"/>
                <a:gd name="connsiteX195" fmla="*/ 7966 w 10000"/>
                <a:gd name="connsiteY195" fmla="*/ 4147 h 10010"/>
                <a:gd name="connsiteX196" fmla="*/ 8181 w 10000"/>
                <a:gd name="connsiteY196" fmla="*/ 4080 h 10010"/>
                <a:gd name="connsiteX197" fmla="*/ 8288 w 10000"/>
                <a:gd name="connsiteY197" fmla="*/ 4121 h 10010"/>
                <a:gd name="connsiteX198" fmla="*/ 8452 w 10000"/>
                <a:gd name="connsiteY198" fmla="*/ 4076 h 10010"/>
                <a:gd name="connsiteX199" fmla="*/ 8491 w 10000"/>
                <a:gd name="connsiteY199" fmla="*/ 4019 h 10010"/>
                <a:gd name="connsiteX200" fmla="*/ 8616 w 10000"/>
                <a:gd name="connsiteY200" fmla="*/ 3980 h 10010"/>
                <a:gd name="connsiteX201" fmla="*/ 8722 w 10000"/>
                <a:gd name="connsiteY201" fmla="*/ 3997 h 10010"/>
                <a:gd name="connsiteX202" fmla="*/ 8789 w 10000"/>
                <a:gd name="connsiteY202" fmla="*/ 3968 h 10010"/>
                <a:gd name="connsiteX203" fmla="*/ 8973 w 10000"/>
                <a:gd name="connsiteY203" fmla="*/ 3927 h 10010"/>
                <a:gd name="connsiteX204" fmla="*/ 9049 w 10000"/>
                <a:gd name="connsiteY204" fmla="*/ 3874 h 10010"/>
                <a:gd name="connsiteX205" fmla="*/ 9153 w 10000"/>
                <a:gd name="connsiteY205" fmla="*/ 3852 h 10010"/>
                <a:gd name="connsiteX206" fmla="*/ 9720 w 10000"/>
                <a:gd name="connsiteY206" fmla="*/ 3532 h 10010"/>
                <a:gd name="connsiteX207" fmla="*/ 9971 w 10000"/>
                <a:gd name="connsiteY207" fmla="*/ 399 h 10010"/>
                <a:gd name="connsiteX208" fmla="*/ 9049 w 10000"/>
                <a:gd name="connsiteY208" fmla="*/ 36 h 10010"/>
                <a:gd name="connsiteX209" fmla="*/ 8706 w 10000"/>
                <a:gd name="connsiteY209" fmla="*/ 10 h 10010"/>
                <a:gd name="connsiteX210" fmla="*/ 8652 w 10000"/>
                <a:gd name="connsiteY210" fmla="*/ 218 h 10010"/>
                <a:gd name="connsiteX211" fmla="*/ 8477 w 10000"/>
                <a:gd name="connsiteY211" fmla="*/ 495 h 10010"/>
                <a:gd name="connsiteX212" fmla="*/ 7537 w 10000"/>
                <a:gd name="connsiteY212" fmla="*/ 397 h 10010"/>
                <a:gd name="connsiteX213" fmla="*/ 7423 w 10000"/>
                <a:gd name="connsiteY213" fmla="*/ 405 h 10010"/>
                <a:gd name="connsiteX214" fmla="*/ 7359 w 10000"/>
                <a:gd name="connsiteY214" fmla="*/ 424 h 10010"/>
                <a:gd name="connsiteX215" fmla="*/ 7290 w 10000"/>
                <a:gd name="connsiteY215" fmla="*/ 472 h 10010"/>
                <a:gd name="connsiteX216" fmla="*/ 7302 w 10000"/>
                <a:gd name="connsiteY216" fmla="*/ 591 h 10010"/>
                <a:gd name="connsiteX217" fmla="*/ 7199 w 10000"/>
                <a:gd name="connsiteY217" fmla="*/ 745 h 10010"/>
                <a:gd name="connsiteX218" fmla="*/ 7072 w 10000"/>
                <a:gd name="connsiteY218" fmla="*/ 825 h 10010"/>
                <a:gd name="connsiteX219" fmla="*/ 7021 w 10000"/>
                <a:gd name="connsiteY219" fmla="*/ 815 h 10010"/>
                <a:gd name="connsiteX220" fmla="*/ 6903 w 10000"/>
                <a:gd name="connsiteY220" fmla="*/ 749 h 10010"/>
                <a:gd name="connsiteX221" fmla="*/ 6756 w 10000"/>
                <a:gd name="connsiteY221" fmla="*/ 715 h 10010"/>
                <a:gd name="connsiteX222" fmla="*/ 6594 w 10000"/>
                <a:gd name="connsiteY222" fmla="*/ 725 h 10010"/>
                <a:gd name="connsiteX223" fmla="*/ 6223 w 10000"/>
                <a:gd name="connsiteY223" fmla="*/ 876 h 10010"/>
                <a:gd name="connsiteX224" fmla="*/ 6125 w 10000"/>
                <a:gd name="connsiteY224" fmla="*/ 1027 h 10010"/>
                <a:gd name="connsiteX225" fmla="*/ 5845 w 10000"/>
                <a:gd name="connsiteY225" fmla="*/ 1163 h 10010"/>
                <a:gd name="connsiteX226" fmla="*/ 5794 w 10000"/>
                <a:gd name="connsiteY226" fmla="*/ 1232 h 10010"/>
                <a:gd name="connsiteX227" fmla="*/ 5940 w 10000"/>
                <a:gd name="connsiteY227" fmla="*/ 1354 h 10010"/>
                <a:gd name="connsiteX228" fmla="*/ 5956 w 10000"/>
                <a:gd name="connsiteY228" fmla="*/ 1422 h 10010"/>
                <a:gd name="connsiteX229" fmla="*/ 5190 w 10000"/>
                <a:gd name="connsiteY229" fmla="*/ 1823 h 10010"/>
                <a:gd name="connsiteX230" fmla="*/ 4955 w 10000"/>
                <a:gd name="connsiteY230" fmla="*/ 2080 h 10010"/>
                <a:gd name="connsiteX231" fmla="*/ 4702 w 10000"/>
                <a:gd name="connsiteY231" fmla="*/ 2145 h 10010"/>
                <a:gd name="connsiteX232" fmla="*/ 4540 w 10000"/>
                <a:gd name="connsiteY232" fmla="*/ 2141 h 10010"/>
                <a:gd name="connsiteX233" fmla="*/ 4443 w 10000"/>
                <a:gd name="connsiteY233" fmla="*/ 2163 h 10010"/>
                <a:gd name="connsiteX234" fmla="*/ 4178 w 10000"/>
                <a:gd name="connsiteY234" fmla="*/ 2803 h 10010"/>
                <a:gd name="connsiteX235" fmla="*/ 3565 w 10000"/>
                <a:gd name="connsiteY235" fmla="*/ 3176 h 10010"/>
                <a:gd name="connsiteX236" fmla="*/ 3569 w 10000"/>
                <a:gd name="connsiteY236" fmla="*/ 3235 h 10010"/>
                <a:gd name="connsiteX237" fmla="*/ 3841 w 10000"/>
                <a:gd name="connsiteY237" fmla="*/ 3402 h 10010"/>
                <a:gd name="connsiteX238" fmla="*/ 3753 w 10000"/>
                <a:gd name="connsiteY238" fmla="*/ 3583 h 10010"/>
                <a:gd name="connsiteX239" fmla="*/ 3594 w 10000"/>
                <a:gd name="connsiteY239" fmla="*/ 3650 h 10010"/>
                <a:gd name="connsiteX240" fmla="*/ 3118 w 10000"/>
                <a:gd name="connsiteY240" fmla="*/ 3605 h 10010"/>
                <a:gd name="connsiteX241" fmla="*/ 2791 w 10000"/>
                <a:gd name="connsiteY241" fmla="*/ 3630 h 10010"/>
                <a:gd name="connsiteX242" fmla="*/ 2528 w 10000"/>
                <a:gd name="connsiteY242" fmla="*/ 3683 h 10010"/>
                <a:gd name="connsiteX243" fmla="*/ 2102 w 10000"/>
                <a:gd name="connsiteY243" fmla="*/ 3850 h 10010"/>
                <a:gd name="connsiteX244" fmla="*/ 1877 w 10000"/>
                <a:gd name="connsiteY244" fmla="*/ 4052 h 10010"/>
                <a:gd name="connsiteX245" fmla="*/ 1896 w 10000"/>
                <a:gd name="connsiteY245" fmla="*/ 4164 h 10010"/>
                <a:gd name="connsiteX246" fmla="*/ 1975 w 10000"/>
                <a:gd name="connsiteY246" fmla="*/ 4251 h 10010"/>
                <a:gd name="connsiteX247" fmla="*/ 2034 w 10000"/>
                <a:gd name="connsiteY247" fmla="*/ 4286 h 10010"/>
                <a:gd name="connsiteX248" fmla="*/ 1924 w 10000"/>
                <a:gd name="connsiteY248" fmla="*/ 4341 h 10010"/>
                <a:gd name="connsiteX249" fmla="*/ 1683 w 10000"/>
                <a:gd name="connsiteY249" fmla="*/ 4720 h 10010"/>
                <a:gd name="connsiteX250" fmla="*/ 1729 w 10000"/>
                <a:gd name="connsiteY250" fmla="*/ 4742 h 10010"/>
                <a:gd name="connsiteX251" fmla="*/ 1764 w 10000"/>
                <a:gd name="connsiteY251" fmla="*/ 4838 h 10010"/>
                <a:gd name="connsiteX252" fmla="*/ 1652 w 10000"/>
                <a:gd name="connsiteY252" fmla="*/ 5237 h 10010"/>
                <a:gd name="connsiteX253" fmla="*/ 1764 w 10000"/>
                <a:gd name="connsiteY253" fmla="*/ 5339 h 10010"/>
                <a:gd name="connsiteX254" fmla="*/ 2071 w 10000"/>
                <a:gd name="connsiteY254" fmla="*/ 5451 h 10010"/>
                <a:gd name="connsiteX255" fmla="*/ 2085 w 10000"/>
                <a:gd name="connsiteY255" fmla="*/ 5588 h 10010"/>
                <a:gd name="connsiteX256" fmla="*/ 1954 w 10000"/>
                <a:gd name="connsiteY256" fmla="*/ 5700 h 10010"/>
                <a:gd name="connsiteX257" fmla="*/ 1764 w 10000"/>
                <a:gd name="connsiteY257" fmla="*/ 5769 h 10010"/>
                <a:gd name="connsiteX258" fmla="*/ 1513 w 10000"/>
                <a:gd name="connsiteY258" fmla="*/ 5797 h 10010"/>
                <a:gd name="connsiteX259" fmla="*/ 1448 w 10000"/>
                <a:gd name="connsiteY259" fmla="*/ 5836 h 10010"/>
                <a:gd name="connsiteX260" fmla="*/ 1594 w 10000"/>
                <a:gd name="connsiteY260" fmla="*/ 5930 h 10010"/>
                <a:gd name="connsiteX261" fmla="*/ 1678 w 10000"/>
                <a:gd name="connsiteY261" fmla="*/ 6152 h 10010"/>
                <a:gd name="connsiteX262" fmla="*/ 1488 w 10000"/>
                <a:gd name="connsiteY262" fmla="*/ 6343 h 10010"/>
                <a:gd name="connsiteX263" fmla="*/ 1554 w 10000"/>
                <a:gd name="connsiteY263" fmla="*/ 6402 h 10010"/>
                <a:gd name="connsiteX264" fmla="*/ 1494 w 10000"/>
                <a:gd name="connsiteY264" fmla="*/ 6502 h 10010"/>
                <a:gd name="connsiteX265" fmla="*/ 1372 w 10000"/>
                <a:gd name="connsiteY265" fmla="*/ 6571 h 10010"/>
                <a:gd name="connsiteX266" fmla="*/ 889 w 10000"/>
                <a:gd name="connsiteY266" fmla="*/ 6624 h 10010"/>
                <a:gd name="connsiteX267" fmla="*/ 860 w 10000"/>
                <a:gd name="connsiteY267" fmla="*/ 6716 h 10010"/>
                <a:gd name="connsiteX268" fmla="*/ 600 w 10000"/>
                <a:gd name="connsiteY268" fmla="*/ 6853 h 10010"/>
                <a:gd name="connsiteX269" fmla="*/ 634 w 10000"/>
                <a:gd name="connsiteY269" fmla="*/ 7050 h 10010"/>
                <a:gd name="connsiteX270" fmla="*/ 415 w 10000"/>
                <a:gd name="connsiteY270" fmla="*/ 7303 h 10010"/>
                <a:gd name="connsiteX271" fmla="*/ 266 w 10000"/>
                <a:gd name="connsiteY271" fmla="*/ 7333 h 10010"/>
                <a:gd name="connsiteX272" fmla="*/ 204 w 10000"/>
                <a:gd name="connsiteY272" fmla="*/ 7272 h 10010"/>
                <a:gd name="connsiteX273" fmla="*/ 128 w 10000"/>
                <a:gd name="connsiteY273" fmla="*/ 7364 h 10010"/>
                <a:gd name="connsiteX274" fmla="*/ 178 w 10000"/>
                <a:gd name="connsiteY274" fmla="*/ 7207 h 10010"/>
                <a:gd name="connsiteX275" fmla="*/ 147 w 10000"/>
                <a:gd name="connsiteY275" fmla="*/ 7176 h 10010"/>
                <a:gd name="connsiteX0" fmla="*/ 147 w 10000"/>
                <a:gd name="connsiteY0" fmla="*/ 7176 h 10010"/>
                <a:gd name="connsiteX1" fmla="*/ 0 w 10000"/>
                <a:gd name="connsiteY1" fmla="*/ 7258 h 10010"/>
                <a:gd name="connsiteX2" fmla="*/ 0 w 10000"/>
                <a:gd name="connsiteY2" fmla="*/ 7661 h 10010"/>
                <a:gd name="connsiteX3" fmla="*/ 81 w 10000"/>
                <a:gd name="connsiteY3" fmla="*/ 7673 h 10010"/>
                <a:gd name="connsiteX4" fmla="*/ 100 w 10000"/>
                <a:gd name="connsiteY4" fmla="*/ 7704 h 10010"/>
                <a:gd name="connsiteX5" fmla="*/ 96 w 10000"/>
                <a:gd name="connsiteY5" fmla="*/ 7759 h 10010"/>
                <a:gd name="connsiteX6" fmla="*/ 66 w 10000"/>
                <a:gd name="connsiteY6" fmla="*/ 7783 h 10010"/>
                <a:gd name="connsiteX7" fmla="*/ 190 w 10000"/>
                <a:gd name="connsiteY7" fmla="*/ 7737 h 10010"/>
                <a:gd name="connsiteX8" fmla="*/ 242 w 10000"/>
                <a:gd name="connsiteY8" fmla="*/ 7690 h 10010"/>
                <a:gd name="connsiteX9" fmla="*/ 306 w 10000"/>
                <a:gd name="connsiteY9" fmla="*/ 7722 h 10010"/>
                <a:gd name="connsiteX10" fmla="*/ 235 w 10000"/>
                <a:gd name="connsiteY10" fmla="*/ 7788 h 10010"/>
                <a:gd name="connsiteX11" fmla="*/ 311 w 10000"/>
                <a:gd name="connsiteY11" fmla="*/ 7790 h 10010"/>
                <a:gd name="connsiteX12" fmla="*/ 348 w 10000"/>
                <a:gd name="connsiteY12" fmla="*/ 7806 h 10010"/>
                <a:gd name="connsiteX13" fmla="*/ 250 w 10000"/>
                <a:gd name="connsiteY13" fmla="*/ 7828 h 10010"/>
                <a:gd name="connsiteX14" fmla="*/ 96 w 10000"/>
                <a:gd name="connsiteY14" fmla="*/ 7896 h 10010"/>
                <a:gd name="connsiteX15" fmla="*/ 370 w 10000"/>
                <a:gd name="connsiteY15" fmla="*/ 7948 h 10010"/>
                <a:gd name="connsiteX16" fmla="*/ 404 w 10000"/>
                <a:gd name="connsiteY16" fmla="*/ 8024 h 10010"/>
                <a:gd name="connsiteX17" fmla="*/ 311 w 10000"/>
                <a:gd name="connsiteY17" fmla="*/ 8136 h 10010"/>
                <a:gd name="connsiteX18" fmla="*/ 511 w 10000"/>
                <a:gd name="connsiteY18" fmla="*/ 8128 h 10010"/>
                <a:gd name="connsiteX19" fmla="*/ 526 w 10000"/>
                <a:gd name="connsiteY19" fmla="*/ 8213 h 10010"/>
                <a:gd name="connsiteX20" fmla="*/ 393 w 10000"/>
                <a:gd name="connsiteY20" fmla="*/ 8270 h 10010"/>
                <a:gd name="connsiteX21" fmla="*/ 415 w 10000"/>
                <a:gd name="connsiteY21" fmla="*/ 8380 h 10010"/>
                <a:gd name="connsiteX22" fmla="*/ 364 w 10000"/>
                <a:gd name="connsiteY22" fmla="*/ 8466 h 10010"/>
                <a:gd name="connsiteX23" fmla="*/ 521 w 10000"/>
                <a:gd name="connsiteY23" fmla="*/ 8474 h 10010"/>
                <a:gd name="connsiteX24" fmla="*/ 676 w 10000"/>
                <a:gd name="connsiteY24" fmla="*/ 8802 h 10010"/>
                <a:gd name="connsiteX25" fmla="*/ 853 w 10000"/>
                <a:gd name="connsiteY25" fmla="*/ 8886 h 10010"/>
                <a:gd name="connsiteX26" fmla="*/ 931 w 10000"/>
                <a:gd name="connsiteY26" fmla="*/ 8975 h 10010"/>
                <a:gd name="connsiteX27" fmla="*/ 1125 w 10000"/>
                <a:gd name="connsiteY27" fmla="*/ 9040 h 10010"/>
                <a:gd name="connsiteX28" fmla="*/ 1249 w 10000"/>
                <a:gd name="connsiteY28" fmla="*/ 9122 h 10010"/>
                <a:gd name="connsiteX29" fmla="*/ 1233 w 10000"/>
                <a:gd name="connsiteY29" fmla="*/ 9181 h 10010"/>
                <a:gd name="connsiteX30" fmla="*/ 1110 w 10000"/>
                <a:gd name="connsiteY30" fmla="*/ 9203 h 10010"/>
                <a:gd name="connsiteX31" fmla="*/ 976 w 10000"/>
                <a:gd name="connsiteY31" fmla="*/ 9189 h 10010"/>
                <a:gd name="connsiteX32" fmla="*/ 935 w 10000"/>
                <a:gd name="connsiteY32" fmla="*/ 9214 h 10010"/>
                <a:gd name="connsiteX33" fmla="*/ 1037 w 10000"/>
                <a:gd name="connsiteY33" fmla="*/ 9342 h 10010"/>
                <a:gd name="connsiteX34" fmla="*/ 894 w 10000"/>
                <a:gd name="connsiteY34" fmla="*/ 9332 h 10010"/>
                <a:gd name="connsiteX35" fmla="*/ 773 w 10000"/>
                <a:gd name="connsiteY35" fmla="*/ 9301 h 10010"/>
                <a:gd name="connsiteX36" fmla="*/ 750 w 10000"/>
                <a:gd name="connsiteY36" fmla="*/ 9348 h 10010"/>
                <a:gd name="connsiteX37" fmla="*/ 1155 w 10000"/>
                <a:gd name="connsiteY37" fmla="*/ 9786 h 10010"/>
                <a:gd name="connsiteX38" fmla="*/ 1091 w 10000"/>
                <a:gd name="connsiteY38" fmla="*/ 9827 h 10010"/>
                <a:gd name="connsiteX39" fmla="*/ 1045 w 10000"/>
                <a:gd name="connsiteY39" fmla="*/ 9912 h 10010"/>
                <a:gd name="connsiteX40" fmla="*/ 987 w 10000"/>
                <a:gd name="connsiteY40" fmla="*/ 9918 h 10010"/>
                <a:gd name="connsiteX41" fmla="*/ 951 w 10000"/>
                <a:gd name="connsiteY41" fmla="*/ 9955 h 10010"/>
                <a:gd name="connsiteX42" fmla="*/ 1195 w 10000"/>
                <a:gd name="connsiteY42" fmla="*/ 9959 h 10010"/>
                <a:gd name="connsiteX43" fmla="*/ 1410 w 10000"/>
                <a:gd name="connsiteY43" fmla="*/ 9996 h 10010"/>
                <a:gd name="connsiteX44" fmla="*/ 1769 w 10000"/>
                <a:gd name="connsiteY44" fmla="*/ 9957 h 10010"/>
                <a:gd name="connsiteX45" fmla="*/ 2091 w 10000"/>
                <a:gd name="connsiteY45" fmla="*/ 9963 h 10010"/>
                <a:gd name="connsiteX46" fmla="*/ 2280 w 10000"/>
                <a:gd name="connsiteY46" fmla="*/ 10010 h 10010"/>
                <a:gd name="connsiteX47" fmla="*/ 2385 w 10000"/>
                <a:gd name="connsiteY47" fmla="*/ 9979 h 10010"/>
                <a:gd name="connsiteX48" fmla="*/ 2485 w 10000"/>
                <a:gd name="connsiteY48" fmla="*/ 9878 h 10010"/>
                <a:gd name="connsiteX49" fmla="*/ 2459 w 10000"/>
                <a:gd name="connsiteY49" fmla="*/ 9713 h 10010"/>
                <a:gd name="connsiteX50" fmla="*/ 2704 w 10000"/>
                <a:gd name="connsiteY50" fmla="*/ 9527 h 10010"/>
                <a:gd name="connsiteX51" fmla="*/ 2883 w 10000"/>
                <a:gd name="connsiteY51" fmla="*/ 9556 h 10010"/>
                <a:gd name="connsiteX52" fmla="*/ 2987 w 10000"/>
                <a:gd name="connsiteY52" fmla="*/ 9482 h 10010"/>
                <a:gd name="connsiteX53" fmla="*/ 3186 w 10000"/>
                <a:gd name="connsiteY53" fmla="*/ 9440 h 10010"/>
                <a:gd name="connsiteX54" fmla="*/ 3457 w 10000"/>
                <a:gd name="connsiteY54" fmla="*/ 9450 h 10010"/>
                <a:gd name="connsiteX55" fmla="*/ 3620 w 10000"/>
                <a:gd name="connsiteY55" fmla="*/ 9480 h 10010"/>
                <a:gd name="connsiteX56" fmla="*/ 3837 w 10000"/>
                <a:gd name="connsiteY56" fmla="*/ 9466 h 10010"/>
                <a:gd name="connsiteX57" fmla="*/ 4056 w 10000"/>
                <a:gd name="connsiteY57" fmla="*/ 9499 h 10010"/>
                <a:gd name="connsiteX58" fmla="*/ 4275 w 10000"/>
                <a:gd name="connsiteY58" fmla="*/ 9503 h 10010"/>
                <a:gd name="connsiteX59" fmla="*/ 4765 w 10000"/>
                <a:gd name="connsiteY59" fmla="*/ 9071 h 10010"/>
                <a:gd name="connsiteX60" fmla="*/ 4889 w 10000"/>
                <a:gd name="connsiteY60" fmla="*/ 8721 h 10010"/>
                <a:gd name="connsiteX61" fmla="*/ 5088 w 10000"/>
                <a:gd name="connsiteY61" fmla="*/ 8564 h 10010"/>
                <a:gd name="connsiteX62" fmla="*/ 5088 w 10000"/>
                <a:gd name="connsiteY62" fmla="*/ 8482 h 10010"/>
                <a:gd name="connsiteX63" fmla="*/ 5016 w 10000"/>
                <a:gd name="connsiteY63" fmla="*/ 8435 h 10010"/>
                <a:gd name="connsiteX64" fmla="*/ 5133 w 10000"/>
                <a:gd name="connsiteY64" fmla="*/ 8362 h 10010"/>
                <a:gd name="connsiteX65" fmla="*/ 5112 w 10000"/>
                <a:gd name="connsiteY65" fmla="*/ 8299 h 10010"/>
                <a:gd name="connsiteX66" fmla="*/ 5032 w 10000"/>
                <a:gd name="connsiteY66" fmla="*/ 8246 h 10010"/>
                <a:gd name="connsiteX67" fmla="*/ 5016 w 10000"/>
                <a:gd name="connsiteY67" fmla="*/ 8209 h 10010"/>
                <a:gd name="connsiteX68" fmla="*/ 5036 w 10000"/>
                <a:gd name="connsiteY68" fmla="*/ 8179 h 10010"/>
                <a:gd name="connsiteX69" fmla="*/ 5144 w 10000"/>
                <a:gd name="connsiteY69" fmla="*/ 8203 h 10010"/>
                <a:gd name="connsiteX70" fmla="*/ 5230 w 10000"/>
                <a:gd name="connsiteY70" fmla="*/ 8201 h 10010"/>
                <a:gd name="connsiteX71" fmla="*/ 5184 w 10000"/>
                <a:gd name="connsiteY71" fmla="*/ 8150 h 10010"/>
                <a:gd name="connsiteX72" fmla="*/ 5198 w 10000"/>
                <a:gd name="connsiteY72" fmla="*/ 8122 h 10010"/>
                <a:gd name="connsiteX73" fmla="*/ 5262 w 10000"/>
                <a:gd name="connsiteY73" fmla="*/ 8079 h 10010"/>
                <a:gd name="connsiteX74" fmla="*/ 5250 w 10000"/>
                <a:gd name="connsiteY74" fmla="*/ 8044 h 10010"/>
                <a:gd name="connsiteX75" fmla="*/ 5309 w 10000"/>
                <a:gd name="connsiteY75" fmla="*/ 7926 h 10010"/>
                <a:gd name="connsiteX76" fmla="*/ 5293 w 10000"/>
                <a:gd name="connsiteY76" fmla="*/ 7891 h 10010"/>
                <a:gd name="connsiteX77" fmla="*/ 4996 w 10000"/>
                <a:gd name="connsiteY77" fmla="*/ 7802 h 10010"/>
                <a:gd name="connsiteX78" fmla="*/ 5036 w 10000"/>
                <a:gd name="connsiteY78" fmla="*/ 7798 h 10010"/>
                <a:gd name="connsiteX79" fmla="*/ 5194 w 10000"/>
                <a:gd name="connsiteY79" fmla="*/ 7822 h 10010"/>
                <a:gd name="connsiteX80" fmla="*/ 5365 w 10000"/>
                <a:gd name="connsiteY80" fmla="*/ 7814 h 10010"/>
                <a:gd name="connsiteX81" fmla="*/ 5415 w 10000"/>
                <a:gd name="connsiteY81" fmla="*/ 7781 h 10010"/>
                <a:gd name="connsiteX82" fmla="*/ 5250 w 10000"/>
                <a:gd name="connsiteY82" fmla="*/ 7720 h 10010"/>
                <a:gd name="connsiteX83" fmla="*/ 4761 w 10000"/>
                <a:gd name="connsiteY83" fmla="*/ 7680 h 10010"/>
                <a:gd name="connsiteX84" fmla="*/ 4794 w 10000"/>
                <a:gd name="connsiteY84" fmla="*/ 7661 h 10010"/>
                <a:gd name="connsiteX85" fmla="*/ 5194 w 10000"/>
                <a:gd name="connsiteY85" fmla="*/ 7649 h 10010"/>
                <a:gd name="connsiteX86" fmla="*/ 5415 w 10000"/>
                <a:gd name="connsiteY86" fmla="*/ 7686 h 10010"/>
                <a:gd name="connsiteX87" fmla="*/ 5542 w 10000"/>
                <a:gd name="connsiteY87" fmla="*/ 7661 h 10010"/>
                <a:gd name="connsiteX88" fmla="*/ 5589 w 10000"/>
                <a:gd name="connsiteY88" fmla="*/ 7598 h 10010"/>
                <a:gd name="connsiteX89" fmla="*/ 5819 w 10000"/>
                <a:gd name="connsiteY89" fmla="*/ 7598 h 10010"/>
                <a:gd name="connsiteX90" fmla="*/ 6131 w 10000"/>
                <a:gd name="connsiteY90" fmla="*/ 7472 h 10010"/>
                <a:gd name="connsiteX91" fmla="*/ 6142 w 10000"/>
                <a:gd name="connsiteY91" fmla="*/ 7388 h 10010"/>
                <a:gd name="connsiteX92" fmla="*/ 6274 w 10000"/>
                <a:gd name="connsiteY92" fmla="*/ 7407 h 10010"/>
                <a:gd name="connsiteX93" fmla="*/ 6268 w 10000"/>
                <a:gd name="connsiteY93" fmla="*/ 7492 h 10010"/>
                <a:gd name="connsiteX94" fmla="*/ 6478 w 10000"/>
                <a:gd name="connsiteY94" fmla="*/ 7486 h 10010"/>
                <a:gd name="connsiteX95" fmla="*/ 6616 w 10000"/>
                <a:gd name="connsiteY95" fmla="*/ 7398 h 10010"/>
                <a:gd name="connsiteX96" fmla="*/ 6872 w 10000"/>
                <a:gd name="connsiteY96" fmla="*/ 7319 h 10010"/>
                <a:gd name="connsiteX97" fmla="*/ 6832 w 10000"/>
                <a:gd name="connsiteY97" fmla="*/ 7229 h 10010"/>
                <a:gd name="connsiteX98" fmla="*/ 6908 w 10000"/>
                <a:gd name="connsiteY98" fmla="*/ 7264 h 10010"/>
                <a:gd name="connsiteX99" fmla="*/ 7025 w 10000"/>
                <a:gd name="connsiteY99" fmla="*/ 7264 h 10010"/>
                <a:gd name="connsiteX100" fmla="*/ 7025 w 10000"/>
                <a:gd name="connsiteY100" fmla="*/ 7223 h 10010"/>
                <a:gd name="connsiteX101" fmla="*/ 7134 w 10000"/>
                <a:gd name="connsiteY101" fmla="*/ 7191 h 10010"/>
                <a:gd name="connsiteX102" fmla="*/ 7119 w 10000"/>
                <a:gd name="connsiteY102" fmla="*/ 7158 h 10010"/>
                <a:gd name="connsiteX103" fmla="*/ 6198 w 10000"/>
                <a:gd name="connsiteY103" fmla="*/ 7225 h 10010"/>
                <a:gd name="connsiteX104" fmla="*/ 5983 w 10000"/>
                <a:gd name="connsiteY104" fmla="*/ 7205 h 10010"/>
                <a:gd name="connsiteX105" fmla="*/ 5895 w 10000"/>
                <a:gd name="connsiteY105" fmla="*/ 7229 h 10010"/>
                <a:gd name="connsiteX106" fmla="*/ 5866 w 10000"/>
                <a:gd name="connsiteY106" fmla="*/ 7183 h 10010"/>
                <a:gd name="connsiteX107" fmla="*/ 5764 w 10000"/>
                <a:gd name="connsiteY107" fmla="*/ 7142 h 10010"/>
                <a:gd name="connsiteX108" fmla="*/ 5354 w 10000"/>
                <a:gd name="connsiteY108" fmla="*/ 7062 h 10010"/>
                <a:gd name="connsiteX109" fmla="*/ 5112 w 10000"/>
                <a:gd name="connsiteY109" fmla="*/ 7075 h 10010"/>
                <a:gd name="connsiteX110" fmla="*/ 5016 w 10000"/>
                <a:gd name="connsiteY110" fmla="*/ 7052 h 10010"/>
                <a:gd name="connsiteX111" fmla="*/ 5118 w 10000"/>
                <a:gd name="connsiteY111" fmla="*/ 7032 h 10010"/>
                <a:gd name="connsiteX112" fmla="*/ 5194 w 10000"/>
                <a:gd name="connsiteY112" fmla="*/ 6989 h 10010"/>
                <a:gd name="connsiteX113" fmla="*/ 5309 w 10000"/>
                <a:gd name="connsiteY113" fmla="*/ 7003 h 10010"/>
                <a:gd name="connsiteX114" fmla="*/ 5445 w 10000"/>
                <a:gd name="connsiteY114" fmla="*/ 6991 h 10010"/>
                <a:gd name="connsiteX115" fmla="*/ 5650 w 10000"/>
                <a:gd name="connsiteY115" fmla="*/ 7005 h 10010"/>
                <a:gd name="connsiteX116" fmla="*/ 5675 w 10000"/>
                <a:gd name="connsiteY116" fmla="*/ 6999 h 10010"/>
                <a:gd name="connsiteX117" fmla="*/ 5834 w 10000"/>
                <a:gd name="connsiteY117" fmla="*/ 7066 h 10010"/>
                <a:gd name="connsiteX118" fmla="*/ 5951 w 10000"/>
                <a:gd name="connsiteY118" fmla="*/ 7042 h 10010"/>
                <a:gd name="connsiteX119" fmla="*/ 5961 w 10000"/>
                <a:gd name="connsiteY119" fmla="*/ 7020 h 10010"/>
                <a:gd name="connsiteX120" fmla="*/ 6069 w 10000"/>
                <a:gd name="connsiteY120" fmla="*/ 7058 h 10010"/>
                <a:gd name="connsiteX121" fmla="*/ 6212 w 10000"/>
                <a:gd name="connsiteY121" fmla="*/ 7079 h 10010"/>
                <a:gd name="connsiteX122" fmla="*/ 6268 w 10000"/>
                <a:gd name="connsiteY122" fmla="*/ 7040 h 10010"/>
                <a:gd name="connsiteX123" fmla="*/ 6314 w 10000"/>
                <a:gd name="connsiteY123" fmla="*/ 7062 h 10010"/>
                <a:gd name="connsiteX124" fmla="*/ 6381 w 10000"/>
                <a:gd name="connsiteY124" fmla="*/ 7136 h 10010"/>
                <a:gd name="connsiteX125" fmla="*/ 6519 w 10000"/>
                <a:gd name="connsiteY125" fmla="*/ 7154 h 10010"/>
                <a:gd name="connsiteX126" fmla="*/ 7082 w 10000"/>
                <a:gd name="connsiteY126" fmla="*/ 7044 h 10010"/>
                <a:gd name="connsiteX127" fmla="*/ 7359 w 10000"/>
                <a:gd name="connsiteY127" fmla="*/ 6889 h 10010"/>
                <a:gd name="connsiteX128" fmla="*/ 7423 w 10000"/>
                <a:gd name="connsiteY128" fmla="*/ 6775 h 10010"/>
                <a:gd name="connsiteX129" fmla="*/ 7323 w 10000"/>
                <a:gd name="connsiteY129" fmla="*/ 6673 h 10010"/>
                <a:gd name="connsiteX130" fmla="*/ 7113 w 10000"/>
                <a:gd name="connsiteY130" fmla="*/ 6612 h 10010"/>
                <a:gd name="connsiteX131" fmla="*/ 6963 w 10000"/>
                <a:gd name="connsiteY131" fmla="*/ 6512 h 10010"/>
                <a:gd name="connsiteX132" fmla="*/ 7102 w 10000"/>
                <a:gd name="connsiteY132" fmla="*/ 6508 h 10010"/>
                <a:gd name="connsiteX133" fmla="*/ 7093 w 10000"/>
                <a:gd name="connsiteY133" fmla="*/ 6484 h 10010"/>
                <a:gd name="connsiteX134" fmla="*/ 6731 w 10000"/>
                <a:gd name="connsiteY134" fmla="*/ 6413 h 10010"/>
                <a:gd name="connsiteX135" fmla="*/ 6716 w 10000"/>
                <a:gd name="connsiteY135" fmla="*/ 6349 h 10010"/>
                <a:gd name="connsiteX136" fmla="*/ 6646 w 10000"/>
                <a:gd name="connsiteY136" fmla="*/ 6282 h 10010"/>
                <a:gd name="connsiteX137" fmla="*/ 6360 w 10000"/>
                <a:gd name="connsiteY137" fmla="*/ 6294 h 10010"/>
                <a:gd name="connsiteX138" fmla="*/ 6258 w 10000"/>
                <a:gd name="connsiteY138" fmla="*/ 6223 h 10010"/>
                <a:gd name="connsiteX139" fmla="*/ 6198 w 10000"/>
                <a:gd name="connsiteY139" fmla="*/ 6219 h 10010"/>
                <a:gd name="connsiteX140" fmla="*/ 6198 w 10000"/>
                <a:gd name="connsiteY140" fmla="*/ 6248 h 10010"/>
                <a:gd name="connsiteX141" fmla="*/ 6069 w 10000"/>
                <a:gd name="connsiteY141" fmla="*/ 6368 h 10010"/>
                <a:gd name="connsiteX142" fmla="*/ 5930 w 10000"/>
                <a:gd name="connsiteY142" fmla="*/ 6439 h 10010"/>
                <a:gd name="connsiteX143" fmla="*/ 5495 w 10000"/>
                <a:gd name="connsiteY143" fmla="*/ 6561 h 10010"/>
                <a:gd name="connsiteX144" fmla="*/ 5342 w 10000"/>
                <a:gd name="connsiteY144" fmla="*/ 6557 h 10010"/>
                <a:gd name="connsiteX145" fmla="*/ 5133 w 10000"/>
                <a:gd name="connsiteY145" fmla="*/ 6575 h 10010"/>
                <a:gd name="connsiteX146" fmla="*/ 5016 w 10000"/>
                <a:gd name="connsiteY146" fmla="*/ 6557 h 10010"/>
                <a:gd name="connsiteX147" fmla="*/ 5169 w 10000"/>
                <a:gd name="connsiteY147" fmla="*/ 6523 h 10010"/>
                <a:gd name="connsiteX148" fmla="*/ 5369 w 10000"/>
                <a:gd name="connsiteY148" fmla="*/ 6508 h 10010"/>
                <a:gd name="connsiteX149" fmla="*/ 5534 w 10000"/>
                <a:gd name="connsiteY149" fmla="*/ 6451 h 10010"/>
                <a:gd name="connsiteX150" fmla="*/ 5695 w 10000"/>
                <a:gd name="connsiteY150" fmla="*/ 6425 h 10010"/>
                <a:gd name="connsiteX151" fmla="*/ 5998 w 10000"/>
                <a:gd name="connsiteY151" fmla="*/ 6327 h 10010"/>
                <a:gd name="connsiteX152" fmla="*/ 6056 w 10000"/>
                <a:gd name="connsiteY152" fmla="*/ 6262 h 10010"/>
                <a:gd name="connsiteX153" fmla="*/ 6060 w 10000"/>
                <a:gd name="connsiteY153" fmla="*/ 6178 h 10010"/>
                <a:gd name="connsiteX154" fmla="*/ 5921 w 10000"/>
                <a:gd name="connsiteY154" fmla="*/ 6164 h 10010"/>
                <a:gd name="connsiteX155" fmla="*/ 5983 w 10000"/>
                <a:gd name="connsiteY155" fmla="*/ 6113 h 10010"/>
                <a:gd name="connsiteX156" fmla="*/ 6002 w 10000"/>
                <a:gd name="connsiteY156" fmla="*/ 6048 h 10010"/>
                <a:gd name="connsiteX157" fmla="*/ 5944 w 10000"/>
                <a:gd name="connsiteY157" fmla="*/ 5987 h 10010"/>
                <a:gd name="connsiteX158" fmla="*/ 5911 w 10000"/>
                <a:gd name="connsiteY158" fmla="*/ 5543 h 10010"/>
                <a:gd name="connsiteX159" fmla="*/ 5993 w 10000"/>
                <a:gd name="connsiteY159" fmla="*/ 5447 h 10010"/>
                <a:gd name="connsiteX160" fmla="*/ 5972 w 10000"/>
                <a:gd name="connsiteY160" fmla="*/ 5408 h 10010"/>
                <a:gd name="connsiteX161" fmla="*/ 6212 w 10000"/>
                <a:gd name="connsiteY161" fmla="*/ 5465 h 10010"/>
                <a:gd name="connsiteX162" fmla="*/ 6229 w 10000"/>
                <a:gd name="connsiteY162" fmla="*/ 5412 h 10010"/>
                <a:gd name="connsiteX163" fmla="*/ 6176 w 10000"/>
                <a:gd name="connsiteY163" fmla="*/ 5274 h 10010"/>
                <a:gd name="connsiteX164" fmla="*/ 6349 w 10000"/>
                <a:gd name="connsiteY164" fmla="*/ 5029 h 10010"/>
                <a:gd name="connsiteX165" fmla="*/ 6243 w 10000"/>
                <a:gd name="connsiteY165" fmla="*/ 4970 h 10010"/>
                <a:gd name="connsiteX166" fmla="*/ 6202 w 10000"/>
                <a:gd name="connsiteY166" fmla="*/ 4915 h 10010"/>
                <a:gd name="connsiteX167" fmla="*/ 6216 w 10000"/>
                <a:gd name="connsiteY167" fmla="*/ 4826 h 10010"/>
                <a:gd name="connsiteX168" fmla="*/ 6470 w 10000"/>
                <a:gd name="connsiteY168" fmla="*/ 4885 h 10010"/>
                <a:gd name="connsiteX169" fmla="*/ 6478 w 10000"/>
                <a:gd name="connsiteY169" fmla="*/ 4868 h 10010"/>
                <a:gd name="connsiteX170" fmla="*/ 6548 w 10000"/>
                <a:gd name="connsiteY170" fmla="*/ 4852 h 10010"/>
                <a:gd name="connsiteX171" fmla="*/ 6646 w 10000"/>
                <a:gd name="connsiteY171" fmla="*/ 4795 h 10010"/>
                <a:gd name="connsiteX172" fmla="*/ 6662 w 10000"/>
                <a:gd name="connsiteY172" fmla="*/ 4779 h 10010"/>
                <a:gd name="connsiteX173" fmla="*/ 6641 w 10000"/>
                <a:gd name="connsiteY173" fmla="*/ 4758 h 10010"/>
                <a:gd name="connsiteX174" fmla="*/ 6693 w 10000"/>
                <a:gd name="connsiteY174" fmla="*/ 4657 h 10010"/>
                <a:gd name="connsiteX175" fmla="*/ 6631 w 10000"/>
                <a:gd name="connsiteY175" fmla="*/ 4591 h 10010"/>
                <a:gd name="connsiteX176" fmla="*/ 6641 w 10000"/>
                <a:gd name="connsiteY176" fmla="*/ 4538 h 10010"/>
                <a:gd name="connsiteX177" fmla="*/ 6676 w 10000"/>
                <a:gd name="connsiteY177" fmla="*/ 4600 h 10010"/>
                <a:gd name="connsiteX178" fmla="*/ 6815 w 10000"/>
                <a:gd name="connsiteY178" fmla="*/ 4646 h 10010"/>
                <a:gd name="connsiteX179" fmla="*/ 6872 w 10000"/>
                <a:gd name="connsiteY179" fmla="*/ 4640 h 10010"/>
                <a:gd name="connsiteX180" fmla="*/ 6963 w 10000"/>
                <a:gd name="connsiteY180" fmla="*/ 4579 h 10010"/>
                <a:gd name="connsiteX181" fmla="*/ 7062 w 10000"/>
                <a:gd name="connsiteY181" fmla="*/ 4604 h 10010"/>
                <a:gd name="connsiteX182" fmla="*/ 7088 w 10000"/>
                <a:gd name="connsiteY182" fmla="*/ 4555 h 10010"/>
                <a:gd name="connsiteX183" fmla="*/ 7154 w 10000"/>
                <a:gd name="connsiteY183" fmla="*/ 4522 h 10010"/>
                <a:gd name="connsiteX184" fmla="*/ 6974 w 10000"/>
                <a:gd name="connsiteY184" fmla="*/ 4487 h 10010"/>
                <a:gd name="connsiteX185" fmla="*/ 7102 w 10000"/>
                <a:gd name="connsiteY185" fmla="*/ 4494 h 10010"/>
                <a:gd name="connsiteX186" fmla="*/ 7234 w 10000"/>
                <a:gd name="connsiteY186" fmla="*/ 4457 h 10010"/>
                <a:gd name="connsiteX187" fmla="*/ 7229 w 10000"/>
                <a:gd name="connsiteY187" fmla="*/ 4432 h 10010"/>
                <a:gd name="connsiteX188" fmla="*/ 7353 w 10000"/>
                <a:gd name="connsiteY188" fmla="*/ 4408 h 10010"/>
                <a:gd name="connsiteX189" fmla="*/ 7364 w 10000"/>
                <a:gd name="connsiteY189" fmla="*/ 4347 h 10010"/>
                <a:gd name="connsiteX190" fmla="*/ 7461 w 10000"/>
                <a:gd name="connsiteY190" fmla="*/ 4335 h 10010"/>
                <a:gd name="connsiteX191" fmla="*/ 7469 w 10000"/>
                <a:gd name="connsiteY191" fmla="*/ 4263 h 10010"/>
                <a:gd name="connsiteX192" fmla="*/ 7572 w 10000"/>
                <a:gd name="connsiteY192" fmla="*/ 4255 h 10010"/>
                <a:gd name="connsiteX193" fmla="*/ 7730 w 10000"/>
                <a:gd name="connsiteY193" fmla="*/ 4270 h 10010"/>
                <a:gd name="connsiteX194" fmla="*/ 7904 w 10000"/>
                <a:gd name="connsiteY194" fmla="*/ 4212 h 10010"/>
                <a:gd name="connsiteX195" fmla="*/ 7966 w 10000"/>
                <a:gd name="connsiteY195" fmla="*/ 4147 h 10010"/>
                <a:gd name="connsiteX196" fmla="*/ 8181 w 10000"/>
                <a:gd name="connsiteY196" fmla="*/ 4080 h 10010"/>
                <a:gd name="connsiteX197" fmla="*/ 8288 w 10000"/>
                <a:gd name="connsiteY197" fmla="*/ 4121 h 10010"/>
                <a:gd name="connsiteX198" fmla="*/ 8452 w 10000"/>
                <a:gd name="connsiteY198" fmla="*/ 4076 h 10010"/>
                <a:gd name="connsiteX199" fmla="*/ 8491 w 10000"/>
                <a:gd name="connsiteY199" fmla="*/ 4019 h 10010"/>
                <a:gd name="connsiteX200" fmla="*/ 8616 w 10000"/>
                <a:gd name="connsiteY200" fmla="*/ 3980 h 10010"/>
                <a:gd name="connsiteX201" fmla="*/ 8722 w 10000"/>
                <a:gd name="connsiteY201" fmla="*/ 3997 h 10010"/>
                <a:gd name="connsiteX202" fmla="*/ 8789 w 10000"/>
                <a:gd name="connsiteY202" fmla="*/ 3968 h 10010"/>
                <a:gd name="connsiteX203" fmla="*/ 8973 w 10000"/>
                <a:gd name="connsiteY203" fmla="*/ 3927 h 10010"/>
                <a:gd name="connsiteX204" fmla="*/ 9049 w 10000"/>
                <a:gd name="connsiteY204" fmla="*/ 3874 h 10010"/>
                <a:gd name="connsiteX205" fmla="*/ 9153 w 10000"/>
                <a:gd name="connsiteY205" fmla="*/ 3852 h 10010"/>
                <a:gd name="connsiteX206" fmla="*/ 9720 w 10000"/>
                <a:gd name="connsiteY206" fmla="*/ 3532 h 10010"/>
                <a:gd name="connsiteX207" fmla="*/ 9971 w 10000"/>
                <a:gd name="connsiteY207" fmla="*/ 399 h 10010"/>
                <a:gd name="connsiteX208" fmla="*/ 9049 w 10000"/>
                <a:gd name="connsiteY208" fmla="*/ 36 h 10010"/>
                <a:gd name="connsiteX209" fmla="*/ 8706 w 10000"/>
                <a:gd name="connsiteY209" fmla="*/ 10 h 10010"/>
                <a:gd name="connsiteX210" fmla="*/ 8652 w 10000"/>
                <a:gd name="connsiteY210" fmla="*/ 218 h 10010"/>
                <a:gd name="connsiteX211" fmla="*/ 7537 w 10000"/>
                <a:gd name="connsiteY211" fmla="*/ 397 h 10010"/>
                <a:gd name="connsiteX212" fmla="*/ 7423 w 10000"/>
                <a:gd name="connsiteY212" fmla="*/ 405 h 10010"/>
                <a:gd name="connsiteX213" fmla="*/ 7359 w 10000"/>
                <a:gd name="connsiteY213" fmla="*/ 424 h 10010"/>
                <a:gd name="connsiteX214" fmla="*/ 7290 w 10000"/>
                <a:gd name="connsiteY214" fmla="*/ 472 h 10010"/>
                <a:gd name="connsiteX215" fmla="*/ 7302 w 10000"/>
                <a:gd name="connsiteY215" fmla="*/ 591 h 10010"/>
                <a:gd name="connsiteX216" fmla="*/ 7199 w 10000"/>
                <a:gd name="connsiteY216" fmla="*/ 745 h 10010"/>
                <a:gd name="connsiteX217" fmla="*/ 7072 w 10000"/>
                <a:gd name="connsiteY217" fmla="*/ 825 h 10010"/>
                <a:gd name="connsiteX218" fmla="*/ 7021 w 10000"/>
                <a:gd name="connsiteY218" fmla="*/ 815 h 10010"/>
                <a:gd name="connsiteX219" fmla="*/ 6903 w 10000"/>
                <a:gd name="connsiteY219" fmla="*/ 749 h 10010"/>
                <a:gd name="connsiteX220" fmla="*/ 6756 w 10000"/>
                <a:gd name="connsiteY220" fmla="*/ 715 h 10010"/>
                <a:gd name="connsiteX221" fmla="*/ 6594 w 10000"/>
                <a:gd name="connsiteY221" fmla="*/ 725 h 10010"/>
                <a:gd name="connsiteX222" fmla="*/ 6223 w 10000"/>
                <a:gd name="connsiteY222" fmla="*/ 876 h 10010"/>
                <a:gd name="connsiteX223" fmla="*/ 6125 w 10000"/>
                <a:gd name="connsiteY223" fmla="*/ 1027 h 10010"/>
                <a:gd name="connsiteX224" fmla="*/ 5845 w 10000"/>
                <a:gd name="connsiteY224" fmla="*/ 1163 h 10010"/>
                <a:gd name="connsiteX225" fmla="*/ 5794 w 10000"/>
                <a:gd name="connsiteY225" fmla="*/ 1232 h 10010"/>
                <a:gd name="connsiteX226" fmla="*/ 5940 w 10000"/>
                <a:gd name="connsiteY226" fmla="*/ 1354 h 10010"/>
                <a:gd name="connsiteX227" fmla="*/ 5956 w 10000"/>
                <a:gd name="connsiteY227" fmla="*/ 1422 h 10010"/>
                <a:gd name="connsiteX228" fmla="*/ 5190 w 10000"/>
                <a:gd name="connsiteY228" fmla="*/ 1823 h 10010"/>
                <a:gd name="connsiteX229" fmla="*/ 4955 w 10000"/>
                <a:gd name="connsiteY229" fmla="*/ 2080 h 10010"/>
                <a:gd name="connsiteX230" fmla="*/ 4702 w 10000"/>
                <a:gd name="connsiteY230" fmla="*/ 2145 h 10010"/>
                <a:gd name="connsiteX231" fmla="*/ 4540 w 10000"/>
                <a:gd name="connsiteY231" fmla="*/ 2141 h 10010"/>
                <a:gd name="connsiteX232" fmla="*/ 4443 w 10000"/>
                <a:gd name="connsiteY232" fmla="*/ 2163 h 10010"/>
                <a:gd name="connsiteX233" fmla="*/ 4178 w 10000"/>
                <a:gd name="connsiteY233" fmla="*/ 2803 h 10010"/>
                <a:gd name="connsiteX234" fmla="*/ 3565 w 10000"/>
                <a:gd name="connsiteY234" fmla="*/ 3176 h 10010"/>
                <a:gd name="connsiteX235" fmla="*/ 3569 w 10000"/>
                <a:gd name="connsiteY235" fmla="*/ 3235 h 10010"/>
                <a:gd name="connsiteX236" fmla="*/ 3841 w 10000"/>
                <a:gd name="connsiteY236" fmla="*/ 3402 h 10010"/>
                <a:gd name="connsiteX237" fmla="*/ 3753 w 10000"/>
                <a:gd name="connsiteY237" fmla="*/ 3583 h 10010"/>
                <a:gd name="connsiteX238" fmla="*/ 3594 w 10000"/>
                <a:gd name="connsiteY238" fmla="*/ 3650 h 10010"/>
                <a:gd name="connsiteX239" fmla="*/ 3118 w 10000"/>
                <a:gd name="connsiteY239" fmla="*/ 3605 h 10010"/>
                <a:gd name="connsiteX240" fmla="*/ 2791 w 10000"/>
                <a:gd name="connsiteY240" fmla="*/ 3630 h 10010"/>
                <a:gd name="connsiteX241" fmla="*/ 2528 w 10000"/>
                <a:gd name="connsiteY241" fmla="*/ 3683 h 10010"/>
                <a:gd name="connsiteX242" fmla="*/ 2102 w 10000"/>
                <a:gd name="connsiteY242" fmla="*/ 3850 h 10010"/>
                <a:gd name="connsiteX243" fmla="*/ 1877 w 10000"/>
                <a:gd name="connsiteY243" fmla="*/ 4052 h 10010"/>
                <a:gd name="connsiteX244" fmla="*/ 1896 w 10000"/>
                <a:gd name="connsiteY244" fmla="*/ 4164 h 10010"/>
                <a:gd name="connsiteX245" fmla="*/ 1975 w 10000"/>
                <a:gd name="connsiteY245" fmla="*/ 4251 h 10010"/>
                <a:gd name="connsiteX246" fmla="*/ 2034 w 10000"/>
                <a:gd name="connsiteY246" fmla="*/ 4286 h 10010"/>
                <a:gd name="connsiteX247" fmla="*/ 1924 w 10000"/>
                <a:gd name="connsiteY247" fmla="*/ 4341 h 10010"/>
                <a:gd name="connsiteX248" fmla="*/ 1683 w 10000"/>
                <a:gd name="connsiteY248" fmla="*/ 4720 h 10010"/>
                <a:gd name="connsiteX249" fmla="*/ 1729 w 10000"/>
                <a:gd name="connsiteY249" fmla="*/ 4742 h 10010"/>
                <a:gd name="connsiteX250" fmla="*/ 1764 w 10000"/>
                <a:gd name="connsiteY250" fmla="*/ 4838 h 10010"/>
                <a:gd name="connsiteX251" fmla="*/ 1652 w 10000"/>
                <a:gd name="connsiteY251" fmla="*/ 5237 h 10010"/>
                <a:gd name="connsiteX252" fmla="*/ 1764 w 10000"/>
                <a:gd name="connsiteY252" fmla="*/ 5339 h 10010"/>
                <a:gd name="connsiteX253" fmla="*/ 2071 w 10000"/>
                <a:gd name="connsiteY253" fmla="*/ 5451 h 10010"/>
                <a:gd name="connsiteX254" fmla="*/ 2085 w 10000"/>
                <a:gd name="connsiteY254" fmla="*/ 5588 h 10010"/>
                <a:gd name="connsiteX255" fmla="*/ 1954 w 10000"/>
                <a:gd name="connsiteY255" fmla="*/ 5700 h 10010"/>
                <a:gd name="connsiteX256" fmla="*/ 1764 w 10000"/>
                <a:gd name="connsiteY256" fmla="*/ 5769 h 10010"/>
                <a:gd name="connsiteX257" fmla="*/ 1513 w 10000"/>
                <a:gd name="connsiteY257" fmla="*/ 5797 h 10010"/>
                <a:gd name="connsiteX258" fmla="*/ 1448 w 10000"/>
                <a:gd name="connsiteY258" fmla="*/ 5836 h 10010"/>
                <a:gd name="connsiteX259" fmla="*/ 1594 w 10000"/>
                <a:gd name="connsiteY259" fmla="*/ 5930 h 10010"/>
                <a:gd name="connsiteX260" fmla="*/ 1678 w 10000"/>
                <a:gd name="connsiteY260" fmla="*/ 6152 h 10010"/>
                <a:gd name="connsiteX261" fmla="*/ 1488 w 10000"/>
                <a:gd name="connsiteY261" fmla="*/ 6343 h 10010"/>
                <a:gd name="connsiteX262" fmla="*/ 1554 w 10000"/>
                <a:gd name="connsiteY262" fmla="*/ 6402 h 10010"/>
                <a:gd name="connsiteX263" fmla="*/ 1494 w 10000"/>
                <a:gd name="connsiteY263" fmla="*/ 6502 h 10010"/>
                <a:gd name="connsiteX264" fmla="*/ 1372 w 10000"/>
                <a:gd name="connsiteY264" fmla="*/ 6571 h 10010"/>
                <a:gd name="connsiteX265" fmla="*/ 889 w 10000"/>
                <a:gd name="connsiteY265" fmla="*/ 6624 h 10010"/>
                <a:gd name="connsiteX266" fmla="*/ 860 w 10000"/>
                <a:gd name="connsiteY266" fmla="*/ 6716 h 10010"/>
                <a:gd name="connsiteX267" fmla="*/ 600 w 10000"/>
                <a:gd name="connsiteY267" fmla="*/ 6853 h 10010"/>
                <a:gd name="connsiteX268" fmla="*/ 634 w 10000"/>
                <a:gd name="connsiteY268" fmla="*/ 7050 h 10010"/>
                <a:gd name="connsiteX269" fmla="*/ 415 w 10000"/>
                <a:gd name="connsiteY269" fmla="*/ 7303 h 10010"/>
                <a:gd name="connsiteX270" fmla="*/ 266 w 10000"/>
                <a:gd name="connsiteY270" fmla="*/ 7333 h 10010"/>
                <a:gd name="connsiteX271" fmla="*/ 204 w 10000"/>
                <a:gd name="connsiteY271" fmla="*/ 7272 h 10010"/>
                <a:gd name="connsiteX272" fmla="*/ 128 w 10000"/>
                <a:gd name="connsiteY272" fmla="*/ 7364 h 10010"/>
                <a:gd name="connsiteX273" fmla="*/ 178 w 10000"/>
                <a:gd name="connsiteY273" fmla="*/ 7207 h 10010"/>
                <a:gd name="connsiteX274" fmla="*/ 147 w 10000"/>
                <a:gd name="connsiteY274" fmla="*/ 7176 h 10010"/>
                <a:gd name="connsiteX0" fmla="*/ 147 w 10000"/>
                <a:gd name="connsiteY0" fmla="*/ 7176 h 10010"/>
                <a:gd name="connsiteX1" fmla="*/ 0 w 10000"/>
                <a:gd name="connsiteY1" fmla="*/ 7258 h 10010"/>
                <a:gd name="connsiteX2" fmla="*/ 0 w 10000"/>
                <a:gd name="connsiteY2" fmla="*/ 7661 h 10010"/>
                <a:gd name="connsiteX3" fmla="*/ 81 w 10000"/>
                <a:gd name="connsiteY3" fmla="*/ 7673 h 10010"/>
                <a:gd name="connsiteX4" fmla="*/ 100 w 10000"/>
                <a:gd name="connsiteY4" fmla="*/ 7704 h 10010"/>
                <a:gd name="connsiteX5" fmla="*/ 96 w 10000"/>
                <a:gd name="connsiteY5" fmla="*/ 7759 h 10010"/>
                <a:gd name="connsiteX6" fmla="*/ 66 w 10000"/>
                <a:gd name="connsiteY6" fmla="*/ 7783 h 10010"/>
                <a:gd name="connsiteX7" fmla="*/ 190 w 10000"/>
                <a:gd name="connsiteY7" fmla="*/ 7737 h 10010"/>
                <a:gd name="connsiteX8" fmla="*/ 242 w 10000"/>
                <a:gd name="connsiteY8" fmla="*/ 7690 h 10010"/>
                <a:gd name="connsiteX9" fmla="*/ 306 w 10000"/>
                <a:gd name="connsiteY9" fmla="*/ 7722 h 10010"/>
                <a:gd name="connsiteX10" fmla="*/ 235 w 10000"/>
                <a:gd name="connsiteY10" fmla="*/ 7788 h 10010"/>
                <a:gd name="connsiteX11" fmla="*/ 311 w 10000"/>
                <a:gd name="connsiteY11" fmla="*/ 7790 h 10010"/>
                <a:gd name="connsiteX12" fmla="*/ 348 w 10000"/>
                <a:gd name="connsiteY12" fmla="*/ 7806 h 10010"/>
                <a:gd name="connsiteX13" fmla="*/ 250 w 10000"/>
                <a:gd name="connsiteY13" fmla="*/ 7828 h 10010"/>
                <a:gd name="connsiteX14" fmla="*/ 96 w 10000"/>
                <a:gd name="connsiteY14" fmla="*/ 7896 h 10010"/>
                <a:gd name="connsiteX15" fmla="*/ 370 w 10000"/>
                <a:gd name="connsiteY15" fmla="*/ 7948 h 10010"/>
                <a:gd name="connsiteX16" fmla="*/ 404 w 10000"/>
                <a:gd name="connsiteY16" fmla="*/ 8024 h 10010"/>
                <a:gd name="connsiteX17" fmla="*/ 311 w 10000"/>
                <a:gd name="connsiteY17" fmla="*/ 8136 h 10010"/>
                <a:gd name="connsiteX18" fmla="*/ 511 w 10000"/>
                <a:gd name="connsiteY18" fmla="*/ 8128 h 10010"/>
                <a:gd name="connsiteX19" fmla="*/ 526 w 10000"/>
                <a:gd name="connsiteY19" fmla="*/ 8213 h 10010"/>
                <a:gd name="connsiteX20" fmla="*/ 393 w 10000"/>
                <a:gd name="connsiteY20" fmla="*/ 8270 h 10010"/>
                <a:gd name="connsiteX21" fmla="*/ 415 w 10000"/>
                <a:gd name="connsiteY21" fmla="*/ 8380 h 10010"/>
                <a:gd name="connsiteX22" fmla="*/ 364 w 10000"/>
                <a:gd name="connsiteY22" fmla="*/ 8466 h 10010"/>
                <a:gd name="connsiteX23" fmla="*/ 521 w 10000"/>
                <a:gd name="connsiteY23" fmla="*/ 8474 h 10010"/>
                <a:gd name="connsiteX24" fmla="*/ 676 w 10000"/>
                <a:gd name="connsiteY24" fmla="*/ 8802 h 10010"/>
                <a:gd name="connsiteX25" fmla="*/ 853 w 10000"/>
                <a:gd name="connsiteY25" fmla="*/ 8886 h 10010"/>
                <a:gd name="connsiteX26" fmla="*/ 931 w 10000"/>
                <a:gd name="connsiteY26" fmla="*/ 8975 h 10010"/>
                <a:gd name="connsiteX27" fmla="*/ 1125 w 10000"/>
                <a:gd name="connsiteY27" fmla="*/ 9040 h 10010"/>
                <a:gd name="connsiteX28" fmla="*/ 1249 w 10000"/>
                <a:gd name="connsiteY28" fmla="*/ 9122 h 10010"/>
                <a:gd name="connsiteX29" fmla="*/ 1233 w 10000"/>
                <a:gd name="connsiteY29" fmla="*/ 9181 h 10010"/>
                <a:gd name="connsiteX30" fmla="*/ 1110 w 10000"/>
                <a:gd name="connsiteY30" fmla="*/ 9203 h 10010"/>
                <a:gd name="connsiteX31" fmla="*/ 976 w 10000"/>
                <a:gd name="connsiteY31" fmla="*/ 9189 h 10010"/>
                <a:gd name="connsiteX32" fmla="*/ 935 w 10000"/>
                <a:gd name="connsiteY32" fmla="*/ 9214 h 10010"/>
                <a:gd name="connsiteX33" fmla="*/ 1037 w 10000"/>
                <a:gd name="connsiteY33" fmla="*/ 9342 h 10010"/>
                <a:gd name="connsiteX34" fmla="*/ 894 w 10000"/>
                <a:gd name="connsiteY34" fmla="*/ 9332 h 10010"/>
                <a:gd name="connsiteX35" fmla="*/ 773 w 10000"/>
                <a:gd name="connsiteY35" fmla="*/ 9301 h 10010"/>
                <a:gd name="connsiteX36" fmla="*/ 750 w 10000"/>
                <a:gd name="connsiteY36" fmla="*/ 9348 h 10010"/>
                <a:gd name="connsiteX37" fmla="*/ 1155 w 10000"/>
                <a:gd name="connsiteY37" fmla="*/ 9786 h 10010"/>
                <a:gd name="connsiteX38" fmla="*/ 1091 w 10000"/>
                <a:gd name="connsiteY38" fmla="*/ 9827 h 10010"/>
                <a:gd name="connsiteX39" fmla="*/ 1045 w 10000"/>
                <a:gd name="connsiteY39" fmla="*/ 9912 h 10010"/>
                <a:gd name="connsiteX40" fmla="*/ 987 w 10000"/>
                <a:gd name="connsiteY40" fmla="*/ 9918 h 10010"/>
                <a:gd name="connsiteX41" fmla="*/ 951 w 10000"/>
                <a:gd name="connsiteY41" fmla="*/ 9955 h 10010"/>
                <a:gd name="connsiteX42" fmla="*/ 1195 w 10000"/>
                <a:gd name="connsiteY42" fmla="*/ 9959 h 10010"/>
                <a:gd name="connsiteX43" fmla="*/ 1410 w 10000"/>
                <a:gd name="connsiteY43" fmla="*/ 9996 h 10010"/>
                <a:gd name="connsiteX44" fmla="*/ 1769 w 10000"/>
                <a:gd name="connsiteY44" fmla="*/ 9957 h 10010"/>
                <a:gd name="connsiteX45" fmla="*/ 2091 w 10000"/>
                <a:gd name="connsiteY45" fmla="*/ 9963 h 10010"/>
                <a:gd name="connsiteX46" fmla="*/ 2280 w 10000"/>
                <a:gd name="connsiteY46" fmla="*/ 10010 h 10010"/>
                <a:gd name="connsiteX47" fmla="*/ 2385 w 10000"/>
                <a:gd name="connsiteY47" fmla="*/ 9979 h 10010"/>
                <a:gd name="connsiteX48" fmla="*/ 2485 w 10000"/>
                <a:gd name="connsiteY48" fmla="*/ 9878 h 10010"/>
                <a:gd name="connsiteX49" fmla="*/ 2459 w 10000"/>
                <a:gd name="connsiteY49" fmla="*/ 9713 h 10010"/>
                <a:gd name="connsiteX50" fmla="*/ 2704 w 10000"/>
                <a:gd name="connsiteY50" fmla="*/ 9527 h 10010"/>
                <a:gd name="connsiteX51" fmla="*/ 2883 w 10000"/>
                <a:gd name="connsiteY51" fmla="*/ 9556 h 10010"/>
                <a:gd name="connsiteX52" fmla="*/ 2987 w 10000"/>
                <a:gd name="connsiteY52" fmla="*/ 9482 h 10010"/>
                <a:gd name="connsiteX53" fmla="*/ 3186 w 10000"/>
                <a:gd name="connsiteY53" fmla="*/ 9440 h 10010"/>
                <a:gd name="connsiteX54" fmla="*/ 3457 w 10000"/>
                <a:gd name="connsiteY54" fmla="*/ 9450 h 10010"/>
                <a:gd name="connsiteX55" fmla="*/ 3620 w 10000"/>
                <a:gd name="connsiteY55" fmla="*/ 9480 h 10010"/>
                <a:gd name="connsiteX56" fmla="*/ 3837 w 10000"/>
                <a:gd name="connsiteY56" fmla="*/ 9466 h 10010"/>
                <a:gd name="connsiteX57" fmla="*/ 4056 w 10000"/>
                <a:gd name="connsiteY57" fmla="*/ 9499 h 10010"/>
                <a:gd name="connsiteX58" fmla="*/ 4275 w 10000"/>
                <a:gd name="connsiteY58" fmla="*/ 9503 h 10010"/>
                <a:gd name="connsiteX59" fmla="*/ 4765 w 10000"/>
                <a:gd name="connsiteY59" fmla="*/ 9071 h 10010"/>
                <a:gd name="connsiteX60" fmla="*/ 4889 w 10000"/>
                <a:gd name="connsiteY60" fmla="*/ 8721 h 10010"/>
                <a:gd name="connsiteX61" fmla="*/ 5088 w 10000"/>
                <a:gd name="connsiteY61" fmla="*/ 8564 h 10010"/>
                <a:gd name="connsiteX62" fmla="*/ 5088 w 10000"/>
                <a:gd name="connsiteY62" fmla="*/ 8482 h 10010"/>
                <a:gd name="connsiteX63" fmla="*/ 5016 w 10000"/>
                <a:gd name="connsiteY63" fmla="*/ 8435 h 10010"/>
                <a:gd name="connsiteX64" fmla="*/ 5133 w 10000"/>
                <a:gd name="connsiteY64" fmla="*/ 8362 h 10010"/>
                <a:gd name="connsiteX65" fmla="*/ 5112 w 10000"/>
                <a:gd name="connsiteY65" fmla="*/ 8299 h 10010"/>
                <a:gd name="connsiteX66" fmla="*/ 5032 w 10000"/>
                <a:gd name="connsiteY66" fmla="*/ 8246 h 10010"/>
                <a:gd name="connsiteX67" fmla="*/ 5016 w 10000"/>
                <a:gd name="connsiteY67" fmla="*/ 8209 h 10010"/>
                <a:gd name="connsiteX68" fmla="*/ 5036 w 10000"/>
                <a:gd name="connsiteY68" fmla="*/ 8179 h 10010"/>
                <a:gd name="connsiteX69" fmla="*/ 5144 w 10000"/>
                <a:gd name="connsiteY69" fmla="*/ 8203 h 10010"/>
                <a:gd name="connsiteX70" fmla="*/ 5230 w 10000"/>
                <a:gd name="connsiteY70" fmla="*/ 8201 h 10010"/>
                <a:gd name="connsiteX71" fmla="*/ 5184 w 10000"/>
                <a:gd name="connsiteY71" fmla="*/ 8150 h 10010"/>
                <a:gd name="connsiteX72" fmla="*/ 5198 w 10000"/>
                <a:gd name="connsiteY72" fmla="*/ 8122 h 10010"/>
                <a:gd name="connsiteX73" fmla="*/ 5262 w 10000"/>
                <a:gd name="connsiteY73" fmla="*/ 8079 h 10010"/>
                <a:gd name="connsiteX74" fmla="*/ 5250 w 10000"/>
                <a:gd name="connsiteY74" fmla="*/ 8044 h 10010"/>
                <a:gd name="connsiteX75" fmla="*/ 5309 w 10000"/>
                <a:gd name="connsiteY75" fmla="*/ 7926 h 10010"/>
                <a:gd name="connsiteX76" fmla="*/ 5293 w 10000"/>
                <a:gd name="connsiteY76" fmla="*/ 7891 h 10010"/>
                <a:gd name="connsiteX77" fmla="*/ 4996 w 10000"/>
                <a:gd name="connsiteY77" fmla="*/ 7802 h 10010"/>
                <a:gd name="connsiteX78" fmla="*/ 5036 w 10000"/>
                <a:gd name="connsiteY78" fmla="*/ 7798 h 10010"/>
                <a:gd name="connsiteX79" fmla="*/ 5194 w 10000"/>
                <a:gd name="connsiteY79" fmla="*/ 7822 h 10010"/>
                <a:gd name="connsiteX80" fmla="*/ 5365 w 10000"/>
                <a:gd name="connsiteY80" fmla="*/ 7814 h 10010"/>
                <a:gd name="connsiteX81" fmla="*/ 5415 w 10000"/>
                <a:gd name="connsiteY81" fmla="*/ 7781 h 10010"/>
                <a:gd name="connsiteX82" fmla="*/ 5250 w 10000"/>
                <a:gd name="connsiteY82" fmla="*/ 7720 h 10010"/>
                <a:gd name="connsiteX83" fmla="*/ 4761 w 10000"/>
                <a:gd name="connsiteY83" fmla="*/ 7680 h 10010"/>
                <a:gd name="connsiteX84" fmla="*/ 4794 w 10000"/>
                <a:gd name="connsiteY84" fmla="*/ 7661 h 10010"/>
                <a:gd name="connsiteX85" fmla="*/ 5194 w 10000"/>
                <a:gd name="connsiteY85" fmla="*/ 7649 h 10010"/>
                <a:gd name="connsiteX86" fmla="*/ 5415 w 10000"/>
                <a:gd name="connsiteY86" fmla="*/ 7686 h 10010"/>
                <a:gd name="connsiteX87" fmla="*/ 5542 w 10000"/>
                <a:gd name="connsiteY87" fmla="*/ 7661 h 10010"/>
                <a:gd name="connsiteX88" fmla="*/ 5589 w 10000"/>
                <a:gd name="connsiteY88" fmla="*/ 7598 h 10010"/>
                <a:gd name="connsiteX89" fmla="*/ 5819 w 10000"/>
                <a:gd name="connsiteY89" fmla="*/ 7598 h 10010"/>
                <a:gd name="connsiteX90" fmla="*/ 6131 w 10000"/>
                <a:gd name="connsiteY90" fmla="*/ 7472 h 10010"/>
                <a:gd name="connsiteX91" fmla="*/ 6142 w 10000"/>
                <a:gd name="connsiteY91" fmla="*/ 7388 h 10010"/>
                <a:gd name="connsiteX92" fmla="*/ 6274 w 10000"/>
                <a:gd name="connsiteY92" fmla="*/ 7407 h 10010"/>
                <a:gd name="connsiteX93" fmla="*/ 6268 w 10000"/>
                <a:gd name="connsiteY93" fmla="*/ 7492 h 10010"/>
                <a:gd name="connsiteX94" fmla="*/ 6478 w 10000"/>
                <a:gd name="connsiteY94" fmla="*/ 7486 h 10010"/>
                <a:gd name="connsiteX95" fmla="*/ 6616 w 10000"/>
                <a:gd name="connsiteY95" fmla="*/ 7398 h 10010"/>
                <a:gd name="connsiteX96" fmla="*/ 6872 w 10000"/>
                <a:gd name="connsiteY96" fmla="*/ 7319 h 10010"/>
                <a:gd name="connsiteX97" fmla="*/ 6832 w 10000"/>
                <a:gd name="connsiteY97" fmla="*/ 7229 h 10010"/>
                <a:gd name="connsiteX98" fmla="*/ 6908 w 10000"/>
                <a:gd name="connsiteY98" fmla="*/ 7264 h 10010"/>
                <a:gd name="connsiteX99" fmla="*/ 7025 w 10000"/>
                <a:gd name="connsiteY99" fmla="*/ 7264 h 10010"/>
                <a:gd name="connsiteX100" fmla="*/ 7025 w 10000"/>
                <a:gd name="connsiteY100" fmla="*/ 7223 h 10010"/>
                <a:gd name="connsiteX101" fmla="*/ 7134 w 10000"/>
                <a:gd name="connsiteY101" fmla="*/ 7191 h 10010"/>
                <a:gd name="connsiteX102" fmla="*/ 7119 w 10000"/>
                <a:gd name="connsiteY102" fmla="*/ 7158 h 10010"/>
                <a:gd name="connsiteX103" fmla="*/ 6198 w 10000"/>
                <a:gd name="connsiteY103" fmla="*/ 7225 h 10010"/>
                <a:gd name="connsiteX104" fmla="*/ 5983 w 10000"/>
                <a:gd name="connsiteY104" fmla="*/ 7205 h 10010"/>
                <a:gd name="connsiteX105" fmla="*/ 5895 w 10000"/>
                <a:gd name="connsiteY105" fmla="*/ 7229 h 10010"/>
                <a:gd name="connsiteX106" fmla="*/ 5866 w 10000"/>
                <a:gd name="connsiteY106" fmla="*/ 7183 h 10010"/>
                <a:gd name="connsiteX107" fmla="*/ 5764 w 10000"/>
                <a:gd name="connsiteY107" fmla="*/ 7142 h 10010"/>
                <a:gd name="connsiteX108" fmla="*/ 5354 w 10000"/>
                <a:gd name="connsiteY108" fmla="*/ 7062 h 10010"/>
                <a:gd name="connsiteX109" fmla="*/ 5112 w 10000"/>
                <a:gd name="connsiteY109" fmla="*/ 7075 h 10010"/>
                <a:gd name="connsiteX110" fmla="*/ 5016 w 10000"/>
                <a:gd name="connsiteY110" fmla="*/ 7052 h 10010"/>
                <a:gd name="connsiteX111" fmla="*/ 5118 w 10000"/>
                <a:gd name="connsiteY111" fmla="*/ 7032 h 10010"/>
                <a:gd name="connsiteX112" fmla="*/ 5194 w 10000"/>
                <a:gd name="connsiteY112" fmla="*/ 6989 h 10010"/>
                <a:gd name="connsiteX113" fmla="*/ 5309 w 10000"/>
                <a:gd name="connsiteY113" fmla="*/ 7003 h 10010"/>
                <a:gd name="connsiteX114" fmla="*/ 5445 w 10000"/>
                <a:gd name="connsiteY114" fmla="*/ 6991 h 10010"/>
                <a:gd name="connsiteX115" fmla="*/ 5650 w 10000"/>
                <a:gd name="connsiteY115" fmla="*/ 7005 h 10010"/>
                <a:gd name="connsiteX116" fmla="*/ 5675 w 10000"/>
                <a:gd name="connsiteY116" fmla="*/ 6999 h 10010"/>
                <a:gd name="connsiteX117" fmla="*/ 5834 w 10000"/>
                <a:gd name="connsiteY117" fmla="*/ 7066 h 10010"/>
                <a:gd name="connsiteX118" fmla="*/ 5951 w 10000"/>
                <a:gd name="connsiteY118" fmla="*/ 7042 h 10010"/>
                <a:gd name="connsiteX119" fmla="*/ 5961 w 10000"/>
                <a:gd name="connsiteY119" fmla="*/ 7020 h 10010"/>
                <a:gd name="connsiteX120" fmla="*/ 6069 w 10000"/>
                <a:gd name="connsiteY120" fmla="*/ 7058 h 10010"/>
                <a:gd name="connsiteX121" fmla="*/ 6212 w 10000"/>
                <a:gd name="connsiteY121" fmla="*/ 7079 h 10010"/>
                <a:gd name="connsiteX122" fmla="*/ 6268 w 10000"/>
                <a:gd name="connsiteY122" fmla="*/ 7040 h 10010"/>
                <a:gd name="connsiteX123" fmla="*/ 6314 w 10000"/>
                <a:gd name="connsiteY123" fmla="*/ 7062 h 10010"/>
                <a:gd name="connsiteX124" fmla="*/ 6381 w 10000"/>
                <a:gd name="connsiteY124" fmla="*/ 7136 h 10010"/>
                <a:gd name="connsiteX125" fmla="*/ 6519 w 10000"/>
                <a:gd name="connsiteY125" fmla="*/ 7154 h 10010"/>
                <a:gd name="connsiteX126" fmla="*/ 7082 w 10000"/>
                <a:gd name="connsiteY126" fmla="*/ 7044 h 10010"/>
                <a:gd name="connsiteX127" fmla="*/ 7359 w 10000"/>
                <a:gd name="connsiteY127" fmla="*/ 6889 h 10010"/>
                <a:gd name="connsiteX128" fmla="*/ 7423 w 10000"/>
                <a:gd name="connsiteY128" fmla="*/ 6775 h 10010"/>
                <a:gd name="connsiteX129" fmla="*/ 7323 w 10000"/>
                <a:gd name="connsiteY129" fmla="*/ 6673 h 10010"/>
                <a:gd name="connsiteX130" fmla="*/ 7113 w 10000"/>
                <a:gd name="connsiteY130" fmla="*/ 6612 h 10010"/>
                <a:gd name="connsiteX131" fmla="*/ 6963 w 10000"/>
                <a:gd name="connsiteY131" fmla="*/ 6512 h 10010"/>
                <a:gd name="connsiteX132" fmla="*/ 7102 w 10000"/>
                <a:gd name="connsiteY132" fmla="*/ 6508 h 10010"/>
                <a:gd name="connsiteX133" fmla="*/ 7093 w 10000"/>
                <a:gd name="connsiteY133" fmla="*/ 6484 h 10010"/>
                <a:gd name="connsiteX134" fmla="*/ 6731 w 10000"/>
                <a:gd name="connsiteY134" fmla="*/ 6413 h 10010"/>
                <a:gd name="connsiteX135" fmla="*/ 6716 w 10000"/>
                <a:gd name="connsiteY135" fmla="*/ 6349 h 10010"/>
                <a:gd name="connsiteX136" fmla="*/ 6646 w 10000"/>
                <a:gd name="connsiteY136" fmla="*/ 6282 h 10010"/>
                <a:gd name="connsiteX137" fmla="*/ 6360 w 10000"/>
                <a:gd name="connsiteY137" fmla="*/ 6294 h 10010"/>
                <a:gd name="connsiteX138" fmla="*/ 6258 w 10000"/>
                <a:gd name="connsiteY138" fmla="*/ 6223 h 10010"/>
                <a:gd name="connsiteX139" fmla="*/ 6198 w 10000"/>
                <a:gd name="connsiteY139" fmla="*/ 6219 h 10010"/>
                <a:gd name="connsiteX140" fmla="*/ 6198 w 10000"/>
                <a:gd name="connsiteY140" fmla="*/ 6248 h 10010"/>
                <a:gd name="connsiteX141" fmla="*/ 6069 w 10000"/>
                <a:gd name="connsiteY141" fmla="*/ 6368 h 10010"/>
                <a:gd name="connsiteX142" fmla="*/ 5930 w 10000"/>
                <a:gd name="connsiteY142" fmla="*/ 6439 h 10010"/>
                <a:gd name="connsiteX143" fmla="*/ 5495 w 10000"/>
                <a:gd name="connsiteY143" fmla="*/ 6561 h 10010"/>
                <a:gd name="connsiteX144" fmla="*/ 5342 w 10000"/>
                <a:gd name="connsiteY144" fmla="*/ 6557 h 10010"/>
                <a:gd name="connsiteX145" fmla="*/ 5133 w 10000"/>
                <a:gd name="connsiteY145" fmla="*/ 6575 h 10010"/>
                <a:gd name="connsiteX146" fmla="*/ 5016 w 10000"/>
                <a:gd name="connsiteY146" fmla="*/ 6557 h 10010"/>
                <a:gd name="connsiteX147" fmla="*/ 5169 w 10000"/>
                <a:gd name="connsiteY147" fmla="*/ 6523 h 10010"/>
                <a:gd name="connsiteX148" fmla="*/ 5369 w 10000"/>
                <a:gd name="connsiteY148" fmla="*/ 6508 h 10010"/>
                <a:gd name="connsiteX149" fmla="*/ 5534 w 10000"/>
                <a:gd name="connsiteY149" fmla="*/ 6451 h 10010"/>
                <a:gd name="connsiteX150" fmla="*/ 5695 w 10000"/>
                <a:gd name="connsiteY150" fmla="*/ 6425 h 10010"/>
                <a:gd name="connsiteX151" fmla="*/ 5998 w 10000"/>
                <a:gd name="connsiteY151" fmla="*/ 6327 h 10010"/>
                <a:gd name="connsiteX152" fmla="*/ 6056 w 10000"/>
                <a:gd name="connsiteY152" fmla="*/ 6262 h 10010"/>
                <a:gd name="connsiteX153" fmla="*/ 6060 w 10000"/>
                <a:gd name="connsiteY153" fmla="*/ 6178 h 10010"/>
                <a:gd name="connsiteX154" fmla="*/ 5921 w 10000"/>
                <a:gd name="connsiteY154" fmla="*/ 6164 h 10010"/>
                <a:gd name="connsiteX155" fmla="*/ 5983 w 10000"/>
                <a:gd name="connsiteY155" fmla="*/ 6113 h 10010"/>
                <a:gd name="connsiteX156" fmla="*/ 6002 w 10000"/>
                <a:gd name="connsiteY156" fmla="*/ 6048 h 10010"/>
                <a:gd name="connsiteX157" fmla="*/ 5944 w 10000"/>
                <a:gd name="connsiteY157" fmla="*/ 5987 h 10010"/>
                <a:gd name="connsiteX158" fmla="*/ 5911 w 10000"/>
                <a:gd name="connsiteY158" fmla="*/ 5543 h 10010"/>
                <a:gd name="connsiteX159" fmla="*/ 5993 w 10000"/>
                <a:gd name="connsiteY159" fmla="*/ 5447 h 10010"/>
                <a:gd name="connsiteX160" fmla="*/ 5972 w 10000"/>
                <a:gd name="connsiteY160" fmla="*/ 5408 h 10010"/>
                <a:gd name="connsiteX161" fmla="*/ 6212 w 10000"/>
                <a:gd name="connsiteY161" fmla="*/ 5465 h 10010"/>
                <a:gd name="connsiteX162" fmla="*/ 6229 w 10000"/>
                <a:gd name="connsiteY162" fmla="*/ 5412 h 10010"/>
                <a:gd name="connsiteX163" fmla="*/ 6176 w 10000"/>
                <a:gd name="connsiteY163" fmla="*/ 5274 h 10010"/>
                <a:gd name="connsiteX164" fmla="*/ 6349 w 10000"/>
                <a:gd name="connsiteY164" fmla="*/ 5029 h 10010"/>
                <a:gd name="connsiteX165" fmla="*/ 6243 w 10000"/>
                <a:gd name="connsiteY165" fmla="*/ 4970 h 10010"/>
                <a:gd name="connsiteX166" fmla="*/ 6202 w 10000"/>
                <a:gd name="connsiteY166" fmla="*/ 4915 h 10010"/>
                <a:gd name="connsiteX167" fmla="*/ 6216 w 10000"/>
                <a:gd name="connsiteY167" fmla="*/ 4826 h 10010"/>
                <a:gd name="connsiteX168" fmla="*/ 6470 w 10000"/>
                <a:gd name="connsiteY168" fmla="*/ 4885 h 10010"/>
                <a:gd name="connsiteX169" fmla="*/ 6478 w 10000"/>
                <a:gd name="connsiteY169" fmla="*/ 4868 h 10010"/>
                <a:gd name="connsiteX170" fmla="*/ 6548 w 10000"/>
                <a:gd name="connsiteY170" fmla="*/ 4852 h 10010"/>
                <a:gd name="connsiteX171" fmla="*/ 6646 w 10000"/>
                <a:gd name="connsiteY171" fmla="*/ 4795 h 10010"/>
                <a:gd name="connsiteX172" fmla="*/ 6662 w 10000"/>
                <a:gd name="connsiteY172" fmla="*/ 4779 h 10010"/>
                <a:gd name="connsiteX173" fmla="*/ 6641 w 10000"/>
                <a:gd name="connsiteY173" fmla="*/ 4758 h 10010"/>
                <a:gd name="connsiteX174" fmla="*/ 6693 w 10000"/>
                <a:gd name="connsiteY174" fmla="*/ 4657 h 10010"/>
                <a:gd name="connsiteX175" fmla="*/ 6631 w 10000"/>
                <a:gd name="connsiteY175" fmla="*/ 4591 h 10010"/>
                <a:gd name="connsiteX176" fmla="*/ 6641 w 10000"/>
                <a:gd name="connsiteY176" fmla="*/ 4538 h 10010"/>
                <a:gd name="connsiteX177" fmla="*/ 6676 w 10000"/>
                <a:gd name="connsiteY177" fmla="*/ 4600 h 10010"/>
                <a:gd name="connsiteX178" fmla="*/ 6815 w 10000"/>
                <a:gd name="connsiteY178" fmla="*/ 4646 h 10010"/>
                <a:gd name="connsiteX179" fmla="*/ 6872 w 10000"/>
                <a:gd name="connsiteY179" fmla="*/ 4640 h 10010"/>
                <a:gd name="connsiteX180" fmla="*/ 6963 w 10000"/>
                <a:gd name="connsiteY180" fmla="*/ 4579 h 10010"/>
                <a:gd name="connsiteX181" fmla="*/ 7062 w 10000"/>
                <a:gd name="connsiteY181" fmla="*/ 4604 h 10010"/>
                <a:gd name="connsiteX182" fmla="*/ 7088 w 10000"/>
                <a:gd name="connsiteY182" fmla="*/ 4555 h 10010"/>
                <a:gd name="connsiteX183" fmla="*/ 7154 w 10000"/>
                <a:gd name="connsiteY183" fmla="*/ 4522 h 10010"/>
                <a:gd name="connsiteX184" fmla="*/ 6974 w 10000"/>
                <a:gd name="connsiteY184" fmla="*/ 4487 h 10010"/>
                <a:gd name="connsiteX185" fmla="*/ 7102 w 10000"/>
                <a:gd name="connsiteY185" fmla="*/ 4494 h 10010"/>
                <a:gd name="connsiteX186" fmla="*/ 7234 w 10000"/>
                <a:gd name="connsiteY186" fmla="*/ 4457 h 10010"/>
                <a:gd name="connsiteX187" fmla="*/ 7229 w 10000"/>
                <a:gd name="connsiteY187" fmla="*/ 4432 h 10010"/>
                <a:gd name="connsiteX188" fmla="*/ 7353 w 10000"/>
                <a:gd name="connsiteY188" fmla="*/ 4408 h 10010"/>
                <a:gd name="connsiteX189" fmla="*/ 7364 w 10000"/>
                <a:gd name="connsiteY189" fmla="*/ 4347 h 10010"/>
                <a:gd name="connsiteX190" fmla="*/ 7461 w 10000"/>
                <a:gd name="connsiteY190" fmla="*/ 4335 h 10010"/>
                <a:gd name="connsiteX191" fmla="*/ 7469 w 10000"/>
                <a:gd name="connsiteY191" fmla="*/ 4263 h 10010"/>
                <a:gd name="connsiteX192" fmla="*/ 7572 w 10000"/>
                <a:gd name="connsiteY192" fmla="*/ 4255 h 10010"/>
                <a:gd name="connsiteX193" fmla="*/ 7730 w 10000"/>
                <a:gd name="connsiteY193" fmla="*/ 4270 h 10010"/>
                <a:gd name="connsiteX194" fmla="*/ 7904 w 10000"/>
                <a:gd name="connsiteY194" fmla="*/ 4212 h 10010"/>
                <a:gd name="connsiteX195" fmla="*/ 7966 w 10000"/>
                <a:gd name="connsiteY195" fmla="*/ 4147 h 10010"/>
                <a:gd name="connsiteX196" fmla="*/ 8181 w 10000"/>
                <a:gd name="connsiteY196" fmla="*/ 4080 h 10010"/>
                <a:gd name="connsiteX197" fmla="*/ 8288 w 10000"/>
                <a:gd name="connsiteY197" fmla="*/ 4121 h 10010"/>
                <a:gd name="connsiteX198" fmla="*/ 8452 w 10000"/>
                <a:gd name="connsiteY198" fmla="*/ 4076 h 10010"/>
                <a:gd name="connsiteX199" fmla="*/ 8491 w 10000"/>
                <a:gd name="connsiteY199" fmla="*/ 4019 h 10010"/>
                <a:gd name="connsiteX200" fmla="*/ 8616 w 10000"/>
                <a:gd name="connsiteY200" fmla="*/ 3980 h 10010"/>
                <a:gd name="connsiteX201" fmla="*/ 8722 w 10000"/>
                <a:gd name="connsiteY201" fmla="*/ 3997 h 10010"/>
                <a:gd name="connsiteX202" fmla="*/ 8789 w 10000"/>
                <a:gd name="connsiteY202" fmla="*/ 3968 h 10010"/>
                <a:gd name="connsiteX203" fmla="*/ 8973 w 10000"/>
                <a:gd name="connsiteY203" fmla="*/ 3927 h 10010"/>
                <a:gd name="connsiteX204" fmla="*/ 9049 w 10000"/>
                <a:gd name="connsiteY204" fmla="*/ 3874 h 10010"/>
                <a:gd name="connsiteX205" fmla="*/ 9153 w 10000"/>
                <a:gd name="connsiteY205" fmla="*/ 3852 h 10010"/>
                <a:gd name="connsiteX206" fmla="*/ 9720 w 10000"/>
                <a:gd name="connsiteY206" fmla="*/ 3532 h 10010"/>
                <a:gd name="connsiteX207" fmla="*/ 9971 w 10000"/>
                <a:gd name="connsiteY207" fmla="*/ 399 h 10010"/>
                <a:gd name="connsiteX208" fmla="*/ 9049 w 10000"/>
                <a:gd name="connsiteY208" fmla="*/ 36 h 10010"/>
                <a:gd name="connsiteX209" fmla="*/ 8706 w 10000"/>
                <a:gd name="connsiteY209" fmla="*/ 10 h 10010"/>
                <a:gd name="connsiteX210" fmla="*/ 7537 w 10000"/>
                <a:gd name="connsiteY210" fmla="*/ 397 h 10010"/>
                <a:gd name="connsiteX211" fmla="*/ 7423 w 10000"/>
                <a:gd name="connsiteY211" fmla="*/ 405 h 10010"/>
                <a:gd name="connsiteX212" fmla="*/ 7359 w 10000"/>
                <a:gd name="connsiteY212" fmla="*/ 424 h 10010"/>
                <a:gd name="connsiteX213" fmla="*/ 7290 w 10000"/>
                <a:gd name="connsiteY213" fmla="*/ 472 h 10010"/>
                <a:gd name="connsiteX214" fmla="*/ 7302 w 10000"/>
                <a:gd name="connsiteY214" fmla="*/ 591 h 10010"/>
                <a:gd name="connsiteX215" fmla="*/ 7199 w 10000"/>
                <a:gd name="connsiteY215" fmla="*/ 745 h 10010"/>
                <a:gd name="connsiteX216" fmla="*/ 7072 w 10000"/>
                <a:gd name="connsiteY216" fmla="*/ 825 h 10010"/>
                <a:gd name="connsiteX217" fmla="*/ 7021 w 10000"/>
                <a:gd name="connsiteY217" fmla="*/ 815 h 10010"/>
                <a:gd name="connsiteX218" fmla="*/ 6903 w 10000"/>
                <a:gd name="connsiteY218" fmla="*/ 749 h 10010"/>
                <a:gd name="connsiteX219" fmla="*/ 6756 w 10000"/>
                <a:gd name="connsiteY219" fmla="*/ 715 h 10010"/>
                <a:gd name="connsiteX220" fmla="*/ 6594 w 10000"/>
                <a:gd name="connsiteY220" fmla="*/ 725 h 10010"/>
                <a:gd name="connsiteX221" fmla="*/ 6223 w 10000"/>
                <a:gd name="connsiteY221" fmla="*/ 876 h 10010"/>
                <a:gd name="connsiteX222" fmla="*/ 6125 w 10000"/>
                <a:gd name="connsiteY222" fmla="*/ 1027 h 10010"/>
                <a:gd name="connsiteX223" fmla="*/ 5845 w 10000"/>
                <a:gd name="connsiteY223" fmla="*/ 1163 h 10010"/>
                <a:gd name="connsiteX224" fmla="*/ 5794 w 10000"/>
                <a:gd name="connsiteY224" fmla="*/ 1232 h 10010"/>
                <a:gd name="connsiteX225" fmla="*/ 5940 w 10000"/>
                <a:gd name="connsiteY225" fmla="*/ 1354 h 10010"/>
                <a:gd name="connsiteX226" fmla="*/ 5956 w 10000"/>
                <a:gd name="connsiteY226" fmla="*/ 1422 h 10010"/>
                <a:gd name="connsiteX227" fmla="*/ 5190 w 10000"/>
                <a:gd name="connsiteY227" fmla="*/ 1823 h 10010"/>
                <a:gd name="connsiteX228" fmla="*/ 4955 w 10000"/>
                <a:gd name="connsiteY228" fmla="*/ 2080 h 10010"/>
                <a:gd name="connsiteX229" fmla="*/ 4702 w 10000"/>
                <a:gd name="connsiteY229" fmla="*/ 2145 h 10010"/>
                <a:gd name="connsiteX230" fmla="*/ 4540 w 10000"/>
                <a:gd name="connsiteY230" fmla="*/ 2141 h 10010"/>
                <a:gd name="connsiteX231" fmla="*/ 4443 w 10000"/>
                <a:gd name="connsiteY231" fmla="*/ 2163 h 10010"/>
                <a:gd name="connsiteX232" fmla="*/ 4178 w 10000"/>
                <a:gd name="connsiteY232" fmla="*/ 2803 h 10010"/>
                <a:gd name="connsiteX233" fmla="*/ 3565 w 10000"/>
                <a:gd name="connsiteY233" fmla="*/ 3176 h 10010"/>
                <a:gd name="connsiteX234" fmla="*/ 3569 w 10000"/>
                <a:gd name="connsiteY234" fmla="*/ 3235 h 10010"/>
                <a:gd name="connsiteX235" fmla="*/ 3841 w 10000"/>
                <a:gd name="connsiteY235" fmla="*/ 3402 h 10010"/>
                <a:gd name="connsiteX236" fmla="*/ 3753 w 10000"/>
                <a:gd name="connsiteY236" fmla="*/ 3583 h 10010"/>
                <a:gd name="connsiteX237" fmla="*/ 3594 w 10000"/>
                <a:gd name="connsiteY237" fmla="*/ 3650 h 10010"/>
                <a:gd name="connsiteX238" fmla="*/ 3118 w 10000"/>
                <a:gd name="connsiteY238" fmla="*/ 3605 h 10010"/>
                <a:gd name="connsiteX239" fmla="*/ 2791 w 10000"/>
                <a:gd name="connsiteY239" fmla="*/ 3630 h 10010"/>
                <a:gd name="connsiteX240" fmla="*/ 2528 w 10000"/>
                <a:gd name="connsiteY240" fmla="*/ 3683 h 10010"/>
                <a:gd name="connsiteX241" fmla="*/ 2102 w 10000"/>
                <a:gd name="connsiteY241" fmla="*/ 3850 h 10010"/>
                <a:gd name="connsiteX242" fmla="*/ 1877 w 10000"/>
                <a:gd name="connsiteY242" fmla="*/ 4052 h 10010"/>
                <a:gd name="connsiteX243" fmla="*/ 1896 w 10000"/>
                <a:gd name="connsiteY243" fmla="*/ 4164 h 10010"/>
                <a:gd name="connsiteX244" fmla="*/ 1975 w 10000"/>
                <a:gd name="connsiteY244" fmla="*/ 4251 h 10010"/>
                <a:gd name="connsiteX245" fmla="*/ 2034 w 10000"/>
                <a:gd name="connsiteY245" fmla="*/ 4286 h 10010"/>
                <a:gd name="connsiteX246" fmla="*/ 1924 w 10000"/>
                <a:gd name="connsiteY246" fmla="*/ 4341 h 10010"/>
                <a:gd name="connsiteX247" fmla="*/ 1683 w 10000"/>
                <a:gd name="connsiteY247" fmla="*/ 4720 h 10010"/>
                <a:gd name="connsiteX248" fmla="*/ 1729 w 10000"/>
                <a:gd name="connsiteY248" fmla="*/ 4742 h 10010"/>
                <a:gd name="connsiteX249" fmla="*/ 1764 w 10000"/>
                <a:gd name="connsiteY249" fmla="*/ 4838 h 10010"/>
                <a:gd name="connsiteX250" fmla="*/ 1652 w 10000"/>
                <a:gd name="connsiteY250" fmla="*/ 5237 h 10010"/>
                <a:gd name="connsiteX251" fmla="*/ 1764 w 10000"/>
                <a:gd name="connsiteY251" fmla="*/ 5339 h 10010"/>
                <a:gd name="connsiteX252" fmla="*/ 2071 w 10000"/>
                <a:gd name="connsiteY252" fmla="*/ 5451 h 10010"/>
                <a:gd name="connsiteX253" fmla="*/ 2085 w 10000"/>
                <a:gd name="connsiteY253" fmla="*/ 5588 h 10010"/>
                <a:gd name="connsiteX254" fmla="*/ 1954 w 10000"/>
                <a:gd name="connsiteY254" fmla="*/ 5700 h 10010"/>
                <a:gd name="connsiteX255" fmla="*/ 1764 w 10000"/>
                <a:gd name="connsiteY255" fmla="*/ 5769 h 10010"/>
                <a:gd name="connsiteX256" fmla="*/ 1513 w 10000"/>
                <a:gd name="connsiteY256" fmla="*/ 5797 h 10010"/>
                <a:gd name="connsiteX257" fmla="*/ 1448 w 10000"/>
                <a:gd name="connsiteY257" fmla="*/ 5836 h 10010"/>
                <a:gd name="connsiteX258" fmla="*/ 1594 w 10000"/>
                <a:gd name="connsiteY258" fmla="*/ 5930 h 10010"/>
                <a:gd name="connsiteX259" fmla="*/ 1678 w 10000"/>
                <a:gd name="connsiteY259" fmla="*/ 6152 h 10010"/>
                <a:gd name="connsiteX260" fmla="*/ 1488 w 10000"/>
                <a:gd name="connsiteY260" fmla="*/ 6343 h 10010"/>
                <a:gd name="connsiteX261" fmla="*/ 1554 w 10000"/>
                <a:gd name="connsiteY261" fmla="*/ 6402 h 10010"/>
                <a:gd name="connsiteX262" fmla="*/ 1494 w 10000"/>
                <a:gd name="connsiteY262" fmla="*/ 6502 h 10010"/>
                <a:gd name="connsiteX263" fmla="*/ 1372 w 10000"/>
                <a:gd name="connsiteY263" fmla="*/ 6571 h 10010"/>
                <a:gd name="connsiteX264" fmla="*/ 889 w 10000"/>
                <a:gd name="connsiteY264" fmla="*/ 6624 h 10010"/>
                <a:gd name="connsiteX265" fmla="*/ 860 w 10000"/>
                <a:gd name="connsiteY265" fmla="*/ 6716 h 10010"/>
                <a:gd name="connsiteX266" fmla="*/ 600 w 10000"/>
                <a:gd name="connsiteY266" fmla="*/ 6853 h 10010"/>
                <a:gd name="connsiteX267" fmla="*/ 634 w 10000"/>
                <a:gd name="connsiteY267" fmla="*/ 7050 h 10010"/>
                <a:gd name="connsiteX268" fmla="*/ 415 w 10000"/>
                <a:gd name="connsiteY268" fmla="*/ 7303 h 10010"/>
                <a:gd name="connsiteX269" fmla="*/ 266 w 10000"/>
                <a:gd name="connsiteY269" fmla="*/ 7333 h 10010"/>
                <a:gd name="connsiteX270" fmla="*/ 204 w 10000"/>
                <a:gd name="connsiteY270" fmla="*/ 7272 h 10010"/>
                <a:gd name="connsiteX271" fmla="*/ 128 w 10000"/>
                <a:gd name="connsiteY271" fmla="*/ 7364 h 10010"/>
                <a:gd name="connsiteX272" fmla="*/ 178 w 10000"/>
                <a:gd name="connsiteY272" fmla="*/ 7207 h 10010"/>
                <a:gd name="connsiteX273" fmla="*/ 147 w 10000"/>
                <a:gd name="connsiteY273" fmla="*/ 7176 h 10010"/>
                <a:gd name="connsiteX0" fmla="*/ 147 w 10000"/>
                <a:gd name="connsiteY0" fmla="*/ 7140 h 9974"/>
                <a:gd name="connsiteX1" fmla="*/ 0 w 10000"/>
                <a:gd name="connsiteY1" fmla="*/ 7222 h 9974"/>
                <a:gd name="connsiteX2" fmla="*/ 0 w 10000"/>
                <a:gd name="connsiteY2" fmla="*/ 7625 h 9974"/>
                <a:gd name="connsiteX3" fmla="*/ 81 w 10000"/>
                <a:gd name="connsiteY3" fmla="*/ 7637 h 9974"/>
                <a:gd name="connsiteX4" fmla="*/ 100 w 10000"/>
                <a:gd name="connsiteY4" fmla="*/ 7668 h 9974"/>
                <a:gd name="connsiteX5" fmla="*/ 96 w 10000"/>
                <a:gd name="connsiteY5" fmla="*/ 7723 h 9974"/>
                <a:gd name="connsiteX6" fmla="*/ 66 w 10000"/>
                <a:gd name="connsiteY6" fmla="*/ 7747 h 9974"/>
                <a:gd name="connsiteX7" fmla="*/ 190 w 10000"/>
                <a:gd name="connsiteY7" fmla="*/ 7701 h 9974"/>
                <a:gd name="connsiteX8" fmla="*/ 242 w 10000"/>
                <a:gd name="connsiteY8" fmla="*/ 7654 h 9974"/>
                <a:gd name="connsiteX9" fmla="*/ 306 w 10000"/>
                <a:gd name="connsiteY9" fmla="*/ 7686 h 9974"/>
                <a:gd name="connsiteX10" fmla="*/ 235 w 10000"/>
                <a:gd name="connsiteY10" fmla="*/ 7752 h 9974"/>
                <a:gd name="connsiteX11" fmla="*/ 311 w 10000"/>
                <a:gd name="connsiteY11" fmla="*/ 7754 h 9974"/>
                <a:gd name="connsiteX12" fmla="*/ 348 w 10000"/>
                <a:gd name="connsiteY12" fmla="*/ 7770 h 9974"/>
                <a:gd name="connsiteX13" fmla="*/ 250 w 10000"/>
                <a:gd name="connsiteY13" fmla="*/ 7792 h 9974"/>
                <a:gd name="connsiteX14" fmla="*/ 96 w 10000"/>
                <a:gd name="connsiteY14" fmla="*/ 7860 h 9974"/>
                <a:gd name="connsiteX15" fmla="*/ 370 w 10000"/>
                <a:gd name="connsiteY15" fmla="*/ 7912 h 9974"/>
                <a:gd name="connsiteX16" fmla="*/ 404 w 10000"/>
                <a:gd name="connsiteY16" fmla="*/ 7988 h 9974"/>
                <a:gd name="connsiteX17" fmla="*/ 311 w 10000"/>
                <a:gd name="connsiteY17" fmla="*/ 8100 h 9974"/>
                <a:gd name="connsiteX18" fmla="*/ 511 w 10000"/>
                <a:gd name="connsiteY18" fmla="*/ 8092 h 9974"/>
                <a:gd name="connsiteX19" fmla="*/ 526 w 10000"/>
                <a:gd name="connsiteY19" fmla="*/ 8177 h 9974"/>
                <a:gd name="connsiteX20" fmla="*/ 393 w 10000"/>
                <a:gd name="connsiteY20" fmla="*/ 8234 h 9974"/>
                <a:gd name="connsiteX21" fmla="*/ 415 w 10000"/>
                <a:gd name="connsiteY21" fmla="*/ 8344 h 9974"/>
                <a:gd name="connsiteX22" fmla="*/ 364 w 10000"/>
                <a:gd name="connsiteY22" fmla="*/ 8430 h 9974"/>
                <a:gd name="connsiteX23" fmla="*/ 521 w 10000"/>
                <a:gd name="connsiteY23" fmla="*/ 8438 h 9974"/>
                <a:gd name="connsiteX24" fmla="*/ 676 w 10000"/>
                <a:gd name="connsiteY24" fmla="*/ 8766 h 9974"/>
                <a:gd name="connsiteX25" fmla="*/ 853 w 10000"/>
                <a:gd name="connsiteY25" fmla="*/ 8850 h 9974"/>
                <a:gd name="connsiteX26" fmla="*/ 931 w 10000"/>
                <a:gd name="connsiteY26" fmla="*/ 8939 h 9974"/>
                <a:gd name="connsiteX27" fmla="*/ 1125 w 10000"/>
                <a:gd name="connsiteY27" fmla="*/ 9004 h 9974"/>
                <a:gd name="connsiteX28" fmla="*/ 1249 w 10000"/>
                <a:gd name="connsiteY28" fmla="*/ 9086 h 9974"/>
                <a:gd name="connsiteX29" fmla="*/ 1233 w 10000"/>
                <a:gd name="connsiteY29" fmla="*/ 9145 h 9974"/>
                <a:gd name="connsiteX30" fmla="*/ 1110 w 10000"/>
                <a:gd name="connsiteY30" fmla="*/ 9167 h 9974"/>
                <a:gd name="connsiteX31" fmla="*/ 976 w 10000"/>
                <a:gd name="connsiteY31" fmla="*/ 9153 h 9974"/>
                <a:gd name="connsiteX32" fmla="*/ 935 w 10000"/>
                <a:gd name="connsiteY32" fmla="*/ 9178 h 9974"/>
                <a:gd name="connsiteX33" fmla="*/ 1037 w 10000"/>
                <a:gd name="connsiteY33" fmla="*/ 9306 h 9974"/>
                <a:gd name="connsiteX34" fmla="*/ 894 w 10000"/>
                <a:gd name="connsiteY34" fmla="*/ 9296 h 9974"/>
                <a:gd name="connsiteX35" fmla="*/ 773 w 10000"/>
                <a:gd name="connsiteY35" fmla="*/ 9265 h 9974"/>
                <a:gd name="connsiteX36" fmla="*/ 750 w 10000"/>
                <a:gd name="connsiteY36" fmla="*/ 9312 h 9974"/>
                <a:gd name="connsiteX37" fmla="*/ 1155 w 10000"/>
                <a:gd name="connsiteY37" fmla="*/ 9750 h 9974"/>
                <a:gd name="connsiteX38" fmla="*/ 1091 w 10000"/>
                <a:gd name="connsiteY38" fmla="*/ 9791 h 9974"/>
                <a:gd name="connsiteX39" fmla="*/ 1045 w 10000"/>
                <a:gd name="connsiteY39" fmla="*/ 9876 h 9974"/>
                <a:gd name="connsiteX40" fmla="*/ 987 w 10000"/>
                <a:gd name="connsiteY40" fmla="*/ 9882 h 9974"/>
                <a:gd name="connsiteX41" fmla="*/ 951 w 10000"/>
                <a:gd name="connsiteY41" fmla="*/ 9919 h 9974"/>
                <a:gd name="connsiteX42" fmla="*/ 1195 w 10000"/>
                <a:gd name="connsiteY42" fmla="*/ 9923 h 9974"/>
                <a:gd name="connsiteX43" fmla="*/ 1410 w 10000"/>
                <a:gd name="connsiteY43" fmla="*/ 9960 h 9974"/>
                <a:gd name="connsiteX44" fmla="*/ 1769 w 10000"/>
                <a:gd name="connsiteY44" fmla="*/ 9921 h 9974"/>
                <a:gd name="connsiteX45" fmla="*/ 2091 w 10000"/>
                <a:gd name="connsiteY45" fmla="*/ 9927 h 9974"/>
                <a:gd name="connsiteX46" fmla="*/ 2280 w 10000"/>
                <a:gd name="connsiteY46" fmla="*/ 9974 h 9974"/>
                <a:gd name="connsiteX47" fmla="*/ 2385 w 10000"/>
                <a:gd name="connsiteY47" fmla="*/ 9943 h 9974"/>
                <a:gd name="connsiteX48" fmla="*/ 2485 w 10000"/>
                <a:gd name="connsiteY48" fmla="*/ 9842 h 9974"/>
                <a:gd name="connsiteX49" fmla="*/ 2459 w 10000"/>
                <a:gd name="connsiteY49" fmla="*/ 9677 h 9974"/>
                <a:gd name="connsiteX50" fmla="*/ 2704 w 10000"/>
                <a:gd name="connsiteY50" fmla="*/ 9491 h 9974"/>
                <a:gd name="connsiteX51" fmla="*/ 2883 w 10000"/>
                <a:gd name="connsiteY51" fmla="*/ 9520 h 9974"/>
                <a:gd name="connsiteX52" fmla="*/ 2987 w 10000"/>
                <a:gd name="connsiteY52" fmla="*/ 9446 h 9974"/>
                <a:gd name="connsiteX53" fmla="*/ 3186 w 10000"/>
                <a:gd name="connsiteY53" fmla="*/ 9404 h 9974"/>
                <a:gd name="connsiteX54" fmla="*/ 3457 w 10000"/>
                <a:gd name="connsiteY54" fmla="*/ 9414 h 9974"/>
                <a:gd name="connsiteX55" fmla="*/ 3620 w 10000"/>
                <a:gd name="connsiteY55" fmla="*/ 9444 h 9974"/>
                <a:gd name="connsiteX56" fmla="*/ 3837 w 10000"/>
                <a:gd name="connsiteY56" fmla="*/ 9430 h 9974"/>
                <a:gd name="connsiteX57" fmla="*/ 4056 w 10000"/>
                <a:gd name="connsiteY57" fmla="*/ 9463 h 9974"/>
                <a:gd name="connsiteX58" fmla="*/ 4275 w 10000"/>
                <a:gd name="connsiteY58" fmla="*/ 9467 h 9974"/>
                <a:gd name="connsiteX59" fmla="*/ 4765 w 10000"/>
                <a:gd name="connsiteY59" fmla="*/ 9035 h 9974"/>
                <a:gd name="connsiteX60" fmla="*/ 4889 w 10000"/>
                <a:gd name="connsiteY60" fmla="*/ 8685 h 9974"/>
                <a:gd name="connsiteX61" fmla="*/ 5088 w 10000"/>
                <a:gd name="connsiteY61" fmla="*/ 8528 h 9974"/>
                <a:gd name="connsiteX62" fmla="*/ 5088 w 10000"/>
                <a:gd name="connsiteY62" fmla="*/ 8446 h 9974"/>
                <a:gd name="connsiteX63" fmla="*/ 5016 w 10000"/>
                <a:gd name="connsiteY63" fmla="*/ 8399 h 9974"/>
                <a:gd name="connsiteX64" fmla="*/ 5133 w 10000"/>
                <a:gd name="connsiteY64" fmla="*/ 8326 h 9974"/>
                <a:gd name="connsiteX65" fmla="*/ 5112 w 10000"/>
                <a:gd name="connsiteY65" fmla="*/ 8263 h 9974"/>
                <a:gd name="connsiteX66" fmla="*/ 5032 w 10000"/>
                <a:gd name="connsiteY66" fmla="*/ 8210 h 9974"/>
                <a:gd name="connsiteX67" fmla="*/ 5016 w 10000"/>
                <a:gd name="connsiteY67" fmla="*/ 8173 h 9974"/>
                <a:gd name="connsiteX68" fmla="*/ 5036 w 10000"/>
                <a:gd name="connsiteY68" fmla="*/ 8143 h 9974"/>
                <a:gd name="connsiteX69" fmla="*/ 5144 w 10000"/>
                <a:gd name="connsiteY69" fmla="*/ 8167 h 9974"/>
                <a:gd name="connsiteX70" fmla="*/ 5230 w 10000"/>
                <a:gd name="connsiteY70" fmla="*/ 8165 h 9974"/>
                <a:gd name="connsiteX71" fmla="*/ 5184 w 10000"/>
                <a:gd name="connsiteY71" fmla="*/ 8114 h 9974"/>
                <a:gd name="connsiteX72" fmla="*/ 5198 w 10000"/>
                <a:gd name="connsiteY72" fmla="*/ 8086 h 9974"/>
                <a:gd name="connsiteX73" fmla="*/ 5262 w 10000"/>
                <a:gd name="connsiteY73" fmla="*/ 8043 h 9974"/>
                <a:gd name="connsiteX74" fmla="*/ 5250 w 10000"/>
                <a:gd name="connsiteY74" fmla="*/ 8008 h 9974"/>
                <a:gd name="connsiteX75" fmla="*/ 5309 w 10000"/>
                <a:gd name="connsiteY75" fmla="*/ 7890 h 9974"/>
                <a:gd name="connsiteX76" fmla="*/ 5293 w 10000"/>
                <a:gd name="connsiteY76" fmla="*/ 7855 h 9974"/>
                <a:gd name="connsiteX77" fmla="*/ 4996 w 10000"/>
                <a:gd name="connsiteY77" fmla="*/ 7766 h 9974"/>
                <a:gd name="connsiteX78" fmla="*/ 5036 w 10000"/>
                <a:gd name="connsiteY78" fmla="*/ 7762 h 9974"/>
                <a:gd name="connsiteX79" fmla="*/ 5194 w 10000"/>
                <a:gd name="connsiteY79" fmla="*/ 7786 h 9974"/>
                <a:gd name="connsiteX80" fmla="*/ 5365 w 10000"/>
                <a:gd name="connsiteY80" fmla="*/ 7778 h 9974"/>
                <a:gd name="connsiteX81" fmla="*/ 5415 w 10000"/>
                <a:gd name="connsiteY81" fmla="*/ 7745 h 9974"/>
                <a:gd name="connsiteX82" fmla="*/ 5250 w 10000"/>
                <a:gd name="connsiteY82" fmla="*/ 7684 h 9974"/>
                <a:gd name="connsiteX83" fmla="*/ 4761 w 10000"/>
                <a:gd name="connsiteY83" fmla="*/ 7644 h 9974"/>
                <a:gd name="connsiteX84" fmla="*/ 4794 w 10000"/>
                <a:gd name="connsiteY84" fmla="*/ 7625 h 9974"/>
                <a:gd name="connsiteX85" fmla="*/ 5194 w 10000"/>
                <a:gd name="connsiteY85" fmla="*/ 7613 h 9974"/>
                <a:gd name="connsiteX86" fmla="*/ 5415 w 10000"/>
                <a:gd name="connsiteY86" fmla="*/ 7650 h 9974"/>
                <a:gd name="connsiteX87" fmla="*/ 5542 w 10000"/>
                <a:gd name="connsiteY87" fmla="*/ 7625 h 9974"/>
                <a:gd name="connsiteX88" fmla="*/ 5589 w 10000"/>
                <a:gd name="connsiteY88" fmla="*/ 7562 h 9974"/>
                <a:gd name="connsiteX89" fmla="*/ 5819 w 10000"/>
                <a:gd name="connsiteY89" fmla="*/ 7562 h 9974"/>
                <a:gd name="connsiteX90" fmla="*/ 6131 w 10000"/>
                <a:gd name="connsiteY90" fmla="*/ 7436 h 9974"/>
                <a:gd name="connsiteX91" fmla="*/ 6142 w 10000"/>
                <a:gd name="connsiteY91" fmla="*/ 7352 h 9974"/>
                <a:gd name="connsiteX92" fmla="*/ 6274 w 10000"/>
                <a:gd name="connsiteY92" fmla="*/ 7371 h 9974"/>
                <a:gd name="connsiteX93" fmla="*/ 6268 w 10000"/>
                <a:gd name="connsiteY93" fmla="*/ 7456 h 9974"/>
                <a:gd name="connsiteX94" fmla="*/ 6478 w 10000"/>
                <a:gd name="connsiteY94" fmla="*/ 7450 h 9974"/>
                <a:gd name="connsiteX95" fmla="*/ 6616 w 10000"/>
                <a:gd name="connsiteY95" fmla="*/ 7362 h 9974"/>
                <a:gd name="connsiteX96" fmla="*/ 6872 w 10000"/>
                <a:gd name="connsiteY96" fmla="*/ 7283 h 9974"/>
                <a:gd name="connsiteX97" fmla="*/ 6832 w 10000"/>
                <a:gd name="connsiteY97" fmla="*/ 7193 h 9974"/>
                <a:gd name="connsiteX98" fmla="*/ 6908 w 10000"/>
                <a:gd name="connsiteY98" fmla="*/ 7228 h 9974"/>
                <a:gd name="connsiteX99" fmla="*/ 7025 w 10000"/>
                <a:gd name="connsiteY99" fmla="*/ 7228 h 9974"/>
                <a:gd name="connsiteX100" fmla="*/ 7025 w 10000"/>
                <a:gd name="connsiteY100" fmla="*/ 7187 h 9974"/>
                <a:gd name="connsiteX101" fmla="*/ 7134 w 10000"/>
                <a:gd name="connsiteY101" fmla="*/ 7155 h 9974"/>
                <a:gd name="connsiteX102" fmla="*/ 7119 w 10000"/>
                <a:gd name="connsiteY102" fmla="*/ 7122 h 9974"/>
                <a:gd name="connsiteX103" fmla="*/ 6198 w 10000"/>
                <a:gd name="connsiteY103" fmla="*/ 7189 h 9974"/>
                <a:gd name="connsiteX104" fmla="*/ 5983 w 10000"/>
                <a:gd name="connsiteY104" fmla="*/ 7169 h 9974"/>
                <a:gd name="connsiteX105" fmla="*/ 5895 w 10000"/>
                <a:gd name="connsiteY105" fmla="*/ 7193 h 9974"/>
                <a:gd name="connsiteX106" fmla="*/ 5866 w 10000"/>
                <a:gd name="connsiteY106" fmla="*/ 7147 h 9974"/>
                <a:gd name="connsiteX107" fmla="*/ 5764 w 10000"/>
                <a:gd name="connsiteY107" fmla="*/ 7106 h 9974"/>
                <a:gd name="connsiteX108" fmla="*/ 5354 w 10000"/>
                <a:gd name="connsiteY108" fmla="*/ 7026 h 9974"/>
                <a:gd name="connsiteX109" fmla="*/ 5112 w 10000"/>
                <a:gd name="connsiteY109" fmla="*/ 7039 h 9974"/>
                <a:gd name="connsiteX110" fmla="*/ 5016 w 10000"/>
                <a:gd name="connsiteY110" fmla="*/ 7016 h 9974"/>
                <a:gd name="connsiteX111" fmla="*/ 5118 w 10000"/>
                <a:gd name="connsiteY111" fmla="*/ 6996 h 9974"/>
                <a:gd name="connsiteX112" fmla="*/ 5194 w 10000"/>
                <a:gd name="connsiteY112" fmla="*/ 6953 h 9974"/>
                <a:gd name="connsiteX113" fmla="*/ 5309 w 10000"/>
                <a:gd name="connsiteY113" fmla="*/ 6967 h 9974"/>
                <a:gd name="connsiteX114" fmla="*/ 5445 w 10000"/>
                <a:gd name="connsiteY114" fmla="*/ 6955 h 9974"/>
                <a:gd name="connsiteX115" fmla="*/ 5650 w 10000"/>
                <a:gd name="connsiteY115" fmla="*/ 6969 h 9974"/>
                <a:gd name="connsiteX116" fmla="*/ 5675 w 10000"/>
                <a:gd name="connsiteY116" fmla="*/ 6963 h 9974"/>
                <a:gd name="connsiteX117" fmla="*/ 5834 w 10000"/>
                <a:gd name="connsiteY117" fmla="*/ 7030 h 9974"/>
                <a:gd name="connsiteX118" fmla="*/ 5951 w 10000"/>
                <a:gd name="connsiteY118" fmla="*/ 7006 h 9974"/>
                <a:gd name="connsiteX119" fmla="*/ 5961 w 10000"/>
                <a:gd name="connsiteY119" fmla="*/ 6984 h 9974"/>
                <a:gd name="connsiteX120" fmla="*/ 6069 w 10000"/>
                <a:gd name="connsiteY120" fmla="*/ 7022 h 9974"/>
                <a:gd name="connsiteX121" fmla="*/ 6212 w 10000"/>
                <a:gd name="connsiteY121" fmla="*/ 7043 h 9974"/>
                <a:gd name="connsiteX122" fmla="*/ 6268 w 10000"/>
                <a:gd name="connsiteY122" fmla="*/ 7004 h 9974"/>
                <a:gd name="connsiteX123" fmla="*/ 6314 w 10000"/>
                <a:gd name="connsiteY123" fmla="*/ 7026 h 9974"/>
                <a:gd name="connsiteX124" fmla="*/ 6381 w 10000"/>
                <a:gd name="connsiteY124" fmla="*/ 7100 h 9974"/>
                <a:gd name="connsiteX125" fmla="*/ 6519 w 10000"/>
                <a:gd name="connsiteY125" fmla="*/ 7118 h 9974"/>
                <a:gd name="connsiteX126" fmla="*/ 7082 w 10000"/>
                <a:gd name="connsiteY126" fmla="*/ 7008 h 9974"/>
                <a:gd name="connsiteX127" fmla="*/ 7359 w 10000"/>
                <a:gd name="connsiteY127" fmla="*/ 6853 h 9974"/>
                <a:gd name="connsiteX128" fmla="*/ 7423 w 10000"/>
                <a:gd name="connsiteY128" fmla="*/ 6739 h 9974"/>
                <a:gd name="connsiteX129" fmla="*/ 7323 w 10000"/>
                <a:gd name="connsiteY129" fmla="*/ 6637 h 9974"/>
                <a:gd name="connsiteX130" fmla="*/ 7113 w 10000"/>
                <a:gd name="connsiteY130" fmla="*/ 6576 h 9974"/>
                <a:gd name="connsiteX131" fmla="*/ 6963 w 10000"/>
                <a:gd name="connsiteY131" fmla="*/ 6476 h 9974"/>
                <a:gd name="connsiteX132" fmla="*/ 7102 w 10000"/>
                <a:gd name="connsiteY132" fmla="*/ 6472 h 9974"/>
                <a:gd name="connsiteX133" fmla="*/ 7093 w 10000"/>
                <a:gd name="connsiteY133" fmla="*/ 6448 h 9974"/>
                <a:gd name="connsiteX134" fmla="*/ 6731 w 10000"/>
                <a:gd name="connsiteY134" fmla="*/ 6377 h 9974"/>
                <a:gd name="connsiteX135" fmla="*/ 6716 w 10000"/>
                <a:gd name="connsiteY135" fmla="*/ 6313 h 9974"/>
                <a:gd name="connsiteX136" fmla="*/ 6646 w 10000"/>
                <a:gd name="connsiteY136" fmla="*/ 6246 h 9974"/>
                <a:gd name="connsiteX137" fmla="*/ 6360 w 10000"/>
                <a:gd name="connsiteY137" fmla="*/ 6258 h 9974"/>
                <a:gd name="connsiteX138" fmla="*/ 6258 w 10000"/>
                <a:gd name="connsiteY138" fmla="*/ 6187 h 9974"/>
                <a:gd name="connsiteX139" fmla="*/ 6198 w 10000"/>
                <a:gd name="connsiteY139" fmla="*/ 6183 h 9974"/>
                <a:gd name="connsiteX140" fmla="*/ 6198 w 10000"/>
                <a:gd name="connsiteY140" fmla="*/ 6212 h 9974"/>
                <a:gd name="connsiteX141" fmla="*/ 6069 w 10000"/>
                <a:gd name="connsiteY141" fmla="*/ 6332 h 9974"/>
                <a:gd name="connsiteX142" fmla="*/ 5930 w 10000"/>
                <a:gd name="connsiteY142" fmla="*/ 6403 h 9974"/>
                <a:gd name="connsiteX143" fmla="*/ 5495 w 10000"/>
                <a:gd name="connsiteY143" fmla="*/ 6525 h 9974"/>
                <a:gd name="connsiteX144" fmla="*/ 5342 w 10000"/>
                <a:gd name="connsiteY144" fmla="*/ 6521 h 9974"/>
                <a:gd name="connsiteX145" fmla="*/ 5133 w 10000"/>
                <a:gd name="connsiteY145" fmla="*/ 6539 h 9974"/>
                <a:gd name="connsiteX146" fmla="*/ 5016 w 10000"/>
                <a:gd name="connsiteY146" fmla="*/ 6521 h 9974"/>
                <a:gd name="connsiteX147" fmla="*/ 5169 w 10000"/>
                <a:gd name="connsiteY147" fmla="*/ 6487 h 9974"/>
                <a:gd name="connsiteX148" fmla="*/ 5369 w 10000"/>
                <a:gd name="connsiteY148" fmla="*/ 6472 h 9974"/>
                <a:gd name="connsiteX149" fmla="*/ 5534 w 10000"/>
                <a:gd name="connsiteY149" fmla="*/ 6415 h 9974"/>
                <a:gd name="connsiteX150" fmla="*/ 5695 w 10000"/>
                <a:gd name="connsiteY150" fmla="*/ 6389 h 9974"/>
                <a:gd name="connsiteX151" fmla="*/ 5998 w 10000"/>
                <a:gd name="connsiteY151" fmla="*/ 6291 h 9974"/>
                <a:gd name="connsiteX152" fmla="*/ 6056 w 10000"/>
                <a:gd name="connsiteY152" fmla="*/ 6226 h 9974"/>
                <a:gd name="connsiteX153" fmla="*/ 6060 w 10000"/>
                <a:gd name="connsiteY153" fmla="*/ 6142 h 9974"/>
                <a:gd name="connsiteX154" fmla="*/ 5921 w 10000"/>
                <a:gd name="connsiteY154" fmla="*/ 6128 h 9974"/>
                <a:gd name="connsiteX155" fmla="*/ 5983 w 10000"/>
                <a:gd name="connsiteY155" fmla="*/ 6077 h 9974"/>
                <a:gd name="connsiteX156" fmla="*/ 6002 w 10000"/>
                <a:gd name="connsiteY156" fmla="*/ 6012 h 9974"/>
                <a:gd name="connsiteX157" fmla="*/ 5944 w 10000"/>
                <a:gd name="connsiteY157" fmla="*/ 5951 h 9974"/>
                <a:gd name="connsiteX158" fmla="*/ 5911 w 10000"/>
                <a:gd name="connsiteY158" fmla="*/ 5507 h 9974"/>
                <a:gd name="connsiteX159" fmla="*/ 5993 w 10000"/>
                <a:gd name="connsiteY159" fmla="*/ 5411 h 9974"/>
                <a:gd name="connsiteX160" fmla="*/ 5972 w 10000"/>
                <a:gd name="connsiteY160" fmla="*/ 5372 h 9974"/>
                <a:gd name="connsiteX161" fmla="*/ 6212 w 10000"/>
                <a:gd name="connsiteY161" fmla="*/ 5429 h 9974"/>
                <a:gd name="connsiteX162" fmla="*/ 6229 w 10000"/>
                <a:gd name="connsiteY162" fmla="*/ 5376 h 9974"/>
                <a:gd name="connsiteX163" fmla="*/ 6176 w 10000"/>
                <a:gd name="connsiteY163" fmla="*/ 5238 h 9974"/>
                <a:gd name="connsiteX164" fmla="*/ 6349 w 10000"/>
                <a:gd name="connsiteY164" fmla="*/ 4993 h 9974"/>
                <a:gd name="connsiteX165" fmla="*/ 6243 w 10000"/>
                <a:gd name="connsiteY165" fmla="*/ 4934 h 9974"/>
                <a:gd name="connsiteX166" fmla="*/ 6202 w 10000"/>
                <a:gd name="connsiteY166" fmla="*/ 4879 h 9974"/>
                <a:gd name="connsiteX167" fmla="*/ 6216 w 10000"/>
                <a:gd name="connsiteY167" fmla="*/ 4790 h 9974"/>
                <a:gd name="connsiteX168" fmla="*/ 6470 w 10000"/>
                <a:gd name="connsiteY168" fmla="*/ 4849 h 9974"/>
                <a:gd name="connsiteX169" fmla="*/ 6478 w 10000"/>
                <a:gd name="connsiteY169" fmla="*/ 4832 h 9974"/>
                <a:gd name="connsiteX170" fmla="*/ 6548 w 10000"/>
                <a:gd name="connsiteY170" fmla="*/ 4816 h 9974"/>
                <a:gd name="connsiteX171" fmla="*/ 6646 w 10000"/>
                <a:gd name="connsiteY171" fmla="*/ 4759 h 9974"/>
                <a:gd name="connsiteX172" fmla="*/ 6662 w 10000"/>
                <a:gd name="connsiteY172" fmla="*/ 4743 h 9974"/>
                <a:gd name="connsiteX173" fmla="*/ 6641 w 10000"/>
                <a:gd name="connsiteY173" fmla="*/ 4722 h 9974"/>
                <a:gd name="connsiteX174" fmla="*/ 6693 w 10000"/>
                <a:gd name="connsiteY174" fmla="*/ 4621 h 9974"/>
                <a:gd name="connsiteX175" fmla="*/ 6631 w 10000"/>
                <a:gd name="connsiteY175" fmla="*/ 4555 h 9974"/>
                <a:gd name="connsiteX176" fmla="*/ 6641 w 10000"/>
                <a:gd name="connsiteY176" fmla="*/ 4502 h 9974"/>
                <a:gd name="connsiteX177" fmla="*/ 6676 w 10000"/>
                <a:gd name="connsiteY177" fmla="*/ 4564 h 9974"/>
                <a:gd name="connsiteX178" fmla="*/ 6815 w 10000"/>
                <a:gd name="connsiteY178" fmla="*/ 4610 h 9974"/>
                <a:gd name="connsiteX179" fmla="*/ 6872 w 10000"/>
                <a:gd name="connsiteY179" fmla="*/ 4604 h 9974"/>
                <a:gd name="connsiteX180" fmla="*/ 6963 w 10000"/>
                <a:gd name="connsiteY180" fmla="*/ 4543 h 9974"/>
                <a:gd name="connsiteX181" fmla="*/ 7062 w 10000"/>
                <a:gd name="connsiteY181" fmla="*/ 4568 h 9974"/>
                <a:gd name="connsiteX182" fmla="*/ 7088 w 10000"/>
                <a:gd name="connsiteY182" fmla="*/ 4519 h 9974"/>
                <a:gd name="connsiteX183" fmla="*/ 7154 w 10000"/>
                <a:gd name="connsiteY183" fmla="*/ 4486 h 9974"/>
                <a:gd name="connsiteX184" fmla="*/ 6974 w 10000"/>
                <a:gd name="connsiteY184" fmla="*/ 4451 h 9974"/>
                <a:gd name="connsiteX185" fmla="*/ 7102 w 10000"/>
                <a:gd name="connsiteY185" fmla="*/ 4458 h 9974"/>
                <a:gd name="connsiteX186" fmla="*/ 7234 w 10000"/>
                <a:gd name="connsiteY186" fmla="*/ 4421 h 9974"/>
                <a:gd name="connsiteX187" fmla="*/ 7229 w 10000"/>
                <a:gd name="connsiteY187" fmla="*/ 4396 h 9974"/>
                <a:gd name="connsiteX188" fmla="*/ 7353 w 10000"/>
                <a:gd name="connsiteY188" fmla="*/ 4372 h 9974"/>
                <a:gd name="connsiteX189" fmla="*/ 7364 w 10000"/>
                <a:gd name="connsiteY189" fmla="*/ 4311 h 9974"/>
                <a:gd name="connsiteX190" fmla="*/ 7461 w 10000"/>
                <a:gd name="connsiteY190" fmla="*/ 4299 h 9974"/>
                <a:gd name="connsiteX191" fmla="*/ 7469 w 10000"/>
                <a:gd name="connsiteY191" fmla="*/ 4227 h 9974"/>
                <a:gd name="connsiteX192" fmla="*/ 7572 w 10000"/>
                <a:gd name="connsiteY192" fmla="*/ 4219 h 9974"/>
                <a:gd name="connsiteX193" fmla="*/ 7730 w 10000"/>
                <a:gd name="connsiteY193" fmla="*/ 4234 h 9974"/>
                <a:gd name="connsiteX194" fmla="*/ 7904 w 10000"/>
                <a:gd name="connsiteY194" fmla="*/ 4176 h 9974"/>
                <a:gd name="connsiteX195" fmla="*/ 7966 w 10000"/>
                <a:gd name="connsiteY195" fmla="*/ 4111 h 9974"/>
                <a:gd name="connsiteX196" fmla="*/ 8181 w 10000"/>
                <a:gd name="connsiteY196" fmla="*/ 4044 h 9974"/>
                <a:gd name="connsiteX197" fmla="*/ 8288 w 10000"/>
                <a:gd name="connsiteY197" fmla="*/ 4085 h 9974"/>
                <a:gd name="connsiteX198" fmla="*/ 8452 w 10000"/>
                <a:gd name="connsiteY198" fmla="*/ 4040 h 9974"/>
                <a:gd name="connsiteX199" fmla="*/ 8491 w 10000"/>
                <a:gd name="connsiteY199" fmla="*/ 3983 h 9974"/>
                <a:gd name="connsiteX200" fmla="*/ 8616 w 10000"/>
                <a:gd name="connsiteY200" fmla="*/ 3944 h 9974"/>
                <a:gd name="connsiteX201" fmla="*/ 8722 w 10000"/>
                <a:gd name="connsiteY201" fmla="*/ 3961 h 9974"/>
                <a:gd name="connsiteX202" fmla="*/ 8789 w 10000"/>
                <a:gd name="connsiteY202" fmla="*/ 3932 h 9974"/>
                <a:gd name="connsiteX203" fmla="*/ 8973 w 10000"/>
                <a:gd name="connsiteY203" fmla="*/ 3891 h 9974"/>
                <a:gd name="connsiteX204" fmla="*/ 9049 w 10000"/>
                <a:gd name="connsiteY204" fmla="*/ 3838 h 9974"/>
                <a:gd name="connsiteX205" fmla="*/ 9153 w 10000"/>
                <a:gd name="connsiteY205" fmla="*/ 3816 h 9974"/>
                <a:gd name="connsiteX206" fmla="*/ 9720 w 10000"/>
                <a:gd name="connsiteY206" fmla="*/ 3496 h 9974"/>
                <a:gd name="connsiteX207" fmla="*/ 9971 w 10000"/>
                <a:gd name="connsiteY207" fmla="*/ 363 h 9974"/>
                <a:gd name="connsiteX208" fmla="*/ 9049 w 10000"/>
                <a:gd name="connsiteY208" fmla="*/ 0 h 9974"/>
                <a:gd name="connsiteX209" fmla="*/ 7537 w 10000"/>
                <a:gd name="connsiteY209" fmla="*/ 361 h 9974"/>
                <a:gd name="connsiteX210" fmla="*/ 7423 w 10000"/>
                <a:gd name="connsiteY210" fmla="*/ 369 h 9974"/>
                <a:gd name="connsiteX211" fmla="*/ 7359 w 10000"/>
                <a:gd name="connsiteY211" fmla="*/ 388 h 9974"/>
                <a:gd name="connsiteX212" fmla="*/ 7290 w 10000"/>
                <a:gd name="connsiteY212" fmla="*/ 436 h 9974"/>
                <a:gd name="connsiteX213" fmla="*/ 7302 w 10000"/>
                <a:gd name="connsiteY213" fmla="*/ 555 h 9974"/>
                <a:gd name="connsiteX214" fmla="*/ 7199 w 10000"/>
                <a:gd name="connsiteY214" fmla="*/ 709 h 9974"/>
                <a:gd name="connsiteX215" fmla="*/ 7072 w 10000"/>
                <a:gd name="connsiteY215" fmla="*/ 789 h 9974"/>
                <a:gd name="connsiteX216" fmla="*/ 7021 w 10000"/>
                <a:gd name="connsiteY216" fmla="*/ 779 h 9974"/>
                <a:gd name="connsiteX217" fmla="*/ 6903 w 10000"/>
                <a:gd name="connsiteY217" fmla="*/ 713 h 9974"/>
                <a:gd name="connsiteX218" fmla="*/ 6756 w 10000"/>
                <a:gd name="connsiteY218" fmla="*/ 679 h 9974"/>
                <a:gd name="connsiteX219" fmla="*/ 6594 w 10000"/>
                <a:gd name="connsiteY219" fmla="*/ 689 h 9974"/>
                <a:gd name="connsiteX220" fmla="*/ 6223 w 10000"/>
                <a:gd name="connsiteY220" fmla="*/ 840 h 9974"/>
                <a:gd name="connsiteX221" fmla="*/ 6125 w 10000"/>
                <a:gd name="connsiteY221" fmla="*/ 991 h 9974"/>
                <a:gd name="connsiteX222" fmla="*/ 5845 w 10000"/>
                <a:gd name="connsiteY222" fmla="*/ 1127 h 9974"/>
                <a:gd name="connsiteX223" fmla="*/ 5794 w 10000"/>
                <a:gd name="connsiteY223" fmla="*/ 1196 h 9974"/>
                <a:gd name="connsiteX224" fmla="*/ 5940 w 10000"/>
                <a:gd name="connsiteY224" fmla="*/ 1318 h 9974"/>
                <a:gd name="connsiteX225" fmla="*/ 5956 w 10000"/>
                <a:gd name="connsiteY225" fmla="*/ 1386 h 9974"/>
                <a:gd name="connsiteX226" fmla="*/ 5190 w 10000"/>
                <a:gd name="connsiteY226" fmla="*/ 1787 h 9974"/>
                <a:gd name="connsiteX227" fmla="*/ 4955 w 10000"/>
                <a:gd name="connsiteY227" fmla="*/ 2044 h 9974"/>
                <a:gd name="connsiteX228" fmla="*/ 4702 w 10000"/>
                <a:gd name="connsiteY228" fmla="*/ 2109 h 9974"/>
                <a:gd name="connsiteX229" fmla="*/ 4540 w 10000"/>
                <a:gd name="connsiteY229" fmla="*/ 2105 h 9974"/>
                <a:gd name="connsiteX230" fmla="*/ 4443 w 10000"/>
                <a:gd name="connsiteY230" fmla="*/ 2127 h 9974"/>
                <a:gd name="connsiteX231" fmla="*/ 4178 w 10000"/>
                <a:gd name="connsiteY231" fmla="*/ 2767 h 9974"/>
                <a:gd name="connsiteX232" fmla="*/ 3565 w 10000"/>
                <a:gd name="connsiteY232" fmla="*/ 3140 h 9974"/>
                <a:gd name="connsiteX233" fmla="*/ 3569 w 10000"/>
                <a:gd name="connsiteY233" fmla="*/ 3199 h 9974"/>
                <a:gd name="connsiteX234" fmla="*/ 3841 w 10000"/>
                <a:gd name="connsiteY234" fmla="*/ 3366 h 9974"/>
                <a:gd name="connsiteX235" fmla="*/ 3753 w 10000"/>
                <a:gd name="connsiteY235" fmla="*/ 3547 h 9974"/>
                <a:gd name="connsiteX236" fmla="*/ 3594 w 10000"/>
                <a:gd name="connsiteY236" fmla="*/ 3614 h 9974"/>
                <a:gd name="connsiteX237" fmla="*/ 3118 w 10000"/>
                <a:gd name="connsiteY237" fmla="*/ 3569 h 9974"/>
                <a:gd name="connsiteX238" fmla="*/ 2791 w 10000"/>
                <a:gd name="connsiteY238" fmla="*/ 3594 h 9974"/>
                <a:gd name="connsiteX239" fmla="*/ 2528 w 10000"/>
                <a:gd name="connsiteY239" fmla="*/ 3647 h 9974"/>
                <a:gd name="connsiteX240" fmla="*/ 2102 w 10000"/>
                <a:gd name="connsiteY240" fmla="*/ 3814 h 9974"/>
                <a:gd name="connsiteX241" fmla="*/ 1877 w 10000"/>
                <a:gd name="connsiteY241" fmla="*/ 4016 h 9974"/>
                <a:gd name="connsiteX242" fmla="*/ 1896 w 10000"/>
                <a:gd name="connsiteY242" fmla="*/ 4128 h 9974"/>
                <a:gd name="connsiteX243" fmla="*/ 1975 w 10000"/>
                <a:gd name="connsiteY243" fmla="*/ 4215 h 9974"/>
                <a:gd name="connsiteX244" fmla="*/ 2034 w 10000"/>
                <a:gd name="connsiteY244" fmla="*/ 4250 h 9974"/>
                <a:gd name="connsiteX245" fmla="*/ 1924 w 10000"/>
                <a:gd name="connsiteY245" fmla="*/ 4305 h 9974"/>
                <a:gd name="connsiteX246" fmla="*/ 1683 w 10000"/>
                <a:gd name="connsiteY246" fmla="*/ 4684 h 9974"/>
                <a:gd name="connsiteX247" fmla="*/ 1729 w 10000"/>
                <a:gd name="connsiteY247" fmla="*/ 4706 h 9974"/>
                <a:gd name="connsiteX248" fmla="*/ 1764 w 10000"/>
                <a:gd name="connsiteY248" fmla="*/ 4802 h 9974"/>
                <a:gd name="connsiteX249" fmla="*/ 1652 w 10000"/>
                <a:gd name="connsiteY249" fmla="*/ 5201 h 9974"/>
                <a:gd name="connsiteX250" fmla="*/ 1764 w 10000"/>
                <a:gd name="connsiteY250" fmla="*/ 5303 h 9974"/>
                <a:gd name="connsiteX251" fmla="*/ 2071 w 10000"/>
                <a:gd name="connsiteY251" fmla="*/ 5415 h 9974"/>
                <a:gd name="connsiteX252" fmla="*/ 2085 w 10000"/>
                <a:gd name="connsiteY252" fmla="*/ 5552 h 9974"/>
                <a:gd name="connsiteX253" fmla="*/ 1954 w 10000"/>
                <a:gd name="connsiteY253" fmla="*/ 5664 h 9974"/>
                <a:gd name="connsiteX254" fmla="*/ 1764 w 10000"/>
                <a:gd name="connsiteY254" fmla="*/ 5733 h 9974"/>
                <a:gd name="connsiteX255" fmla="*/ 1513 w 10000"/>
                <a:gd name="connsiteY255" fmla="*/ 5761 h 9974"/>
                <a:gd name="connsiteX256" fmla="*/ 1448 w 10000"/>
                <a:gd name="connsiteY256" fmla="*/ 5800 h 9974"/>
                <a:gd name="connsiteX257" fmla="*/ 1594 w 10000"/>
                <a:gd name="connsiteY257" fmla="*/ 5894 h 9974"/>
                <a:gd name="connsiteX258" fmla="*/ 1678 w 10000"/>
                <a:gd name="connsiteY258" fmla="*/ 6116 h 9974"/>
                <a:gd name="connsiteX259" fmla="*/ 1488 w 10000"/>
                <a:gd name="connsiteY259" fmla="*/ 6307 h 9974"/>
                <a:gd name="connsiteX260" fmla="*/ 1554 w 10000"/>
                <a:gd name="connsiteY260" fmla="*/ 6366 h 9974"/>
                <a:gd name="connsiteX261" fmla="*/ 1494 w 10000"/>
                <a:gd name="connsiteY261" fmla="*/ 6466 h 9974"/>
                <a:gd name="connsiteX262" fmla="*/ 1372 w 10000"/>
                <a:gd name="connsiteY262" fmla="*/ 6535 h 9974"/>
                <a:gd name="connsiteX263" fmla="*/ 889 w 10000"/>
                <a:gd name="connsiteY263" fmla="*/ 6588 h 9974"/>
                <a:gd name="connsiteX264" fmla="*/ 860 w 10000"/>
                <a:gd name="connsiteY264" fmla="*/ 6680 h 9974"/>
                <a:gd name="connsiteX265" fmla="*/ 600 w 10000"/>
                <a:gd name="connsiteY265" fmla="*/ 6817 h 9974"/>
                <a:gd name="connsiteX266" fmla="*/ 634 w 10000"/>
                <a:gd name="connsiteY266" fmla="*/ 7014 h 9974"/>
                <a:gd name="connsiteX267" fmla="*/ 415 w 10000"/>
                <a:gd name="connsiteY267" fmla="*/ 7267 h 9974"/>
                <a:gd name="connsiteX268" fmla="*/ 266 w 10000"/>
                <a:gd name="connsiteY268" fmla="*/ 7297 h 9974"/>
                <a:gd name="connsiteX269" fmla="*/ 204 w 10000"/>
                <a:gd name="connsiteY269" fmla="*/ 7236 h 9974"/>
                <a:gd name="connsiteX270" fmla="*/ 128 w 10000"/>
                <a:gd name="connsiteY270" fmla="*/ 7328 h 9974"/>
                <a:gd name="connsiteX271" fmla="*/ 178 w 10000"/>
                <a:gd name="connsiteY271" fmla="*/ 7171 h 9974"/>
                <a:gd name="connsiteX272" fmla="*/ 147 w 10000"/>
                <a:gd name="connsiteY272" fmla="*/ 7140 h 9974"/>
                <a:gd name="connsiteX0" fmla="*/ 147 w 10000"/>
                <a:gd name="connsiteY0" fmla="*/ 6797 h 9638"/>
                <a:gd name="connsiteX1" fmla="*/ 0 w 10000"/>
                <a:gd name="connsiteY1" fmla="*/ 6879 h 9638"/>
                <a:gd name="connsiteX2" fmla="*/ 0 w 10000"/>
                <a:gd name="connsiteY2" fmla="*/ 7283 h 9638"/>
                <a:gd name="connsiteX3" fmla="*/ 81 w 10000"/>
                <a:gd name="connsiteY3" fmla="*/ 7295 h 9638"/>
                <a:gd name="connsiteX4" fmla="*/ 100 w 10000"/>
                <a:gd name="connsiteY4" fmla="*/ 7326 h 9638"/>
                <a:gd name="connsiteX5" fmla="*/ 96 w 10000"/>
                <a:gd name="connsiteY5" fmla="*/ 7381 h 9638"/>
                <a:gd name="connsiteX6" fmla="*/ 66 w 10000"/>
                <a:gd name="connsiteY6" fmla="*/ 7405 h 9638"/>
                <a:gd name="connsiteX7" fmla="*/ 190 w 10000"/>
                <a:gd name="connsiteY7" fmla="*/ 7359 h 9638"/>
                <a:gd name="connsiteX8" fmla="*/ 242 w 10000"/>
                <a:gd name="connsiteY8" fmla="*/ 7312 h 9638"/>
                <a:gd name="connsiteX9" fmla="*/ 306 w 10000"/>
                <a:gd name="connsiteY9" fmla="*/ 7344 h 9638"/>
                <a:gd name="connsiteX10" fmla="*/ 235 w 10000"/>
                <a:gd name="connsiteY10" fmla="*/ 7410 h 9638"/>
                <a:gd name="connsiteX11" fmla="*/ 311 w 10000"/>
                <a:gd name="connsiteY11" fmla="*/ 7412 h 9638"/>
                <a:gd name="connsiteX12" fmla="*/ 348 w 10000"/>
                <a:gd name="connsiteY12" fmla="*/ 7428 h 9638"/>
                <a:gd name="connsiteX13" fmla="*/ 250 w 10000"/>
                <a:gd name="connsiteY13" fmla="*/ 7450 h 9638"/>
                <a:gd name="connsiteX14" fmla="*/ 96 w 10000"/>
                <a:gd name="connsiteY14" fmla="*/ 7518 h 9638"/>
                <a:gd name="connsiteX15" fmla="*/ 370 w 10000"/>
                <a:gd name="connsiteY15" fmla="*/ 7571 h 9638"/>
                <a:gd name="connsiteX16" fmla="*/ 404 w 10000"/>
                <a:gd name="connsiteY16" fmla="*/ 7647 h 9638"/>
                <a:gd name="connsiteX17" fmla="*/ 311 w 10000"/>
                <a:gd name="connsiteY17" fmla="*/ 7759 h 9638"/>
                <a:gd name="connsiteX18" fmla="*/ 511 w 10000"/>
                <a:gd name="connsiteY18" fmla="*/ 7751 h 9638"/>
                <a:gd name="connsiteX19" fmla="*/ 526 w 10000"/>
                <a:gd name="connsiteY19" fmla="*/ 7836 h 9638"/>
                <a:gd name="connsiteX20" fmla="*/ 393 w 10000"/>
                <a:gd name="connsiteY20" fmla="*/ 7893 h 9638"/>
                <a:gd name="connsiteX21" fmla="*/ 415 w 10000"/>
                <a:gd name="connsiteY21" fmla="*/ 8004 h 9638"/>
                <a:gd name="connsiteX22" fmla="*/ 364 w 10000"/>
                <a:gd name="connsiteY22" fmla="*/ 8090 h 9638"/>
                <a:gd name="connsiteX23" fmla="*/ 521 w 10000"/>
                <a:gd name="connsiteY23" fmla="*/ 8098 h 9638"/>
                <a:gd name="connsiteX24" fmla="*/ 676 w 10000"/>
                <a:gd name="connsiteY24" fmla="*/ 8427 h 9638"/>
                <a:gd name="connsiteX25" fmla="*/ 853 w 10000"/>
                <a:gd name="connsiteY25" fmla="*/ 8511 h 9638"/>
                <a:gd name="connsiteX26" fmla="*/ 931 w 10000"/>
                <a:gd name="connsiteY26" fmla="*/ 8600 h 9638"/>
                <a:gd name="connsiteX27" fmla="*/ 1125 w 10000"/>
                <a:gd name="connsiteY27" fmla="*/ 8665 h 9638"/>
                <a:gd name="connsiteX28" fmla="*/ 1249 w 10000"/>
                <a:gd name="connsiteY28" fmla="*/ 8748 h 9638"/>
                <a:gd name="connsiteX29" fmla="*/ 1233 w 10000"/>
                <a:gd name="connsiteY29" fmla="*/ 8807 h 9638"/>
                <a:gd name="connsiteX30" fmla="*/ 1110 w 10000"/>
                <a:gd name="connsiteY30" fmla="*/ 8829 h 9638"/>
                <a:gd name="connsiteX31" fmla="*/ 976 w 10000"/>
                <a:gd name="connsiteY31" fmla="*/ 8815 h 9638"/>
                <a:gd name="connsiteX32" fmla="*/ 935 w 10000"/>
                <a:gd name="connsiteY32" fmla="*/ 8840 h 9638"/>
                <a:gd name="connsiteX33" fmla="*/ 1037 w 10000"/>
                <a:gd name="connsiteY33" fmla="*/ 8968 h 9638"/>
                <a:gd name="connsiteX34" fmla="*/ 894 w 10000"/>
                <a:gd name="connsiteY34" fmla="*/ 8958 h 9638"/>
                <a:gd name="connsiteX35" fmla="*/ 773 w 10000"/>
                <a:gd name="connsiteY35" fmla="*/ 8927 h 9638"/>
                <a:gd name="connsiteX36" fmla="*/ 750 w 10000"/>
                <a:gd name="connsiteY36" fmla="*/ 8974 h 9638"/>
                <a:gd name="connsiteX37" fmla="*/ 1155 w 10000"/>
                <a:gd name="connsiteY37" fmla="*/ 9413 h 9638"/>
                <a:gd name="connsiteX38" fmla="*/ 1091 w 10000"/>
                <a:gd name="connsiteY38" fmla="*/ 9455 h 9638"/>
                <a:gd name="connsiteX39" fmla="*/ 1045 w 10000"/>
                <a:gd name="connsiteY39" fmla="*/ 9540 h 9638"/>
                <a:gd name="connsiteX40" fmla="*/ 987 w 10000"/>
                <a:gd name="connsiteY40" fmla="*/ 9546 h 9638"/>
                <a:gd name="connsiteX41" fmla="*/ 951 w 10000"/>
                <a:gd name="connsiteY41" fmla="*/ 9583 h 9638"/>
                <a:gd name="connsiteX42" fmla="*/ 1195 w 10000"/>
                <a:gd name="connsiteY42" fmla="*/ 9587 h 9638"/>
                <a:gd name="connsiteX43" fmla="*/ 1410 w 10000"/>
                <a:gd name="connsiteY43" fmla="*/ 9624 h 9638"/>
                <a:gd name="connsiteX44" fmla="*/ 1769 w 10000"/>
                <a:gd name="connsiteY44" fmla="*/ 9585 h 9638"/>
                <a:gd name="connsiteX45" fmla="*/ 2091 w 10000"/>
                <a:gd name="connsiteY45" fmla="*/ 9591 h 9638"/>
                <a:gd name="connsiteX46" fmla="*/ 2280 w 10000"/>
                <a:gd name="connsiteY46" fmla="*/ 9638 h 9638"/>
                <a:gd name="connsiteX47" fmla="*/ 2385 w 10000"/>
                <a:gd name="connsiteY47" fmla="*/ 9607 h 9638"/>
                <a:gd name="connsiteX48" fmla="*/ 2485 w 10000"/>
                <a:gd name="connsiteY48" fmla="*/ 9506 h 9638"/>
                <a:gd name="connsiteX49" fmla="*/ 2459 w 10000"/>
                <a:gd name="connsiteY49" fmla="*/ 9340 h 9638"/>
                <a:gd name="connsiteX50" fmla="*/ 2704 w 10000"/>
                <a:gd name="connsiteY50" fmla="*/ 9154 h 9638"/>
                <a:gd name="connsiteX51" fmla="*/ 2883 w 10000"/>
                <a:gd name="connsiteY51" fmla="*/ 9183 h 9638"/>
                <a:gd name="connsiteX52" fmla="*/ 2987 w 10000"/>
                <a:gd name="connsiteY52" fmla="*/ 9109 h 9638"/>
                <a:gd name="connsiteX53" fmla="*/ 3186 w 10000"/>
                <a:gd name="connsiteY53" fmla="*/ 9067 h 9638"/>
                <a:gd name="connsiteX54" fmla="*/ 3457 w 10000"/>
                <a:gd name="connsiteY54" fmla="*/ 9077 h 9638"/>
                <a:gd name="connsiteX55" fmla="*/ 3620 w 10000"/>
                <a:gd name="connsiteY55" fmla="*/ 9107 h 9638"/>
                <a:gd name="connsiteX56" fmla="*/ 3837 w 10000"/>
                <a:gd name="connsiteY56" fmla="*/ 9093 h 9638"/>
                <a:gd name="connsiteX57" fmla="*/ 4056 w 10000"/>
                <a:gd name="connsiteY57" fmla="*/ 9126 h 9638"/>
                <a:gd name="connsiteX58" fmla="*/ 4275 w 10000"/>
                <a:gd name="connsiteY58" fmla="*/ 9130 h 9638"/>
                <a:gd name="connsiteX59" fmla="*/ 4765 w 10000"/>
                <a:gd name="connsiteY59" fmla="*/ 8697 h 9638"/>
                <a:gd name="connsiteX60" fmla="*/ 4889 w 10000"/>
                <a:gd name="connsiteY60" fmla="*/ 8346 h 9638"/>
                <a:gd name="connsiteX61" fmla="*/ 5088 w 10000"/>
                <a:gd name="connsiteY61" fmla="*/ 8188 h 9638"/>
                <a:gd name="connsiteX62" fmla="*/ 5088 w 10000"/>
                <a:gd name="connsiteY62" fmla="*/ 8106 h 9638"/>
                <a:gd name="connsiteX63" fmla="*/ 5016 w 10000"/>
                <a:gd name="connsiteY63" fmla="*/ 8059 h 9638"/>
                <a:gd name="connsiteX64" fmla="*/ 5133 w 10000"/>
                <a:gd name="connsiteY64" fmla="*/ 7986 h 9638"/>
                <a:gd name="connsiteX65" fmla="*/ 5112 w 10000"/>
                <a:gd name="connsiteY65" fmla="*/ 7923 h 9638"/>
                <a:gd name="connsiteX66" fmla="*/ 5032 w 10000"/>
                <a:gd name="connsiteY66" fmla="*/ 7869 h 9638"/>
                <a:gd name="connsiteX67" fmla="*/ 5016 w 10000"/>
                <a:gd name="connsiteY67" fmla="*/ 7832 h 9638"/>
                <a:gd name="connsiteX68" fmla="*/ 5036 w 10000"/>
                <a:gd name="connsiteY68" fmla="*/ 7802 h 9638"/>
                <a:gd name="connsiteX69" fmla="*/ 5144 w 10000"/>
                <a:gd name="connsiteY69" fmla="*/ 7826 h 9638"/>
                <a:gd name="connsiteX70" fmla="*/ 5230 w 10000"/>
                <a:gd name="connsiteY70" fmla="*/ 7824 h 9638"/>
                <a:gd name="connsiteX71" fmla="*/ 5184 w 10000"/>
                <a:gd name="connsiteY71" fmla="*/ 7773 h 9638"/>
                <a:gd name="connsiteX72" fmla="*/ 5198 w 10000"/>
                <a:gd name="connsiteY72" fmla="*/ 7745 h 9638"/>
                <a:gd name="connsiteX73" fmla="*/ 5262 w 10000"/>
                <a:gd name="connsiteY73" fmla="*/ 7702 h 9638"/>
                <a:gd name="connsiteX74" fmla="*/ 5250 w 10000"/>
                <a:gd name="connsiteY74" fmla="*/ 7667 h 9638"/>
                <a:gd name="connsiteX75" fmla="*/ 5309 w 10000"/>
                <a:gd name="connsiteY75" fmla="*/ 7549 h 9638"/>
                <a:gd name="connsiteX76" fmla="*/ 5293 w 10000"/>
                <a:gd name="connsiteY76" fmla="*/ 7513 h 9638"/>
                <a:gd name="connsiteX77" fmla="*/ 4996 w 10000"/>
                <a:gd name="connsiteY77" fmla="*/ 7424 h 9638"/>
                <a:gd name="connsiteX78" fmla="*/ 5036 w 10000"/>
                <a:gd name="connsiteY78" fmla="*/ 7420 h 9638"/>
                <a:gd name="connsiteX79" fmla="*/ 5194 w 10000"/>
                <a:gd name="connsiteY79" fmla="*/ 7444 h 9638"/>
                <a:gd name="connsiteX80" fmla="*/ 5365 w 10000"/>
                <a:gd name="connsiteY80" fmla="*/ 7436 h 9638"/>
                <a:gd name="connsiteX81" fmla="*/ 5415 w 10000"/>
                <a:gd name="connsiteY81" fmla="*/ 7403 h 9638"/>
                <a:gd name="connsiteX82" fmla="*/ 5250 w 10000"/>
                <a:gd name="connsiteY82" fmla="*/ 7342 h 9638"/>
                <a:gd name="connsiteX83" fmla="*/ 4761 w 10000"/>
                <a:gd name="connsiteY83" fmla="*/ 7302 h 9638"/>
                <a:gd name="connsiteX84" fmla="*/ 4794 w 10000"/>
                <a:gd name="connsiteY84" fmla="*/ 7283 h 9638"/>
                <a:gd name="connsiteX85" fmla="*/ 5194 w 10000"/>
                <a:gd name="connsiteY85" fmla="*/ 7271 h 9638"/>
                <a:gd name="connsiteX86" fmla="*/ 5415 w 10000"/>
                <a:gd name="connsiteY86" fmla="*/ 7308 h 9638"/>
                <a:gd name="connsiteX87" fmla="*/ 5542 w 10000"/>
                <a:gd name="connsiteY87" fmla="*/ 7283 h 9638"/>
                <a:gd name="connsiteX88" fmla="*/ 5589 w 10000"/>
                <a:gd name="connsiteY88" fmla="*/ 7220 h 9638"/>
                <a:gd name="connsiteX89" fmla="*/ 5819 w 10000"/>
                <a:gd name="connsiteY89" fmla="*/ 7220 h 9638"/>
                <a:gd name="connsiteX90" fmla="*/ 6131 w 10000"/>
                <a:gd name="connsiteY90" fmla="*/ 7093 h 9638"/>
                <a:gd name="connsiteX91" fmla="*/ 6142 w 10000"/>
                <a:gd name="connsiteY91" fmla="*/ 7009 h 9638"/>
                <a:gd name="connsiteX92" fmla="*/ 6274 w 10000"/>
                <a:gd name="connsiteY92" fmla="*/ 7028 h 9638"/>
                <a:gd name="connsiteX93" fmla="*/ 6268 w 10000"/>
                <a:gd name="connsiteY93" fmla="*/ 7113 h 9638"/>
                <a:gd name="connsiteX94" fmla="*/ 6478 w 10000"/>
                <a:gd name="connsiteY94" fmla="*/ 7107 h 9638"/>
                <a:gd name="connsiteX95" fmla="*/ 6616 w 10000"/>
                <a:gd name="connsiteY95" fmla="*/ 7019 h 9638"/>
                <a:gd name="connsiteX96" fmla="*/ 6872 w 10000"/>
                <a:gd name="connsiteY96" fmla="*/ 6940 h 9638"/>
                <a:gd name="connsiteX97" fmla="*/ 6832 w 10000"/>
                <a:gd name="connsiteY97" fmla="*/ 6850 h 9638"/>
                <a:gd name="connsiteX98" fmla="*/ 6908 w 10000"/>
                <a:gd name="connsiteY98" fmla="*/ 6885 h 9638"/>
                <a:gd name="connsiteX99" fmla="*/ 7025 w 10000"/>
                <a:gd name="connsiteY99" fmla="*/ 6885 h 9638"/>
                <a:gd name="connsiteX100" fmla="*/ 7025 w 10000"/>
                <a:gd name="connsiteY100" fmla="*/ 6844 h 9638"/>
                <a:gd name="connsiteX101" fmla="*/ 7134 w 10000"/>
                <a:gd name="connsiteY101" fmla="*/ 6812 h 9638"/>
                <a:gd name="connsiteX102" fmla="*/ 7119 w 10000"/>
                <a:gd name="connsiteY102" fmla="*/ 6779 h 9638"/>
                <a:gd name="connsiteX103" fmla="*/ 6198 w 10000"/>
                <a:gd name="connsiteY103" fmla="*/ 6846 h 9638"/>
                <a:gd name="connsiteX104" fmla="*/ 5983 w 10000"/>
                <a:gd name="connsiteY104" fmla="*/ 6826 h 9638"/>
                <a:gd name="connsiteX105" fmla="*/ 5895 w 10000"/>
                <a:gd name="connsiteY105" fmla="*/ 6850 h 9638"/>
                <a:gd name="connsiteX106" fmla="*/ 5866 w 10000"/>
                <a:gd name="connsiteY106" fmla="*/ 6804 h 9638"/>
                <a:gd name="connsiteX107" fmla="*/ 5764 w 10000"/>
                <a:gd name="connsiteY107" fmla="*/ 6763 h 9638"/>
                <a:gd name="connsiteX108" fmla="*/ 5354 w 10000"/>
                <a:gd name="connsiteY108" fmla="*/ 6682 h 9638"/>
                <a:gd name="connsiteX109" fmla="*/ 5112 w 10000"/>
                <a:gd name="connsiteY109" fmla="*/ 6695 h 9638"/>
                <a:gd name="connsiteX110" fmla="*/ 5016 w 10000"/>
                <a:gd name="connsiteY110" fmla="*/ 6672 h 9638"/>
                <a:gd name="connsiteX111" fmla="*/ 5118 w 10000"/>
                <a:gd name="connsiteY111" fmla="*/ 6652 h 9638"/>
                <a:gd name="connsiteX112" fmla="*/ 5194 w 10000"/>
                <a:gd name="connsiteY112" fmla="*/ 6609 h 9638"/>
                <a:gd name="connsiteX113" fmla="*/ 5309 w 10000"/>
                <a:gd name="connsiteY113" fmla="*/ 6623 h 9638"/>
                <a:gd name="connsiteX114" fmla="*/ 5445 w 10000"/>
                <a:gd name="connsiteY114" fmla="*/ 6611 h 9638"/>
                <a:gd name="connsiteX115" fmla="*/ 5650 w 10000"/>
                <a:gd name="connsiteY115" fmla="*/ 6625 h 9638"/>
                <a:gd name="connsiteX116" fmla="*/ 5675 w 10000"/>
                <a:gd name="connsiteY116" fmla="*/ 6619 h 9638"/>
                <a:gd name="connsiteX117" fmla="*/ 5834 w 10000"/>
                <a:gd name="connsiteY117" fmla="*/ 6686 h 9638"/>
                <a:gd name="connsiteX118" fmla="*/ 5951 w 10000"/>
                <a:gd name="connsiteY118" fmla="*/ 6662 h 9638"/>
                <a:gd name="connsiteX119" fmla="*/ 5961 w 10000"/>
                <a:gd name="connsiteY119" fmla="*/ 6640 h 9638"/>
                <a:gd name="connsiteX120" fmla="*/ 6069 w 10000"/>
                <a:gd name="connsiteY120" fmla="*/ 6678 h 9638"/>
                <a:gd name="connsiteX121" fmla="*/ 6212 w 10000"/>
                <a:gd name="connsiteY121" fmla="*/ 6699 h 9638"/>
                <a:gd name="connsiteX122" fmla="*/ 6268 w 10000"/>
                <a:gd name="connsiteY122" fmla="*/ 6660 h 9638"/>
                <a:gd name="connsiteX123" fmla="*/ 6314 w 10000"/>
                <a:gd name="connsiteY123" fmla="*/ 6682 h 9638"/>
                <a:gd name="connsiteX124" fmla="*/ 6381 w 10000"/>
                <a:gd name="connsiteY124" fmla="*/ 6757 h 9638"/>
                <a:gd name="connsiteX125" fmla="*/ 6519 w 10000"/>
                <a:gd name="connsiteY125" fmla="*/ 6775 h 9638"/>
                <a:gd name="connsiteX126" fmla="*/ 7082 w 10000"/>
                <a:gd name="connsiteY126" fmla="*/ 6664 h 9638"/>
                <a:gd name="connsiteX127" fmla="*/ 7359 w 10000"/>
                <a:gd name="connsiteY127" fmla="*/ 6509 h 9638"/>
                <a:gd name="connsiteX128" fmla="*/ 7423 w 10000"/>
                <a:gd name="connsiteY128" fmla="*/ 6395 h 9638"/>
                <a:gd name="connsiteX129" fmla="*/ 7323 w 10000"/>
                <a:gd name="connsiteY129" fmla="*/ 6292 h 9638"/>
                <a:gd name="connsiteX130" fmla="*/ 7113 w 10000"/>
                <a:gd name="connsiteY130" fmla="*/ 6231 h 9638"/>
                <a:gd name="connsiteX131" fmla="*/ 6963 w 10000"/>
                <a:gd name="connsiteY131" fmla="*/ 6131 h 9638"/>
                <a:gd name="connsiteX132" fmla="*/ 7102 w 10000"/>
                <a:gd name="connsiteY132" fmla="*/ 6127 h 9638"/>
                <a:gd name="connsiteX133" fmla="*/ 7093 w 10000"/>
                <a:gd name="connsiteY133" fmla="*/ 6103 h 9638"/>
                <a:gd name="connsiteX134" fmla="*/ 6731 w 10000"/>
                <a:gd name="connsiteY134" fmla="*/ 6032 h 9638"/>
                <a:gd name="connsiteX135" fmla="*/ 6716 w 10000"/>
                <a:gd name="connsiteY135" fmla="*/ 5967 h 9638"/>
                <a:gd name="connsiteX136" fmla="*/ 6646 w 10000"/>
                <a:gd name="connsiteY136" fmla="*/ 5900 h 9638"/>
                <a:gd name="connsiteX137" fmla="*/ 6360 w 10000"/>
                <a:gd name="connsiteY137" fmla="*/ 5912 h 9638"/>
                <a:gd name="connsiteX138" fmla="*/ 6258 w 10000"/>
                <a:gd name="connsiteY138" fmla="*/ 5841 h 9638"/>
                <a:gd name="connsiteX139" fmla="*/ 6198 w 10000"/>
                <a:gd name="connsiteY139" fmla="*/ 5837 h 9638"/>
                <a:gd name="connsiteX140" fmla="*/ 6198 w 10000"/>
                <a:gd name="connsiteY140" fmla="*/ 5866 h 9638"/>
                <a:gd name="connsiteX141" fmla="*/ 6069 w 10000"/>
                <a:gd name="connsiteY141" fmla="*/ 5987 h 9638"/>
                <a:gd name="connsiteX142" fmla="*/ 5930 w 10000"/>
                <a:gd name="connsiteY142" fmla="*/ 6058 h 9638"/>
                <a:gd name="connsiteX143" fmla="*/ 5495 w 10000"/>
                <a:gd name="connsiteY143" fmla="*/ 6180 h 9638"/>
                <a:gd name="connsiteX144" fmla="*/ 5342 w 10000"/>
                <a:gd name="connsiteY144" fmla="*/ 6176 h 9638"/>
                <a:gd name="connsiteX145" fmla="*/ 5133 w 10000"/>
                <a:gd name="connsiteY145" fmla="*/ 6194 h 9638"/>
                <a:gd name="connsiteX146" fmla="*/ 5016 w 10000"/>
                <a:gd name="connsiteY146" fmla="*/ 6176 h 9638"/>
                <a:gd name="connsiteX147" fmla="*/ 5169 w 10000"/>
                <a:gd name="connsiteY147" fmla="*/ 6142 h 9638"/>
                <a:gd name="connsiteX148" fmla="*/ 5369 w 10000"/>
                <a:gd name="connsiteY148" fmla="*/ 6127 h 9638"/>
                <a:gd name="connsiteX149" fmla="*/ 5534 w 10000"/>
                <a:gd name="connsiteY149" fmla="*/ 6070 h 9638"/>
                <a:gd name="connsiteX150" fmla="*/ 5695 w 10000"/>
                <a:gd name="connsiteY150" fmla="*/ 6044 h 9638"/>
                <a:gd name="connsiteX151" fmla="*/ 5998 w 10000"/>
                <a:gd name="connsiteY151" fmla="*/ 5945 h 9638"/>
                <a:gd name="connsiteX152" fmla="*/ 6056 w 10000"/>
                <a:gd name="connsiteY152" fmla="*/ 5880 h 9638"/>
                <a:gd name="connsiteX153" fmla="*/ 6060 w 10000"/>
                <a:gd name="connsiteY153" fmla="*/ 5796 h 9638"/>
                <a:gd name="connsiteX154" fmla="*/ 5921 w 10000"/>
                <a:gd name="connsiteY154" fmla="*/ 5782 h 9638"/>
                <a:gd name="connsiteX155" fmla="*/ 5983 w 10000"/>
                <a:gd name="connsiteY155" fmla="*/ 5731 h 9638"/>
                <a:gd name="connsiteX156" fmla="*/ 6002 w 10000"/>
                <a:gd name="connsiteY156" fmla="*/ 5666 h 9638"/>
                <a:gd name="connsiteX157" fmla="*/ 5944 w 10000"/>
                <a:gd name="connsiteY157" fmla="*/ 5605 h 9638"/>
                <a:gd name="connsiteX158" fmla="*/ 5911 w 10000"/>
                <a:gd name="connsiteY158" fmla="*/ 5159 h 9638"/>
                <a:gd name="connsiteX159" fmla="*/ 5993 w 10000"/>
                <a:gd name="connsiteY159" fmla="*/ 5063 h 9638"/>
                <a:gd name="connsiteX160" fmla="*/ 5972 w 10000"/>
                <a:gd name="connsiteY160" fmla="*/ 5024 h 9638"/>
                <a:gd name="connsiteX161" fmla="*/ 6212 w 10000"/>
                <a:gd name="connsiteY161" fmla="*/ 5081 h 9638"/>
                <a:gd name="connsiteX162" fmla="*/ 6229 w 10000"/>
                <a:gd name="connsiteY162" fmla="*/ 5028 h 9638"/>
                <a:gd name="connsiteX163" fmla="*/ 6176 w 10000"/>
                <a:gd name="connsiteY163" fmla="*/ 4890 h 9638"/>
                <a:gd name="connsiteX164" fmla="*/ 6349 w 10000"/>
                <a:gd name="connsiteY164" fmla="*/ 4644 h 9638"/>
                <a:gd name="connsiteX165" fmla="*/ 6243 w 10000"/>
                <a:gd name="connsiteY165" fmla="*/ 4585 h 9638"/>
                <a:gd name="connsiteX166" fmla="*/ 6202 w 10000"/>
                <a:gd name="connsiteY166" fmla="*/ 4530 h 9638"/>
                <a:gd name="connsiteX167" fmla="*/ 6216 w 10000"/>
                <a:gd name="connsiteY167" fmla="*/ 4440 h 9638"/>
                <a:gd name="connsiteX168" fmla="*/ 6470 w 10000"/>
                <a:gd name="connsiteY168" fmla="*/ 4500 h 9638"/>
                <a:gd name="connsiteX169" fmla="*/ 6478 w 10000"/>
                <a:gd name="connsiteY169" fmla="*/ 4483 h 9638"/>
                <a:gd name="connsiteX170" fmla="*/ 6548 w 10000"/>
                <a:gd name="connsiteY170" fmla="*/ 4467 h 9638"/>
                <a:gd name="connsiteX171" fmla="*/ 6646 w 10000"/>
                <a:gd name="connsiteY171" fmla="*/ 4409 h 9638"/>
                <a:gd name="connsiteX172" fmla="*/ 6662 w 10000"/>
                <a:gd name="connsiteY172" fmla="*/ 4393 h 9638"/>
                <a:gd name="connsiteX173" fmla="*/ 6641 w 10000"/>
                <a:gd name="connsiteY173" fmla="*/ 4372 h 9638"/>
                <a:gd name="connsiteX174" fmla="*/ 6693 w 10000"/>
                <a:gd name="connsiteY174" fmla="*/ 4271 h 9638"/>
                <a:gd name="connsiteX175" fmla="*/ 6631 w 10000"/>
                <a:gd name="connsiteY175" fmla="*/ 4205 h 9638"/>
                <a:gd name="connsiteX176" fmla="*/ 6641 w 10000"/>
                <a:gd name="connsiteY176" fmla="*/ 4152 h 9638"/>
                <a:gd name="connsiteX177" fmla="*/ 6676 w 10000"/>
                <a:gd name="connsiteY177" fmla="*/ 4214 h 9638"/>
                <a:gd name="connsiteX178" fmla="*/ 6815 w 10000"/>
                <a:gd name="connsiteY178" fmla="*/ 4260 h 9638"/>
                <a:gd name="connsiteX179" fmla="*/ 6872 w 10000"/>
                <a:gd name="connsiteY179" fmla="*/ 4254 h 9638"/>
                <a:gd name="connsiteX180" fmla="*/ 6963 w 10000"/>
                <a:gd name="connsiteY180" fmla="*/ 4193 h 9638"/>
                <a:gd name="connsiteX181" fmla="*/ 7062 w 10000"/>
                <a:gd name="connsiteY181" fmla="*/ 4218 h 9638"/>
                <a:gd name="connsiteX182" fmla="*/ 7088 w 10000"/>
                <a:gd name="connsiteY182" fmla="*/ 4169 h 9638"/>
                <a:gd name="connsiteX183" fmla="*/ 7154 w 10000"/>
                <a:gd name="connsiteY183" fmla="*/ 4136 h 9638"/>
                <a:gd name="connsiteX184" fmla="*/ 6974 w 10000"/>
                <a:gd name="connsiteY184" fmla="*/ 4101 h 9638"/>
                <a:gd name="connsiteX185" fmla="*/ 7102 w 10000"/>
                <a:gd name="connsiteY185" fmla="*/ 4108 h 9638"/>
                <a:gd name="connsiteX186" fmla="*/ 7234 w 10000"/>
                <a:gd name="connsiteY186" fmla="*/ 4071 h 9638"/>
                <a:gd name="connsiteX187" fmla="*/ 7229 w 10000"/>
                <a:gd name="connsiteY187" fmla="*/ 4045 h 9638"/>
                <a:gd name="connsiteX188" fmla="*/ 7353 w 10000"/>
                <a:gd name="connsiteY188" fmla="*/ 4021 h 9638"/>
                <a:gd name="connsiteX189" fmla="*/ 7364 w 10000"/>
                <a:gd name="connsiteY189" fmla="*/ 3960 h 9638"/>
                <a:gd name="connsiteX190" fmla="*/ 7461 w 10000"/>
                <a:gd name="connsiteY190" fmla="*/ 3948 h 9638"/>
                <a:gd name="connsiteX191" fmla="*/ 7469 w 10000"/>
                <a:gd name="connsiteY191" fmla="*/ 3876 h 9638"/>
                <a:gd name="connsiteX192" fmla="*/ 7572 w 10000"/>
                <a:gd name="connsiteY192" fmla="*/ 3868 h 9638"/>
                <a:gd name="connsiteX193" fmla="*/ 7730 w 10000"/>
                <a:gd name="connsiteY193" fmla="*/ 3883 h 9638"/>
                <a:gd name="connsiteX194" fmla="*/ 7904 w 10000"/>
                <a:gd name="connsiteY194" fmla="*/ 3825 h 9638"/>
                <a:gd name="connsiteX195" fmla="*/ 7966 w 10000"/>
                <a:gd name="connsiteY195" fmla="*/ 3760 h 9638"/>
                <a:gd name="connsiteX196" fmla="*/ 8181 w 10000"/>
                <a:gd name="connsiteY196" fmla="*/ 3693 h 9638"/>
                <a:gd name="connsiteX197" fmla="*/ 8288 w 10000"/>
                <a:gd name="connsiteY197" fmla="*/ 3734 h 9638"/>
                <a:gd name="connsiteX198" fmla="*/ 8452 w 10000"/>
                <a:gd name="connsiteY198" fmla="*/ 3689 h 9638"/>
                <a:gd name="connsiteX199" fmla="*/ 8491 w 10000"/>
                <a:gd name="connsiteY199" fmla="*/ 3631 h 9638"/>
                <a:gd name="connsiteX200" fmla="*/ 8616 w 10000"/>
                <a:gd name="connsiteY200" fmla="*/ 3592 h 9638"/>
                <a:gd name="connsiteX201" fmla="*/ 8722 w 10000"/>
                <a:gd name="connsiteY201" fmla="*/ 3609 h 9638"/>
                <a:gd name="connsiteX202" fmla="*/ 8789 w 10000"/>
                <a:gd name="connsiteY202" fmla="*/ 3580 h 9638"/>
                <a:gd name="connsiteX203" fmla="*/ 8973 w 10000"/>
                <a:gd name="connsiteY203" fmla="*/ 3539 h 9638"/>
                <a:gd name="connsiteX204" fmla="*/ 9049 w 10000"/>
                <a:gd name="connsiteY204" fmla="*/ 3486 h 9638"/>
                <a:gd name="connsiteX205" fmla="*/ 9153 w 10000"/>
                <a:gd name="connsiteY205" fmla="*/ 3464 h 9638"/>
                <a:gd name="connsiteX206" fmla="*/ 9720 w 10000"/>
                <a:gd name="connsiteY206" fmla="*/ 3143 h 9638"/>
                <a:gd name="connsiteX207" fmla="*/ 9971 w 10000"/>
                <a:gd name="connsiteY207" fmla="*/ 2 h 9638"/>
                <a:gd name="connsiteX208" fmla="*/ 7537 w 10000"/>
                <a:gd name="connsiteY208" fmla="*/ 0 h 9638"/>
                <a:gd name="connsiteX209" fmla="*/ 7423 w 10000"/>
                <a:gd name="connsiteY209" fmla="*/ 8 h 9638"/>
                <a:gd name="connsiteX210" fmla="*/ 7359 w 10000"/>
                <a:gd name="connsiteY210" fmla="*/ 27 h 9638"/>
                <a:gd name="connsiteX211" fmla="*/ 7290 w 10000"/>
                <a:gd name="connsiteY211" fmla="*/ 75 h 9638"/>
                <a:gd name="connsiteX212" fmla="*/ 7302 w 10000"/>
                <a:gd name="connsiteY212" fmla="*/ 194 h 9638"/>
                <a:gd name="connsiteX213" fmla="*/ 7199 w 10000"/>
                <a:gd name="connsiteY213" fmla="*/ 349 h 9638"/>
                <a:gd name="connsiteX214" fmla="*/ 7072 w 10000"/>
                <a:gd name="connsiteY214" fmla="*/ 429 h 9638"/>
                <a:gd name="connsiteX215" fmla="*/ 7021 w 10000"/>
                <a:gd name="connsiteY215" fmla="*/ 419 h 9638"/>
                <a:gd name="connsiteX216" fmla="*/ 6903 w 10000"/>
                <a:gd name="connsiteY216" fmla="*/ 353 h 9638"/>
                <a:gd name="connsiteX217" fmla="*/ 6756 w 10000"/>
                <a:gd name="connsiteY217" fmla="*/ 319 h 9638"/>
                <a:gd name="connsiteX218" fmla="*/ 6594 w 10000"/>
                <a:gd name="connsiteY218" fmla="*/ 329 h 9638"/>
                <a:gd name="connsiteX219" fmla="*/ 6223 w 10000"/>
                <a:gd name="connsiteY219" fmla="*/ 480 h 9638"/>
                <a:gd name="connsiteX220" fmla="*/ 6125 w 10000"/>
                <a:gd name="connsiteY220" fmla="*/ 632 h 9638"/>
                <a:gd name="connsiteX221" fmla="*/ 5845 w 10000"/>
                <a:gd name="connsiteY221" fmla="*/ 768 h 9638"/>
                <a:gd name="connsiteX222" fmla="*/ 5794 w 10000"/>
                <a:gd name="connsiteY222" fmla="*/ 837 h 9638"/>
                <a:gd name="connsiteX223" fmla="*/ 5940 w 10000"/>
                <a:gd name="connsiteY223" fmla="*/ 959 h 9638"/>
                <a:gd name="connsiteX224" fmla="*/ 5956 w 10000"/>
                <a:gd name="connsiteY224" fmla="*/ 1028 h 9638"/>
                <a:gd name="connsiteX225" fmla="*/ 5190 w 10000"/>
                <a:gd name="connsiteY225" fmla="*/ 1430 h 9638"/>
                <a:gd name="connsiteX226" fmla="*/ 4955 w 10000"/>
                <a:gd name="connsiteY226" fmla="*/ 1687 h 9638"/>
                <a:gd name="connsiteX227" fmla="*/ 4702 w 10000"/>
                <a:gd name="connsiteY227" fmla="*/ 1752 h 9638"/>
                <a:gd name="connsiteX228" fmla="*/ 4540 w 10000"/>
                <a:gd name="connsiteY228" fmla="*/ 1748 h 9638"/>
                <a:gd name="connsiteX229" fmla="*/ 4443 w 10000"/>
                <a:gd name="connsiteY229" fmla="*/ 1771 h 9638"/>
                <a:gd name="connsiteX230" fmla="*/ 4178 w 10000"/>
                <a:gd name="connsiteY230" fmla="*/ 2412 h 9638"/>
                <a:gd name="connsiteX231" fmla="*/ 3565 w 10000"/>
                <a:gd name="connsiteY231" fmla="*/ 2786 h 9638"/>
                <a:gd name="connsiteX232" fmla="*/ 3569 w 10000"/>
                <a:gd name="connsiteY232" fmla="*/ 2845 h 9638"/>
                <a:gd name="connsiteX233" fmla="*/ 3841 w 10000"/>
                <a:gd name="connsiteY233" fmla="*/ 3013 h 9638"/>
                <a:gd name="connsiteX234" fmla="*/ 3753 w 10000"/>
                <a:gd name="connsiteY234" fmla="*/ 3194 h 9638"/>
                <a:gd name="connsiteX235" fmla="*/ 3594 w 10000"/>
                <a:gd name="connsiteY235" fmla="*/ 3261 h 9638"/>
                <a:gd name="connsiteX236" fmla="*/ 3118 w 10000"/>
                <a:gd name="connsiteY236" fmla="*/ 3216 h 9638"/>
                <a:gd name="connsiteX237" fmla="*/ 2791 w 10000"/>
                <a:gd name="connsiteY237" fmla="*/ 3241 h 9638"/>
                <a:gd name="connsiteX238" fmla="*/ 2528 w 10000"/>
                <a:gd name="connsiteY238" fmla="*/ 3295 h 9638"/>
                <a:gd name="connsiteX239" fmla="*/ 2102 w 10000"/>
                <a:gd name="connsiteY239" fmla="*/ 3462 h 9638"/>
                <a:gd name="connsiteX240" fmla="*/ 1877 w 10000"/>
                <a:gd name="connsiteY240" fmla="*/ 3664 h 9638"/>
                <a:gd name="connsiteX241" fmla="*/ 1896 w 10000"/>
                <a:gd name="connsiteY241" fmla="*/ 3777 h 9638"/>
                <a:gd name="connsiteX242" fmla="*/ 1975 w 10000"/>
                <a:gd name="connsiteY242" fmla="*/ 3864 h 9638"/>
                <a:gd name="connsiteX243" fmla="*/ 2034 w 10000"/>
                <a:gd name="connsiteY243" fmla="*/ 3899 h 9638"/>
                <a:gd name="connsiteX244" fmla="*/ 1924 w 10000"/>
                <a:gd name="connsiteY244" fmla="*/ 3954 h 9638"/>
                <a:gd name="connsiteX245" fmla="*/ 1683 w 10000"/>
                <a:gd name="connsiteY245" fmla="*/ 4334 h 9638"/>
                <a:gd name="connsiteX246" fmla="*/ 1729 w 10000"/>
                <a:gd name="connsiteY246" fmla="*/ 4356 h 9638"/>
                <a:gd name="connsiteX247" fmla="*/ 1764 w 10000"/>
                <a:gd name="connsiteY247" fmla="*/ 4453 h 9638"/>
                <a:gd name="connsiteX248" fmla="*/ 1652 w 10000"/>
                <a:gd name="connsiteY248" fmla="*/ 4853 h 9638"/>
                <a:gd name="connsiteX249" fmla="*/ 1764 w 10000"/>
                <a:gd name="connsiteY249" fmla="*/ 4955 h 9638"/>
                <a:gd name="connsiteX250" fmla="*/ 2071 w 10000"/>
                <a:gd name="connsiteY250" fmla="*/ 5067 h 9638"/>
                <a:gd name="connsiteX251" fmla="*/ 2085 w 10000"/>
                <a:gd name="connsiteY251" fmla="*/ 5204 h 9638"/>
                <a:gd name="connsiteX252" fmla="*/ 1954 w 10000"/>
                <a:gd name="connsiteY252" fmla="*/ 5317 h 9638"/>
                <a:gd name="connsiteX253" fmla="*/ 1764 w 10000"/>
                <a:gd name="connsiteY253" fmla="*/ 5386 h 9638"/>
                <a:gd name="connsiteX254" fmla="*/ 1513 w 10000"/>
                <a:gd name="connsiteY254" fmla="*/ 5414 h 9638"/>
                <a:gd name="connsiteX255" fmla="*/ 1448 w 10000"/>
                <a:gd name="connsiteY255" fmla="*/ 5453 h 9638"/>
                <a:gd name="connsiteX256" fmla="*/ 1594 w 10000"/>
                <a:gd name="connsiteY256" fmla="*/ 5547 h 9638"/>
                <a:gd name="connsiteX257" fmla="*/ 1678 w 10000"/>
                <a:gd name="connsiteY257" fmla="*/ 5770 h 9638"/>
                <a:gd name="connsiteX258" fmla="*/ 1488 w 10000"/>
                <a:gd name="connsiteY258" fmla="*/ 5961 h 9638"/>
                <a:gd name="connsiteX259" fmla="*/ 1554 w 10000"/>
                <a:gd name="connsiteY259" fmla="*/ 6021 h 9638"/>
                <a:gd name="connsiteX260" fmla="*/ 1494 w 10000"/>
                <a:gd name="connsiteY260" fmla="*/ 6121 h 9638"/>
                <a:gd name="connsiteX261" fmla="*/ 1372 w 10000"/>
                <a:gd name="connsiteY261" fmla="*/ 6190 h 9638"/>
                <a:gd name="connsiteX262" fmla="*/ 889 w 10000"/>
                <a:gd name="connsiteY262" fmla="*/ 6243 h 9638"/>
                <a:gd name="connsiteX263" fmla="*/ 860 w 10000"/>
                <a:gd name="connsiteY263" fmla="*/ 6335 h 9638"/>
                <a:gd name="connsiteX264" fmla="*/ 600 w 10000"/>
                <a:gd name="connsiteY264" fmla="*/ 6473 h 9638"/>
                <a:gd name="connsiteX265" fmla="*/ 634 w 10000"/>
                <a:gd name="connsiteY265" fmla="*/ 6670 h 9638"/>
                <a:gd name="connsiteX266" fmla="*/ 415 w 10000"/>
                <a:gd name="connsiteY266" fmla="*/ 6924 h 9638"/>
                <a:gd name="connsiteX267" fmla="*/ 266 w 10000"/>
                <a:gd name="connsiteY267" fmla="*/ 6954 h 9638"/>
                <a:gd name="connsiteX268" fmla="*/ 204 w 10000"/>
                <a:gd name="connsiteY268" fmla="*/ 6893 h 9638"/>
                <a:gd name="connsiteX269" fmla="*/ 128 w 10000"/>
                <a:gd name="connsiteY269" fmla="*/ 6985 h 9638"/>
                <a:gd name="connsiteX270" fmla="*/ 178 w 10000"/>
                <a:gd name="connsiteY270" fmla="*/ 6828 h 9638"/>
                <a:gd name="connsiteX271" fmla="*/ 147 w 10000"/>
                <a:gd name="connsiteY271" fmla="*/ 6797 h 9638"/>
                <a:gd name="connsiteX0" fmla="*/ 147 w 9720"/>
                <a:gd name="connsiteY0" fmla="*/ 7052 h 10000"/>
                <a:gd name="connsiteX1" fmla="*/ 0 w 9720"/>
                <a:gd name="connsiteY1" fmla="*/ 7137 h 10000"/>
                <a:gd name="connsiteX2" fmla="*/ 0 w 9720"/>
                <a:gd name="connsiteY2" fmla="*/ 7557 h 10000"/>
                <a:gd name="connsiteX3" fmla="*/ 81 w 9720"/>
                <a:gd name="connsiteY3" fmla="*/ 7569 h 10000"/>
                <a:gd name="connsiteX4" fmla="*/ 100 w 9720"/>
                <a:gd name="connsiteY4" fmla="*/ 7601 h 10000"/>
                <a:gd name="connsiteX5" fmla="*/ 96 w 9720"/>
                <a:gd name="connsiteY5" fmla="*/ 7658 h 10000"/>
                <a:gd name="connsiteX6" fmla="*/ 66 w 9720"/>
                <a:gd name="connsiteY6" fmla="*/ 7683 h 10000"/>
                <a:gd name="connsiteX7" fmla="*/ 190 w 9720"/>
                <a:gd name="connsiteY7" fmla="*/ 7635 h 10000"/>
                <a:gd name="connsiteX8" fmla="*/ 242 w 9720"/>
                <a:gd name="connsiteY8" fmla="*/ 7587 h 10000"/>
                <a:gd name="connsiteX9" fmla="*/ 306 w 9720"/>
                <a:gd name="connsiteY9" fmla="*/ 7620 h 10000"/>
                <a:gd name="connsiteX10" fmla="*/ 235 w 9720"/>
                <a:gd name="connsiteY10" fmla="*/ 7688 h 10000"/>
                <a:gd name="connsiteX11" fmla="*/ 311 w 9720"/>
                <a:gd name="connsiteY11" fmla="*/ 7690 h 10000"/>
                <a:gd name="connsiteX12" fmla="*/ 348 w 9720"/>
                <a:gd name="connsiteY12" fmla="*/ 7707 h 10000"/>
                <a:gd name="connsiteX13" fmla="*/ 250 w 9720"/>
                <a:gd name="connsiteY13" fmla="*/ 7730 h 10000"/>
                <a:gd name="connsiteX14" fmla="*/ 96 w 9720"/>
                <a:gd name="connsiteY14" fmla="*/ 7800 h 10000"/>
                <a:gd name="connsiteX15" fmla="*/ 370 w 9720"/>
                <a:gd name="connsiteY15" fmla="*/ 7855 h 10000"/>
                <a:gd name="connsiteX16" fmla="*/ 404 w 9720"/>
                <a:gd name="connsiteY16" fmla="*/ 7934 h 10000"/>
                <a:gd name="connsiteX17" fmla="*/ 311 w 9720"/>
                <a:gd name="connsiteY17" fmla="*/ 8050 h 10000"/>
                <a:gd name="connsiteX18" fmla="*/ 511 w 9720"/>
                <a:gd name="connsiteY18" fmla="*/ 8042 h 10000"/>
                <a:gd name="connsiteX19" fmla="*/ 526 w 9720"/>
                <a:gd name="connsiteY19" fmla="*/ 8130 h 10000"/>
                <a:gd name="connsiteX20" fmla="*/ 393 w 9720"/>
                <a:gd name="connsiteY20" fmla="*/ 8189 h 10000"/>
                <a:gd name="connsiteX21" fmla="*/ 415 w 9720"/>
                <a:gd name="connsiteY21" fmla="*/ 8305 h 10000"/>
                <a:gd name="connsiteX22" fmla="*/ 364 w 9720"/>
                <a:gd name="connsiteY22" fmla="*/ 8394 h 10000"/>
                <a:gd name="connsiteX23" fmla="*/ 521 w 9720"/>
                <a:gd name="connsiteY23" fmla="*/ 8402 h 10000"/>
                <a:gd name="connsiteX24" fmla="*/ 676 w 9720"/>
                <a:gd name="connsiteY24" fmla="*/ 8744 h 10000"/>
                <a:gd name="connsiteX25" fmla="*/ 853 w 9720"/>
                <a:gd name="connsiteY25" fmla="*/ 8831 h 10000"/>
                <a:gd name="connsiteX26" fmla="*/ 931 w 9720"/>
                <a:gd name="connsiteY26" fmla="*/ 8923 h 10000"/>
                <a:gd name="connsiteX27" fmla="*/ 1125 w 9720"/>
                <a:gd name="connsiteY27" fmla="*/ 8990 h 10000"/>
                <a:gd name="connsiteX28" fmla="*/ 1249 w 9720"/>
                <a:gd name="connsiteY28" fmla="*/ 9077 h 10000"/>
                <a:gd name="connsiteX29" fmla="*/ 1233 w 9720"/>
                <a:gd name="connsiteY29" fmla="*/ 9138 h 10000"/>
                <a:gd name="connsiteX30" fmla="*/ 1110 w 9720"/>
                <a:gd name="connsiteY30" fmla="*/ 9161 h 10000"/>
                <a:gd name="connsiteX31" fmla="*/ 976 w 9720"/>
                <a:gd name="connsiteY31" fmla="*/ 9146 h 10000"/>
                <a:gd name="connsiteX32" fmla="*/ 935 w 9720"/>
                <a:gd name="connsiteY32" fmla="*/ 9172 h 10000"/>
                <a:gd name="connsiteX33" fmla="*/ 1037 w 9720"/>
                <a:gd name="connsiteY33" fmla="*/ 9305 h 10000"/>
                <a:gd name="connsiteX34" fmla="*/ 894 w 9720"/>
                <a:gd name="connsiteY34" fmla="*/ 9294 h 10000"/>
                <a:gd name="connsiteX35" fmla="*/ 773 w 9720"/>
                <a:gd name="connsiteY35" fmla="*/ 9262 h 10000"/>
                <a:gd name="connsiteX36" fmla="*/ 750 w 9720"/>
                <a:gd name="connsiteY36" fmla="*/ 9311 h 10000"/>
                <a:gd name="connsiteX37" fmla="*/ 1155 w 9720"/>
                <a:gd name="connsiteY37" fmla="*/ 9767 h 10000"/>
                <a:gd name="connsiteX38" fmla="*/ 1091 w 9720"/>
                <a:gd name="connsiteY38" fmla="*/ 9810 h 10000"/>
                <a:gd name="connsiteX39" fmla="*/ 1045 w 9720"/>
                <a:gd name="connsiteY39" fmla="*/ 9898 h 10000"/>
                <a:gd name="connsiteX40" fmla="*/ 987 w 9720"/>
                <a:gd name="connsiteY40" fmla="*/ 9905 h 10000"/>
                <a:gd name="connsiteX41" fmla="*/ 951 w 9720"/>
                <a:gd name="connsiteY41" fmla="*/ 9943 h 10000"/>
                <a:gd name="connsiteX42" fmla="*/ 1195 w 9720"/>
                <a:gd name="connsiteY42" fmla="*/ 9947 h 10000"/>
                <a:gd name="connsiteX43" fmla="*/ 1410 w 9720"/>
                <a:gd name="connsiteY43" fmla="*/ 9985 h 10000"/>
                <a:gd name="connsiteX44" fmla="*/ 1769 w 9720"/>
                <a:gd name="connsiteY44" fmla="*/ 9945 h 10000"/>
                <a:gd name="connsiteX45" fmla="*/ 2091 w 9720"/>
                <a:gd name="connsiteY45" fmla="*/ 9951 h 10000"/>
                <a:gd name="connsiteX46" fmla="*/ 2280 w 9720"/>
                <a:gd name="connsiteY46" fmla="*/ 10000 h 10000"/>
                <a:gd name="connsiteX47" fmla="*/ 2385 w 9720"/>
                <a:gd name="connsiteY47" fmla="*/ 9968 h 10000"/>
                <a:gd name="connsiteX48" fmla="*/ 2485 w 9720"/>
                <a:gd name="connsiteY48" fmla="*/ 9863 h 10000"/>
                <a:gd name="connsiteX49" fmla="*/ 2459 w 9720"/>
                <a:gd name="connsiteY49" fmla="*/ 9691 h 10000"/>
                <a:gd name="connsiteX50" fmla="*/ 2704 w 9720"/>
                <a:gd name="connsiteY50" fmla="*/ 9498 h 10000"/>
                <a:gd name="connsiteX51" fmla="*/ 2883 w 9720"/>
                <a:gd name="connsiteY51" fmla="*/ 9528 h 10000"/>
                <a:gd name="connsiteX52" fmla="*/ 2987 w 9720"/>
                <a:gd name="connsiteY52" fmla="*/ 9451 h 10000"/>
                <a:gd name="connsiteX53" fmla="*/ 3186 w 9720"/>
                <a:gd name="connsiteY53" fmla="*/ 9408 h 10000"/>
                <a:gd name="connsiteX54" fmla="*/ 3457 w 9720"/>
                <a:gd name="connsiteY54" fmla="*/ 9418 h 10000"/>
                <a:gd name="connsiteX55" fmla="*/ 3620 w 9720"/>
                <a:gd name="connsiteY55" fmla="*/ 9449 h 10000"/>
                <a:gd name="connsiteX56" fmla="*/ 3837 w 9720"/>
                <a:gd name="connsiteY56" fmla="*/ 9435 h 10000"/>
                <a:gd name="connsiteX57" fmla="*/ 4056 w 9720"/>
                <a:gd name="connsiteY57" fmla="*/ 9469 h 10000"/>
                <a:gd name="connsiteX58" fmla="*/ 4275 w 9720"/>
                <a:gd name="connsiteY58" fmla="*/ 9473 h 10000"/>
                <a:gd name="connsiteX59" fmla="*/ 4765 w 9720"/>
                <a:gd name="connsiteY59" fmla="*/ 9024 h 10000"/>
                <a:gd name="connsiteX60" fmla="*/ 4889 w 9720"/>
                <a:gd name="connsiteY60" fmla="*/ 8659 h 10000"/>
                <a:gd name="connsiteX61" fmla="*/ 5088 w 9720"/>
                <a:gd name="connsiteY61" fmla="*/ 8496 h 10000"/>
                <a:gd name="connsiteX62" fmla="*/ 5088 w 9720"/>
                <a:gd name="connsiteY62" fmla="*/ 8410 h 10000"/>
                <a:gd name="connsiteX63" fmla="*/ 5016 w 9720"/>
                <a:gd name="connsiteY63" fmla="*/ 8362 h 10000"/>
                <a:gd name="connsiteX64" fmla="*/ 5133 w 9720"/>
                <a:gd name="connsiteY64" fmla="*/ 8286 h 10000"/>
                <a:gd name="connsiteX65" fmla="*/ 5112 w 9720"/>
                <a:gd name="connsiteY65" fmla="*/ 8221 h 10000"/>
                <a:gd name="connsiteX66" fmla="*/ 5032 w 9720"/>
                <a:gd name="connsiteY66" fmla="*/ 8165 h 10000"/>
                <a:gd name="connsiteX67" fmla="*/ 5016 w 9720"/>
                <a:gd name="connsiteY67" fmla="*/ 8126 h 10000"/>
                <a:gd name="connsiteX68" fmla="*/ 5036 w 9720"/>
                <a:gd name="connsiteY68" fmla="*/ 8095 h 10000"/>
                <a:gd name="connsiteX69" fmla="*/ 5144 w 9720"/>
                <a:gd name="connsiteY69" fmla="*/ 8120 h 10000"/>
                <a:gd name="connsiteX70" fmla="*/ 5230 w 9720"/>
                <a:gd name="connsiteY70" fmla="*/ 8118 h 10000"/>
                <a:gd name="connsiteX71" fmla="*/ 5184 w 9720"/>
                <a:gd name="connsiteY71" fmla="*/ 8065 h 10000"/>
                <a:gd name="connsiteX72" fmla="*/ 5198 w 9720"/>
                <a:gd name="connsiteY72" fmla="*/ 8036 h 10000"/>
                <a:gd name="connsiteX73" fmla="*/ 5262 w 9720"/>
                <a:gd name="connsiteY73" fmla="*/ 7991 h 10000"/>
                <a:gd name="connsiteX74" fmla="*/ 5250 w 9720"/>
                <a:gd name="connsiteY74" fmla="*/ 7955 h 10000"/>
                <a:gd name="connsiteX75" fmla="*/ 5309 w 9720"/>
                <a:gd name="connsiteY75" fmla="*/ 7833 h 10000"/>
                <a:gd name="connsiteX76" fmla="*/ 5293 w 9720"/>
                <a:gd name="connsiteY76" fmla="*/ 7795 h 10000"/>
                <a:gd name="connsiteX77" fmla="*/ 4996 w 9720"/>
                <a:gd name="connsiteY77" fmla="*/ 7703 h 10000"/>
                <a:gd name="connsiteX78" fmla="*/ 5036 w 9720"/>
                <a:gd name="connsiteY78" fmla="*/ 7699 h 10000"/>
                <a:gd name="connsiteX79" fmla="*/ 5194 w 9720"/>
                <a:gd name="connsiteY79" fmla="*/ 7724 h 10000"/>
                <a:gd name="connsiteX80" fmla="*/ 5365 w 9720"/>
                <a:gd name="connsiteY80" fmla="*/ 7715 h 10000"/>
                <a:gd name="connsiteX81" fmla="*/ 5415 w 9720"/>
                <a:gd name="connsiteY81" fmla="*/ 7681 h 10000"/>
                <a:gd name="connsiteX82" fmla="*/ 5250 w 9720"/>
                <a:gd name="connsiteY82" fmla="*/ 7618 h 10000"/>
                <a:gd name="connsiteX83" fmla="*/ 4761 w 9720"/>
                <a:gd name="connsiteY83" fmla="*/ 7576 h 10000"/>
                <a:gd name="connsiteX84" fmla="*/ 4794 w 9720"/>
                <a:gd name="connsiteY84" fmla="*/ 7557 h 10000"/>
                <a:gd name="connsiteX85" fmla="*/ 5194 w 9720"/>
                <a:gd name="connsiteY85" fmla="*/ 7544 h 10000"/>
                <a:gd name="connsiteX86" fmla="*/ 5415 w 9720"/>
                <a:gd name="connsiteY86" fmla="*/ 7582 h 10000"/>
                <a:gd name="connsiteX87" fmla="*/ 5542 w 9720"/>
                <a:gd name="connsiteY87" fmla="*/ 7557 h 10000"/>
                <a:gd name="connsiteX88" fmla="*/ 5589 w 9720"/>
                <a:gd name="connsiteY88" fmla="*/ 7491 h 10000"/>
                <a:gd name="connsiteX89" fmla="*/ 5819 w 9720"/>
                <a:gd name="connsiteY89" fmla="*/ 7491 h 10000"/>
                <a:gd name="connsiteX90" fmla="*/ 6131 w 9720"/>
                <a:gd name="connsiteY90" fmla="*/ 7359 h 10000"/>
                <a:gd name="connsiteX91" fmla="*/ 6142 w 9720"/>
                <a:gd name="connsiteY91" fmla="*/ 7272 h 10000"/>
                <a:gd name="connsiteX92" fmla="*/ 6274 w 9720"/>
                <a:gd name="connsiteY92" fmla="*/ 7292 h 10000"/>
                <a:gd name="connsiteX93" fmla="*/ 6268 w 9720"/>
                <a:gd name="connsiteY93" fmla="*/ 7380 h 10000"/>
                <a:gd name="connsiteX94" fmla="*/ 6478 w 9720"/>
                <a:gd name="connsiteY94" fmla="*/ 7374 h 10000"/>
                <a:gd name="connsiteX95" fmla="*/ 6616 w 9720"/>
                <a:gd name="connsiteY95" fmla="*/ 7283 h 10000"/>
                <a:gd name="connsiteX96" fmla="*/ 6872 w 9720"/>
                <a:gd name="connsiteY96" fmla="*/ 7201 h 10000"/>
                <a:gd name="connsiteX97" fmla="*/ 6832 w 9720"/>
                <a:gd name="connsiteY97" fmla="*/ 7107 h 10000"/>
                <a:gd name="connsiteX98" fmla="*/ 6908 w 9720"/>
                <a:gd name="connsiteY98" fmla="*/ 7144 h 10000"/>
                <a:gd name="connsiteX99" fmla="*/ 7025 w 9720"/>
                <a:gd name="connsiteY99" fmla="*/ 7144 h 10000"/>
                <a:gd name="connsiteX100" fmla="*/ 7025 w 9720"/>
                <a:gd name="connsiteY100" fmla="*/ 7101 h 10000"/>
                <a:gd name="connsiteX101" fmla="*/ 7134 w 9720"/>
                <a:gd name="connsiteY101" fmla="*/ 7068 h 10000"/>
                <a:gd name="connsiteX102" fmla="*/ 7119 w 9720"/>
                <a:gd name="connsiteY102" fmla="*/ 7034 h 10000"/>
                <a:gd name="connsiteX103" fmla="*/ 6198 w 9720"/>
                <a:gd name="connsiteY103" fmla="*/ 7103 h 10000"/>
                <a:gd name="connsiteX104" fmla="*/ 5983 w 9720"/>
                <a:gd name="connsiteY104" fmla="*/ 7082 h 10000"/>
                <a:gd name="connsiteX105" fmla="*/ 5895 w 9720"/>
                <a:gd name="connsiteY105" fmla="*/ 7107 h 10000"/>
                <a:gd name="connsiteX106" fmla="*/ 5866 w 9720"/>
                <a:gd name="connsiteY106" fmla="*/ 7060 h 10000"/>
                <a:gd name="connsiteX107" fmla="*/ 5764 w 9720"/>
                <a:gd name="connsiteY107" fmla="*/ 7017 h 10000"/>
                <a:gd name="connsiteX108" fmla="*/ 5354 w 9720"/>
                <a:gd name="connsiteY108" fmla="*/ 6933 h 10000"/>
                <a:gd name="connsiteX109" fmla="*/ 5112 w 9720"/>
                <a:gd name="connsiteY109" fmla="*/ 6946 h 10000"/>
                <a:gd name="connsiteX110" fmla="*/ 5016 w 9720"/>
                <a:gd name="connsiteY110" fmla="*/ 6923 h 10000"/>
                <a:gd name="connsiteX111" fmla="*/ 5118 w 9720"/>
                <a:gd name="connsiteY111" fmla="*/ 6902 h 10000"/>
                <a:gd name="connsiteX112" fmla="*/ 5194 w 9720"/>
                <a:gd name="connsiteY112" fmla="*/ 6857 h 10000"/>
                <a:gd name="connsiteX113" fmla="*/ 5309 w 9720"/>
                <a:gd name="connsiteY113" fmla="*/ 6872 h 10000"/>
                <a:gd name="connsiteX114" fmla="*/ 5445 w 9720"/>
                <a:gd name="connsiteY114" fmla="*/ 6859 h 10000"/>
                <a:gd name="connsiteX115" fmla="*/ 5650 w 9720"/>
                <a:gd name="connsiteY115" fmla="*/ 6874 h 10000"/>
                <a:gd name="connsiteX116" fmla="*/ 5675 w 9720"/>
                <a:gd name="connsiteY116" fmla="*/ 6868 h 10000"/>
                <a:gd name="connsiteX117" fmla="*/ 5834 w 9720"/>
                <a:gd name="connsiteY117" fmla="*/ 6937 h 10000"/>
                <a:gd name="connsiteX118" fmla="*/ 5951 w 9720"/>
                <a:gd name="connsiteY118" fmla="*/ 6912 h 10000"/>
                <a:gd name="connsiteX119" fmla="*/ 5961 w 9720"/>
                <a:gd name="connsiteY119" fmla="*/ 6889 h 10000"/>
                <a:gd name="connsiteX120" fmla="*/ 6069 w 9720"/>
                <a:gd name="connsiteY120" fmla="*/ 6929 h 10000"/>
                <a:gd name="connsiteX121" fmla="*/ 6212 w 9720"/>
                <a:gd name="connsiteY121" fmla="*/ 6951 h 10000"/>
                <a:gd name="connsiteX122" fmla="*/ 6268 w 9720"/>
                <a:gd name="connsiteY122" fmla="*/ 6910 h 10000"/>
                <a:gd name="connsiteX123" fmla="*/ 6314 w 9720"/>
                <a:gd name="connsiteY123" fmla="*/ 6933 h 10000"/>
                <a:gd name="connsiteX124" fmla="*/ 6381 w 9720"/>
                <a:gd name="connsiteY124" fmla="*/ 7011 h 10000"/>
                <a:gd name="connsiteX125" fmla="*/ 6519 w 9720"/>
                <a:gd name="connsiteY125" fmla="*/ 7029 h 10000"/>
                <a:gd name="connsiteX126" fmla="*/ 7082 w 9720"/>
                <a:gd name="connsiteY126" fmla="*/ 6914 h 10000"/>
                <a:gd name="connsiteX127" fmla="*/ 7359 w 9720"/>
                <a:gd name="connsiteY127" fmla="*/ 6753 h 10000"/>
                <a:gd name="connsiteX128" fmla="*/ 7423 w 9720"/>
                <a:gd name="connsiteY128" fmla="*/ 6635 h 10000"/>
                <a:gd name="connsiteX129" fmla="*/ 7323 w 9720"/>
                <a:gd name="connsiteY129" fmla="*/ 6528 h 10000"/>
                <a:gd name="connsiteX130" fmla="*/ 7113 w 9720"/>
                <a:gd name="connsiteY130" fmla="*/ 6465 h 10000"/>
                <a:gd name="connsiteX131" fmla="*/ 6963 w 9720"/>
                <a:gd name="connsiteY131" fmla="*/ 6361 h 10000"/>
                <a:gd name="connsiteX132" fmla="*/ 7102 w 9720"/>
                <a:gd name="connsiteY132" fmla="*/ 6357 h 10000"/>
                <a:gd name="connsiteX133" fmla="*/ 7093 w 9720"/>
                <a:gd name="connsiteY133" fmla="*/ 6332 h 10000"/>
                <a:gd name="connsiteX134" fmla="*/ 6731 w 9720"/>
                <a:gd name="connsiteY134" fmla="*/ 6259 h 10000"/>
                <a:gd name="connsiteX135" fmla="*/ 6716 w 9720"/>
                <a:gd name="connsiteY135" fmla="*/ 6191 h 10000"/>
                <a:gd name="connsiteX136" fmla="*/ 6646 w 9720"/>
                <a:gd name="connsiteY136" fmla="*/ 6122 h 10000"/>
                <a:gd name="connsiteX137" fmla="*/ 6360 w 9720"/>
                <a:gd name="connsiteY137" fmla="*/ 6134 h 10000"/>
                <a:gd name="connsiteX138" fmla="*/ 6258 w 9720"/>
                <a:gd name="connsiteY138" fmla="*/ 6060 h 10000"/>
                <a:gd name="connsiteX139" fmla="*/ 6198 w 9720"/>
                <a:gd name="connsiteY139" fmla="*/ 6056 h 10000"/>
                <a:gd name="connsiteX140" fmla="*/ 6198 w 9720"/>
                <a:gd name="connsiteY140" fmla="*/ 6086 h 10000"/>
                <a:gd name="connsiteX141" fmla="*/ 6069 w 9720"/>
                <a:gd name="connsiteY141" fmla="*/ 6212 h 10000"/>
                <a:gd name="connsiteX142" fmla="*/ 5930 w 9720"/>
                <a:gd name="connsiteY142" fmla="*/ 6286 h 10000"/>
                <a:gd name="connsiteX143" fmla="*/ 5495 w 9720"/>
                <a:gd name="connsiteY143" fmla="*/ 6412 h 10000"/>
                <a:gd name="connsiteX144" fmla="*/ 5342 w 9720"/>
                <a:gd name="connsiteY144" fmla="*/ 6408 h 10000"/>
                <a:gd name="connsiteX145" fmla="*/ 5133 w 9720"/>
                <a:gd name="connsiteY145" fmla="*/ 6427 h 10000"/>
                <a:gd name="connsiteX146" fmla="*/ 5016 w 9720"/>
                <a:gd name="connsiteY146" fmla="*/ 6408 h 10000"/>
                <a:gd name="connsiteX147" fmla="*/ 5169 w 9720"/>
                <a:gd name="connsiteY147" fmla="*/ 6373 h 10000"/>
                <a:gd name="connsiteX148" fmla="*/ 5369 w 9720"/>
                <a:gd name="connsiteY148" fmla="*/ 6357 h 10000"/>
                <a:gd name="connsiteX149" fmla="*/ 5534 w 9720"/>
                <a:gd name="connsiteY149" fmla="*/ 6298 h 10000"/>
                <a:gd name="connsiteX150" fmla="*/ 5695 w 9720"/>
                <a:gd name="connsiteY150" fmla="*/ 6271 h 10000"/>
                <a:gd name="connsiteX151" fmla="*/ 5998 w 9720"/>
                <a:gd name="connsiteY151" fmla="*/ 6168 h 10000"/>
                <a:gd name="connsiteX152" fmla="*/ 6056 w 9720"/>
                <a:gd name="connsiteY152" fmla="*/ 6101 h 10000"/>
                <a:gd name="connsiteX153" fmla="*/ 6060 w 9720"/>
                <a:gd name="connsiteY153" fmla="*/ 6014 h 10000"/>
                <a:gd name="connsiteX154" fmla="*/ 5921 w 9720"/>
                <a:gd name="connsiteY154" fmla="*/ 5999 h 10000"/>
                <a:gd name="connsiteX155" fmla="*/ 5983 w 9720"/>
                <a:gd name="connsiteY155" fmla="*/ 5946 h 10000"/>
                <a:gd name="connsiteX156" fmla="*/ 6002 w 9720"/>
                <a:gd name="connsiteY156" fmla="*/ 5879 h 10000"/>
                <a:gd name="connsiteX157" fmla="*/ 5944 w 9720"/>
                <a:gd name="connsiteY157" fmla="*/ 5816 h 10000"/>
                <a:gd name="connsiteX158" fmla="*/ 5911 w 9720"/>
                <a:gd name="connsiteY158" fmla="*/ 5353 h 10000"/>
                <a:gd name="connsiteX159" fmla="*/ 5993 w 9720"/>
                <a:gd name="connsiteY159" fmla="*/ 5253 h 10000"/>
                <a:gd name="connsiteX160" fmla="*/ 5972 w 9720"/>
                <a:gd name="connsiteY160" fmla="*/ 5213 h 10000"/>
                <a:gd name="connsiteX161" fmla="*/ 6212 w 9720"/>
                <a:gd name="connsiteY161" fmla="*/ 5272 h 10000"/>
                <a:gd name="connsiteX162" fmla="*/ 6229 w 9720"/>
                <a:gd name="connsiteY162" fmla="*/ 5217 h 10000"/>
                <a:gd name="connsiteX163" fmla="*/ 6176 w 9720"/>
                <a:gd name="connsiteY163" fmla="*/ 5074 h 10000"/>
                <a:gd name="connsiteX164" fmla="*/ 6349 w 9720"/>
                <a:gd name="connsiteY164" fmla="*/ 4818 h 10000"/>
                <a:gd name="connsiteX165" fmla="*/ 6243 w 9720"/>
                <a:gd name="connsiteY165" fmla="*/ 4757 h 10000"/>
                <a:gd name="connsiteX166" fmla="*/ 6202 w 9720"/>
                <a:gd name="connsiteY166" fmla="*/ 4700 h 10000"/>
                <a:gd name="connsiteX167" fmla="*/ 6216 w 9720"/>
                <a:gd name="connsiteY167" fmla="*/ 4607 h 10000"/>
                <a:gd name="connsiteX168" fmla="*/ 6470 w 9720"/>
                <a:gd name="connsiteY168" fmla="*/ 4669 h 10000"/>
                <a:gd name="connsiteX169" fmla="*/ 6478 w 9720"/>
                <a:gd name="connsiteY169" fmla="*/ 4651 h 10000"/>
                <a:gd name="connsiteX170" fmla="*/ 6548 w 9720"/>
                <a:gd name="connsiteY170" fmla="*/ 4635 h 10000"/>
                <a:gd name="connsiteX171" fmla="*/ 6646 w 9720"/>
                <a:gd name="connsiteY171" fmla="*/ 4575 h 10000"/>
                <a:gd name="connsiteX172" fmla="*/ 6662 w 9720"/>
                <a:gd name="connsiteY172" fmla="*/ 4558 h 10000"/>
                <a:gd name="connsiteX173" fmla="*/ 6641 w 9720"/>
                <a:gd name="connsiteY173" fmla="*/ 4536 h 10000"/>
                <a:gd name="connsiteX174" fmla="*/ 6693 w 9720"/>
                <a:gd name="connsiteY174" fmla="*/ 4431 h 10000"/>
                <a:gd name="connsiteX175" fmla="*/ 6631 w 9720"/>
                <a:gd name="connsiteY175" fmla="*/ 4363 h 10000"/>
                <a:gd name="connsiteX176" fmla="*/ 6641 w 9720"/>
                <a:gd name="connsiteY176" fmla="*/ 4308 h 10000"/>
                <a:gd name="connsiteX177" fmla="*/ 6676 w 9720"/>
                <a:gd name="connsiteY177" fmla="*/ 4372 h 10000"/>
                <a:gd name="connsiteX178" fmla="*/ 6815 w 9720"/>
                <a:gd name="connsiteY178" fmla="*/ 4420 h 10000"/>
                <a:gd name="connsiteX179" fmla="*/ 6872 w 9720"/>
                <a:gd name="connsiteY179" fmla="*/ 4414 h 10000"/>
                <a:gd name="connsiteX180" fmla="*/ 6963 w 9720"/>
                <a:gd name="connsiteY180" fmla="*/ 4350 h 10000"/>
                <a:gd name="connsiteX181" fmla="*/ 7062 w 9720"/>
                <a:gd name="connsiteY181" fmla="*/ 4376 h 10000"/>
                <a:gd name="connsiteX182" fmla="*/ 7088 w 9720"/>
                <a:gd name="connsiteY182" fmla="*/ 4326 h 10000"/>
                <a:gd name="connsiteX183" fmla="*/ 7154 w 9720"/>
                <a:gd name="connsiteY183" fmla="*/ 4291 h 10000"/>
                <a:gd name="connsiteX184" fmla="*/ 6974 w 9720"/>
                <a:gd name="connsiteY184" fmla="*/ 4255 h 10000"/>
                <a:gd name="connsiteX185" fmla="*/ 7102 w 9720"/>
                <a:gd name="connsiteY185" fmla="*/ 4262 h 10000"/>
                <a:gd name="connsiteX186" fmla="*/ 7234 w 9720"/>
                <a:gd name="connsiteY186" fmla="*/ 4224 h 10000"/>
                <a:gd name="connsiteX187" fmla="*/ 7229 w 9720"/>
                <a:gd name="connsiteY187" fmla="*/ 4197 h 10000"/>
                <a:gd name="connsiteX188" fmla="*/ 7353 w 9720"/>
                <a:gd name="connsiteY188" fmla="*/ 4172 h 10000"/>
                <a:gd name="connsiteX189" fmla="*/ 7364 w 9720"/>
                <a:gd name="connsiteY189" fmla="*/ 4109 h 10000"/>
                <a:gd name="connsiteX190" fmla="*/ 7461 w 9720"/>
                <a:gd name="connsiteY190" fmla="*/ 4096 h 10000"/>
                <a:gd name="connsiteX191" fmla="*/ 7469 w 9720"/>
                <a:gd name="connsiteY191" fmla="*/ 4022 h 10000"/>
                <a:gd name="connsiteX192" fmla="*/ 7572 w 9720"/>
                <a:gd name="connsiteY192" fmla="*/ 4013 h 10000"/>
                <a:gd name="connsiteX193" fmla="*/ 7730 w 9720"/>
                <a:gd name="connsiteY193" fmla="*/ 4029 h 10000"/>
                <a:gd name="connsiteX194" fmla="*/ 7904 w 9720"/>
                <a:gd name="connsiteY194" fmla="*/ 3969 h 10000"/>
                <a:gd name="connsiteX195" fmla="*/ 7966 w 9720"/>
                <a:gd name="connsiteY195" fmla="*/ 3901 h 10000"/>
                <a:gd name="connsiteX196" fmla="*/ 8181 w 9720"/>
                <a:gd name="connsiteY196" fmla="*/ 3832 h 10000"/>
                <a:gd name="connsiteX197" fmla="*/ 8288 w 9720"/>
                <a:gd name="connsiteY197" fmla="*/ 3874 h 10000"/>
                <a:gd name="connsiteX198" fmla="*/ 8452 w 9720"/>
                <a:gd name="connsiteY198" fmla="*/ 3828 h 10000"/>
                <a:gd name="connsiteX199" fmla="*/ 8491 w 9720"/>
                <a:gd name="connsiteY199" fmla="*/ 3767 h 10000"/>
                <a:gd name="connsiteX200" fmla="*/ 8616 w 9720"/>
                <a:gd name="connsiteY200" fmla="*/ 3727 h 10000"/>
                <a:gd name="connsiteX201" fmla="*/ 8722 w 9720"/>
                <a:gd name="connsiteY201" fmla="*/ 3745 h 10000"/>
                <a:gd name="connsiteX202" fmla="*/ 8789 w 9720"/>
                <a:gd name="connsiteY202" fmla="*/ 3714 h 10000"/>
                <a:gd name="connsiteX203" fmla="*/ 8973 w 9720"/>
                <a:gd name="connsiteY203" fmla="*/ 3672 h 10000"/>
                <a:gd name="connsiteX204" fmla="*/ 9049 w 9720"/>
                <a:gd name="connsiteY204" fmla="*/ 3617 h 10000"/>
                <a:gd name="connsiteX205" fmla="*/ 9153 w 9720"/>
                <a:gd name="connsiteY205" fmla="*/ 3594 h 10000"/>
                <a:gd name="connsiteX206" fmla="*/ 9720 w 9720"/>
                <a:gd name="connsiteY206" fmla="*/ 3261 h 10000"/>
                <a:gd name="connsiteX207" fmla="*/ 7537 w 9720"/>
                <a:gd name="connsiteY207" fmla="*/ 0 h 10000"/>
                <a:gd name="connsiteX208" fmla="*/ 7423 w 9720"/>
                <a:gd name="connsiteY208" fmla="*/ 8 h 10000"/>
                <a:gd name="connsiteX209" fmla="*/ 7359 w 9720"/>
                <a:gd name="connsiteY209" fmla="*/ 28 h 10000"/>
                <a:gd name="connsiteX210" fmla="*/ 7290 w 9720"/>
                <a:gd name="connsiteY210" fmla="*/ 78 h 10000"/>
                <a:gd name="connsiteX211" fmla="*/ 7302 w 9720"/>
                <a:gd name="connsiteY211" fmla="*/ 201 h 10000"/>
                <a:gd name="connsiteX212" fmla="*/ 7199 w 9720"/>
                <a:gd name="connsiteY212" fmla="*/ 362 h 10000"/>
                <a:gd name="connsiteX213" fmla="*/ 7072 w 9720"/>
                <a:gd name="connsiteY213" fmla="*/ 445 h 10000"/>
                <a:gd name="connsiteX214" fmla="*/ 7021 w 9720"/>
                <a:gd name="connsiteY214" fmla="*/ 435 h 10000"/>
                <a:gd name="connsiteX215" fmla="*/ 6903 w 9720"/>
                <a:gd name="connsiteY215" fmla="*/ 366 h 10000"/>
                <a:gd name="connsiteX216" fmla="*/ 6756 w 9720"/>
                <a:gd name="connsiteY216" fmla="*/ 331 h 10000"/>
                <a:gd name="connsiteX217" fmla="*/ 6594 w 9720"/>
                <a:gd name="connsiteY217" fmla="*/ 341 h 10000"/>
                <a:gd name="connsiteX218" fmla="*/ 6223 w 9720"/>
                <a:gd name="connsiteY218" fmla="*/ 498 h 10000"/>
                <a:gd name="connsiteX219" fmla="*/ 6125 w 9720"/>
                <a:gd name="connsiteY219" fmla="*/ 656 h 10000"/>
                <a:gd name="connsiteX220" fmla="*/ 5845 w 9720"/>
                <a:gd name="connsiteY220" fmla="*/ 797 h 10000"/>
                <a:gd name="connsiteX221" fmla="*/ 5794 w 9720"/>
                <a:gd name="connsiteY221" fmla="*/ 868 h 10000"/>
                <a:gd name="connsiteX222" fmla="*/ 5940 w 9720"/>
                <a:gd name="connsiteY222" fmla="*/ 995 h 10000"/>
                <a:gd name="connsiteX223" fmla="*/ 5956 w 9720"/>
                <a:gd name="connsiteY223" fmla="*/ 1067 h 10000"/>
                <a:gd name="connsiteX224" fmla="*/ 5190 w 9720"/>
                <a:gd name="connsiteY224" fmla="*/ 1484 h 10000"/>
                <a:gd name="connsiteX225" fmla="*/ 4955 w 9720"/>
                <a:gd name="connsiteY225" fmla="*/ 1750 h 10000"/>
                <a:gd name="connsiteX226" fmla="*/ 4702 w 9720"/>
                <a:gd name="connsiteY226" fmla="*/ 1818 h 10000"/>
                <a:gd name="connsiteX227" fmla="*/ 4540 w 9720"/>
                <a:gd name="connsiteY227" fmla="*/ 1814 h 10000"/>
                <a:gd name="connsiteX228" fmla="*/ 4443 w 9720"/>
                <a:gd name="connsiteY228" fmla="*/ 1838 h 10000"/>
                <a:gd name="connsiteX229" fmla="*/ 4178 w 9720"/>
                <a:gd name="connsiteY229" fmla="*/ 2503 h 10000"/>
                <a:gd name="connsiteX230" fmla="*/ 3565 w 9720"/>
                <a:gd name="connsiteY230" fmla="*/ 2891 h 10000"/>
                <a:gd name="connsiteX231" fmla="*/ 3569 w 9720"/>
                <a:gd name="connsiteY231" fmla="*/ 2952 h 10000"/>
                <a:gd name="connsiteX232" fmla="*/ 3841 w 9720"/>
                <a:gd name="connsiteY232" fmla="*/ 3126 h 10000"/>
                <a:gd name="connsiteX233" fmla="*/ 3753 w 9720"/>
                <a:gd name="connsiteY233" fmla="*/ 3314 h 10000"/>
                <a:gd name="connsiteX234" fmla="*/ 3594 w 9720"/>
                <a:gd name="connsiteY234" fmla="*/ 3383 h 10000"/>
                <a:gd name="connsiteX235" fmla="*/ 3118 w 9720"/>
                <a:gd name="connsiteY235" fmla="*/ 3337 h 10000"/>
                <a:gd name="connsiteX236" fmla="*/ 2791 w 9720"/>
                <a:gd name="connsiteY236" fmla="*/ 3363 h 10000"/>
                <a:gd name="connsiteX237" fmla="*/ 2528 w 9720"/>
                <a:gd name="connsiteY237" fmla="*/ 3419 h 10000"/>
                <a:gd name="connsiteX238" fmla="*/ 2102 w 9720"/>
                <a:gd name="connsiteY238" fmla="*/ 3592 h 10000"/>
                <a:gd name="connsiteX239" fmla="*/ 1877 w 9720"/>
                <a:gd name="connsiteY239" fmla="*/ 3802 h 10000"/>
                <a:gd name="connsiteX240" fmla="*/ 1896 w 9720"/>
                <a:gd name="connsiteY240" fmla="*/ 3919 h 10000"/>
                <a:gd name="connsiteX241" fmla="*/ 1975 w 9720"/>
                <a:gd name="connsiteY241" fmla="*/ 4009 h 10000"/>
                <a:gd name="connsiteX242" fmla="*/ 2034 w 9720"/>
                <a:gd name="connsiteY242" fmla="*/ 4045 h 10000"/>
                <a:gd name="connsiteX243" fmla="*/ 1924 w 9720"/>
                <a:gd name="connsiteY243" fmla="*/ 4103 h 10000"/>
                <a:gd name="connsiteX244" fmla="*/ 1683 w 9720"/>
                <a:gd name="connsiteY244" fmla="*/ 4497 h 10000"/>
                <a:gd name="connsiteX245" fmla="*/ 1729 w 9720"/>
                <a:gd name="connsiteY245" fmla="*/ 4520 h 10000"/>
                <a:gd name="connsiteX246" fmla="*/ 1764 w 9720"/>
                <a:gd name="connsiteY246" fmla="*/ 4620 h 10000"/>
                <a:gd name="connsiteX247" fmla="*/ 1652 w 9720"/>
                <a:gd name="connsiteY247" fmla="*/ 5035 h 10000"/>
                <a:gd name="connsiteX248" fmla="*/ 1764 w 9720"/>
                <a:gd name="connsiteY248" fmla="*/ 5141 h 10000"/>
                <a:gd name="connsiteX249" fmla="*/ 2071 w 9720"/>
                <a:gd name="connsiteY249" fmla="*/ 5257 h 10000"/>
                <a:gd name="connsiteX250" fmla="*/ 2085 w 9720"/>
                <a:gd name="connsiteY250" fmla="*/ 5399 h 10000"/>
                <a:gd name="connsiteX251" fmla="*/ 1954 w 9720"/>
                <a:gd name="connsiteY251" fmla="*/ 5517 h 10000"/>
                <a:gd name="connsiteX252" fmla="*/ 1764 w 9720"/>
                <a:gd name="connsiteY252" fmla="*/ 5588 h 10000"/>
                <a:gd name="connsiteX253" fmla="*/ 1513 w 9720"/>
                <a:gd name="connsiteY253" fmla="*/ 5617 h 10000"/>
                <a:gd name="connsiteX254" fmla="*/ 1448 w 9720"/>
                <a:gd name="connsiteY254" fmla="*/ 5658 h 10000"/>
                <a:gd name="connsiteX255" fmla="*/ 1594 w 9720"/>
                <a:gd name="connsiteY255" fmla="*/ 5755 h 10000"/>
                <a:gd name="connsiteX256" fmla="*/ 1678 w 9720"/>
                <a:gd name="connsiteY256" fmla="*/ 5987 h 10000"/>
                <a:gd name="connsiteX257" fmla="*/ 1488 w 9720"/>
                <a:gd name="connsiteY257" fmla="*/ 6185 h 10000"/>
                <a:gd name="connsiteX258" fmla="*/ 1554 w 9720"/>
                <a:gd name="connsiteY258" fmla="*/ 6247 h 10000"/>
                <a:gd name="connsiteX259" fmla="*/ 1494 w 9720"/>
                <a:gd name="connsiteY259" fmla="*/ 6351 h 10000"/>
                <a:gd name="connsiteX260" fmla="*/ 1372 w 9720"/>
                <a:gd name="connsiteY260" fmla="*/ 6422 h 10000"/>
                <a:gd name="connsiteX261" fmla="*/ 889 w 9720"/>
                <a:gd name="connsiteY261" fmla="*/ 6477 h 10000"/>
                <a:gd name="connsiteX262" fmla="*/ 860 w 9720"/>
                <a:gd name="connsiteY262" fmla="*/ 6573 h 10000"/>
                <a:gd name="connsiteX263" fmla="*/ 600 w 9720"/>
                <a:gd name="connsiteY263" fmla="*/ 6716 h 10000"/>
                <a:gd name="connsiteX264" fmla="*/ 634 w 9720"/>
                <a:gd name="connsiteY264" fmla="*/ 6921 h 10000"/>
                <a:gd name="connsiteX265" fmla="*/ 415 w 9720"/>
                <a:gd name="connsiteY265" fmla="*/ 7184 h 10000"/>
                <a:gd name="connsiteX266" fmla="*/ 266 w 9720"/>
                <a:gd name="connsiteY266" fmla="*/ 7215 h 10000"/>
                <a:gd name="connsiteX267" fmla="*/ 204 w 9720"/>
                <a:gd name="connsiteY267" fmla="*/ 7152 h 10000"/>
                <a:gd name="connsiteX268" fmla="*/ 128 w 9720"/>
                <a:gd name="connsiteY268" fmla="*/ 7247 h 10000"/>
                <a:gd name="connsiteX269" fmla="*/ 178 w 9720"/>
                <a:gd name="connsiteY269" fmla="*/ 7084 h 10000"/>
                <a:gd name="connsiteX270" fmla="*/ 147 w 9720"/>
                <a:gd name="connsiteY270"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7512 w 10000"/>
                <a:gd name="connsiteY211" fmla="*/ 201 h 10000"/>
                <a:gd name="connsiteX212" fmla="*/ 7406 w 10000"/>
                <a:gd name="connsiteY212" fmla="*/ 362 h 10000"/>
                <a:gd name="connsiteX213" fmla="*/ 7276 w 10000"/>
                <a:gd name="connsiteY213" fmla="*/ 445 h 10000"/>
                <a:gd name="connsiteX214" fmla="*/ 7223 w 10000"/>
                <a:gd name="connsiteY214" fmla="*/ 435 h 10000"/>
                <a:gd name="connsiteX215" fmla="*/ 7102 w 10000"/>
                <a:gd name="connsiteY215" fmla="*/ 366 h 10000"/>
                <a:gd name="connsiteX216" fmla="*/ 6951 w 10000"/>
                <a:gd name="connsiteY216" fmla="*/ 331 h 10000"/>
                <a:gd name="connsiteX217" fmla="*/ 6784 w 10000"/>
                <a:gd name="connsiteY217" fmla="*/ 341 h 10000"/>
                <a:gd name="connsiteX218" fmla="*/ 6402 w 10000"/>
                <a:gd name="connsiteY218" fmla="*/ 498 h 10000"/>
                <a:gd name="connsiteX219" fmla="*/ 6301 w 10000"/>
                <a:gd name="connsiteY219" fmla="*/ 656 h 10000"/>
                <a:gd name="connsiteX220" fmla="*/ 6013 w 10000"/>
                <a:gd name="connsiteY220" fmla="*/ 797 h 10000"/>
                <a:gd name="connsiteX221" fmla="*/ 5961 w 10000"/>
                <a:gd name="connsiteY221" fmla="*/ 868 h 10000"/>
                <a:gd name="connsiteX222" fmla="*/ 6111 w 10000"/>
                <a:gd name="connsiteY222" fmla="*/ 995 h 10000"/>
                <a:gd name="connsiteX223" fmla="*/ 6128 w 10000"/>
                <a:gd name="connsiteY223" fmla="*/ 1067 h 10000"/>
                <a:gd name="connsiteX224" fmla="*/ 5098 w 10000"/>
                <a:gd name="connsiteY224" fmla="*/ 1750 h 10000"/>
                <a:gd name="connsiteX225" fmla="*/ 4837 w 10000"/>
                <a:gd name="connsiteY225" fmla="*/ 1818 h 10000"/>
                <a:gd name="connsiteX226" fmla="*/ 4671 w 10000"/>
                <a:gd name="connsiteY226" fmla="*/ 1814 h 10000"/>
                <a:gd name="connsiteX227" fmla="*/ 4571 w 10000"/>
                <a:gd name="connsiteY227" fmla="*/ 1838 h 10000"/>
                <a:gd name="connsiteX228" fmla="*/ 4298 w 10000"/>
                <a:gd name="connsiteY228" fmla="*/ 2503 h 10000"/>
                <a:gd name="connsiteX229" fmla="*/ 3668 w 10000"/>
                <a:gd name="connsiteY229" fmla="*/ 2891 h 10000"/>
                <a:gd name="connsiteX230" fmla="*/ 3672 w 10000"/>
                <a:gd name="connsiteY230" fmla="*/ 2952 h 10000"/>
                <a:gd name="connsiteX231" fmla="*/ 3952 w 10000"/>
                <a:gd name="connsiteY231" fmla="*/ 3126 h 10000"/>
                <a:gd name="connsiteX232" fmla="*/ 3861 w 10000"/>
                <a:gd name="connsiteY232" fmla="*/ 3314 h 10000"/>
                <a:gd name="connsiteX233" fmla="*/ 3698 w 10000"/>
                <a:gd name="connsiteY233" fmla="*/ 3383 h 10000"/>
                <a:gd name="connsiteX234" fmla="*/ 3208 w 10000"/>
                <a:gd name="connsiteY234" fmla="*/ 3337 h 10000"/>
                <a:gd name="connsiteX235" fmla="*/ 2871 w 10000"/>
                <a:gd name="connsiteY235" fmla="*/ 3363 h 10000"/>
                <a:gd name="connsiteX236" fmla="*/ 2601 w 10000"/>
                <a:gd name="connsiteY236" fmla="*/ 3419 h 10000"/>
                <a:gd name="connsiteX237" fmla="*/ 2163 w 10000"/>
                <a:gd name="connsiteY237" fmla="*/ 3592 h 10000"/>
                <a:gd name="connsiteX238" fmla="*/ 1931 w 10000"/>
                <a:gd name="connsiteY238" fmla="*/ 3802 h 10000"/>
                <a:gd name="connsiteX239" fmla="*/ 1951 w 10000"/>
                <a:gd name="connsiteY239" fmla="*/ 3919 h 10000"/>
                <a:gd name="connsiteX240" fmla="*/ 2032 w 10000"/>
                <a:gd name="connsiteY240" fmla="*/ 4009 h 10000"/>
                <a:gd name="connsiteX241" fmla="*/ 2093 w 10000"/>
                <a:gd name="connsiteY241" fmla="*/ 4045 h 10000"/>
                <a:gd name="connsiteX242" fmla="*/ 1979 w 10000"/>
                <a:gd name="connsiteY242" fmla="*/ 4103 h 10000"/>
                <a:gd name="connsiteX243" fmla="*/ 1731 w 10000"/>
                <a:gd name="connsiteY243" fmla="*/ 4497 h 10000"/>
                <a:gd name="connsiteX244" fmla="*/ 1779 w 10000"/>
                <a:gd name="connsiteY244" fmla="*/ 4520 h 10000"/>
                <a:gd name="connsiteX245" fmla="*/ 1815 w 10000"/>
                <a:gd name="connsiteY245" fmla="*/ 4620 h 10000"/>
                <a:gd name="connsiteX246" fmla="*/ 1700 w 10000"/>
                <a:gd name="connsiteY246" fmla="*/ 5035 h 10000"/>
                <a:gd name="connsiteX247" fmla="*/ 1815 w 10000"/>
                <a:gd name="connsiteY247" fmla="*/ 5141 h 10000"/>
                <a:gd name="connsiteX248" fmla="*/ 2131 w 10000"/>
                <a:gd name="connsiteY248" fmla="*/ 5257 h 10000"/>
                <a:gd name="connsiteX249" fmla="*/ 2145 w 10000"/>
                <a:gd name="connsiteY249" fmla="*/ 5399 h 10000"/>
                <a:gd name="connsiteX250" fmla="*/ 2010 w 10000"/>
                <a:gd name="connsiteY250" fmla="*/ 5517 h 10000"/>
                <a:gd name="connsiteX251" fmla="*/ 1815 w 10000"/>
                <a:gd name="connsiteY251" fmla="*/ 5588 h 10000"/>
                <a:gd name="connsiteX252" fmla="*/ 1557 w 10000"/>
                <a:gd name="connsiteY252" fmla="*/ 5617 h 10000"/>
                <a:gd name="connsiteX253" fmla="*/ 1490 w 10000"/>
                <a:gd name="connsiteY253" fmla="*/ 5658 h 10000"/>
                <a:gd name="connsiteX254" fmla="*/ 1640 w 10000"/>
                <a:gd name="connsiteY254" fmla="*/ 5755 h 10000"/>
                <a:gd name="connsiteX255" fmla="*/ 1726 w 10000"/>
                <a:gd name="connsiteY255" fmla="*/ 5987 h 10000"/>
                <a:gd name="connsiteX256" fmla="*/ 1531 w 10000"/>
                <a:gd name="connsiteY256" fmla="*/ 6185 h 10000"/>
                <a:gd name="connsiteX257" fmla="*/ 1599 w 10000"/>
                <a:gd name="connsiteY257" fmla="*/ 6247 h 10000"/>
                <a:gd name="connsiteX258" fmla="*/ 1537 w 10000"/>
                <a:gd name="connsiteY258" fmla="*/ 6351 h 10000"/>
                <a:gd name="connsiteX259" fmla="*/ 1412 w 10000"/>
                <a:gd name="connsiteY259" fmla="*/ 6422 h 10000"/>
                <a:gd name="connsiteX260" fmla="*/ 915 w 10000"/>
                <a:gd name="connsiteY260" fmla="*/ 6477 h 10000"/>
                <a:gd name="connsiteX261" fmla="*/ 885 w 10000"/>
                <a:gd name="connsiteY261" fmla="*/ 6573 h 10000"/>
                <a:gd name="connsiteX262" fmla="*/ 617 w 10000"/>
                <a:gd name="connsiteY262" fmla="*/ 6716 h 10000"/>
                <a:gd name="connsiteX263" fmla="*/ 652 w 10000"/>
                <a:gd name="connsiteY263" fmla="*/ 6921 h 10000"/>
                <a:gd name="connsiteX264" fmla="*/ 427 w 10000"/>
                <a:gd name="connsiteY264" fmla="*/ 7184 h 10000"/>
                <a:gd name="connsiteX265" fmla="*/ 274 w 10000"/>
                <a:gd name="connsiteY265" fmla="*/ 7215 h 10000"/>
                <a:gd name="connsiteX266" fmla="*/ 210 w 10000"/>
                <a:gd name="connsiteY266" fmla="*/ 7152 h 10000"/>
                <a:gd name="connsiteX267" fmla="*/ 132 w 10000"/>
                <a:gd name="connsiteY267" fmla="*/ 7247 h 10000"/>
                <a:gd name="connsiteX268" fmla="*/ 183 w 10000"/>
                <a:gd name="connsiteY268" fmla="*/ 7084 h 10000"/>
                <a:gd name="connsiteX269" fmla="*/ 151 w 10000"/>
                <a:gd name="connsiteY269"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7512 w 10000"/>
                <a:gd name="connsiteY211" fmla="*/ 201 h 10000"/>
                <a:gd name="connsiteX212" fmla="*/ 7406 w 10000"/>
                <a:gd name="connsiteY212" fmla="*/ 362 h 10000"/>
                <a:gd name="connsiteX213" fmla="*/ 7276 w 10000"/>
                <a:gd name="connsiteY213" fmla="*/ 445 h 10000"/>
                <a:gd name="connsiteX214" fmla="*/ 7223 w 10000"/>
                <a:gd name="connsiteY214" fmla="*/ 435 h 10000"/>
                <a:gd name="connsiteX215" fmla="*/ 7102 w 10000"/>
                <a:gd name="connsiteY215" fmla="*/ 366 h 10000"/>
                <a:gd name="connsiteX216" fmla="*/ 6951 w 10000"/>
                <a:gd name="connsiteY216" fmla="*/ 331 h 10000"/>
                <a:gd name="connsiteX217" fmla="*/ 6784 w 10000"/>
                <a:gd name="connsiteY217" fmla="*/ 341 h 10000"/>
                <a:gd name="connsiteX218" fmla="*/ 6402 w 10000"/>
                <a:gd name="connsiteY218" fmla="*/ 498 h 10000"/>
                <a:gd name="connsiteX219" fmla="*/ 6301 w 10000"/>
                <a:gd name="connsiteY219" fmla="*/ 656 h 10000"/>
                <a:gd name="connsiteX220" fmla="*/ 6013 w 10000"/>
                <a:gd name="connsiteY220" fmla="*/ 797 h 10000"/>
                <a:gd name="connsiteX221" fmla="*/ 5961 w 10000"/>
                <a:gd name="connsiteY221" fmla="*/ 868 h 10000"/>
                <a:gd name="connsiteX222" fmla="*/ 6111 w 10000"/>
                <a:gd name="connsiteY222" fmla="*/ 995 h 10000"/>
                <a:gd name="connsiteX223" fmla="*/ 5098 w 10000"/>
                <a:gd name="connsiteY223" fmla="*/ 1750 h 10000"/>
                <a:gd name="connsiteX224" fmla="*/ 4837 w 10000"/>
                <a:gd name="connsiteY224" fmla="*/ 1818 h 10000"/>
                <a:gd name="connsiteX225" fmla="*/ 4671 w 10000"/>
                <a:gd name="connsiteY225" fmla="*/ 1814 h 10000"/>
                <a:gd name="connsiteX226" fmla="*/ 4571 w 10000"/>
                <a:gd name="connsiteY226" fmla="*/ 1838 h 10000"/>
                <a:gd name="connsiteX227" fmla="*/ 4298 w 10000"/>
                <a:gd name="connsiteY227" fmla="*/ 2503 h 10000"/>
                <a:gd name="connsiteX228" fmla="*/ 3668 w 10000"/>
                <a:gd name="connsiteY228" fmla="*/ 2891 h 10000"/>
                <a:gd name="connsiteX229" fmla="*/ 3672 w 10000"/>
                <a:gd name="connsiteY229" fmla="*/ 2952 h 10000"/>
                <a:gd name="connsiteX230" fmla="*/ 3952 w 10000"/>
                <a:gd name="connsiteY230" fmla="*/ 3126 h 10000"/>
                <a:gd name="connsiteX231" fmla="*/ 3861 w 10000"/>
                <a:gd name="connsiteY231" fmla="*/ 3314 h 10000"/>
                <a:gd name="connsiteX232" fmla="*/ 3698 w 10000"/>
                <a:gd name="connsiteY232" fmla="*/ 3383 h 10000"/>
                <a:gd name="connsiteX233" fmla="*/ 3208 w 10000"/>
                <a:gd name="connsiteY233" fmla="*/ 3337 h 10000"/>
                <a:gd name="connsiteX234" fmla="*/ 2871 w 10000"/>
                <a:gd name="connsiteY234" fmla="*/ 3363 h 10000"/>
                <a:gd name="connsiteX235" fmla="*/ 2601 w 10000"/>
                <a:gd name="connsiteY235" fmla="*/ 3419 h 10000"/>
                <a:gd name="connsiteX236" fmla="*/ 2163 w 10000"/>
                <a:gd name="connsiteY236" fmla="*/ 3592 h 10000"/>
                <a:gd name="connsiteX237" fmla="*/ 1931 w 10000"/>
                <a:gd name="connsiteY237" fmla="*/ 3802 h 10000"/>
                <a:gd name="connsiteX238" fmla="*/ 1951 w 10000"/>
                <a:gd name="connsiteY238" fmla="*/ 3919 h 10000"/>
                <a:gd name="connsiteX239" fmla="*/ 2032 w 10000"/>
                <a:gd name="connsiteY239" fmla="*/ 4009 h 10000"/>
                <a:gd name="connsiteX240" fmla="*/ 2093 w 10000"/>
                <a:gd name="connsiteY240" fmla="*/ 4045 h 10000"/>
                <a:gd name="connsiteX241" fmla="*/ 1979 w 10000"/>
                <a:gd name="connsiteY241" fmla="*/ 4103 h 10000"/>
                <a:gd name="connsiteX242" fmla="*/ 1731 w 10000"/>
                <a:gd name="connsiteY242" fmla="*/ 4497 h 10000"/>
                <a:gd name="connsiteX243" fmla="*/ 1779 w 10000"/>
                <a:gd name="connsiteY243" fmla="*/ 4520 h 10000"/>
                <a:gd name="connsiteX244" fmla="*/ 1815 w 10000"/>
                <a:gd name="connsiteY244" fmla="*/ 4620 h 10000"/>
                <a:gd name="connsiteX245" fmla="*/ 1700 w 10000"/>
                <a:gd name="connsiteY245" fmla="*/ 5035 h 10000"/>
                <a:gd name="connsiteX246" fmla="*/ 1815 w 10000"/>
                <a:gd name="connsiteY246" fmla="*/ 5141 h 10000"/>
                <a:gd name="connsiteX247" fmla="*/ 2131 w 10000"/>
                <a:gd name="connsiteY247" fmla="*/ 5257 h 10000"/>
                <a:gd name="connsiteX248" fmla="*/ 2145 w 10000"/>
                <a:gd name="connsiteY248" fmla="*/ 5399 h 10000"/>
                <a:gd name="connsiteX249" fmla="*/ 2010 w 10000"/>
                <a:gd name="connsiteY249" fmla="*/ 5517 h 10000"/>
                <a:gd name="connsiteX250" fmla="*/ 1815 w 10000"/>
                <a:gd name="connsiteY250" fmla="*/ 5588 h 10000"/>
                <a:gd name="connsiteX251" fmla="*/ 1557 w 10000"/>
                <a:gd name="connsiteY251" fmla="*/ 5617 h 10000"/>
                <a:gd name="connsiteX252" fmla="*/ 1490 w 10000"/>
                <a:gd name="connsiteY252" fmla="*/ 5658 h 10000"/>
                <a:gd name="connsiteX253" fmla="*/ 1640 w 10000"/>
                <a:gd name="connsiteY253" fmla="*/ 5755 h 10000"/>
                <a:gd name="connsiteX254" fmla="*/ 1726 w 10000"/>
                <a:gd name="connsiteY254" fmla="*/ 5987 h 10000"/>
                <a:gd name="connsiteX255" fmla="*/ 1531 w 10000"/>
                <a:gd name="connsiteY255" fmla="*/ 6185 h 10000"/>
                <a:gd name="connsiteX256" fmla="*/ 1599 w 10000"/>
                <a:gd name="connsiteY256" fmla="*/ 6247 h 10000"/>
                <a:gd name="connsiteX257" fmla="*/ 1537 w 10000"/>
                <a:gd name="connsiteY257" fmla="*/ 6351 h 10000"/>
                <a:gd name="connsiteX258" fmla="*/ 1412 w 10000"/>
                <a:gd name="connsiteY258" fmla="*/ 6422 h 10000"/>
                <a:gd name="connsiteX259" fmla="*/ 915 w 10000"/>
                <a:gd name="connsiteY259" fmla="*/ 6477 h 10000"/>
                <a:gd name="connsiteX260" fmla="*/ 885 w 10000"/>
                <a:gd name="connsiteY260" fmla="*/ 6573 h 10000"/>
                <a:gd name="connsiteX261" fmla="*/ 617 w 10000"/>
                <a:gd name="connsiteY261" fmla="*/ 6716 h 10000"/>
                <a:gd name="connsiteX262" fmla="*/ 652 w 10000"/>
                <a:gd name="connsiteY262" fmla="*/ 6921 h 10000"/>
                <a:gd name="connsiteX263" fmla="*/ 427 w 10000"/>
                <a:gd name="connsiteY263" fmla="*/ 7184 h 10000"/>
                <a:gd name="connsiteX264" fmla="*/ 274 w 10000"/>
                <a:gd name="connsiteY264" fmla="*/ 7215 h 10000"/>
                <a:gd name="connsiteX265" fmla="*/ 210 w 10000"/>
                <a:gd name="connsiteY265" fmla="*/ 7152 h 10000"/>
                <a:gd name="connsiteX266" fmla="*/ 132 w 10000"/>
                <a:gd name="connsiteY266" fmla="*/ 7247 h 10000"/>
                <a:gd name="connsiteX267" fmla="*/ 183 w 10000"/>
                <a:gd name="connsiteY267" fmla="*/ 7084 h 10000"/>
                <a:gd name="connsiteX268" fmla="*/ 151 w 10000"/>
                <a:gd name="connsiteY268"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7512 w 10000"/>
                <a:gd name="connsiteY211" fmla="*/ 201 h 10000"/>
                <a:gd name="connsiteX212" fmla="*/ 7406 w 10000"/>
                <a:gd name="connsiteY212" fmla="*/ 362 h 10000"/>
                <a:gd name="connsiteX213" fmla="*/ 7276 w 10000"/>
                <a:gd name="connsiteY213" fmla="*/ 445 h 10000"/>
                <a:gd name="connsiteX214" fmla="*/ 7223 w 10000"/>
                <a:gd name="connsiteY214" fmla="*/ 435 h 10000"/>
                <a:gd name="connsiteX215" fmla="*/ 7102 w 10000"/>
                <a:gd name="connsiteY215" fmla="*/ 366 h 10000"/>
                <a:gd name="connsiteX216" fmla="*/ 6951 w 10000"/>
                <a:gd name="connsiteY216" fmla="*/ 331 h 10000"/>
                <a:gd name="connsiteX217" fmla="*/ 6784 w 10000"/>
                <a:gd name="connsiteY217" fmla="*/ 341 h 10000"/>
                <a:gd name="connsiteX218" fmla="*/ 6402 w 10000"/>
                <a:gd name="connsiteY218" fmla="*/ 498 h 10000"/>
                <a:gd name="connsiteX219" fmla="*/ 6301 w 10000"/>
                <a:gd name="connsiteY219" fmla="*/ 656 h 10000"/>
                <a:gd name="connsiteX220" fmla="*/ 6013 w 10000"/>
                <a:gd name="connsiteY220" fmla="*/ 797 h 10000"/>
                <a:gd name="connsiteX221" fmla="*/ 5961 w 10000"/>
                <a:gd name="connsiteY221" fmla="*/ 868 h 10000"/>
                <a:gd name="connsiteX222" fmla="*/ 5098 w 10000"/>
                <a:gd name="connsiteY222" fmla="*/ 1750 h 10000"/>
                <a:gd name="connsiteX223" fmla="*/ 4837 w 10000"/>
                <a:gd name="connsiteY223" fmla="*/ 1818 h 10000"/>
                <a:gd name="connsiteX224" fmla="*/ 4671 w 10000"/>
                <a:gd name="connsiteY224" fmla="*/ 1814 h 10000"/>
                <a:gd name="connsiteX225" fmla="*/ 4571 w 10000"/>
                <a:gd name="connsiteY225" fmla="*/ 1838 h 10000"/>
                <a:gd name="connsiteX226" fmla="*/ 4298 w 10000"/>
                <a:gd name="connsiteY226" fmla="*/ 2503 h 10000"/>
                <a:gd name="connsiteX227" fmla="*/ 3668 w 10000"/>
                <a:gd name="connsiteY227" fmla="*/ 2891 h 10000"/>
                <a:gd name="connsiteX228" fmla="*/ 3672 w 10000"/>
                <a:gd name="connsiteY228" fmla="*/ 2952 h 10000"/>
                <a:gd name="connsiteX229" fmla="*/ 3952 w 10000"/>
                <a:gd name="connsiteY229" fmla="*/ 3126 h 10000"/>
                <a:gd name="connsiteX230" fmla="*/ 3861 w 10000"/>
                <a:gd name="connsiteY230" fmla="*/ 3314 h 10000"/>
                <a:gd name="connsiteX231" fmla="*/ 3698 w 10000"/>
                <a:gd name="connsiteY231" fmla="*/ 3383 h 10000"/>
                <a:gd name="connsiteX232" fmla="*/ 3208 w 10000"/>
                <a:gd name="connsiteY232" fmla="*/ 3337 h 10000"/>
                <a:gd name="connsiteX233" fmla="*/ 2871 w 10000"/>
                <a:gd name="connsiteY233" fmla="*/ 3363 h 10000"/>
                <a:gd name="connsiteX234" fmla="*/ 2601 w 10000"/>
                <a:gd name="connsiteY234" fmla="*/ 3419 h 10000"/>
                <a:gd name="connsiteX235" fmla="*/ 2163 w 10000"/>
                <a:gd name="connsiteY235" fmla="*/ 3592 h 10000"/>
                <a:gd name="connsiteX236" fmla="*/ 1931 w 10000"/>
                <a:gd name="connsiteY236" fmla="*/ 3802 h 10000"/>
                <a:gd name="connsiteX237" fmla="*/ 1951 w 10000"/>
                <a:gd name="connsiteY237" fmla="*/ 3919 h 10000"/>
                <a:gd name="connsiteX238" fmla="*/ 2032 w 10000"/>
                <a:gd name="connsiteY238" fmla="*/ 4009 h 10000"/>
                <a:gd name="connsiteX239" fmla="*/ 2093 w 10000"/>
                <a:gd name="connsiteY239" fmla="*/ 4045 h 10000"/>
                <a:gd name="connsiteX240" fmla="*/ 1979 w 10000"/>
                <a:gd name="connsiteY240" fmla="*/ 4103 h 10000"/>
                <a:gd name="connsiteX241" fmla="*/ 1731 w 10000"/>
                <a:gd name="connsiteY241" fmla="*/ 4497 h 10000"/>
                <a:gd name="connsiteX242" fmla="*/ 1779 w 10000"/>
                <a:gd name="connsiteY242" fmla="*/ 4520 h 10000"/>
                <a:gd name="connsiteX243" fmla="*/ 1815 w 10000"/>
                <a:gd name="connsiteY243" fmla="*/ 4620 h 10000"/>
                <a:gd name="connsiteX244" fmla="*/ 1700 w 10000"/>
                <a:gd name="connsiteY244" fmla="*/ 5035 h 10000"/>
                <a:gd name="connsiteX245" fmla="*/ 1815 w 10000"/>
                <a:gd name="connsiteY245" fmla="*/ 5141 h 10000"/>
                <a:gd name="connsiteX246" fmla="*/ 2131 w 10000"/>
                <a:gd name="connsiteY246" fmla="*/ 5257 h 10000"/>
                <a:gd name="connsiteX247" fmla="*/ 2145 w 10000"/>
                <a:gd name="connsiteY247" fmla="*/ 5399 h 10000"/>
                <a:gd name="connsiteX248" fmla="*/ 2010 w 10000"/>
                <a:gd name="connsiteY248" fmla="*/ 5517 h 10000"/>
                <a:gd name="connsiteX249" fmla="*/ 1815 w 10000"/>
                <a:gd name="connsiteY249" fmla="*/ 5588 h 10000"/>
                <a:gd name="connsiteX250" fmla="*/ 1557 w 10000"/>
                <a:gd name="connsiteY250" fmla="*/ 5617 h 10000"/>
                <a:gd name="connsiteX251" fmla="*/ 1490 w 10000"/>
                <a:gd name="connsiteY251" fmla="*/ 5658 h 10000"/>
                <a:gd name="connsiteX252" fmla="*/ 1640 w 10000"/>
                <a:gd name="connsiteY252" fmla="*/ 5755 h 10000"/>
                <a:gd name="connsiteX253" fmla="*/ 1726 w 10000"/>
                <a:gd name="connsiteY253" fmla="*/ 5987 h 10000"/>
                <a:gd name="connsiteX254" fmla="*/ 1531 w 10000"/>
                <a:gd name="connsiteY254" fmla="*/ 6185 h 10000"/>
                <a:gd name="connsiteX255" fmla="*/ 1599 w 10000"/>
                <a:gd name="connsiteY255" fmla="*/ 6247 h 10000"/>
                <a:gd name="connsiteX256" fmla="*/ 1537 w 10000"/>
                <a:gd name="connsiteY256" fmla="*/ 6351 h 10000"/>
                <a:gd name="connsiteX257" fmla="*/ 1412 w 10000"/>
                <a:gd name="connsiteY257" fmla="*/ 6422 h 10000"/>
                <a:gd name="connsiteX258" fmla="*/ 915 w 10000"/>
                <a:gd name="connsiteY258" fmla="*/ 6477 h 10000"/>
                <a:gd name="connsiteX259" fmla="*/ 885 w 10000"/>
                <a:gd name="connsiteY259" fmla="*/ 6573 h 10000"/>
                <a:gd name="connsiteX260" fmla="*/ 617 w 10000"/>
                <a:gd name="connsiteY260" fmla="*/ 6716 h 10000"/>
                <a:gd name="connsiteX261" fmla="*/ 652 w 10000"/>
                <a:gd name="connsiteY261" fmla="*/ 6921 h 10000"/>
                <a:gd name="connsiteX262" fmla="*/ 427 w 10000"/>
                <a:gd name="connsiteY262" fmla="*/ 7184 h 10000"/>
                <a:gd name="connsiteX263" fmla="*/ 274 w 10000"/>
                <a:gd name="connsiteY263" fmla="*/ 7215 h 10000"/>
                <a:gd name="connsiteX264" fmla="*/ 210 w 10000"/>
                <a:gd name="connsiteY264" fmla="*/ 7152 h 10000"/>
                <a:gd name="connsiteX265" fmla="*/ 132 w 10000"/>
                <a:gd name="connsiteY265" fmla="*/ 7247 h 10000"/>
                <a:gd name="connsiteX266" fmla="*/ 183 w 10000"/>
                <a:gd name="connsiteY266" fmla="*/ 7084 h 10000"/>
                <a:gd name="connsiteX267" fmla="*/ 151 w 10000"/>
                <a:gd name="connsiteY267"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7512 w 10000"/>
                <a:gd name="connsiteY211" fmla="*/ 201 h 10000"/>
                <a:gd name="connsiteX212" fmla="*/ 7406 w 10000"/>
                <a:gd name="connsiteY212" fmla="*/ 362 h 10000"/>
                <a:gd name="connsiteX213" fmla="*/ 7276 w 10000"/>
                <a:gd name="connsiteY213" fmla="*/ 445 h 10000"/>
                <a:gd name="connsiteX214" fmla="*/ 7223 w 10000"/>
                <a:gd name="connsiteY214" fmla="*/ 435 h 10000"/>
                <a:gd name="connsiteX215" fmla="*/ 7102 w 10000"/>
                <a:gd name="connsiteY215" fmla="*/ 366 h 10000"/>
                <a:gd name="connsiteX216" fmla="*/ 6951 w 10000"/>
                <a:gd name="connsiteY216" fmla="*/ 331 h 10000"/>
                <a:gd name="connsiteX217" fmla="*/ 6784 w 10000"/>
                <a:gd name="connsiteY217" fmla="*/ 341 h 10000"/>
                <a:gd name="connsiteX218" fmla="*/ 6402 w 10000"/>
                <a:gd name="connsiteY218" fmla="*/ 498 h 10000"/>
                <a:gd name="connsiteX219" fmla="*/ 6301 w 10000"/>
                <a:gd name="connsiteY219" fmla="*/ 656 h 10000"/>
                <a:gd name="connsiteX220" fmla="*/ 6013 w 10000"/>
                <a:gd name="connsiteY220" fmla="*/ 797 h 10000"/>
                <a:gd name="connsiteX221" fmla="*/ 5098 w 10000"/>
                <a:gd name="connsiteY221" fmla="*/ 1750 h 10000"/>
                <a:gd name="connsiteX222" fmla="*/ 4837 w 10000"/>
                <a:gd name="connsiteY222" fmla="*/ 1818 h 10000"/>
                <a:gd name="connsiteX223" fmla="*/ 4671 w 10000"/>
                <a:gd name="connsiteY223" fmla="*/ 1814 h 10000"/>
                <a:gd name="connsiteX224" fmla="*/ 4571 w 10000"/>
                <a:gd name="connsiteY224" fmla="*/ 1838 h 10000"/>
                <a:gd name="connsiteX225" fmla="*/ 4298 w 10000"/>
                <a:gd name="connsiteY225" fmla="*/ 2503 h 10000"/>
                <a:gd name="connsiteX226" fmla="*/ 3668 w 10000"/>
                <a:gd name="connsiteY226" fmla="*/ 2891 h 10000"/>
                <a:gd name="connsiteX227" fmla="*/ 3672 w 10000"/>
                <a:gd name="connsiteY227" fmla="*/ 2952 h 10000"/>
                <a:gd name="connsiteX228" fmla="*/ 3952 w 10000"/>
                <a:gd name="connsiteY228" fmla="*/ 3126 h 10000"/>
                <a:gd name="connsiteX229" fmla="*/ 3861 w 10000"/>
                <a:gd name="connsiteY229" fmla="*/ 3314 h 10000"/>
                <a:gd name="connsiteX230" fmla="*/ 3698 w 10000"/>
                <a:gd name="connsiteY230" fmla="*/ 3383 h 10000"/>
                <a:gd name="connsiteX231" fmla="*/ 3208 w 10000"/>
                <a:gd name="connsiteY231" fmla="*/ 3337 h 10000"/>
                <a:gd name="connsiteX232" fmla="*/ 2871 w 10000"/>
                <a:gd name="connsiteY232" fmla="*/ 3363 h 10000"/>
                <a:gd name="connsiteX233" fmla="*/ 2601 w 10000"/>
                <a:gd name="connsiteY233" fmla="*/ 3419 h 10000"/>
                <a:gd name="connsiteX234" fmla="*/ 2163 w 10000"/>
                <a:gd name="connsiteY234" fmla="*/ 3592 h 10000"/>
                <a:gd name="connsiteX235" fmla="*/ 1931 w 10000"/>
                <a:gd name="connsiteY235" fmla="*/ 3802 h 10000"/>
                <a:gd name="connsiteX236" fmla="*/ 1951 w 10000"/>
                <a:gd name="connsiteY236" fmla="*/ 3919 h 10000"/>
                <a:gd name="connsiteX237" fmla="*/ 2032 w 10000"/>
                <a:gd name="connsiteY237" fmla="*/ 4009 h 10000"/>
                <a:gd name="connsiteX238" fmla="*/ 2093 w 10000"/>
                <a:gd name="connsiteY238" fmla="*/ 4045 h 10000"/>
                <a:gd name="connsiteX239" fmla="*/ 1979 w 10000"/>
                <a:gd name="connsiteY239" fmla="*/ 4103 h 10000"/>
                <a:gd name="connsiteX240" fmla="*/ 1731 w 10000"/>
                <a:gd name="connsiteY240" fmla="*/ 4497 h 10000"/>
                <a:gd name="connsiteX241" fmla="*/ 1779 w 10000"/>
                <a:gd name="connsiteY241" fmla="*/ 4520 h 10000"/>
                <a:gd name="connsiteX242" fmla="*/ 1815 w 10000"/>
                <a:gd name="connsiteY242" fmla="*/ 4620 h 10000"/>
                <a:gd name="connsiteX243" fmla="*/ 1700 w 10000"/>
                <a:gd name="connsiteY243" fmla="*/ 5035 h 10000"/>
                <a:gd name="connsiteX244" fmla="*/ 1815 w 10000"/>
                <a:gd name="connsiteY244" fmla="*/ 5141 h 10000"/>
                <a:gd name="connsiteX245" fmla="*/ 2131 w 10000"/>
                <a:gd name="connsiteY245" fmla="*/ 5257 h 10000"/>
                <a:gd name="connsiteX246" fmla="*/ 2145 w 10000"/>
                <a:gd name="connsiteY246" fmla="*/ 5399 h 10000"/>
                <a:gd name="connsiteX247" fmla="*/ 2010 w 10000"/>
                <a:gd name="connsiteY247" fmla="*/ 5517 h 10000"/>
                <a:gd name="connsiteX248" fmla="*/ 1815 w 10000"/>
                <a:gd name="connsiteY248" fmla="*/ 5588 h 10000"/>
                <a:gd name="connsiteX249" fmla="*/ 1557 w 10000"/>
                <a:gd name="connsiteY249" fmla="*/ 5617 h 10000"/>
                <a:gd name="connsiteX250" fmla="*/ 1490 w 10000"/>
                <a:gd name="connsiteY250" fmla="*/ 5658 h 10000"/>
                <a:gd name="connsiteX251" fmla="*/ 1640 w 10000"/>
                <a:gd name="connsiteY251" fmla="*/ 5755 h 10000"/>
                <a:gd name="connsiteX252" fmla="*/ 1726 w 10000"/>
                <a:gd name="connsiteY252" fmla="*/ 5987 h 10000"/>
                <a:gd name="connsiteX253" fmla="*/ 1531 w 10000"/>
                <a:gd name="connsiteY253" fmla="*/ 6185 h 10000"/>
                <a:gd name="connsiteX254" fmla="*/ 1599 w 10000"/>
                <a:gd name="connsiteY254" fmla="*/ 6247 h 10000"/>
                <a:gd name="connsiteX255" fmla="*/ 1537 w 10000"/>
                <a:gd name="connsiteY255" fmla="*/ 6351 h 10000"/>
                <a:gd name="connsiteX256" fmla="*/ 1412 w 10000"/>
                <a:gd name="connsiteY256" fmla="*/ 6422 h 10000"/>
                <a:gd name="connsiteX257" fmla="*/ 915 w 10000"/>
                <a:gd name="connsiteY257" fmla="*/ 6477 h 10000"/>
                <a:gd name="connsiteX258" fmla="*/ 885 w 10000"/>
                <a:gd name="connsiteY258" fmla="*/ 6573 h 10000"/>
                <a:gd name="connsiteX259" fmla="*/ 617 w 10000"/>
                <a:gd name="connsiteY259" fmla="*/ 6716 h 10000"/>
                <a:gd name="connsiteX260" fmla="*/ 652 w 10000"/>
                <a:gd name="connsiteY260" fmla="*/ 6921 h 10000"/>
                <a:gd name="connsiteX261" fmla="*/ 427 w 10000"/>
                <a:gd name="connsiteY261" fmla="*/ 7184 h 10000"/>
                <a:gd name="connsiteX262" fmla="*/ 274 w 10000"/>
                <a:gd name="connsiteY262" fmla="*/ 7215 h 10000"/>
                <a:gd name="connsiteX263" fmla="*/ 210 w 10000"/>
                <a:gd name="connsiteY263" fmla="*/ 7152 h 10000"/>
                <a:gd name="connsiteX264" fmla="*/ 132 w 10000"/>
                <a:gd name="connsiteY264" fmla="*/ 7247 h 10000"/>
                <a:gd name="connsiteX265" fmla="*/ 183 w 10000"/>
                <a:gd name="connsiteY265" fmla="*/ 7084 h 10000"/>
                <a:gd name="connsiteX266" fmla="*/ 151 w 10000"/>
                <a:gd name="connsiteY266"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7512 w 10000"/>
                <a:gd name="connsiteY211" fmla="*/ 201 h 10000"/>
                <a:gd name="connsiteX212" fmla="*/ 7406 w 10000"/>
                <a:gd name="connsiteY212" fmla="*/ 362 h 10000"/>
                <a:gd name="connsiteX213" fmla="*/ 7276 w 10000"/>
                <a:gd name="connsiteY213" fmla="*/ 445 h 10000"/>
                <a:gd name="connsiteX214" fmla="*/ 7223 w 10000"/>
                <a:gd name="connsiteY214" fmla="*/ 435 h 10000"/>
                <a:gd name="connsiteX215" fmla="*/ 7102 w 10000"/>
                <a:gd name="connsiteY215" fmla="*/ 366 h 10000"/>
                <a:gd name="connsiteX216" fmla="*/ 6951 w 10000"/>
                <a:gd name="connsiteY216" fmla="*/ 331 h 10000"/>
                <a:gd name="connsiteX217" fmla="*/ 6784 w 10000"/>
                <a:gd name="connsiteY217" fmla="*/ 341 h 10000"/>
                <a:gd name="connsiteX218" fmla="*/ 6402 w 10000"/>
                <a:gd name="connsiteY218" fmla="*/ 498 h 10000"/>
                <a:gd name="connsiteX219" fmla="*/ 6301 w 10000"/>
                <a:gd name="connsiteY219" fmla="*/ 656 h 10000"/>
                <a:gd name="connsiteX220" fmla="*/ 5098 w 10000"/>
                <a:gd name="connsiteY220" fmla="*/ 1750 h 10000"/>
                <a:gd name="connsiteX221" fmla="*/ 4837 w 10000"/>
                <a:gd name="connsiteY221" fmla="*/ 1818 h 10000"/>
                <a:gd name="connsiteX222" fmla="*/ 4671 w 10000"/>
                <a:gd name="connsiteY222" fmla="*/ 1814 h 10000"/>
                <a:gd name="connsiteX223" fmla="*/ 4571 w 10000"/>
                <a:gd name="connsiteY223" fmla="*/ 1838 h 10000"/>
                <a:gd name="connsiteX224" fmla="*/ 4298 w 10000"/>
                <a:gd name="connsiteY224" fmla="*/ 2503 h 10000"/>
                <a:gd name="connsiteX225" fmla="*/ 3668 w 10000"/>
                <a:gd name="connsiteY225" fmla="*/ 2891 h 10000"/>
                <a:gd name="connsiteX226" fmla="*/ 3672 w 10000"/>
                <a:gd name="connsiteY226" fmla="*/ 2952 h 10000"/>
                <a:gd name="connsiteX227" fmla="*/ 3952 w 10000"/>
                <a:gd name="connsiteY227" fmla="*/ 3126 h 10000"/>
                <a:gd name="connsiteX228" fmla="*/ 3861 w 10000"/>
                <a:gd name="connsiteY228" fmla="*/ 3314 h 10000"/>
                <a:gd name="connsiteX229" fmla="*/ 3698 w 10000"/>
                <a:gd name="connsiteY229" fmla="*/ 3383 h 10000"/>
                <a:gd name="connsiteX230" fmla="*/ 3208 w 10000"/>
                <a:gd name="connsiteY230" fmla="*/ 3337 h 10000"/>
                <a:gd name="connsiteX231" fmla="*/ 2871 w 10000"/>
                <a:gd name="connsiteY231" fmla="*/ 3363 h 10000"/>
                <a:gd name="connsiteX232" fmla="*/ 2601 w 10000"/>
                <a:gd name="connsiteY232" fmla="*/ 3419 h 10000"/>
                <a:gd name="connsiteX233" fmla="*/ 2163 w 10000"/>
                <a:gd name="connsiteY233" fmla="*/ 3592 h 10000"/>
                <a:gd name="connsiteX234" fmla="*/ 1931 w 10000"/>
                <a:gd name="connsiteY234" fmla="*/ 3802 h 10000"/>
                <a:gd name="connsiteX235" fmla="*/ 1951 w 10000"/>
                <a:gd name="connsiteY235" fmla="*/ 3919 h 10000"/>
                <a:gd name="connsiteX236" fmla="*/ 2032 w 10000"/>
                <a:gd name="connsiteY236" fmla="*/ 4009 h 10000"/>
                <a:gd name="connsiteX237" fmla="*/ 2093 w 10000"/>
                <a:gd name="connsiteY237" fmla="*/ 4045 h 10000"/>
                <a:gd name="connsiteX238" fmla="*/ 1979 w 10000"/>
                <a:gd name="connsiteY238" fmla="*/ 4103 h 10000"/>
                <a:gd name="connsiteX239" fmla="*/ 1731 w 10000"/>
                <a:gd name="connsiteY239" fmla="*/ 4497 h 10000"/>
                <a:gd name="connsiteX240" fmla="*/ 1779 w 10000"/>
                <a:gd name="connsiteY240" fmla="*/ 4520 h 10000"/>
                <a:gd name="connsiteX241" fmla="*/ 1815 w 10000"/>
                <a:gd name="connsiteY241" fmla="*/ 4620 h 10000"/>
                <a:gd name="connsiteX242" fmla="*/ 1700 w 10000"/>
                <a:gd name="connsiteY242" fmla="*/ 5035 h 10000"/>
                <a:gd name="connsiteX243" fmla="*/ 1815 w 10000"/>
                <a:gd name="connsiteY243" fmla="*/ 5141 h 10000"/>
                <a:gd name="connsiteX244" fmla="*/ 2131 w 10000"/>
                <a:gd name="connsiteY244" fmla="*/ 5257 h 10000"/>
                <a:gd name="connsiteX245" fmla="*/ 2145 w 10000"/>
                <a:gd name="connsiteY245" fmla="*/ 5399 h 10000"/>
                <a:gd name="connsiteX246" fmla="*/ 2010 w 10000"/>
                <a:gd name="connsiteY246" fmla="*/ 5517 h 10000"/>
                <a:gd name="connsiteX247" fmla="*/ 1815 w 10000"/>
                <a:gd name="connsiteY247" fmla="*/ 5588 h 10000"/>
                <a:gd name="connsiteX248" fmla="*/ 1557 w 10000"/>
                <a:gd name="connsiteY248" fmla="*/ 5617 h 10000"/>
                <a:gd name="connsiteX249" fmla="*/ 1490 w 10000"/>
                <a:gd name="connsiteY249" fmla="*/ 5658 h 10000"/>
                <a:gd name="connsiteX250" fmla="*/ 1640 w 10000"/>
                <a:gd name="connsiteY250" fmla="*/ 5755 h 10000"/>
                <a:gd name="connsiteX251" fmla="*/ 1726 w 10000"/>
                <a:gd name="connsiteY251" fmla="*/ 5987 h 10000"/>
                <a:gd name="connsiteX252" fmla="*/ 1531 w 10000"/>
                <a:gd name="connsiteY252" fmla="*/ 6185 h 10000"/>
                <a:gd name="connsiteX253" fmla="*/ 1599 w 10000"/>
                <a:gd name="connsiteY253" fmla="*/ 6247 h 10000"/>
                <a:gd name="connsiteX254" fmla="*/ 1537 w 10000"/>
                <a:gd name="connsiteY254" fmla="*/ 6351 h 10000"/>
                <a:gd name="connsiteX255" fmla="*/ 1412 w 10000"/>
                <a:gd name="connsiteY255" fmla="*/ 6422 h 10000"/>
                <a:gd name="connsiteX256" fmla="*/ 915 w 10000"/>
                <a:gd name="connsiteY256" fmla="*/ 6477 h 10000"/>
                <a:gd name="connsiteX257" fmla="*/ 885 w 10000"/>
                <a:gd name="connsiteY257" fmla="*/ 6573 h 10000"/>
                <a:gd name="connsiteX258" fmla="*/ 617 w 10000"/>
                <a:gd name="connsiteY258" fmla="*/ 6716 h 10000"/>
                <a:gd name="connsiteX259" fmla="*/ 652 w 10000"/>
                <a:gd name="connsiteY259" fmla="*/ 6921 h 10000"/>
                <a:gd name="connsiteX260" fmla="*/ 427 w 10000"/>
                <a:gd name="connsiteY260" fmla="*/ 7184 h 10000"/>
                <a:gd name="connsiteX261" fmla="*/ 274 w 10000"/>
                <a:gd name="connsiteY261" fmla="*/ 7215 h 10000"/>
                <a:gd name="connsiteX262" fmla="*/ 210 w 10000"/>
                <a:gd name="connsiteY262" fmla="*/ 7152 h 10000"/>
                <a:gd name="connsiteX263" fmla="*/ 132 w 10000"/>
                <a:gd name="connsiteY263" fmla="*/ 7247 h 10000"/>
                <a:gd name="connsiteX264" fmla="*/ 183 w 10000"/>
                <a:gd name="connsiteY264" fmla="*/ 7084 h 10000"/>
                <a:gd name="connsiteX265" fmla="*/ 151 w 10000"/>
                <a:gd name="connsiteY265"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7512 w 10000"/>
                <a:gd name="connsiteY211" fmla="*/ 201 h 10000"/>
                <a:gd name="connsiteX212" fmla="*/ 7406 w 10000"/>
                <a:gd name="connsiteY212" fmla="*/ 362 h 10000"/>
                <a:gd name="connsiteX213" fmla="*/ 7276 w 10000"/>
                <a:gd name="connsiteY213" fmla="*/ 445 h 10000"/>
                <a:gd name="connsiteX214" fmla="*/ 7223 w 10000"/>
                <a:gd name="connsiteY214" fmla="*/ 435 h 10000"/>
                <a:gd name="connsiteX215" fmla="*/ 7102 w 10000"/>
                <a:gd name="connsiteY215" fmla="*/ 366 h 10000"/>
                <a:gd name="connsiteX216" fmla="*/ 6951 w 10000"/>
                <a:gd name="connsiteY216" fmla="*/ 331 h 10000"/>
                <a:gd name="connsiteX217" fmla="*/ 6784 w 10000"/>
                <a:gd name="connsiteY217" fmla="*/ 341 h 10000"/>
                <a:gd name="connsiteX218" fmla="*/ 6402 w 10000"/>
                <a:gd name="connsiteY218" fmla="*/ 498 h 10000"/>
                <a:gd name="connsiteX219" fmla="*/ 5098 w 10000"/>
                <a:gd name="connsiteY219" fmla="*/ 1750 h 10000"/>
                <a:gd name="connsiteX220" fmla="*/ 4837 w 10000"/>
                <a:gd name="connsiteY220" fmla="*/ 1818 h 10000"/>
                <a:gd name="connsiteX221" fmla="*/ 4671 w 10000"/>
                <a:gd name="connsiteY221" fmla="*/ 1814 h 10000"/>
                <a:gd name="connsiteX222" fmla="*/ 4571 w 10000"/>
                <a:gd name="connsiteY222" fmla="*/ 1838 h 10000"/>
                <a:gd name="connsiteX223" fmla="*/ 4298 w 10000"/>
                <a:gd name="connsiteY223" fmla="*/ 2503 h 10000"/>
                <a:gd name="connsiteX224" fmla="*/ 3668 w 10000"/>
                <a:gd name="connsiteY224" fmla="*/ 2891 h 10000"/>
                <a:gd name="connsiteX225" fmla="*/ 3672 w 10000"/>
                <a:gd name="connsiteY225" fmla="*/ 2952 h 10000"/>
                <a:gd name="connsiteX226" fmla="*/ 3952 w 10000"/>
                <a:gd name="connsiteY226" fmla="*/ 3126 h 10000"/>
                <a:gd name="connsiteX227" fmla="*/ 3861 w 10000"/>
                <a:gd name="connsiteY227" fmla="*/ 3314 h 10000"/>
                <a:gd name="connsiteX228" fmla="*/ 3698 w 10000"/>
                <a:gd name="connsiteY228" fmla="*/ 3383 h 10000"/>
                <a:gd name="connsiteX229" fmla="*/ 3208 w 10000"/>
                <a:gd name="connsiteY229" fmla="*/ 3337 h 10000"/>
                <a:gd name="connsiteX230" fmla="*/ 2871 w 10000"/>
                <a:gd name="connsiteY230" fmla="*/ 3363 h 10000"/>
                <a:gd name="connsiteX231" fmla="*/ 2601 w 10000"/>
                <a:gd name="connsiteY231" fmla="*/ 3419 h 10000"/>
                <a:gd name="connsiteX232" fmla="*/ 2163 w 10000"/>
                <a:gd name="connsiteY232" fmla="*/ 3592 h 10000"/>
                <a:gd name="connsiteX233" fmla="*/ 1931 w 10000"/>
                <a:gd name="connsiteY233" fmla="*/ 3802 h 10000"/>
                <a:gd name="connsiteX234" fmla="*/ 1951 w 10000"/>
                <a:gd name="connsiteY234" fmla="*/ 3919 h 10000"/>
                <a:gd name="connsiteX235" fmla="*/ 2032 w 10000"/>
                <a:gd name="connsiteY235" fmla="*/ 4009 h 10000"/>
                <a:gd name="connsiteX236" fmla="*/ 2093 w 10000"/>
                <a:gd name="connsiteY236" fmla="*/ 4045 h 10000"/>
                <a:gd name="connsiteX237" fmla="*/ 1979 w 10000"/>
                <a:gd name="connsiteY237" fmla="*/ 4103 h 10000"/>
                <a:gd name="connsiteX238" fmla="*/ 1731 w 10000"/>
                <a:gd name="connsiteY238" fmla="*/ 4497 h 10000"/>
                <a:gd name="connsiteX239" fmla="*/ 1779 w 10000"/>
                <a:gd name="connsiteY239" fmla="*/ 4520 h 10000"/>
                <a:gd name="connsiteX240" fmla="*/ 1815 w 10000"/>
                <a:gd name="connsiteY240" fmla="*/ 4620 h 10000"/>
                <a:gd name="connsiteX241" fmla="*/ 1700 w 10000"/>
                <a:gd name="connsiteY241" fmla="*/ 5035 h 10000"/>
                <a:gd name="connsiteX242" fmla="*/ 1815 w 10000"/>
                <a:gd name="connsiteY242" fmla="*/ 5141 h 10000"/>
                <a:gd name="connsiteX243" fmla="*/ 2131 w 10000"/>
                <a:gd name="connsiteY243" fmla="*/ 5257 h 10000"/>
                <a:gd name="connsiteX244" fmla="*/ 2145 w 10000"/>
                <a:gd name="connsiteY244" fmla="*/ 5399 h 10000"/>
                <a:gd name="connsiteX245" fmla="*/ 2010 w 10000"/>
                <a:gd name="connsiteY245" fmla="*/ 5517 h 10000"/>
                <a:gd name="connsiteX246" fmla="*/ 1815 w 10000"/>
                <a:gd name="connsiteY246" fmla="*/ 5588 h 10000"/>
                <a:gd name="connsiteX247" fmla="*/ 1557 w 10000"/>
                <a:gd name="connsiteY247" fmla="*/ 5617 h 10000"/>
                <a:gd name="connsiteX248" fmla="*/ 1490 w 10000"/>
                <a:gd name="connsiteY248" fmla="*/ 5658 h 10000"/>
                <a:gd name="connsiteX249" fmla="*/ 1640 w 10000"/>
                <a:gd name="connsiteY249" fmla="*/ 5755 h 10000"/>
                <a:gd name="connsiteX250" fmla="*/ 1726 w 10000"/>
                <a:gd name="connsiteY250" fmla="*/ 5987 h 10000"/>
                <a:gd name="connsiteX251" fmla="*/ 1531 w 10000"/>
                <a:gd name="connsiteY251" fmla="*/ 6185 h 10000"/>
                <a:gd name="connsiteX252" fmla="*/ 1599 w 10000"/>
                <a:gd name="connsiteY252" fmla="*/ 6247 h 10000"/>
                <a:gd name="connsiteX253" fmla="*/ 1537 w 10000"/>
                <a:gd name="connsiteY253" fmla="*/ 6351 h 10000"/>
                <a:gd name="connsiteX254" fmla="*/ 1412 w 10000"/>
                <a:gd name="connsiteY254" fmla="*/ 6422 h 10000"/>
                <a:gd name="connsiteX255" fmla="*/ 915 w 10000"/>
                <a:gd name="connsiteY255" fmla="*/ 6477 h 10000"/>
                <a:gd name="connsiteX256" fmla="*/ 885 w 10000"/>
                <a:gd name="connsiteY256" fmla="*/ 6573 h 10000"/>
                <a:gd name="connsiteX257" fmla="*/ 617 w 10000"/>
                <a:gd name="connsiteY257" fmla="*/ 6716 h 10000"/>
                <a:gd name="connsiteX258" fmla="*/ 652 w 10000"/>
                <a:gd name="connsiteY258" fmla="*/ 6921 h 10000"/>
                <a:gd name="connsiteX259" fmla="*/ 427 w 10000"/>
                <a:gd name="connsiteY259" fmla="*/ 7184 h 10000"/>
                <a:gd name="connsiteX260" fmla="*/ 274 w 10000"/>
                <a:gd name="connsiteY260" fmla="*/ 7215 h 10000"/>
                <a:gd name="connsiteX261" fmla="*/ 210 w 10000"/>
                <a:gd name="connsiteY261" fmla="*/ 7152 h 10000"/>
                <a:gd name="connsiteX262" fmla="*/ 132 w 10000"/>
                <a:gd name="connsiteY262" fmla="*/ 7247 h 10000"/>
                <a:gd name="connsiteX263" fmla="*/ 183 w 10000"/>
                <a:gd name="connsiteY263" fmla="*/ 7084 h 10000"/>
                <a:gd name="connsiteX264" fmla="*/ 151 w 10000"/>
                <a:gd name="connsiteY264"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7512 w 10000"/>
                <a:gd name="connsiteY211" fmla="*/ 201 h 10000"/>
                <a:gd name="connsiteX212" fmla="*/ 7406 w 10000"/>
                <a:gd name="connsiteY212" fmla="*/ 362 h 10000"/>
                <a:gd name="connsiteX213" fmla="*/ 7276 w 10000"/>
                <a:gd name="connsiteY213" fmla="*/ 445 h 10000"/>
                <a:gd name="connsiteX214" fmla="*/ 7223 w 10000"/>
                <a:gd name="connsiteY214" fmla="*/ 435 h 10000"/>
                <a:gd name="connsiteX215" fmla="*/ 7102 w 10000"/>
                <a:gd name="connsiteY215" fmla="*/ 366 h 10000"/>
                <a:gd name="connsiteX216" fmla="*/ 6951 w 10000"/>
                <a:gd name="connsiteY216" fmla="*/ 331 h 10000"/>
                <a:gd name="connsiteX217" fmla="*/ 6784 w 10000"/>
                <a:gd name="connsiteY217" fmla="*/ 341 h 10000"/>
                <a:gd name="connsiteX218" fmla="*/ 5098 w 10000"/>
                <a:gd name="connsiteY218" fmla="*/ 1750 h 10000"/>
                <a:gd name="connsiteX219" fmla="*/ 4837 w 10000"/>
                <a:gd name="connsiteY219" fmla="*/ 1818 h 10000"/>
                <a:gd name="connsiteX220" fmla="*/ 4671 w 10000"/>
                <a:gd name="connsiteY220" fmla="*/ 1814 h 10000"/>
                <a:gd name="connsiteX221" fmla="*/ 4571 w 10000"/>
                <a:gd name="connsiteY221" fmla="*/ 1838 h 10000"/>
                <a:gd name="connsiteX222" fmla="*/ 4298 w 10000"/>
                <a:gd name="connsiteY222" fmla="*/ 2503 h 10000"/>
                <a:gd name="connsiteX223" fmla="*/ 3668 w 10000"/>
                <a:gd name="connsiteY223" fmla="*/ 2891 h 10000"/>
                <a:gd name="connsiteX224" fmla="*/ 3672 w 10000"/>
                <a:gd name="connsiteY224" fmla="*/ 2952 h 10000"/>
                <a:gd name="connsiteX225" fmla="*/ 3952 w 10000"/>
                <a:gd name="connsiteY225" fmla="*/ 3126 h 10000"/>
                <a:gd name="connsiteX226" fmla="*/ 3861 w 10000"/>
                <a:gd name="connsiteY226" fmla="*/ 3314 h 10000"/>
                <a:gd name="connsiteX227" fmla="*/ 3698 w 10000"/>
                <a:gd name="connsiteY227" fmla="*/ 3383 h 10000"/>
                <a:gd name="connsiteX228" fmla="*/ 3208 w 10000"/>
                <a:gd name="connsiteY228" fmla="*/ 3337 h 10000"/>
                <a:gd name="connsiteX229" fmla="*/ 2871 w 10000"/>
                <a:gd name="connsiteY229" fmla="*/ 3363 h 10000"/>
                <a:gd name="connsiteX230" fmla="*/ 2601 w 10000"/>
                <a:gd name="connsiteY230" fmla="*/ 3419 h 10000"/>
                <a:gd name="connsiteX231" fmla="*/ 2163 w 10000"/>
                <a:gd name="connsiteY231" fmla="*/ 3592 h 10000"/>
                <a:gd name="connsiteX232" fmla="*/ 1931 w 10000"/>
                <a:gd name="connsiteY232" fmla="*/ 3802 h 10000"/>
                <a:gd name="connsiteX233" fmla="*/ 1951 w 10000"/>
                <a:gd name="connsiteY233" fmla="*/ 3919 h 10000"/>
                <a:gd name="connsiteX234" fmla="*/ 2032 w 10000"/>
                <a:gd name="connsiteY234" fmla="*/ 4009 h 10000"/>
                <a:gd name="connsiteX235" fmla="*/ 2093 w 10000"/>
                <a:gd name="connsiteY235" fmla="*/ 4045 h 10000"/>
                <a:gd name="connsiteX236" fmla="*/ 1979 w 10000"/>
                <a:gd name="connsiteY236" fmla="*/ 4103 h 10000"/>
                <a:gd name="connsiteX237" fmla="*/ 1731 w 10000"/>
                <a:gd name="connsiteY237" fmla="*/ 4497 h 10000"/>
                <a:gd name="connsiteX238" fmla="*/ 1779 w 10000"/>
                <a:gd name="connsiteY238" fmla="*/ 4520 h 10000"/>
                <a:gd name="connsiteX239" fmla="*/ 1815 w 10000"/>
                <a:gd name="connsiteY239" fmla="*/ 4620 h 10000"/>
                <a:gd name="connsiteX240" fmla="*/ 1700 w 10000"/>
                <a:gd name="connsiteY240" fmla="*/ 5035 h 10000"/>
                <a:gd name="connsiteX241" fmla="*/ 1815 w 10000"/>
                <a:gd name="connsiteY241" fmla="*/ 5141 h 10000"/>
                <a:gd name="connsiteX242" fmla="*/ 2131 w 10000"/>
                <a:gd name="connsiteY242" fmla="*/ 5257 h 10000"/>
                <a:gd name="connsiteX243" fmla="*/ 2145 w 10000"/>
                <a:gd name="connsiteY243" fmla="*/ 5399 h 10000"/>
                <a:gd name="connsiteX244" fmla="*/ 2010 w 10000"/>
                <a:gd name="connsiteY244" fmla="*/ 5517 h 10000"/>
                <a:gd name="connsiteX245" fmla="*/ 1815 w 10000"/>
                <a:gd name="connsiteY245" fmla="*/ 5588 h 10000"/>
                <a:gd name="connsiteX246" fmla="*/ 1557 w 10000"/>
                <a:gd name="connsiteY246" fmla="*/ 5617 h 10000"/>
                <a:gd name="connsiteX247" fmla="*/ 1490 w 10000"/>
                <a:gd name="connsiteY247" fmla="*/ 5658 h 10000"/>
                <a:gd name="connsiteX248" fmla="*/ 1640 w 10000"/>
                <a:gd name="connsiteY248" fmla="*/ 5755 h 10000"/>
                <a:gd name="connsiteX249" fmla="*/ 1726 w 10000"/>
                <a:gd name="connsiteY249" fmla="*/ 5987 h 10000"/>
                <a:gd name="connsiteX250" fmla="*/ 1531 w 10000"/>
                <a:gd name="connsiteY250" fmla="*/ 6185 h 10000"/>
                <a:gd name="connsiteX251" fmla="*/ 1599 w 10000"/>
                <a:gd name="connsiteY251" fmla="*/ 6247 h 10000"/>
                <a:gd name="connsiteX252" fmla="*/ 1537 w 10000"/>
                <a:gd name="connsiteY252" fmla="*/ 6351 h 10000"/>
                <a:gd name="connsiteX253" fmla="*/ 1412 w 10000"/>
                <a:gd name="connsiteY253" fmla="*/ 6422 h 10000"/>
                <a:gd name="connsiteX254" fmla="*/ 915 w 10000"/>
                <a:gd name="connsiteY254" fmla="*/ 6477 h 10000"/>
                <a:gd name="connsiteX255" fmla="*/ 885 w 10000"/>
                <a:gd name="connsiteY255" fmla="*/ 6573 h 10000"/>
                <a:gd name="connsiteX256" fmla="*/ 617 w 10000"/>
                <a:gd name="connsiteY256" fmla="*/ 6716 h 10000"/>
                <a:gd name="connsiteX257" fmla="*/ 652 w 10000"/>
                <a:gd name="connsiteY257" fmla="*/ 6921 h 10000"/>
                <a:gd name="connsiteX258" fmla="*/ 427 w 10000"/>
                <a:gd name="connsiteY258" fmla="*/ 7184 h 10000"/>
                <a:gd name="connsiteX259" fmla="*/ 274 w 10000"/>
                <a:gd name="connsiteY259" fmla="*/ 7215 h 10000"/>
                <a:gd name="connsiteX260" fmla="*/ 210 w 10000"/>
                <a:gd name="connsiteY260" fmla="*/ 7152 h 10000"/>
                <a:gd name="connsiteX261" fmla="*/ 132 w 10000"/>
                <a:gd name="connsiteY261" fmla="*/ 7247 h 10000"/>
                <a:gd name="connsiteX262" fmla="*/ 183 w 10000"/>
                <a:gd name="connsiteY262" fmla="*/ 7084 h 10000"/>
                <a:gd name="connsiteX263" fmla="*/ 151 w 10000"/>
                <a:gd name="connsiteY263"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7512 w 10000"/>
                <a:gd name="connsiteY211" fmla="*/ 201 h 10000"/>
                <a:gd name="connsiteX212" fmla="*/ 7406 w 10000"/>
                <a:gd name="connsiteY212" fmla="*/ 362 h 10000"/>
                <a:gd name="connsiteX213" fmla="*/ 7276 w 10000"/>
                <a:gd name="connsiteY213" fmla="*/ 445 h 10000"/>
                <a:gd name="connsiteX214" fmla="*/ 7223 w 10000"/>
                <a:gd name="connsiteY214" fmla="*/ 435 h 10000"/>
                <a:gd name="connsiteX215" fmla="*/ 7102 w 10000"/>
                <a:gd name="connsiteY215" fmla="*/ 366 h 10000"/>
                <a:gd name="connsiteX216" fmla="*/ 6951 w 10000"/>
                <a:gd name="connsiteY216" fmla="*/ 331 h 10000"/>
                <a:gd name="connsiteX217" fmla="*/ 5098 w 10000"/>
                <a:gd name="connsiteY217" fmla="*/ 1750 h 10000"/>
                <a:gd name="connsiteX218" fmla="*/ 4837 w 10000"/>
                <a:gd name="connsiteY218" fmla="*/ 1818 h 10000"/>
                <a:gd name="connsiteX219" fmla="*/ 4671 w 10000"/>
                <a:gd name="connsiteY219" fmla="*/ 1814 h 10000"/>
                <a:gd name="connsiteX220" fmla="*/ 4571 w 10000"/>
                <a:gd name="connsiteY220" fmla="*/ 1838 h 10000"/>
                <a:gd name="connsiteX221" fmla="*/ 4298 w 10000"/>
                <a:gd name="connsiteY221" fmla="*/ 2503 h 10000"/>
                <a:gd name="connsiteX222" fmla="*/ 3668 w 10000"/>
                <a:gd name="connsiteY222" fmla="*/ 2891 h 10000"/>
                <a:gd name="connsiteX223" fmla="*/ 3672 w 10000"/>
                <a:gd name="connsiteY223" fmla="*/ 2952 h 10000"/>
                <a:gd name="connsiteX224" fmla="*/ 3952 w 10000"/>
                <a:gd name="connsiteY224" fmla="*/ 3126 h 10000"/>
                <a:gd name="connsiteX225" fmla="*/ 3861 w 10000"/>
                <a:gd name="connsiteY225" fmla="*/ 3314 h 10000"/>
                <a:gd name="connsiteX226" fmla="*/ 3698 w 10000"/>
                <a:gd name="connsiteY226" fmla="*/ 3383 h 10000"/>
                <a:gd name="connsiteX227" fmla="*/ 3208 w 10000"/>
                <a:gd name="connsiteY227" fmla="*/ 3337 h 10000"/>
                <a:gd name="connsiteX228" fmla="*/ 2871 w 10000"/>
                <a:gd name="connsiteY228" fmla="*/ 3363 h 10000"/>
                <a:gd name="connsiteX229" fmla="*/ 2601 w 10000"/>
                <a:gd name="connsiteY229" fmla="*/ 3419 h 10000"/>
                <a:gd name="connsiteX230" fmla="*/ 2163 w 10000"/>
                <a:gd name="connsiteY230" fmla="*/ 3592 h 10000"/>
                <a:gd name="connsiteX231" fmla="*/ 1931 w 10000"/>
                <a:gd name="connsiteY231" fmla="*/ 3802 h 10000"/>
                <a:gd name="connsiteX232" fmla="*/ 1951 w 10000"/>
                <a:gd name="connsiteY232" fmla="*/ 3919 h 10000"/>
                <a:gd name="connsiteX233" fmla="*/ 2032 w 10000"/>
                <a:gd name="connsiteY233" fmla="*/ 4009 h 10000"/>
                <a:gd name="connsiteX234" fmla="*/ 2093 w 10000"/>
                <a:gd name="connsiteY234" fmla="*/ 4045 h 10000"/>
                <a:gd name="connsiteX235" fmla="*/ 1979 w 10000"/>
                <a:gd name="connsiteY235" fmla="*/ 4103 h 10000"/>
                <a:gd name="connsiteX236" fmla="*/ 1731 w 10000"/>
                <a:gd name="connsiteY236" fmla="*/ 4497 h 10000"/>
                <a:gd name="connsiteX237" fmla="*/ 1779 w 10000"/>
                <a:gd name="connsiteY237" fmla="*/ 4520 h 10000"/>
                <a:gd name="connsiteX238" fmla="*/ 1815 w 10000"/>
                <a:gd name="connsiteY238" fmla="*/ 4620 h 10000"/>
                <a:gd name="connsiteX239" fmla="*/ 1700 w 10000"/>
                <a:gd name="connsiteY239" fmla="*/ 5035 h 10000"/>
                <a:gd name="connsiteX240" fmla="*/ 1815 w 10000"/>
                <a:gd name="connsiteY240" fmla="*/ 5141 h 10000"/>
                <a:gd name="connsiteX241" fmla="*/ 2131 w 10000"/>
                <a:gd name="connsiteY241" fmla="*/ 5257 h 10000"/>
                <a:gd name="connsiteX242" fmla="*/ 2145 w 10000"/>
                <a:gd name="connsiteY242" fmla="*/ 5399 h 10000"/>
                <a:gd name="connsiteX243" fmla="*/ 2010 w 10000"/>
                <a:gd name="connsiteY243" fmla="*/ 5517 h 10000"/>
                <a:gd name="connsiteX244" fmla="*/ 1815 w 10000"/>
                <a:gd name="connsiteY244" fmla="*/ 5588 h 10000"/>
                <a:gd name="connsiteX245" fmla="*/ 1557 w 10000"/>
                <a:gd name="connsiteY245" fmla="*/ 5617 h 10000"/>
                <a:gd name="connsiteX246" fmla="*/ 1490 w 10000"/>
                <a:gd name="connsiteY246" fmla="*/ 5658 h 10000"/>
                <a:gd name="connsiteX247" fmla="*/ 1640 w 10000"/>
                <a:gd name="connsiteY247" fmla="*/ 5755 h 10000"/>
                <a:gd name="connsiteX248" fmla="*/ 1726 w 10000"/>
                <a:gd name="connsiteY248" fmla="*/ 5987 h 10000"/>
                <a:gd name="connsiteX249" fmla="*/ 1531 w 10000"/>
                <a:gd name="connsiteY249" fmla="*/ 6185 h 10000"/>
                <a:gd name="connsiteX250" fmla="*/ 1599 w 10000"/>
                <a:gd name="connsiteY250" fmla="*/ 6247 h 10000"/>
                <a:gd name="connsiteX251" fmla="*/ 1537 w 10000"/>
                <a:gd name="connsiteY251" fmla="*/ 6351 h 10000"/>
                <a:gd name="connsiteX252" fmla="*/ 1412 w 10000"/>
                <a:gd name="connsiteY252" fmla="*/ 6422 h 10000"/>
                <a:gd name="connsiteX253" fmla="*/ 915 w 10000"/>
                <a:gd name="connsiteY253" fmla="*/ 6477 h 10000"/>
                <a:gd name="connsiteX254" fmla="*/ 885 w 10000"/>
                <a:gd name="connsiteY254" fmla="*/ 6573 h 10000"/>
                <a:gd name="connsiteX255" fmla="*/ 617 w 10000"/>
                <a:gd name="connsiteY255" fmla="*/ 6716 h 10000"/>
                <a:gd name="connsiteX256" fmla="*/ 652 w 10000"/>
                <a:gd name="connsiteY256" fmla="*/ 6921 h 10000"/>
                <a:gd name="connsiteX257" fmla="*/ 427 w 10000"/>
                <a:gd name="connsiteY257" fmla="*/ 7184 h 10000"/>
                <a:gd name="connsiteX258" fmla="*/ 274 w 10000"/>
                <a:gd name="connsiteY258" fmla="*/ 7215 h 10000"/>
                <a:gd name="connsiteX259" fmla="*/ 210 w 10000"/>
                <a:gd name="connsiteY259" fmla="*/ 7152 h 10000"/>
                <a:gd name="connsiteX260" fmla="*/ 132 w 10000"/>
                <a:gd name="connsiteY260" fmla="*/ 7247 h 10000"/>
                <a:gd name="connsiteX261" fmla="*/ 183 w 10000"/>
                <a:gd name="connsiteY261" fmla="*/ 7084 h 10000"/>
                <a:gd name="connsiteX262" fmla="*/ 151 w 10000"/>
                <a:gd name="connsiteY262"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7512 w 10000"/>
                <a:gd name="connsiteY211" fmla="*/ 201 h 10000"/>
                <a:gd name="connsiteX212" fmla="*/ 7406 w 10000"/>
                <a:gd name="connsiteY212" fmla="*/ 362 h 10000"/>
                <a:gd name="connsiteX213" fmla="*/ 7276 w 10000"/>
                <a:gd name="connsiteY213" fmla="*/ 445 h 10000"/>
                <a:gd name="connsiteX214" fmla="*/ 7223 w 10000"/>
                <a:gd name="connsiteY214" fmla="*/ 435 h 10000"/>
                <a:gd name="connsiteX215" fmla="*/ 7102 w 10000"/>
                <a:gd name="connsiteY215" fmla="*/ 366 h 10000"/>
                <a:gd name="connsiteX216" fmla="*/ 5098 w 10000"/>
                <a:gd name="connsiteY216" fmla="*/ 1750 h 10000"/>
                <a:gd name="connsiteX217" fmla="*/ 4837 w 10000"/>
                <a:gd name="connsiteY217" fmla="*/ 1818 h 10000"/>
                <a:gd name="connsiteX218" fmla="*/ 4671 w 10000"/>
                <a:gd name="connsiteY218" fmla="*/ 1814 h 10000"/>
                <a:gd name="connsiteX219" fmla="*/ 4571 w 10000"/>
                <a:gd name="connsiteY219" fmla="*/ 1838 h 10000"/>
                <a:gd name="connsiteX220" fmla="*/ 4298 w 10000"/>
                <a:gd name="connsiteY220" fmla="*/ 2503 h 10000"/>
                <a:gd name="connsiteX221" fmla="*/ 3668 w 10000"/>
                <a:gd name="connsiteY221" fmla="*/ 2891 h 10000"/>
                <a:gd name="connsiteX222" fmla="*/ 3672 w 10000"/>
                <a:gd name="connsiteY222" fmla="*/ 2952 h 10000"/>
                <a:gd name="connsiteX223" fmla="*/ 3952 w 10000"/>
                <a:gd name="connsiteY223" fmla="*/ 3126 h 10000"/>
                <a:gd name="connsiteX224" fmla="*/ 3861 w 10000"/>
                <a:gd name="connsiteY224" fmla="*/ 3314 h 10000"/>
                <a:gd name="connsiteX225" fmla="*/ 3698 w 10000"/>
                <a:gd name="connsiteY225" fmla="*/ 3383 h 10000"/>
                <a:gd name="connsiteX226" fmla="*/ 3208 w 10000"/>
                <a:gd name="connsiteY226" fmla="*/ 3337 h 10000"/>
                <a:gd name="connsiteX227" fmla="*/ 2871 w 10000"/>
                <a:gd name="connsiteY227" fmla="*/ 3363 h 10000"/>
                <a:gd name="connsiteX228" fmla="*/ 2601 w 10000"/>
                <a:gd name="connsiteY228" fmla="*/ 3419 h 10000"/>
                <a:gd name="connsiteX229" fmla="*/ 2163 w 10000"/>
                <a:gd name="connsiteY229" fmla="*/ 3592 h 10000"/>
                <a:gd name="connsiteX230" fmla="*/ 1931 w 10000"/>
                <a:gd name="connsiteY230" fmla="*/ 3802 h 10000"/>
                <a:gd name="connsiteX231" fmla="*/ 1951 w 10000"/>
                <a:gd name="connsiteY231" fmla="*/ 3919 h 10000"/>
                <a:gd name="connsiteX232" fmla="*/ 2032 w 10000"/>
                <a:gd name="connsiteY232" fmla="*/ 4009 h 10000"/>
                <a:gd name="connsiteX233" fmla="*/ 2093 w 10000"/>
                <a:gd name="connsiteY233" fmla="*/ 4045 h 10000"/>
                <a:gd name="connsiteX234" fmla="*/ 1979 w 10000"/>
                <a:gd name="connsiteY234" fmla="*/ 4103 h 10000"/>
                <a:gd name="connsiteX235" fmla="*/ 1731 w 10000"/>
                <a:gd name="connsiteY235" fmla="*/ 4497 h 10000"/>
                <a:gd name="connsiteX236" fmla="*/ 1779 w 10000"/>
                <a:gd name="connsiteY236" fmla="*/ 4520 h 10000"/>
                <a:gd name="connsiteX237" fmla="*/ 1815 w 10000"/>
                <a:gd name="connsiteY237" fmla="*/ 4620 h 10000"/>
                <a:gd name="connsiteX238" fmla="*/ 1700 w 10000"/>
                <a:gd name="connsiteY238" fmla="*/ 5035 h 10000"/>
                <a:gd name="connsiteX239" fmla="*/ 1815 w 10000"/>
                <a:gd name="connsiteY239" fmla="*/ 5141 h 10000"/>
                <a:gd name="connsiteX240" fmla="*/ 2131 w 10000"/>
                <a:gd name="connsiteY240" fmla="*/ 5257 h 10000"/>
                <a:gd name="connsiteX241" fmla="*/ 2145 w 10000"/>
                <a:gd name="connsiteY241" fmla="*/ 5399 h 10000"/>
                <a:gd name="connsiteX242" fmla="*/ 2010 w 10000"/>
                <a:gd name="connsiteY242" fmla="*/ 5517 h 10000"/>
                <a:gd name="connsiteX243" fmla="*/ 1815 w 10000"/>
                <a:gd name="connsiteY243" fmla="*/ 5588 h 10000"/>
                <a:gd name="connsiteX244" fmla="*/ 1557 w 10000"/>
                <a:gd name="connsiteY244" fmla="*/ 5617 h 10000"/>
                <a:gd name="connsiteX245" fmla="*/ 1490 w 10000"/>
                <a:gd name="connsiteY245" fmla="*/ 5658 h 10000"/>
                <a:gd name="connsiteX246" fmla="*/ 1640 w 10000"/>
                <a:gd name="connsiteY246" fmla="*/ 5755 h 10000"/>
                <a:gd name="connsiteX247" fmla="*/ 1726 w 10000"/>
                <a:gd name="connsiteY247" fmla="*/ 5987 h 10000"/>
                <a:gd name="connsiteX248" fmla="*/ 1531 w 10000"/>
                <a:gd name="connsiteY248" fmla="*/ 6185 h 10000"/>
                <a:gd name="connsiteX249" fmla="*/ 1599 w 10000"/>
                <a:gd name="connsiteY249" fmla="*/ 6247 h 10000"/>
                <a:gd name="connsiteX250" fmla="*/ 1537 w 10000"/>
                <a:gd name="connsiteY250" fmla="*/ 6351 h 10000"/>
                <a:gd name="connsiteX251" fmla="*/ 1412 w 10000"/>
                <a:gd name="connsiteY251" fmla="*/ 6422 h 10000"/>
                <a:gd name="connsiteX252" fmla="*/ 915 w 10000"/>
                <a:gd name="connsiteY252" fmla="*/ 6477 h 10000"/>
                <a:gd name="connsiteX253" fmla="*/ 885 w 10000"/>
                <a:gd name="connsiteY253" fmla="*/ 6573 h 10000"/>
                <a:gd name="connsiteX254" fmla="*/ 617 w 10000"/>
                <a:gd name="connsiteY254" fmla="*/ 6716 h 10000"/>
                <a:gd name="connsiteX255" fmla="*/ 652 w 10000"/>
                <a:gd name="connsiteY255" fmla="*/ 6921 h 10000"/>
                <a:gd name="connsiteX256" fmla="*/ 427 w 10000"/>
                <a:gd name="connsiteY256" fmla="*/ 7184 h 10000"/>
                <a:gd name="connsiteX257" fmla="*/ 274 w 10000"/>
                <a:gd name="connsiteY257" fmla="*/ 7215 h 10000"/>
                <a:gd name="connsiteX258" fmla="*/ 210 w 10000"/>
                <a:gd name="connsiteY258" fmla="*/ 7152 h 10000"/>
                <a:gd name="connsiteX259" fmla="*/ 132 w 10000"/>
                <a:gd name="connsiteY259" fmla="*/ 7247 h 10000"/>
                <a:gd name="connsiteX260" fmla="*/ 183 w 10000"/>
                <a:gd name="connsiteY260" fmla="*/ 7084 h 10000"/>
                <a:gd name="connsiteX261" fmla="*/ 151 w 10000"/>
                <a:gd name="connsiteY261"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7512 w 10000"/>
                <a:gd name="connsiteY211" fmla="*/ 201 h 10000"/>
                <a:gd name="connsiteX212" fmla="*/ 7406 w 10000"/>
                <a:gd name="connsiteY212" fmla="*/ 362 h 10000"/>
                <a:gd name="connsiteX213" fmla="*/ 7276 w 10000"/>
                <a:gd name="connsiteY213" fmla="*/ 445 h 10000"/>
                <a:gd name="connsiteX214" fmla="*/ 7223 w 10000"/>
                <a:gd name="connsiteY214" fmla="*/ 435 h 10000"/>
                <a:gd name="connsiteX215" fmla="*/ 5098 w 10000"/>
                <a:gd name="connsiteY215" fmla="*/ 1750 h 10000"/>
                <a:gd name="connsiteX216" fmla="*/ 4837 w 10000"/>
                <a:gd name="connsiteY216" fmla="*/ 1818 h 10000"/>
                <a:gd name="connsiteX217" fmla="*/ 4671 w 10000"/>
                <a:gd name="connsiteY217" fmla="*/ 1814 h 10000"/>
                <a:gd name="connsiteX218" fmla="*/ 4571 w 10000"/>
                <a:gd name="connsiteY218" fmla="*/ 1838 h 10000"/>
                <a:gd name="connsiteX219" fmla="*/ 4298 w 10000"/>
                <a:gd name="connsiteY219" fmla="*/ 2503 h 10000"/>
                <a:gd name="connsiteX220" fmla="*/ 3668 w 10000"/>
                <a:gd name="connsiteY220" fmla="*/ 2891 h 10000"/>
                <a:gd name="connsiteX221" fmla="*/ 3672 w 10000"/>
                <a:gd name="connsiteY221" fmla="*/ 2952 h 10000"/>
                <a:gd name="connsiteX222" fmla="*/ 3952 w 10000"/>
                <a:gd name="connsiteY222" fmla="*/ 3126 h 10000"/>
                <a:gd name="connsiteX223" fmla="*/ 3861 w 10000"/>
                <a:gd name="connsiteY223" fmla="*/ 3314 h 10000"/>
                <a:gd name="connsiteX224" fmla="*/ 3698 w 10000"/>
                <a:gd name="connsiteY224" fmla="*/ 3383 h 10000"/>
                <a:gd name="connsiteX225" fmla="*/ 3208 w 10000"/>
                <a:gd name="connsiteY225" fmla="*/ 3337 h 10000"/>
                <a:gd name="connsiteX226" fmla="*/ 2871 w 10000"/>
                <a:gd name="connsiteY226" fmla="*/ 3363 h 10000"/>
                <a:gd name="connsiteX227" fmla="*/ 2601 w 10000"/>
                <a:gd name="connsiteY227" fmla="*/ 3419 h 10000"/>
                <a:gd name="connsiteX228" fmla="*/ 2163 w 10000"/>
                <a:gd name="connsiteY228" fmla="*/ 3592 h 10000"/>
                <a:gd name="connsiteX229" fmla="*/ 1931 w 10000"/>
                <a:gd name="connsiteY229" fmla="*/ 3802 h 10000"/>
                <a:gd name="connsiteX230" fmla="*/ 1951 w 10000"/>
                <a:gd name="connsiteY230" fmla="*/ 3919 h 10000"/>
                <a:gd name="connsiteX231" fmla="*/ 2032 w 10000"/>
                <a:gd name="connsiteY231" fmla="*/ 4009 h 10000"/>
                <a:gd name="connsiteX232" fmla="*/ 2093 w 10000"/>
                <a:gd name="connsiteY232" fmla="*/ 4045 h 10000"/>
                <a:gd name="connsiteX233" fmla="*/ 1979 w 10000"/>
                <a:gd name="connsiteY233" fmla="*/ 4103 h 10000"/>
                <a:gd name="connsiteX234" fmla="*/ 1731 w 10000"/>
                <a:gd name="connsiteY234" fmla="*/ 4497 h 10000"/>
                <a:gd name="connsiteX235" fmla="*/ 1779 w 10000"/>
                <a:gd name="connsiteY235" fmla="*/ 4520 h 10000"/>
                <a:gd name="connsiteX236" fmla="*/ 1815 w 10000"/>
                <a:gd name="connsiteY236" fmla="*/ 4620 h 10000"/>
                <a:gd name="connsiteX237" fmla="*/ 1700 w 10000"/>
                <a:gd name="connsiteY237" fmla="*/ 5035 h 10000"/>
                <a:gd name="connsiteX238" fmla="*/ 1815 w 10000"/>
                <a:gd name="connsiteY238" fmla="*/ 5141 h 10000"/>
                <a:gd name="connsiteX239" fmla="*/ 2131 w 10000"/>
                <a:gd name="connsiteY239" fmla="*/ 5257 h 10000"/>
                <a:gd name="connsiteX240" fmla="*/ 2145 w 10000"/>
                <a:gd name="connsiteY240" fmla="*/ 5399 h 10000"/>
                <a:gd name="connsiteX241" fmla="*/ 2010 w 10000"/>
                <a:gd name="connsiteY241" fmla="*/ 5517 h 10000"/>
                <a:gd name="connsiteX242" fmla="*/ 1815 w 10000"/>
                <a:gd name="connsiteY242" fmla="*/ 5588 h 10000"/>
                <a:gd name="connsiteX243" fmla="*/ 1557 w 10000"/>
                <a:gd name="connsiteY243" fmla="*/ 5617 h 10000"/>
                <a:gd name="connsiteX244" fmla="*/ 1490 w 10000"/>
                <a:gd name="connsiteY244" fmla="*/ 5658 h 10000"/>
                <a:gd name="connsiteX245" fmla="*/ 1640 w 10000"/>
                <a:gd name="connsiteY245" fmla="*/ 5755 h 10000"/>
                <a:gd name="connsiteX246" fmla="*/ 1726 w 10000"/>
                <a:gd name="connsiteY246" fmla="*/ 5987 h 10000"/>
                <a:gd name="connsiteX247" fmla="*/ 1531 w 10000"/>
                <a:gd name="connsiteY247" fmla="*/ 6185 h 10000"/>
                <a:gd name="connsiteX248" fmla="*/ 1599 w 10000"/>
                <a:gd name="connsiteY248" fmla="*/ 6247 h 10000"/>
                <a:gd name="connsiteX249" fmla="*/ 1537 w 10000"/>
                <a:gd name="connsiteY249" fmla="*/ 6351 h 10000"/>
                <a:gd name="connsiteX250" fmla="*/ 1412 w 10000"/>
                <a:gd name="connsiteY250" fmla="*/ 6422 h 10000"/>
                <a:gd name="connsiteX251" fmla="*/ 915 w 10000"/>
                <a:gd name="connsiteY251" fmla="*/ 6477 h 10000"/>
                <a:gd name="connsiteX252" fmla="*/ 885 w 10000"/>
                <a:gd name="connsiteY252" fmla="*/ 6573 h 10000"/>
                <a:gd name="connsiteX253" fmla="*/ 617 w 10000"/>
                <a:gd name="connsiteY253" fmla="*/ 6716 h 10000"/>
                <a:gd name="connsiteX254" fmla="*/ 652 w 10000"/>
                <a:gd name="connsiteY254" fmla="*/ 6921 h 10000"/>
                <a:gd name="connsiteX255" fmla="*/ 427 w 10000"/>
                <a:gd name="connsiteY255" fmla="*/ 7184 h 10000"/>
                <a:gd name="connsiteX256" fmla="*/ 274 w 10000"/>
                <a:gd name="connsiteY256" fmla="*/ 7215 h 10000"/>
                <a:gd name="connsiteX257" fmla="*/ 210 w 10000"/>
                <a:gd name="connsiteY257" fmla="*/ 7152 h 10000"/>
                <a:gd name="connsiteX258" fmla="*/ 132 w 10000"/>
                <a:gd name="connsiteY258" fmla="*/ 7247 h 10000"/>
                <a:gd name="connsiteX259" fmla="*/ 183 w 10000"/>
                <a:gd name="connsiteY259" fmla="*/ 7084 h 10000"/>
                <a:gd name="connsiteX260" fmla="*/ 151 w 10000"/>
                <a:gd name="connsiteY260"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7512 w 10000"/>
                <a:gd name="connsiteY211" fmla="*/ 201 h 10000"/>
                <a:gd name="connsiteX212" fmla="*/ 7406 w 10000"/>
                <a:gd name="connsiteY212" fmla="*/ 362 h 10000"/>
                <a:gd name="connsiteX213" fmla="*/ 7276 w 10000"/>
                <a:gd name="connsiteY213" fmla="*/ 445 h 10000"/>
                <a:gd name="connsiteX214" fmla="*/ 5098 w 10000"/>
                <a:gd name="connsiteY214" fmla="*/ 1750 h 10000"/>
                <a:gd name="connsiteX215" fmla="*/ 4837 w 10000"/>
                <a:gd name="connsiteY215" fmla="*/ 1818 h 10000"/>
                <a:gd name="connsiteX216" fmla="*/ 4671 w 10000"/>
                <a:gd name="connsiteY216" fmla="*/ 1814 h 10000"/>
                <a:gd name="connsiteX217" fmla="*/ 4571 w 10000"/>
                <a:gd name="connsiteY217" fmla="*/ 1838 h 10000"/>
                <a:gd name="connsiteX218" fmla="*/ 4298 w 10000"/>
                <a:gd name="connsiteY218" fmla="*/ 2503 h 10000"/>
                <a:gd name="connsiteX219" fmla="*/ 3668 w 10000"/>
                <a:gd name="connsiteY219" fmla="*/ 2891 h 10000"/>
                <a:gd name="connsiteX220" fmla="*/ 3672 w 10000"/>
                <a:gd name="connsiteY220" fmla="*/ 2952 h 10000"/>
                <a:gd name="connsiteX221" fmla="*/ 3952 w 10000"/>
                <a:gd name="connsiteY221" fmla="*/ 3126 h 10000"/>
                <a:gd name="connsiteX222" fmla="*/ 3861 w 10000"/>
                <a:gd name="connsiteY222" fmla="*/ 3314 h 10000"/>
                <a:gd name="connsiteX223" fmla="*/ 3698 w 10000"/>
                <a:gd name="connsiteY223" fmla="*/ 3383 h 10000"/>
                <a:gd name="connsiteX224" fmla="*/ 3208 w 10000"/>
                <a:gd name="connsiteY224" fmla="*/ 3337 h 10000"/>
                <a:gd name="connsiteX225" fmla="*/ 2871 w 10000"/>
                <a:gd name="connsiteY225" fmla="*/ 3363 h 10000"/>
                <a:gd name="connsiteX226" fmla="*/ 2601 w 10000"/>
                <a:gd name="connsiteY226" fmla="*/ 3419 h 10000"/>
                <a:gd name="connsiteX227" fmla="*/ 2163 w 10000"/>
                <a:gd name="connsiteY227" fmla="*/ 3592 h 10000"/>
                <a:gd name="connsiteX228" fmla="*/ 1931 w 10000"/>
                <a:gd name="connsiteY228" fmla="*/ 3802 h 10000"/>
                <a:gd name="connsiteX229" fmla="*/ 1951 w 10000"/>
                <a:gd name="connsiteY229" fmla="*/ 3919 h 10000"/>
                <a:gd name="connsiteX230" fmla="*/ 2032 w 10000"/>
                <a:gd name="connsiteY230" fmla="*/ 4009 h 10000"/>
                <a:gd name="connsiteX231" fmla="*/ 2093 w 10000"/>
                <a:gd name="connsiteY231" fmla="*/ 4045 h 10000"/>
                <a:gd name="connsiteX232" fmla="*/ 1979 w 10000"/>
                <a:gd name="connsiteY232" fmla="*/ 4103 h 10000"/>
                <a:gd name="connsiteX233" fmla="*/ 1731 w 10000"/>
                <a:gd name="connsiteY233" fmla="*/ 4497 h 10000"/>
                <a:gd name="connsiteX234" fmla="*/ 1779 w 10000"/>
                <a:gd name="connsiteY234" fmla="*/ 4520 h 10000"/>
                <a:gd name="connsiteX235" fmla="*/ 1815 w 10000"/>
                <a:gd name="connsiteY235" fmla="*/ 4620 h 10000"/>
                <a:gd name="connsiteX236" fmla="*/ 1700 w 10000"/>
                <a:gd name="connsiteY236" fmla="*/ 5035 h 10000"/>
                <a:gd name="connsiteX237" fmla="*/ 1815 w 10000"/>
                <a:gd name="connsiteY237" fmla="*/ 5141 h 10000"/>
                <a:gd name="connsiteX238" fmla="*/ 2131 w 10000"/>
                <a:gd name="connsiteY238" fmla="*/ 5257 h 10000"/>
                <a:gd name="connsiteX239" fmla="*/ 2145 w 10000"/>
                <a:gd name="connsiteY239" fmla="*/ 5399 h 10000"/>
                <a:gd name="connsiteX240" fmla="*/ 2010 w 10000"/>
                <a:gd name="connsiteY240" fmla="*/ 5517 h 10000"/>
                <a:gd name="connsiteX241" fmla="*/ 1815 w 10000"/>
                <a:gd name="connsiteY241" fmla="*/ 5588 h 10000"/>
                <a:gd name="connsiteX242" fmla="*/ 1557 w 10000"/>
                <a:gd name="connsiteY242" fmla="*/ 5617 h 10000"/>
                <a:gd name="connsiteX243" fmla="*/ 1490 w 10000"/>
                <a:gd name="connsiteY243" fmla="*/ 5658 h 10000"/>
                <a:gd name="connsiteX244" fmla="*/ 1640 w 10000"/>
                <a:gd name="connsiteY244" fmla="*/ 5755 h 10000"/>
                <a:gd name="connsiteX245" fmla="*/ 1726 w 10000"/>
                <a:gd name="connsiteY245" fmla="*/ 5987 h 10000"/>
                <a:gd name="connsiteX246" fmla="*/ 1531 w 10000"/>
                <a:gd name="connsiteY246" fmla="*/ 6185 h 10000"/>
                <a:gd name="connsiteX247" fmla="*/ 1599 w 10000"/>
                <a:gd name="connsiteY247" fmla="*/ 6247 h 10000"/>
                <a:gd name="connsiteX248" fmla="*/ 1537 w 10000"/>
                <a:gd name="connsiteY248" fmla="*/ 6351 h 10000"/>
                <a:gd name="connsiteX249" fmla="*/ 1412 w 10000"/>
                <a:gd name="connsiteY249" fmla="*/ 6422 h 10000"/>
                <a:gd name="connsiteX250" fmla="*/ 915 w 10000"/>
                <a:gd name="connsiteY250" fmla="*/ 6477 h 10000"/>
                <a:gd name="connsiteX251" fmla="*/ 885 w 10000"/>
                <a:gd name="connsiteY251" fmla="*/ 6573 h 10000"/>
                <a:gd name="connsiteX252" fmla="*/ 617 w 10000"/>
                <a:gd name="connsiteY252" fmla="*/ 6716 h 10000"/>
                <a:gd name="connsiteX253" fmla="*/ 652 w 10000"/>
                <a:gd name="connsiteY253" fmla="*/ 6921 h 10000"/>
                <a:gd name="connsiteX254" fmla="*/ 427 w 10000"/>
                <a:gd name="connsiteY254" fmla="*/ 7184 h 10000"/>
                <a:gd name="connsiteX255" fmla="*/ 274 w 10000"/>
                <a:gd name="connsiteY255" fmla="*/ 7215 h 10000"/>
                <a:gd name="connsiteX256" fmla="*/ 210 w 10000"/>
                <a:gd name="connsiteY256" fmla="*/ 7152 h 10000"/>
                <a:gd name="connsiteX257" fmla="*/ 132 w 10000"/>
                <a:gd name="connsiteY257" fmla="*/ 7247 h 10000"/>
                <a:gd name="connsiteX258" fmla="*/ 183 w 10000"/>
                <a:gd name="connsiteY258" fmla="*/ 7084 h 10000"/>
                <a:gd name="connsiteX259" fmla="*/ 151 w 10000"/>
                <a:gd name="connsiteY259"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7512 w 10000"/>
                <a:gd name="connsiteY211" fmla="*/ 201 h 10000"/>
                <a:gd name="connsiteX212" fmla="*/ 7406 w 10000"/>
                <a:gd name="connsiteY212" fmla="*/ 362 h 10000"/>
                <a:gd name="connsiteX213" fmla="*/ 5098 w 10000"/>
                <a:gd name="connsiteY213" fmla="*/ 1750 h 10000"/>
                <a:gd name="connsiteX214" fmla="*/ 4837 w 10000"/>
                <a:gd name="connsiteY214" fmla="*/ 1818 h 10000"/>
                <a:gd name="connsiteX215" fmla="*/ 4671 w 10000"/>
                <a:gd name="connsiteY215" fmla="*/ 1814 h 10000"/>
                <a:gd name="connsiteX216" fmla="*/ 4571 w 10000"/>
                <a:gd name="connsiteY216" fmla="*/ 1838 h 10000"/>
                <a:gd name="connsiteX217" fmla="*/ 4298 w 10000"/>
                <a:gd name="connsiteY217" fmla="*/ 2503 h 10000"/>
                <a:gd name="connsiteX218" fmla="*/ 3668 w 10000"/>
                <a:gd name="connsiteY218" fmla="*/ 2891 h 10000"/>
                <a:gd name="connsiteX219" fmla="*/ 3672 w 10000"/>
                <a:gd name="connsiteY219" fmla="*/ 2952 h 10000"/>
                <a:gd name="connsiteX220" fmla="*/ 3952 w 10000"/>
                <a:gd name="connsiteY220" fmla="*/ 3126 h 10000"/>
                <a:gd name="connsiteX221" fmla="*/ 3861 w 10000"/>
                <a:gd name="connsiteY221" fmla="*/ 3314 h 10000"/>
                <a:gd name="connsiteX222" fmla="*/ 3698 w 10000"/>
                <a:gd name="connsiteY222" fmla="*/ 3383 h 10000"/>
                <a:gd name="connsiteX223" fmla="*/ 3208 w 10000"/>
                <a:gd name="connsiteY223" fmla="*/ 3337 h 10000"/>
                <a:gd name="connsiteX224" fmla="*/ 2871 w 10000"/>
                <a:gd name="connsiteY224" fmla="*/ 3363 h 10000"/>
                <a:gd name="connsiteX225" fmla="*/ 2601 w 10000"/>
                <a:gd name="connsiteY225" fmla="*/ 3419 h 10000"/>
                <a:gd name="connsiteX226" fmla="*/ 2163 w 10000"/>
                <a:gd name="connsiteY226" fmla="*/ 3592 h 10000"/>
                <a:gd name="connsiteX227" fmla="*/ 1931 w 10000"/>
                <a:gd name="connsiteY227" fmla="*/ 3802 h 10000"/>
                <a:gd name="connsiteX228" fmla="*/ 1951 w 10000"/>
                <a:gd name="connsiteY228" fmla="*/ 3919 h 10000"/>
                <a:gd name="connsiteX229" fmla="*/ 2032 w 10000"/>
                <a:gd name="connsiteY229" fmla="*/ 4009 h 10000"/>
                <a:gd name="connsiteX230" fmla="*/ 2093 w 10000"/>
                <a:gd name="connsiteY230" fmla="*/ 4045 h 10000"/>
                <a:gd name="connsiteX231" fmla="*/ 1979 w 10000"/>
                <a:gd name="connsiteY231" fmla="*/ 4103 h 10000"/>
                <a:gd name="connsiteX232" fmla="*/ 1731 w 10000"/>
                <a:gd name="connsiteY232" fmla="*/ 4497 h 10000"/>
                <a:gd name="connsiteX233" fmla="*/ 1779 w 10000"/>
                <a:gd name="connsiteY233" fmla="*/ 4520 h 10000"/>
                <a:gd name="connsiteX234" fmla="*/ 1815 w 10000"/>
                <a:gd name="connsiteY234" fmla="*/ 4620 h 10000"/>
                <a:gd name="connsiteX235" fmla="*/ 1700 w 10000"/>
                <a:gd name="connsiteY235" fmla="*/ 5035 h 10000"/>
                <a:gd name="connsiteX236" fmla="*/ 1815 w 10000"/>
                <a:gd name="connsiteY236" fmla="*/ 5141 h 10000"/>
                <a:gd name="connsiteX237" fmla="*/ 2131 w 10000"/>
                <a:gd name="connsiteY237" fmla="*/ 5257 h 10000"/>
                <a:gd name="connsiteX238" fmla="*/ 2145 w 10000"/>
                <a:gd name="connsiteY238" fmla="*/ 5399 h 10000"/>
                <a:gd name="connsiteX239" fmla="*/ 2010 w 10000"/>
                <a:gd name="connsiteY239" fmla="*/ 5517 h 10000"/>
                <a:gd name="connsiteX240" fmla="*/ 1815 w 10000"/>
                <a:gd name="connsiteY240" fmla="*/ 5588 h 10000"/>
                <a:gd name="connsiteX241" fmla="*/ 1557 w 10000"/>
                <a:gd name="connsiteY241" fmla="*/ 5617 h 10000"/>
                <a:gd name="connsiteX242" fmla="*/ 1490 w 10000"/>
                <a:gd name="connsiteY242" fmla="*/ 5658 h 10000"/>
                <a:gd name="connsiteX243" fmla="*/ 1640 w 10000"/>
                <a:gd name="connsiteY243" fmla="*/ 5755 h 10000"/>
                <a:gd name="connsiteX244" fmla="*/ 1726 w 10000"/>
                <a:gd name="connsiteY244" fmla="*/ 5987 h 10000"/>
                <a:gd name="connsiteX245" fmla="*/ 1531 w 10000"/>
                <a:gd name="connsiteY245" fmla="*/ 6185 h 10000"/>
                <a:gd name="connsiteX246" fmla="*/ 1599 w 10000"/>
                <a:gd name="connsiteY246" fmla="*/ 6247 h 10000"/>
                <a:gd name="connsiteX247" fmla="*/ 1537 w 10000"/>
                <a:gd name="connsiteY247" fmla="*/ 6351 h 10000"/>
                <a:gd name="connsiteX248" fmla="*/ 1412 w 10000"/>
                <a:gd name="connsiteY248" fmla="*/ 6422 h 10000"/>
                <a:gd name="connsiteX249" fmla="*/ 915 w 10000"/>
                <a:gd name="connsiteY249" fmla="*/ 6477 h 10000"/>
                <a:gd name="connsiteX250" fmla="*/ 885 w 10000"/>
                <a:gd name="connsiteY250" fmla="*/ 6573 h 10000"/>
                <a:gd name="connsiteX251" fmla="*/ 617 w 10000"/>
                <a:gd name="connsiteY251" fmla="*/ 6716 h 10000"/>
                <a:gd name="connsiteX252" fmla="*/ 652 w 10000"/>
                <a:gd name="connsiteY252" fmla="*/ 6921 h 10000"/>
                <a:gd name="connsiteX253" fmla="*/ 427 w 10000"/>
                <a:gd name="connsiteY253" fmla="*/ 7184 h 10000"/>
                <a:gd name="connsiteX254" fmla="*/ 274 w 10000"/>
                <a:gd name="connsiteY254" fmla="*/ 7215 h 10000"/>
                <a:gd name="connsiteX255" fmla="*/ 210 w 10000"/>
                <a:gd name="connsiteY255" fmla="*/ 7152 h 10000"/>
                <a:gd name="connsiteX256" fmla="*/ 132 w 10000"/>
                <a:gd name="connsiteY256" fmla="*/ 7247 h 10000"/>
                <a:gd name="connsiteX257" fmla="*/ 183 w 10000"/>
                <a:gd name="connsiteY257" fmla="*/ 7084 h 10000"/>
                <a:gd name="connsiteX258" fmla="*/ 151 w 10000"/>
                <a:gd name="connsiteY258"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7512 w 10000"/>
                <a:gd name="connsiteY211" fmla="*/ 201 h 10000"/>
                <a:gd name="connsiteX212" fmla="*/ 5098 w 10000"/>
                <a:gd name="connsiteY212" fmla="*/ 1750 h 10000"/>
                <a:gd name="connsiteX213" fmla="*/ 4837 w 10000"/>
                <a:gd name="connsiteY213" fmla="*/ 1818 h 10000"/>
                <a:gd name="connsiteX214" fmla="*/ 4671 w 10000"/>
                <a:gd name="connsiteY214" fmla="*/ 1814 h 10000"/>
                <a:gd name="connsiteX215" fmla="*/ 4571 w 10000"/>
                <a:gd name="connsiteY215" fmla="*/ 1838 h 10000"/>
                <a:gd name="connsiteX216" fmla="*/ 4298 w 10000"/>
                <a:gd name="connsiteY216" fmla="*/ 2503 h 10000"/>
                <a:gd name="connsiteX217" fmla="*/ 3668 w 10000"/>
                <a:gd name="connsiteY217" fmla="*/ 2891 h 10000"/>
                <a:gd name="connsiteX218" fmla="*/ 3672 w 10000"/>
                <a:gd name="connsiteY218" fmla="*/ 2952 h 10000"/>
                <a:gd name="connsiteX219" fmla="*/ 3952 w 10000"/>
                <a:gd name="connsiteY219" fmla="*/ 3126 h 10000"/>
                <a:gd name="connsiteX220" fmla="*/ 3861 w 10000"/>
                <a:gd name="connsiteY220" fmla="*/ 3314 h 10000"/>
                <a:gd name="connsiteX221" fmla="*/ 3698 w 10000"/>
                <a:gd name="connsiteY221" fmla="*/ 3383 h 10000"/>
                <a:gd name="connsiteX222" fmla="*/ 3208 w 10000"/>
                <a:gd name="connsiteY222" fmla="*/ 3337 h 10000"/>
                <a:gd name="connsiteX223" fmla="*/ 2871 w 10000"/>
                <a:gd name="connsiteY223" fmla="*/ 3363 h 10000"/>
                <a:gd name="connsiteX224" fmla="*/ 2601 w 10000"/>
                <a:gd name="connsiteY224" fmla="*/ 3419 h 10000"/>
                <a:gd name="connsiteX225" fmla="*/ 2163 w 10000"/>
                <a:gd name="connsiteY225" fmla="*/ 3592 h 10000"/>
                <a:gd name="connsiteX226" fmla="*/ 1931 w 10000"/>
                <a:gd name="connsiteY226" fmla="*/ 3802 h 10000"/>
                <a:gd name="connsiteX227" fmla="*/ 1951 w 10000"/>
                <a:gd name="connsiteY227" fmla="*/ 3919 h 10000"/>
                <a:gd name="connsiteX228" fmla="*/ 2032 w 10000"/>
                <a:gd name="connsiteY228" fmla="*/ 4009 h 10000"/>
                <a:gd name="connsiteX229" fmla="*/ 2093 w 10000"/>
                <a:gd name="connsiteY229" fmla="*/ 4045 h 10000"/>
                <a:gd name="connsiteX230" fmla="*/ 1979 w 10000"/>
                <a:gd name="connsiteY230" fmla="*/ 4103 h 10000"/>
                <a:gd name="connsiteX231" fmla="*/ 1731 w 10000"/>
                <a:gd name="connsiteY231" fmla="*/ 4497 h 10000"/>
                <a:gd name="connsiteX232" fmla="*/ 1779 w 10000"/>
                <a:gd name="connsiteY232" fmla="*/ 4520 h 10000"/>
                <a:gd name="connsiteX233" fmla="*/ 1815 w 10000"/>
                <a:gd name="connsiteY233" fmla="*/ 4620 h 10000"/>
                <a:gd name="connsiteX234" fmla="*/ 1700 w 10000"/>
                <a:gd name="connsiteY234" fmla="*/ 5035 h 10000"/>
                <a:gd name="connsiteX235" fmla="*/ 1815 w 10000"/>
                <a:gd name="connsiteY235" fmla="*/ 5141 h 10000"/>
                <a:gd name="connsiteX236" fmla="*/ 2131 w 10000"/>
                <a:gd name="connsiteY236" fmla="*/ 5257 h 10000"/>
                <a:gd name="connsiteX237" fmla="*/ 2145 w 10000"/>
                <a:gd name="connsiteY237" fmla="*/ 5399 h 10000"/>
                <a:gd name="connsiteX238" fmla="*/ 2010 w 10000"/>
                <a:gd name="connsiteY238" fmla="*/ 5517 h 10000"/>
                <a:gd name="connsiteX239" fmla="*/ 1815 w 10000"/>
                <a:gd name="connsiteY239" fmla="*/ 5588 h 10000"/>
                <a:gd name="connsiteX240" fmla="*/ 1557 w 10000"/>
                <a:gd name="connsiteY240" fmla="*/ 5617 h 10000"/>
                <a:gd name="connsiteX241" fmla="*/ 1490 w 10000"/>
                <a:gd name="connsiteY241" fmla="*/ 5658 h 10000"/>
                <a:gd name="connsiteX242" fmla="*/ 1640 w 10000"/>
                <a:gd name="connsiteY242" fmla="*/ 5755 h 10000"/>
                <a:gd name="connsiteX243" fmla="*/ 1726 w 10000"/>
                <a:gd name="connsiteY243" fmla="*/ 5987 h 10000"/>
                <a:gd name="connsiteX244" fmla="*/ 1531 w 10000"/>
                <a:gd name="connsiteY244" fmla="*/ 6185 h 10000"/>
                <a:gd name="connsiteX245" fmla="*/ 1599 w 10000"/>
                <a:gd name="connsiteY245" fmla="*/ 6247 h 10000"/>
                <a:gd name="connsiteX246" fmla="*/ 1537 w 10000"/>
                <a:gd name="connsiteY246" fmla="*/ 6351 h 10000"/>
                <a:gd name="connsiteX247" fmla="*/ 1412 w 10000"/>
                <a:gd name="connsiteY247" fmla="*/ 6422 h 10000"/>
                <a:gd name="connsiteX248" fmla="*/ 915 w 10000"/>
                <a:gd name="connsiteY248" fmla="*/ 6477 h 10000"/>
                <a:gd name="connsiteX249" fmla="*/ 885 w 10000"/>
                <a:gd name="connsiteY249" fmla="*/ 6573 h 10000"/>
                <a:gd name="connsiteX250" fmla="*/ 617 w 10000"/>
                <a:gd name="connsiteY250" fmla="*/ 6716 h 10000"/>
                <a:gd name="connsiteX251" fmla="*/ 652 w 10000"/>
                <a:gd name="connsiteY251" fmla="*/ 6921 h 10000"/>
                <a:gd name="connsiteX252" fmla="*/ 427 w 10000"/>
                <a:gd name="connsiteY252" fmla="*/ 7184 h 10000"/>
                <a:gd name="connsiteX253" fmla="*/ 274 w 10000"/>
                <a:gd name="connsiteY253" fmla="*/ 7215 h 10000"/>
                <a:gd name="connsiteX254" fmla="*/ 210 w 10000"/>
                <a:gd name="connsiteY254" fmla="*/ 7152 h 10000"/>
                <a:gd name="connsiteX255" fmla="*/ 132 w 10000"/>
                <a:gd name="connsiteY255" fmla="*/ 7247 h 10000"/>
                <a:gd name="connsiteX256" fmla="*/ 183 w 10000"/>
                <a:gd name="connsiteY256" fmla="*/ 7084 h 10000"/>
                <a:gd name="connsiteX257" fmla="*/ 151 w 10000"/>
                <a:gd name="connsiteY257"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7500 w 10000"/>
                <a:gd name="connsiteY210" fmla="*/ 78 h 10000"/>
                <a:gd name="connsiteX211" fmla="*/ 5098 w 10000"/>
                <a:gd name="connsiteY211" fmla="*/ 1750 h 10000"/>
                <a:gd name="connsiteX212" fmla="*/ 4837 w 10000"/>
                <a:gd name="connsiteY212" fmla="*/ 1818 h 10000"/>
                <a:gd name="connsiteX213" fmla="*/ 4671 w 10000"/>
                <a:gd name="connsiteY213" fmla="*/ 1814 h 10000"/>
                <a:gd name="connsiteX214" fmla="*/ 4571 w 10000"/>
                <a:gd name="connsiteY214" fmla="*/ 1838 h 10000"/>
                <a:gd name="connsiteX215" fmla="*/ 4298 w 10000"/>
                <a:gd name="connsiteY215" fmla="*/ 2503 h 10000"/>
                <a:gd name="connsiteX216" fmla="*/ 3668 w 10000"/>
                <a:gd name="connsiteY216" fmla="*/ 2891 h 10000"/>
                <a:gd name="connsiteX217" fmla="*/ 3672 w 10000"/>
                <a:gd name="connsiteY217" fmla="*/ 2952 h 10000"/>
                <a:gd name="connsiteX218" fmla="*/ 3952 w 10000"/>
                <a:gd name="connsiteY218" fmla="*/ 3126 h 10000"/>
                <a:gd name="connsiteX219" fmla="*/ 3861 w 10000"/>
                <a:gd name="connsiteY219" fmla="*/ 3314 h 10000"/>
                <a:gd name="connsiteX220" fmla="*/ 3698 w 10000"/>
                <a:gd name="connsiteY220" fmla="*/ 3383 h 10000"/>
                <a:gd name="connsiteX221" fmla="*/ 3208 w 10000"/>
                <a:gd name="connsiteY221" fmla="*/ 3337 h 10000"/>
                <a:gd name="connsiteX222" fmla="*/ 2871 w 10000"/>
                <a:gd name="connsiteY222" fmla="*/ 3363 h 10000"/>
                <a:gd name="connsiteX223" fmla="*/ 2601 w 10000"/>
                <a:gd name="connsiteY223" fmla="*/ 3419 h 10000"/>
                <a:gd name="connsiteX224" fmla="*/ 2163 w 10000"/>
                <a:gd name="connsiteY224" fmla="*/ 3592 h 10000"/>
                <a:gd name="connsiteX225" fmla="*/ 1931 w 10000"/>
                <a:gd name="connsiteY225" fmla="*/ 3802 h 10000"/>
                <a:gd name="connsiteX226" fmla="*/ 1951 w 10000"/>
                <a:gd name="connsiteY226" fmla="*/ 3919 h 10000"/>
                <a:gd name="connsiteX227" fmla="*/ 2032 w 10000"/>
                <a:gd name="connsiteY227" fmla="*/ 4009 h 10000"/>
                <a:gd name="connsiteX228" fmla="*/ 2093 w 10000"/>
                <a:gd name="connsiteY228" fmla="*/ 4045 h 10000"/>
                <a:gd name="connsiteX229" fmla="*/ 1979 w 10000"/>
                <a:gd name="connsiteY229" fmla="*/ 4103 h 10000"/>
                <a:gd name="connsiteX230" fmla="*/ 1731 w 10000"/>
                <a:gd name="connsiteY230" fmla="*/ 4497 h 10000"/>
                <a:gd name="connsiteX231" fmla="*/ 1779 w 10000"/>
                <a:gd name="connsiteY231" fmla="*/ 4520 h 10000"/>
                <a:gd name="connsiteX232" fmla="*/ 1815 w 10000"/>
                <a:gd name="connsiteY232" fmla="*/ 4620 h 10000"/>
                <a:gd name="connsiteX233" fmla="*/ 1700 w 10000"/>
                <a:gd name="connsiteY233" fmla="*/ 5035 h 10000"/>
                <a:gd name="connsiteX234" fmla="*/ 1815 w 10000"/>
                <a:gd name="connsiteY234" fmla="*/ 5141 h 10000"/>
                <a:gd name="connsiteX235" fmla="*/ 2131 w 10000"/>
                <a:gd name="connsiteY235" fmla="*/ 5257 h 10000"/>
                <a:gd name="connsiteX236" fmla="*/ 2145 w 10000"/>
                <a:gd name="connsiteY236" fmla="*/ 5399 h 10000"/>
                <a:gd name="connsiteX237" fmla="*/ 2010 w 10000"/>
                <a:gd name="connsiteY237" fmla="*/ 5517 h 10000"/>
                <a:gd name="connsiteX238" fmla="*/ 1815 w 10000"/>
                <a:gd name="connsiteY238" fmla="*/ 5588 h 10000"/>
                <a:gd name="connsiteX239" fmla="*/ 1557 w 10000"/>
                <a:gd name="connsiteY239" fmla="*/ 5617 h 10000"/>
                <a:gd name="connsiteX240" fmla="*/ 1490 w 10000"/>
                <a:gd name="connsiteY240" fmla="*/ 5658 h 10000"/>
                <a:gd name="connsiteX241" fmla="*/ 1640 w 10000"/>
                <a:gd name="connsiteY241" fmla="*/ 5755 h 10000"/>
                <a:gd name="connsiteX242" fmla="*/ 1726 w 10000"/>
                <a:gd name="connsiteY242" fmla="*/ 5987 h 10000"/>
                <a:gd name="connsiteX243" fmla="*/ 1531 w 10000"/>
                <a:gd name="connsiteY243" fmla="*/ 6185 h 10000"/>
                <a:gd name="connsiteX244" fmla="*/ 1599 w 10000"/>
                <a:gd name="connsiteY244" fmla="*/ 6247 h 10000"/>
                <a:gd name="connsiteX245" fmla="*/ 1537 w 10000"/>
                <a:gd name="connsiteY245" fmla="*/ 6351 h 10000"/>
                <a:gd name="connsiteX246" fmla="*/ 1412 w 10000"/>
                <a:gd name="connsiteY246" fmla="*/ 6422 h 10000"/>
                <a:gd name="connsiteX247" fmla="*/ 915 w 10000"/>
                <a:gd name="connsiteY247" fmla="*/ 6477 h 10000"/>
                <a:gd name="connsiteX248" fmla="*/ 885 w 10000"/>
                <a:gd name="connsiteY248" fmla="*/ 6573 h 10000"/>
                <a:gd name="connsiteX249" fmla="*/ 617 w 10000"/>
                <a:gd name="connsiteY249" fmla="*/ 6716 h 10000"/>
                <a:gd name="connsiteX250" fmla="*/ 652 w 10000"/>
                <a:gd name="connsiteY250" fmla="*/ 6921 h 10000"/>
                <a:gd name="connsiteX251" fmla="*/ 427 w 10000"/>
                <a:gd name="connsiteY251" fmla="*/ 7184 h 10000"/>
                <a:gd name="connsiteX252" fmla="*/ 274 w 10000"/>
                <a:gd name="connsiteY252" fmla="*/ 7215 h 10000"/>
                <a:gd name="connsiteX253" fmla="*/ 210 w 10000"/>
                <a:gd name="connsiteY253" fmla="*/ 7152 h 10000"/>
                <a:gd name="connsiteX254" fmla="*/ 132 w 10000"/>
                <a:gd name="connsiteY254" fmla="*/ 7247 h 10000"/>
                <a:gd name="connsiteX255" fmla="*/ 183 w 10000"/>
                <a:gd name="connsiteY255" fmla="*/ 7084 h 10000"/>
                <a:gd name="connsiteX256" fmla="*/ 151 w 10000"/>
                <a:gd name="connsiteY256"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7571 w 10000"/>
                <a:gd name="connsiteY209" fmla="*/ 28 h 10000"/>
                <a:gd name="connsiteX210" fmla="*/ 5098 w 10000"/>
                <a:gd name="connsiteY210" fmla="*/ 1750 h 10000"/>
                <a:gd name="connsiteX211" fmla="*/ 4837 w 10000"/>
                <a:gd name="connsiteY211" fmla="*/ 1818 h 10000"/>
                <a:gd name="connsiteX212" fmla="*/ 4671 w 10000"/>
                <a:gd name="connsiteY212" fmla="*/ 1814 h 10000"/>
                <a:gd name="connsiteX213" fmla="*/ 4571 w 10000"/>
                <a:gd name="connsiteY213" fmla="*/ 1838 h 10000"/>
                <a:gd name="connsiteX214" fmla="*/ 4298 w 10000"/>
                <a:gd name="connsiteY214" fmla="*/ 2503 h 10000"/>
                <a:gd name="connsiteX215" fmla="*/ 3668 w 10000"/>
                <a:gd name="connsiteY215" fmla="*/ 2891 h 10000"/>
                <a:gd name="connsiteX216" fmla="*/ 3672 w 10000"/>
                <a:gd name="connsiteY216" fmla="*/ 2952 h 10000"/>
                <a:gd name="connsiteX217" fmla="*/ 3952 w 10000"/>
                <a:gd name="connsiteY217" fmla="*/ 3126 h 10000"/>
                <a:gd name="connsiteX218" fmla="*/ 3861 w 10000"/>
                <a:gd name="connsiteY218" fmla="*/ 3314 h 10000"/>
                <a:gd name="connsiteX219" fmla="*/ 3698 w 10000"/>
                <a:gd name="connsiteY219" fmla="*/ 3383 h 10000"/>
                <a:gd name="connsiteX220" fmla="*/ 3208 w 10000"/>
                <a:gd name="connsiteY220" fmla="*/ 3337 h 10000"/>
                <a:gd name="connsiteX221" fmla="*/ 2871 w 10000"/>
                <a:gd name="connsiteY221" fmla="*/ 3363 h 10000"/>
                <a:gd name="connsiteX222" fmla="*/ 2601 w 10000"/>
                <a:gd name="connsiteY222" fmla="*/ 3419 h 10000"/>
                <a:gd name="connsiteX223" fmla="*/ 2163 w 10000"/>
                <a:gd name="connsiteY223" fmla="*/ 3592 h 10000"/>
                <a:gd name="connsiteX224" fmla="*/ 1931 w 10000"/>
                <a:gd name="connsiteY224" fmla="*/ 3802 h 10000"/>
                <a:gd name="connsiteX225" fmla="*/ 1951 w 10000"/>
                <a:gd name="connsiteY225" fmla="*/ 3919 h 10000"/>
                <a:gd name="connsiteX226" fmla="*/ 2032 w 10000"/>
                <a:gd name="connsiteY226" fmla="*/ 4009 h 10000"/>
                <a:gd name="connsiteX227" fmla="*/ 2093 w 10000"/>
                <a:gd name="connsiteY227" fmla="*/ 4045 h 10000"/>
                <a:gd name="connsiteX228" fmla="*/ 1979 w 10000"/>
                <a:gd name="connsiteY228" fmla="*/ 4103 h 10000"/>
                <a:gd name="connsiteX229" fmla="*/ 1731 w 10000"/>
                <a:gd name="connsiteY229" fmla="*/ 4497 h 10000"/>
                <a:gd name="connsiteX230" fmla="*/ 1779 w 10000"/>
                <a:gd name="connsiteY230" fmla="*/ 4520 h 10000"/>
                <a:gd name="connsiteX231" fmla="*/ 1815 w 10000"/>
                <a:gd name="connsiteY231" fmla="*/ 4620 h 10000"/>
                <a:gd name="connsiteX232" fmla="*/ 1700 w 10000"/>
                <a:gd name="connsiteY232" fmla="*/ 5035 h 10000"/>
                <a:gd name="connsiteX233" fmla="*/ 1815 w 10000"/>
                <a:gd name="connsiteY233" fmla="*/ 5141 h 10000"/>
                <a:gd name="connsiteX234" fmla="*/ 2131 w 10000"/>
                <a:gd name="connsiteY234" fmla="*/ 5257 h 10000"/>
                <a:gd name="connsiteX235" fmla="*/ 2145 w 10000"/>
                <a:gd name="connsiteY235" fmla="*/ 5399 h 10000"/>
                <a:gd name="connsiteX236" fmla="*/ 2010 w 10000"/>
                <a:gd name="connsiteY236" fmla="*/ 5517 h 10000"/>
                <a:gd name="connsiteX237" fmla="*/ 1815 w 10000"/>
                <a:gd name="connsiteY237" fmla="*/ 5588 h 10000"/>
                <a:gd name="connsiteX238" fmla="*/ 1557 w 10000"/>
                <a:gd name="connsiteY238" fmla="*/ 5617 h 10000"/>
                <a:gd name="connsiteX239" fmla="*/ 1490 w 10000"/>
                <a:gd name="connsiteY239" fmla="*/ 5658 h 10000"/>
                <a:gd name="connsiteX240" fmla="*/ 1640 w 10000"/>
                <a:gd name="connsiteY240" fmla="*/ 5755 h 10000"/>
                <a:gd name="connsiteX241" fmla="*/ 1726 w 10000"/>
                <a:gd name="connsiteY241" fmla="*/ 5987 h 10000"/>
                <a:gd name="connsiteX242" fmla="*/ 1531 w 10000"/>
                <a:gd name="connsiteY242" fmla="*/ 6185 h 10000"/>
                <a:gd name="connsiteX243" fmla="*/ 1599 w 10000"/>
                <a:gd name="connsiteY243" fmla="*/ 6247 h 10000"/>
                <a:gd name="connsiteX244" fmla="*/ 1537 w 10000"/>
                <a:gd name="connsiteY244" fmla="*/ 6351 h 10000"/>
                <a:gd name="connsiteX245" fmla="*/ 1412 w 10000"/>
                <a:gd name="connsiteY245" fmla="*/ 6422 h 10000"/>
                <a:gd name="connsiteX246" fmla="*/ 915 w 10000"/>
                <a:gd name="connsiteY246" fmla="*/ 6477 h 10000"/>
                <a:gd name="connsiteX247" fmla="*/ 885 w 10000"/>
                <a:gd name="connsiteY247" fmla="*/ 6573 h 10000"/>
                <a:gd name="connsiteX248" fmla="*/ 617 w 10000"/>
                <a:gd name="connsiteY248" fmla="*/ 6716 h 10000"/>
                <a:gd name="connsiteX249" fmla="*/ 652 w 10000"/>
                <a:gd name="connsiteY249" fmla="*/ 6921 h 10000"/>
                <a:gd name="connsiteX250" fmla="*/ 427 w 10000"/>
                <a:gd name="connsiteY250" fmla="*/ 7184 h 10000"/>
                <a:gd name="connsiteX251" fmla="*/ 274 w 10000"/>
                <a:gd name="connsiteY251" fmla="*/ 7215 h 10000"/>
                <a:gd name="connsiteX252" fmla="*/ 210 w 10000"/>
                <a:gd name="connsiteY252" fmla="*/ 7152 h 10000"/>
                <a:gd name="connsiteX253" fmla="*/ 132 w 10000"/>
                <a:gd name="connsiteY253" fmla="*/ 7247 h 10000"/>
                <a:gd name="connsiteX254" fmla="*/ 183 w 10000"/>
                <a:gd name="connsiteY254" fmla="*/ 7084 h 10000"/>
                <a:gd name="connsiteX255" fmla="*/ 151 w 10000"/>
                <a:gd name="connsiteY255"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7637 w 10000"/>
                <a:gd name="connsiteY208" fmla="*/ 8 h 10000"/>
                <a:gd name="connsiteX209" fmla="*/ 5098 w 10000"/>
                <a:gd name="connsiteY209" fmla="*/ 1750 h 10000"/>
                <a:gd name="connsiteX210" fmla="*/ 4837 w 10000"/>
                <a:gd name="connsiteY210" fmla="*/ 1818 h 10000"/>
                <a:gd name="connsiteX211" fmla="*/ 4671 w 10000"/>
                <a:gd name="connsiteY211" fmla="*/ 1814 h 10000"/>
                <a:gd name="connsiteX212" fmla="*/ 4571 w 10000"/>
                <a:gd name="connsiteY212" fmla="*/ 1838 h 10000"/>
                <a:gd name="connsiteX213" fmla="*/ 4298 w 10000"/>
                <a:gd name="connsiteY213" fmla="*/ 2503 h 10000"/>
                <a:gd name="connsiteX214" fmla="*/ 3668 w 10000"/>
                <a:gd name="connsiteY214" fmla="*/ 2891 h 10000"/>
                <a:gd name="connsiteX215" fmla="*/ 3672 w 10000"/>
                <a:gd name="connsiteY215" fmla="*/ 2952 h 10000"/>
                <a:gd name="connsiteX216" fmla="*/ 3952 w 10000"/>
                <a:gd name="connsiteY216" fmla="*/ 3126 h 10000"/>
                <a:gd name="connsiteX217" fmla="*/ 3861 w 10000"/>
                <a:gd name="connsiteY217" fmla="*/ 3314 h 10000"/>
                <a:gd name="connsiteX218" fmla="*/ 3698 w 10000"/>
                <a:gd name="connsiteY218" fmla="*/ 3383 h 10000"/>
                <a:gd name="connsiteX219" fmla="*/ 3208 w 10000"/>
                <a:gd name="connsiteY219" fmla="*/ 3337 h 10000"/>
                <a:gd name="connsiteX220" fmla="*/ 2871 w 10000"/>
                <a:gd name="connsiteY220" fmla="*/ 3363 h 10000"/>
                <a:gd name="connsiteX221" fmla="*/ 2601 w 10000"/>
                <a:gd name="connsiteY221" fmla="*/ 3419 h 10000"/>
                <a:gd name="connsiteX222" fmla="*/ 2163 w 10000"/>
                <a:gd name="connsiteY222" fmla="*/ 3592 h 10000"/>
                <a:gd name="connsiteX223" fmla="*/ 1931 w 10000"/>
                <a:gd name="connsiteY223" fmla="*/ 3802 h 10000"/>
                <a:gd name="connsiteX224" fmla="*/ 1951 w 10000"/>
                <a:gd name="connsiteY224" fmla="*/ 3919 h 10000"/>
                <a:gd name="connsiteX225" fmla="*/ 2032 w 10000"/>
                <a:gd name="connsiteY225" fmla="*/ 4009 h 10000"/>
                <a:gd name="connsiteX226" fmla="*/ 2093 w 10000"/>
                <a:gd name="connsiteY226" fmla="*/ 4045 h 10000"/>
                <a:gd name="connsiteX227" fmla="*/ 1979 w 10000"/>
                <a:gd name="connsiteY227" fmla="*/ 4103 h 10000"/>
                <a:gd name="connsiteX228" fmla="*/ 1731 w 10000"/>
                <a:gd name="connsiteY228" fmla="*/ 4497 h 10000"/>
                <a:gd name="connsiteX229" fmla="*/ 1779 w 10000"/>
                <a:gd name="connsiteY229" fmla="*/ 4520 h 10000"/>
                <a:gd name="connsiteX230" fmla="*/ 1815 w 10000"/>
                <a:gd name="connsiteY230" fmla="*/ 4620 h 10000"/>
                <a:gd name="connsiteX231" fmla="*/ 1700 w 10000"/>
                <a:gd name="connsiteY231" fmla="*/ 5035 h 10000"/>
                <a:gd name="connsiteX232" fmla="*/ 1815 w 10000"/>
                <a:gd name="connsiteY232" fmla="*/ 5141 h 10000"/>
                <a:gd name="connsiteX233" fmla="*/ 2131 w 10000"/>
                <a:gd name="connsiteY233" fmla="*/ 5257 h 10000"/>
                <a:gd name="connsiteX234" fmla="*/ 2145 w 10000"/>
                <a:gd name="connsiteY234" fmla="*/ 5399 h 10000"/>
                <a:gd name="connsiteX235" fmla="*/ 2010 w 10000"/>
                <a:gd name="connsiteY235" fmla="*/ 5517 h 10000"/>
                <a:gd name="connsiteX236" fmla="*/ 1815 w 10000"/>
                <a:gd name="connsiteY236" fmla="*/ 5588 h 10000"/>
                <a:gd name="connsiteX237" fmla="*/ 1557 w 10000"/>
                <a:gd name="connsiteY237" fmla="*/ 5617 h 10000"/>
                <a:gd name="connsiteX238" fmla="*/ 1490 w 10000"/>
                <a:gd name="connsiteY238" fmla="*/ 5658 h 10000"/>
                <a:gd name="connsiteX239" fmla="*/ 1640 w 10000"/>
                <a:gd name="connsiteY239" fmla="*/ 5755 h 10000"/>
                <a:gd name="connsiteX240" fmla="*/ 1726 w 10000"/>
                <a:gd name="connsiteY240" fmla="*/ 5987 h 10000"/>
                <a:gd name="connsiteX241" fmla="*/ 1531 w 10000"/>
                <a:gd name="connsiteY241" fmla="*/ 6185 h 10000"/>
                <a:gd name="connsiteX242" fmla="*/ 1599 w 10000"/>
                <a:gd name="connsiteY242" fmla="*/ 6247 h 10000"/>
                <a:gd name="connsiteX243" fmla="*/ 1537 w 10000"/>
                <a:gd name="connsiteY243" fmla="*/ 6351 h 10000"/>
                <a:gd name="connsiteX244" fmla="*/ 1412 w 10000"/>
                <a:gd name="connsiteY244" fmla="*/ 6422 h 10000"/>
                <a:gd name="connsiteX245" fmla="*/ 915 w 10000"/>
                <a:gd name="connsiteY245" fmla="*/ 6477 h 10000"/>
                <a:gd name="connsiteX246" fmla="*/ 885 w 10000"/>
                <a:gd name="connsiteY246" fmla="*/ 6573 h 10000"/>
                <a:gd name="connsiteX247" fmla="*/ 617 w 10000"/>
                <a:gd name="connsiteY247" fmla="*/ 6716 h 10000"/>
                <a:gd name="connsiteX248" fmla="*/ 652 w 10000"/>
                <a:gd name="connsiteY248" fmla="*/ 6921 h 10000"/>
                <a:gd name="connsiteX249" fmla="*/ 427 w 10000"/>
                <a:gd name="connsiteY249" fmla="*/ 7184 h 10000"/>
                <a:gd name="connsiteX250" fmla="*/ 274 w 10000"/>
                <a:gd name="connsiteY250" fmla="*/ 7215 h 10000"/>
                <a:gd name="connsiteX251" fmla="*/ 210 w 10000"/>
                <a:gd name="connsiteY251" fmla="*/ 7152 h 10000"/>
                <a:gd name="connsiteX252" fmla="*/ 132 w 10000"/>
                <a:gd name="connsiteY252" fmla="*/ 7247 h 10000"/>
                <a:gd name="connsiteX253" fmla="*/ 183 w 10000"/>
                <a:gd name="connsiteY253" fmla="*/ 7084 h 10000"/>
                <a:gd name="connsiteX254" fmla="*/ 151 w 10000"/>
                <a:gd name="connsiteY254" fmla="*/ 7052 h 10000"/>
                <a:gd name="connsiteX0" fmla="*/ 151 w 10000"/>
                <a:gd name="connsiteY0" fmla="*/ 7052 h 10000"/>
                <a:gd name="connsiteX1" fmla="*/ 0 w 10000"/>
                <a:gd name="connsiteY1" fmla="*/ 7137 h 10000"/>
                <a:gd name="connsiteX2" fmla="*/ 0 w 10000"/>
                <a:gd name="connsiteY2" fmla="*/ 7557 h 10000"/>
                <a:gd name="connsiteX3" fmla="*/ 83 w 10000"/>
                <a:gd name="connsiteY3" fmla="*/ 7569 h 10000"/>
                <a:gd name="connsiteX4" fmla="*/ 103 w 10000"/>
                <a:gd name="connsiteY4" fmla="*/ 7601 h 10000"/>
                <a:gd name="connsiteX5" fmla="*/ 99 w 10000"/>
                <a:gd name="connsiteY5" fmla="*/ 7658 h 10000"/>
                <a:gd name="connsiteX6" fmla="*/ 68 w 10000"/>
                <a:gd name="connsiteY6" fmla="*/ 7683 h 10000"/>
                <a:gd name="connsiteX7" fmla="*/ 195 w 10000"/>
                <a:gd name="connsiteY7" fmla="*/ 7635 h 10000"/>
                <a:gd name="connsiteX8" fmla="*/ 249 w 10000"/>
                <a:gd name="connsiteY8" fmla="*/ 7587 h 10000"/>
                <a:gd name="connsiteX9" fmla="*/ 315 w 10000"/>
                <a:gd name="connsiteY9" fmla="*/ 7620 h 10000"/>
                <a:gd name="connsiteX10" fmla="*/ 242 w 10000"/>
                <a:gd name="connsiteY10" fmla="*/ 7688 h 10000"/>
                <a:gd name="connsiteX11" fmla="*/ 320 w 10000"/>
                <a:gd name="connsiteY11" fmla="*/ 7690 h 10000"/>
                <a:gd name="connsiteX12" fmla="*/ 358 w 10000"/>
                <a:gd name="connsiteY12" fmla="*/ 7707 h 10000"/>
                <a:gd name="connsiteX13" fmla="*/ 257 w 10000"/>
                <a:gd name="connsiteY13" fmla="*/ 7730 h 10000"/>
                <a:gd name="connsiteX14" fmla="*/ 99 w 10000"/>
                <a:gd name="connsiteY14" fmla="*/ 7800 h 10000"/>
                <a:gd name="connsiteX15" fmla="*/ 381 w 10000"/>
                <a:gd name="connsiteY15" fmla="*/ 7855 h 10000"/>
                <a:gd name="connsiteX16" fmla="*/ 416 w 10000"/>
                <a:gd name="connsiteY16" fmla="*/ 7934 h 10000"/>
                <a:gd name="connsiteX17" fmla="*/ 320 w 10000"/>
                <a:gd name="connsiteY17" fmla="*/ 8050 h 10000"/>
                <a:gd name="connsiteX18" fmla="*/ 526 w 10000"/>
                <a:gd name="connsiteY18" fmla="*/ 8042 h 10000"/>
                <a:gd name="connsiteX19" fmla="*/ 541 w 10000"/>
                <a:gd name="connsiteY19" fmla="*/ 8130 h 10000"/>
                <a:gd name="connsiteX20" fmla="*/ 404 w 10000"/>
                <a:gd name="connsiteY20" fmla="*/ 8189 h 10000"/>
                <a:gd name="connsiteX21" fmla="*/ 427 w 10000"/>
                <a:gd name="connsiteY21" fmla="*/ 8305 h 10000"/>
                <a:gd name="connsiteX22" fmla="*/ 374 w 10000"/>
                <a:gd name="connsiteY22" fmla="*/ 8394 h 10000"/>
                <a:gd name="connsiteX23" fmla="*/ 536 w 10000"/>
                <a:gd name="connsiteY23" fmla="*/ 8402 h 10000"/>
                <a:gd name="connsiteX24" fmla="*/ 695 w 10000"/>
                <a:gd name="connsiteY24" fmla="*/ 8744 h 10000"/>
                <a:gd name="connsiteX25" fmla="*/ 878 w 10000"/>
                <a:gd name="connsiteY25" fmla="*/ 8831 h 10000"/>
                <a:gd name="connsiteX26" fmla="*/ 958 w 10000"/>
                <a:gd name="connsiteY26" fmla="*/ 8923 h 10000"/>
                <a:gd name="connsiteX27" fmla="*/ 1157 w 10000"/>
                <a:gd name="connsiteY27" fmla="*/ 8990 h 10000"/>
                <a:gd name="connsiteX28" fmla="*/ 1285 w 10000"/>
                <a:gd name="connsiteY28" fmla="*/ 9077 h 10000"/>
                <a:gd name="connsiteX29" fmla="*/ 1269 w 10000"/>
                <a:gd name="connsiteY29" fmla="*/ 9138 h 10000"/>
                <a:gd name="connsiteX30" fmla="*/ 1142 w 10000"/>
                <a:gd name="connsiteY30" fmla="*/ 9161 h 10000"/>
                <a:gd name="connsiteX31" fmla="*/ 1004 w 10000"/>
                <a:gd name="connsiteY31" fmla="*/ 9146 h 10000"/>
                <a:gd name="connsiteX32" fmla="*/ 962 w 10000"/>
                <a:gd name="connsiteY32" fmla="*/ 9172 h 10000"/>
                <a:gd name="connsiteX33" fmla="*/ 1067 w 10000"/>
                <a:gd name="connsiteY33" fmla="*/ 9305 h 10000"/>
                <a:gd name="connsiteX34" fmla="*/ 920 w 10000"/>
                <a:gd name="connsiteY34" fmla="*/ 9294 h 10000"/>
                <a:gd name="connsiteX35" fmla="*/ 795 w 10000"/>
                <a:gd name="connsiteY35" fmla="*/ 9262 h 10000"/>
                <a:gd name="connsiteX36" fmla="*/ 772 w 10000"/>
                <a:gd name="connsiteY36" fmla="*/ 9311 h 10000"/>
                <a:gd name="connsiteX37" fmla="*/ 1188 w 10000"/>
                <a:gd name="connsiteY37" fmla="*/ 9767 h 10000"/>
                <a:gd name="connsiteX38" fmla="*/ 1122 w 10000"/>
                <a:gd name="connsiteY38" fmla="*/ 9810 h 10000"/>
                <a:gd name="connsiteX39" fmla="*/ 1075 w 10000"/>
                <a:gd name="connsiteY39" fmla="*/ 9898 h 10000"/>
                <a:gd name="connsiteX40" fmla="*/ 1015 w 10000"/>
                <a:gd name="connsiteY40" fmla="*/ 9905 h 10000"/>
                <a:gd name="connsiteX41" fmla="*/ 978 w 10000"/>
                <a:gd name="connsiteY41" fmla="*/ 9943 h 10000"/>
                <a:gd name="connsiteX42" fmla="*/ 1229 w 10000"/>
                <a:gd name="connsiteY42" fmla="*/ 9947 h 10000"/>
                <a:gd name="connsiteX43" fmla="*/ 1451 w 10000"/>
                <a:gd name="connsiteY43" fmla="*/ 9985 h 10000"/>
                <a:gd name="connsiteX44" fmla="*/ 1820 w 10000"/>
                <a:gd name="connsiteY44" fmla="*/ 9945 h 10000"/>
                <a:gd name="connsiteX45" fmla="*/ 2151 w 10000"/>
                <a:gd name="connsiteY45" fmla="*/ 9951 h 10000"/>
                <a:gd name="connsiteX46" fmla="*/ 2346 w 10000"/>
                <a:gd name="connsiteY46" fmla="*/ 10000 h 10000"/>
                <a:gd name="connsiteX47" fmla="*/ 2454 w 10000"/>
                <a:gd name="connsiteY47" fmla="*/ 9968 h 10000"/>
                <a:gd name="connsiteX48" fmla="*/ 2557 w 10000"/>
                <a:gd name="connsiteY48" fmla="*/ 9863 h 10000"/>
                <a:gd name="connsiteX49" fmla="*/ 2530 w 10000"/>
                <a:gd name="connsiteY49" fmla="*/ 9691 h 10000"/>
                <a:gd name="connsiteX50" fmla="*/ 2782 w 10000"/>
                <a:gd name="connsiteY50" fmla="*/ 9498 h 10000"/>
                <a:gd name="connsiteX51" fmla="*/ 2966 w 10000"/>
                <a:gd name="connsiteY51" fmla="*/ 9528 h 10000"/>
                <a:gd name="connsiteX52" fmla="*/ 3073 w 10000"/>
                <a:gd name="connsiteY52" fmla="*/ 9451 h 10000"/>
                <a:gd name="connsiteX53" fmla="*/ 3278 w 10000"/>
                <a:gd name="connsiteY53" fmla="*/ 9408 h 10000"/>
                <a:gd name="connsiteX54" fmla="*/ 3557 w 10000"/>
                <a:gd name="connsiteY54" fmla="*/ 9418 h 10000"/>
                <a:gd name="connsiteX55" fmla="*/ 3724 w 10000"/>
                <a:gd name="connsiteY55" fmla="*/ 9449 h 10000"/>
                <a:gd name="connsiteX56" fmla="*/ 3948 w 10000"/>
                <a:gd name="connsiteY56" fmla="*/ 9435 h 10000"/>
                <a:gd name="connsiteX57" fmla="*/ 4173 w 10000"/>
                <a:gd name="connsiteY57" fmla="*/ 9469 h 10000"/>
                <a:gd name="connsiteX58" fmla="*/ 4398 w 10000"/>
                <a:gd name="connsiteY58" fmla="*/ 9473 h 10000"/>
                <a:gd name="connsiteX59" fmla="*/ 4902 w 10000"/>
                <a:gd name="connsiteY59" fmla="*/ 9024 h 10000"/>
                <a:gd name="connsiteX60" fmla="*/ 5030 w 10000"/>
                <a:gd name="connsiteY60" fmla="*/ 8659 h 10000"/>
                <a:gd name="connsiteX61" fmla="*/ 5235 w 10000"/>
                <a:gd name="connsiteY61" fmla="*/ 8496 h 10000"/>
                <a:gd name="connsiteX62" fmla="*/ 5235 w 10000"/>
                <a:gd name="connsiteY62" fmla="*/ 8410 h 10000"/>
                <a:gd name="connsiteX63" fmla="*/ 5160 w 10000"/>
                <a:gd name="connsiteY63" fmla="*/ 8362 h 10000"/>
                <a:gd name="connsiteX64" fmla="*/ 5281 w 10000"/>
                <a:gd name="connsiteY64" fmla="*/ 8286 h 10000"/>
                <a:gd name="connsiteX65" fmla="*/ 5259 w 10000"/>
                <a:gd name="connsiteY65" fmla="*/ 8221 h 10000"/>
                <a:gd name="connsiteX66" fmla="*/ 5177 w 10000"/>
                <a:gd name="connsiteY66" fmla="*/ 8165 h 10000"/>
                <a:gd name="connsiteX67" fmla="*/ 5160 w 10000"/>
                <a:gd name="connsiteY67" fmla="*/ 8126 h 10000"/>
                <a:gd name="connsiteX68" fmla="*/ 5181 w 10000"/>
                <a:gd name="connsiteY68" fmla="*/ 8095 h 10000"/>
                <a:gd name="connsiteX69" fmla="*/ 5292 w 10000"/>
                <a:gd name="connsiteY69" fmla="*/ 8120 h 10000"/>
                <a:gd name="connsiteX70" fmla="*/ 5381 w 10000"/>
                <a:gd name="connsiteY70" fmla="*/ 8118 h 10000"/>
                <a:gd name="connsiteX71" fmla="*/ 5333 w 10000"/>
                <a:gd name="connsiteY71" fmla="*/ 8065 h 10000"/>
                <a:gd name="connsiteX72" fmla="*/ 5348 w 10000"/>
                <a:gd name="connsiteY72" fmla="*/ 8036 h 10000"/>
                <a:gd name="connsiteX73" fmla="*/ 5414 w 10000"/>
                <a:gd name="connsiteY73" fmla="*/ 7991 h 10000"/>
                <a:gd name="connsiteX74" fmla="*/ 5401 w 10000"/>
                <a:gd name="connsiteY74" fmla="*/ 7955 h 10000"/>
                <a:gd name="connsiteX75" fmla="*/ 5462 w 10000"/>
                <a:gd name="connsiteY75" fmla="*/ 7833 h 10000"/>
                <a:gd name="connsiteX76" fmla="*/ 5445 w 10000"/>
                <a:gd name="connsiteY76" fmla="*/ 7795 h 10000"/>
                <a:gd name="connsiteX77" fmla="*/ 5140 w 10000"/>
                <a:gd name="connsiteY77" fmla="*/ 7703 h 10000"/>
                <a:gd name="connsiteX78" fmla="*/ 5181 w 10000"/>
                <a:gd name="connsiteY78" fmla="*/ 7699 h 10000"/>
                <a:gd name="connsiteX79" fmla="*/ 5344 w 10000"/>
                <a:gd name="connsiteY79" fmla="*/ 7724 h 10000"/>
                <a:gd name="connsiteX80" fmla="*/ 5520 w 10000"/>
                <a:gd name="connsiteY80" fmla="*/ 7715 h 10000"/>
                <a:gd name="connsiteX81" fmla="*/ 5571 w 10000"/>
                <a:gd name="connsiteY81" fmla="*/ 7681 h 10000"/>
                <a:gd name="connsiteX82" fmla="*/ 5401 w 10000"/>
                <a:gd name="connsiteY82" fmla="*/ 7618 h 10000"/>
                <a:gd name="connsiteX83" fmla="*/ 4898 w 10000"/>
                <a:gd name="connsiteY83" fmla="*/ 7576 h 10000"/>
                <a:gd name="connsiteX84" fmla="*/ 4932 w 10000"/>
                <a:gd name="connsiteY84" fmla="*/ 7557 h 10000"/>
                <a:gd name="connsiteX85" fmla="*/ 5344 w 10000"/>
                <a:gd name="connsiteY85" fmla="*/ 7544 h 10000"/>
                <a:gd name="connsiteX86" fmla="*/ 5571 w 10000"/>
                <a:gd name="connsiteY86" fmla="*/ 7582 h 10000"/>
                <a:gd name="connsiteX87" fmla="*/ 5702 w 10000"/>
                <a:gd name="connsiteY87" fmla="*/ 7557 h 10000"/>
                <a:gd name="connsiteX88" fmla="*/ 5750 w 10000"/>
                <a:gd name="connsiteY88" fmla="*/ 7491 h 10000"/>
                <a:gd name="connsiteX89" fmla="*/ 5987 w 10000"/>
                <a:gd name="connsiteY89" fmla="*/ 7491 h 10000"/>
                <a:gd name="connsiteX90" fmla="*/ 6308 w 10000"/>
                <a:gd name="connsiteY90" fmla="*/ 7359 h 10000"/>
                <a:gd name="connsiteX91" fmla="*/ 6319 w 10000"/>
                <a:gd name="connsiteY91" fmla="*/ 7272 h 10000"/>
                <a:gd name="connsiteX92" fmla="*/ 6455 w 10000"/>
                <a:gd name="connsiteY92" fmla="*/ 7292 h 10000"/>
                <a:gd name="connsiteX93" fmla="*/ 6449 w 10000"/>
                <a:gd name="connsiteY93" fmla="*/ 7380 h 10000"/>
                <a:gd name="connsiteX94" fmla="*/ 6665 w 10000"/>
                <a:gd name="connsiteY94" fmla="*/ 7374 h 10000"/>
                <a:gd name="connsiteX95" fmla="*/ 6807 w 10000"/>
                <a:gd name="connsiteY95" fmla="*/ 7283 h 10000"/>
                <a:gd name="connsiteX96" fmla="*/ 7070 w 10000"/>
                <a:gd name="connsiteY96" fmla="*/ 7201 h 10000"/>
                <a:gd name="connsiteX97" fmla="*/ 7029 w 10000"/>
                <a:gd name="connsiteY97" fmla="*/ 7107 h 10000"/>
                <a:gd name="connsiteX98" fmla="*/ 7107 w 10000"/>
                <a:gd name="connsiteY98" fmla="*/ 7144 h 10000"/>
                <a:gd name="connsiteX99" fmla="*/ 7227 w 10000"/>
                <a:gd name="connsiteY99" fmla="*/ 7144 h 10000"/>
                <a:gd name="connsiteX100" fmla="*/ 7227 w 10000"/>
                <a:gd name="connsiteY100" fmla="*/ 7101 h 10000"/>
                <a:gd name="connsiteX101" fmla="*/ 7340 w 10000"/>
                <a:gd name="connsiteY101" fmla="*/ 7068 h 10000"/>
                <a:gd name="connsiteX102" fmla="*/ 7324 w 10000"/>
                <a:gd name="connsiteY102" fmla="*/ 7034 h 10000"/>
                <a:gd name="connsiteX103" fmla="*/ 6377 w 10000"/>
                <a:gd name="connsiteY103" fmla="*/ 7103 h 10000"/>
                <a:gd name="connsiteX104" fmla="*/ 6155 w 10000"/>
                <a:gd name="connsiteY104" fmla="*/ 7082 h 10000"/>
                <a:gd name="connsiteX105" fmla="*/ 6065 w 10000"/>
                <a:gd name="connsiteY105" fmla="*/ 7107 h 10000"/>
                <a:gd name="connsiteX106" fmla="*/ 6035 w 10000"/>
                <a:gd name="connsiteY106" fmla="*/ 7060 h 10000"/>
                <a:gd name="connsiteX107" fmla="*/ 5930 w 10000"/>
                <a:gd name="connsiteY107" fmla="*/ 7017 h 10000"/>
                <a:gd name="connsiteX108" fmla="*/ 5508 w 10000"/>
                <a:gd name="connsiteY108" fmla="*/ 6933 h 10000"/>
                <a:gd name="connsiteX109" fmla="*/ 5259 w 10000"/>
                <a:gd name="connsiteY109" fmla="*/ 6946 h 10000"/>
                <a:gd name="connsiteX110" fmla="*/ 5160 w 10000"/>
                <a:gd name="connsiteY110" fmla="*/ 6923 h 10000"/>
                <a:gd name="connsiteX111" fmla="*/ 5265 w 10000"/>
                <a:gd name="connsiteY111" fmla="*/ 6902 h 10000"/>
                <a:gd name="connsiteX112" fmla="*/ 5344 w 10000"/>
                <a:gd name="connsiteY112" fmla="*/ 6857 h 10000"/>
                <a:gd name="connsiteX113" fmla="*/ 5462 w 10000"/>
                <a:gd name="connsiteY113" fmla="*/ 6872 h 10000"/>
                <a:gd name="connsiteX114" fmla="*/ 5602 w 10000"/>
                <a:gd name="connsiteY114" fmla="*/ 6859 h 10000"/>
                <a:gd name="connsiteX115" fmla="*/ 5813 w 10000"/>
                <a:gd name="connsiteY115" fmla="*/ 6874 h 10000"/>
                <a:gd name="connsiteX116" fmla="*/ 5838 w 10000"/>
                <a:gd name="connsiteY116" fmla="*/ 6868 h 10000"/>
                <a:gd name="connsiteX117" fmla="*/ 6002 w 10000"/>
                <a:gd name="connsiteY117" fmla="*/ 6937 h 10000"/>
                <a:gd name="connsiteX118" fmla="*/ 6122 w 10000"/>
                <a:gd name="connsiteY118" fmla="*/ 6912 h 10000"/>
                <a:gd name="connsiteX119" fmla="*/ 6133 w 10000"/>
                <a:gd name="connsiteY119" fmla="*/ 6889 h 10000"/>
                <a:gd name="connsiteX120" fmla="*/ 6244 w 10000"/>
                <a:gd name="connsiteY120" fmla="*/ 6929 h 10000"/>
                <a:gd name="connsiteX121" fmla="*/ 6391 w 10000"/>
                <a:gd name="connsiteY121" fmla="*/ 6951 h 10000"/>
                <a:gd name="connsiteX122" fmla="*/ 6449 w 10000"/>
                <a:gd name="connsiteY122" fmla="*/ 6910 h 10000"/>
                <a:gd name="connsiteX123" fmla="*/ 6496 w 10000"/>
                <a:gd name="connsiteY123" fmla="*/ 6933 h 10000"/>
                <a:gd name="connsiteX124" fmla="*/ 6565 w 10000"/>
                <a:gd name="connsiteY124" fmla="*/ 7011 h 10000"/>
                <a:gd name="connsiteX125" fmla="*/ 6707 w 10000"/>
                <a:gd name="connsiteY125" fmla="*/ 7029 h 10000"/>
                <a:gd name="connsiteX126" fmla="*/ 7286 w 10000"/>
                <a:gd name="connsiteY126" fmla="*/ 6914 h 10000"/>
                <a:gd name="connsiteX127" fmla="*/ 7571 w 10000"/>
                <a:gd name="connsiteY127" fmla="*/ 6753 h 10000"/>
                <a:gd name="connsiteX128" fmla="*/ 7637 w 10000"/>
                <a:gd name="connsiteY128" fmla="*/ 6635 h 10000"/>
                <a:gd name="connsiteX129" fmla="*/ 7534 w 10000"/>
                <a:gd name="connsiteY129" fmla="*/ 6528 h 10000"/>
                <a:gd name="connsiteX130" fmla="*/ 7318 w 10000"/>
                <a:gd name="connsiteY130" fmla="*/ 6465 h 10000"/>
                <a:gd name="connsiteX131" fmla="*/ 7164 w 10000"/>
                <a:gd name="connsiteY131" fmla="*/ 6361 h 10000"/>
                <a:gd name="connsiteX132" fmla="*/ 7307 w 10000"/>
                <a:gd name="connsiteY132" fmla="*/ 6357 h 10000"/>
                <a:gd name="connsiteX133" fmla="*/ 7297 w 10000"/>
                <a:gd name="connsiteY133" fmla="*/ 6332 h 10000"/>
                <a:gd name="connsiteX134" fmla="*/ 6925 w 10000"/>
                <a:gd name="connsiteY134" fmla="*/ 6259 h 10000"/>
                <a:gd name="connsiteX135" fmla="*/ 6909 w 10000"/>
                <a:gd name="connsiteY135" fmla="*/ 6191 h 10000"/>
                <a:gd name="connsiteX136" fmla="*/ 6837 w 10000"/>
                <a:gd name="connsiteY136" fmla="*/ 6122 h 10000"/>
                <a:gd name="connsiteX137" fmla="*/ 6543 w 10000"/>
                <a:gd name="connsiteY137" fmla="*/ 6134 h 10000"/>
                <a:gd name="connsiteX138" fmla="*/ 6438 w 10000"/>
                <a:gd name="connsiteY138" fmla="*/ 6060 h 10000"/>
                <a:gd name="connsiteX139" fmla="*/ 6377 w 10000"/>
                <a:gd name="connsiteY139" fmla="*/ 6056 h 10000"/>
                <a:gd name="connsiteX140" fmla="*/ 6377 w 10000"/>
                <a:gd name="connsiteY140" fmla="*/ 6086 h 10000"/>
                <a:gd name="connsiteX141" fmla="*/ 6244 w 10000"/>
                <a:gd name="connsiteY141" fmla="*/ 6212 h 10000"/>
                <a:gd name="connsiteX142" fmla="*/ 6101 w 10000"/>
                <a:gd name="connsiteY142" fmla="*/ 6286 h 10000"/>
                <a:gd name="connsiteX143" fmla="*/ 5653 w 10000"/>
                <a:gd name="connsiteY143" fmla="*/ 6412 h 10000"/>
                <a:gd name="connsiteX144" fmla="*/ 5496 w 10000"/>
                <a:gd name="connsiteY144" fmla="*/ 6408 h 10000"/>
                <a:gd name="connsiteX145" fmla="*/ 5281 w 10000"/>
                <a:gd name="connsiteY145" fmla="*/ 6427 h 10000"/>
                <a:gd name="connsiteX146" fmla="*/ 5160 w 10000"/>
                <a:gd name="connsiteY146" fmla="*/ 6408 h 10000"/>
                <a:gd name="connsiteX147" fmla="*/ 5318 w 10000"/>
                <a:gd name="connsiteY147" fmla="*/ 6373 h 10000"/>
                <a:gd name="connsiteX148" fmla="*/ 5524 w 10000"/>
                <a:gd name="connsiteY148" fmla="*/ 6357 h 10000"/>
                <a:gd name="connsiteX149" fmla="*/ 5693 w 10000"/>
                <a:gd name="connsiteY149" fmla="*/ 6298 h 10000"/>
                <a:gd name="connsiteX150" fmla="*/ 5859 w 10000"/>
                <a:gd name="connsiteY150" fmla="*/ 6271 h 10000"/>
                <a:gd name="connsiteX151" fmla="*/ 6171 w 10000"/>
                <a:gd name="connsiteY151" fmla="*/ 6168 h 10000"/>
                <a:gd name="connsiteX152" fmla="*/ 6230 w 10000"/>
                <a:gd name="connsiteY152" fmla="*/ 6101 h 10000"/>
                <a:gd name="connsiteX153" fmla="*/ 6235 w 10000"/>
                <a:gd name="connsiteY153" fmla="*/ 6014 h 10000"/>
                <a:gd name="connsiteX154" fmla="*/ 6092 w 10000"/>
                <a:gd name="connsiteY154" fmla="*/ 5999 h 10000"/>
                <a:gd name="connsiteX155" fmla="*/ 6155 w 10000"/>
                <a:gd name="connsiteY155" fmla="*/ 5946 h 10000"/>
                <a:gd name="connsiteX156" fmla="*/ 6175 w 10000"/>
                <a:gd name="connsiteY156" fmla="*/ 5879 h 10000"/>
                <a:gd name="connsiteX157" fmla="*/ 6115 w 10000"/>
                <a:gd name="connsiteY157" fmla="*/ 5816 h 10000"/>
                <a:gd name="connsiteX158" fmla="*/ 6081 w 10000"/>
                <a:gd name="connsiteY158" fmla="*/ 5353 h 10000"/>
                <a:gd name="connsiteX159" fmla="*/ 6166 w 10000"/>
                <a:gd name="connsiteY159" fmla="*/ 5253 h 10000"/>
                <a:gd name="connsiteX160" fmla="*/ 6144 w 10000"/>
                <a:gd name="connsiteY160" fmla="*/ 5213 h 10000"/>
                <a:gd name="connsiteX161" fmla="*/ 6391 w 10000"/>
                <a:gd name="connsiteY161" fmla="*/ 5272 h 10000"/>
                <a:gd name="connsiteX162" fmla="*/ 6408 w 10000"/>
                <a:gd name="connsiteY162" fmla="*/ 5217 h 10000"/>
                <a:gd name="connsiteX163" fmla="*/ 6354 w 10000"/>
                <a:gd name="connsiteY163" fmla="*/ 5074 h 10000"/>
                <a:gd name="connsiteX164" fmla="*/ 6532 w 10000"/>
                <a:gd name="connsiteY164" fmla="*/ 4818 h 10000"/>
                <a:gd name="connsiteX165" fmla="*/ 6423 w 10000"/>
                <a:gd name="connsiteY165" fmla="*/ 4757 h 10000"/>
                <a:gd name="connsiteX166" fmla="*/ 6381 w 10000"/>
                <a:gd name="connsiteY166" fmla="*/ 4700 h 10000"/>
                <a:gd name="connsiteX167" fmla="*/ 6395 w 10000"/>
                <a:gd name="connsiteY167" fmla="*/ 4607 h 10000"/>
                <a:gd name="connsiteX168" fmla="*/ 6656 w 10000"/>
                <a:gd name="connsiteY168" fmla="*/ 4669 h 10000"/>
                <a:gd name="connsiteX169" fmla="*/ 6665 w 10000"/>
                <a:gd name="connsiteY169" fmla="*/ 4651 h 10000"/>
                <a:gd name="connsiteX170" fmla="*/ 6737 w 10000"/>
                <a:gd name="connsiteY170" fmla="*/ 4635 h 10000"/>
                <a:gd name="connsiteX171" fmla="*/ 6837 w 10000"/>
                <a:gd name="connsiteY171" fmla="*/ 4575 h 10000"/>
                <a:gd name="connsiteX172" fmla="*/ 6854 w 10000"/>
                <a:gd name="connsiteY172" fmla="*/ 4558 h 10000"/>
                <a:gd name="connsiteX173" fmla="*/ 6832 w 10000"/>
                <a:gd name="connsiteY173" fmla="*/ 4536 h 10000"/>
                <a:gd name="connsiteX174" fmla="*/ 6886 w 10000"/>
                <a:gd name="connsiteY174" fmla="*/ 4431 h 10000"/>
                <a:gd name="connsiteX175" fmla="*/ 6822 w 10000"/>
                <a:gd name="connsiteY175" fmla="*/ 4363 h 10000"/>
                <a:gd name="connsiteX176" fmla="*/ 6832 w 10000"/>
                <a:gd name="connsiteY176" fmla="*/ 4308 h 10000"/>
                <a:gd name="connsiteX177" fmla="*/ 6868 w 10000"/>
                <a:gd name="connsiteY177" fmla="*/ 4372 h 10000"/>
                <a:gd name="connsiteX178" fmla="*/ 7011 w 10000"/>
                <a:gd name="connsiteY178" fmla="*/ 4420 h 10000"/>
                <a:gd name="connsiteX179" fmla="*/ 7070 w 10000"/>
                <a:gd name="connsiteY179" fmla="*/ 4414 h 10000"/>
                <a:gd name="connsiteX180" fmla="*/ 7164 w 10000"/>
                <a:gd name="connsiteY180" fmla="*/ 4350 h 10000"/>
                <a:gd name="connsiteX181" fmla="*/ 7265 w 10000"/>
                <a:gd name="connsiteY181" fmla="*/ 4376 h 10000"/>
                <a:gd name="connsiteX182" fmla="*/ 7292 w 10000"/>
                <a:gd name="connsiteY182" fmla="*/ 4326 h 10000"/>
                <a:gd name="connsiteX183" fmla="*/ 7360 w 10000"/>
                <a:gd name="connsiteY183" fmla="*/ 4291 h 10000"/>
                <a:gd name="connsiteX184" fmla="*/ 7175 w 10000"/>
                <a:gd name="connsiteY184" fmla="*/ 4255 h 10000"/>
                <a:gd name="connsiteX185" fmla="*/ 7307 w 10000"/>
                <a:gd name="connsiteY185" fmla="*/ 4262 h 10000"/>
                <a:gd name="connsiteX186" fmla="*/ 7442 w 10000"/>
                <a:gd name="connsiteY186" fmla="*/ 4224 h 10000"/>
                <a:gd name="connsiteX187" fmla="*/ 7437 w 10000"/>
                <a:gd name="connsiteY187" fmla="*/ 4197 h 10000"/>
                <a:gd name="connsiteX188" fmla="*/ 7565 w 10000"/>
                <a:gd name="connsiteY188" fmla="*/ 4172 h 10000"/>
                <a:gd name="connsiteX189" fmla="*/ 7576 w 10000"/>
                <a:gd name="connsiteY189" fmla="*/ 4109 h 10000"/>
                <a:gd name="connsiteX190" fmla="*/ 7676 w 10000"/>
                <a:gd name="connsiteY190" fmla="*/ 4096 h 10000"/>
                <a:gd name="connsiteX191" fmla="*/ 7684 w 10000"/>
                <a:gd name="connsiteY191" fmla="*/ 4022 h 10000"/>
                <a:gd name="connsiteX192" fmla="*/ 7790 w 10000"/>
                <a:gd name="connsiteY192" fmla="*/ 4013 h 10000"/>
                <a:gd name="connsiteX193" fmla="*/ 7953 w 10000"/>
                <a:gd name="connsiteY193" fmla="*/ 4029 h 10000"/>
                <a:gd name="connsiteX194" fmla="*/ 8132 w 10000"/>
                <a:gd name="connsiteY194" fmla="*/ 3969 h 10000"/>
                <a:gd name="connsiteX195" fmla="*/ 8195 w 10000"/>
                <a:gd name="connsiteY195" fmla="*/ 3901 h 10000"/>
                <a:gd name="connsiteX196" fmla="*/ 8417 w 10000"/>
                <a:gd name="connsiteY196" fmla="*/ 3832 h 10000"/>
                <a:gd name="connsiteX197" fmla="*/ 8527 w 10000"/>
                <a:gd name="connsiteY197" fmla="*/ 3874 h 10000"/>
                <a:gd name="connsiteX198" fmla="*/ 8695 w 10000"/>
                <a:gd name="connsiteY198" fmla="*/ 3828 h 10000"/>
                <a:gd name="connsiteX199" fmla="*/ 8736 w 10000"/>
                <a:gd name="connsiteY199" fmla="*/ 3767 h 10000"/>
                <a:gd name="connsiteX200" fmla="*/ 8864 w 10000"/>
                <a:gd name="connsiteY200" fmla="*/ 3727 h 10000"/>
                <a:gd name="connsiteX201" fmla="*/ 8973 w 10000"/>
                <a:gd name="connsiteY201" fmla="*/ 3745 h 10000"/>
                <a:gd name="connsiteX202" fmla="*/ 9042 w 10000"/>
                <a:gd name="connsiteY202" fmla="*/ 3714 h 10000"/>
                <a:gd name="connsiteX203" fmla="*/ 9231 w 10000"/>
                <a:gd name="connsiteY203" fmla="*/ 3672 h 10000"/>
                <a:gd name="connsiteX204" fmla="*/ 9310 w 10000"/>
                <a:gd name="connsiteY204" fmla="*/ 3617 h 10000"/>
                <a:gd name="connsiteX205" fmla="*/ 9417 w 10000"/>
                <a:gd name="connsiteY205" fmla="*/ 3594 h 10000"/>
                <a:gd name="connsiteX206" fmla="*/ 10000 w 10000"/>
                <a:gd name="connsiteY206" fmla="*/ 3261 h 10000"/>
                <a:gd name="connsiteX207" fmla="*/ 7754 w 10000"/>
                <a:gd name="connsiteY207" fmla="*/ 0 h 10000"/>
                <a:gd name="connsiteX208" fmla="*/ 5098 w 10000"/>
                <a:gd name="connsiteY208" fmla="*/ 1750 h 10000"/>
                <a:gd name="connsiteX209" fmla="*/ 4837 w 10000"/>
                <a:gd name="connsiteY209" fmla="*/ 1818 h 10000"/>
                <a:gd name="connsiteX210" fmla="*/ 4671 w 10000"/>
                <a:gd name="connsiteY210" fmla="*/ 1814 h 10000"/>
                <a:gd name="connsiteX211" fmla="*/ 4571 w 10000"/>
                <a:gd name="connsiteY211" fmla="*/ 1838 h 10000"/>
                <a:gd name="connsiteX212" fmla="*/ 4298 w 10000"/>
                <a:gd name="connsiteY212" fmla="*/ 2503 h 10000"/>
                <a:gd name="connsiteX213" fmla="*/ 3668 w 10000"/>
                <a:gd name="connsiteY213" fmla="*/ 2891 h 10000"/>
                <a:gd name="connsiteX214" fmla="*/ 3672 w 10000"/>
                <a:gd name="connsiteY214" fmla="*/ 2952 h 10000"/>
                <a:gd name="connsiteX215" fmla="*/ 3952 w 10000"/>
                <a:gd name="connsiteY215" fmla="*/ 3126 h 10000"/>
                <a:gd name="connsiteX216" fmla="*/ 3861 w 10000"/>
                <a:gd name="connsiteY216" fmla="*/ 3314 h 10000"/>
                <a:gd name="connsiteX217" fmla="*/ 3698 w 10000"/>
                <a:gd name="connsiteY217" fmla="*/ 3383 h 10000"/>
                <a:gd name="connsiteX218" fmla="*/ 3208 w 10000"/>
                <a:gd name="connsiteY218" fmla="*/ 3337 h 10000"/>
                <a:gd name="connsiteX219" fmla="*/ 2871 w 10000"/>
                <a:gd name="connsiteY219" fmla="*/ 3363 h 10000"/>
                <a:gd name="connsiteX220" fmla="*/ 2601 w 10000"/>
                <a:gd name="connsiteY220" fmla="*/ 3419 h 10000"/>
                <a:gd name="connsiteX221" fmla="*/ 2163 w 10000"/>
                <a:gd name="connsiteY221" fmla="*/ 3592 h 10000"/>
                <a:gd name="connsiteX222" fmla="*/ 1931 w 10000"/>
                <a:gd name="connsiteY222" fmla="*/ 3802 h 10000"/>
                <a:gd name="connsiteX223" fmla="*/ 1951 w 10000"/>
                <a:gd name="connsiteY223" fmla="*/ 3919 h 10000"/>
                <a:gd name="connsiteX224" fmla="*/ 2032 w 10000"/>
                <a:gd name="connsiteY224" fmla="*/ 4009 h 10000"/>
                <a:gd name="connsiteX225" fmla="*/ 2093 w 10000"/>
                <a:gd name="connsiteY225" fmla="*/ 4045 h 10000"/>
                <a:gd name="connsiteX226" fmla="*/ 1979 w 10000"/>
                <a:gd name="connsiteY226" fmla="*/ 4103 h 10000"/>
                <a:gd name="connsiteX227" fmla="*/ 1731 w 10000"/>
                <a:gd name="connsiteY227" fmla="*/ 4497 h 10000"/>
                <a:gd name="connsiteX228" fmla="*/ 1779 w 10000"/>
                <a:gd name="connsiteY228" fmla="*/ 4520 h 10000"/>
                <a:gd name="connsiteX229" fmla="*/ 1815 w 10000"/>
                <a:gd name="connsiteY229" fmla="*/ 4620 h 10000"/>
                <a:gd name="connsiteX230" fmla="*/ 1700 w 10000"/>
                <a:gd name="connsiteY230" fmla="*/ 5035 h 10000"/>
                <a:gd name="connsiteX231" fmla="*/ 1815 w 10000"/>
                <a:gd name="connsiteY231" fmla="*/ 5141 h 10000"/>
                <a:gd name="connsiteX232" fmla="*/ 2131 w 10000"/>
                <a:gd name="connsiteY232" fmla="*/ 5257 h 10000"/>
                <a:gd name="connsiteX233" fmla="*/ 2145 w 10000"/>
                <a:gd name="connsiteY233" fmla="*/ 5399 h 10000"/>
                <a:gd name="connsiteX234" fmla="*/ 2010 w 10000"/>
                <a:gd name="connsiteY234" fmla="*/ 5517 h 10000"/>
                <a:gd name="connsiteX235" fmla="*/ 1815 w 10000"/>
                <a:gd name="connsiteY235" fmla="*/ 5588 h 10000"/>
                <a:gd name="connsiteX236" fmla="*/ 1557 w 10000"/>
                <a:gd name="connsiteY236" fmla="*/ 5617 h 10000"/>
                <a:gd name="connsiteX237" fmla="*/ 1490 w 10000"/>
                <a:gd name="connsiteY237" fmla="*/ 5658 h 10000"/>
                <a:gd name="connsiteX238" fmla="*/ 1640 w 10000"/>
                <a:gd name="connsiteY238" fmla="*/ 5755 h 10000"/>
                <a:gd name="connsiteX239" fmla="*/ 1726 w 10000"/>
                <a:gd name="connsiteY239" fmla="*/ 5987 h 10000"/>
                <a:gd name="connsiteX240" fmla="*/ 1531 w 10000"/>
                <a:gd name="connsiteY240" fmla="*/ 6185 h 10000"/>
                <a:gd name="connsiteX241" fmla="*/ 1599 w 10000"/>
                <a:gd name="connsiteY241" fmla="*/ 6247 h 10000"/>
                <a:gd name="connsiteX242" fmla="*/ 1537 w 10000"/>
                <a:gd name="connsiteY242" fmla="*/ 6351 h 10000"/>
                <a:gd name="connsiteX243" fmla="*/ 1412 w 10000"/>
                <a:gd name="connsiteY243" fmla="*/ 6422 h 10000"/>
                <a:gd name="connsiteX244" fmla="*/ 915 w 10000"/>
                <a:gd name="connsiteY244" fmla="*/ 6477 h 10000"/>
                <a:gd name="connsiteX245" fmla="*/ 885 w 10000"/>
                <a:gd name="connsiteY245" fmla="*/ 6573 h 10000"/>
                <a:gd name="connsiteX246" fmla="*/ 617 w 10000"/>
                <a:gd name="connsiteY246" fmla="*/ 6716 h 10000"/>
                <a:gd name="connsiteX247" fmla="*/ 652 w 10000"/>
                <a:gd name="connsiteY247" fmla="*/ 6921 h 10000"/>
                <a:gd name="connsiteX248" fmla="*/ 427 w 10000"/>
                <a:gd name="connsiteY248" fmla="*/ 7184 h 10000"/>
                <a:gd name="connsiteX249" fmla="*/ 274 w 10000"/>
                <a:gd name="connsiteY249" fmla="*/ 7215 h 10000"/>
                <a:gd name="connsiteX250" fmla="*/ 210 w 10000"/>
                <a:gd name="connsiteY250" fmla="*/ 7152 h 10000"/>
                <a:gd name="connsiteX251" fmla="*/ 132 w 10000"/>
                <a:gd name="connsiteY251" fmla="*/ 7247 h 10000"/>
                <a:gd name="connsiteX252" fmla="*/ 183 w 10000"/>
                <a:gd name="connsiteY252" fmla="*/ 7084 h 10000"/>
                <a:gd name="connsiteX253" fmla="*/ 151 w 10000"/>
                <a:gd name="connsiteY253" fmla="*/ 7052 h 10000"/>
                <a:gd name="connsiteX0" fmla="*/ 151 w 10000"/>
                <a:gd name="connsiteY0" fmla="*/ 5302 h 8250"/>
                <a:gd name="connsiteX1" fmla="*/ 0 w 10000"/>
                <a:gd name="connsiteY1" fmla="*/ 5387 h 8250"/>
                <a:gd name="connsiteX2" fmla="*/ 0 w 10000"/>
                <a:gd name="connsiteY2" fmla="*/ 5807 h 8250"/>
                <a:gd name="connsiteX3" fmla="*/ 83 w 10000"/>
                <a:gd name="connsiteY3" fmla="*/ 5819 h 8250"/>
                <a:gd name="connsiteX4" fmla="*/ 103 w 10000"/>
                <a:gd name="connsiteY4" fmla="*/ 5851 h 8250"/>
                <a:gd name="connsiteX5" fmla="*/ 99 w 10000"/>
                <a:gd name="connsiteY5" fmla="*/ 5908 h 8250"/>
                <a:gd name="connsiteX6" fmla="*/ 68 w 10000"/>
                <a:gd name="connsiteY6" fmla="*/ 5933 h 8250"/>
                <a:gd name="connsiteX7" fmla="*/ 195 w 10000"/>
                <a:gd name="connsiteY7" fmla="*/ 5885 h 8250"/>
                <a:gd name="connsiteX8" fmla="*/ 249 w 10000"/>
                <a:gd name="connsiteY8" fmla="*/ 5837 h 8250"/>
                <a:gd name="connsiteX9" fmla="*/ 315 w 10000"/>
                <a:gd name="connsiteY9" fmla="*/ 5870 h 8250"/>
                <a:gd name="connsiteX10" fmla="*/ 242 w 10000"/>
                <a:gd name="connsiteY10" fmla="*/ 5938 h 8250"/>
                <a:gd name="connsiteX11" fmla="*/ 320 w 10000"/>
                <a:gd name="connsiteY11" fmla="*/ 5940 h 8250"/>
                <a:gd name="connsiteX12" fmla="*/ 358 w 10000"/>
                <a:gd name="connsiteY12" fmla="*/ 5957 h 8250"/>
                <a:gd name="connsiteX13" fmla="*/ 257 w 10000"/>
                <a:gd name="connsiteY13" fmla="*/ 5980 h 8250"/>
                <a:gd name="connsiteX14" fmla="*/ 99 w 10000"/>
                <a:gd name="connsiteY14" fmla="*/ 6050 h 8250"/>
                <a:gd name="connsiteX15" fmla="*/ 381 w 10000"/>
                <a:gd name="connsiteY15" fmla="*/ 6105 h 8250"/>
                <a:gd name="connsiteX16" fmla="*/ 416 w 10000"/>
                <a:gd name="connsiteY16" fmla="*/ 6184 h 8250"/>
                <a:gd name="connsiteX17" fmla="*/ 320 w 10000"/>
                <a:gd name="connsiteY17" fmla="*/ 6300 h 8250"/>
                <a:gd name="connsiteX18" fmla="*/ 526 w 10000"/>
                <a:gd name="connsiteY18" fmla="*/ 6292 h 8250"/>
                <a:gd name="connsiteX19" fmla="*/ 541 w 10000"/>
                <a:gd name="connsiteY19" fmla="*/ 6380 h 8250"/>
                <a:gd name="connsiteX20" fmla="*/ 404 w 10000"/>
                <a:gd name="connsiteY20" fmla="*/ 6439 h 8250"/>
                <a:gd name="connsiteX21" fmla="*/ 427 w 10000"/>
                <a:gd name="connsiteY21" fmla="*/ 6555 h 8250"/>
                <a:gd name="connsiteX22" fmla="*/ 374 w 10000"/>
                <a:gd name="connsiteY22" fmla="*/ 6644 h 8250"/>
                <a:gd name="connsiteX23" fmla="*/ 536 w 10000"/>
                <a:gd name="connsiteY23" fmla="*/ 6652 h 8250"/>
                <a:gd name="connsiteX24" fmla="*/ 695 w 10000"/>
                <a:gd name="connsiteY24" fmla="*/ 6994 h 8250"/>
                <a:gd name="connsiteX25" fmla="*/ 878 w 10000"/>
                <a:gd name="connsiteY25" fmla="*/ 7081 h 8250"/>
                <a:gd name="connsiteX26" fmla="*/ 958 w 10000"/>
                <a:gd name="connsiteY26" fmla="*/ 7173 h 8250"/>
                <a:gd name="connsiteX27" fmla="*/ 1157 w 10000"/>
                <a:gd name="connsiteY27" fmla="*/ 7240 h 8250"/>
                <a:gd name="connsiteX28" fmla="*/ 1285 w 10000"/>
                <a:gd name="connsiteY28" fmla="*/ 7327 h 8250"/>
                <a:gd name="connsiteX29" fmla="*/ 1269 w 10000"/>
                <a:gd name="connsiteY29" fmla="*/ 7388 h 8250"/>
                <a:gd name="connsiteX30" fmla="*/ 1142 w 10000"/>
                <a:gd name="connsiteY30" fmla="*/ 7411 h 8250"/>
                <a:gd name="connsiteX31" fmla="*/ 1004 w 10000"/>
                <a:gd name="connsiteY31" fmla="*/ 7396 h 8250"/>
                <a:gd name="connsiteX32" fmla="*/ 962 w 10000"/>
                <a:gd name="connsiteY32" fmla="*/ 7422 h 8250"/>
                <a:gd name="connsiteX33" fmla="*/ 1067 w 10000"/>
                <a:gd name="connsiteY33" fmla="*/ 7555 h 8250"/>
                <a:gd name="connsiteX34" fmla="*/ 920 w 10000"/>
                <a:gd name="connsiteY34" fmla="*/ 7544 h 8250"/>
                <a:gd name="connsiteX35" fmla="*/ 795 w 10000"/>
                <a:gd name="connsiteY35" fmla="*/ 7512 h 8250"/>
                <a:gd name="connsiteX36" fmla="*/ 772 w 10000"/>
                <a:gd name="connsiteY36" fmla="*/ 7561 h 8250"/>
                <a:gd name="connsiteX37" fmla="*/ 1188 w 10000"/>
                <a:gd name="connsiteY37" fmla="*/ 8017 h 8250"/>
                <a:gd name="connsiteX38" fmla="*/ 1122 w 10000"/>
                <a:gd name="connsiteY38" fmla="*/ 8060 h 8250"/>
                <a:gd name="connsiteX39" fmla="*/ 1075 w 10000"/>
                <a:gd name="connsiteY39" fmla="*/ 8148 h 8250"/>
                <a:gd name="connsiteX40" fmla="*/ 1015 w 10000"/>
                <a:gd name="connsiteY40" fmla="*/ 8155 h 8250"/>
                <a:gd name="connsiteX41" fmla="*/ 978 w 10000"/>
                <a:gd name="connsiteY41" fmla="*/ 8193 h 8250"/>
                <a:gd name="connsiteX42" fmla="*/ 1229 w 10000"/>
                <a:gd name="connsiteY42" fmla="*/ 8197 h 8250"/>
                <a:gd name="connsiteX43" fmla="*/ 1451 w 10000"/>
                <a:gd name="connsiteY43" fmla="*/ 8235 h 8250"/>
                <a:gd name="connsiteX44" fmla="*/ 1820 w 10000"/>
                <a:gd name="connsiteY44" fmla="*/ 8195 h 8250"/>
                <a:gd name="connsiteX45" fmla="*/ 2151 w 10000"/>
                <a:gd name="connsiteY45" fmla="*/ 8201 h 8250"/>
                <a:gd name="connsiteX46" fmla="*/ 2346 w 10000"/>
                <a:gd name="connsiteY46" fmla="*/ 8250 h 8250"/>
                <a:gd name="connsiteX47" fmla="*/ 2454 w 10000"/>
                <a:gd name="connsiteY47" fmla="*/ 8218 h 8250"/>
                <a:gd name="connsiteX48" fmla="*/ 2557 w 10000"/>
                <a:gd name="connsiteY48" fmla="*/ 8113 h 8250"/>
                <a:gd name="connsiteX49" fmla="*/ 2530 w 10000"/>
                <a:gd name="connsiteY49" fmla="*/ 7941 h 8250"/>
                <a:gd name="connsiteX50" fmla="*/ 2782 w 10000"/>
                <a:gd name="connsiteY50" fmla="*/ 7748 h 8250"/>
                <a:gd name="connsiteX51" fmla="*/ 2966 w 10000"/>
                <a:gd name="connsiteY51" fmla="*/ 7778 h 8250"/>
                <a:gd name="connsiteX52" fmla="*/ 3073 w 10000"/>
                <a:gd name="connsiteY52" fmla="*/ 7701 h 8250"/>
                <a:gd name="connsiteX53" fmla="*/ 3278 w 10000"/>
                <a:gd name="connsiteY53" fmla="*/ 7658 h 8250"/>
                <a:gd name="connsiteX54" fmla="*/ 3557 w 10000"/>
                <a:gd name="connsiteY54" fmla="*/ 7668 h 8250"/>
                <a:gd name="connsiteX55" fmla="*/ 3724 w 10000"/>
                <a:gd name="connsiteY55" fmla="*/ 7699 h 8250"/>
                <a:gd name="connsiteX56" fmla="*/ 3948 w 10000"/>
                <a:gd name="connsiteY56" fmla="*/ 7685 h 8250"/>
                <a:gd name="connsiteX57" fmla="*/ 4173 w 10000"/>
                <a:gd name="connsiteY57" fmla="*/ 7719 h 8250"/>
                <a:gd name="connsiteX58" fmla="*/ 4398 w 10000"/>
                <a:gd name="connsiteY58" fmla="*/ 7723 h 8250"/>
                <a:gd name="connsiteX59" fmla="*/ 4902 w 10000"/>
                <a:gd name="connsiteY59" fmla="*/ 7274 h 8250"/>
                <a:gd name="connsiteX60" fmla="*/ 5030 w 10000"/>
                <a:gd name="connsiteY60" fmla="*/ 6909 h 8250"/>
                <a:gd name="connsiteX61" fmla="*/ 5235 w 10000"/>
                <a:gd name="connsiteY61" fmla="*/ 6746 h 8250"/>
                <a:gd name="connsiteX62" fmla="*/ 5235 w 10000"/>
                <a:gd name="connsiteY62" fmla="*/ 6660 h 8250"/>
                <a:gd name="connsiteX63" fmla="*/ 5160 w 10000"/>
                <a:gd name="connsiteY63" fmla="*/ 6612 h 8250"/>
                <a:gd name="connsiteX64" fmla="*/ 5281 w 10000"/>
                <a:gd name="connsiteY64" fmla="*/ 6536 h 8250"/>
                <a:gd name="connsiteX65" fmla="*/ 5259 w 10000"/>
                <a:gd name="connsiteY65" fmla="*/ 6471 h 8250"/>
                <a:gd name="connsiteX66" fmla="*/ 5177 w 10000"/>
                <a:gd name="connsiteY66" fmla="*/ 6415 h 8250"/>
                <a:gd name="connsiteX67" fmla="*/ 5160 w 10000"/>
                <a:gd name="connsiteY67" fmla="*/ 6376 h 8250"/>
                <a:gd name="connsiteX68" fmla="*/ 5181 w 10000"/>
                <a:gd name="connsiteY68" fmla="*/ 6345 h 8250"/>
                <a:gd name="connsiteX69" fmla="*/ 5292 w 10000"/>
                <a:gd name="connsiteY69" fmla="*/ 6370 h 8250"/>
                <a:gd name="connsiteX70" fmla="*/ 5381 w 10000"/>
                <a:gd name="connsiteY70" fmla="*/ 6368 h 8250"/>
                <a:gd name="connsiteX71" fmla="*/ 5333 w 10000"/>
                <a:gd name="connsiteY71" fmla="*/ 6315 h 8250"/>
                <a:gd name="connsiteX72" fmla="*/ 5348 w 10000"/>
                <a:gd name="connsiteY72" fmla="*/ 6286 h 8250"/>
                <a:gd name="connsiteX73" fmla="*/ 5414 w 10000"/>
                <a:gd name="connsiteY73" fmla="*/ 6241 h 8250"/>
                <a:gd name="connsiteX74" fmla="*/ 5401 w 10000"/>
                <a:gd name="connsiteY74" fmla="*/ 6205 h 8250"/>
                <a:gd name="connsiteX75" fmla="*/ 5462 w 10000"/>
                <a:gd name="connsiteY75" fmla="*/ 6083 h 8250"/>
                <a:gd name="connsiteX76" fmla="*/ 5445 w 10000"/>
                <a:gd name="connsiteY76" fmla="*/ 6045 h 8250"/>
                <a:gd name="connsiteX77" fmla="*/ 5140 w 10000"/>
                <a:gd name="connsiteY77" fmla="*/ 5953 h 8250"/>
                <a:gd name="connsiteX78" fmla="*/ 5181 w 10000"/>
                <a:gd name="connsiteY78" fmla="*/ 5949 h 8250"/>
                <a:gd name="connsiteX79" fmla="*/ 5344 w 10000"/>
                <a:gd name="connsiteY79" fmla="*/ 5974 h 8250"/>
                <a:gd name="connsiteX80" fmla="*/ 5520 w 10000"/>
                <a:gd name="connsiteY80" fmla="*/ 5965 h 8250"/>
                <a:gd name="connsiteX81" fmla="*/ 5571 w 10000"/>
                <a:gd name="connsiteY81" fmla="*/ 5931 h 8250"/>
                <a:gd name="connsiteX82" fmla="*/ 5401 w 10000"/>
                <a:gd name="connsiteY82" fmla="*/ 5868 h 8250"/>
                <a:gd name="connsiteX83" fmla="*/ 4898 w 10000"/>
                <a:gd name="connsiteY83" fmla="*/ 5826 h 8250"/>
                <a:gd name="connsiteX84" fmla="*/ 4932 w 10000"/>
                <a:gd name="connsiteY84" fmla="*/ 5807 h 8250"/>
                <a:gd name="connsiteX85" fmla="*/ 5344 w 10000"/>
                <a:gd name="connsiteY85" fmla="*/ 5794 h 8250"/>
                <a:gd name="connsiteX86" fmla="*/ 5571 w 10000"/>
                <a:gd name="connsiteY86" fmla="*/ 5832 h 8250"/>
                <a:gd name="connsiteX87" fmla="*/ 5702 w 10000"/>
                <a:gd name="connsiteY87" fmla="*/ 5807 h 8250"/>
                <a:gd name="connsiteX88" fmla="*/ 5750 w 10000"/>
                <a:gd name="connsiteY88" fmla="*/ 5741 h 8250"/>
                <a:gd name="connsiteX89" fmla="*/ 5987 w 10000"/>
                <a:gd name="connsiteY89" fmla="*/ 5741 h 8250"/>
                <a:gd name="connsiteX90" fmla="*/ 6308 w 10000"/>
                <a:gd name="connsiteY90" fmla="*/ 5609 h 8250"/>
                <a:gd name="connsiteX91" fmla="*/ 6319 w 10000"/>
                <a:gd name="connsiteY91" fmla="*/ 5522 h 8250"/>
                <a:gd name="connsiteX92" fmla="*/ 6455 w 10000"/>
                <a:gd name="connsiteY92" fmla="*/ 5542 h 8250"/>
                <a:gd name="connsiteX93" fmla="*/ 6449 w 10000"/>
                <a:gd name="connsiteY93" fmla="*/ 5630 h 8250"/>
                <a:gd name="connsiteX94" fmla="*/ 6665 w 10000"/>
                <a:gd name="connsiteY94" fmla="*/ 5624 h 8250"/>
                <a:gd name="connsiteX95" fmla="*/ 6807 w 10000"/>
                <a:gd name="connsiteY95" fmla="*/ 5533 h 8250"/>
                <a:gd name="connsiteX96" fmla="*/ 7070 w 10000"/>
                <a:gd name="connsiteY96" fmla="*/ 5451 h 8250"/>
                <a:gd name="connsiteX97" fmla="*/ 7029 w 10000"/>
                <a:gd name="connsiteY97" fmla="*/ 5357 h 8250"/>
                <a:gd name="connsiteX98" fmla="*/ 7107 w 10000"/>
                <a:gd name="connsiteY98" fmla="*/ 5394 h 8250"/>
                <a:gd name="connsiteX99" fmla="*/ 7227 w 10000"/>
                <a:gd name="connsiteY99" fmla="*/ 5394 h 8250"/>
                <a:gd name="connsiteX100" fmla="*/ 7227 w 10000"/>
                <a:gd name="connsiteY100" fmla="*/ 5351 h 8250"/>
                <a:gd name="connsiteX101" fmla="*/ 7340 w 10000"/>
                <a:gd name="connsiteY101" fmla="*/ 5318 h 8250"/>
                <a:gd name="connsiteX102" fmla="*/ 7324 w 10000"/>
                <a:gd name="connsiteY102" fmla="*/ 5284 h 8250"/>
                <a:gd name="connsiteX103" fmla="*/ 6377 w 10000"/>
                <a:gd name="connsiteY103" fmla="*/ 5353 h 8250"/>
                <a:gd name="connsiteX104" fmla="*/ 6155 w 10000"/>
                <a:gd name="connsiteY104" fmla="*/ 5332 h 8250"/>
                <a:gd name="connsiteX105" fmla="*/ 6065 w 10000"/>
                <a:gd name="connsiteY105" fmla="*/ 5357 h 8250"/>
                <a:gd name="connsiteX106" fmla="*/ 6035 w 10000"/>
                <a:gd name="connsiteY106" fmla="*/ 5310 h 8250"/>
                <a:gd name="connsiteX107" fmla="*/ 5930 w 10000"/>
                <a:gd name="connsiteY107" fmla="*/ 5267 h 8250"/>
                <a:gd name="connsiteX108" fmla="*/ 5508 w 10000"/>
                <a:gd name="connsiteY108" fmla="*/ 5183 h 8250"/>
                <a:gd name="connsiteX109" fmla="*/ 5259 w 10000"/>
                <a:gd name="connsiteY109" fmla="*/ 5196 h 8250"/>
                <a:gd name="connsiteX110" fmla="*/ 5160 w 10000"/>
                <a:gd name="connsiteY110" fmla="*/ 5173 h 8250"/>
                <a:gd name="connsiteX111" fmla="*/ 5265 w 10000"/>
                <a:gd name="connsiteY111" fmla="*/ 5152 h 8250"/>
                <a:gd name="connsiteX112" fmla="*/ 5344 w 10000"/>
                <a:gd name="connsiteY112" fmla="*/ 5107 h 8250"/>
                <a:gd name="connsiteX113" fmla="*/ 5462 w 10000"/>
                <a:gd name="connsiteY113" fmla="*/ 5122 h 8250"/>
                <a:gd name="connsiteX114" fmla="*/ 5602 w 10000"/>
                <a:gd name="connsiteY114" fmla="*/ 5109 h 8250"/>
                <a:gd name="connsiteX115" fmla="*/ 5813 w 10000"/>
                <a:gd name="connsiteY115" fmla="*/ 5124 h 8250"/>
                <a:gd name="connsiteX116" fmla="*/ 5838 w 10000"/>
                <a:gd name="connsiteY116" fmla="*/ 5118 h 8250"/>
                <a:gd name="connsiteX117" fmla="*/ 6002 w 10000"/>
                <a:gd name="connsiteY117" fmla="*/ 5187 h 8250"/>
                <a:gd name="connsiteX118" fmla="*/ 6122 w 10000"/>
                <a:gd name="connsiteY118" fmla="*/ 5162 h 8250"/>
                <a:gd name="connsiteX119" fmla="*/ 6133 w 10000"/>
                <a:gd name="connsiteY119" fmla="*/ 5139 h 8250"/>
                <a:gd name="connsiteX120" fmla="*/ 6244 w 10000"/>
                <a:gd name="connsiteY120" fmla="*/ 5179 h 8250"/>
                <a:gd name="connsiteX121" fmla="*/ 6391 w 10000"/>
                <a:gd name="connsiteY121" fmla="*/ 5201 h 8250"/>
                <a:gd name="connsiteX122" fmla="*/ 6449 w 10000"/>
                <a:gd name="connsiteY122" fmla="*/ 5160 h 8250"/>
                <a:gd name="connsiteX123" fmla="*/ 6496 w 10000"/>
                <a:gd name="connsiteY123" fmla="*/ 5183 h 8250"/>
                <a:gd name="connsiteX124" fmla="*/ 6565 w 10000"/>
                <a:gd name="connsiteY124" fmla="*/ 5261 h 8250"/>
                <a:gd name="connsiteX125" fmla="*/ 6707 w 10000"/>
                <a:gd name="connsiteY125" fmla="*/ 5279 h 8250"/>
                <a:gd name="connsiteX126" fmla="*/ 7286 w 10000"/>
                <a:gd name="connsiteY126" fmla="*/ 5164 h 8250"/>
                <a:gd name="connsiteX127" fmla="*/ 7571 w 10000"/>
                <a:gd name="connsiteY127" fmla="*/ 5003 h 8250"/>
                <a:gd name="connsiteX128" fmla="*/ 7637 w 10000"/>
                <a:gd name="connsiteY128" fmla="*/ 4885 h 8250"/>
                <a:gd name="connsiteX129" fmla="*/ 7534 w 10000"/>
                <a:gd name="connsiteY129" fmla="*/ 4778 h 8250"/>
                <a:gd name="connsiteX130" fmla="*/ 7318 w 10000"/>
                <a:gd name="connsiteY130" fmla="*/ 4715 h 8250"/>
                <a:gd name="connsiteX131" fmla="*/ 7164 w 10000"/>
                <a:gd name="connsiteY131" fmla="*/ 4611 h 8250"/>
                <a:gd name="connsiteX132" fmla="*/ 7307 w 10000"/>
                <a:gd name="connsiteY132" fmla="*/ 4607 h 8250"/>
                <a:gd name="connsiteX133" fmla="*/ 7297 w 10000"/>
                <a:gd name="connsiteY133" fmla="*/ 4582 h 8250"/>
                <a:gd name="connsiteX134" fmla="*/ 6925 w 10000"/>
                <a:gd name="connsiteY134" fmla="*/ 4509 h 8250"/>
                <a:gd name="connsiteX135" fmla="*/ 6909 w 10000"/>
                <a:gd name="connsiteY135" fmla="*/ 4441 h 8250"/>
                <a:gd name="connsiteX136" fmla="*/ 6837 w 10000"/>
                <a:gd name="connsiteY136" fmla="*/ 4372 h 8250"/>
                <a:gd name="connsiteX137" fmla="*/ 6543 w 10000"/>
                <a:gd name="connsiteY137" fmla="*/ 4384 h 8250"/>
                <a:gd name="connsiteX138" fmla="*/ 6438 w 10000"/>
                <a:gd name="connsiteY138" fmla="*/ 4310 h 8250"/>
                <a:gd name="connsiteX139" fmla="*/ 6377 w 10000"/>
                <a:gd name="connsiteY139" fmla="*/ 4306 h 8250"/>
                <a:gd name="connsiteX140" fmla="*/ 6377 w 10000"/>
                <a:gd name="connsiteY140" fmla="*/ 4336 h 8250"/>
                <a:gd name="connsiteX141" fmla="*/ 6244 w 10000"/>
                <a:gd name="connsiteY141" fmla="*/ 4462 h 8250"/>
                <a:gd name="connsiteX142" fmla="*/ 6101 w 10000"/>
                <a:gd name="connsiteY142" fmla="*/ 4536 h 8250"/>
                <a:gd name="connsiteX143" fmla="*/ 5653 w 10000"/>
                <a:gd name="connsiteY143" fmla="*/ 4662 h 8250"/>
                <a:gd name="connsiteX144" fmla="*/ 5496 w 10000"/>
                <a:gd name="connsiteY144" fmla="*/ 4658 h 8250"/>
                <a:gd name="connsiteX145" fmla="*/ 5281 w 10000"/>
                <a:gd name="connsiteY145" fmla="*/ 4677 h 8250"/>
                <a:gd name="connsiteX146" fmla="*/ 5160 w 10000"/>
                <a:gd name="connsiteY146" fmla="*/ 4658 h 8250"/>
                <a:gd name="connsiteX147" fmla="*/ 5318 w 10000"/>
                <a:gd name="connsiteY147" fmla="*/ 4623 h 8250"/>
                <a:gd name="connsiteX148" fmla="*/ 5524 w 10000"/>
                <a:gd name="connsiteY148" fmla="*/ 4607 h 8250"/>
                <a:gd name="connsiteX149" fmla="*/ 5693 w 10000"/>
                <a:gd name="connsiteY149" fmla="*/ 4548 h 8250"/>
                <a:gd name="connsiteX150" fmla="*/ 5859 w 10000"/>
                <a:gd name="connsiteY150" fmla="*/ 4521 h 8250"/>
                <a:gd name="connsiteX151" fmla="*/ 6171 w 10000"/>
                <a:gd name="connsiteY151" fmla="*/ 4418 h 8250"/>
                <a:gd name="connsiteX152" fmla="*/ 6230 w 10000"/>
                <a:gd name="connsiteY152" fmla="*/ 4351 h 8250"/>
                <a:gd name="connsiteX153" fmla="*/ 6235 w 10000"/>
                <a:gd name="connsiteY153" fmla="*/ 4264 h 8250"/>
                <a:gd name="connsiteX154" fmla="*/ 6092 w 10000"/>
                <a:gd name="connsiteY154" fmla="*/ 4249 h 8250"/>
                <a:gd name="connsiteX155" fmla="*/ 6155 w 10000"/>
                <a:gd name="connsiteY155" fmla="*/ 4196 h 8250"/>
                <a:gd name="connsiteX156" fmla="*/ 6175 w 10000"/>
                <a:gd name="connsiteY156" fmla="*/ 4129 h 8250"/>
                <a:gd name="connsiteX157" fmla="*/ 6115 w 10000"/>
                <a:gd name="connsiteY157" fmla="*/ 4066 h 8250"/>
                <a:gd name="connsiteX158" fmla="*/ 6081 w 10000"/>
                <a:gd name="connsiteY158" fmla="*/ 3603 h 8250"/>
                <a:gd name="connsiteX159" fmla="*/ 6166 w 10000"/>
                <a:gd name="connsiteY159" fmla="*/ 3503 h 8250"/>
                <a:gd name="connsiteX160" fmla="*/ 6144 w 10000"/>
                <a:gd name="connsiteY160" fmla="*/ 3463 h 8250"/>
                <a:gd name="connsiteX161" fmla="*/ 6391 w 10000"/>
                <a:gd name="connsiteY161" fmla="*/ 3522 h 8250"/>
                <a:gd name="connsiteX162" fmla="*/ 6408 w 10000"/>
                <a:gd name="connsiteY162" fmla="*/ 3467 h 8250"/>
                <a:gd name="connsiteX163" fmla="*/ 6354 w 10000"/>
                <a:gd name="connsiteY163" fmla="*/ 3324 h 8250"/>
                <a:gd name="connsiteX164" fmla="*/ 6532 w 10000"/>
                <a:gd name="connsiteY164" fmla="*/ 3068 h 8250"/>
                <a:gd name="connsiteX165" fmla="*/ 6423 w 10000"/>
                <a:gd name="connsiteY165" fmla="*/ 3007 h 8250"/>
                <a:gd name="connsiteX166" fmla="*/ 6381 w 10000"/>
                <a:gd name="connsiteY166" fmla="*/ 2950 h 8250"/>
                <a:gd name="connsiteX167" fmla="*/ 6395 w 10000"/>
                <a:gd name="connsiteY167" fmla="*/ 2857 h 8250"/>
                <a:gd name="connsiteX168" fmla="*/ 6656 w 10000"/>
                <a:gd name="connsiteY168" fmla="*/ 2919 h 8250"/>
                <a:gd name="connsiteX169" fmla="*/ 6665 w 10000"/>
                <a:gd name="connsiteY169" fmla="*/ 2901 h 8250"/>
                <a:gd name="connsiteX170" fmla="*/ 6737 w 10000"/>
                <a:gd name="connsiteY170" fmla="*/ 2885 h 8250"/>
                <a:gd name="connsiteX171" fmla="*/ 6837 w 10000"/>
                <a:gd name="connsiteY171" fmla="*/ 2825 h 8250"/>
                <a:gd name="connsiteX172" fmla="*/ 6854 w 10000"/>
                <a:gd name="connsiteY172" fmla="*/ 2808 h 8250"/>
                <a:gd name="connsiteX173" fmla="*/ 6832 w 10000"/>
                <a:gd name="connsiteY173" fmla="*/ 2786 h 8250"/>
                <a:gd name="connsiteX174" fmla="*/ 6886 w 10000"/>
                <a:gd name="connsiteY174" fmla="*/ 2681 h 8250"/>
                <a:gd name="connsiteX175" fmla="*/ 6822 w 10000"/>
                <a:gd name="connsiteY175" fmla="*/ 2613 h 8250"/>
                <a:gd name="connsiteX176" fmla="*/ 6832 w 10000"/>
                <a:gd name="connsiteY176" fmla="*/ 2558 h 8250"/>
                <a:gd name="connsiteX177" fmla="*/ 6868 w 10000"/>
                <a:gd name="connsiteY177" fmla="*/ 2622 h 8250"/>
                <a:gd name="connsiteX178" fmla="*/ 7011 w 10000"/>
                <a:gd name="connsiteY178" fmla="*/ 2670 h 8250"/>
                <a:gd name="connsiteX179" fmla="*/ 7070 w 10000"/>
                <a:gd name="connsiteY179" fmla="*/ 2664 h 8250"/>
                <a:gd name="connsiteX180" fmla="*/ 7164 w 10000"/>
                <a:gd name="connsiteY180" fmla="*/ 2600 h 8250"/>
                <a:gd name="connsiteX181" fmla="*/ 7265 w 10000"/>
                <a:gd name="connsiteY181" fmla="*/ 2626 h 8250"/>
                <a:gd name="connsiteX182" fmla="*/ 7292 w 10000"/>
                <a:gd name="connsiteY182" fmla="*/ 2576 h 8250"/>
                <a:gd name="connsiteX183" fmla="*/ 7360 w 10000"/>
                <a:gd name="connsiteY183" fmla="*/ 2541 h 8250"/>
                <a:gd name="connsiteX184" fmla="*/ 7175 w 10000"/>
                <a:gd name="connsiteY184" fmla="*/ 2505 h 8250"/>
                <a:gd name="connsiteX185" fmla="*/ 7307 w 10000"/>
                <a:gd name="connsiteY185" fmla="*/ 2512 h 8250"/>
                <a:gd name="connsiteX186" fmla="*/ 7442 w 10000"/>
                <a:gd name="connsiteY186" fmla="*/ 2474 h 8250"/>
                <a:gd name="connsiteX187" fmla="*/ 7437 w 10000"/>
                <a:gd name="connsiteY187" fmla="*/ 2447 h 8250"/>
                <a:gd name="connsiteX188" fmla="*/ 7565 w 10000"/>
                <a:gd name="connsiteY188" fmla="*/ 2422 h 8250"/>
                <a:gd name="connsiteX189" fmla="*/ 7576 w 10000"/>
                <a:gd name="connsiteY189" fmla="*/ 2359 h 8250"/>
                <a:gd name="connsiteX190" fmla="*/ 7676 w 10000"/>
                <a:gd name="connsiteY190" fmla="*/ 2346 h 8250"/>
                <a:gd name="connsiteX191" fmla="*/ 7684 w 10000"/>
                <a:gd name="connsiteY191" fmla="*/ 2272 h 8250"/>
                <a:gd name="connsiteX192" fmla="*/ 7790 w 10000"/>
                <a:gd name="connsiteY192" fmla="*/ 2263 h 8250"/>
                <a:gd name="connsiteX193" fmla="*/ 7953 w 10000"/>
                <a:gd name="connsiteY193" fmla="*/ 2279 h 8250"/>
                <a:gd name="connsiteX194" fmla="*/ 8132 w 10000"/>
                <a:gd name="connsiteY194" fmla="*/ 2219 h 8250"/>
                <a:gd name="connsiteX195" fmla="*/ 8195 w 10000"/>
                <a:gd name="connsiteY195" fmla="*/ 2151 h 8250"/>
                <a:gd name="connsiteX196" fmla="*/ 8417 w 10000"/>
                <a:gd name="connsiteY196" fmla="*/ 2082 h 8250"/>
                <a:gd name="connsiteX197" fmla="*/ 8527 w 10000"/>
                <a:gd name="connsiteY197" fmla="*/ 2124 h 8250"/>
                <a:gd name="connsiteX198" fmla="*/ 8695 w 10000"/>
                <a:gd name="connsiteY198" fmla="*/ 2078 h 8250"/>
                <a:gd name="connsiteX199" fmla="*/ 8736 w 10000"/>
                <a:gd name="connsiteY199" fmla="*/ 2017 h 8250"/>
                <a:gd name="connsiteX200" fmla="*/ 8864 w 10000"/>
                <a:gd name="connsiteY200" fmla="*/ 1977 h 8250"/>
                <a:gd name="connsiteX201" fmla="*/ 8973 w 10000"/>
                <a:gd name="connsiteY201" fmla="*/ 1995 h 8250"/>
                <a:gd name="connsiteX202" fmla="*/ 9042 w 10000"/>
                <a:gd name="connsiteY202" fmla="*/ 1964 h 8250"/>
                <a:gd name="connsiteX203" fmla="*/ 9231 w 10000"/>
                <a:gd name="connsiteY203" fmla="*/ 1922 h 8250"/>
                <a:gd name="connsiteX204" fmla="*/ 9310 w 10000"/>
                <a:gd name="connsiteY204" fmla="*/ 1867 h 8250"/>
                <a:gd name="connsiteX205" fmla="*/ 9417 w 10000"/>
                <a:gd name="connsiteY205" fmla="*/ 1844 h 8250"/>
                <a:gd name="connsiteX206" fmla="*/ 10000 w 10000"/>
                <a:gd name="connsiteY206" fmla="*/ 1511 h 8250"/>
                <a:gd name="connsiteX207" fmla="*/ 5098 w 10000"/>
                <a:gd name="connsiteY207" fmla="*/ 0 h 8250"/>
                <a:gd name="connsiteX208" fmla="*/ 4837 w 10000"/>
                <a:gd name="connsiteY208" fmla="*/ 68 h 8250"/>
                <a:gd name="connsiteX209" fmla="*/ 4671 w 10000"/>
                <a:gd name="connsiteY209" fmla="*/ 64 h 8250"/>
                <a:gd name="connsiteX210" fmla="*/ 4571 w 10000"/>
                <a:gd name="connsiteY210" fmla="*/ 88 h 8250"/>
                <a:gd name="connsiteX211" fmla="*/ 4298 w 10000"/>
                <a:gd name="connsiteY211" fmla="*/ 753 h 8250"/>
                <a:gd name="connsiteX212" fmla="*/ 3668 w 10000"/>
                <a:gd name="connsiteY212" fmla="*/ 1141 h 8250"/>
                <a:gd name="connsiteX213" fmla="*/ 3672 w 10000"/>
                <a:gd name="connsiteY213" fmla="*/ 1202 h 8250"/>
                <a:gd name="connsiteX214" fmla="*/ 3952 w 10000"/>
                <a:gd name="connsiteY214" fmla="*/ 1376 h 8250"/>
                <a:gd name="connsiteX215" fmla="*/ 3861 w 10000"/>
                <a:gd name="connsiteY215" fmla="*/ 1564 h 8250"/>
                <a:gd name="connsiteX216" fmla="*/ 3698 w 10000"/>
                <a:gd name="connsiteY216" fmla="*/ 1633 h 8250"/>
                <a:gd name="connsiteX217" fmla="*/ 3208 w 10000"/>
                <a:gd name="connsiteY217" fmla="*/ 1587 h 8250"/>
                <a:gd name="connsiteX218" fmla="*/ 2871 w 10000"/>
                <a:gd name="connsiteY218" fmla="*/ 1613 h 8250"/>
                <a:gd name="connsiteX219" fmla="*/ 2601 w 10000"/>
                <a:gd name="connsiteY219" fmla="*/ 1669 h 8250"/>
                <a:gd name="connsiteX220" fmla="*/ 2163 w 10000"/>
                <a:gd name="connsiteY220" fmla="*/ 1842 h 8250"/>
                <a:gd name="connsiteX221" fmla="*/ 1931 w 10000"/>
                <a:gd name="connsiteY221" fmla="*/ 2052 h 8250"/>
                <a:gd name="connsiteX222" fmla="*/ 1951 w 10000"/>
                <a:gd name="connsiteY222" fmla="*/ 2169 h 8250"/>
                <a:gd name="connsiteX223" fmla="*/ 2032 w 10000"/>
                <a:gd name="connsiteY223" fmla="*/ 2259 h 8250"/>
                <a:gd name="connsiteX224" fmla="*/ 2093 w 10000"/>
                <a:gd name="connsiteY224" fmla="*/ 2295 h 8250"/>
                <a:gd name="connsiteX225" fmla="*/ 1979 w 10000"/>
                <a:gd name="connsiteY225" fmla="*/ 2353 h 8250"/>
                <a:gd name="connsiteX226" fmla="*/ 1731 w 10000"/>
                <a:gd name="connsiteY226" fmla="*/ 2747 h 8250"/>
                <a:gd name="connsiteX227" fmla="*/ 1779 w 10000"/>
                <a:gd name="connsiteY227" fmla="*/ 2770 h 8250"/>
                <a:gd name="connsiteX228" fmla="*/ 1815 w 10000"/>
                <a:gd name="connsiteY228" fmla="*/ 2870 h 8250"/>
                <a:gd name="connsiteX229" fmla="*/ 1700 w 10000"/>
                <a:gd name="connsiteY229" fmla="*/ 3285 h 8250"/>
                <a:gd name="connsiteX230" fmla="*/ 1815 w 10000"/>
                <a:gd name="connsiteY230" fmla="*/ 3391 h 8250"/>
                <a:gd name="connsiteX231" fmla="*/ 2131 w 10000"/>
                <a:gd name="connsiteY231" fmla="*/ 3507 h 8250"/>
                <a:gd name="connsiteX232" fmla="*/ 2145 w 10000"/>
                <a:gd name="connsiteY232" fmla="*/ 3649 h 8250"/>
                <a:gd name="connsiteX233" fmla="*/ 2010 w 10000"/>
                <a:gd name="connsiteY233" fmla="*/ 3767 h 8250"/>
                <a:gd name="connsiteX234" fmla="*/ 1815 w 10000"/>
                <a:gd name="connsiteY234" fmla="*/ 3838 h 8250"/>
                <a:gd name="connsiteX235" fmla="*/ 1557 w 10000"/>
                <a:gd name="connsiteY235" fmla="*/ 3867 h 8250"/>
                <a:gd name="connsiteX236" fmla="*/ 1490 w 10000"/>
                <a:gd name="connsiteY236" fmla="*/ 3908 h 8250"/>
                <a:gd name="connsiteX237" fmla="*/ 1640 w 10000"/>
                <a:gd name="connsiteY237" fmla="*/ 4005 h 8250"/>
                <a:gd name="connsiteX238" fmla="*/ 1726 w 10000"/>
                <a:gd name="connsiteY238" fmla="*/ 4237 h 8250"/>
                <a:gd name="connsiteX239" fmla="*/ 1531 w 10000"/>
                <a:gd name="connsiteY239" fmla="*/ 4435 h 8250"/>
                <a:gd name="connsiteX240" fmla="*/ 1599 w 10000"/>
                <a:gd name="connsiteY240" fmla="*/ 4497 h 8250"/>
                <a:gd name="connsiteX241" fmla="*/ 1537 w 10000"/>
                <a:gd name="connsiteY241" fmla="*/ 4601 h 8250"/>
                <a:gd name="connsiteX242" fmla="*/ 1412 w 10000"/>
                <a:gd name="connsiteY242" fmla="*/ 4672 h 8250"/>
                <a:gd name="connsiteX243" fmla="*/ 915 w 10000"/>
                <a:gd name="connsiteY243" fmla="*/ 4727 h 8250"/>
                <a:gd name="connsiteX244" fmla="*/ 885 w 10000"/>
                <a:gd name="connsiteY244" fmla="*/ 4823 h 8250"/>
                <a:gd name="connsiteX245" fmla="*/ 617 w 10000"/>
                <a:gd name="connsiteY245" fmla="*/ 4966 h 8250"/>
                <a:gd name="connsiteX246" fmla="*/ 652 w 10000"/>
                <a:gd name="connsiteY246" fmla="*/ 5171 h 8250"/>
                <a:gd name="connsiteX247" fmla="*/ 427 w 10000"/>
                <a:gd name="connsiteY247" fmla="*/ 5434 h 8250"/>
                <a:gd name="connsiteX248" fmla="*/ 274 w 10000"/>
                <a:gd name="connsiteY248" fmla="*/ 5465 h 8250"/>
                <a:gd name="connsiteX249" fmla="*/ 210 w 10000"/>
                <a:gd name="connsiteY249" fmla="*/ 5402 h 8250"/>
                <a:gd name="connsiteX250" fmla="*/ 132 w 10000"/>
                <a:gd name="connsiteY250" fmla="*/ 5497 h 8250"/>
                <a:gd name="connsiteX251" fmla="*/ 183 w 10000"/>
                <a:gd name="connsiteY251" fmla="*/ 5334 h 8250"/>
                <a:gd name="connsiteX252" fmla="*/ 151 w 10000"/>
                <a:gd name="connsiteY252" fmla="*/ 5302 h 825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6880 w 10000"/>
                <a:gd name="connsiteY207" fmla="*/ 600 h 10000"/>
                <a:gd name="connsiteX208" fmla="*/ 5098 w 10000"/>
                <a:gd name="connsiteY208" fmla="*/ 0 h 10000"/>
                <a:gd name="connsiteX209" fmla="*/ 4837 w 10000"/>
                <a:gd name="connsiteY209" fmla="*/ 82 h 10000"/>
                <a:gd name="connsiteX210" fmla="*/ 4671 w 10000"/>
                <a:gd name="connsiteY210" fmla="*/ 78 h 10000"/>
                <a:gd name="connsiteX211" fmla="*/ 4571 w 10000"/>
                <a:gd name="connsiteY211" fmla="*/ 107 h 10000"/>
                <a:gd name="connsiteX212" fmla="*/ 4298 w 10000"/>
                <a:gd name="connsiteY212" fmla="*/ 913 h 10000"/>
                <a:gd name="connsiteX213" fmla="*/ 3668 w 10000"/>
                <a:gd name="connsiteY213" fmla="*/ 1383 h 10000"/>
                <a:gd name="connsiteX214" fmla="*/ 3672 w 10000"/>
                <a:gd name="connsiteY214" fmla="*/ 1457 h 10000"/>
                <a:gd name="connsiteX215" fmla="*/ 3952 w 10000"/>
                <a:gd name="connsiteY215" fmla="*/ 1668 h 10000"/>
                <a:gd name="connsiteX216" fmla="*/ 3861 w 10000"/>
                <a:gd name="connsiteY216" fmla="*/ 1896 h 10000"/>
                <a:gd name="connsiteX217" fmla="*/ 3698 w 10000"/>
                <a:gd name="connsiteY217" fmla="*/ 1979 h 10000"/>
                <a:gd name="connsiteX218" fmla="*/ 3208 w 10000"/>
                <a:gd name="connsiteY218" fmla="*/ 1924 h 10000"/>
                <a:gd name="connsiteX219" fmla="*/ 2871 w 10000"/>
                <a:gd name="connsiteY219" fmla="*/ 1955 h 10000"/>
                <a:gd name="connsiteX220" fmla="*/ 2601 w 10000"/>
                <a:gd name="connsiteY220" fmla="*/ 2023 h 10000"/>
                <a:gd name="connsiteX221" fmla="*/ 2163 w 10000"/>
                <a:gd name="connsiteY221" fmla="*/ 2233 h 10000"/>
                <a:gd name="connsiteX222" fmla="*/ 1931 w 10000"/>
                <a:gd name="connsiteY222" fmla="*/ 2487 h 10000"/>
                <a:gd name="connsiteX223" fmla="*/ 1951 w 10000"/>
                <a:gd name="connsiteY223" fmla="*/ 2629 h 10000"/>
                <a:gd name="connsiteX224" fmla="*/ 2032 w 10000"/>
                <a:gd name="connsiteY224" fmla="*/ 2738 h 10000"/>
                <a:gd name="connsiteX225" fmla="*/ 2093 w 10000"/>
                <a:gd name="connsiteY225" fmla="*/ 2782 h 10000"/>
                <a:gd name="connsiteX226" fmla="*/ 1979 w 10000"/>
                <a:gd name="connsiteY226" fmla="*/ 2852 h 10000"/>
                <a:gd name="connsiteX227" fmla="*/ 1731 w 10000"/>
                <a:gd name="connsiteY227" fmla="*/ 3330 h 10000"/>
                <a:gd name="connsiteX228" fmla="*/ 1779 w 10000"/>
                <a:gd name="connsiteY228" fmla="*/ 3358 h 10000"/>
                <a:gd name="connsiteX229" fmla="*/ 1815 w 10000"/>
                <a:gd name="connsiteY229" fmla="*/ 3479 h 10000"/>
                <a:gd name="connsiteX230" fmla="*/ 1700 w 10000"/>
                <a:gd name="connsiteY230" fmla="*/ 3982 h 10000"/>
                <a:gd name="connsiteX231" fmla="*/ 1815 w 10000"/>
                <a:gd name="connsiteY231" fmla="*/ 4110 h 10000"/>
                <a:gd name="connsiteX232" fmla="*/ 2131 w 10000"/>
                <a:gd name="connsiteY232" fmla="*/ 4251 h 10000"/>
                <a:gd name="connsiteX233" fmla="*/ 2145 w 10000"/>
                <a:gd name="connsiteY233" fmla="*/ 4423 h 10000"/>
                <a:gd name="connsiteX234" fmla="*/ 2010 w 10000"/>
                <a:gd name="connsiteY234" fmla="*/ 4566 h 10000"/>
                <a:gd name="connsiteX235" fmla="*/ 1815 w 10000"/>
                <a:gd name="connsiteY235" fmla="*/ 4652 h 10000"/>
                <a:gd name="connsiteX236" fmla="*/ 1557 w 10000"/>
                <a:gd name="connsiteY236" fmla="*/ 4687 h 10000"/>
                <a:gd name="connsiteX237" fmla="*/ 1490 w 10000"/>
                <a:gd name="connsiteY237" fmla="*/ 4737 h 10000"/>
                <a:gd name="connsiteX238" fmla="*/ 1640 w 10000"/>
                <a:gd name="connsiteY238" fmla="*/ 4855 h 10000"/>
                <a:gd name="connsiteX239" fmla="*/ 1726 w 10000"/>
                <a:gd name="connsiteY239" fmla="*/ 5136 h 10000"/>
                <a:gd name="connsiteX240" fmla="*/ 1531 w 10000"/>
                <a:gd name="connsiteY240" fmla="*/ 5376 h 10000"/>
                <a:gd name="connsiteX241" fmla="*/ 1599 w 10000"/>
                <a:gd name="connsiteY241" fmla="*/ 5451 h 10000"/>
                <a:gd name="connsiteX242" fmla="*/ 1537 w 10000"/>
                <a:gd name="connsiteY242" fmla="*/ 5577 h 10000"/>
                <a:gd name="connsiteX243" fmla="*/ 1412 w 10000"/>
                <a:gd name="connsiteY243" fmla="*/ 5663 h 10000"/>
                <a:gd name="connsiteX244" fmla="*/ 915 w 10000"/>
                <a:gd name="connsiteY244" fmla="*/ 5730 h 10000"/>
                <a:gd name="connsiteX245" fmla="*/ 885 w 10000"/>
                <a:gd name="connsiteY245" fmla="*/ 5846 h 10000"/>
                <a:gd name="connsiteX246" fmla="*/ 617 w 10000"/>
                <a:gd name="connsiteY246" fmla="*/ 6019 h 10000"/>
                <a:gd name="connsiteX247" fmla="*/ 652 w 10000"/>
                <a:gd name="connsiteY247" fmla="*/ 6268 h 10000"/>
                <a:gd name="connsiteX248" fmla="*/ 427 w 10000"/>
                <a:gd name="connsiteY248" fmla="*/ 6587 h 10000"/>
                <a:gd name="connsiteX249" fmla="*/ 274 w 10000"/>
                <a:gd name="connsiteY249" fmla="*/ 6624 h 10000"/>
                <a:gd name="connsiteX250" fmla="*/ 210 w 10000"/>
                <a:gd name="connsiteY250" fmla="*/ 6548 h 10000"/>
                <a:gd name="connsiteX251" fmla="*/ 132 w 10000"/>
                <a:gd name="connsiteY251" fmla="*/ 6663 h 10000"/>
                <a:gd name="connsiteX252" fmla="*/ 183 w 10000"/>
                <a:gd name="connsiteY252" fmla="*/ 6465 h 10000"/>
                <a:gd name="connsiteX253" fmla="*/ 151 w 10000"/>
                <a:gd name="connsiteY253"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6880 w 10000"/>
                <a:gd name="connsiteY207" fmla="*/ 600 h 10000"/>
                <a:gd name="connsiteX208" fmla="*/ 5098 w 10000"/>
                <a:gd name="connsiteY208" fmla="*/ 0 h 10000"/>
                <a:gd name="connsiteX209" fmla="*/ 4837 w 10000"/>
                <a:gd name="connsiteY209" fmla="*/ 82 h 10000"/>
                <a:gd name="connsiteX210" fmla="*/ 4671 w 10000"/>
                <a:gd name="connsiteY210" fmla="*/ 78 h 10000"/>
                <a:gd name="connsiteX211" fmla="*/ 4571 w 10000"/>
                <a:gd name="connsiteY211" fmla="*/ 107 h 10000"/>
                <a:gd name="connsiteX212" fmla="*/ 4298 w 10000"/>
                <a:gd name="connsiteY212" fmla="*/ 913 h 10000"/>
                <a:gd name="connsiteX213" fmla="*/ 3668 w 10000"/>
                <a:gd name="connsiteY213" fmla="*/ 1383 h 10000"/>
                <a:gd name="connsiteX214" fmla="*/ 3672 w 10000"/>
                <a:gd name="connsiteY214" fmla="*/ 1457 h 10000"/>
                <a:gd name="connsiteX215" fmla="*/ 3952 w 10000"/>
                <a:gd name="connsiteY215" fmla="*/ 1668 h 10000"/>
                <a:gd name="connsiteX216" fmla="*/ 3861 w 10000"/>
                <a:gd name="connsiteY216" fmla="*/ 1896 h 10000"/>
                <a:gd name="connsiteX217" fmla="*/ 3698 w 10000"/>
                <a:gd name="connsiteY217" fmla="*/ 1979 h 10000"/>
                <a:gd name="connsiteX218" fmla="*/ 3208 w 10000"/>
                <a:gd name="connsiteY218" fmla="*/ 1924 h 10000"/>
                <a:gd name="connsiteX219" fmla="*/ 2871 w 10000"/>
                <a:gd name="connsiteY219" fmla="*/ 1955 h 10000"/>
                <a:gd name="connsiteX220" fmla="*/ 2601 w 10000"/>
                <a:gd name="connsiteY220" fmla="*/ 2023 h 10000"/>
                <a:gd name="connsiteX221" fmla="*/ 2163 w 10000"/>
                <a:gd name="connsiteY221" fmla="*/ 2233 h 10000"/>
                <a:gd name="connsiteX222" fmla="*/ 1931 w 10000"/>
                <a:gd name="connsiteY222" fmla="*/ 2487 h 10000"/>
                <a:gd name="connsiteX223" fmla="*/ 1951 w 10000"/>
                <a:gd name="connsiteY223" fmla="*/ 2629 h 10000"/>
                <a:gd name="connsiteX224" fmla="*/ 2032 w 10000"/>
                <a:gd name="connsiteY224" fmla="*/ 2738 h 10000"/>
                <a:gd name="connsiteX225" fmla="*/ 2093 w 10000"/>
                <a:gd name="connsiteY225" fmla="*/ 2782 h 10000"/>
                <a:gd name="connsiteX226" fmla="*/ 1979 w 10000"/>
                <a:gd name="connsiteY226" fmla="*/ 2852 h 10000"/>
                <a:gd name="connsiteX227" fmla="*/ 1731 w 10000"/>
                <a:gd name="connsiteY227" fmla="*/ 3330 h 10000"/>
                <a:gd name="connsiteX228" fmla="*/ 1779 w 10000"/>
                <a:gd name="connsiteY228" fmla="*/ 3358 h 10000"/>
                <a:gd name="connsiteX229" fmla="*/ 1815 w 10000"/>
                <a:gd name="connsiteY229" fmla="*/ 3479 h 10000"/>
                <a:gd name="connsiteX230" fmla="*/ 1700 w 10000"/>
                <a:gd name="connsiteY230" fmla="*/ 3982 h 10000"/>
                <a:gd name="connsiteX231" fmla="*/ 1815 w 10000"/>
                <a:gd name="connsiteY231" fmla="*/ 4110 h 10000"/>
                <a:gd name="connsiteX232" fmla="*/ 2131 w 10000"/>
                <a:gd name="connsiteY232" fmla="*/ 4251 h 10000"/>
                <a:gd name="connsiteX233" fmla="*/ 2145 w 10000"/>
                <a:gd name="connsiteY233" fmla="*/ 4423 h 10000"/>
                <a:gd name="connsiteX234" fmla="*/ 2010 w 10000"/>
                <a:gd name="connsiteY234" fmla="*/ 4566 h 10000"/>
                <a:gd name="connsiteX235" fmla="*/ 1815 w 10000"/>
                <a:gd name="connsiteY235" fmla="*/ 4652 h 10000"/>
                <a:gd name="connsiteX236" fmla="*/ 1557 w 10000"/>
                <a:gd name="connsiteY236" fmla="*/ 4687 h 10000"/>
                <a:gd name="connsiteX237" fmla="*/ 1490 w 10000"/>
                <a:gd name="connsiteY237" fmla="*/ 4737 h 10000"/>
                <a:gd name="connsiteX238" fmla="*/ 1640 w 10000"/>
                <a:gd name="connsiteY238" fmla="*/ 4855 h 10000"/>
                <a:gd name="connsiteX239" fmla="*/ 1726 w 10000"/>
                <a:gd name="connsiteY239" fmla="*/ 5136 h 10000"/>
                <a:gd name="connsiteX240" fmla="*/ 1531 w 10000"/>
                <a:gd name="connsiteY240" fmla="*/ 5376 h 10000"/>
                <a:gd name="connsiteX241" fmla="*/ 1599 w 10000"/>
                <a:gd name="connsiteY241" fmla="*/ 5451 h 10000"/>
                <a:gd name="connsiteX242" fmla="*/ 1537 w 10000"/>
                <a:gd name="connsiteY242" fmla="*/ 5577 h 10000"/>
                <a:gd name="connsiteX243" fmla="*/ 1412 w 10000"/>
                <a:gd name="connsiteY243" fmla="*/ 5663 h 10000"/>
                <a:gd name="connsiteX244" fmla="*/ 915 w 10000"/>
                <a:gd name="connsiteY244" fmla="*/ 5730 h 10000"/>
                <a:gd name="connsiteX245" fmla="*/ 885 w 10000"/>
                <a:gd name="connsiteY245" fmla="*/ 5846 h 10000"/>
                <a:gd name="connsiteX246" fmla="*/ 617 w 10000"/>
                <a:gd name="connsiteY246" fmla="*/ 6019 h 10000"/>
                <a:gd name="connsiteX247" fmla="*/ 652 w 10000"/>
                <a:gd name="connsiteY247" fmla="*/ 6268 h 10000"/>
                <a:gd name="connsiteX248" fmla="*/ 427 w 10000"/>
                <a:gd name="connsiteY248" fmla="*/ 6587 h 10000"/>
                <a:gd name="connsiteX249" fmla="*/ 274 w 10000"/>
                <a:gd name="connsiteY249" fmla="*/ 6624 h 10000"/>
                <a:gd name="connsiteX250" fmla="*/ 210 w 10000"/>
                <a:gd name="connsiteY250" fmla="*/ 6548 h 10000"/>
                <a:gd name="connsiteX251" fmla="*/ 132 w 10000"/>
                <a:gd name="connsiteY251" fmla="*/ 6663 h 10000"/>
                <a:gd name="connsiteX252" fmla="*/ 183 w 10000"/>
                <a:gd name="connsiteY252" fmla="*/ 6465 h 10000"/>
                <a:gd name="connsiteX253" fmla="*/ 151 w 10000"/>
                <a:gd name="connsiteY253"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6880 w 10000"/>
                <a:gd name="connsiteY207" fmla="*/ 600 h 10000"/>
                <a:gd name="connsiteX208" fmla="*/ 5098 w 10000"/>
                <a:gd name="connsiteY208" fmla="*/ 0 h 10000"/>
                <a:gd name="connsiteX209" fmla="*/ 4837 w 10000"/>
                <a:gd name="connsiteY209" fmla="*/ 82 h 10000"/>
                <a:gd name="connsiteX210" fmla="*/ 4671 w 10000"/>
                <a:gd name="connsiteY210" fmla="*/ 78 h 10000"/>
                <a:gd name="connsiteX211" fmla="*/ 4571 w 10000"/>
                <a:gd name="connsiteY211" fmla="*/ 107 h 10000"/>
                <a:gd name="connsiteX212" fmla="*/ 4298 w 10000"/>
                <a:gd name="connsiteY212" fmla="*/ 913 h 10000"/>
                <a:gd name="connsiteX213" fmla="*/ 3668 w 10000"/>
                <a:gd name="connsiteY213" fmla="*/ 1383 h 10000"/>
                <a:gd name="connsiteX214" fmla="*/ 3672 w 10000"/>
                <a:gd name="connsiteY214" fmla="*/ 1457 h 10000"/>
                <a:gd name="connsiteX215" fmla="*/ 3952 w 10000"/>
                <a:gd name="connsiteY215" fmla="*/ 1668 h 10000"/>
                <a:gd name="connsiteX216" fmla="*/ 3861 w 10000"/>
                <a:gd name="connsiteY216" fmla="*/ 1896 h 10000"/>
                <a:gd name="connsiteX217" fmla="*/ 3698 w 10000"/>
                <a:gd name="connsiteY217" fmla="*/ 1979 h 10000"/>
                <a:gd name="connsiteX218" fmla="*/ 3208 w 10000"/>
                <a:gd name="connsiteY218" fmla="*/ 1924 h 10000"/>
                <a:gd name="connsiteX219" fmla="*/ 2871 w 10000"/>
                <a:gd name="connsiteY219" fmla="*/ 1955 h 10000"/>
                <a:gd name="connsiteX220" fmla="*/ 2601 w 10000"/>
                <a:gd name="connsiteY220" fmla="*/ 2023 h 10000"/>
                <a:gd name="connsiteX221" fmla="*/ 2163 w 10000"/>
                <a:gd name="connsiteY221" fmla="*/ 2233 h 10000"/>
                <a:gd name="connsiteX222" fmla="*/ 1931 w 10000"/>
                <a:gd name="connsiteY222" fmla="*/ 2487 h 10000"/>
                <a:gd name="connsiteX223" fmla="*/ 1951 w 10000"/>
                <a:gd name="connsiteY223" fmla="*/ 2629 h 10000"/>
                <a:gd name="connsiteX224" fmla="*/ 2032 w 10000"/>
                <a:gd name="connsiteY224" fmla="*/ 2738 h 10000"/>
                <a:gd name="connsiteX225" fmla="*/ 2093 w 10000"/>
                <a:gd name="connsiteY225" fmla="*/ 2782 h 10000"/>
                <a:gd name="connsiteX226" fmla="*/ 1979 w 10000"/>
                <a:gd name="connsiteY226" fmla="*/ 2852 h 10000"/>
                <a:gd name="connsiteX227" fmla="*/ 1731 w 10000"/>
                <a:gd name="connsiteY227" fmla="*/ 3330 h 10000"/>
                <a:gd name="connsiteX228" fmla="*/ 1779 w 10000"/>
                <a:gd name="connsiteY228" fmla="*/ 3358 h 10000"/>
                <a:gd name="connsiteX229" fmla="*/ 1815 w 10000"/>
                <a:gd name="connsiteY229" fmla="*/ 3479 h 10000"/>
                <a:gd name="connsiteX230" fmla="*/ 1700 w 10000"/>
                <a:gd name="connsiteY230" fmla="*/ 3982 h 10000"/>
                <a:gd name="connsiteX231" fmla="*/ 1815 w 10000"/>
                <a:gd name="connsiteY231" fmla="*/ 4110 h 10000"/>
                <a:gd name="connsiteX232" fmla="*/ 2131 w 10000"/>
                <a:gd name="connsiteY232" fmla="*/ 4251 h 10000"/>
                <a:gd name="connsiteX233" fmla="*/ 2145 w 10000"/>
                <a:gd name="connsiteY233" fmla="*/ 4423 h 10000"/>
                <a:gd name="connsiteX234" fmla="*/ 2010 w 10000"/>
                <a:gd name="connsiteY234" fmla="*/ 4566 h 10000"/>
                <a:gd name="connsiteX235" fmla="*/ 1815 w 10000"/>
                <a:gd name="connsiteY235" fmla="*/ 4652 h 10000"/>
                <a:gd name="connsiteX236" fmla="*/ 1557 w 10000"/>
                <a:gd name="connsiteY236" fmla="*/ 4687 h 10000"/>
                <a:gd name="connsiteX237" fmla="*/ 1490 w 10000"/>
                <a:gd name="connsiteY237" fmla="*/ 4737 h 10000"/>
                <a:gd name="connsiteX238" fmla="*/ 1640 w 10000"/>
                <a:gd name="connsiteY238" fmla="*/ 4855 h 10000"/>
                <a:gd name="connsiteX239" fmla="*/ 1726 w 10000"/>
                <a:gd name="connsiteY239" fmla="*/ 5136 h 10000"/>
                <a:gd name="connsiteX240" fmla="*/ 1531 w 10000"/>
                <a:gd name="connsiteY240" fmla="*/ 5376 h 10000"/>
                <a:gd name="connsiteX241" fmla="*/ 1599 w 10000"/>
                <a:gd name="connsiteY241" fmla="*/ 5451 h 10000"/>
                <a:gd name="connsiteX242" fmla="*/ 1537 w 10000"/>
                <a:gd name="connsiteY242" fmla="*/ 5577 h 10000"/>
                <a:gd name="connsiteX243" fmla="*/ 1412 w 10000"/>
                <a:gd name="connsiteY243" fmla="*/ 5663 h 10000"/>
                <a:gd name="connsiteX244" fmla="*/ 915 w 10000"/>
                <a:gd name="connsiteY244" fmla="*/ 5730 h 10000"/>
                <a:gd name="connsiteX245" fmla="*/ 885 w 10000"/>
                <a:gd name="connsiteY245" fmla="*/ 5846 h 10000"/>
                <a:gd name="connsiteX246" fmla="*/ 617 w 10000"/>
                <a:gd name="connsiteY246" fmla="*/ 6019 h 10000"/>
                <a:gd name="connsiteX247" fmla="*/ 652 w 10000"/>
                <a:gd name="connsiteY247" fmla="*/ 6268 h 10000"/>
                <a:gd name="connsiteX248" fmla="*/ 427 w 10000"/>
                <a:gd name="connsiteY248" fmla="*/ 6587 h 10000"/>
                <a:gd name="connsiteX249" fmla="*/ 274 w 10000"/>
                <a:gd name="connsiteY249" fmla="*/ 6624 h 10000"/>
                <a:gd name="connsiteX250" fmla="*/ 210 w 10000"/>
                <a:gd name="connsiteY250" fmla="*/ 6548 h 10000"/>
                <a:gd name="connsiteX251" fmla="*/ 132 w 10000"/>
                <a:gd name="connsiteY251" fmla="*/ 6663 h 10000"/>
                <a:gd name="connsiteX252" fmla="*/ 183 w 10000"/>
                <a:gd name="connsiteY252" fmla="*/ 6465 h 10000"/>
                <a:gd name="connsiteX253" fmla="*/ 151 w 10000"/>
                <a:gd name="connsiteY253"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6181 w 10000"/>
                <a:gd name="connsiteY207" fmla="*/ 353 h 10000"/>
                <a:gd name="connsiteX208" fmla="*/ 5098 w 10000"/>
                <a:gd name="connsiteY208" fmla="*/ 0 h 10000"/>
                <a:gd name="connsiteX209" fmla="*/ 4837 w 10000"/>
                <a:gd name="connsiteY209" fmla="*/ 82 h 10000"/>
                <a:gd name="connsiteX210" fmla="*/ 4671 w 10000"/>
                <a:gd name="connsiteY210" fmla="*/ 78 h 10000"/>
                <a:gd name="connsiteX211" fmla="*/ 4571 w 10000"/>
                <a:gd name="connsiteY211" fmla="*/ 107 h 10000"/>
                <a:gd name="connsiteX212" fmla="*/ 4298 w 10000"/>
                <a:gd name="connsiteY212" fmla="*/ 913 h 10000"/>
                <a:gd name="connsiteX213" fmla="*/ 3668 w 10000"/>
                <a:gd name="connsiteY213" fmla="*/ 1383 h 10000"/>
                <a:gd name="connsiteX214" fmla="*/ 3672 w 10000"/>
                <a:gd name="connsiteY214" fmla="*/ 1457 h 10000"/>
                <a:gd name="connsiteX215" fmla="*/ 3952 w 10000"/>
                <a:gd name="connsiteY215" fmla="*/ 1668 h 10000"/>
                <a:gd name="connsiteX216" fmla="*/ 3861 w 10000"/>
                <a:gd name="connsiteY216" fmla="*/ 1896 h 10000"/>
                <a:gd name="connsiteX217" fmla="*/ 3698 w 10000"/>
                <a:gd name="connsiteY217" fmla="*/ 1979 h 10000"/>
                <a:gd name="connsiteX218" fmla="*/ 3208 w 10000"/>
                <a:gd name="connsiteY218" fmla="*/ 1924 h 10000"/>
                <a:gd name="connsiteX219" fmla="*/ 2871 w 10000"/>
                <a:gd name="connsiteY219" fmla="*/ 1955 h 10000"/>
                <a:gd name="connsiteX220" fmla="*/ 2601 w 10000"/>
                <a:gd name="connsiteY220" fmla="*/ 2023 h 10000"/>
                <a:gd name="connsiteX221" fmla="*/ 2163 w 10000"/>
                <a:gd name="connsiteY221" fmla="*/ 2233 h 10000"/>
                <a:gd name="connsiteX222" fmla="*/ 1931 w 10000"/>
                <a:gd name="connsiteY222" fmla="*/ 2487 h 10000"/>
                <a:gd name="connsiteX223" fmla="*/ 1951 w 10000"/>
                <a:gd name="connsiteY223" fmla="*/ 2629 h 10000"/>
                <a:gd name="connsiteX224" fmla="*/ 2032 w 10000"/>
                <a:gd name="connsiteY224" fmla="*/ 2738 h 10000"/>
                <a:gd name="connsiteX225" fmla="*/ 2093 w 10000"/>
                <a:gd name="connsiteY225" fmla="*/ 2782 h 10000"/>
                <a:gd name="connsiteX226" fmla="*/ 1979 w 10000"/>
                <a:gd name="connsiteY226" fmla="*/ 2852 h 10000"/>
                <a:gd name="connsiteX227" fmla="*/ 1731 w 10000"/>
                <a:gd name="connsiteY227" fmla="*/ 3330 h 10000"/>
                <a:gd name="connsiteX228" fmla="*/ 1779 w 10000"/>
                <a:gd name="connsiteY228" fmla="*/ 3358 h 10000"/>
                <a:gd name="connsiteX229" fmla="*/ 1815 w 10000"/>
                <a:gd name="connsiteY229" fmla="*/ 3479 h 10000"/>
                <a:gd name="connsiteX230" fmla="*/ 1700 w 10000"/>
                <a:gd name="connsiteY230" fmla="*/ 3982 h 10000"/>
                <a:gd name="connsiteX231" fmla="*/ 1815 w 10000"/>
                <a:gd name="connsiteY231" fmla="*/ 4110 h 10000"/>
                <a:gd name="connsiteX232" fmla="*/ 2131 w 10000"/>
                <a:gd name="connsiteY232" fmla="*/ 4251 h 10000"/>
                <a:gd name="connsiteX233" fmla="*/ 2145 w 10000"/>
                <a:gd name="connsiteY233" fmla="*/ 4423 h 10000"/>
                <a:gd name="connsiteX234" fmla="*/ 2010 w 10000"/>
                <a:gd name="connsiteY234" fmla="*/ 4566 h 10000"/>
                <a:gd name="connsiteX235" fmla="*/ 1815 w 10000"/>
                <a:gd name="connsiteY235" fmla="*/ 4652 h 10000"/>
                <a:gd name="connsiteX236" fmla="*/ 1557 w 10000"/>
                <a:gd name="connsiteY236" fmla="*/ 4687 h 10000"/>
                <a:gd name="connsiteX237" fmla="*/ 1490 w 10000"/>
                <a:gd name="connsiteY237" fmla="*/ 4737 h 10000"/>
                <a:gd name="connsiteX238" fmla="*/ 1640 w 10000"/>
                <a:gd name="connsiteY238" fmla="*/ 4855 h 10000"/>
                <a:gd name="connsiteX239" fmla="*/ 1726 w 10000"/>
                <a:gd name="connsiteY239" fmla="*/ 5136 h 10000"/>
                <a:gd name="connsiteX240" fmla="*/ 1531 w 10000"/>
                <a:gd name="connsiteY240" fmla="*/ 5376 h 10000"/>
                <a:gd name="connsiteX241" fmla="*/ 1599 w 10000"/>
                <a:gd name="connsiteY241" fmla="*/ 5451 h 10000"/>
                <a:gd name="connsiteX242" fmla="*/ 1537 w 10000"/>
                <a:gd name="connsiteY242" fmla="*/ 5577 h 10000"/>
                <a:gd name="connsiteX243" fmla="*/ 1412 w 10000"/>
                <a:gd name="connsiteY243" fmla="*/ 5663 h 10000"/>
                <a:gd name="connsiteX244" fmla="*/ 915 w 10000"/>
                <a:gd name="connsiteY244" fmla="*/ 5730 h 10000"/>
                <a:gd name="connsiteX245" fmla="*/ 885 w 10000"/>
                <a:gd name="connsiteY245" fmla="*/ 5846 h 10000"/>
                <a:gd name="connsiteX246" fmla="*/ 617 w 10000"/>
                <a:gd name="connsiteY246" fmla="*/ 6019 h 10000"/>
                <a:gd name="connsiteX247" fmla="*/ 652 w 10000"/>
                <a:gd name="connsiteY247" fmla="*/ 6268 h 10000"/>
                <a:gd name="connsiteX248" fmla="*/ 427 w 10000"/>
                <a:gd name="connsiteY248" fmla="*/ 6587 h 10000"/>
                <a:gd name="connsiteX249" fmla="*/ 274 w 10000"/>
                <a:gd name="connsiteY249" fmla="*/ 6624 h 10000"/>
                <a:gd name="connsiteX250" fmla="*/ 210 w 10000"/>
                <a:gd name="connsiteY250" fmla="*/ 6548 h 10000"/>
                <a:gd name="connsiteX251" fmla="*/ 132 w 10000"/>
                <a:gd name="connsiteY251" fmla="*/ 6663 h 10000"/>
                <a:gd name="connsiteX252" fmla="*/ 183 w 10000"/>
                <a:gd name="connsiteY252" fmla="*/ 6465 h 10000"/>
                <a:gd name="connsiteX253" fmla="*/ 151 w 10000"/>
                <a:gd name="connsiteY253"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6413 w 10000"/>
                <a:gd name="connsiteY207" fmla="*/ 332 h 10000"/>
                <a:gd name="connsiteX208" fmla="*/ 5098 w 10000"/>
                <a:gd name="connsiteY208" fmla="*/ 0 h 10000"/>
                <a:gd name="connsiteX209" fmla="*/ 4837 w 10000"/>
                <a:gd name="connsiteY209" fmla="*/ 82 h 10000"/>
                <a:gd name="connsiteX210" fmla="*/ 4671 w 10000"/>
                <a:gd name="connsiteY210" fmla="*/ 78 h 10000"/>
                <a:gd name="connsiteX211" fmla="*/ 4571 w 10000"/>
                <a:gd name="connsiteY211" fmla="*/ 107 h 10000"/>
                <a:gd name="connsiteX212" fmla="*/ 4298 w 10000"/>
                <a:gd name="connsiteY212" fmla="*/ 913 h 10000"/>
                <a:gd name="connsiteX213" fmla="*/ 3668 w 10000"/>
                <a:gd name="connsiteY213" fmla="*/ 1383 h 10000"/>
                <a:gd name="connsiteX214" fmla="*/ 3672 w 10000"/>
                <a:gd name="connsiteY214" fmla="*/ 1457 h 10000"/>
                <a:gd name="connsiteX215" fmla="*/ 3952 w 10000"/>
                <a:gd name="connsiteY215" fmla="*/ 1668 h 10000"/>
                <a:gd name="connsiteX216" fmla="*/ 3861 w 10000"/>
                <a:gd name="connsiteY216" fmla="*/ 1896 h 10000"/>
                <a:gd name="connsiteX217" fmla="*/ 3698 w 10000"/>
                <a:gd name="connsiteY217" fmla="*/ 1979 h 10000"/>
                <a:gd name="connsiteX218" fmla="*/ 3208 w 10000"/>
                <a:gd name="connsiteY218" fmla="*/ 1924 h 10000"/>
                <a:gd name="connsiteX219" fmla="*/ 2871 w 10000"/>
                <a:gd name="connsiteY219" fmla="*/ 1955 h 10000"/>
                <a:gd name="connsiteX220" fmla="*/ 2601 w 10000"/>
                <a:gd name="connsiteY220" fmla="*/ 2023 h 10000"/>
                <a:gd name="connsiteX221" fmla="*/ 2163 w 10000"/>
                <a:gd name="connsiteY221" fmla="*/ 2233 h 10000"/>
                <a:gd name="connsiteX222" fmla="*/ 1931 w 10000"/>
                <a:gd name="connsiteY222" fmla="*/ 2487 h 10000"/>
                <a:gd name="connsiteX223" fmla="*/ 1951 w 10000"/>
                <a:gd name="connsiteY223" fmla="*/ 2629 h 10000"/>
                <a:gd name="connsiteX224" fmla="*/ 2032 w 10000"/>
                <a:gd name="connsiteY224" fmla="*/ 2738 h 10000"/>
                <a:gd name="connsiteX225" fmla="*/ 2093 w 10000"/>
                <a:gd name="connsiteY225" fmla="*/ 2782 h 10000"/>
                <a:gd name="connsiteX226" fmla="*/ 1979 w 10000"/>
                <a:gd name="connsiteY226" fmla="*/ 2852 h 10000"/>
                <a:gd name="connsiteX227" fmla="*/ 1731 w 10000"/>
                <a:gd name="connsiteY227" fmla="*/ 3330 h 10000"/>
                <a:gd name="connsiteX228" fmla="*/ 1779 w 10000"/>
                <a:gd name="connsiteY228" fmla="*/ 3358 h 10000"/>
                <a:gd name="connsiteX229" fmla="*/ 1815 w 10000"/>
                <a:gd name="connsiteY229" fmla="*/ 3479 h 10000"/>
                <a:gd name="connsiteX230" fmla="*/ 1700 w 10000"/>
                <a:gd name="connsiteY230" fmla="*/ 3982 h 10000"/>
                <a:gd name="connsiteX231" fmla="*/ 1815 w 10000"/>
                <a:gd name="connsiteY231" fmla="*/ 4110 h 10000"/>
                <a:gd name="connsiteX232" fmla="*/ 2131 w 10000"/>
                <a:gd name="connsiteY232" fmla="*/ 4251 h 10000"/>
                <a:gd name="connsiteX233" fmla="*/ 2145 w 10000"/>
                <a:gd name="connsiteY233" fmla="*/ 4423 h 10000"/>
                <a:gd name="connsiteX234" fmla="*/ 2010 w 10000"/>
                <a:gd name="connsiteY234" fmla="*/ 4566 h 10000"/>
                <a:gd name="connsiteX235" fmla="*/ 1815 w 10000"/>
                <a:gd name="connsiteY235" fmla="*/ 4652 h 10000"/>
                <a:gd name="connsiteX236" fmla="*/ 1557 w 10000"/>
                <a:gd name="connsiteY236" fmla="*/ 4687 h 10000"/>
                <a:gd name="connsiteX237" fmla="*/ 1490 w 10000"/>
                <a:gd name="connsiteY237" fmla="*/ 4737 h 10000"/>
                <a:gd name="connsiteX238" fmla="*/ 1640 w 10000"/>
                <a:gd name="connsiteY238" fmla="*/ 4855 h 10000"/>
                <a:gd name="connsiteX239" fmla="*/ 1726 w 10000"/>
                <a:gd name="connsiteY239" fmla="*/ 5136 h 10000"/>
                <a:gd name="connsiteX240" fmla="*/ 1531 w 10000"/>
                <a:gd name="connsiteY240" fmla="*/ 5376 h 10000"/>
                <a:gd name="connsiteX241" fmla="*/ 1599 w 10000"/>
                <a:gd name="connsiteY241" fmla="*/ 5451 h 10000"/>
                <a:gd name="connsiteX242" fmla="*/ 1537 w 10000"/>
                <a:gd name="connsiteY242" fmla="*/ 5577 h 10000"/>
                <a:gd name="connsiteX243" fmla="*/ 1412 w 10000"/>
                <a:gd name="connsiteY243" fmla="*/ 5663 h 10000"/>
                <a:gd name="connsiteX244" fmla="*/ 915 w 10000"/>
                <a:gd name="connsiteY244" fmla="*/ 5730 h 10000"/>
                <a:gd name="connsiteX245" fmla="*/ 885 w 10000"/>
                <a:gd name="connsiteY245" fmla="*/ 5846 h 10000"/>
                <a:gd name="connsiteX246" fmla="*/ 617 w 10000"/>
                <a:gd name="connsiteY246" fmla="*/ 6019 h 10000"/>
                <a:gd name="connsiteX247" fmla="*/ 652 w 10000"/>
                <a:gd name="connsiteY247" fmla="*/ 6268 h 10000"/>
                <a:gd name="connsiteX248" fmla="*/ 427 w 10000"/>
                <a:gd name="connsiteY248" fmla="*/ 6587 h 10000"/>
                <a:gd name="connsiteX249" fmla="*/ 274 w 10000"/>
                <a:gd name="connsiteY249" fmla="*/ 6624 h 10000"/>
                <a:gd name="connsiteX250" fmla="*/ 210 w 10000"/>
                <a:gd name="connsiteY250" fmla="*/ 6548 h 10000"/>
                <a:gd name="connsiteX251" fmla="*/ 132 w 10000"/>
                <a:gd name="connsiteY251" fmla="*/ 6663 h 10000"/>
                <a:gd name="connsiteX252" fmla="*/ 183 w 10000"/>
                <a:gd name="connsiteY252" fmla="*/ 6465 h 10000"/>
                <a:gd name="connsiteX253" fmla="*/ 151 w 10000"/>
                <a:gd name="connsiteY253"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7012 w 10000"/>
                <a:gd name="connsiteY207" fmla="*/ 590 h 10000"/>
                <a:gd name="connsiteX208" fmla="*/ 6413 w 10000"/>
                <a:gd name="connsiteY208" fmla="*/ 332 h 10000"/>
                <a:gd name="connsiteX209" fmla="*/ 5098 w 10000"/>
                <a:gd name="connsiteY209" fmla="*/ 0 h 10000"/>
                <a:gd name="connsiteX210" fmla="*/ 4837 w 10000"/>
                <a:gd name="connsiteY210" fmla="*/ 82 h 10000"/>
                <a:gd name="connsiteX211" fmla="*/ 4671 w 10000"/>
                <a:gd name="connsiteY211" fmla="*/ 78 h 10000"/>
                <a:gd name="connsiteX212" fmla="*/ 4571 w 10000"/>
                <a:gd name="connsiteY212" fmla="*/ 107 h 10000"/>
                <a:gd name="connsiteX213" fmla="*/ 4298 w 10000"/>
                <a:gd name="connsiteY213" fmla="*/ 913 h 10000"/>
                <a:gd name="connsiteX214" fmla="*/ 3668 w 10000"/>
                <a:gd name="connsiteY214" fmla="*/ 1383 h 10000"/>
                <a:gd name="connsiteX215" fmla="*/ 3672 w 10000"/>
                <a:gd name="connsiteY215" fmla="*/ 1457 h 10000"/>
                <a:gd name="connsiteX216" fmla="*/ 3952 w 10000"/>
                <a:gd name="connsiteY216" fmla="*/ 1668 h 10000"/>
                <a:gd name="connsiteX217" fmla="*/ 3861 w 10000"/>
                <a:gd name="connsiteY217" fmla="*/ 1896 h 10000"/>
                <a:gd name="connsiteX218" fmla="*/ 3698 w 10000"/>
                <a:gd name="connsiteY218" fmla="*/ 1979 h 10000"/>
                <a:gd name="connsiteX219" fmla="*/ 3208 w 10000"/>
                <a:gd name="connsiteY219" fmla="*/ 1924 h 10000"/>
                <a:gd name="connsiteX220" fmla="*/ 2871 w 10000"/>
                <a:gd name="connsiteY220" fmla="*/ 1955 h 10000"/>
                <a:gd name="connsiteX221" fmla="*/ 2601 w 10000"/>
                <a:gd name="connsiteY221" fmla="*/ 2023 h 10000"/>
                <a:gd name="connsiteX222" fmla="*/ 2163 w 10000"/>
                <a:gd name="connsiteY222" fmla="*/ 2233 h 10000"/>
                <a:gd name="connsiteX223" fmla="*/ 1931 w 10000"/>
                <a:gd name="connsiteY223" fmla="*/ 2487 h 10000"/>
                <a:gd name="connsiteX224" fmla="*/ 1951 w 10000"/>
                <a:gd name="connsiteY224" fmla="*/ 2629 h 10000"/>
                <a:gd name="connsiteX225" fmla="*/ 2032 w 10000"/>
                <a:gd name="connsiteY225" fmla="*/ 2738 h 10000"/>
                <a:gd name="connsiteX226" fmla="*/ 2093 w 10000"/>
                <a:gd name="connsiteY226" fmla="*/ 2782 h 10000"/>
                <a:gd name="connsiteX227" fmla="*/ 1979 w 10000"/>
                <a:gd name="connsiteY227" fmla="*/ 2852 h 10000"/>
                <a:gd name="connsiteX228" fmla="*/ 1731 w 10000"/>
                <a:gd name="connsiteY228" fmla="*/ 3330 h 10000"/>
                <a:gd name="connsiteX229" fmla="*/ 1779 w 10000"/>
                <a:gd name="connsiteY229" fmla="*/ 3358 h 10000"/>
                <a:gd name="connsiteX230" fmla="*/ 1815 w 10000"/>
                <a:gd name="connsiteY230" fmla="*/ 3479 h 10000"/>
                <a:gd name="connsiteX231" fmla="*/ 1700 w 10000"/>
                <a:gd name="connsiteY231" fmla="*/ 3982 h 10000"/>
                <a:gd name="connsiteX232" fmla="*/ 1815 w 10000"/>
                <a:gd name="connsiteY232" fmla="*/ 4110 h 10000"/>
                <a:gd name="connsiteX233" fmla="*/ 2131 w 10000"/>
                <a:gd name="connsiteY233" fmla="*/ 4251 h 10000"/>
                <a:gd name="connsiteX234" fmla="*/ 2145 w 10000"/>
                <a:gd name="connsiteY234" fmla="*/ 4423 h 10000"/>
                <a:gd name="connsiteX235" fmla="*/ 2010 w 10000"/>
                <a:gd name="connsiteY235" fmla="*/ 4566 h 10000"/>
                <a:gd name="connsiteX236" fmla="*/ 1815 w 10000"/>
                <a:gd name="connsiteY236" fmla="*/ 4652 h 10000"/>
                <a:gd name="connsiteX237" fmla="*/ 1557 w 10000"/>
                <a:gd name="connsiteY237" fmla="*/ 4687 h 10000"/>
                <a:gd name="connsiteX238" fmla="*/ 1490 w 10000"/>
                <a:gd name="connsiteY238" fmla="*/ 4737 h 10000"/>
                <a:gd name="connsiteX239" fmla="*/ 1640 w 10000"/>
                <a:gd name="connsiteY239" fmla="*/ 4855 h 10000"/>
                <a:gd name="connsiteX240" fmla="*/ 1726 w 10000"/>
                <a:gd name="connsiteY240" fmla="*/ 5136 h 10000"/>
                <a:gd name="connsiteX241" fmla="*/ 1531 w 10000"/>
                <a:gd name="connsiteY241" fmla="*/ 5376 h 10000"/>
                <a:gd name="connsiteX242" fmla="*/ 1599 w 10000"/>
                <a:gd name="connsiteY242" fmla="*/ 5451 h 10000"/>
                <a:gd name="connsiteX243" fmla="*/ 1537 w 10000"/>
                <a:gd name="connsiteY243" fmla="*/ 5577 h 10000"/>
                <a:gd name="connsiteX244" fmla="*/ 1412 w 10000"/>
                <a:gd name="connsiteY244" fmla="*/ 5663 h 10000"/>
                <a:gd name="connsiteX245" fmla="*/ 915 w 10000"/>
                <a:gd name="connsiteY245" fmla="*/ 5730 h 10000"/>
                <a:gd name="connsiteX246" fmla="*/ 885 w 10000"/>
                <a:gd name="connsiteY246" fmla="*/ 5846 h 10000"/>
                <a:gd name="connsiteX247" fmla="*/ 617 w 10000"/>
                <a:gd name="connsiteY247" fmla="*/ 6019 h 10000"/>
                <a:gd name="connsiteX248" fmla="*/ 652 w 10000"/>
                <a:gd name="connsiteY248" fmla="*/ 6268 h 10000"/>
                <a:gd name="connsiteX249" fmla="*/ 427 w 10000"/>
                <a:gd name="connsiteY249" fmla="*/ 6587 h 10000"/>
                <a:gd name="connsiteX250" fmla="*/ 274 w 10000"/>
                <a:gd name="connsiteY250" fmla="*/ 6624 h 10000"/>
                <a:gd name="connsiteX251" fmla="*/ 210 w 10000"/>
                <a:gd name="connsiteY251" fmla="*/ 6548 h 10000"/>
                <a:gd name="connsiteX252" fmla="*/ 132 w 10000"/>
                <a:gd name="connsiteY252" fmla="*/ 6663 h 10000"/>
                <a:gd name="connsiteX253" fmla="*/ 183 w 10000"/>
                <a:gd name="connsiteY253" fmla="*/ 6465 h 10000"/>
                <a:gd name="connsiteX254" fmla="*/ 151 w 10000"/>
                <a:gd name="connsiteY254"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7289 w 10000"/>
                <a:gd name="connsiteY207" fmla="*/ 669 h 10000"/>
                <a:gd name="connsiteX208" fmla="*/ 7012 w 10000"/>
                <a:gd name="connsiteY208" fmla="*/ 590 h 10000"/>
                <a:gd name="connsiteX209" fmla="*/ 6413 w 10000"/>
                <a:gd name="connsiteY209" fmla="*/ 332 h 10000"/>
                <a:gd name="connsiteX210" fmla="*/ 5098 w 10000"/>
                <a:gd name="connsiteY210" fmla="*/ 0 h 10000"/>
                <a:gd name="connsiteX211" fmla="*/ 4837 w 10000"/>
                <a:gd name="connsiteY211" fmla="*/ 82 h 10000"/>
                <a:gd name="connsiteX212" fmla="*/ 4671 w 10000"/>
                <a:gd name="connsiteY212" fmla="*/ 78 h 10000"/>
                <a:gd name="connsiteX213" fmla="*/ 4571 w 10000"/>
                <a:gd name="connsiteY213" fmla="*/ 107 h 10000"/>
                <a:gd name="connsiteX214" fmla="*/ 4298 w 10000"/>
                <a:gd name="connsiteY214" fmla="*/ 913 h 10000"/>
                <a:gd name="connsiteX215" fmla="*/ 3668 w 10000"/>
                <a:gd name="connsiteY215" fmla="*/ 1383 h 10000"/>
                <a:gd name="connsiteX216" fmla="*/ 3672 w 10000"/>
                <a:gd name="connsiteY216" fmla="*/ 1457 h 10000"/>
                <a:gd name="connsiteX217" fmla="*/ 3952 w 10000"/>
                <a:gd name="connsiteY217" fmla="*/ 1668 h 10000"/>
                <a:gd name="connsiteX218" fmla="*/ 3861 w 10000"/>
                <a:gd name="connsiteY218" fmla="*/ 1896 h 10000"/>
                <a:gd name="connsiteX219" fmla="*/ 3698 w 10000"/>
                <a:gd name="connsiteY219" fmla="*/ 1979 h 10000"/>
                <a:gd name="connsiteX220" fmla="*/ 3208 w 10000"/>
                <a:gd name="connsiteY220" fmla="*/ 1924 h 10000"/>
                <a:gd name="connsiteX221" fmla="*/ 2871 w 10000"/>
                <a:gd name="connsiteY221" fmla="*/ 1955 h 10000"/>
                <a:gd name="connsiteX222" fmla="*/ 2601 w 10000"/>
                <a:gd name="connsiteY222" fmla="*/ 2023 h 10000"/>
                <a:gd name="connsiteX223" fmla="*/ 2163 w 10000"/>
                <a:gd name="connsiteY223" fmla="*/ 2233 h 10000"/>
                <a:gd name="connsiteX224" fmla="*/ 1931 w 10000"/>
                <a:gd name="connsiteY224" fmla="*/ 2487 h 10000"/>
                <a:gd name="connsiteX225" fmla="*/ 1951 w 10000"/>
                <a:gd name="connsiteY225" fmla="*/ 2629 h 10000"/>
                <a:gd name="connsiteX226" fmla="*/ 2032 w 10000"/>
                <a:gd name="connsiteY226" fmla="*/ 2738 h 10000"/>
                <a:gd name="connsiteX227" fmla="*/ 2093 w 10000"/>
                <a:gd name="connsiteY227" fmla="*/ 2782 h 10000"/>
                <a:gd name="connsiteX228" fmla="*/ 1979 w 10000"/>
                <a:gd name="connsiteY228" fmla="*/ 2852 h 10000"/>
                <a:gd name="connsiteX229" fmla="*/ 1731 w 10000"/>
                <a:gd name="connsiteY229" fmla="*/ 3330 h 10000"/>
                <a:gd name="connsiteX230" fmla="*/ 1779 w 10000"/>
                <a:gd name="connsiteY230" fmla="*/ 3358 h 10000"/>
                <a:gd name="connsiteX231" fmla="*/ 1815 w 10000"/>
                <a:gd name="connsiteY231" fmla="*/ 3479 h 10000"/>
                <a:gd name="connsiteX232" fmla="*/ 1700 w 10000"/>
                <a:gd name="connsiteY232" fmla="*/ 3982 h 10000"/>
                <a:gd name="connsiteX233" fmla="*/ 1815 w 10000"/>
                <a:gd name="connsiteY233" fmla="*/ 4110 h 10000"/>
                <a:gd name="connsiteX234" fmla="*/ 2131 w 10000"/>
                <a:gd name="connsiteY234" fmla="*/ 4251 h 10000"/>
                <a:gd name="connsiteX235" fmla="*/ 2145 w 10000"/>
                <a:gd name="connsiteY235" fmla="*/ 4423 h 10000"/>
                <a:gd name="connsiteX236" fmla="*/ 2010 w 10000"/>
                <a:gd name="connsiteY236" fmla="*/ 4566 h 10000"/>
                <a:gd name="connsiteX237" fmla="*/ 1815 w 10000"/>
                <a:gd name="connsiteY237" fmla="*/ 4652 h 10000"/>
                <a:gd name="connsiteX238" fmla="*/ 1557 w 10000"/>
                <a:gd name="connsiteY238" fmla="*/ 4687 h 10000"/>
                <a:gd name="connsiteX239" fmla="*/ 1490 w 10000"/>
                <a:gd name="connsiteY239" fmla="*/ 4737 h 10000"/>
                <a:gd name="connsiteX240" fmla="*/ 1640 w 10000"/>
                <a:gd name="connsiteY240" fmla="*/ 4855 h 10000"/>
                <a:gd name="connsiteX241" fmla="*/ 1726 w 10000"/>
                <a:gd name="connsiteY241" fmla="*/ 5136 h 10000"/>
                <a:gd name="connsiteX242" fmla="*/ 1531 w 10000"/>
                <a:gd name="connsiteY242" fmla="*/ 5376 h 10000"/>
                <a:gd name="connsiteX243" fmla="*/ 1599 w 10000"/>
                <a:gd name="connsiteY243" fmla="*/ 5451 h 10000"/>
                <a:gd name="connsiteX244" fmla="*/ 1537 w 10000"/>
                <a:gd name="connsiteY244" fmla="*/ 5577 h 10000"/>
                <a:gd name="connsiteX245" fmla="*/ 1412 w 10000"/>
                <a:gd name="connsiteY245" fmla="*/ 5663 h 10000"/>
                <a:gd name="connsiteX246" fmla="*/ 915 w 10000"/>
                <a:gd name="connsiteY246" fmla="*/ 5730 h 10000"/>
                <a:gd name="connsiteX247" fmla="*/ 885 w 10000"/>
                <a:gd name="connsiteY247" fmla="*/ 5846 h 10000"/>
                <a:gd name="connsiteX248" fmla="*/ 617 w 10000"/>
                <a:gd name="connsiteY248" fmla="*/ 6019 h 10000"/>
                <a:gd name="connsiteX249" fmla="*/ 652 w 10000"/>
                <a:gd name="connsiteY249" fmla="*/ 6268 h 10000"/>
                <a:gd name="connsiteX250" fmla="*/ 427 w 10000"/>
                <a:gd name="connsiteY250" fmla="*/ 6587 h 10000"/>
                <a:gd name="connsiteX251" fmla="*/ 274 w 10000"/>
                <a:gd name="connsiteY251" fmla="*/ 6624 h 10000"/>
                <a:gd name="connsiteX252" fmla="*/ 210 w 10000"/>
                <a:gd name="connsiteY252" fmla="*/ 6548 h 10000"/>
                <a:gd name="connsiteX253" fmla="*/ 132 w 10000"/>
                <a:gd name="connsiteY253" fmla="*/ 6663 h 10000"/>
                <a:gd name="connsiteX254" fmla="*/ 183 w 10000"/>
                <a:gd name="connsiteY254" fmla="*/ 6465 h 10000"/>
                <a:gd name="connsiteX255" fmla="*/ 151 w 10000"/>
                <a:gd name="connsiteY255"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7528 w 10000"/>
                <a:gd name="connsiteY207" fmla="*/ 616 h 10000"/>
                <a:gd name="connsiteX208" fmla="*/ 7012 w 10000"/>
                <a:gd name="connsiteY208" fmla="*/ 590 h 10000"/>
                <a:gd name="connsiteX209" fmla="*/ 6413 w 10000"/>
                <a:gd name="connsiteY209" fmla="*/ 332 h 10000"/>
                <a:gd name="connsiteX210" fmla="*/ 5098 w 10000"/>
                <a:gd name="connsiteY210" fmla="*/ 0 h 10000"/>
                <a:gd name="connsiteX211" fmla="*/ 4837 w 10000"/>
                <a:gd name="connsiteY211" fmla="*/ 82 h 10000"/>
                <a:gd name="connsiteX212" fmla="*/ 4671 w 10000"/>
                <a:gd name="connsiteY212" fmla="*/ 78 h 10000"/>
                <a:gd name="connsiteX213" fmla="*/ 4571 w 10000"/>
                <a:gd name="connsiteY213" fmla="*/ 107 h 10000"/>
                <a:gd name="connsiteX214" fmla="*/ 4298 w 10000"/>
                <a:gd name="connsiteY214" fmla="*/ 913 h 10000"/>
                <a:gd name="connsiteX215" fmla="*/ 3668 w 10000"/>
                <a:gd name="connsiteY215" fmla="*/ 1383 h 10000"/>
                <a:gd name="connsiteX216" fmla="*/ 3672 w 10000"/>
                <a:gd name="connsiteY216" fmla="*/ 1457 h 10000"/>
                <a:gd name="connsiteX217" fmla="*/ 3952 w 10000"/>
                <a:gd name="connsiteY217" fmla="*/ 1668 h 10000"/>
                <a:gd name="connsiteX218" fmla="*/ 3861 w 10000"/>
                <a:gd name="connsiteY218" fmla="*/ 1896 h 10000"/>
                <a:gd name="connsiteX219" fmla="*/ 3698 w 10000"/>
                <a:gd name="connsiteY219" fmla="*/ 1979 h 10000"/>
                <a:gd name="connsiteX220" fmla="*/ 3208 w 10000"/>
                <a:gd name="connsiteY220" fmla="*/ 1924 h 10000"/>
                <a:gd name="connsiteX221" fmla="*/ 2871 w 10000"/>
                <a:gd name="connsiteY221" fmla="*/ 1955 h 10000"/>
                <a:gd name="connsiteX222" fmla="*/ 2601 w 10000"/>
                <a:gd name="connsiteY222" fmla="*/ 2023 h 10000"/>
                <a:gd name="connsiteX223" fmla="*/ 2163 w 10000"/>
                <a:gd name="connsiteY223" fmla="*/ 2233 h 10000"/>
                <a:gd name="connsiteX224" fmla="*/ 1931 w 10000"/>
                <a:gd name="connsiteY224" fmla="*/ 2487 h 10000"/>
                <a:gd name="connsiteX225" fmla="*/ 1951 w 10000"/>
                <a:gd name="connsiteY225" fmla="*/ 2629 h 10000"/>
                <a:gd name="connsiteX226" fmla="*/ 2032 w 10000"/>
                <a:gd name="connsiteY226" fmla="*/ 2738 h 10000"/>
                <a:gd name="connsiteX227" fmla="*/ 2093 w 10000"/>
                <a:gd name="connsiteY227" fmla="*/ 2782 h 10000"/>
                <a:gd name="connsiteX228" fmla="*/ 1979 w 10000"/>
                <a:gd name="connsiteY228" fmla="*/ 2852 h 10000"/>
                <a:gd name="connsiteX229" fmla="*/ 1731 w 10000"/>
                <a:gd name="connsiteY229" fmla="*/ 3330 h 10000"/>
                <a:gd name="connsiteX230" fmla="*/ 1779 w 10000"/>
                <a:gd name="connsiteY230" fmla="*/ 3358 h 10000"/>
                <a:gd name="connsiteX231" fmla="*/ 1815 w 10000"/>
                <a:gd name="connsiteY231" fmla="*/ 3479 h 10000"/>
                <a:gd name="connsiteX232" fmla="*/ 1700 w 10000"/>
                <a:gd name="connsiteY232" fmla="*/ 3982 h 10000"/>
                <a:gd name="connsiteX233" fmla="*/ 1815 w 10000"/>
                <a:gd name="connsiteY233" fmla="*/ 4110 h 10000"/>
                <a:gd name="connsiteX234" fmla="*/ 2131 w 10000"/>
                <a:gd name="connsiteY234" fmla="*/ 4251 h 10000"/>
                <a:gd name="connsiteX235" fmla="*/ 2145 w 10000"/>
                <a:gd name="connsiteY235" fmla="*/ 4423 h 10000"/>
                <a:gd name="connsiteX236" fmla="*/ 2010 w 10000"/>
                <a:gd name="connsiteY236" fmla="*/ 4566 h 10000"/>
                <a:gd name="connsiteX237" fmla="*/ 1815 w 10000"/>
                <a:gd name="connsiteY237" fmla="*/ 4652 h 10000"/>
                <a:gd name="connsiteX238" fmla="*/ 1557 w 10000"/>
                <a:gd name="connsiteY238" fmla="*/ 4687 h 10000"/>
                <a:gd name="connsiteX239" fmla="*/ 1490 w 10000"/>
                <a:gd name="connsiteY239" fmla="*/ 4737 h 10000"/>
                <a:gd name="connsiteX240" fmla="*/ 1640 w 10000"/>
                <a:gd name="connsiteY240" fmla="*/ 4855 h 10000"/>
                <a:gd name="connsiteX241" fmla="*/ 1726 w 10000"/>
                <a:gd name="connsiteY241" fmla="*/ 5136 h 10000"/>
                <a:gd name="connsiteX242" fmla="*/ 1531 w 10000"/>
                <a:gd name="connsiteY242" fmla="*/ 5376 h 10000"/>
                <a:gd name="connsiteX243" fmla="*/ 1599 w 10000"/>
                <a:gd name="connsiteY243" fmla="*/ 5451 h 10000"/>
                <a:gd name="connsiteX244" fmla="*/ 1537 w 10000"/>
                <a:gd name="connsiteY244" fmla="*/ 5577 h 10000"/>
                <a:gd name="connsiteX245" fmla="*/ 1412 w 10000"/>
                <a:gd name="connsiteY245" fmla="*/ 5663 h 10000"/>
                <a:gd name="connsiteX246" fmla="*/ 915 w 10000"/>
                <a:gd name="connsiteY246" fmla="*/ 5730 h 10000"/>
                <a:gd name="connsiteX247" fmla="*/ 885 w 10000"/>
                <a:gd name="connsiteY247" fmla="*/ 5846 h 10000"/>
                <a:gd name="connsiteX248" fmla="*/ 617 w 10000"/>
                <a:gd name="connsiteY248" fmla="*/ 6019 h 10000"/>
                <a:gd name="connsiteX249" fmla="*/ 652 w 10000"/>
                <a:gd name="connsiteY249" fmla="*/ 6268 h 10000"/>
                <a:gd name="connsiteX250" fmla="*/ 427 w 10000"/>
                <a:gd name="connsiteY250" fmla="*/ 6587 h 10000"/>
                <a:gd name="connsiteX251" fmla="*/ 274 w 10000"/>
                <a:gd name="connsiteY251" fmla="*/ 6624 h 10000"/>
                <a:gd name="connsiteX252" fmla="*/ 210 w 10000"/>
                <a:gd name="connsiteY252" fmla="*/ 6548 h 10000"/>
                <a:gd name="connsiteX253" fmla="*/ 132 w 10000"/>
                <a:gd name="connsiteY253" fmla="*/ 6663 h 10000"/>
                <a:gd name="connsiteX254" fmla="*/ 183 w 10000"/>
                <a:gd name="connsiteY254" fmla="*/ 6465 h 10000"/>
                <a:gd name="connsiteX255" fmla="*/ 151 w 10000"/>
                <a:gd name="connsiteY255"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7538 w 10000"/>
                <a:gd name="connsiteY207" fmla="*/ 568 h 10000"/>
                <a:gd name="connsiteX208" fmla="*/ 7012 w 10000"/>
                <a:gd name="connsiteY208" fmla="*/ 590 h 10000"/>
                <a:gd name="connsiteX209" fmla="*/ 6413 w 10000"/>
                <a:gd name="connsiteY209" fmla="*/ 332 h 10000"/>
                <a:gd name="connsiteX210" fmla="*/ 5098 w 10000"/>
                <a:gd name="connsiteY210" fmla="*/ 0 h 10000"/>
                <a:gd name="connsiteX211" fmla="*/ 4837 w 10000"/>
                <a:gd name="connsiteY211" fmla="*/ 82 h 10000"/>
                <a:gd name="connsiteX212" fmla="*/ 4671 w 10000"/>
                <a:gd name="connsiteY212" fmla="*/ 78 h 10000"/>
                <a:gd name="connsiteX213" fmla="*/ 4571 w 10000"/>
                <a:gd name="connsiteY213" fmla="*/ 107 h 10000"/>
                <a:gd name="connsiteX214" fmla="*/ 4298 w 10000"/>
                <a:gd name="connsiteY214" fmla="*/ 913 h 10000"/>
                <a:gd name="connsiteX215" fmla="*/ 3668 w 10000"/>
                <a:gd name="connsiteY215" fmla="*/ 1383 h 10000"/>
                <a:gd name="connsiteX216" fmla="*/ 3672 w 10000"/>
                <a:gd name="connsiteY216" fmla="*/ 1457 h 10000"/>
                <a:gd name="connsiteX217" fmla="*/ 3952 w 10000"/>
                <a:gd name="connsiteY217" fmla="*/ 1668 h 10000"/>
                <a:gd name="connsiteX218" fmla="*/ 3861 w 10000"/>
                <a:gd name="connsiteY218" fmla="*/ 1896 h 10000"/>
                <a:gd name="connsiteX219" fmla="*/ 3698 w 10000"/>
                <a:gd name="connsiteY219" fmla="*/ 1979 h 10000"/>
                <a:gd name="connsiteX220" fmla="*/ 3208 w 10000"/>
                <a:gd name="connsiteY220" fmla="*/ 1924 h 10000"/>
                <a:gd name="connsiteX221" fmla="*/ 2871 w 10000"/>
                <a:gd name="connsiteY221" fmla="*/ 1955 h 10000"/>
                <a:gd name="connsiteX222" fmla="*/ 2601 w 10000"/>
                <a:gd name="connsiteY222" fmla="*/ 2023 h 10000"/>
                <a:gd name="connsiteX223" fmla="*/ 2163 w 10000"/>
                <a:gd name="connsiteY223" fmla="*/ 2233 h 10000"/>
                <a:gd name="connsiteX224" fmla="*/ 1931 w 10000"/>
                <a:gd name="connsiteY224" fmla="*/ 2487 h 10000"/>
                <a:gd name="connsiteX225" fmla="*/ 1951 w 10000"/>
                <a:gd name="connsiteY225" fmla="*/ 2629 h 10000"/>
                <a:gd name="connsiteX226" fmla="*/ 2032 w 10000"/>
                <a:gd name="connsiteY226" fmla="*/ 2738 h 10000"/>
                <a:gd name="connsiteX227" fmla="*/ 2093 w 10000"/>
                <a:gd name="connsiteY227" fmla="*/ 2782 h 10000"/>
                <a:gd name="connsiteX228" fmla="*/ 1979 w 10000"/>
                <a:gd name="connsiteY228" fmla="*/ 2852 h 10000"/>
                <a:gd name="connsiteX229" fmla="*/ 1731 w 10000"/>
                <a:gd name="connsiteY229" fmla="*/ 3330 h 10000"/>
                <a:gd name="connsiteX230" fmla="*/ 1779 w 10000"/>
                <a:gd name="connsiteY230" fmla="*/ 3358 h 10000"/>
                <a:gd name="connsiteX231" fmla="*/ 1815 w 10000"/>
                <a:gd name="connsiteY231" fmla="*/ 3479 h 10000"/>
                <a:gd name="connsiteX232" fmla="*/ 1700 w 10000"/>
                <a:gd name="connsiteY232" fmla="*/ 3982 h 10000"/>
                <a:gd name="connsiteX233" fmla="*/ 1815 w 10000"/>
                <a:gd name="connsiteY233" fmla="*/ 4110 h 10000"/>
                <a:gd name="connsiteX234" fmla="*/ 2131 w 10000"/>
                <a:gd name="connsiteY234" fmla="*/ 4251 h 10000"/>
                <a:gd name="connsiteX235" fmla="*/ 2145 w 10000"/>
                <a:gd name="connsiteY235" fmla="*/ 4423 h 10000"/>
                <a:gd name="connsiteX236" fmla="*/ 2010 w 10000"/>
                <a:gd name="connsiteY236" fmla="*/ 4566 h 10000"/>
                <a:gd name="connsiteX237" fmla="*/ 1815 w 10000"/>
                <a:gd name="connsiteY237" fmla="*/ 4652 h 10000"/>
                <a:gd name="connsiteX238" fmla="*/ 1557 w 10000"/>
                <a:gd name="connsiteY238" fmla="*/ 4687 h 10000"/>
                <a:gd name="connsiteX239" fmla="*/ 1490 w 10000"/>
                <a:gd name="connsiteY239" fmla="*/ 4737 h 10000"/>
                <a:gd name="connsiteX240" fmla="*/ 1640 w 10000"/>
                <a:gd name="connsiteY240" fmla="*/ 4855 h 10000"/>
                <a:gd name="connsiteX241" fmla="*/ 1726 w 10000"/>
                <a:gd name="connsiteY241" fmla="*/ 5136 h 10000"/>
                <a:gd name="connsiteX242" fmla="*/ 1531 w 10000"/>
                <a:gd name="connsiteY242" fmla="*/ 5376 h 10000"/>
                <a:gd name="connsiteX243" fmla="*/ 1599 w 10000"/>
                <a:gd name="connsiteY243" fmla="*/ 5451 h 10000"/>
                <a:gd name="connsiteX244" fmla="*/ 1537 w 10000"/>
                <a:gd name="connsiteY244" fmla="*/ 5577 h 10000"/>
                <a:gd name="connsiteX245" fmla="*/ 1412 w 10000"/>
                <a:gd name="connsiteY245" fmla="*/ 5663 h 10000"/>
                <a:gd name="connsiteX246" fmla="*/ 915 w 10000"/>
                <a:gd name="connsiteY246" fmla="*/ 5730 h 10000"/>
                <a:gd name="connsiteX247" fmla="*/ 885 w 10000"/>
                <a:gd name="connsiteY247" fmla="*/ 5846 h 10000"/>
                <a:gd name="connsiteX248" fmla="*/ 617 w 10000"/>
                <a:gd name="connsiteY248" fmla="*/ 6019 h 10000"/>
                <a:gd name="connsiteX249" fmla="*/ 652 w 10000"/>
                <a:gd name="connsiteY249" fmla="*/ 6268 h 10000"/>
                <a:gd name="connsiteX250" fmla="*/ 427 w 10000"/>
                <a:gd name="connsiteY250" fmla="*/ 6587 h 10000"/>
                <a:gd name="connsiteX251" fmla="*/ 274 w 10000"/>
                <a:gd name="connsiteY251" fmla="*/ 6624 h 10000"/>
                <a:gd name="connsiteX252" fmla="*/ 210 w 10000"/>
                <a:gd name="connsiteY252" fmla="*/ 6548 h 10000"/>
                <a:gd name="connsiteX253" fmla="*/ 132 w 10000"/>
                <a:gd name="connsiteY253" fmla="*/ 6663 h 10000"/>
                <a:gd name="connsiteX254" fmla="*/ 183 w 10000"/>
                <a:gd name="connsiteY254" fmla="*/ 6465 h 10000"/>
                <a:gd name="connsiteX255" fmla="*/ 151 w 10000"/>
                <a:gd name="connsiteY255"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7377 w 10000"/>
                <a:gd name="connsiteY207" fmla="*/ 560 h 10000"/>
                <a:gd name="connsiteX208" fmla="*/ 7012 w 10000"/>
                <a:gd name="connsiteY208" fmla="*/ 590 h 10000"/>
                <a:gd name="connsiteX209" fmla="*/ 6413 w 10000"/>
                <a:gd name="connsiteY209" fmla="*/ 332 h 10000"/>
                <a:gd name="connsiteX210" fmla="*/ 5098 w 10000"/>
                <a:gd name="connsiteY210" fmla="*/ 0 h 10000"/>
                <a:gd name="connsiteX211" fmla="*/ 4837 w 10000"/>
                <a:gd name="connsiteY211" fmla="*/ 82 h 10000"/>
                <a:gd name="connsiteX212" fmla="*/ 4671 w 10000"/>
                <a:gd name="connsiteY212" fmla="*/ 78 h 10000"/>
                <a:gd name="connsiteX213" fmla="*/ 4571 w 10000"/>
                <a:gd name="connsiteY213" fmla="*/ 107 h 10000"/>
                <a:gd name="connsiteX214" fmla="*/ 4298 w 10000"/>
                <a:gd name="connsiteY214" fmla="*/ 913 h 10000"/>
                <a:gd name="connsiteX215" fmla="*/ 3668 w 10000"/>
                <a:gd name="connsiteY215" fmla="*/ 1383 h 10000"/>
                <a:gd name="connsiteX216" fmla="*/ 3672 w 10000"/>
                <a:gd name="connsiteY216" fmla="*/ 1457 h 10000"/>
                <a:gd name="connsiteX217" fmla="*/ 3952 w 10000"/>
                <a:gd name="connsiteY217" fmla="*/ 1668 h 10000"/>
                <a:gd name="connsiteX218" fmla="*/ 3861 w 10000"/>
                <a:gd name="connsiteY218" fmla="*/ 1896 h 10000"/>
                <a:gd name="connsiteX219" fmla="*/ 3698 w 10000"/>
                <a:gd name="connsiteY219" fmla="*/ 1979 h 10000"/>
                <a:gd name="connsiteX220" fmla="*/ 3208 w 10000"/>
                <a:gd name="connsiteY220" fmla="*/ 1924 h 10000"/>
                <a:gd name="connsiteX221" fmla="*/ 2871 w 10000"/>
                <a:gd name="connsiteY221" fmla="*/ 1955 h 10000"/>
                <a:gd name="connsiteX222" fmla="*/ 2601 w 10000"/>
                <a:gd name="connsiteY222" fmla="*/ 2023 h 10000"/>
                <a:gd name="connsiteX223" fmla="*/ 2163 w 10000"/>
                <a:gd name="connsiteY223" fmla="*/ 2233 h 10000"/>
                <a:gd name="connsiteX224" fmla="*/ 1931 w 10000"/>
                <a:gd name="connsiteY224" fmla="*/ 2487 h 10000"/>
                <a:gd name="connsiteX225" fmla="*/ 1951 w 10000"/>
                <a:gd name="connsiteY225" fmla="*/ 2629 h 10000"/>
                <a:gd name="connsiteX226" fmla="*/ 2032 w 10000"/>
                <a:gd name="connsiteY226" fmla="*/ 2738 h 10000"/>
                <a:gd name="connsiteX227" fmla="*/ 2093 w 10000"/>
                <a:gd name="connsiteY227" fmla="*/ 2782 h 10000"/>
                <a:gd name="connsiteX228" fmla="*/ 1979 w 10000"/>
                <a:gd name="connsiteY228" fmla="*/ 2852 h 10000"/>
                <a:gd name="connsiteX229" fmla="*/ 1731 w 10000"/>
                <a:gd name="connsiteY229" fmla="*/ 3330 h 10000"/>
                <a:gd name="connsiteX230" fmla="*/ 1779 w 10000"/>
                <a:gd name="connsiteY230" fmla="*/ 3358 h 10000"/>
                <a:gd name="connsiteX231" fmla="*/ 1815 w 10000"/>
                <a:gd name="connsiteY231" fmla="*/ 3479 h 10000"/>
                <a:gd name="connsiteX232" fmla="*/ 1700 w 10000"/>
                <a:gd name="connsiteY232" fmla="*/ 3982 h 10000"/>
                <a:gd name="connsiteX233" fmla="*/ 1815 w 10000"/>
                <a:gd name="connsiteY233" fmla="*/ 4110 h 10000"/>
                <a:gd name="connsiteX234" fmla="*/ 2131 w 10000"/>
                <a:gd name="connsiteY234" fmla="*/ 4251 h 10000"/>
                <a:gd name="connsiteX235" fmla="*/ 2145 w 10000"/>
                <a:gd name="connsiteY235" fmla="*/ 4423 h 10000"/>
                <a:gd name="connsiteX236" fmla="*/ 2010 w 10000"/>
                <a:gd name="connsiteY236" fmla="*/ 4566 h 10000"/>
                <a:gd name="connsiteX237" fmla="*/ 1815 w 10000"/>
                <a:gd name="connsiteY237" fmla="*/ 4652 h 10000"/>
                <a:gd name="connsiteX238" fmla="*/ 1557 w 10000"/>
                <a:gd name="connsiteY238" fmla="*/ 4687 h 10000"/>
                <a:gd name="connsiteX239" fmla="*/ 1490 w 10000"/>
                <a:gd name="connsiteY239" fmla="*/ 4737 h 10000"/>
                <a:gd name="connsiteX240" fmla="*/ 1640 w 10000"/>
                <a:gd name="connsiteY240" fmla="*/ 4855 h 10000"/>
                <a:gd name="connsiteX241" fmla="*/ 1726 w 10000"/>
                <a:gd name="connsiteY241" fmla="*/ 5136 h 10000"/>
                <a:gd name="connsiteX242" fmla="*/ 1531 w 10000"/>
                <a:gd name="connsiteY242" fmla="*/ 5376 h 10000"/>
                <a:gd name="connsiteX243" fmla="*/ 1599 w 10000"/>
                <a:gd name="connsiteY243" fmla="*/ 5451 h 10000"/>
                <a:gd name="connsiteX244" fmla="*/ 1537 w 10000"/>
                <a:gd name="connsiteY244" fmla="*/ 5577 h 10000"/>
                <a:gd name="connsiteX245" fmla="*/ 1412 w 10000"/>
                <a:gd name="connsiteY245" fmla="*/ 5663 h 10000"/>
                <a:gd name="connsiteX246" fmla="*/ 915 w 10000"/>
                <a:gd name="connsiteY246" fmla="*/ 5730 h 10000"/>
                <a:gd name="connsiteX247" fmla="*/ 885 w 10000"/>
                <a:gd name="connsiteY247" fmla="*/ 5846 h 10000"/>
                <a:gd name="connsiteX248" fmla="*/ 617 w 10000"/>
                <a:gd name="connsiteY248" fmla="*/ 6019 h 10000"/>
                <a:gd name="connsiteX249" fmla="*/ 652 w 10000"/>
                <a:gd name="connsiteY249" fmla="*/ 6268 h 10000"/>
                <a:gd name="connsiteX250" fmla="*/ 427 w 10000"/>
                <a:gd name="connsiteY250" fmla="*/ 6587 h 10000"/>
                <a:gd name="connsiteX251" fmla="*/ 274 w 10000"/>
                <a:gd name="connsiteY251" fmla="*/ 6624 h 10000"/>
                <a:gd name="connsiteX252" fmla="*/ 210 w 10000"/>
                <a:gd name="connsiteY252" fmla="*/ 6548 h 10000"/>
                <a:gd name="connsiteX253" fmla="*/ 132 w 10000"/>
                <a:gd name="connsiteY253" fmla="*/ 6663 h 10000"/>
                <a:gd name="connsiteX254" fmla="*/ 183 w 10000"/>
                <a:gd name="connsiteY254" fmla="*/ 6465 h 10000"/>
                <a:gd name="connsiteX255" fmla="*/ 151 w 10000"/>
                <a:gd name="connsiteY255"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7547 w 10000"/>
                <a:gd name="connsiteY207" fmla="*/ 682 h 10000"/>
                <a:gd name="connsiteX208" fmla="*/ 7377 w 10000"/>
                <a:gd name="connsiteY208" fmla="*/ 560 h 10000"/>
                <a:gd name="connsiteX209" fmla="*/ 7012 w 10000"/>
                <a:gd name="connsiteY209" fmla="*/ 590 h 10000"/>
                <a:gd name="connsiteX210" fmla="*/ 6413 w 10000"/>
                <a:gd name="connsiteY210" fmla="*/ 332 h 10000"/>
                <a:gd name="connsiteX211" fmla="*/ 5098 w 10000"/>
                <a:gd name="connsiteY211" fmla="*/ 0 h 10000"/>
                <a:gd name="connsiteX212" fmla="*/ 4837 w 10000"/>
                <a:gd name="connsiteY212" fmla="*/ 82 h 10000"/>
                <a:gd name="connsiteX213" fmla="*/ 4671 w 10000"/>
                <a:gd name="connsiteY213" fmla="*/ 78 h 10000"/>
                <a:gd name="connsiteX214" fmla="*/ 4571 w 10000"/>
                <a:gd name="connsiteY214" fmla="*/ 107 h 10000"/>
                <a:gd name="connsiteX215" fmla="*/ 4298 w 10000"/>
                <a:gd name="connsiteY215" fmla="*/ 913 h 10000"/>
                <a:gd name="connsiteX216" fmla="*/ 3668 w 10000"/>
                <a:gd name="connsiteY216" fmla="*/ 1383 h 10000"/>
                <a:gd name="connsiteX217" fmla="*/ 3672 w 10000"/>
                <a:gd name="connsiteY217" fmla="*/ 1457 h 10000"/>
                <a:gd name="connsiteX218" fmla="*/ 3952 w 10000"/>
                <a:gd name="connsiteY218" fmla="*/ 1668 h 10000"/>
                <a:gd name="connsiteX219" fmla="*/ 3861 w 10000"/>
                <a:gd name="connsiteY219" fmla="*/ 1896 h 10000"/>
                <a:gd name="connsiteX220" fmla="*/ 3698 w 10000"/>
                <a:gd name="connsiteY220" fmla="*/ 1979 h 10000"/>
                <a:gd name="connsiteX221" fmla="*/ 3208 w 10000"/>
                <a:gd name="connsiteY221" fmla="*/ 1924 h 10000"/>
                <a:gd name="connsiteX222" fmla="*/ 2871 w 10000"/>
                <a:gd name="connsiteY222" fmla="*/ 1955 h 10000"/>
                <a:gd name="connsiteX223" fmla="*/ 2601 w 10000"/>
                <a:gd name="connsiteY223" fmla="*/ 2023 h 10000"/>
                <a:gd name="connsiteX224" fmla="*/ 2163 w 10000"/>
                <a:gd name="connsiteY224" fmla="*/ 2233 h 10000"/>
                <a:gd name="connsiteX225" fmla="*/ 1931 w 10000"/>
                <a:gd name="connsiteY225" fmla="*/ 2487 h 10000"/>
                <a:gd name="connsiteX226" fmla="*/ 1951 w 10000"/>
                <a:gd name="connsiteY226" fmla="*/ 2629 h 10000"/>
                <a:gd name="connsiteX227" fmla="*/ 2032 w 10000"/>
                <a:gd name="connsiteY227" fmla="*/ 2738 h 10000"/>
                <a:gd name="connsiteX228" fmla="*/ 2093 w 10000"/>
                <a:gd name="connsiteY228" fmla="*/ 2782 h 10000"/>
                <a:gd name="connsiteX229" fmla="*/ 1979 w 10000"/>
                <a:gd name="connsiteY229" fmla="*/ 2852 h 10000"/>
                <a:gd name="connsiteX230" fmla="*/ 1731 w 10000"/>
                <a:gd name="connsiteY230" fmla="*/ 3330 h 10000"/>
                <a:gd name="connsiteX231" fmla="*/ 1779 w 10000"/>
                <a:gd name="connsiteY231" fmla="*/ 3358 h 10000"/>
                <a:gd name="connsiteX232" fmla="*/ 1815 w 10000"/>
                <a:gd name="connsiteY232" fmla="*/ 3479 h 10000"/>
                <a:gd name="connsiteX233" fmla="*/ 1700 w 10000"/>
                <a:gd name="connsiteY233" fmla="*/ 3982 h 10000"/>
                <a:gd name="connsiteX234" fmla="*/ 1815 w 10000"/>
                <a:gd name="connsiteY234" fmla="*/ 4110 h 10000"/>
                <a:gd name="connsiteX235" fmla="*/ 2131 w 10000"/>
                <a:gd name="connsiteY235" fmla="*/ 4251 h 10000"/>
                <a:gd name="connsiteX236" fmla="*/ 2145 w 10000"/>
                <a:gd name="connsiteY236" fmla="*/ 4423 h 10000"/>
                <a:gd name="connsiteX237" fmla="*/ 2010 w 10000"/>
                <a:gd name="connsiteY237" fmla="*/ 4566 h 10000"/>
                <a:gd name="connsiteX238" fmla="*/ 1815 w 10000"/>
                <a:gd name="connsiteY238" fmla="*/ 4652 h 10000"/>
                <a:gd name="connsiteX239" fmla="*/ 1557 w 10000"/>
                <a:gd name="connsiteY239" fmla="*/ 4687 h 10000"/>
                <a:gd name="connsiteX240" fmla="*/ 1490 w 10000"/>
                <a:gd name="connsiteY240" fmla="*/ 4737 h 10000"/>
                <a:gd name="connsiteX241" fmla="*/ 1640 w 10000"/>
                <a:gd name="connsiteY241" fmla="*/ 4855 h 10000"/>
                <a:gd name="connsiteX242" fmla="*/ 1726 w 10000"/>
                <a:gd name="connsiteY242" fmla="*/ 5136 h 10000"/>
                <a:gd name="connsiteX243" fmla="*/ 1531 w 10000"/>
                <a:gd name="connsiteY243" fmla="*/ 5376 h 10000"/>
                <a:gd name="connsiteX244" fmla="*/ 1599 w 10000"/>
                <a:gd name="connsiteY244" fmla="*/ 5451 h 10000"/>
                <a:gd name="connsiteX245" fmla="*/ 1537 w 10000"/>
                <a:gd name="connsiteY245" fmla="*/ 5577 h 10000"/>
                <a:gd name="connsiteX246" fmla="*/ 1412 w 10000"/>
                <a:gd name="connsiteY246" fmla="*/ 5663 h 10000"/>
                <a:gd name="connsiteX247" fmla="*/ 915 w 10000"/>
                <a:gd name="connsiteY247" fmla="*/ 5730 h 10000"/>
                <a:gd name="connsiteX248" fmla="*/ 885 w 10000"/>
                <a:gd name="connsiteY248" fmla="*/ 5846 h 10000"/>
                <a:gd name="connsiteX249" fmla="*/ 617 w 10000"/>
                <a:gd name="connsiteY249" fmla="*/ 6019 h 10000"/>
                <a:gd name="connsiteX250" fmla="*/ 652 w 10000"/>
                <a:gd name="connsiteY250" fmla="*/ 6268 h 10000"/>
                <a:gd name="connsiteX251" fmla="*/ 427 w 10000"/>
                <a:gd name="connsiteY251" fmla="*/ 6587 h 10000"/>
                <a:gd name="connsiteX252" fmla="*/ 274 w 10000"/>
                <a:gd name="connsiteY252" fmla="*/ 6624 h 10000"/>
                <a:gd name="connsiteX253" fmla="*/ 210 w 10000"/>
                <a:gd name="connsiteY253" fmla="*/ 6548 h 10000"/>
                <a:gd name="connsiteX254" fmla="*/ 132 w 10000"/>
                <a:gd name="connsiteY254" fmla="*/ 6663 h 10000"/>
                <a:gd name="connsiteX255" fmla="*/ 183 w 10000"/>
                <a:gd name="connsiteY255" fmla="*/ 6465 h 10000"/>
                <a:gd name="connsiteX256" fmla="*/ 151 w 10000"/>
                <a:gd name="connsiteY256"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7497 w 10000"/>
                <a:gd name="connsiteY207" fmla="*/ 923 h 10000"/>
                <a:gd name="connsiteX208" fmla="*/ 7377 w 10000"/>
                <a:gd name="connsiteY208" fmla="*/ 560 h 10000"/>
                <a:gd name="connsiteX209" fmla="*/ 7012 w 10000"/>
                <a:gd name="connsiteY209" fmla="*/ 590 h 10000"/>
                <a:gd name="connsiteX210" fmla="*/ 6413 w 10000"/>
                <a:gd name="connsiteY210" fmla="*/ 332 h 10000"/>
                <a:gd name="connsiteX211" fmla="*/ 5098 w 10000"/>
                <a:gd name="connsiteY211" fmla="*/ 0 h 10000"/>
                <a:gd name="connsiteX212" fmla="*/ 4837 w 10000"/>
                <a:gd name="connsiteY212" fmla="*/ 82 h 10000"/>
                <a:gd name="connsiteX213" fmla="*/ 4671 w 10000"/>
                <a:gd name="connsiteY213" fmla="*/ 78 h 10000"/>
                <a:gd name="connsiteX214" fmla="*/ 4571 w 10000"/>
                <a:gd name="connsiteY214" fmla="*/ 107 h 10000"/>
                <a:gd name="connsiteX215" fmla="*/ 4298 w 10000"/>
                <a:gd name="connsiteY215" fmla="*/ 913 h 10000"/>
                <a:gd name="connsiteX216" fmla="*/ 3668 w 10000"/>
                <a:gd name="connsiteY216" fmla="*/ 1383 h 10000"/>
                <a:gd name="connsiteX217" fmla="*/ 3672 w 10000"/>
                <a:gd name="connsiteY217" fmla="*/ 1457 h 10000"/>
                <a:gd name="connsiteX218" fmla="*/ 3952 w 10000"/>
                <a:gd name="connsiteY218" fmla="*/ 1668 h 10000"/>
                <a:gd name="connsiteX219" fmla="*/ 3861 w 10000"/>
                <a:gd name="connsiteY219" fmla="*/ 1896 h 10000"/>
                <a:gd name="connsiteX220" fmla="*/ 3698 w 10000"/>
                <a:gd name="connsiteY220" fmla="*/ 1979 h 10000"/>
                <a:gd name="connsiteX221" fmla="*/ 3208 w 10000"/>
                <a:gd name="connsiteY221" fmla="*/ 1924 h 10000"/>
                <a:gd name="connsiteX222" fmla="*/ 2871 w 10000"/>
                <a:gd name="connsiteY222" fmla="*/ 1955 h 10000"/>
                <a:gd name="connsiteX223" fmla="*/ 2601 w 10000"/>
                <a:gd name="connsiteY223" fmla="*/ 2023 h 10000"/>
                <a:gd name="connsiteX224" fmla="*/ 2163 w 10000"/>
                <a:gd name="connsiteY224" fmla="*/ 2233 h 10000"/>
                <a:gd name="connsiteX225" fmla="*/ 1931 w 10000"/>
                <a:gd name="connsiteY225" fmla="*/ 2487 h 10000"/>
                <a:gd name="connsiteX226" fmla="*/ 1951 w 10000"/>
                <a:gd name="connsiteY226" fmla="*/ 2629 h 10000"/>
                <a:gd name="connsiteX227" fmla="*/ 2032 w 10000"/>
                <a:gd name="connsiteY227" fmla="*/ 2738 h 10000"/>
                <a:gd name="connsiteX228" fmla="*/ 2093 w 10000"/>
                <a:gd name="connsiteY228" fmla="*/ 2782 h 10000"/>
                <a:gd name="connsiteX229" fmla="*/ 1979 w 10000"/>
                <a:gd name="connsiteY229" fmla="*/ 2852 h 10000"/>
                <a:gd name="connsiteX230" fmla="*/ 1731 w 10000"/>
                <a:gd name="connsiteY230" fmla="*/ 3330 h 10000"/>
                <a:gd name="connsiteX231" fmla="*/ 1779 w 10000"/>
                <a:gd name="connsiteY231" fmla="*/ 3358 h 10000"/>
                <a:gd name="connsiteX232" fmla="*/ 1815 w 10000"/>
                <a:gd name="connsiteY232" fmla="*/ 3479 h 10000"/>
                <a:gd name="connsiteX233" fmla="*/ 1700 w 10000"/>
                <a:gd name="connsiteY233" fmla="*/ 3982 h 10000"/>
                <a:gd name="connsiteX234" fmla="*/ 1815 w 10000"/>
                <a:gd name="connsiteY234" fmla="*/ 4110 h 10000"/>
                <a:gd name="connsiteX235" fmla="*/ 2131 w 10000"/>
                <a:gd name="connsiteY235" fmla="*/ 4251 h 10000"/>
                <a:gd name="connsiteX236" fmla="*/ 2145 w 10000"/>
                <a:gd name="connsiteY236" fmla="*/ 4423 h 10000"/>
                <a:gd name="connsiteX237" fmla="*/ 2010 w 10000"/>
                <a:gd name="connsiteY237" fmla="*/ 4566 h 10000"/>
                <a:gd name="connsiteX238" fmla="*/ 1815 w 10000"/>
                <a:gd name="connsiteY238" fmla="*/ 4652 h 10000"/>
                <a:gd name="connsiteX239" fmla="*/ 1557 w 10000"/>
                <a:gd name="connsiteY239" fmla="*/ 4687 h 10000"/>
                <a:gd name="connsiteX240" fmla="*/ 1490 w 10000"/>
                <a:gd name="connsiteY240" fmla="*/ 4737 h 10000"/>
                <a:gd name="connsiteX241" fmla="*/ 1640 w 10000"/>
                <a:gd name="connsiteY241" fmla="*/ 4855 h 10000"/>
                <a:gd name="connsiteX242" fmla="*/ 1726 w 10000"/>
                <a:gd name="connsiteY242" fmla="*/ 5136 h 10000"/>
                <a:gd name="connsiteX243" fmla="*/ 1531 w 10000"/>
                <a:gd name="connsiteY243" fmla="*/ 5376 h 10000"/>
                <a:gd name="connsiteX244" fmla="*/ 1599 w 10000"/>
                <a:gd name="connsiteY244" fmla="*/ 5451 h 10000"/>
                <a:gd name="connsiteX245" fmla="*/ 1537 w 10000"/>
                <a:gd name="connsiteY245" fmla="*/ 5577 h 10000"/>
                <a:gd name="connsiteX246" fmla="*/ 1412 w 10000"/>
                <a:gd name="connsiteY246" fmla="*/ 5663 h 10000"/>
                <a:gd name="connsiteX247" fmla="*/ 915 w 10000"/>
                <a:gd name="connsiteY247" fmla="*/ 5730 h 10000"/>
                <a:gd name="connsiteX248" fmla="*/ 885 w 10000"/>
                <a:gd name="connsiteY248" fmla="*/ 5846 h 10000"/>
                <a:gd name="connsiteX249" fmla="*/ 617 w 10000"/>
                <a:gd name="connsiteY249" fmla="*/ 6019 h 10000"/>
                <a:gd name="connsiteX250" fmla="*/ 652 w 10000"/>
                <a:gd name="connsiteY250" fmla="*/ 6268 h 10000"/>
                <a:gd name="connsiteX251" fmla="*/ 427 w 10000"/>
                <a:gd name="connsiteY251" fmla="*/ 6587 h 10000"/>
                <a:gd name="connsiteX252" fmla="*/ 274 w 10000"/>
                <a:gd name="connsiteY252" fmla="*/ 6624 h 10000"/>
                <a:gd name="connsiteX253" fmla="*/ 210 w 10000"/>
                <a:gd name="connsiteY253" fmla="*/ 6548 h 10000"/>
                <a:gd name="connsiteX254" fmla="*/ 132 w 10000"/>
                <a:gd name="connsiteY254" fmla="*/ 6663 h 10000"/>
                <a:gd name="connsiteX255" fmla="*/ 183 w 10000"/>
                <a:gd name="connsiteY255" fmla="*/ 6465 h 10000"/>
                <a:gd name="connsiteX256" fmla="*/ 151 w 10000"/>
                <a:gd name="connsiteY256"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7890 w 10000"/>
                <a:gd name="connsiteY207" fmla="*/ 1074 h 10000"/>
                <a:gd name="connsiteX208" fmla="*/ 7497 w 10000"/>
                <a:gd name="connsiteY208" fmla="*/ 923 h 10000"/>
                <a:gd name="connsiteX209" fmla="*/ 7377 w 10000"/>
                <a:gd name="connsiteY209" fmla="*/ 560 h 10000"/>
                <a:gd name="connsiteX210" fmla="*/ 7012 w 10000"/>
                <a:gd name="connsiteY210" fmla="*/ 590 h 10000"/>
                <a:gd name="connsiteX211" fmla="*/ 6413 w 10000"/>
                <a:gd name="connsiteY211" fmla="*/ 332 h 10000"/>
                <a:gd name="connsiteX212" fmla="*/ 5098 w 10000"/>
                <a:gd name="connsiteY212" fmla="*/ 0 h 10000"/>
                <a:gd name="connsiteX213" fmla="*/ 4837 w 10000"/>
                <a:gd name="connsiteY213" fmla="*/ 82 h 10000"/>
                <a:gd name="connsiteX214" fmla="*/ 4671 w 10000"/>
                <a:gd name="connsiteY214" fmla="*/ 78 h 10000"/>
                <a:gd name="connsiteX215" fmla="*/ 4571 w 10000"/>
                <a:gd name="connsiteY215" fmla="*/ 107 h 10000"/>
                <a:gd name="connsiteX216" fmla="*/ 4298 w 10000"/>
                <a:gd name="connsiteY216" fmla="*/ 913 h 10000"/>
                <a:gd name="connsiteX217" fmla="*/ 3668 w 10000"/>
                <a:gd name="connsiteY217" fmla="*/ 1383 h 10000"/>
                <a:gd name="connsiteX218" fmla="*/ 3672 w 10000"/>
                <a:gd name="connsiteY218" fmla="*/ 1457 h 10000"/>
                <a:gd name="connsiteX219" fmla="*/ 3952 w 10000"/>
                <a:gd name="connsiteY219" fmla="*/ 1668 h 10000"/>
                <a:gd name="connsiteX220" fmla="*/ 3861 w 10000"/>
                <a:gd name="connsiteY220" fmla="*/ 1896 h 10000"/>
                <a:gd name="connsiteX221" fmla="*/ 3698 w 10000"/>
                <a:gd name="connsiteY221" fmla="*/ 1979 h 10000"/>
                <a:gd name="connsiteX222" fmla="*/ 3208 w 10000"/>
                <a:gd name="connsiteY222" fmla="*/ 1924 h 10000"/>
                <a:gd name="connsiteX223" fmla="*/ 2871 w 10000"/>
                <a:gd name="connsiteY223" fmla="*/ 1955 h 10000"/>
                <a:gd name="connsiteX224" fmla="*/ 2601 w 10000"/>
                <a:gd name="connsiteY224" fmla="*/ 2023 h 10000"/>
                <a:gd name="connsiteX225" fmla="*/ 2163 w 10000"/>
                <a:gd name="connsiteY225" fmla="*/ 2233 h 10000"/>
                <a:gd name="connsiteX226" fmla="*/ 1931 w 10000"/>
                <a:gd name="connsiteY226" fmla="*/ 2487 h 10000"/>
                <a:gd name="connsiteX227" fmla="*/ 1951 w 10000"/>
                <a:gd name="connsiteY227" fmla="*/ 2629 h 10000"/>
                <a:gd name="connsiteX228" fmla="*/ 2032 w 10000"/>
                <a:gd name="connsiteY228" fmla="*/ 2738 h 10000"/>
                <a:gd name="connsiteX229" fmla="*/ 2093 w 10000"/>
                <a:gd name="connsiteY229" fmla="*/ 2782 h 10000"/>
                <a:gd name="connsiteX230" fmla="*/ 1979 w 10000"/>
                <a:gd name="connsiteY230" fmla="*/ 2852 h 10000"/>
                <a:gd name="connsiteX231" fmla="*/ 1731 w 10000"/>
                <a:gd name="connsiteY231" fmla="*/ 3330 h 10000"/>
                <a:gd name="connsiteX232" fmla="*/ 1779 w 10000"/>
                <a:gd name="connsiteY232" fmla="*/ 3358 h 10000"/>
                <a:gd name="connsiteX233" fmla="*/ 1815 w 10000"/>
                <a:gd name="connsiteY233" fmla="*/ 3479 h 10000"/>
                <a:gd name="connsiteX234" fmla="*/ 1700 w 10000"/>
                <a:gd name="connsiteY234" fmla="*/ 3982 h 10000"/>
                <a:gd name="connsiteX235" fmla="*/ 1815 w 10000"/>
                <a:gd name="connsiteY235" fmla="*/ 4110 h 10000"/>
                <a:gd name="connsiteX236" fmla="*/ 2131 w 10000"/>
                <a:gd name="connsiteY236" fmla="*/ 4251 h 10000"/>
                <a:gd name="connsiteX237" fmla="*/ 2145 w 10000"/>
                <a:gd name="connsiteY237" fmla="*/ 4423 h 10000"/>
                <a:gd name="connsiteX238" fmla="*/ 2010 w 10000"/>
                <a:gd name="connsiteY238" fmla="*/ 4566 h 10000"/>
                <a:gd name="connsiteX239" fmla="*/ 1815 w 10000"/>
                <a:gd name="connsiteY239" fmla="*/ 4652 h 10000"/>
                <a:gd name="connsiteX240" fmla="*/ 1557 w 10000"/>
                <a:gd name="connsiteY240" fmla="*/ 4687 h 10000"/>
                <a:gd name="connsiteX241" fmla="*/ 1490 w 10000"/>
                <a:gd name="connsiteY241" fmla="*/ 4737 h 10000"/>
                <a:gd name="connsiteX242" fmla="*/ 1640 w 10000"/>
                <a:gd name="connsiteY242" fmla="*/ 4855 h 10000"/>
                <a:gd name="connsiteX243" fmla="*/ 1726 w 10000"/>
                <a:gd name="connsiteY243" fmla="*/ 5136 h 10000"/>
                <a:gd name="connsiteX244" fmla="*/ 1531 w 10000"/>
                <a:gd name="connsiteY244" fmla="*/ 5376 h 10000"/>
                <a:gd name="connsiteX245" fmla="*/ 1599 w 10000"/>
                <a:gd name="connsiteY245" fmla="*/ 5451 h 10000"/>
                <a:gd name="connsiteX246" fmla="*/ 1537 w 10000"/>
                <a:gd name="connsiteY246" fmla="*/ 5577 h 10000"/>
                <a:gd name="connsiteX247" fmla="*/ 1412 w 10000"/>
                <a:gd name="connsiteY247" fmla="*/ 5663 h 10000"/>
                <a:gd name="connsiteX248" fmla="*/ 915 w 10000"/>
                <a:gd name="connsiteY248" fmla="*/ 5730 h 10000"/>
                <a:gd name="connsiteX249" fmla="*/ 885 w 10000"/>
                <a:gd name="connsiteY249" fmla="*/ 5846 h 10000"/>
                <a:gd name="connsiteX250" fmla="*/ 617 w 10000"/>
                <a:gd name="connsiteY250" fmla="*/ 6019 h 10000"/>
                <a:gd name="connsiteX251" fmla="*/ 652 w 10000"/>
                <a:gd name="connsiteY251" fmla="*/ 6268 h 10000"/>
                <a:gd name="connsiteX252" fmla="*/ 427 w 10000"/>
                <a:gd name="connsiteY252" fmla="*/ 6587 h 10000"/>
                <a:gd name="connsiteX253" fmla="*/ 274 w 10000"/>
                <a:gd name="connsiteY253" fmla="*/ 6624 h 10000"/>
                <a:gd name="connsiteX254" fmla="*/ 210 w 10000"/>
                <a:gd name="connsiteY254" fmla="*/ 6548 h 10000"/>
                <a:gd name="connsiteX255" fmla="*/ 132 w 10000"/>
                <a:gd name="connsiteY255" fmla="*/ 6663 h 10000"/>
                <a:gd name="connsiteX256" fmla="*/ 183 w 10000"/>
                <a:gd name="connsiteY256" fmla="*/ 6465 h 10000"/>
                <a:gd name="connsiteX257" fmla="*/ 151 w 10000"/>
                <a:gd name="connsiteY257"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8631 w 10000"/>
                <a:gd name="connsiteY207" fmla="*/ 1274 h 10000"/>
                <a:gd name="connsiteX208" fmla="*/ 7497 w 10000"/>
                <a:gd name="connsiteY208" fmla="*/ 923 h 10000"/>
                <a:gd name="connsiteX209" fmla="*/ 7377 w 10000"/>
                <a:gd name="connsiteY209" fmla="*/ 560 h 10000"/>
                <a:gd name="connsiteX210" fmla="*/ 7012 w 10000"/>
                <a:gd name="connsiteY210" fmla="*/ 590 h 10000"/>
                <a:gd name="connsiteX211" fmla="*/ 6413 w 10000"/>
                <a:gd name="connsiteY211" fmla="*/ 332 h 10000"/>
                <a:gd name="connsiteX212" fmla="*/ 5098 w 10000"/>
                <a:gd name="connsiteY212" fmla="*/ 0 h 10000"/>
                <a:gd name="connsiteX213" fmla="*/ 4837 w 10000"/>
                <a:gd name="connsiteY213" fmla="*/ 82 h 10000"/>
                <a:gd name="connsiteX214" fmla="*/ 4671 w 10000"/>
                <a:gd name="connsiteY214" fmla="*/ 78 h 10000"/>
                <a:gd name="connsiteX215" fmla="*/ 4571 w 10000"/>
                <a:gd name="connsiteY215" fmla="*/ 107 h 10000"/>
                <a:gd name="connsiteX216" fmla="*/ 4298 w 10000"/>
                <a:gd name="connsiteY216" fmla="*/ 913 h 10000"/>
                <a:gd name="connsiteX217" fmla="*/ 3668 w 10000"/>
                <a:gd name="connsiteY217" fmla="*/ 1383 h 10000"/>
                <a:gd name="connsiteX218" fmla="*/ 3672 w 10000"/>
                <a:gd name="connsiteY218" fmla="*/ 1457 h 10000"/>
                <a:gd name="connsiteX219" fmla="*/ 3952 w 10000"/>
                <a:gd name="connsiteY219" fmla="*/ 1668 h 10000"/>
                <a:gd name="connsiteX220" fmla="*/ 3861 w 10000"/>
                <a:gd name="connsiteY220" fmla="*/ 1896 h 10000"/>
                <a:gd name="connsiteX221" fmla="*/ 3698 w 10000"/>
                <a:gd name="connsiteY221" fmla="*/ 1979 h 10000"/>
                <a:gd name="connsiteX222" fmla="*/ 3208 w 10000"/>
                <a:gd name="connsiteY222" fmla="*/ 1924 h 10000"/>
                <a:gd name="connsiteX223" fmla="*/ 2871 w 10000"/>
                <a:gd name="connsiteY223" fmla="*/ 1955 h 10000"/>
                <a:gd name="connsiteX224" fmla="*/ 2601 w 10000"/>
                <a:gd name="connsiteY224" fmla="*/ 2023 h 10000"/>
                <a:gd name="connsiteX225" fmla="*/ 2163 w 10000"/>
                <a:gd name="connsiteY225" fmla="*/ 2233 h 10000"/>
                <a:gd name="connsiteX226" fmla="*/ 1931 w 10000"/>
                <a:gd name="connsiteY226" fmla="*/ 2487 h 10000"/>
                <a:gd name="connsiteX227" fmla="*/ 1951 w 10000"/>
                <a:gd name="connsiteY227" fmla="*/ 2629 h 10000"/>
                <a:gd name="connsiteX228" fmla="*/ 2032 w 10000"/>
                <a:gd name="connsiteY228" fmla="*/ 2738 h 10000"/>
                <a:gd name="connsiteX229" fmla="*/ 2093 w 10000"/>
                <a:gd name="connsiteY229" fmla="*/ 2782 h 10000"/>
                <a:gd name="connsiteX230" fmla="*/ 1979 w 10000"/>
                <a:gd name="connsiteY230" fmla="*/ 2852 h 10000"/>
                <a:gd name="connsiteX231" fmla="*/ 1731 w 10000"/>
                <a:gd name="connsiteY231" fmla="*/ 3330 h 10000"/>
                <a:gd name="connsiteX232" fmla="*/ 1779 w 10000"/>
                <a:gd name="connsiteY232" fmla="*/ 3358 h 10000"/>
                <a:gd name="connsiteX233" fmla="*/ 1815 w 10000"/>
                <a:gd name="connsiteY233" fmla="*/ 3479 h 10000"/>
                <a:gd name="connsiteX234" fmla="*/ 1700 w 10000"/>
                <a:gd name="connsiteY234" fmla="*/ 3982 h 10000"/>
                <a:gd name="connsiteX235" fmla="*/ 1815 w 10000"/>
                <a:gd name="connsiteY235" fmla="*/ 4110 h 10000"/>
                <a:gd name="connsiteX236" fmla="*/ 2131 w 10000"/>
                <a:gd name="connsiteY236" fmla="*/ 4251 h 10000"/>
                <a:gd name="connsiteX237" fmla="*/ 2145 w 10000"/>
                <a:gd name="connsiteY237" fmla="*/ 4423 h 10000"/>
                <a:gd name="connsiteX238" fmla="*/ 2010 w 10000"/>
                <a:gd name="connsiteY238" fmla="*/ 4566 h 10000"/>
                <a:gd name="connsiteX239" fmla="*/ 1815 w 10000"/>
                <a:gd name="connsiteY239" fmla="*/ 4652 h 10000"/>
                <a:gd name="connsiteX240" fmla="*/ 1557 w 10000"/>
                <a:gd name="connsiteY240" fmla="*/ 4687 h 10000"/>
                <a:gd name="connsiteX241" fmla="*/ 1490 w 10000"/>
                <a:gd name="connsiteY241" fmla="*/ 4737 h 10000"/>
                <a:gd name="connsiteX242" fmla="*/ 1640 w 10000"/>
                <a:gd name="connsiteY242" fmla="*/ 4855 h 10000"/>
                <a:gd name="connsiteX243" fmla="*/ 1726 w 10000"/>
                <a:gd name="connsiteY243" fmla="*/ 5136 h 10000"/>
                <a:gd name="connsiteX244" fmla="*/ 1531 w 10000"/>
                <a:gd name="connsiteY244" fmla="*/ 5376 h 10000"/>
                <a:gd name="connsiteX245" fmla="*/ 1599 w 10000"/>
                <a:gd name="connsiteY245" fmla="*/ 5451 h 10000"/>
                <a:gd name="connsiteX246" fmla="*/ 1537 w 10000"/>
                <a:gd name="connsiteY246" fmla="*/ 5577 h 10000"/>
                <a:gd name="connsiteX247" fmla="*/ 1412 w 10000"/>
                <a:gd name="connsiteY247" fmla="*/ 5663 h 10000"/>
                <a:gd name="connsiteX248" fmla="*/ 915 w 10000"/>
                <a:gd name="connsiteY248" fmla="*/ 5730 h 10000"/>
                <a:gd name="connsiteX249" fmla="*/ 885 w 10000"/>
                <a:gd name="connsiteY249" fmla="*/ 5846 h 10000"/>
                <a:gd name="connsiteX250" fmla="*/ 617 w 10000"/>
                <a:gd name="connsiteY250" fmla="*/ 6019 h 10000"/>
                <a:gd name="connsiteX251" fmla="*/ 652 w 10000"/>
                <a:gd name="connsiteY251" fmla="*/ 6268 h 10000"/>
                <a:gd name="connsiteX252" fmla="*/ 427 w 10000"/>
                <a:gd name="connsiteY252" fmla="*/ 6587 h 10000"/>
                <a:gd name="connsiteX253" fmla="*/ 274 w 10000"/>
                <a:gd name="connsiteY253" fmla="*/ 6624 h 10000"/>
                <a:gd name="connsiteX254" fmla="*/ 210 w 10000"/>
                <a:gd name="connsiteY254" fmla="*/ 6548 h 10000"/>
                <a:gd name="connsiteX255" fmla="*/ 132 w 10000"/>
                <a:gd name="connsiteY255" fmla="*/ 6663 h 10000"/>
                <a:gd name="connsiteX256" fmla="*/ 183 w 10000"/>
                <a:gd name="connsiteY256" fmla="*/ 6465 h 10000"/>
                <a:gd name="connsiteX257" fmla="*/ 151 w 10000"/>
                <a:gd name="connsiteY257"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8631 w 10000"/>
                <a:gd name="connsiteY207" fmla="*/ 1274 h 10000"/>
                <a:gd name="connsiteX208" fmla="*/ 9237 w 10000"/>
                <a:gd name="connsiteY208" fmla="*/ 1500 h 10000"/>
                <a:gd name="connsiteX209" fmla="*/ 7497 w 10000"/>
                <a:gd name="connsiteY209" fmla="*/ 923 h 10000"/>
                <a:gd name="connsiteX210" fmla="*/ 7377 w 10000"/>
                <a:gd name="connsiteY210" fmla="*/ 560 h 10000"/>
                <a:gd name="connsiteX211" fmla="*/ 7012 w 10000"/>
                <a:gd name="connsiteY211" fmla="*/ 590 h 10000"/>
                <a:gd name="connsiteX212" fmla="*/ 6413 w 10000"/>
                <a:gd name="connsiteY212" fmla="*/ 332 h 10000"/>
                <a:gd name="connsiteX213" fmla="*/ 5098 w 10000"/>
                <a:gd name="connsiteY213" fmla="*/ 0 h 10000"/>
                <a:gd name="connsiteX214" fmla="*/ 4837 w 10000"/>
                <a:gd name="connsiteY214" fmla="*/ 82 h 10000"/>
                <a:gd name="connsiteX215" fmla="*/ 4671 w 10000"/>
                <a:gd name="connsiteY215" fmla="*/ 78 h 10000"/>
                <a:gd name="connsiteX216" fmla="*/ 4571 w 10000"/>
                <a:gd name="connsiteY216" fmla="*/ 107 h 10000"/>
                <a:gd name="connsiteX217" fmla="*/ 4298 w 10000"/>
                <a:gd name="connsiteY217" fmla="*/ 913 h 10000"/>
                <a:gd name="connsiteX218" fmla="*/ 3668 w 10000"/>
                <a:gd name="connsiteY218" fmla="*/ 1383 h 10000"/>
                <a:gd name="connsiteX219" fmla="*/ 3672 w 10000"/>
                <a:gd name="connsiteY219" fmla="*/ 1457 h 10000"/>
                <a:gd name="connsiteX220" fmla="*/ 3952 w 10000"/>
                <a:gd name="connsiteY220" fmla="*/ 1668 h 10000"/>
                <a:gd name="connsiteX221" fmla="*/ 3861 w 10000"/>
                <a:gd name="connsiteY221" fmla="*/ 1896 h 10000"/>
                <a:gd name="connsiteX222" fmla="*/ 3698 w 10000"/>
                <a:gd name="connsiteY222" fmla="*/ 1979 h 10000"/>
                <a:gd name="connsiteX223" fmla="*/ 3208 w 10000"/>
                <a:gd name="connsiteY223" fmla="*/ 1924 h 10000"/>
                <a:gd name="connsiteX224" fmla="*/ 2871 w 10000"/>
                <a:gd name="connsiteY224" fmla="*/ 1955 h 10000"/>
                <a:gd name="connsiteX225" fmla="*/ 2601 w 10000"/>
                <a:gd name="connsiteY225" fmla="*/ 2023 h 10000"/>
                <a:gd name="connsiteX226" fmla="*/ 2163 w 10000"/>
                <a:gd name="connsiteY226" fmla="*/ 2233 h 10000"/>
                <a:gd name="connsiteX227" fmla="*/ 1931 w 10000"/>
                <a:gd name="connsiteY227" fmla="*/ 2487 h 10000"/>
                <a:gd name="connsiteX228" fmla="*/ 1951 w 10000"/>
                <a:gd name="connsiteY228" fmla="*/ 2629 h 10000"/>
                <a:gd name="connsiteX229" fmla="*/ 2032 w 10000"/>
                <a:gd name="connsiteY229" fmla="*/ 2738 h 10000"/>
                <a:gd name="connsiteX230" fmla="*/ 2093 w 10000"/>
                <a:gd name="connsiteY230" fmla="*/ 2782 h 10000"/>
                <a:gd name="connsiteX231" fmla="*/ 1979 w 10000"/>
                <a:gd name="connsiteY231" fmla="*/ 2852 h 10000"/>
                <a:gd name="connsiteX232" fmla="*/ 1731 w 10000"/>
                <a:gd name="connsiteY232" fmla="*/ 3330 h 10000"/>
                <a:gd name="connsiteX233" fmla="*/ 1779 w 10000"/>
                <a:gd name="connsiteY233" fmla="*/ 3358 h 10000"/>
                <a:gd name="connsiteX234" fmla="*/ 1815 w 10000"/>
                <a:gd name="connsiteY234" fmla="*/ 3479 h 10000"/>
                <a:gd name="connsiteX235" fmla="*/ 1700 w 10000"/>
                <a:gd name="connsiteY235" fmla="*/ 3982 h 10000"/>
                <a:gd name="connsiteX236" fmla="*/ 1815 w 10000"/>
                <a:gd name="connsiteY236" fmla="*/ 4110 h 10000"/>
                <a:gd name="connsiteX237" fmla="*/ 2131 w 10000"/>
                <a:gd name="connsiteY237" fmla="*/ 4251 h 10000"/>
                <a:gd name="connsiteX238" fmla="*/ 2145 w 10000"/>
                <a:gd name="connsiteY238" fmla="*/ 4423 h 10000"/>
                <a:gd name="connsiteX239" fmla="*/ 2010 w 10000"/>
                <a:gd name="connsiteY239" fmla="*/ 4566 h 10000"/>
                <a:gd name="connsiteX240" fmla="*/ 1815 w 10000"/>
                <a:gd name="connsiteY240" fmla="*/ 4652 h 10000"/>
                <a:gd name="connsiteX241" fmla="*/ 1557 w 10000"/>
                <a:gd name="connsiteY241" fmla="*/ 4687 h 10000"/>
                <a:gd name="connsiteX242" fmla="*/ 1490 w 10000"/>
                <a:gd name="connsiteY242" fmla="*/ 4737 h 10000"/>
                <a:gd name="connsiteX243" fmla="*/ 1640 w 10000"/>
                <a:gd name="connsiteY243" fmla="*/ 4855 h 10000"/>
                <a:gd name="connsiteX244" fmla="*/ 1726 w 10000"/>
                <a:gd name="connsiteY244" fmla="*/ 5136 h 10000"/>
                <a:gd name="connsiteX245" fmla="*/ 1531 w 10000"/>
                <a:gd name="connsiteY245" fmla="*/ 5376 h 10000"/>
                <a:gd name="connsiteX246" fmla="*/ 1599 w 10000"/>
                <a:gd name="connsiteY246" fmla="*/ 5451 h 10000"/>
                <a:gd name="connsiteX247" fmla="*/ 1537 w 10000"/>
                <a:gd name="connsiteY247" fmla="*/ 5577 h 10000"/>
                <a:gd name="connsiteX248" fmla="*/ 1412 w 10000"/>
                <a:gd name="connsiteY248" fmla="*/ 5663 h 10000"/>
                <a:gd name="connsiteX249" fmla="*/ 915 w 10000"/>
                <a:gd name="connsiteY249" fmla="*/ 5730 h 10000"/>
                <a:gd name="connsiteX250" fmla="*/ 885 w 10000"/>
                <a:gd name="connsiteY250" fmla="*/ 5846 h 10000"/>
                <a:gd name="connsiteX251" fmla="*/ 617 w 10000"/>
                <a:gd name="connsiteY251" fmla="*/ 6019 h 10000"/>
                <a:gd name="connsiteX252" fmla="*/ 652 w 10000"/>
                <a:gd name="connsiteY252" fmla="*/ 6268 h 10000"/>
                <a:gd name="connsiteX253" fmla="*/ 427 w 10000"/>
                <a:gd name="connsiteY253" fmla="*/ 6587 h 10000"/>
                <a:gd name="connsiteX254" fmla="*/ 274 w 10000"/>
                <a:gd name="connsiteY254" fmla="*/ 6624 h 10000"/>
                <a:gd name="connsiteX255" fmla="*/ 210 w 10000"/>
                <a:gd name="connsiteY255" fmla="*/ 6548 h 10000"/>
                <a:gd name="connsiteX256" fmla="*/ 132 w 10000"/>
                <a:gd name="connsiteY256" fmla="*/ 6663 h 10000"/>
                <a:gd name="connsiteX257" fmla="*/ 183 w 10000"/>
                <a:gd name="connsiteY257" fmla="*/ 6465 h 10000"/>
                <a:gd name="connsiteX258" fmla="*/ 151 w 10000"/>
                <a:gd name="connsiteY258"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8631 w 10000"/>
                <a:gd name="connsiteY207" fmla="*/ 1274 h 10000"/>
                <a:gd name="connsiteX208" fmla="*/ 8068 w 10000"/>
                <a:gd name="connsiteY208" fmla="*/ 1164 h 10000"/>
                <a:gd name="connsiteX209" fmla="*/ 7497 w 10000"/>
                <a:gd name="connsiteY209" fmla="*/ 923 h 10000"/>
                <a:gd name="connsiteX210" fmla="*/ 7377 w 10000"/>
                <a:gd name="connsiteY210" fmla="*/ 560 h 10000"/>
                <a:gd name="connsiteX211" fmla="*/ 7012 w 10000"/>
                <a:gd name="connsiteY211" fmla="*/ 590 h 10000"/>
                <a:gd name="connsiteX212" fmla="*/ 6413 w 10000"/>
                <a:gd name="connsiteY212" fmla="*/ 332 h 10000"/>
                <a:gd name="connsiteX213" fmla="*/ 5098 w 10000"/>
                <a:gd name="connsiteY213" fmla="*/ 0 h 10000"/>
                <a:gd name="connsiteX214" fmla="*/ 4837 w 10000"/>
                <a:gd name="connsiteY214" fmla="*/ 82 h 10000"/>
                <a:gd name="connsiteX215" fmla="*/ 4671 w 10000"/>
                <a:gd name="connsiteY215" fmla="*/ 78 h 10000"/>
                <a:gd name="connsiteX216" fmla="*/ 4571 w 10000"/>
                <a:gd name="connsiteY216" fmla="*/ 107 h 10000"/>
                <a:gd name="connsiteX217" fmla="*/ 4298 w 10000"/>
                <a:gd name="connsiteY217" fmla="*/ 913 h 10000"/>
                <a:gd name="connsiteX218" fmla="*/ 3668 w 10000"/>
                <a:gd name="connsiteY218" fmla="*/ 1383 h 10000"/>
                <a:gd name="connsiteX219" fmla="*/ 3672 w 10000"/>
                <a:gd name="connsiteY219" fmla="*/ 1457 h 10000"/>
                <a:gd name="connsiteX220" fmla="*/ 3952 w 10000"/>
                <a:gd name="connsiteY220" fmla="*/ 1668 h 10000"/>
                <a:gd name="connsiteX221" fmla="*/ 3861 w 10000"/>
                <a:gd name="connsiteY221" fmla="*/ 1896 h 10000"/>
                <a:gd name="connsiteX222" fmla="*/ 3698 w 10000"/>
                <a:gd name="connsiteY222" fmla="*/ 1979 h 10000"/>
                <a:gd name="connsiteX223" fmla="*/ 3208 w 10000"/>
                <a:gd name="connsiteY223" fmla="*/ 1924 h 10000"/>
                <a:gd name="connsiteX224" fmla="*/ 2871 w 10000"/>
                <a:gd name="connsiteY224" fmla="*/ 1955 h 10000"/>
                <a:gd name="connsiteX225" fmla="*/ 2601 w 10000"/>
                <a:gd name="connsiteY225" fmla="*/ 2023 h 10000"/>
                <a:gd name="connsiteX226" fmla="*/ 2163 w 10000"/>
                <a:gd name="connsiteY226" fmla="*/ 2233 h 10000"/>
                <a:gd name="connsiteX227" fmla="*/ 1931 w 10000"/>
                <a:gd name="connsiteY227" fmla="*/ 2487 h 10000"/>
                <a:gd name="connsiteX228" fmla="*/ 1951 w 10000"/>
                <a:gd name="connsiteY228" fmla="*/ 2629 h 10000"/>
                <a:gd name="connsiteX229" fmla="*/ 2032 w 10000"/>
                <a:gd name="connsiteY229" fmla="*/ 2738 h 10000"/>
                <a:gd name="connsiteX230" fmla="*/ 2093 w 10000"/>
                <a:gd name="connsiteY230" fmla="*/ 2782 h 10000"/>
                <a:gd name="connsiteX231" fmla="*/ 1979 w 10000"/>
                <a:gd name="connsiteY231" fmla="*/ 2852 h 10000"/>
                <a:gd name="connsiteX232" fmla="*/ 1731 w 10000"/>
                <a:gd name="connsiteY232" fmla="*/ 3330 h 10000"/>
                <a:gd name="connsiteX233" fmla="*/ 1779 w 10000"/>
                <a:gd name="connsiteY233" fmla="*/ 3358 h 10000"/>
                <a:gd name="connsiteX234" fmla="*/ 1815 w 10000"/>
                <a:gd name="connsiteY234" fmla="*/ 3479 h 10000"/>
                <a:gd name="connsiteX235" fmla="*/ 1700 w 10000"/>
                <a:gd name="connsiteY235" fmla="*/ 3982 h 10000"/>
                <a:gd name="connsiteX236" fmla="*/ 1815 w 10000"/>
                <a:gd name="connsiteY236" fmla="*/ 4110 h 10000"/>
                <a:gd name="connsiteX237" fmla="*/ 2131 w 10000"/>
                <a:gd name="connsiteY237" fmla="*/ 4251 h 10000"/>
                <a:gd name="connsiteX238" fmla="*/ 2145 w 10000"/>
                <a:gd name="connsiteY238" fmla="*/ 4423 h 10000"/>
                <a:gd name="connsiteX239" fmla="*/ 2010 w 10000"/>
                <a:gd name="connsiteY239" fmla="*/ 4566 h 10000"/>
                <a:gd name="connsiteX240" fmla="*/ 1815 w 10000"/>
                <a:gd name="connsiteY240" fmla="*/ 4652 h 10000"/>
                <a:gd name="connsiteX241" fmla="*/ 1557 w 10000"/>
                <a:gd name="connsiteY241" fmla="*/ 4687 h 10000"/>
                <a:gd name="connsiteX242" fmla="*/ 1490 w 10000"/>
                <a:gd name="connsiteY242" fmla="*/ 4737 h 10000"/>
                <a:gd name="connsiteX243" fmla="*/ 1640 w 10000"/>
                <a:gd name="connsiteY243" fmla="*/ 4855 h 10000"/>
                <a:gd name="connsiteX244" fmla="*/ 1726 w 10000"/>
                <a:gd name="connsiteY244" fmla="*/ 5136 h 10000"/>
                <a:gd name="connsiteX245" fmla="*/ 1531 w 10000"/>
                <a:gd name="connsiteY245" fmla="*/ 5376 h 10000"/>
                <a:gd name="connsiteX246" fmla="*/ 1599 w 10000"/>
                <a:gd name="connsiteY246" fmla="*/ 5451 h 10000"/>
                <a:gd name="connsiteX247" fmla="*/ 1537 w 10000"/>
                <a:gd name="connsiteY247" fmla="*/ 5577 h 10000"/>
                <a:gd name="connsiteX248" fmla="*/ 1412 w 10000"/>
                <a:gd name="connsiteY248" fmla="*/ 5663 h 10000"/>
                <a:gd name="connsiteX249" fmla="*/ 915 w 10000"/>
                <a:gd name="connsiteY249" fmla="*/ 5730 h 10000"/>
                <a:gd name="connsiteX250" fmla="*/ 885 w 10000"/>
                <a:gd name="connsiteY250" fmla="*/ 5846 h 10000"/>
                <a:gd name="connsiteX251" fmla="*/ 617 w 10000"/>
                <a:gd name="connsiteY251" fmla="*/ 6019 h 10000"/>
                <a:gd name="connsiteX252" fmla="*/ 652 w 10000"/>
                <a:gd name="connsiteY252" fmla="*/ 6268 h 10000"/>
                <a:gd name="connsiteX253" fmla="*/ 427 w 10000"/>
                <a:gd name="connsiteY253" fmla="*/ 6587 h 10000"/>
                <a:gd name="connsiteX254" fmla="*/ 274 w 10000"/>
                <a:gd name="connsiteY254" fmla="*/ 6624 h 10000"/>
                <a:gd name="connsiteX255" fmla="*/ 210 w 10000"/>
                <a:gd name="connsiteY255" fmla="*/ 6548 h 10000"/>
                <a:gd name="connsiteX256" fmla="*/ 132 w 10000"/>
                <a:gd name="connsiteY256" fmla="*/ 6663 h 10000"/>
                <a:gd name="connsiteX257" fmla="*/ 183 w 10000"/>
                <a:gd name="connsiteY257" fmla="*/ 6465 h 10000"/>
                <a:gd name="connsiteX258" fmla="*/ 151 w 10000"/>
                <a:gd name="connsiteY258"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8126 w 10000"/>
                <a:gd name="connsiteY207" fmla="*/ 1671 h 10000"/>
                <a:gd name="connsiteX208" fmla="*/ 8068 w 10000"/>
                <a:gd name="connsiteY208" fmla="*/ 1164 h 10000"/>
                <a:gd name="connsiteX209" fmla="*/ 7497 w 10000"/>
                <a:gd name="connsiteY209" fmla="*/ 923 h 10000"/>
                <a:gd name="connsiteX210" fmla="*/ 7377 w 10000"/>
                <a:gd name="connsiteY210" fmla="*/ 560 h 10000"/>
                <a:gd name="connsiteX211" fmla="*/ 7012 w 10000"/>
                <a:gd name="connsiteY211" fmla="*/ 590 h 10000"/>
                <a:gd name="connsiteX212" fmla="*/ 6413 w 10000"/>
                <a:gd name="connsiteY212" fmla="*/ 332 h 10000"/>
                <a:gd name="connsiteX213" fmla="*/ 5098 w 10000"/>
                <a:gd name="connsiteY213" fmla="*/ 0 h 10000"/>
                <a:gd name="connsiteX214" fmla="*/ 4837 w 10000"/>
                <a:gd name="connsiteY214" fmla="*/ 82 h 10000"/>
                <a:gd name="connsiteX215" fmla="*/ 4671 w 10000"/>
                <a:gd name="connsiteY215" fmla="*/ 78 h 10000"/>
                <a:gd name="connsiteX216" fmla="*/ 4571 w 10000"/>
                <a:gd name="connsiteY216" fmla="*/ 107 h 10000"/>
                <a:gd name="connsiteX217" fmla="*/ 4298 w 10000"/>
                <a:gd name="connsiteY217" fmla="*/ 913 h 10000"/>
                <a:gd name="connsiteX218" fmla="*/ 3668 w 10000"/>
                <a:gd name="connsiteY218" fmla="*/ 1383 h 10000"/>
                <a:gd name="connsiteX219" fmla="*/ 3672 w 10000"/>
                <a:gd name="connsiteY219" fmla="*/ 1457 h 10000"/>
                <a:gd name="connsiteX220" fmla="*/ 3952 w 10000"/>
                <a:gd name="connsiteY220" fmla="*/ 1668 h 10000"/>
                <a:gd name="connsiteX221" fmla="*/ 3861 w 10000"/>
                <a:gd name="connsiteY221" fmla="*/ 1896 h 10000"/>
                <a:gd name="connsiteX222" fmla="*/ 3698 w 10000"/>
                <a:gd name="connsiteY222" fmla="*/ 1979 h 10000"/>
                <a:gd name="connsiteX223" fmla="*/ 3208 w 10000"/>
                <a:gd name="connsiteY223" fmla="*/ 1924 h 10000"/>
                <a:gd name="connsiteX224" fmla="*/ 2871 w 10000"/>
                <a:gd name="connsiteY224" fmla="*/ 1955 h 10000"/>
                <a:gd name="connsiteX225" fmla="*/ 2601 w 10000"/>
                <a:gd name="connsiteY225" fmla="*/ 2023 h 10000"/>
                <a:gd name="connsiteX226" fmla="*/ 2163 w 10000"/>
                <a:gd name="connsiteY226" fmla="*/ 2233 h 10000"/>
                <a:gd name="connsiteX227" fmla="*/ 1931 w 10000"/>
                <a:gd name="connsiteY227" fmla="*/ 2487 h 10000"/>
                <a:gd name="connsiteX228" fmla="*/ 1951 w 10000"/>
                <a:gd name="connsiteY228" fmla="*/ 2629 h 10000"/>
                <a:gd name="connsiteX229" fmla="*/ 2032 w 10000"/>
                <a:gd name="connsiteY229" fmla="*/ 2738 h 10000"/>
                <a:gd name="connsiteX230" fmla="*/ 2093 w 10000"/>
                <a:gd name="connsiteY230" fmla="*/ 2782 h 10000"/>
                <a:gd name="connsiteX231" fmla="*/ 1979 w 10000"/>
                <a:gd name="connsiteY231" fmla="*/ 2852 h 10000"/>
                <a:gd name="connsiteX232" fmla="*/ 1731 w 10000"/>
                <a:gd name="connsiteY232" fmla="*/ 3330 h 10000"/>
                <a:gd name="connsiteX233" fmla="*/ 1779 w 10000"/>
                <a:gd name="connsiteY233" fmla="*/ 3358 h 10000"/>
                <a:gd name="connsiteX234" fmla="*/ 1815 w 10000"/>
                <a:gd name="connsiteY234" fmla="*/ 3479 h 10000"/>
                <a:gd name="connsiteX235" fmla="*/ 1700 w 10000"/>
                <a:gd name="connsiteY235" fmla="*/ 3982 h 10000"/>
                <a:gd name="connsiteX236" fmla="*/ 1815 w 10000"/>
                <a:gd name="connsiteY236" fmla="*/ 4110 h 10000"/>
                <a:gd name="connsiteX237" fmla="*/ 2131 w 10000"/>
                <a:gd name="connsiteY237" fmla="*/ 4251 h 10000"/>
                <a:gd name="connsiteX238" fmla="*/ 2145 w 10000"/>
                <a:gd name="connsiteY238" fmla="*/ 4423 h 10000"/>
                <a:gd name="connsiteX239" fmla="*/ 2010 w 10000"/>
                <a:gd name="connsiteY239" fmla="*/ 4566 h 10000"/>
                <a:gd name="connsiteX240" fmla="*/ 1815 w 10000"/>
                <a:gd name="connsiteY240" fmla="*/ 4652 h 10000"/>
                <a:gd name="connsiteX241" fmla="*/ 1557 w 10000"/>
                <a:gd name="connsiteY241" fmla="*/ 4687 h 10000"/>
                <a:gd name="connsiteX242" fmla="*/ 1490 w 10000"/>
                <a:gd name="connsiteY242" fmla="*/ 4737 h 10000"/>
                <a:gd name="connsiteX243" fmla="*/ 1640 w 10000"/>
                <a:gd name="connsiteY243" fmla="*/ 4855 h 10000"/>
                <a:gd name="connsiteX244" fmla="*/ 1726 w 10000"/>
                <a:gd name="connsiteY244" fmla="*/ 5136 h 10000"/>
                <a:gd name="connsiteX245" fmla="*/ 1531 w 10000"/>
                <a:gd name="connsiteY245" fmla="*/ 5376 h 10000"/>
                <a:gd name="connsiteX246" fmla="*/ 1599 w 10000"/>
                <a:gd name="connsiteY246" fmla="*/ 5451 h 10000"/>
                <a:gd name="connsiteX247" fmla="*/ 1537 w 10000"/>
                <a:gd name="connsiteY247" fmla="*/ 5577 h 10000"/>
                <a:gd name="connsiteX248" fmla="*/ 1412 w 10000"/>
                <a:gd name="connsiteY248" fmla="*/ 5663 h 10000"/>
                <a:gd name="connsiteX249" fmla="*/ 915 w 10000"/>
                <a:gd name="connsiteY249" fmla="*/ 5730 h 10000"/>
                <a:gd name="connsiteX250" fmla="*/ 885 w 10000"/>
                <a:gd name="connsiteY250" fmla="*/ 5846 h 10000"/>
                <a:gd name="connsiteX251" fmla="*/ 617 w 10000"/>
                <a:gd name="connsiteY251" fmla="*/ 6019 h 10000"/>
                <a:gd name="connsiteX252" fmla="*/ 652 w 10000"/>
                <a:gd name="connsiteY252" fmla="*/ 6268 h 10000"/>
                <a:gd name="connsiteX253" fmla="*/ 427 w 10000"/>
                <a:gd name="connsiteY253" fmla="*/ 6587 h 10000"/>
                <a:gd name="connsiteX254" fmla="*/ 274 w 10000"/>
                <a:gd name="connsiteY254" fmla="*/ 6624 h 10000"/>
                <a:gd name="connsiteX255" fmla="*/ 210 w 10000"/>
                <a:gd name="connsiteY255" fmla="*/ 6548 h 10000"/>
                <a:gd name="connsiteX256" fmla="*/ 132 w 10000"/>
                <a:gd name="connsiteY256" fmla="*/ 6663 h 10000"/>
                <a:gd name="connsiteX257" fmla="*/ 183 w 10000"/>
                <a:gd name="connsiteY257" fmla="*/ 6465 h 10000"/>
                <a:gd name="connsiteX258" fmla="*/ 151 w 10000"/>
                <a:gd name="connsiteY258"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8126 w 10000"/>
                <a:gd name="connsiteY207" fmla="*/ 1671 h 10000"/>
                <a:gd name="connsiteX208" fmla="*/ 8367 w 10000"/>
                <a:gd name="connsiteY208" fmla="*/ 1293 h 10000"/>
                <a:gd name="connsiteX209" fmla="*/ 7497 w 10000"/>
                <a:gd name="connsiteY209" fmla="*/ 923 h 10000"/>
                <a:gd name="connsiteX210" fmla="*/ 7377 w 10000"/>
                <a:gd name="connsiteY210" fmla="*/ 560 h 10000"/>
                <a:gd name="connsiteX211" fmla="*/ 7012 w 10000"/>
                <a:gd name="connsiteY211" fmla="*/ 590 h 10000"/>
                <a:gd name="connsiteX212" fmla="*/ 6413 w 10000"/>
                <a:gd name="connsiteY212" fmla="*/ 332 h 10000"/>
                <a:gd name="connsiteX213" fmla="*/ 5098 w 10000"/>
                <a:gd name="connsiteY213" fmla="*/ 0 h 10000"/>
                <a:gd name="connsiteX214" fmla="*/ 4837 w 10000"/>
                <a:gd name="connsiteY214" fmla="*/ 82 h 10000"/>
                <a:gd name="connsiteX215" fmla="*/ 4671 w 10000"/>
                <a:gd name="connsiteY215" fmla="*/ 78 h 10000"/>
                <a:gd name="connsiteX216" fmla="*/ 4571 w 10000"/>
                <a:gd name="connsiteY216" fmla="*/ 107 h 10000"/>
                <a:gd name="connsiteX217" fmla="*/ 4298 w 10000"/>
                <a:gd name="connsiteY217" fmla="*/ 913 h 10000"/>
                <a:gd name="connsiteX218" fmla="*/ 3668 w 10000"/>
                <a:gd name="connsiteY218" fmla="*/ 1383 h 10000"/>
                <a:gd name="connsiteX219" fmla="*/ 3672 w 10000"/>
                <a:gd name="connsiteY219" fmla="*/ 1457 h 10000"/>
                <a:gd name="connsiteX220" fmla="*/ 3952 w 10000"/>
                <a:gd name="connsiteY220" fmla="*/ 1668 h 10000"/>
                <a:gd name="connsiteX221" fmla="*/ 3861 w 10000"/>
                <a:gd name="connsiteY221" fmla="*/ 1896 h 10000"/>
                <a:gd name="connsiteX222" fmla="*/ 3698 w 10000"/>
                <a:gd name="connsiteY222" fmla="*/ 1979 h 10000"/>
                <a:gd name="connsiteX223" fmla="*/ 3208 w 10000"/>
                <a:gd name="connsiteY223" fmla="*/ 1924 h 10000"/>
                <a:gd name="connsiteX224" fmla="*/ 2871 w 10000"/>
                <a:gd name="connsiteY224" fmla="*/ 1955 h 10000"/>
                <a:gd name="connsiteX225" fmla="*/ 2601 w 10000"/>
                <a:gd name="connsiteY225" fmla="*/ 2023 h 10000"/>
                <a:gd name="connsiteX226" fmla="*/ 2163 w 10000"/>
                <a:gd name="connsiteY226" fmla="*/ 2233 h 10000"/>
                <a:gd name="connsiteX227" fmla="*/ 1931 w 10000"/>
                <a:gd name="connsiteY227" fmla="*/ 2487 h 10000"/>
                <a:gd name="connsiteX228" fmla="*/ 1951 w 10000"/>
                <a:gd name="connsiteY228" fmla="*/ 2629 h 10000"/>
                <a:gd name="connsiteX229" fmla="*/ 2032 w 10000"/>
                <a:gd name="connsiteY229" fmla="*/ 2738 h 10000"/>
                <a:gd name="connsiteX230" fmla="*/ 2093 w 10000"/>
                <a:gd name="connsiteY230" fmla="*/ 2782 h 10000"/>
                <a:gd name="connsiteX231" fmla="*/ 1979 w 10000"/>
                <a:gd name="connsiteY231" fmla="*/ 2852 h 10000"/>
                <a:gd name="connsiteX232" fmla="*/ 1731 w 10000"/>
                <a:gd name="connsiteY232" fmla="*/ 3330 h 10000"/>
                <a:gd name="connsiteX233" fmla="*/ 1779 w 10000"/>
                <a:gd name="connsiteY233" fmla="*/ 3358 h 10000"/>
                <a:gd name="connsiteX234" fmla="*/ 1815 w 10000"/>
                <a:gd name="connsiteY234" fmla="*/ 3479 h 10000"/>
                <a:gd name="connsiteX235" fmla="*/ 1700 w 10000"/>
                <a:gd name="connsiteY235" fmla="*/ 3982 h 10000"/>
                <a:gd name="connsiteX236" fmla="*/ 1815 w 10000"/>
                <a:gd name="connsiteY236" fmla="*/ 4110 h 10000"/>
                <a:gd name="connsiteX237" fmla="*/ 2131 w 10000"/>
                <a:gd name="connsiteY237" fmla="*/ 4251 h 10000"/>
                <a:gd name="connsiteX238" fmla="*/ 2145 w 10000"/>
                <a:gd name="connsiteY238" fmla="*/ 4423 h 10000"/>
                <a:gd name="connsiteX239" fmla="*/ 2010 w 10000"/>
                <a:gd name="connsiteY239" fmla="*/ 4566 h 10000"/>
                <a:gd name="connsiteX240" fmla="*/ 1815 w 10000"/>
                <a:gd name="connsiteY240" fmla="*/ 4652 h 10000"/>
                <a:gd name="connsiteX241" fmla="*/ 1557 w 10000"/>
                <a:gd name="connsiteY241" fmla="*/ 4687 h 10000"/>
                <a:gd name="connsiteX242" fmla="*/ 1490 w 10000"/>
                <a:gd name="connsiteY242" fmla="*/ 4737 h 10000"/>
                <a:gd name="connsiteX243" fmla="*/ 1640 w 10000"/>
                <a:gd name="connsiteY243" fmla="*/ 4855 h 10000"/>
                <a:gd name="connsiteX244" fmla="*/ 1726 w 10000"/>
                <a:gd name="connsiteY244" fmla="*/ 5136 h 10000"/>
                <a:gd name="connsiteX245" fmla="*/ 1531 w 10000"/>
                <a:gd name="connsiteY245" fmla="*/ 5376 h 10000"/>
                <a:gd name="connsiteX246" fmla="*/ 1599 w 10000"/>
                <a:gd name="connsiteY246" fmla="*/ 5451 h 10000"/>
                <a:gd name="connsiteX247" fmla="*/ 1537 w 10000"/>
                <a:gd name="connsiteY247" fmla="*/ 5577 h 10000"/>
                <a:gd name="connsiteX248" fmla="*/ 1412 w 10000"/>
                <a:gd name="connsiteY248" fmla="*/ 5663 h 10000"/>
                <a:gd name="connsiteX249" fmla="*/ 915 w 10000"/>
                <a:gd name="connsiteY249" fmla="*/ 5730 h 10000"/>
                <a:gd name="connsiteX250" fmla="*/ 885 w 10000"/>
                <a:gd name="connsiteY250" fmla="*/ 5846 h 10000"/>
                <a:gd name="connsiteX251" fmla="*/ 617 w 10000"/>
                <a:gd name="connsiteY251" fmla="*/ 6019 h 10000"/>
                <a:gd name="connsiteX252" fmla="*/ 652 w 10000"/>
                <a:gd name="connsiteY252" fmla="*/ 6268 h 10000"/>
                <a:gd name="connsiteX253" fmla="*/ 427 w 10000"/>
                <a:gd name="connsiteY253" fmla="*/ 6587 h 10000"/>
                <a:gd name="connsiteX254" fmla="*/ 274 w 10000"/>
                <a:gd name="connsiteY254" fmla="*/ 6624 h 10000"/>
                <a:gd name="connsiteX255" fmla="*/ 210 w 10000"/>
                <a:gd name="connsiteY255" fmla="*/ 6548 h 10000"/>
                <a:gd name="connsiteX256" fmla="*/ 132 w 10000"/>
                <a:gd name="connsiteY256" fmla="*/ 6663 h 10000"/>
                <a:gd name="connsiteX257" fmla="*/ 183 w 10000"/>
                <a:gd name="connsiteY257" fmla="*/ 6465 h 10000"/>
                <a:gd name="connsiteX258" fmla="*/ 151 w 10000"/>
                <a:gd name="connsiteY258"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8075 w 10000"/>
                <a:gd name="connsiteY207" fmla="*/ 1603 h 10000"/>
                <a:gd name="connsiteX208" fmla="*/ 8367 w 10000"/>
                <a:gd name="connsiteY208" fmla="*/ 1293 h 10000"/>
                <a:gd name="connsiteX209" fmla="*/ 7497 w 10000"/>
                <a:gd name="connsiteY209" fmla="*/ 923 h 10000"/>
                <a:gd name="connsiteX210" fmla="*/ 7377 w 10000"/>
                <a:gd name="connsiteY210" fmla="*/ 560 h 10000"/>
                <a:gd name="connsiteX211" fmla="*/ 7012 w 10000"/>
                <a:gd name="connsiteY211" fmla="*/ 590 h 10000"/>
                <a:gd name="connsiteX212" fmla="*/ 6413 w 10000"/>
                <a:gd name="connsiteY212" fmla="*/ 332 h 10000"/>
                <a:gd name="connsiteX213" fmla="*/ 5098 w 10000"/>
                <a:gd name="connsiteY213" fmla="*/ 0 h 10000"/>
                <a:gd name="connsiteX214" fmla="*/ 4837 w 10000"/>
                <a:gd name="connsiteY214" fmla="*/ 82 h 10000"/>
                <a:gd name="connsiteX215" fmla="*/ 4671 w 10000"/>
                <a:gd name="connsiteY215" fmla="*/ 78 h 10000"/>
                <a:gd name="connsiteX216" fmla="*/ 4571 w 10000"/>
                <a:gd name="connsiteY216" fmla="*/ 107 h 10000"/>
                <a:gd name="connsiteX217" fmla="*/ 4298 w 10000"/>
                <a:gd name="connsiteY217" fmla="*/ 913 h 10000"/>
                <a:gd name="connsiteX218" fmla="*/ 3668 w 10000"/>
                <a:gd name="connsiteY218" fmla="*/ 1383 h 10000"/>
                <a:gd name="connsiteX219" fmla="*/ 3672 w 10000"/>
                <a:gd name="connsiteY219" fmla="*/ 1457 h 10000"/>
                <a:gd name="connsiteX220" fmla="*/ 3952 w 10000"/>
                <a:gd name="connsiteY220" fmla="*/ 1668 h 10000"/>
                <a:gd name="connsiteX221" fmla="*/ 3861 w 10000"/>
                <a:gd name="connsiteY221" fmla="*/ 1896 h 10000"/>
                <a:gd name="connsiteX222" fmla="*/ 3698 w 10000"/>
                <a:gd name="connsiteY222" fmla="*/ 1979 h 10000"/>
                <a:gd name="connsiteX223" fmla="*/ 3208 w 10000"/>
                <a:gd name="connsiteY223" fmla="*/ 1924 h 10000"/>
                <a:gd name="connsiteX224" fmla="*/ 2871 w 10000"/>
                <a:gd name="connsiteY224" fmla="*/ 1955 h 10000"/>
                <a:gd name="connsiteX225" fmla="*/ 2601 w 10000"/>
                <a:gd name="connsiteY225" fmla="*/ 2023 h 10000"/>
                <a:gd name="connsiteX226" fmla="*/ 2163 w 10000"/>
                <a:gd name="connsiteY226" fmla="*/ 2233 h 10000"/>
                <a:gd name="connsiteX227" fmla="*/ 1931 w 10000"/>
                <a:gd name="connsiteY227" fmla="*/ 2487 h 10000"/>
                <a:gd name="connsiteX228" fmla="*/ 1951 w 10000"/>
                <a:gd name="connsiteY228" fmla="*/ 2629 h 10000"/>
                <a:gd name="connsiteX229" fmla="*/ 2032 w 10000"/>
                <a:gd name="connsiteY229" fmla="*/ 2738 h 10000"/>
                <a:gd name="connsiteX230" fmla="*/ 2093 w 10000"/>
                <a:gd name="connsiteY230" fmla="*/ 2782 h 10000"/>
                <a:gd name="connsiteX231" fmla="*/ 1979 w 10000"/>
                <a:gd name="connsiteY231" fmla="*/ 2852 h 10000"/>
                <a:gd name="connsiteX232" fmla="*/ 1731 w 10000"/>
                <a:gd name="connsiteY232" fmla="*/ 3330 h 10000"/>
                <a:gd name="connsiteX233" fmla="*/ 1779 w 10000"/>
                <a:gd name="connsiteY233" fmla="*/ 3358 h 10000"/>
                <a:gd name="connsiteX234" fmla="*/ 1815 w 10000"/>
                <a:gd name="connsiteY234" fmla="*/ 3479 h 10000"/>
                <a:gd name="connsiteX235" fmla="*/ 1700 w 10000"/>
                <a:gd name="connsiteY235" fmla="*/ 3982 h 10000"/>
                <a:gd name="connsiteX236" fmla="*/ 1815 w 10000"/>
                <a:gd name="connsiteY236" fmla="*/ 4110 h 10000"/>
                <a:gd name="connsiteX237" fmla="*/ 2131 w 10000"/>
                <a:gd name="connsiteY237" fmla="*/ 4251 h 10000"/>
                <a:gd name="connsiteX238" fmla="*/ 2145 w 10000"/>
                <a:gd name="connsiteY238" fmla="*/ 4423 h 10000"/>
                <a:gd name="connsiteX239" fmla="*/ 2010 w 10000"/>
                <a:gd name="connsiteY239" fmla="*/ 4566 h 10000"/>
                <a:gd name="connsiteX240" fmla="*/ 1815 w 10000"/>
                <a:gd name="connsiteY240" fmla="*/ 4652 h 10000"/>
                <a:gd name="connsiteX241" fmla="*/ 1557 w 10000"/>
                <a:gd name="connsiteY241" fmla="*/ 4687 h 10000"/>
                <a:gd name="connsiteX242" fmla="*/ 1490 w 10000"/>
                <a:gd name="connsiteY242" fmla="*/ 4737 h 10000"/>
                <a:gd name="connsiteX243" fmla="*/ 1640 w 10000"/>
                <a:gd name="connsiteY243" fmla="*/ 4855 h 10000"/>
                <a:gd name="connsiteX244" fmla="*/ 1726 w 10000"/>
                <a:gd name="connsiteY244" fmla="*/ 5136 h 10000"/>
                <a:gd name="connsiteX245" fmla="*/ 1531 w 10000"/>
                <a:gd name="connsiteY245" fmla="*/ 5376 h 10000"/>
                <a:gd name="connsiteX246" fmla="*/ 1599 w 10000"/>
                <a:gd name="connsiteY246" fmla="*/ 5451 h 10000"/>
                <a:gd name="connsiteX247" fmla="*/ 1537 w 10000"/>
                <a:gd name="connsiteY247" fmla="*/ 5577 h 10000"/>
                <a:gd name="connsiteX248" fmla="*/ 1412 w 10000"/>
                <a:gd name="connsiteY248" fmla="*/ 5663 h 10000"/>
                <a:gd name="connsiteX249" fmla="*/ 915 w 10000"/>
                <a:gd name="connsiteY249" fmla="*/ 5730 h 10000"/>
                <a:gd name="connsiteX250" fmla="*/ 885 w 10000"/>
                <a:gd name="connsiteY250" fmla="*/ 5846 h 10000"/>
                <a:gd name="connsiteX251" fmla="*/ 617 w 10000"/>
                <a:gd name="connsiteY251" fmla="*/ 6019 h 10000"/>
                <a:gd name="connsiteX252" fmla="*/ 652 w 10000"/>
                <a:gd name="connsiteY252" fmla="*/ 6268 h 10000"/>
                <a:gd name="connsiteX253" fmla="*/ 427 w 10000"/>
                <a:gd name="connsiteY253" fmla="*/ 6587 h 10000"/>
                <a:gd name="connsiteX254" fmla="*/ 274 w 10000"/>
                <a:gd name="connsiteY254" fmla="*/ 6624 h 10000"/>
                <a:gd name="connsiteX255" fmla="*/ 210 w 10000"/>
                <a:gd name="connsiteY255" fmla="*/ 6548 h 10000"/>
                <a:gd name="connsiteX256" fmla="*/ 132 w 10000"/>
                <a:gd name="connsiteY256" fmla="*/ 6663 h 10000"/>
                <a:gd name="connsiteX257" fmla="*/ 183 w 10000"/>
                <a:gd name="connsiteY257" fmla="*/ 6465 h 10000"/>
                <a:gd name="connsiteX258" fmla="*/ 151 w 10000"/>
                <a:gd name="connsiteY258"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8939 w 10000"/>
                <a:gd name="connsiteY207" fmla="*/ 1680 h 10000"/>
                <a:gd name="connsiteX208" fmla="*/ 8075 w 10000"/>
                <a:gd name="connsiteY208" fmla="*/ 1603 h 10000"/>
                <a:gd name="connsiteX209" fmla="*/ 8367 w 10000"/>
                <a:gd name="connsiteY209" fmla="*/ 1293 h 10000"/>
                <a:gd name="connsiteX210" fmla="*/ 7497 w 10000"/>
                <a:gd name="connsiteY210" fmla="*/ 923 h 10000"/>
                <a:gd name="connsiteX211" fmla="*/ 7377 w 10000"/>
                <a:gd name="connsiteY211" fmla="*/ 560 h 10000"/>
                <a:gd name="connsiteX212" fmla="*/ 7012 w 10000"/>
                <a:gd name="connsiteY212" fmla="*/ 590 h 10000"/>
                <a:gd name="connsiteX213" fmla="*/ 6413 w 10000"/>
                <a:gd name="connsiteY213" fmla="*/ 332 h 10000"/>
                <a:gd name="connsiteX214" fmla="*/ 5098 w 10000"/>
                <a:gd name="connsiteY214" fmla="*/ 0 h 10000"/>
                <a:gd name="connsiteX215" fmla="*/ 4837 w 10000"/>
                <a:gd name="connsiteY215" fmla="*/ 82 h 10000"/>
                <a:gd name="connsiteX216" fmla="*/ 4671 w 10000"/>
                <a:gd name="connsiteY216" fmla="*/ 78 h 10000"/>
                <a:gd name="connsiteX217" fmla="*/ 4571 w 10000"/>
                <a:gd name="connsiteY217" fmla="*/ 107 h 10000"/>
                <a:gd name="connsiteX218" fmla="*/ 4298 w 10000"/>
                <a:gd name="connsiteY218" fmla="*/ 913 h 10000"/>
                <a:gd name="connsiteX219" fmla="*/ 3668 w 10000"/>
                <a:gd name="connsiteY219" fmla="*/ 1383 h 10000"/>
                <a:gd name="connsiteX220" fmla="*/ 3672 w 10000"/>
                <a:gd name="connsiteY220" fmla="*/ 1457 h 10000"/>
                <a:gd name="connsiteX221" fmla="*/ 3952 w 10000"/>
                <a:gd name="connsiteY221" fmla="*/ 1668 h 10000"/>
                <a:gd name="connsiteX222" fmla="*/ 3861 w 10000"/>
                <a:gd name="connsiteY222" fmla="*/ 1896 h 10000"/>
                <a:gd name="connsiteX223" fmla="*/ 3698 w 10000"/>
                <a:gd name="connsiteY223" fmla="*/ 1979 h 10000"/>
                <a:gd name="connsiteX224" fmla="*/ 3208 w 10000"/>
                <a:gd name="connsiteY224" fmla="*/ 1924 h 10000"/>
                <a:gd name="connsiteX225" fmla="*/ 2871 w 10000"/>
                <a:gd name="connsiteY225" fmla="*/ 1955 h 10000"/>
                <a:gd name="connsiteX226" fmla="*/ 2601 w 10000"/>
                <a:gd name="connsiteY226" fmla="*/ 2023 h 10000"/>
                <a:gd name="connsiteX227" fmla="*/ 2163 w 10000"/>
                <a:gd name="connsiteY227" fmla="*/ 2233 h 10000"/>
                <a:gd name="connsiteX228" fmla="*/ 1931 w 10000"/>
                <a:gd name="connsiteY228" fmla="*/ 2487 h 10000"/>
                <a:gd name="connsiteX229" fmla="*/ 1951 w 10000"/>
                <a:gd name="connsiteY229" fmla="*/ 2629 h 10000"/>
                <a:gd name="connsiteX230" fmla="*/ 2032 w 10000"/>
                <a:gd name="connsiteY230" fmla="*/ 2738 h 10000"/>
                <a:gd name="connsiteX231" fmla="*/ 2093 w 10000"/>
                <a:gd name="connsiteY231" fmla="*/ 2782 h 10000"/>
                <a:gd name="connsiteX232" fmla="*/ 1979 w 10000"/>
                <a:gd name="connsiteY232" fmla="*/ 2852 h 10000"/>
                <a:gd name="connsiteX233" fmla="*/ 1731 w 10000"/>
                <a:gd name="connsiteY233" fmla="*/ 3330 h 10000"/>
                <a:gd name="connsiteX234" fmla="*/ 1779 w 10000"/>
                <a:gd name="connsiteY234" fmla="*/ 3358 h 10000"/>
                <a:gd name="connsiteX235" fmla="*/ 1815 w 10000"/>
                <a:gd name="connsiteY235" fmla="*/ 3479 h 10000"/>
                <a:gd name="connsiteX236" fmla="*/ 1700 w 10000"/>
                <a:gd name="connsiteY236" fmla="*/ 3982 h 10000"/>
                <a:gd name="connsiteX237" fmla="*/ 1815 w 10000"/>
                <a:gd name="connsiteY237" fmla="*/ 4110 h 10000"/>
                <a:gd name="connsiteX238" fmla="*/ 2131 w 10000"/>
                <a:gd name="connsiteY238" fmla="*/ 4251 h 10000"/>
                <a:gd name="connsiteX239" fmla="*/ 2145 w 10000"/>
                <a:gd name="connsiteY239" fmla="*/ 4423 h 10000"/>
                <a:gd name="connsiteX240" fmla="*/ 2010 w 10000"/>
                <a:gd name="connsiteY240" fmla="*/ 4566 h 10000"/>
                <a:gd name="connsiteX241" fmla="*/ 1815 w 10000"/>
                <a:gd name="connsiteY241" fmla="*/ 4652 h 10000"/>
                <a:gd name="connsiteX242" fmla="*/ 1557 w 10000"/>
                <a:gd name="connsiteY242" fmla="*/ 4687 h 10000"/>
                <a:gd name="connsiteX243" fmla="*/ 1490 w 10000"/>
                <a:gd name="connsiteY243" fmla="*/ 4737 h 10000"/>
                <a:gd name="connsiteX244" fmla="*/ 1640 w 10000"/>
                <a:gd name="connsiteY244" fmla="*/ 4855 h 10000"/>
                <a:gd name="connsiteX245" fmla="*/ 1726 w 10000"/>
                <a:gd name="connsiteY245" fmla="*/ 5136 h 10000"/>
                <a:gd name="connsiteX246" fmla="*/ 1531 w 10000"/>
                <a:gd name="connsiteY246" fmla="*/ 5376 h 10000"/>
                <a:gd name="connsiteX247" fmla="*/ 1599 w 10000"/>
                <a:gd name="connsiteY247" fmla="*/ 5451 h 10000"/>
                <a:gd name="connsiteX248" fmla="*/ 1537 w 10000"/>
                <a:gd name="connsiteY248" fmla="*/ 5577 h 10000"/>
                <a:gd name="connsiteX249" fmla="*/ 1412 w 10000"/>
                <a:gd name="connsiteY249" fmla="*/ 5663 h 10000"/>
                <a:gd name="connsiteX250" fmla="*/ 915 w 10000"/>
                <a:gd name="connsiteY250" fmla="*/ 5730 h 10000"/>
                <a:gd name="connsiteX251" fmla="*/ 885 w 10000"/>
                <a:gd name="connsiteY251" fmla="*/ 5846 h 10000"/>
                <a:gd name="connsiteX252" fmla="*/ 617 w 10000"/>
                <a:gd name="connsiteY252" fmla="*/ 6019 h 10000"/>
                <a:gd name="connsiteX253" fmla="*/ 652 w 10000"/>
                <a:gd name="connsiteY253" fmla="*/ 6268 h 10000"/>
                <a:gd name="connsiteX254" fmla="*/ 427 w 10000"/>
                <a:gd name="connsiteY254" fmla="*/ 6587 h 10000"/>
                <a:gd name="connsiteX255" fmla="*/ 274 w 10000"/>
                <a:gd name="connsiteY255" fmla="*/ 6624 h 10000"/>
                <a:gd name="connsiteX256" fmla="*/ 210 w 10000"/>
                <a:gd name="connsiteY256" fmla="*/ 6548 h 10000"/>
                <a:gd name="connsiteX257" fmla="*/ 132 w 10000"/>
                <a:gd name="connsiteY257" fmla="*/ 6663 h 10000"/>
                <a:gd name="connsiteX258" fmla="*/ 183 w 10000"/>
                <a:gd name="connsiteY258" fmla="*/ 6465 h 10000"/>
                <a:gd name="connsiteX259" fmla="*/ 151 w 10000"/>
                <a:gd name="connsiteY259"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8658 w 10000"/>
                <a:gd name="connsiteY207" fmla="*/ 1779 h 10000"/>
                <a:gd name="connsiteX208" fmla="*/ 8075 w 10000"/>
                <a:gd name="connsiteY208" fmla="*/ 1603 h 10000"/>
                <a:gd name="connsiteX209" fmla="*/ 8367 w 10000"/>
                <a:gd name="connsiteY209" fmla="*/ 1293 h 10000"/>
                <a:gd name="connsiteX210" fmla="*/ 7497 w 10000"/>
                <a:gd name="connsiteY210" fmla="*/ 923 h 10000"/>
                <a:gd name="connsiteX211" fmla="*/ 7377 w 10000"/>
                <a:gd name="connsiteY211" fmla="*/ 560 h 10000"/>
                <a:gd name="connsiteX212" fmla="*/ 7012 w 10000"/>
                <a:gd name="connsiteY212" fmla="*/ 590 h 10000"/>
                <a:gd name="connsiteX213" fmla="*/ 6413 w 10000"/>
                <a:gd name="connsiteY213" fmla="*/ 332 h 10000"/>
                <a:gd name="connsiteX214" fmla="*/ 5098 w 10000"/>
                <a:gd name="connsiteY214" fmla="*/ 0 h 10000"/>
                <a:gd name="connsiteX215" fmla="*/ 4837 w 10000"/>
                <a:gd name="connsiteY215" fmla="*/ 82 h 10000"/>
                <a:gd name="connsiteX216" fmla="*/ 4671 w 10000"/>
                <a:gd name="connsiteY216" fmla="*/ 78 h 10000"/>
                <a:gd name="connsiteX217" fmla="*/ 4571 w 10000"/>
                <a:gd name="connsiteY217" fmla="*/ 107 h 10000"/>
                <a:gd name="connsiteX218" fmla="*/ 4298 w 10000"/>
                <a:gd name="connsiteY218" fmla="*/ 913 h 10000"/>
                <a:gd name="connsiteX219" fmla="*/ 3668 w 10000"/>
                <a:gd name="connsiteY219" fmla="*/ 1383 h 10000"/>
                <a:gd name="connsiteX220" fmla="*/ 3672 w 10000"/>
                <a:gd name="connsiteY220" fmla="*/ 1457 h 10000"/>
                <a:gd name="connsiteX221" fmla="*/ 3952 w 10000"/>
                <a:gd name="connsiteY221" fmla="*/ 1668 h 10000"/>
                <a:gd name="connsiteX222" fmla="*/ 3861 w 10000"/>
                <a:gd name="connsiteY222" fmla="*/ 1896 h 10000"/>
                <a:gd name="connsiteX223" fmla="*/ 3698 w 10000"/>
                <a:gd name="connsiteY223" fmla="*/ 1979 h 10000"/>
                <a:gd name="connsiteX224" fmla="*/ 3208 w 10000"/>
                <a:gd name="connsiteY224" fmla="*/ 1924 h 10000"/>
                <a:gd name="connsiteX225" fmla="*/ 2871 w 10000"/>
                <a:gd name="connsiteY225" fmla="*/ 1955 h 10000"/>
                <a:gd name="connsiteX226" fmla="*/ 2601 w 10000"/>
                <a:gd name="connsiteY226" fmla="*/ 2023 h 10000"/>
                <a:gd name="connsiteX227" fmla="*/ 2163 w 10000"/>
                <a:gd name="connsiteY227" fmla="*/ 2233 h 10000"/>
                <a:gd name="connsiteX228" fmla="*/ 1931 w 10000"/>
                <a:gd name="connsiteY228" fmla="*/ 2487 h 10000"/>
                <a:gd name="connsiteX229" fmla="*/ 1951 w 10000"/>
                <a:gd name="connsiteY229" fmla="*/ 2629 h 10000"/>
                <a:gd name="connsiteX230" fmla="*/ 2032 w 10000"/>
                <a:gd name="connsiteY230" fmla="*/ 2738 h 10000"/>
                <a:gd name="connsiteX231" fmla="*/ 2093 w 10000"/>
                <a:gd name="connsiteY231" fmla="*/ 2782 h 10000"/>
                <a:gd name="connsiteX232" fmla="*/ 1979 w 10000"/>
                <a:gd name="connsiteY232" fmla="*/ 2852 h 10000"/>
                <a:gd name="connsiteX233" fmla="*/ 1731 w 10000"/>
                <a:gd name="connsiteY233" fmla="*/ 3330 h 10000"/>
                <a:gd name="connsiteX234" fmla="*/ 1779 w 10000"/>
                <a:gd name="connsiteY234" fmla="*/ 3358 h 10000"/>
                <a:gd name="connsiteX235" fmla="*/ 1815 w 10000"/>
                <a:gd name="connsiteY235" fmla="*/ 3479 h 10000"/>
                <a:gd name="connsiteX236" fmla="*/ 1700 w 10000"/>
                <a:gd name="connsiteY236" fmla="*/ 3982 h 10000"/>
                <a:gd name="connsiteX237" fmla="*/ 1815 w 10000"/>
                <a:gd name="connsiteY237" fmla="*/ 4110 h 10000"/>
                <a:gd name="connsiteX238" fmla="*/ 2131 w 10000"/>
                <a:gd name="connsiteY238" fmla="*/ 4251 h 10000"/>
                <a:gd name="connsiteX239" fmla="*/ 2145 w 10000"/>
                <a:gd name="connsiteY239" fmla="*/ 4423 h 10000"/>
                <a:gd name="connsiteX240" fmla="*/ 2010 w 10000"/>
                <a:gd name="connsiteY240" fmla="*/ 4566 h 10000"/>
                <a:gd name="connsiteX241" fmla="*/ 1815 w 10000"/>
                <a:gd name="connsiteY241" fmla="*/ 4652 h 10000"/>
                <a:gd name="connsiteX242" fmla="*/ 1557 w 10000"/>
                <a:gd name="connsiteY242" fmla="*/ 4687 h 10000"/>
                <a:gd name="connsiteX243" fmla="*/ 1490 w 10000"/>
                <a:gd name="connsiteY243" fmla="*/ 4737 h 10000"/>
                <a:gd name="connsiteX244" fmla="*/ 1640 w 10000"/>
                <a:gd name="connsiteY244" fmla="*/ 4855 h 10000"/>
                <a:gd name="connsiteX245" fmla="*/ 1726 w 10000"/>
                <a:gd name="connsiteY245" fmla="*/ 5136 h 10000"/>
                <a:gd name="connsiteX246" fmla="*/ 1531 w 10000"/>
                <a:gd name="connsiteY246" fmla="*/ 5376 h 10000"/>
                <a:gd name="connsiteX247" fmla="*/ 1599 w 10000"/>
                <a:gd name="connsiteY247" fmla="*/ 5451 h 10000"/>
                <a:gd name="connsiteX248" fmla="*/ 1537 w 10000"/>
                <a:gd name="connsiteY248" fmla="*/ 5577 h 10000"/>
                <a:gd name="connsiteX249" fmla="*/ 1412 w 10000"/>
                <a:gd name="connsiteY249" fmla="*/ 5663 h 10000"/>
                <a:gd name="connsiteX250" fmla="*/ 915 w 10000"/>
                <a:gd name="connsiteY250" fmla="*/ 5730 h 10000"/>
                <a:gd name="connsiteX251" fmla="*/ 885 w 10000"/>
                <a:gd name="connsiteY251" fmla="*/ 5846 h 10000"/>
                <a:gd name="connsiteX252" fmla="*/ 617 w 10000"/>
                <a:gd name="connsiteY252" fmla="*/ 6019 h 10000"/>
                <a:gd name="connsiteX253" fmla="*/ 652 w 10000"/>
                <a:gd name="connsiteY253" fmla="*/ 6268 h 10000"/>
                <a:gd name="connsiteX254" fmla="*/ 427 w 10000"/>
                <a:gd name="connsiteY254" fmla="*/ 6587 h 10000"/>
                <a:gd name="connsiteX255" fmla="*/ 274 w 10000"/>
                <a:gd name="connsiteY255" fmla="*/ 6624 h 10000"/>
                <a:gd name="connsiteX256" fmla="*/ 210 w 10000"/>
                <a:gd name="connsiteY256" fmla="*/ 6548 h 10000"/>
                <a:gd name="connsiteX257" fmla="*/ 132 w 10000"/>
                <a:gd name="connsiteY257" fmla="*/ 6663 h 10000"/>
                <a:gd name="connsiteX258" fmla="*/ 183 w 10000"/>
                <a:gd name="connsiteY258" fmla="*/ 6465 h 10000"/>
                <a:gd name="connsiteX259" fmla="*/ 151 w 10000"/>
                <a:gd name="connsiteY259"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8658 w 10000"/>
                <a:gd name="connsiteY207" fmla="*/ 1779 h 10000"/>
                <a:gd name="connsiteX208" fmla="*/ 9171 w 10000"/>
                <a:gd name="connsiteY208" fmla="*/ 1822 h 10000"/>
                <a:gd name="connsiteX209" fmla="*/ 8075 w 10000"/>
                <a:gd name="connsiteY209" fmla="*/ 1603 h 10000"/>
                <a:gd name="connsiteX210" fmla="*/ 8367 w 10000"/>
                <a:gd name="connsiteY210" fmla="*/ 1293 h 10000"/>
                <a:gd name="connsiteX211" fmla="*/ 7497 w 10000"/>
                <a:gd name="connsiteY211" fmla="*/ 923 h 10000"/>
                <a:gd name="connsiteX212" fmla="*/ 7377 w 10000"/>
                <a:gd name="connsiteY212" fmla="*/ 560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8658 w 10000"/>
                <a:gd name="connsiteY207" fmla="*/ 1779 h 10000"/>
                <a:gd name="connsiteX208" fmla="*/ 9713 w 10000"/>
                <a:gd name="connsiteY208" fmla="*/ 1720 h 10000"/>
                <a:gd name="connsiteX209" fmla="*/ 8075 w 10000"/>
                <a:gd name="connsiteY209" fmla="*/ 1603 h 10000"/>
                <a:gd name="connsiteX210" fmla="*/ 8367 w 10000"/>
                <a:gd name="connsiteY210" fmla="*/ 1293 h 10000"/>
                <a:gd name="connsiteX211" fmla="*/ 7497 w 10000"/>
                <a:gd name="connsiteY211" fmla="*/ 923 h 10000"/>
                <a:gd name="connsiteX212" fmla="*/ 7377 w 10000"/>
                <a:gd name="connsiteY212" fmla="*/ 560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277"/>
                <a:gd name="connsiteY0" fmla="*/ 6427 h 10000"/>
                <a:gd name="connsiteX1" fmla="*/ 0 w 10277"/>
                <a:gd name="connsiteY1" fmla="*/ 6530 h 10000"/>
                <a:gd name="connsiteX2" fmla="*/ 0 w 10277"/>
                <a:gd name="connsiteY2" fmla="*/ 7039 h 10000"/>
                <a:gd name="connsiteX3" fmla="*/ 83 w 10277"/>
                <a:gd name="connsiteY3" fmla="*/ 7053 h 10000"/>
                <a:gd name="connsiteX4" fmla="*/ 103 w 10277"/>
                <a:gd name="connsiteY4" fmla="*/ 7092 h 10000"/>
                <a:gd name="connsiteX5" fmla="*/ 99 w 10277"/>
                <a:gd name="connsiteY5" fmla="*/ 7161 h 10000"/>
                <a:gd name="connsiteX6" fmla="*/ 68 w 10277"/>
                <a:gd name="connsiteY6" fmla="*/ 7192 h 10000"/>
                <a:gd name="connsiteX7" fmla="*/ 195 w 10277"/>
                <a:gd name="connsiteY7" fmla="*/ 7133 h 10000"/>
                <a:gd name="connsiteX8" fmla="*/ 249 w 10277"/>
                <a:gd name="connsiteY8" fmla="*/ 7075 h 10000"/>
                <a:gd name="connsiteX9" fmla="*/ 315 w 10277"/>
                <a:gd name="connsiteY9" fmla="*/ 7115 h 10000"/>
                <a:gd name="connsiteX10" fmla="*/ 242 w 10277"/>
                <a:gd name="connsiteY10" fmla="*/ 7198 h 10000"/>
                <a:gd name="connsiteX11" fmla="*/ 320 w 10277"/>
                <a:gd name="connsiteY11" fmla="*/ 7200 h 10000"/>
                <a:gd name="connsiteX12" fmla="*/ 358 w 10277"/>
                <a:gd name="connsiteY12" fmla="*/ 7221 h 10000"/>
                <a:gd name="connsiteX13" fmla="*/ 257 w 10277"/>
                <a:gd name="connsiteY13" fmla="*/ 7248 h 10000"/>
                <a:gd name="connsiteX14" fmla="*/ 99 w 10277"/>
                <a:gd name="connsiteY14" fmla="*/ 7333 h 10000"/>
                <a:gd name="connsiteX15" fmla="*/ 381 w 10277"/>
                <a:gd name="connsiteY15" fmla="*/ 7400 h 10000"/>
                <a:gd name="connsiteX16" fmla="*/ 416 w 10277"/>
                <a:gd name="connsiteY16" fmla="*/ 7496 h 10000"/>
                <a:gd name="connsiteX17" fmla="*/ 320 w 10277"/>
                <a:gd name="connsiteY17" fmla="*/ 7636 h 10000"/>
                <a:gd name="connsiteX18" fmla="*/ 526 w 10277"/>
                <a:gd name="connsiteY18" fmla="*/ 7627 h 10000"/>
                <a:gd name="connsiteX19" fmla="*/ 541 w 10277"/>
                <a:gd name="connsiteY19" fmla="*/ 7733 h 10000"/>
                <a:gd name="connsiteX20" fmla="*/ 404 w 10277"/>
                <a:gd name="connsiteY20" fmla="*/ 7805 h 10000"/>
                <a:gd name="connsiteX21" fmla="*/ 427 w 10277"/>
                <a:gd name="connsiteY21" fmla="*/ 7945 h 10000"/>
                <a:gd name="connsiteX22" fmla="*/ 374 w 10277"/>
                <a:gd name="connsiteY22" fmla="*/ 8053 h 10000"/>
                <a:gd name="connsiteX23" fmla="*/ 536 w 10277"/>
                <a:gd name="connsiteY23" fmla="*/ 8063 h 10000"/>
                <a:gd name="connsiteX24" fmla="*/ 695 w 10277"/>
                <a:gd name="connsiteY24" fmla="*/ 8478 h 10000"/>
                <a:gd name="connsiteX25" fmla="*/ 878 w 10277"/>
                <a:gd name="connsiteY25" fmla="*/ 8583 h 10000"/>
                <a:gd name="connsiteX26" fmla="*/ 958 w 10277"/>
                <a:gd name="connsiteY26" fmla="*/ 8695 h 10000"/>
                <a:gd name="connsiteX27" fmla="*/ 1157 w 10277"/>
                <a:gd name="connsiteY27" fmla="*/ 8776 h 10000"/>
                <a:gd name="connsiteX28" fmla="*/ 1285 w 10277"/>
                <a:gd name="connsiteY28" fmla="*/ 8881 h 10000"/>
                <a:gd name="connsiteX29" fmla="*/ 1269 w 10277"/>
                <a:gd name="connsiteY29" fmla="*/ 8955 h 10000"/>
                <a:gd name="connsiteX30" fmla="*/ 1142 w 10277"/>
                <a:gd name="connsiteY30" fmla="*/ 8983 h 10000"/>
                <a:gd name="connsiteX31" fmla="*/ 1004 w 10277"/>
                <a:gd name="connsiteY31" fmla="*/ 8965 h 10000"/>
                <a:gd name="connsiteX32" fmla="*/ 962 w 10277"/>
                <a:gd name="connsiteY32" fmla="*/ 8996 h 10000"/>
                <a:gd name="connsiteX33" fmla="*/ 1067 w 10277"/>
                <a:gd name="connsiteY33" fmla="*/ 9158 h 10000"/>
                <a:gd name="connsiteX34" fmla="*/ 920 w 10277"/>
                <a:gd name="connsiteY34" fmla="*/ 9144 h 10000"/>
                <a:gd name="connsiteX35" fmla="*/ 795 w 10277"/>
                <a:gd name="connsiteY35" fmla="*/ 9105 h 10000"/>
                <a:gd name="connsiteX36" fmla="*/ 772 w 10277"/>
                <a:gd name="connsiteY36" fmla="*/ 9165 h 10000"/>
                <a:gd name="connsiteX37" fmla="*/ 1188 w 10277"/>
                <a:gd name="connsiteY37" fmla="*/ 9718 h 10000"/>
                <a:gd name="connsiteX38" fmla="*/ 1122 w 10277"/>
                <a:gd name="connsiteY38" fmla="*/ 9770 h 10000"/>
                <a:gd name="connsiteX39" fmla="*/ 1075 w 10277"/>
                <a:gd name="connsiteY39" fmla="*/ 9876 h 10000"/>
                <a:gd name="connsiteX40" fmla="*/ 1015 w 10277"/>
                <a:gd name="connsiteY40" fmla="*/ 9885 h 10000"/>
                <a:gd name="connsiteX41" fmla="*/ 978 w 10277"/>
                <a:gd name="connsiteY41" fmla="*/ 9931 h 10000"/>
                <a:gd name="connsiteX42" fmla="*/ 1229 w 10277"/>
                <a:gd name="connsiteY42" fmla="*/ 9936 h 10000"/>
                <a:gd name="connsiteX43" fmla="*/ 1451 w 10277"/>
                <a:gd name="connsiteY43" fmla="*/ 9982 h 10000"/>
                <a:gd name="connsiteX44" fmla="*/ 1820 w 10277"/>
                <a:gd name="connsiteY44" fmla="*/ 9933 h 10000"/>
                <a:gd name="connsiteX45" fmla="*/ 2151 w 10277"/>
                <a:gd name="connsiteY45" fmla="*/ 9941 h 10000"/>
                <a:gd name="connsiteX46" fmla="*/ 2346 w 10277"/>
                <a:gd name="connsiteY46" fmla="*/ 10000 h 10000"/>
                <a:gd name="connsiteX47" fmla="*/ 2454 w 10277"/>
                <a:gd name="connsiteY47" fmla="*/ 9961 h 10000"/>
                <a:gd name="connsiteX48" fmla="*/ 2557 w 10277"/>
                <a:gd name="connsiteY48" fmla="*/ 9834 h 10000"/>
                <a:gd name="connsiteX49" fmla="*/ 2530 w 10277"/>
                <a:gd name="connsiteY49" fmla="*/ 9625 h 10000"/>
                <a:gd name="connsiteX50" fmla="*/ 2782 w 10277"/>
                <a:gd name="connsiteY50" fmla="*/ 9392 h 10000"/>
                <a:gd name="connsiteX51" fmla="*/ 2966 w 10277"/>
                <a:gd name="connsiteY51" fmla="*/ 9428 h 10000"/>
                <a:gd name="connsiteX52" fmla="*/ 3073 w 10277"/>
                <a:gd name="connsiteY52" fmla="*/ 9335 h 10000"/>
                <a:gd name="connsiteX53" fmla="*/ 3278 w 10277"/>
                <a:gd name="connsiteY53" fmla="*/ 9282 h 10000"/>
                <a:gd name="connsiteX54" fmla="*/ 3557 w 10277"/>
                <a:gd name="connsiteY54" fmla="*/ 9295 h 10000"/>
                <a:gd name="connsiteX55" fmla="*/ 3724 w 10277"/>
                <a:gd name="connsiteY55" fmla="*/ 9332 h 10000"/>
                <a:gd name="connsiteX56" fmla="*/ 3948 w 10277"/>
                <a:gd name="connsiteY56" fmla="*/ 9315 h 10000"/>
                <a:gd name="connsiteX57" fmla="*/ 4173 w 10277"/>
                <a:gd name="connsiteY57" fmla="*/ 9356 h 10000"/>
                <a:gd name="connsiteX58" fmla="*/ 4398 w 10277"/>
                <a:gd name="connsiteY58" fmla="*/ 9361 h 10000"/>
                <a:gd name="connsiteX59" fmla="*/ 4902 w 10277"/>
                <a:gd name="connsiteY59" fmla="*/ 8817 h 10000"/>
                <a:gd name="connsiteX60" fmla="*/ 5030 w 10277"/>
                <a:gd name="connsiteY60" fmla="*/ 8375 h 10000"/>
                <a:gd name="connsiteX61" fmla="*/ 5235 w 10277"/>
                <a:gd name="connsiteY61" fmla="*/ 8177 h 10000"/>
                <a:gd name="connsiteX62" fmla="*/ 5235 w 10277"/>
                <a:gd name="connsiteY62" fmla="*/ 8073 h 10000"/>
                <a:gd name="connsiteX63" fmla="*/ 5160 w 10277"/>
                <a:gd name="connsiteY63" fmla="*/ 8015 h 10000"/>
                <a:gd name="connsiteX64" fmla="*/ 5281 w 10277"/>
                <a:gd name="connsiteY64" fmla="*/ 7922 h 10000"/>
                <a:gd name="connsiteX65" fmla="*/ 5259 w 10277"/>
                <a:gd name="connsiteY65" fmla="*/ 7844 h 10000"/>
                <a:gd name="connsiteX66" fmla="*/ 5177 w 10277"/>
                <a:gd name="connsiteY66" fmla="*/ 7776 h 10000"/>
                <a:gd name="connsiteX67" fmla="*/ 5160 w 10277"/>
                <a:gd name="connsiteY67" fmla="*/ 7728 h 10000"/>
                <a:gd name="connsiteX68" fmla="*/ 5181 w 10277"/>
                <a:gd name="connsiteY68" fmla="*/ 7691 h 10000"/>
                <a:gd name="connsiteX69" fmla="*/ 5292 w 10277"/>
                <a:gd name="connsiteY69" fmla="*/ 7721 h 10000"/>
                <a:gd name="connsiteX70" fmla="*/ 5381 w 10277"/>
                <a:gd name="connsiteY70" fmla="*/ 7719 h 10000"/>
                <a:gd name="connsiteX71" fmla="*/ 5333 w 10277"/>
                <a:gd name="connsiteY71" fmla="*/ 7655 h 10000"/>
                <a:gd name="connsiteX72" fmla="*/ 5348 w 10277"/>
                <a:gd name="connsiteY72" fmla="*/ 7619 h 10000"/>
                <a:gd name="connsiteX73" fmla="*/ 5414 w 10277"/>
                <a:gd name="connsiteY73" fmla="*/ 7565 h 10000"/>
                <a:gd name="connsiteX74" fmla="*/ 5401 w 10277"/>
                <a:gd name="connsiteY74" fmla="*/ 7521 h 10000"/>
                <a:gd name="connsiteX75" fmla="*/ 5462 w 10277"/>
                <a:gd name="connsiteY75" fmla="*/ 7373 h 10000"/>
                <a:gd name="connsiteX76" fmla="*/ 5445 w 10277"/>
                <a:gd name="connsiteY76" fmla="*/ 7327 h 10000"/>
                <a:gd name="connsiteX77" fmla="*/ 5140 w 10277"/>
                <a:gd name="connsiteY77" fmla="*/ 7216 h 10000"/>
                <a:gd name="connsiteX78" fmla="*/ 5181 w 10277"/>
                <a:gd name="connsiteY78" fmla="*/ 7211 h 10000"/>
                <a:gd name="connsiteX79" fmla="*/ 5344 w 10277"/>
                <a:gd name="connsiteY79" fmla="*/ 7241 h 10000"/>
                <a:gd name="connsiteX80" fmla="*/ 5520 w 10277"/>
                <a:gd name="connsiteY80" fmla="*/ 7230 h 10000"/>
                <a:gd name="connsiteX81" fmla="*/ 5571 w 10277"/>
                <a:gd name="connsiteY81" fmla="*/ 7189 h 10000"/>
                <a:gd name="connsiteX82" fmla="*/ 5401 w 10277"/>
                <a:gd name="connsiteY82" fmla="*/ 7113 h 10000"/>
                <a:gd name="connsiteX83" fmla="*/ 4898 w 10277"/>
                <a:gd name="connsiteY83" fmla="*/ 7062 h 10000"/>
                <a:gd name="connsiteX84" fmla="*/ 4932 w 10277"/>
                <a:gd name="connsiteY84" fmla="*/ 7039 h 10000"/>
                <a:gd name="connsiteX85" fmla="*/ 5344 w 10277"/>
                <a:gd name="connsiteY85" fmla="*/ 7023 h 10000"/>
                <a:gd name="connsiteX86" fmla="*/ 5571 w 10277"/>
                <a:gd name="connsiteY86" fmla="*/ 7069 h 10000"/>
                <a:gd name="connsiteX87" fmla="*/ 5702 w 10277"/>
                <a:gd name="connsiteY87" fmla="*/ 7039 h 10000"/>
                <a:gd name="connsiteX88" fmla="*/ 5750 w 10277"/>
                <a:gd name="connsiteY88" fmla="*/ 6959 h 10000"/>
                <a:gd name="connsiteX89" fmla="*/ 5987 w 10277"/>
                <a:gd name="connsiteY89" fmla="*/ 6959 h 10000"/>
                <a:gd name="connsiteX90" fmla="*/ 6308 w 10277"/>
                <a:gd name="connsiteY90" fmla="*/ 6799 h 10000"/>
                <a:gd name="connsiteX91" fmla="*/ 6319 w 10277"/>
                <a:gd name="connsiteY91" fmla="*/ 6693 h 10000"/>
                <a:gd name="connsiteX92" fmla="*/ 6455 w 10277"/>
                <a:gd name="connsiteY92" fmla="*/ 6718 h 10000"/>
                <a:gd name="connsiteX93" fmla="*/ 6449 w 10277"/>
                <a:gd name="connsiteY93" fmla="*/ 6824 h 10000"/>
                <a:gd name="connsiteX94" fmla="*/ 6665 w 10277"/>
                <a:gd name="connsiteY94" fmla="*/ 6817 h 10000"/>
                <a:gd name="connsiteX95" fmla="*/ 6807 w 10277"/>
                <a:gd name="connsiteY95" fmla="*/ 6707 h 10000"/>
                <a:gd name="connsiteX96" fmla="*/ 7070 w 10277"/>
                <a:gd name="connsiteY96" fmla="*/ 6607 h 10000"/>
                <a:gd name="connsiteX97" fmla="*/ 7029 w 10277"/>
                <a:gd name="connsiteY97" fmla="*/ 6493 h 10000"/>
                <a:gd name="connsiteX98" fmla="*/ 7107 w 10277"/>
                <a:gd name="connsiteY98" fmla="*/ 6538 h 10000"/>
                <a:gd name="connsiteX99" fmla="*/ 7227 w 10277"/>
                <a:gd name="connsiteY99" fmla="*/ 6538 h 10000"/>
                <a:gd name="connsiteX100" fmla="*/ 7227 w 10277"/>
                <a:gd name="connsiteY100" fmla="*/ 6486 h 10000"/>
                <a:gd name="connsiteX101" fmla="*/ 7340 w 10277"/>
                <a:gd name="connsiteY101" fmla="*/ 6446 h 10000"/>
                <a:gd name="connsiteX102" fmla="*/ 7324 w 10277"/>
                <a:gd name="connsiteY102" fmla="*/ 6405 h 10000"/>
                <a:gd name="connsiteX103" fmla="*/ 6377 w 10277"/>
                <a:gd name="connsiteY103" fmla="*/ 6488 h 10000"/>
                <a:gd name="connsiteX104" fmla="*/ 6155 w 10277"/>
                <a:gd name="connsiteY104" fmla="*/ 6463 h 10000"/>
                <a:gd name="connsiteX105" fmla="*/ 6065 w 10277"/>
                <a:gd name="connsiteY105" fmla="*/ 6493 h 10000"/>
                <a:gd name="connsiteX106" fmla="*/ 6035 w 10277"/>
                <a:gd name="connsiteY106" fmla="*/ 6436 h 10000"/>
                <a:gd name="connsiteX107" fmla="*/ 5930 w 10277"/>
                <a:gd name="connsiteY107" fmla="*/ 6384 h 10000"/>
                <a:gd name="connsiteX108" fmla="*/ 5508 w 10277"/>
                <a:gd name="connsiteY108" fmla="*/ 6282 h 10000"/>
                <a:gd name="connsiteX109" fmla="*/ 5259 w 10277"/>
                <a:gd name="connsiteY109" fmla="*/ 6298 h 10000"/>
                <a:gd name="connsiteX110" fmla="*/ 5160 w 10277"/>
                <a:gd name="connsiteY110" fmla="*/ 6270 h 10000"/>
                <a:gd name="connsiteX111" fmla="*/ 5265 w 10277"/>
                <a:gd name="connsiteY111" fmla="*/ 6245 h 10000"/>
                <a:gd name="connsiteX112" fmla="*/ 5344 w 10277"/>
                <a:gd name="connsiteY112" fmla="*/ 6190 h 10000"/>
                <a:gd name="connsiteX113" fmla="*/ 5462 w 10277"/>
                <a:gd name="connsiteY113" fmla="*/ 6208 h 10000"/>
                <a:gd name="connsiteX114" fmla="*/ 5602 w 10277"/>
                <a:gd name="connsiteY114" fmla="*/ 6193 h 10000"/>
                <a:gd name="connsiteX115" fmla="*/ 5813 w 10277"/>
                <a:gd name="connsiteY115" fmla="*/ 6211 h 10000"/>
                <a:gd name="connsiteX116" fmla="*/ 5838 w 10277"/>
                <a:gd name="connsiteY116" fmla="*/ 6204 h 10000"/>
                <a:gd name="connsiteX117" fmla="*/ 6002 w 10277"/>
                <a:gd name="connsiteY117" fmla="*/ 6287 h 10000"/>
                <a:gd name="connsiteX118" fmla="*/ 6122 w 10277"/>
                <a:gd name="connsiteY118" fmla="*/ 6257 h 10000"/>
                <a:gd name="connsiteX119" fmla="*/ 6133 w 10277"/>
                <a:gd name="connsiteY119" fmla="*/ 6229 h 10000"/>
                <a:gd name="connsiteX120" fmla="*/ 6244 w 10277"/>
                <a:gd name="connsiteY120" fmla="*/ 6278 h 10000"/>
                <a:gd name="connsiteX121" fmla="*/ 6391 w 10277"/>
                <a:gd name="connsiteY121" fmla="*/ 6304 h 10000"/>
                <a:gd name="connsiteX122" fmla="*/ 6449 w 10277"/>
                <a:gd name="connsiteY122" fmla="*/ 6255 h 10000"/>
                <a:gd name="connsiteX123" fmla="*/ 6496 w 10277"/>
                <a:gd name="connsiteY123" fmla="*/ 6282 h 10000"/>
                <a:gd name="connsiteX124" fmla="*/ 6565 w 10277"/>
                <a:gd name="connsiteY124" fmla="*/ 6377 h 10000"/>
                <a:gd name="connsiteX125" fmla="*/ 6707 w 10277"/>
                <a:gd name="connsiteY125" fmla="*/ 6399 h 10000"/>
                <a:gd name="connsiteX126" fmla="*/ 7286 w 10277"/>
                <a:gd name="connsiteY126" fmla="*/ 6259 h 10000"/>
                <a:gd name="connsiteX127" fmla="*/ 7571 w 10277"/>
                <a:gd name="connsiteY127" fmla="*/ 6064 h 10000"/>
                <a:gd name="connsiteX128" fmla="*/ 7637 w 10277"/>
                <a:gd name="connsiteY128" fmla="*/ 5921 h 10000"/>
                <a:gd name="connsiteX129" fmla="*/ 7534 w 10277"/>
                <a:gd name="connsiteY129" fmla="*/ 5792 h 10000"/>
                <a:gd name="connsiteX130" fmla="*/ 7318 w 10277"/>
                <a:gd name="connsiteY130" fmla="*/ 5715 h 10000"/>
                <a:gd name="connsiteX131" fmla="*/ 7164 w 10277"/>
                <a:gd name="connsiteY131" fmla="*/ 5589 h 10000"/>
                <a:gd name="connsiteX132" fmla="*/ 7307 w 10277"/>
                <a:gd name="connsiteY132" fmla="*/ 5584 h 10000"/>
                <a:gd name="connsiteX133" fmla="*/ 7297 w 10277"/>
                <a:gd name="connsiteY133" fmla="*/ 5554 h 10000"/>
                <a:gd name="connsiteX134" fmla="*/ 6925 w 10277"/>
                <a:gd name="connsiteY134" fmla="*/ 5465 h 10000"/>
                <a:gd name="connsiteX135" fmla="*/ 6909 w 10277"/>
                <a:gd name="connsiteY135" fmla="*/ 5383 h 10000"/>
                <a:gd name="connsiteX136" fmla="*/ 6837 w 10277"/>
                <a:gd name="connsiteY136" fmla="*/ 5299 h 10000"/>
                <a:gd name="connsiteX137" fmla="*/ 6543 w 10277"/>
                <a:gd name="connsiteY137" fmla="*/ 5314 h 10000"/>
                <a:gd name="connsiteX138" fmla="*/ 6438 w 10277"/>
                <a:gd name="connsiteY138" fmla="*/ 5224 h 10000"/>
                <a:gd name="connsiteX139" fmla="*/ 6377 w 10277"/>
                <a:gd name="connsiteY139" fmla="*/ 5219 h 10000"/>
                <a:gd name="connsiteX140" fmla="*/ 6377 w 10277"/>
                <a:gd name="connsiteY140" fmla="*/ 5256 h 10000"/>
                <a:gd name="connsiteX141" fmla="*/ 6244 w 10277"/>
                <a:gd name="connsiteY141" fmla="*/ 5408 h 10000"/>
                <a:gd name="connsiteX142" fmla="*/ 6101 w 10277"/>
                <a:gd name="connsiteY142" fmla="*/ 5498 h 10000"/>
                <a:gd name="connsiteX143" fmla="*/ 5653 w 10277"/>
                <a:gd name="connsiteY143" fmla="*/ 5651 h 10000"/>
                <a:gd name="connsiteX144" fmla="*/ 5496 w 10277"/>
                <a:gd name="connsiteY144" fmla="*/ 5646 h 10000"/>
                <a:gd name="connsiteX145" fmla="*/ 5281 w 10277"/>
                <a:gd name="connsiteY145" fmla="*/ 5669 h 10000"/>
                <a:gd name="connsiteX146" fmla="*/ 5160 w 10277"/>
                <a:gd name="connsiteY146" fmla="*/ 5646 h 10000"/>
                <a:gd name="connsiteX147" fmla="*/ 5318 w 10277"/>
                <a:gd name="connsiteY147" fmla="*/ 5604 h 10000"/>
                <a:gd name="connsiteX148" fmla="*/ 5524 w 10277"/>
                <a:gd name="connsiteY148" fmla="*/ 5584 h 10000"/>
                <a:gd name="connsiteX149" fmla="*/ 5693 w 10277"/>
                <a:gd name="connsiteY149" fmla="*/ 5513 h 10000"/>
                <a:gd name="connsiteX150" fmla="*/ 5859 w 10277"/>
                <a:gd name="connsiteY150" fmla="*/ 5480 h 10000"/>
                <a:gd name="connsiteX151" fmla="*/ 6171 w 10277"/>
                <a:gd name="connsiteY151" fmla="*/ 5355 h 10000"/>
                <a:gd name="connsiteX152" fmla="*/ 6230 w 10277"/>
                <a:gd name="connsiteY152" fmla="*/ 5274 h 10000"/>
                <a:gd name="connsiteX153" fmla="*/ 6235 w 10277"/>
                <a:gd name="connsiteY153" fmla="*/ 5168 h 10000"/>
                <a:gd name="connsiteX154" fmla="*/ 6092 w 10277"/>
                <a:gd name="connsiteY154" fmla="*/ 5150 h 10000"/>
                <a:gd name="connsiteX155" fmla="*/ 6155 w 10277"/>
                <a:gd name="connsiteY155" fmla="*/ 5086 h 10000"/>
                <a:gd name="connsiteX156" fmla="*/ 6175 w 10277"/>
                <a:gd name="connsiteY156" fmla="*/ 5005 h 10000"/>
                <a:gd name="connsiteX157" fmla="*/ 6115 w 10277"/>
                <a:gd name="connsiteY157" fmla="*/ 4928 h 10000"/>
                <a:gd name="connsiteX158" fmla="*/ 6081 w 10277"/>
                <a:gd name="connsiteY158" fmla="*/ 4367 h 10000"/>
                <a:gd name="connsiteX159" fmla="*/ 6166 w 10277"/>
                <a:gd name="connsiteY159" fmla="*/ 4246 h 10000"/>
                <a:gd name="connsiteX160" fmla="*/ 6144 w 10277"/>
                <a:gd name="connsiteY160" fmla="*/ 4198 h 10000"/>
                <a:gd name="connsiteX161" fmla="*/ 6391 w 10277"/>
                <a:gd name="connsiteY161" fmla="*/ 4269 h 10000"/>
                <a:gd name="connsiteX162" fmla="*/ 6408 w 10277"/>
                <a:gd name="connsiteY162" fmla="*/ 4202 h 10000"/>
                <a:gd name="connsiteX163" fmla="*/ 6354 w 10277"/>
                <a:gd name="connsiteY163" fmla="*/ 4029 h 10000"/>
                <a:gd name="connsiteX164" fmla="*/ 6532 w 10277"/>
                <a:gd name="connsiteY164" fmla="*/ 3719 h 10000"/>
                <a:gd name="connsiteX165" fmla="*/ 6423 w 10277"/>
                <a:gd name="connsiteY165" fmla="*/ 3645 h 10000"/>
                <a:gd name="connsiteX166" fmla="*/ 6381 w 10277"/>
                <a:gd name="connsiteY166" fmla="*/ 3576 h 10000"/>
                <a:gd name="connsiteX167" fmla="*/ 6395 w 10277"/>
                <a:gd name="connsiteY167" fmla="*/ 3463 h 10000"/>
                <a:gd name="connsiteX168" fmla="*/ 6656 w 10277"/>
                <a:gd name="connsiteY168" fmla="*/ 3538 h 10000"/>
                <a:gd name="connsiteX169" fmla="*/ 6665 w 10277"/>
                <a:gd name="connsiteY169" fmla="*/ 3516 h 10000"/>
                <a:gd name="connsiteX170" fmla="*/ 6737 w 10277"/>
                <a:gd name="connsiteY170" fmla="*/ 3497 h 10000"/>
                <a:gd name="connsiteX171" fmla="*/ 6837 w 10277"/>
                <a:gd name="connsiteY171" fmla="*/ 3424 h 10000"/>
                <a:gd name="connsiteX172" fmla="*/ 6854 w 10277"/>
                <a:gd name="connsiteY172" fmla="*/ 3404 h 10000"/>
                <a:gd name="connsiteX173" fmla="*/ 6832 w 10277"/>
                <a:gd name="connsiteY173" fmla="*/ 3377 h 10000"/>
                <a:gd name="connsiteX174" fmla="*/ 6886 w 10277"/>
                <a:gd name="connsiteY174" fmla="*/ 3250 h 10000"/>
                <a:gd name="connsiteX175" fmla="*/ 6822 w 10277"/>
                <a:gd name="connsiteY175" fmla="*/ 3167 h 10000"/>
                <a:gd name="connsiteX176" fmla="*/ 6832 w 10277"/>
                <a:gd name="connsiteY176" fmla="*/ 3101 h 10000"/>
                <a:gd name="connsiteX177" fmla="*/ 6868 w 10277"/>
                <a:gd name="connsiteY177" fmla="*/ 3178 h 10000"/>
                <a:gd name="connsiteX178" fmla="*/ 7011 w 10277"/>
                <a:gd name="connsiteY178" fmla="*/ 3236 h 10000"/>
                <a:gd name="connsiteX179" fmla="*/ 7070 w 10277"/>
                <a:gd name="connsiteY179" fmla="*/ 3229 h 10000"/>
                <a:gd name="connsiteX180" fmla="*/ 7164 w 10277"/>
                <a:gd name="connsiteY180" fmla="*/ 3152 h 10000"/>
                <a:gd name="connsiteX181" fmla="*/ 7265 w 10277"/>
                <a:gd name="connsiteY181" fmla="*/ 3183 h 10000"/>
                <a:gd name="connsiteX182" fmla="*/ 7292 w 10277"/>
                <a:gd name="connsiteY182" fmla="*/ 3122 h 10000"/>
                <a:gd name="connsiteX183" fmla="*/ 7360 w 10277"/>
                <a:gd name="connsiteY183" fmla="*/ 3080 h 10000"/>
                <a:gd name="connsiteX184" fmla="*/ 7175 w 10277"/>
                <a:gd name="connsiteY184" fmla="*/ 3036 h 10000"/>
                <a:gd name="connsiteX185" fmla="*/ 7307 w 10277"/>
                <a:gd name="connsiteY185" fmla="*/ 3045 h 10000"/>
                <a:gd name="connsiteX186" fmla="*/ 7442 w 10277"/>
                <a:gd name="connsiteY186" fmla="*/ 2999 h 10000"/>
                <a:gd name="connsiteX187" fmla="*/ 7437 w 10277"/>
                <a:gd name="connsiteY187" fmla="*/ 2966 h 10000"/>
                <a:gd name="connsiteX188" fmla="*/ 7565 w 10277"/>
                <a:gd name="connsiteY188" fmla="*/ 2936 h 10000"/>
                <a:gd name="connsiteX189" fmla="*/ 7576 w 10277"/>
                <a:gd name="connsiteY189" fmla="*/ 2859 h 10000"/>
                <a:gd name="connsiteX190" fmla="*/ 7676 w 10277"/>
                <a:gd name="connsiteY190" fmla="*/ 2844 h 10000"/>
                <a:gd name="connsiteX191" fmla="*/ 7684 w 10277"/>
                <a:gd name="connsiteY191" fmla="*/ 2754 h 10000"/>
                <a:gd name="connsiteX192" fmla="*/ 7790 w 10277"/>
                <a:gd name="connsiteY192" fmla="*/ 2743 h 10000"/>
                <a:gd name="connsiteX193" fmla="*/ 7953 w 10277"/>
                <a:gd name="connsiteY193" fmla="*/ 2762 h 10000"/>
                <a:gd name="connsiteX194" fmla="*/ 8132 w 10277"/>
                <a:gd name="connsiteY194" fmla="*/ 2690 h 10000"/>
                <a:gd name="connsiteX195" fmla="*/ 8195 w 10277"/>
                <a:gd name="connsiteY195" fmla="*/ 2607 h 10000"/>
                <a:gd name="connsiteX196" fmla="*/ 8417 w 10277"/>
                <a:gd name="connsiteY196" fmla="*/ 2524 h 10000"/>
                <a:gd name="connsiteX197" fmla="*/ 8527 w 10277"/>
                <a:gd name="connsiteY197" fmla="*/ 2575 h 10000"/>
                <a:gd name="connsiteX198" fmla="*/ 8695 w 10277"/>
                <a:gd name="connsiteY198" fmla="*/ 2519 h 10000"/>
                <a:gd name="connsiteX199" fmla="*/ 8736 w 10277"/>
                <a:gd name="connsiteY199" fmla="*/ 2445 h 10000"/>
                <a:gd name="connsiteX200" fmla="*/ 8864 w 10277"/>
                <a:gd name="connsiteY200" fmla="*/ 2396 h 10000"/>
                <a:gd name="connsiteX201" fmla="*/ 8973 w 10277"/>
                <a:gd name="connsiteY201" fmla="*/ 2418 h 10000"/>
                <a:gd name="connsiteX202" fmla="*/ 9042 w 10277"/>
                <a:gd name="connsiteY202" fmla="*/ 2381 h 10000"/>
                <a:gd name="connsiteX203" fmla="*/ 9231 w 10277"/>
                <a:gd name="connsiteY203" fmla="*/ 2330 h 10000"/>
                <a:gd name="connsiteX204" fmla="*/ 9310 w 10277"/>
                <a:gd name="connsiteY204" fmla="*/ 2263 h 10000"/>
                <a:gd name="connsiteX205" fmla="*/ 9417 w 10277"/>
                <a:gd name="connsiteY205" fmla="*/ 2235 h 10000"/>
                <a:gd name="connsiteX206" fmla="*/ 10000 w 10277"/>
                <a:gd name="connsiteY206" fmla="*/ 1832 h 10000"/>
                <a:gd name="connsiteX207" fmla="*/ 10277 w 10277"/>
                <a:gd name="connsiteY207" fmla="*/ 1829 h 10000"/>
                <a:gd name="connsiteX208" fmla="*/ 9713 w 10277"/>
                <a:gd name="connsiteY208" fmla="*/ 1720 h 10000"/>
                <a:gd name="connsiteX209" fmla="*/ 8075 w 10277"/>
                <a:gd name="connsiteY209" fmla="*/ 1603 h 10000"/>
                <a:gd name="connsiteX210" fmla="*/ 8367 w 10277"/>
                <a:gd name="connsiteY210" fmla="*/ 1293 h 10000"/>
                <a:gd name="connsiteX211" fmla="*/ 7497 w 10277"/>
                <a:gd name="connsiteY211" fmla="*/ 923 h 10000"/>
                <a:gd name="connsiteX212" fmla="*/ 7377 w 10277"/>
                <a:gd name="connsiteY212" fmla="*/ 560 h 10000"/>
                <a:gd name="connsiteX213" fmla="*/ 7012 w 10277"/>
                <a:gd name="connsiteY213" fmla="*/ 590 h 10000"/>
                <a:gd name="connsiteX214" fmla="*/ 6413 w 10277"/>
                <a:gd name="connsiteY214" fmla="*/ 332 h 10000"/>
                <a:gd name="connsiteX215" fmla="*/ 5098 w 10277"/>
                <a:gd name="connsiteY215" fmla="*/ 0 h 10000"/>
                <a:gd name="connsiteX216" fmla="*/ 4837 w 10277"/>
                <a:gd name="connsiteY216" fmla="*/ 82 h 10000"/>
                <a:gd name="connsiteX217" fmla="*/ 4671 w 10277"/>
                <a:gd name="connsiteY217" fmla="*/ 78 h 10000"/>
                <a:gd name="connsiteX218" fmla="*/ 4571 w 10277"/>
                <a:gd name="connsiteY218" fmla="*/ 107 h 10000"/>
                <a:gd name="connsiteX219" fmla="*/ 4298 w 10277"/>
                <a:gd name="connsiteY219" fmla="*/ 913 h 10000"/>
                <a:gd name="connsiteX220" fmla="*/ 3668 w 10277"/>
                <a:gd name="connsiteY220" fmla="*/ 1383 h 10000"/>
                <a:gd name="connsiteX221" fmla="*/ 3672 w 10277"/>
                <a:gd name="connsiteY221" fmla="*/ 1457 h 10000"/>
                <a:gd name="connsiteX222" fmla="*/ 3952 w 10277"/>
                <a:gd name="connsiteY222" fmla="*/ 1668 h 10000"/>
                <a:gd name="connsiteX223" fmla="*/ 3861 w 10277"/>
                <a:gd name="connsiteY223" fmla="*/ 1896 h 10000"/>
                <a:gd name="connsiteX224" fmla="*/ 3698 w 10277"/>
                <a:gd name="connsiteY224" fmla="*/ 1979 h 10000"/>
                <a:gd name="connsiteX225" fmla="*/ 3208 w 10277"/>
                <a:gd name="connsiteY225" fmla="*/ 1924 h 10000"/>
                <a:gd name="connsiteX226" fmla="*/ 2871 w 10277"/>
                <a:gd name="connsiteY226" fmla="*/ 1955 h 10000"/>
                <a:gd name="connsiteX227" fmla="*/ 2601 w 10277"/>
                <a:gd name="connsiteY227" fmla="*/ 2023 h 10000"/>
                <a:gd name="connsiteX228" fmla="*/ 2163 w 10277"/>
                <a:gd name="connsiteY228" fmla="*/ 2233 h 10000"/>
                <a:gd name="connsiteX229" fmla="*/ 1931 w 10277"/>
                <a:gd name="connsiteY229" fmla="*/ 2487 h 10000"/>
                <a:gd name="connsiteX230" fmla="*/ 1951 w 10277"/>
                <a:gd name="connsiteY230" fmla="*/ 2629 h 10000"/>
                <a:gd name="connsiteX231" fmla="*/ 2032 w 10277"/>
                <a:gd name="connsiteY231" fmla="*/ 2738 h 10000"/>
                <a:gd name="connsiteX232" fmla="*/ 2093 w 10277"/>
                <a:gd name="connsiteY232" fmla="*/ 2782 h 10000"/>
                <a:gd name="connsiteX233" fmla="*/ 1979 w 10277"/>
                <a:gd name="connsiteY233" fmla="*/ 2852 h 10000"/>
                <a:gd name="connsiteX234" fmla="*/ 1731 w 10277"/>
                <a:gd name="connsiteY234" fmla="*/ 3330 h 10000"/>
                <a:gd name="connsiteX235" fmla="*/ 1779 w 10277"/>
                <a:gd name="connsiteY235" fmla="*/ 3358 h 10000"/>
                <a:gd name="connsiteX236" fmla="*/ 1815 w 10277"/>
                <a:gd name="connsiteY236" fmla="*/ 3479 h 10000"/>
                <a:gd name="connsiteX237" fmla="*/ 1700 w 10277"/>
                <a:gd name="connsiteY237" fmla="*/ 3982 h 10000"/>
                <a:gd name="connsiteX238" fmla="*/ 1815 w 10277"/>
                <a:gd name="connsiteY238" fmla="*/ 4110 h 10000"/>
                <a:gd name="connsiteX239" fmla="*/ 2131 w 10277"/>
                <a:gd name="connsiteY239" fmla="*/ 4251 h 10000"/>
                <a:gd name="connsiteX240" fmla="*/ 2145 w 10277"/>
                <a:gd name="connsiteY240" fmla="*/ 4423 h 10000"/>
                <a:gd name="connsiteX241" fmla="*/ 2010 w 10277"/>
                <a:gd name="connsiteY241" fmla="*/ 4566 h 10000"/>
                <a:gd name="connsiteX242" fmla="*/ 1815 w 10277"/>
                <a:gd name="connsiteY242" fmla="*/ 4652 h 10000"/>
                <a:gd name="connsiteX243" fmla="*/ 1557 w 10277"/>
                <a:gd name="connsiteY243" fmla="*/ 4687 h 10000"/>
                <a:gd name="connsiteX244" fmla="*/ 1490 w 10277"/>
                <a:gd name="connsiteY244" fmla="*/ 4737 h 10000"/>
                <a:gd name="connsiteX245" fmla="*/ 1640 w 10277"/>
                <a:gd name="connsiteY245" fmla="*/ 4855 h 10000"/>
                <a:gd name="connsiteX246" fmla="*/ 1726 w 10277"/>
                <a:gd name="connsiteY246" fmla="*/ 5136 h 10000"/>
                <a:gd name="connsiteX247" fmla="*/ 1531 w 10277"/>
                <a:gd name="connsiteY247" fmla="*/ 5376 h 10000"/>
                <a:gd name="connsiteX248" fmla="*/ 1599 w 10277"/>
                <a:gd name="connsiteY248" fmla="*/ 5451 h 10000"/>
                <a:gd name="connsiteX249" fmla="*/ 1537 w 10277"/>
                <a:gd name="connsiteY249" fmla="*/ 5577 h 10000"/>
                <a:gd name="connsiteX250" fmla="*/ 1412 w 10277"/>
                <a:gd name="connsiteY250" fmla="*/ 5663 h 10000"/>
                <a:gd name="connsiteX251" fmla="*/ 915 w 10277"/>
                <a:gd name="connsiteY251" fmla="*/ 5730 h 10000"/>
                <a:gd name="connsiteX252" fmla="*/ 885 w 10277"/>
                <a:gd name="connsiteY252" fmla="*/ 5846 h 10000"/>
                <a:gd name="connsiteX253" fmla="*/ 617 w 10277"/>
                <a:gd name="connsiteY253" fmla="*/ 6019 h 10000"/>
                <a:gd name="connsiteX254" fmla="*/ 652 w 10277"/>
                <a:gd name="connsiteY254" fmla="*/ 6268 h 10000"/>
                <a:gd name="connsiteX255" fmla="*/ 427 w 10277"/>
                <a:gd name="connsiteY255" fmla="*/ 6587 h 10000"/>
                <a:gd name="connsiteX256" fmla="*/ 274 w 10277"/>
                <a:gd name="connsiteY256" fmla="*/ 6624 h 10000"/>
                <a:gd name="connsiteX257" fmla="*/ 210 w 10277"/>
                <a:gd name="connsiteY257" fmla="*/ 6548 h 10000"/>
                <a:gd name="connsiteX258" fmla="*/ 132 w 10277"/>
                <a:gd name="connsiteY258" fmla="*/ 6663 h 10000"/>
                <a:gd name="connsiteX259" fmla="*/ 183 w 10277"/>
                <a:gd name="connsiteY259" fmla="*/ 6465 h 10000"/>
                <a:gd name="connsiteX260" fmla="*/ 151 w 10277"/>
                <a:gd name="connsiteY260" fmla="*/ 6427 h 10000"/>
                <a:gd name="connsiteX0" fmla="*/ 151 w 10277"/>
                <a:gd name="connsiteY0" fmla="*/ 6427 h 10000"/>
                <a:gd name="connsiteX1" fmla="*/ 0 w 10277"/>
                <a:gd name="connsiteY1" fmla="*/ 6530 h 10000"/>
                <a:gd name="connsiteX2" fmla="*/ 0 w 10277"/>
                <a:gd name="connsiteY2" fmla="*/ 7039 h 10000"/>
                <a:gd name="connsiteX3" fmla="*/ 83 w 10277"/>
                <a:gd name="connsiteY3" fmla="*/ 7053 h 10000"/>
                <a:gd name="connsiteX4" fmla="*/ 103 w 10277"/>
                <a:gd name="connsiteY4" fmla="*/ 7092 h 10000"/>
                <a:gd name="connsiteX5" fmla="*/ 99 w 10277"/>
                <a:gd name="connsiteY5" fmla="*/ 7161 h 10000"/>
                <a:gd name="connsiteX6" fmla="*/ 68 w 10277"/>
                <a:gd name="connsiteY6" fmla="*/ 7192 h 10000"/>
                <a:gd name="connsiteX7" fmla="*/ 195 w 10277"/>
                <a:gd name="connsiteY7" fmla="*/ 7133 h 10000"/>
                <a:gd name="connsiteX8" fmla="*/ 249 w 10277"/>
                <a:gd name="connsiteY8" fmla="*/ 7075 h 10000"/>
                <a:gd name="connsiteX9" fmla="*/ 315 w 10277"/>
                <a:gd name="connsiteY9" fmla="*/ 7115 h 10000"/>
                <a:gd name="connsiteX10" fmla="*/ 242 w 10277"/>
                <a:gd name="connsiteY10" fmla="*/ 7198 h 10000"/>
                <a:gd name="connsiteX11" fmla="*/ 320 w 10277"/>
                <a:gd name="connsiteY11" fmla="*/ 7200 h 10000"/>
                <a:gd name="connsiteX12" fmla="*/ 358 w 10277"/>
                <a:gd name="connsiteY12" fmla="*/ 7221 h 10000"/>
                <a:gd name="connsiteX13" fmla="*/ 257 w 10277"/>
                <a:gd name="connsiteY13" fmla="*/ 7248 h 10000"/>
                <a:gd name="connsiteX14" fmla="*/ 99 w 10277"/>
                <a:gd name="connsiteY14" fmla="*/ 7333 h 10000"/>
                <a:gd name="connsiteX15" fmla="*/ 381 w 10277"/>
                <a:gd name="connsiteY15" fmla="*/ 7400 h 10000"/>
                <a:gd name="connsiteX16" fmla="*/ 416 w 10277"/>
                <a:gd name="connsiteY16" fmla="*/ 7496 h 10000"/>
                <a:gd name="connsiteX17" fmla="*/ 320 w 10277"/>
                <a:gd name="connsiteY17" fmla="*/ 7636 h 10000"/>
                <a:gd name="connsiteX18" fmla="*/ 526 w 10277"/>
                <a:gd name="connsiteY18" fmla="*/ 7627 h 10000"/>
                <a:gd name="connsiteX19" fmla="*/ 541 w 10277"/>
                <a:gd name="connsiteY19" fmla="*/ 7733 h 10000"/>
                <a:gd name="connsiteX20" fmla="*/ 404 w 10277"/>
                <a:gd name="connsiteY20" fmla="*/ 7805 h 10000"/>
                <a:gd name="connsiteX21" fmla="*/ 427 w 10277"/>
                <a:gd name="connsiteY21" fmla="*/ 7945 h 10000"/>
                <a:gd name="connsiteX22" fmla="*/ 374 w 10277"/>
                <a:gd name="connsiteY22" fmla="*/ 8053 h 10000"/>
                <a:gd name="connsiteX23" fmla="*/ 536 w 10277"/>
                <a:gd name="connsiteY23" fmla="*/ 8063 h 10000"/>
                <a:gd name="connsiteX24" fmla="*/ 695 w 10277"/>
                <a:gd name="connsiteY24" fmla="*/ 8478 h 10000"/>
                <a:gd name="connsiteX25" fmla="*/ 878 w 10277"/>
                <a:gd name="connsiteY25" fmla="*/ 8583 h 10000"/>
                <a:gd name="connsiteX26" fmla="*/ 958 w 10277"/>
                <a:gd name="connsiteY26" fmla="*/ 8695 h 10000"/>
                <a:gd name="connsiteX27" fmla="*/ 1157 w 10277"/>
                <a:gd name="connsiteY27" fmla="*/ 8776 h 10000"/>
                <a:gd name="connsiteX28" fmla="*/ 1285 w 10277"/>
                <a:gd name="connsiteY28" fmla="*/ 8881 h 10000"/>
                <a:gd name="connsiteX29" fmla="*/ 1269 w 10277"/>
                <a:gd name="connsiteY29" fmla="*/ 8955 h 10000"/>
                <a:gd name="connsiteX30" fmla="*/ 1142 w 10277"/>
                <a:gd name="connsiteY30" fmla="*/ 8983 h 10000"/>
                <a:gd name="connsiteX31" fmla="*/ 1004 w 10277"/>
                <a:gd name="connsiteY31" fmla="*/ 8965 h 10000"/>
                <a:gd name="connsiteX32" fmla="*/ 962 w 10277"/>
                <a:gd name="connsiteY32" fmla="*/ 8996 h 10000"/>
                <a:gd name="connsiteX33" fmla="*/ 1067 w 10277"/>
                <a:gd name="connsiteY33" fmla="*/ 9158 h 10000"/>
                <a:gd name="connsiteX34" fmla="*/ 920 w 10277"/>
                <a:gd name="connsiteY34" fmla="*/ 9144 h 10000"/>
                <a:gd name="connsiteX35" fmla="*/ 795 w 10277"/>
                <a:gd name="connsiteY35" fmla="*/ 9105 h 10000"/>
                <a:gd name="connsiteX36" fmla="*/ 772 w 10277"/>
                <a:gd name="connsiteY36" fmla="*/ 9165 h 10000"/>
                <a:gd name="connsiteX37" fmla="*/ 1188 w 10277"/>
                <a:gd name="connsiteY37" fmla="*/ 9718 h 10000"/>
                <a:gd name="connsiteX38" fmla="*/ 1122 w 10277"/>
                <a:gd name="connsiteY38" fmla="*/ 9770 h 10000"/>
                <a:gd name="connsiteX39" fmla="*/ 1075 w 10277"/>
                <a:gd name="connsiteY39" fmla="*/ 9876 h 10000"/>
                <a:gd name="connsiteX40" fmla="*/ 1015 w 10277"/>
                <a:gd name="connsiteY40" fmla="*/ 9885 h 10000"/>
                <a:gd name="connsiteX41" fmla="*/ 978 w 10277"/>
                <a:gd name="connsiteY41" fmla="*/ 9931 h 10000"/>
                <a:gd name="connsiteX42" fmla="*/ 1229 w 10277"/>
                <a:gd name="connsiteY42" fmla="*/ 9936 h 10000"/>
                <a:gd name="connsiteX43" fmla="*/ 1451 w 10277"/>
                <a:gd name="connsiteY43" fmla="*/ 9982 h 10000"/>
                <a:gd name="connsiteX44" fmla="*/ 1820 w 10277"/>
                <a:gd name="connsiteY44" fmla="*/ 9933 h 10000"/>
                <a:gd name="connsiteX45" fmla="*/ 2151 w 10277"/>
                <a:gd name="connsiteY45" fmla="*/ 9941 h 10000"/>
                <a:gd name="connsiteX46" fmla="*/ 2346 w 10277"/>
                <a:gd name="connsiteY46" fmla="*/ 10000 h 10000"/>
                <a:gd name="connsiteX47" fmla="*/ 2454 w 10277"/>
                <a:gd name="connsiteY47" fmla="*/ 9961 h 10000"/>
                <a:gd name="connsiteX48" fmla="*/ 2557 w 10277"/>
                <a:gd name="connsiteY48" fmla="*/ 9834 h 10000"/>
                <a:gd name="connsiteX49" fmla="*/ 2530 w 10277"/>
                <a:gd name="connsiteY49" fmla="*/ 9625 h 10000"/>
                <a:gd name="connsiteX50" fmla="*/ 2782 w 10277"/>
                <a:gd name="connsiteY50" fmla="*/ 9392 h 10000"/>
                <a:gd name="connsiteX51" fmla="*/ 2966 w 10277"/>
                <a:gd name="connsiteY51" fmla="*/ 9428 h 10000"/>
                <a:gd name="connsiteX52" fmla="*/ 3073 w 10277"/>
                <a:gd name="connsiteY52" fmla="*/ 9335 h 10000"/>
                <a:gd name="connsiteX53" fmla="*/ 3278 w 10277"/>
                <a:gd name="connsiteY53" fmla="*/ 9282 h 10000"/>
                <a:gd name="connsiteX54" fmla="*/ 3557 w 10277"/>
                <a:gd name="connsiteY54" fmla="*/ 9295 h 10000"/>
                <a:gd name="connsiteX55" fmla="*/ 3724 w 10277"/>
                <a:gd name="connsiteY55" fmla="*/ 9332 h 10000"/>
                <a:gd name="connsiteX56" fmla="*/ 3948 w 10277"/>
                <a:gd name="connsiteY56" fmla="*/ 9315 h 10000"/>
                <a:gd name="connsiteX57" fmla="*/ 4173 w 10277"/>
                <a:gd name="connsiteY57" fmla="*/ 9356 h 10000"/>
                <a:gd name="connsiteX58" fmla="*/ 4398 w 10277"/>
                <a:gd name="connsiteY58" fmla="*/ 9361 h 10000"/>
                <a:gd name="connsiteX59" fmla="*/ 4902 w 10277"/>
                <a:gd name="connsiteY59" fmla="*/ 8817 h 10000"/>
                <a:gd name="connsiteX60" fmla="*/ 5030 w 10277"/>
                <a:gd name="connsiteY60" fmla="*/ 8375 h 10000"/>
                <a:gd name="connsiteX61" fmla="*/ 5235 w 10277"/>
                <a:gd name="connsiteY61" fmla="*/ 8177 h 10000"/>
                <a:gd name="connsiteX62" fmla="*/ 5235 w 10277"/>
                <a:gd name="connsiteY62" fmla="*/ 8073 h 10000"/>
                <a:gd name="connsiteX63" fmla="*/ 5160 w 10277"/>
                <a:gd name="connsiteY63" fmla="*/ 8015 h 10000"/>
                <a:gd name="connsiteX64" fmla="*/ 5281 w 10277"/>
                <a:gd name="connsiteY64" fmla="*/ 7922 h 10000"/>
                <a:gd name="connsiteX65" fmla="*/ 5259 w 10277"/>
                <a:gd name="connsiteY65" fmla="*/ 7844 h 10000"/>
                <a:gd name="connsiteX66" fmla="*/ 5177 w 10277"/>
                <a:gd name="connsiteY66" fmla="*/ 7776 h 10000"/>
                <a:gd name="connsiteX67" fmla="*/ 5160 w 10277"/>
                <a:gd name="connsiteY67" fmla="*/ 7728 h 10000"/>
                <a:gd name="connsiteX68" fmla="*/ 5181 w 10277"/>
                <a:gd name="connsiteY68" fmla="*/ 7691 h 10000"/>
                <a:gd name="connsiteX69" fmla="*/ 5292 w 10277"/>
                <a:gd name="connsiteY69" fmla="*/ 7721 h 10000"/>
                <a:gd name="connsiteX70" fmla="*/ 5381 w 10277"/>
                <a:gd name="connsiteY70" fmla="*/ 7719 h 10000"/>
                <a:gd name="connsiteX71" fmla="*/ 5333 w 10277"/>
                <a:gd name="connsiteY71" fmla="*/ 7655 h 10000"/>
                <a:gd name="connsiteX72" fmla="*/ 5348 w 10277"/>
                <a:gd name="connsiteY72" fmla="*/ 7619 h 10000"/>
                <a:gd name="connsiteX73" fmla="*/ 5414 w 10277"/>
                <a:gd name="connsiteY73" fmla="*/ 7565 h 10000"/>
                <a:gd name="connsiteX74" fmla="*/ 5401 w 10277"/>
                <a:gd name="connsiteY74" fmla="*/ 7521 h 10000"/>
                <a:gd name="connsiteX75" fmla="*/ 5462 w 10277"/>
                <a:gd name="connsiteY75" fmla="*/ 7373 h 10000"/>
                <a:gd name="connsiteX76" fmla="*/ 5445 w 10277"/>
                <a:gd name="connsiteY76" fmla="*/ 7327 h 10000"/>
                <a:gd name="connsiteX77" fmla="*/ 5140 w 10277"/>
                <a:gd name="connsiteY77" fmla="*/ 7216 h 10000"/>
                <a:gd name="connsiteX78" fmla="*/ 5181 w 10277"/>
                <a:gd name="connsiteY78" fmla="*/ 7211 h 10000"/>
                <a:gd name="connsiteX79" fmla="*/ 5344 w 10277"/>
                <a:gd name="connsiteY79" fmla="*/ 7241 h 10000"/>
                <a:gd name="connsiteX80" fmla="*/ 5520 w 10277"/>
                <a:gd name="connsiteY80" fmla="*/ 7230 h 10000"/>
                <a:gd name="connsiteX81" fmla="*/ 5571 w 10277"/>
                <a:gd name="connsiteY81" fmla="*/ 7189 h 10000"/>
                <a:gd name="connsiteX82" fmla="*/ 5401 w 10277"/>
                <a:gd name="connsiteY82" fmla="*/ 7113 h 10000"/>
                <a:gd name="connsiteX83" fmla="*/ 4898 w 10277"/>
                <a:gd name="connsiteY83" fmla="*/ 7062 h 10000"/>
                <a:gd name="connsiteX84" fmla="*/ 4932 w 10277"/>
                <a:gd name="connsiteY84" fmla="*/ 7039 h 10000"/>
                <a:gd name="connsiteX85" fmla="*/ 5344 w 10277"/>
                <a:gd name="connsiteY85" fmla="*/ 7023 h 10000"/>
                <a:gd name="connsiteX86" fmla="*/ 5571 w 10277"/>
                <a:gd name="connsiteY86" fmla="*/ 7069 h 10000"/>
                <a:gd name="connsiteX87" fmla="*/ 5702 w 10277"/>
                <a:gd name="connsiteY87" fmla="*/ 7039 h 10000"/>
                <a:gd name="connsiteX88" fmla="*/ 5750 w 10277"/>
                <a:gd name="connsiteY88" fmla="*/ 6959 h 10000"/>
                <a:gd name="connsiteX89" fmla="*/ 5987 w 10277"/>
                <a:gd name="connsiteY89" fmla="*/ 6959 h 10000"/>
                <a:gd name="connsiteX90" fmla="*/ 6308 w 10277"/>
                <a:gd name="connsiteY90" fmla="*/ 6799 h 10000"/>
                <a:gd name="connsiteX91" fmla="*/ 6319 w 10277"/>
                <a:gd name="connsiteY91" fmla="*/ 6693 h 10000"/>
                <a:gd name="connsiteX92" fmla="*/ 6455 w 10277"/>
                <a:gd name="connsiteY92" fmla="*/ 6718 h 10000"/>
                <a:gd name="connsiteX93" fmla="*/ 6449 w 10277"/>
                <a:gd name="connsiteY93" fmla="*/ 6824 h 10000"/>
                <a:gd name="connsiteX94" fmla="*/ 6665 w 10277"/>
                <a:gd name="connsiteY94" fmla="*/ 6817 h 10000"/>
                <a:gd name="connsiteX95" fmla="*/ 6807 w 10277"/>
                <a:gd name="connsiteY95" fmla="*/ 6707 h 10000"/>
                <a:gd name="connsiteX96" fmla="*/ 7070 w 10277"/>
                <a:gd name="connsiteY96" fmla="*/ 6607 h 10000"/>
                <a:gd name="connsiteX97" fmla="*/ 7029 w 10277"/>
                <a:gd name="connsiteY97" fmla="*/ 6493 h 10000"/>
                <a:gd name="connsiteX98" fmla="*/ 7107 w 10277"/>
                <a:gd name="connsiteY98" fmla="*/ 6538 h 10000"/>
                <a:gd name="connsiteX99" fmla="*/ 7227 w 10277"/>
                <a:gd name="connsiteY99" fmla="*/ 6538 h 10000"/>
                <a:gd name="connsiteX100" fmla="*/ 7227 w 10277"/>
                <a:gd name="connsiteY100" fmla="*/ 6486 h 10000"/>
                <a:gd name="connsiteX101" fmla="*/ 7340 w 10277"/>
                <a:gd name="connsiteY101" fmla="*/ 6446 h 10000"/>
                <a:gd name="connsiteX102" fmla="*/ 7324 w 10277"/>
                <a:gd name="connsiteY102" fmla="*/ 6405 h 10000"/>
                <a:gd name="connsiteX103" fmla="*/ 6377 w 10277"/>
                <a:gd name="connsiteY103" fmla="*/ 6488 h 10000"/>
                <a:gd name="connsiteX104" fmla="*/ 6155 w 10277"/>
                <a:gd name="connsiteY104" fmla="*/ 6463 h 10000"/>
                <a:gd name="connsiteX105" fmla="*/ 6065 w 10277"/>
                <a:gd name="connsiteY105" fmla="*/ 6493 h 10000"/>
                <a:gd name="connsiteX106" fmla="*/ 6035 w 10277"/>
                <a:gd name="connsiteY106" fmla="*/ 6436 h 10000"/>
                <a:gd name="connsiteX107" fmla="*/ 5930 w 10277"/>
                <a:gd name="connsiteY107" fmla="*/ 6384 h 10000"/>
                <a:gd name="connsiteX108" fmla="*/ 5508 w 10277"/>
                <a:gd name="connsiteY108" fmla="*/ 6282 h 10000"/>
                <a:gd name="connsiteX109" fmla="*/ 5259 w 10277"/>
                <a:gd name="connsiteY109" fmla="*/ 6298 h 10000"/>
                <a:gd name="connsiteX110" fmla="*/ 5160 w 10277"/>
                <a:gd name="connsiteY110" fmla="*/ 6270 h 10000"/>
                <a:gd name="connsiteX111" fmla="*/ 5265 w 10277"/>
                <a:gd name="connsiteY111" fmla="*/ 6245 h 10000"/>
                <a:gd name="connsiteX112" fmla="*/ 5344 w 10277"/>
                <a:gd name="connsiteY112" fmla="*/ 6190 h 10000"/>
                <a:gd name="connsiteX113" fmla="*/ 5462 w 10277"/>
                <a:gd name="connsiteY113" fmla="*/ 6208 h 10000"/>
                <a:gd name="connsiteX114" fmla="*/ 5602 w 10277"/>
                <a:gd name="connsiteY114" fmla="*/ 6193 h 10000"/>
                <a:gd name="connsiteX115" fmla="*/ 5813 w 10277"/>
                <a:gd name="connsiteY115" fmla="*/ 6211 h 10000"/>
                <a:gd name="connsiteX116" fmla="*/ 5838 w 10277"/>
                <a:gd name="connsiteY116" fmla="*/ 6204 h 10000"/>
                <a:gd name="connsiteX117" fmla="*/ 6002 w 10277"/>
                <a:gd name="connsiteY117" fmla="*/ 6287 h 10000"/>
                <a:gd name="connsiteX118" fmla="*/ 6122 w 10277"/>
                <a:gd name="connsiteY118" fmla="*/ 6257 h 10000"/>
                <a:gd name="connsiteX119" fmla="*/ 6133 w 10277"/>
                <a:gd name="connsiteY119" fmla="*/ 6229 h 10000"/>
                <a:gd name="connsiteX120" fmla="*/ 6244 w 10277"/>
                <a:gd name="connsiteY120" fmla="*/ 6278 h 10000"/>
                <a:gd name="connsiteX121" fmla="*/ 6391 w 10277"/>
                <a:gd name="connsiteY121" fmla="*/ 6304 h 10000"/>
                <a:gd name="connsiteX122" fmla="*/ 6449 w 10277"/>
                <a:gd name="connsiteY122" fmla="*/ 6255 h 10000"/>
                <a:gd name="connsiteX123" fmla="*/ 6496 w 10277"/>
                <a:gd name="connsiteY123" fmla="*/ 6282 h 10000"/>
                <a:gd name="connsiteX124" fmla="*/ 6565 w 10277"/>
                <a:gd name="connsiteY124" fmla="*/ 6377 h 10000"/>
                <a:gd name="connsiteX125" fmla="*/ 6707 w 10277"/>
                <a:gd name="connsiteY125" fmla="*/ 6399 h 10000"/>
                <a:gd name="connsiteX126" fmla="*/ 7286 w 10277"/>
                <a:gd name="connsiteY126" fmla="*/ 6259 h 10000"/>
                <a:gd name="connsiteX127" fmla="*/ 7571 w 10277"/>
                <a:gd name="connsiteY127" fmla="*/ 6064 h 10000"/>
                <a:gd name="connsiteX128" fmla="*/ 7637 w 10277"/>
                <a:gd name="connsiteY128" fmla="*/ 5921 h 10000"/>
                <a:gd name="connsiteX129" fmla="*/ 7534 w 10277"/>
                <a:gd name="connsiteY129" fmla="*/ 5792 h 10000"/>
                <a:gd name="connsiteX130" fmla="*/ 7318 w 10277"/>
                <a:gd name="connsiteY130" fmla="*/ 5715 h 10000"/>
                <a:gd name="connsiteX131" fmla="*/ 7164 w 10277"/>
                <a:gd name="connsiteY131" fmla="*/ 5589 h 10000"/>
                <a:gd name="connsiteX132" fmla="*/ 7307 w 10277"/>
                <a:gd name="connsiteY132" fmla="*/ 5584 h 10000"/>
                <a:gd name="connsiteX133" fmla="*/ 7297 w 10277"/>
                <a:gd name="connsiteY133" fmla="*/ 5554 h 10000"/>
                <a:gd name="connsiteX134" fmla="*/ 6925 w 10277"/>
                <a:gd name="connsiteY134" fmla="*/ 5465 h 10000"/>
                <a:gd name="connsiteX135" fmla="*/ 6909 w 10277"/>
                <a:gd name="connsiteY135" fmla="*/ 5383 h 10000"/>
                <a:gd name="connsiteX136" fmla="*/ 6837 w 10277"/>
                <a:gd name="connsiteY136" fmla="*/ 5299 h 10000"/>
                <a:gd name="connsiteX137" fmla="*/ 6543 w 10277"/>
                <a:gd name="connsiteY137" fmla="*/ 5314 h 10000"/>
                <a:gd name="connsiteX138" fmla="*/ 6438 w 10277"/>
                <a:gd name="connsiteY138" fmla="*/ 5224 h 10000"/>
                <a:gd name="connsiteX139" fmla="*/ 6377 w 10277"/>
                <a:gd name="connsiteY139" fmla="*/ 5219 h 10000"/>
                <a:gd name="connsiteX140" fmla="*/ 6377 w 10277"/>
                <a:gd name="connsiteY140" fmla="*/ 5256 h 10000"/>
                <a:gd name="connsiteX141" fmla="*/ 6244 w 10277"/>
                <a:gd name="connsiteY141" fmla="*/ 5408 h 10000"/>
                <a:gd name="connsiteX142" fmla="*/ 6101 w 10277"/>
                <a:gd name="connsiteY142" fmla="*/ 5498 h 10000"/>
                <a:gd name="connsiteX143" fmla="*/ 5653 w 10277"/>
                <a:gd name="connsiteY143" fmla="*/ 5651 h 10000"/>
                <a:gd name="connsiteX144" fmla="*/ 5496 w 10277"/>
                <a:gd name="connsiteY144" fmla="*/ 5646 h 10000"/>
                <a:gd name="connsiteX145" fmla="*/ 5281 w 10277"/>
                <a:gd name="connsiteY145" fmla="*/ 5669 h 10000"/>
                <a:gd name="connsiteX146" fmla="*/ 5160 w 10277"/>
                <a:gd name="connsiteY146" fmla="*/ 5646 h 10000"/>
                <a:gd name="connsiteX147" fmla="*/ 5318 w 10277"/>
                <a:gd name="connsiteY147" fmla="*/ 5604 h 10000"/>
                <a:gd name="connsiteX148" fmla="*/ 5524 w 10277"/>
                <a:gd name="connsiteY148" fmla="*/ 5584 h 10000"/>
                <a:gd name="connsiteX149" fmla="*/ 5693 w 10277"/>
                <a:gd name="connsiteY149" fmla="*/ 5513 h 10000"/>
                <a:gd name="connsiteX150" fmla="*/ 5859 w 10277"/>
                <a:gd name="connsiteY150" fmla="*/ 5480 h 10000"/>
                <a:gd name="connsiteX151" fmla="*/ 6171 w 10277"/>
                <a:gd name="connsiteY151" fmla="*/ 5355 h 10000"/>
                <a:gd name="connsiteX152" fmla="*/ 6230 w 10277"/>
                <a:gd name="connsiteY152" fmla="*/ 5274 h 10000"/>
                <a:gd name="connsiteX153" fmla="*/ 6235 w 10277"/>
                <a:gd name="connsiteY153" fmla="*/ 5168 h 10000"/>
                <a:gd name="connsiteX154" fmla="*/ 6092 w 10277"/>
                <a:gd name="connsiteY154" fmla="*/ 5150 h 10000"/>
                <a:gd name="connsiteX155" fmla="*/ 6155 w 10277"/>
                <a:gd name="connsiteY155" fmla="*/ 5086 h 10000"/>
                <a:gd name="connsiteX156" fmla="*/ 6175 w 10277"/>
                <a:gd name="connsiteY156" fmla="*/ 5005 h 10000"/>
                <a:gd name="connsiteX157" fmla="*/ 6115 w 10277"/>
                <a:gd name="connsiteY157" fmla="*/ 4928 h 10000"/>
                <a:gd name="connsiteX158" fmla="*/ 6081 w 10277"/>
                <a:gd name="connsiteY158" fmla="*/ 4367 h 10000"/>
                <a:gd name="connsiteX159" fmla="*/ 6166 w 10277"/>
                <a:gd name="connsiteY159" fmla="*/ 4246 h 10000"/>
                <a:gd name="connsiteX160" fmla="*/ 6144 w 10277"/>
                <a:gd name="connsiteY160" fmla="*/ 4198 h 10000"/>
                <a:gd name="connsiteX161" fmla="*/ 6391 w 10277"/>
                <a:gd name="connsiteY161" fmla="*/ 4269 h 10000"/>
                <a:gd name="connsiteX162" fmla="*/ 6408 w 10277"/>
                <a:gd name="connsiteY162" fmla="*/ 4202 h 10000"/>
                <a:gd name="connsiteX163" fmla="*/ 6354 w 10277"/>
                <a:gd name="connsiteY163" fmla="*/ 4029 h 10000"/>
                <a:gd name="connsiteX164" fmla="*/ 6532 w 10277"/>
                <a:gd name="connsiteY164" fmla="*/ 3719 h 10000"/>
                <a:gd name="connsiteX165" fmla="*/ 6423 w 10277"/>
                <a:gd name="connsiteY165" fmla="*/ 3645 h 10000"/>
                <a:gd name="connsiteX166" fmla="*/ 6381 w 10277"/>
                <a:gd name="connsiteY166" fmla="*/ 3576 h 10000"/>
                <a:gd name="connsiteX167" fmla="*/ 6395 w 10277"/>
                <a:gd name="connsiteY167" fmla="*/ 3463 h 10000"/>
                <a:gd name="connsiteX168" fmla="*/ 6656 w 10277"/>
                <a:gd name="connsiteY168" fmla="*/ 3538 h 10000"/>
                <a:gd name="connsiteX169" fmla="*/ 6665 w 10277"/>
                <a:gd name="connsiteY169" fmla="*/ 3516 h 10000"/>
                <a:gd name="connsiteX170" fmla="*/ 6737 w 10277"/>
                <a:gd name="connsiteY170" fmla="*/ 3497 h 10000"/>
                <a:gd name="connsiteX171" fmla="*/ 6837 w 10277"/>
                <a:gd name="connsiteY171" fmla="*/ 3424 h 10000"/>
                <a:gd name="connsiteX172" fmla="*/ 6854 w 10277"/>
                <a:gd name="connsiteY172" fmla="*/ 3404 h 10000"/>
                <a:gd name="connsiteX173" fmla="*/ 6832 w 10277"/>
                <a:gd name="connsiteY173" fmla="*/ 3377 h 10000"/>
                <a:gd name="connsiteX174" fmla="*/ 6886 w 10277"/>
                <a:gd name="connsiteY174" fmla="*/ 3250 h 10000"/>
                <a:gd name="connsiteX175" fmla="*/ 6822 w 10277"/>
                <a:gd name="connsiteY175" fmla="*/ 3167 h 10000"/>
                <a:gd name="connsiteX176" fmla="*/ 6832 w 10277"/>
                <a:gd name="connsiteY176" fmla="*/ 3101 h 10000"/>
                <a:gd name="connsiteX177" fmla="*/ 6868 w 10277"/>
                <a:gd name="connsiteY177" fmla="*/ 3178 h 10000"/>
                <a:gd name="connsiteX178" fmla="*/ 7011 w 10277"/>
                <a:gd name="connsiteY178" fmla="*/ 3236 h 10000"/>
                <a:gd name="connsiteX179" fmla="*/ 7070 w 10277"/>
                <a:gd name="connsiteY179" fmla="*/ 3229 h 10000"/>
                <a:gd name="connsiteX180" fmla="*/ 7164 w 10277"/>
                <a:gd name="connsiteY180" fmla="*/ 3152 h 10000"/>
                <a:gd name="connsiteX181" fmla="*/ 7265 w 10277"/>
                <a:gd name="connsiteY181" fmla="*/ 3183 h 10000"/>
                <a:gd name="connsiteX182" fmla="*/ 7292 w 10277"/>
                <a:gd name="connsiteY182" fmla="*/ 3122 h 10000"/>
                <a:gd name="connsiteX183" fmla="*/ 7360 w 10277"/>
                <a:gd name="connsiteY183" fmla="*/ 3080 h 10000"/>
                <a:gd name="connsiteX184" fmla="*/ 7175 w 10277"/>
                <a:gd name="connsiteY184" fmla="*/ 3036 h 10000"/>
                <a:gd name="connsiteX185" fmla="*/ 7307 w 10277"/>
                <a:gd name="connsiteY185" fmla="*/ 3045 h 10000"/>
                <a:gd name="connsiteX186" fmla="*/ 7442 w 10277"/>
                <a:gd name="connsiteY186" fmla="*/ 2999 h 10000"/>
                <a:gd name="connsiteX187" fmla="*/ 7437 w 10277"/>
                <a:gd name="connsiteY187" fmla="*/ 2966 h 10000"/>
                <a:gd name="connsiteX188" fmla="*/ 7565 w 10277"/>
                <a:gd name="connsiteY188" fmla="*/ 2936 h 10000"/>
                <a:gd name="connsiteX189" fmla="*/ 7576 w 10277"/>
                <a:gd name="connsiteY189" fmla="*/ 2859 h 10000"/>
                <a:gd name="connsiteX190" fmla="*/ 7676 w 10277"/>
                <a:gd name="connsiteY190" fmla="*/ 2844 h 10000"/>
                <a:gd name="connsiteX191" fmla="*/ 7684 w 10277"/>
                <a:gd name="connsiteY191" fmla="*/ 2754 h 10000"/>
                <a:gd name="connsiteX192" fmla="*/ 7790 w 10277"/>
                <a:gd name="connsiteY192" fmla="*/ 2743 h 10000"/>
                <a:gd name="connsiteX193" fmla="*/ 7953 w 10277"/>
                <a:gd name="connsiteY193" fmla="*/ 2762 h 10000"/>
                <a:gd name="connsiteX194" fmla="*/ 8132 w 10277"/>
                <a:gd name="connsiteY194" fmla="*/ 2690 h 10000"/>
                <a:gd name="connsiteX195" fmla="*/ 8195 w 10277"/>
                <a:gd name="connsiteY195" fmla="*/ 2607 h 10000"/>
                <a:gd name="connsiteX196" fmla="*/ 8417 w 10277"/>
                <a:gd name="connsiteY196" fmla="*/ 2524 h 10000"/>
                <a:gd name="connsiteX197" fmla="*/ 8527 w 10277"/>
                <a:gd name="connsiteY197" fmla="*/ 2575 h 10000"/>
                <a:gd name="connsiteX198" fmla="*/ 8695 w 10277"/>
                <a:gd name="connsiteY198" fmla="*/ 2519 h 10000"/>
                <a:gd name="connsiteX199" fmla="*/ 8736 w 10277"/>
                <a:gd name="connsiteY199" fmla="*/ 2445 h 10000"/>
                <a:gd name="connsiteX200" fmla="*/ 8864 w 10277"/>
                <a:gd name="connsiteY200" fmla="*/ 2396 h 10000"/>
                <a:gd name="connsiteX201" fmla="*/ 8973 w 10277"/>
                <a:gd name="connsiteY201" fmla="*/ 2418 h 10000"/>
                <a:gd name="connsiteX202" fmla="*/ 9042 w 10277"/>
                <a:gd name="connsiteY202" fmla="*/ 2381 h 10000"/>
                <a:gd name="connsiteX203" fmla="*/ 9231 w 10277"/>
                <a:gd name="connsiteY203" fmla="*/ 2330 h 10000"/>
                <a:gd name="connsiteX204" fmla="*/ 9310 w 10277"/>
                <a:gd name="connsiteY204" fmla="*/ 2263 h 10000"/>
                <a:gd name="connsiteX205" fmla="*/ 9417 w 10277"/>
                <a:gd name="connsiteY205" fmla="*/ 2235 h 10000"/>
                <a:gd name="connsiteX206" fmla="*/ 10000 w 10277"/>
                <a:gd name="connsiteY206" fmla="*/ 1832 h 10000"/>
                <a:gd name="connsiteX207" fmla="*/ 10277 w 10277"/>
                <a:gd name="connsiteY207" fmla="*/ 1829 h 10000"/>
                <a:gd name="connsiteX208" fmla="*/ 8680 w 10277"/>
                <a:gd name="connsiteY208" fmla="*/ 1830 h 10000"/>
                <a:gd name="connsiteX209" fmla="*/ 8075 w 10277"/>
                <a:gd name="connsiteY209" fmla="*/ 1603 h 10000"/>
                <a:gd name="connsiteX210" fmla="*/ 8367 w 10277"/>
                <a:gd name="connsiteY210" fmla="*/ 1293 h 10000"/>
                <a:gd name="connsiteX211" fmla="*/ 7497 w 10277"/>
                <a:gd name="connsiteY211" fmla="*/ 923 h 10000"/>
                <a:gd name="connsiteX212" fmla="*/ 7377 w 10277"/>
                <a:gd name="connsiteY212" fmla="*/ 560 h 10000"/>
                <a:gd name="connsiteX213" fmla="*/ 7012 w 10277"/>
                <a:gd name="connsiteY213" fmla="*/ 590 h 10000"/>
                <a:gd name="connsiteX214" fmla="*/ 6413 w 10277"/>
                <a:gd name="connsiteY214" fmla="*/ 332 h 10000"/>
                <a:gd name="connsiteX215" fmla="*/ 5098 w 10277"/>
                <a:gd name="connsiteY215" fmla="*/ 0 h 10000"/>
                <a:gd name="connsiteX216" fmla="*/ 4837 w 10277"/>
                <a:gd name="connsiteY216" fmla="*/ 82 h 10000"/>
                <a:gd name="connsiteX217" fmla="*/ 4671 w 10277"/>
                <a:gd name="connsiteY217" fmla="*/ 78 h 10000"/>
                <a:gd name="connsiteX218" fmla="*/ 4571 w 10277"/>
                <a:gd name="connsiteY218" fmla="*/ 107 h 10000"/>
                <a:gd name="connsiteX219" fmla="*/ 4298 w 10277"/>
                <a:gd name="connsiteY219" fmla="*/ 913 h 10000"/>
                <a:gd name="connsiteX220" fmla="*/ 3668 w 10277"/>
                <a:gd name="connsiteY220" fmla="*/ 1383 h 10000"/>
                <a:gd name="connsiteX221" fmla="*/ 3672 w 10277"/>
                <a:gd name="connsiteY221" fmla="*/ 1457 h 10000"/>
                <a:gd name="connsiteX222" fmla="*/ 3952 w 10277"/>
                <a:gd name="connsiteY222" fmla="*/ 1668 h 10000"/>
                <a:gd name="connsiteX223" fmla="*/ 3861 w 10277"/>
                <a:gd name="connsiteY223" fmla="*/ 1896 h 10000"/>
                <a:gd name="connsiteX224" fmla="*/ 3698 w 10277"/>
                <a:gd name="connsiteY224" fmla="*/ 1979 h 10000"/>
                <a:gd name="connsiteX225" fmla="*/ 3208 w 10277"/>
                <a:gd name="connsiteY225" fmla="*/ 1924 h 10000"/>
                <a:gd name="connsiteX226" fmla="*/ 2871 w 10277"/>
                <a:gd name="connsiteY226" fmla="*/ 1955 h 10000"/>
                <a:gd name="connsiteX227" fmla="*/ 2601 w 10277"/>
                <a:gd name="connsiteY227" fmla="*/ 2023 h 10000"/>
                <a:gd name="connsiteX228" fmla="*/ 2163 w 10277"/>
                <a:gd name="connsiteY228" fmla="*/ 2233 h 10000"/>
                <a:gd name="connsiteX229" fmla="*/ 1931 w 10277"/>
                <a:gd name="connsiteY229" fmla="*/ 2487 h 10000"/>
                <a:gd name="connsiteX230" fmla="*/ 1951 w 10277"/>
                <a:gd name="connsiteY230" fmla="*/ 2629 h 10000"/>
                <a:gd name="connsiteX231" fmla="*/ 2032 w 10277"/>
                <a:gd name="connsiteY231" fmla="*/ 2738 h 10000"/>
                <a:gd name="connsiteX232" fmla="*/ 2093 w 10277"/>
                <a:gd name="connsiteY232" fmla="*/ 2782 h 10000"/>
                <a:gd name="connsiteX233" fmla="*/ 1979 w 10277"/>
                <a:gd name="connsiteY233" fmla="*/ 2852 h 10000"/>
                <a:gd name="connsiteX234" fmla="*/ 1731 w 10277"/>
                <a:gd name="connsiteY234" fmla="*/ 3330 h 10000"/>
                <a:gd name="connsiteX235" fmla="*/ 1779 w 10277"/>
                <a:gd name="connsiteY235" fmla="*/ 3358 h 10000"/>
                <a:gd name="connsiteX236" fmla="*/ 1815 w 10277"/>
                <a:gd name="connsiteY236" fmla="*/ 3479 h 10000"/>
                <a:gd name="connsiteX237" fmla="*/ 1700 w 10277"/>
                <a:gd name="connsiteY237" fmla="*/ 3982 h 10000"/>
                <a:gd name="connsiteX238" fmla="*/ 1815 w 10277"/>
                <a:gd name="connsiteY238" fmla="*/ 4110 h 10000"/>
                <a:gd name="connsiteX239" fmla="*/ 2131 w 10277"/>
                <a:gd name="connsiteY239" fmla="*/ 4251 h 10000"/>
                <a:gd name="connsiteX240" fmla="*/ 2145 w 10277"/>
                <a:gd name="connsiteY240" fmla="*/ 4423 h 10000"/>
                <a:gd name="connsiteX241" fmla="*/ 2010 w 10277"/>
                <a:gd name="connsiteY241" fmla="*/ 4566 h 10000"/>
                <a:gd name="connsiteX242" fmla="*/ 1815 w 10277"/>
                <a:gd name="connsiteY242" fmla="*/ 4652 h 10000"/>
                <a:gd name="connsiteX243" fmla="*/ 1557 w 10277"/>
                <a:gd name="connsiteY243" fmla="*/ 4687 h 10000"/>
                <a:gd name="connsiteX244" fmla="*/ 1490 w 10277"/>
                <a:gd name="connsiteY244" fmla="*/ 4737 h 10000"/>
                <a:gd name="connsiteX245" fmla="*/ 1640 w 10277"/>
                <a:gd name="connsiteY245" fmla="*/ 4855 h 10000"/>
                <a:gd name="connsiteX246" fmla="*/ 1726 w 10277"/>
                <a:gd name="connsiteY246" fmla="*/ 5136 h 10000"/>
                <a:gd name="connsiteX247" fmla="*/ 1531 w 10277"/>
                <a:gd name="connsiteY247" fmla="*/ 5376 h 10000"/>
                <a:gd name="connsiteX248" fmla="*/ 1599 w 10277"/>
                <a:gd name="connsiteY248" fmla="*/ 5451 h 10000"/>
                <a:gd name="connsiteX249" fmla="*/ 1537 w 10277"/>
                <a:gd name="connsiteY249" fmla="*/ 5577 h 10000"/>
                <a:gd name="connsiteX250" fmla="*/ 1412 w 10277"/>
                <a:gd name="connsiteY250" fmla="*/ 5663 h 10000"/>
                <a:gd name="connsiteX251" fmla="*/ 915 w 10277"/>
                <a:gd name="connsiteY251" fmla="*/ 5730 h 10000"/>
                <a:gd name="connsiteX252" fmla="*/ 885 w 10277"/>
                <a:gd name="connsiteY252" fmla="*/ 5846 h 10000"/>
                <a:gd name="connsiteX253" fmla="*/ 617 w 10277"/>
                <a:gd name="connsiteY253" fmla="*/ 6019 h 10000"/>
                <a:gd name="connsiteX254" fmla="*/ 652 w 10277"/>
                <a:gd name="connsiteY254" fmla="*/ 6268 h 10000"/>
                <a:gd name="connsiteX255" fmla="*/ 427 w 10277"/>
                <a:gd name="connsiteY255" fmla="*/ 6587 h 10000"/>
                <a:gd name="connsiteX256" fmla="*/ 274 w 10277"/>
                <a:gd name="connsiteY256" fmla="*/ 6624 h 10000"/>
                <a:gd name="connsiteX257" fmla="*/ 210 w 10277"/>
                <a:gd name="connsiteY257" fmla="*/ 6548 h 10000"/>
                <a:gd name="connsiteX258" fmla="*/ 132 w 10277"/>
                <a:gd name="connsiteY258" fmla="*/ 6663 h 10000"/>
                <a:gd name="connsiteX259" fmla="*/ 183 w 10277"/>
                <a:gd name="connsiteY259" fmla="*/ 6465 h 10000"/>
                <a:gd name="connsiteX260" fmla="*/ 151 w 10277"/>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416 w 10000"/>
                <a:gd name="connsiteY207" fmla="*/ 1736 h 10000"/>
                <a:gd name="connsiteX208" fmla="*/ 8680 w 10000"/>
                <a:gd name="connsiteY208" fmla="*/ 1830 h 10000"/>
                <a:gd name="connsiteX209" fmla="*/ 8075 w 10000"/>
                <a:gd name="connsiteY209" fmla="*/ 1603 h 10000"/>
                <a:gd name="connsiteX210" fmla="*/ 8367 w 10000"/>
                <a:gd name="connsiteY210" fmla="*/ 1293 h 10000"/>
                <a:gd name="connsiteX211" fmla="*/ 7497 w 10000"/>
                <a:gd name="connsiteY211" fmla="*/ 923 h 10000"/>
                <a:gd name="connsiteX212" fmla="*/ 7377 w 10000"/>
                <a:gd name="connsiteY212" fmla="*/ 560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416 w 10000"/>
                <a:gd name="connsiteY207" fmla="*/ 1736 h 10000"/>
                <a:gd name="connsiteX208" fmla="*/ 8680 w 10000"/>
                <a:gd name="connsiteY208" fmla="*/ 1830 h 10000"/>
                <a:gd name="connsiteX209" fmla="*/ 8075 w 10000"/>
                <a:gd name="connsiteY209" fmla="*/ 1603 h 10000"/>
                <a:gd name="connsiteX210" fmla="*/ 8367 w 10000"/>
                <a:gd name="connsiteY210" fmla="*/ 1293 h 10000"/>
                <a:gd name="connsiteX211" fmla="*/ 7497 w 10000"/>
                <a:gd name="connsiteY211" fmla="*/ 923 h 10000"/>
                <a:gd name="connsiteX212" fmla="*/ 7377 w 10000"/>
                <a:gd name="connsiteY212" fmla="*/ 560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416 w 10000"/>
                <a:gd name="connsiteY207" fmla="*/ 1736 h 10000"/>
                <a:gd name="connsiteX208" fmla="*/ 8680 w 10000"/>
                <a:gd name="connsiteY208" fmla="*/ 1830 h 10000"/>
                <a:gd name="connsiteX209" fmla="*/ 8217 w 10000"/>
                <a:gd name="connsiteY209" fmla="*/ 1545 h 10000"/>
                <a:gd name="connsiteX210" fmla="*/ 8367 w 10000"/>
                <a:gd name="connsiteY210" fmla="*/ 1293 h 10000"/>
                <a:gd name="connsiteX211" fmla="*/ 7497 w 10000"/>
                <a:gd name="connsiteY211" fmla="*/ 923 h 10000"/>
                <a:gd name="connsiteX212" fmla="*/ 7377 w 10000"/>
                <a:gd name="connsiteY212" fmla="*/ 560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416 w 10000"/>
                <a:gd name="connsiteY207" fmla="*/ 1736 h 10000"/>
                <a:gd name="connsiteX208" fmla="*/ 8571 w 10000"/>
                <a:gd name="connsiteY208" fmla="*/ 1727 h 10000"/>
                <a:gd name="connsiteX209" fmla="*/ 8217 w 10000"/>
                <a:gd name="connsiteY209" fmla="*/ 1545 h 10000"/>
                <a:gd name="connsiteX210" fmla="*/ 8367 w 10000"/>
                <a:gd name="connsiteY210" fmla="*/ 1293 h 10000"/>
                <a:gd name="connsiteX211" fmla="*/ 7497 w 10000"/>
                <a:gd name="connsiteY211" fmla="*/ 923 h 10000"/>
                <a:gd name="connsiteX212" fmla="*/ 7377 w 10000"/>
                <a:gd name="connsiteY212" fmla="*/ 560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400 w 10000"/>
                <a:gd name="connsiteY207" fmla="*/ 1654 h 10000"/>
                <a:gd name="connsiteX208" fmla="*/ 8571 w 10000"/>
                <a:gd name="connsiteY208" fmla="*/ 1727 h 10000"/>
                <a:gd name="connsiteX209" fmla="*/ 8217 w 10000"/>
                <a:gd name="connsiteY209" fmla="*/ 1545 h 10000"/>
                <a:gd name="connsiteX210" fmla="*/ 8367 w 10000"/>
                <a:gd name="connsiteY210" fmla="*/ 1293 h 10000"/>
                <a:gd name="connsiteX211" fmla="*/ 7497 w 10000"/>
                <a:gd name="connsiteY211" fmla="*/ 923 h 10000"/>
                <a:gd name="connsiteX212" fmla="*/ 7377 w 10000"/>
                <a:gd name="connsiteY212" fmla="*/ 560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400 w 10000"/>
                <a:gd name="connsiteY207" fmla="*/ 1654 h 10000"/>
                <a:gd name="connsiteX208" fmla="*/ 8681 w 10000"/>
                <a:gd name="connsiteY208" fmla="*/ 1668 h 10000"/>
                <a:gd name="connsiteX209" fmla="*/ 8217 w 10000"/>
                <a:gd name="connsiteY209" fmla="*/ 1545 h 10000"/>
                <a:gd name="connsiteX210" fmla="*/ 8367 w 10000"/>
                <a:gd name="connsiteY210" fmla="*/ 1293 h 10000"/>
                <a:gd name="connsiteX211" fmla="*/ 7497 w 10000"/>
                <a:gd name="connsiteY211" fmla="*/ 923 h 10000"/>
                <a:gd name="connsiteX212" fmla="*/ 7377 w 10000"/>
                <a:gd name="connsiteY212" fmla="*/ 560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400 w 10000"/>
                <a:gd name="connsiteY207" fmla="*/ 1654 h 10000"/>
                <a:gd name="connsiteX208" fmla="*/ 8681 w 10000"/>
                <a:gd name="connsiteY208" fmla="*/ 1668 h 10000"/>
                <a:gd name="connsiteX209" fmla="*/ 8420 w 10000"/>
                <a:gd name="connsiteY209" fmla="*/ 1507 h 10000"/>
                <a:gd name="connsiteX210" fmla="*/ 8367 w 10000"/>
                <a:gd name="connsiteY210" fmla="*/ 1293 h 10000"/>
                <a:gd name="connsiteX211" fmla="*/ 7497 w 10000"/>
                <a:gd name="connsiteY211" fmla="*/ 923 h 10000"/>
                <a:gd name="connsiteX212" fmla="*/ 7377 w 10000"/>
                <a:gd name="connsiteY212" fmla="*/ 560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400 w 10000"/>
                <a:gd name="connsiteY207" fmla="*/ 1654 h 10000"/>
                <a:gd name="connsiteX208" fmla="*/ 8684 w 10000"/>
                <a:gd name="connsiteY208" fmla="*/ 1652 h 10000"/>
                <a:gd name="connsiteX209" fmla="*/ 8420 w 10000"/>
                <a:gd name="connsiteY209" fmla="*/ 1507 h 10000"/>
                <a:gd name="connsiteX210" fmla="*/ 8367 w 10000"/>
                <a:gd name="connsiteY210" fmla="*/ 1293 h 10000"/>
                <a:gd name="connsiteX211" fmla="*/ 7497 w 10000"/>
                <a:gd name="connsiteY211" fmla="*/ 923 h 10000"/>
                <a:gd name="connsiteX212" fmla="*/ 7377 w 10000"/>
                <a:gd name="connsiteY212" fmla="*/ 560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400 w 10000"/>
                <a:gd name="connsiteY207" fmla="*/ 1654 h 10000"/>
                <a:gd name="connsiteX208" fmla="*/ 8684 w 10000"/>
                <a:gd name="connsiteY208" fmla="*/ 1652 h 10000"/>
                <a:gd name="connsiteX209" fmla="*/ 8420 w 10000"/>
                <a:gd name="connsiteY209" fmla="*/ 1507 h 10000"/>
                <a:gd name="connsiteX210" fmla="*/ 8367 w 10000"/>
                <a:gd name="connsiteY210" fmla="*/ 1293 h 10000"/>
                <a:gd name="connsiteX211" fmla="*/ 7497 w 10000"/>
                <a:gd name="connsiteY211" fmla="*/ 923 h 10000"/>
                <a:gd name="connsiteX212" fmla="*/ 7522 w 10000"/>
                <a:gd name="connsiteY212" fmla="*/ 649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400 w 10000"/>
                <a:gd name="connsiteY207" fmla="*/ 1654 h 10000"/>
                <a:gd name="connsiteX208" fmla="*/ 8729 w 10000"/>
                <a:gd name="connsiteY208" fmla="*/ 1589 h 10000"/>
                <a:gd name="connsiteX209" fmla="*/ 8420 w 10000"/>
                <a:gd name="connsiteY209" fmla="*/ 1507 h 10000"/>
                <a:gd name="connsiteX210" fmla="*/ 8367 w 10000"/>
                <a:gd name="connsiteY210" fmla="*/ 1293 h 10000"/>
                <a:gd name="connsiteX211" fmla="*/ 7497 w 10000"/>
                <a:gd name="connsiteY211" fmla="*/ 923 h 10000"/>
                <a:gd name="connsiteX212" fmla="*/ 7522 w 10000"/>
                <a:gd name="connsiteY212" fmla="*/ 649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349 w 10000"/>
                <a:gd name="connsiteY207" fmla="*/ 1586 h 10000"/>
                <a:gd name="connsiteX208" fmla="*/ 8729 w 10000"/>
                <a:gd name="connsiteY208" fmla="*/ 1589 h 10000"/>
                <a:gd name="connsiteX209" fmla="*/ 8420 w 10000"/>
                <a:gd name="connsiteY209" fmla="*/ 1507 h 10000"/>
                <a:gd name="connsiteX210" fmla="*/ 8367 w 10000"/>
                <a:gd name="connsiteY210" fmla="*/ 1293 h 10000"/>
                <a:gd name="connsiteX211" fmla="*/ 7497 w 10000"/>
                <a:gd name="connsiteY211" fmla="*/ 923 h 10000"/>
                <a:gd name="connsiteX212" fmla="*/ 7522 w 10000"/>
                <a:gd name="connsiteY212" fmla="*/ 649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349 w 10000"/>
                <a:gd name="connsiteY207" fmla="*/ 1586 h 10000"/>
                <a:gd name="connsiteX208" fmla="*/ 8651 w 10000"/>
                <a:gd name="connsiteY208" fmla="*/ 1650 h 10000"/>
                <a:gd name="connsiteX209" fmla="*/ 8420 w 10000"/>
                <a:gd name="connsiteY209" fmla="*/ 1507 h 10000"/>
                <a:gd name="connsiteX210" fmla="*/ 8367 w 10000"/>
                <a:gd name="connsiteY210" fmla="*/ 1293 h 10000"/>
                <a:gd name="connsiteX211" fmla="*/ 7497 w 10000"/>
                <a:gd name="connsiteY211" fmla="*/ 923 h 10000"/>
                <a:gd name="connsiteX212" fmla="*/ 7522 w 10000"/>
                <a:gd name="connsiteY212" fmla="*/ 649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652 w 10000"/>
                <a:gd name="connsiteY207" fmla="*/ 1699 h 10000"/>
                <a:gd name="connsiteX208" fmla="*/ 8651 w 10000"/>
                <a:gd name="connsiteY208" fmla="*/ 1650 h 10000"/>
                <a:gd name="connsiteX209" fmla="*/ 8420 w 10000"/>
                <a:gd name="connsiteY209" fmla="*/ 1507 h 10000"/>
                <a:gd name="connsiteX210" fmla="*/ 8367 w 10000"/>
                <a:gd name="connsiteY210" fmla="*/ 1293 h 10000"/>
                <a:gd name="connsiteX211" fmla="*/ 7497 w 10000"/>
                <a:gd name="connsiteY211" fmla="*/ 923 h 10000"/>
                <a:gd name="connsiteX212" fmla="*/ 7522 w 10000"/>
                <a:gd name="connsiteY212" fmla="*/ 649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652 w 10000"/>
                <a:gd name="connsiteY207" fmla="*/ 1699 h 10000"/>
                <a:gd name="connsiteX208" fmla="*/ 9147 w 10000"/>
                <a:gd name="connsiteY208" fmla="*/ 1773 h 10000"/>
                <a:gd name="connsiteX209" fmla="*/ 8420 w 10000"/>
                <a:gd name="connsiteY209" fmla="*/ 1507 h 10000"/>
                <a:gd name="connsiteX210" fmla="*/ 8367 w 10000"/>
                <a:gd name="connsiteY210" fmla="*/ 1293 h 10000"/>
                <a:gd name="connsiteX211" fmla="*/ 7497 w 10000"/>
                <a:gd name="connsiteY211" fmla="*/ 923 h 10000"/>
                <a:gd name="connsiteX212" fmla="*/ 7522 w 10000"/>
                <a:gd name="connsiteY212" fmla="*/ 649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652 w 10000"/>
                <a:gd name="connsiteY207" fmla="*/ 1699 h 10000"/>
                <a:gd name="connsiteX208" fmla="*/ 9147 w 10000"/>
                <a:gd name="connsiteY208" fmla="*/ 1773 h 10000"/>
                <a:gd name="connsiteX209" fmla="*/ 8784 w 10000"/>
                <a:gd name="connsiteY209" fmla="*/ 1639 h 10000"/>
                <a:gd name="connsiteX210" fmla="*/ 8367 w 10000"/>
                <a:gd name="connsiteY210" fmla="*/ 1293 h 10000"/>
                <a:gd name="connsiteX211" fmla="*/ 7497 w 10000"/>
                <a:gd name="connsiteY211" fmla="*/ 923 h 10000"/>
                <a:gd name="connsiteX212" fmla="*/ 7522 w 10000"/>
                <a:gd name="connsiteY212" fmla="*/ 649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081 w 10000"/>
                <a:gd name="connsiteY158" fmla="*/ 4367 h 10000"/>
                <a:gd name="connsiteX159" fmla="*/ 6166 w 10000"/>
                <a:gd name="connsiteY159" fmla="*/ 4246 h 10000"/>
                <a:gd name="connsiteX160" fmla="*/ 6144 w 10000"/>
                <a:gd name="connsiteY160" fmla="*/ 4198 h 10000"/>
                <a:gd name="connsiteX161" fmla="*/ 6391 w 10000"/>
                <a:gd name="connsiteY161" fmla="*/ 4269 h 10000"/>
                <a:gd name="connsiteX162" fmla="*/ 6408 w 10000"/>
                <a:gd name="connsiteY162" fmla="*/ 4202 h 10000"/>
                <a:gd name="connsiteX163" fmla="*/ 6354 w 10000"/>
                <a:gd name="connsiteY163" fmla="*/ 4029 h 10000"/>
                <a:gd name="connsiteX164" fmla="*/ 6532 w 10000"/>
                <a:gd name="connsiteY164" fmla="*/ 3719 h 10000"/>
                <a:gd name="connsiteX165" fmla="*/ 6423 w 10000"/>
                <a:gd name="connsiteY165" fmla="*/ 3645 h 10000"/>
                <a:gd name="connsiteX166" fmla="*/ 6381 w 10000"/>
                <a:gd name="connsiteY166" fmla="*/ 3576 h 10000"/>
                <a:gd name="connsiteX167" fmla="*/ 6395 w 10000"/>
                <a:gd name="connsiteY167" fmla="*/ 3463 h 10000"/>
                <a:gd name="connsiteX168" fmla="*/ 6656 w 10000"/>
                <a:gd name="connsiteY168" fmla="*/ 3538 h 10000"/>
                <a:gd name="connsiteX169" fmla="*/ 6665 w 10000"/>
                <a:gd name="connsiteY169" fmla="*/ 3516 h 10000"/>
                <a:gd name="connsiteX170" fmla="*/ 6737 w 10000"/>
                <a:gd name="connsiteY170" fmla="*/ 3497 h 10000"/>
                <a:gd name="connsiteX171" fmla="*/ 6837 w 10000"/>
                <a:gd name="connsiteY171" fmla="*/ 3424 h 10000"/>
                <a:gd name="connsiteX172" fmla="*/ 6854 w 10000"/>
                <a:gd name="connsiteY172" fmla="*/ 3404 h 10000"/>
                <a:gd name="connsiteX173" fmla="*/ 6832 w 10000"/>
                <a:gd name="connsiteY173" fmla="*/ 3377 h 10000"/>
                <a:gd name="connsiteX174" fmla="*/ 6886 w 10000"/>
                <a:gd name="connsiteY174" fmla="*/ 3250 h 10000"/>
                <a:gd name="connsiteX175" fmla="*/ 6822 w 10000"/>
                <a:gd name="connsiteY175" fmla="*/ 3167 h 10000"/>
                <a:gd name="connsiteX176" fmla="*/ 6832 w 10000"/>
                <a:gd name="connsiteY176" fmla="*/ 3101 h 10000"/>
                <a:gd name="connsiteX177" fmla="*/ 6868 w 10000"/>
                <a:gd name="connsiteY177" fmla="*/ 3178 h 10000"/>
                <a:gd name="connsiteX178" fmla="*/ 7011 w 10000"/>
                <a:gd name="connsiteY178" fmla="*/ 3236 h 10000"/>
                <a:gd name="connsiteX179" fmla="*/ 7070 w 10000"/>
                <a:gd name="connsiteY179" fmla="*/ 3229 h 10000"/>
                <a:gd name="connsiteX180" fmla="*/ 7164 w 10000"/>
                <a:gd name="connsiteY180" fmla="*/ 3152 h 10000"/>
                <a:gd name="connsiteX181" fmla="*/ 7265 w 10000"/>
                <a:gd name="connsiteY181" fmla="*/ 3183 h 10000"/>
                <a:gd name="connsiteX182" fmla="*/ 7292 w 10000"/>
                <a:gd name="connsiteY182" fmla="*/ 3122 h 10000"/>
                <a:gd name="connsiteX183" fmla="*/ 7360 w 10000"/>
                <a:gd name="connsiteY183" fmla="*/ 3080 h 10000"/>
                <a:gd name="connsiteX184" fmla="*/ 7175 w 10000"/>
                <a:gd name="connsiteY184" fmla="*/ 3036 h 10000"/>
                <a:gd name="connsiteX185" fmla="*/ 7307 w 10000"/>
                <a:gd name="connsiteY185" fmla="*/ 3045 h 10000"/>
                <a:gd name="connsiteX186" fmla="*/ 7442 w 10000"/>
                <a:gd name="connsiteY186" fmla="*/ 2999 h 10000"/>
                <a:gd name="connsiteX187" fmla="*/ 7437 w 10000"/>
                <a:gd name="connsiteY187" fmla="*/ 2966 h 10000"/>
                <a:gd name="connsiteX188" fmla="*/ 7565 w 10000"/>
                <a:gd name="connsiteY188" fmla="*/ 2936 h 10000"/>
                <a:gd name="connsiteX189" fmla="*/ 7576 w 10000"/>
                <a:gd name="connsiteY189" fmla="*/ 2859 h 10000"/>
                <a:gd name="connsiteX190" fmla="*/ 7676 w 10000"/>
                <a:gd name="connsiteY190" fmla="*/ 2844 h 10000"/>
                <a:gd name="connsiteX191" fmla="*/ 7684 w 10000"/>
                <a:gd name="connsiteY191" fmla="*/ 2754 h 10000"/>
                <a:gd name="connsiteX192" fmla="*/ 7790 w 10000"/>
                <a:gd name="connsiteY192" fmla="*/ 2743 h 10000"/>
                <a:gd name="connsiteX193" fmla="*/ 7953 w 10000"/>
                <a:gd name="connsiteY193" fmla="*/ 2762 h 10000"/>
                <a:gd name="connsiteX194" fmla="*/ 8132 w 10000"/>
                <a:gd name="connsiteY194" fmla="*/ 2690 h 10000"/>
                <a:gd name="connsiteX195" fmla="*/ 8195 w 10000"/>
                <a:gd name="connsiteY195" fmla="*/ 2607 h 10000"/>
                <a:gd name="connsiteX196" fmla="*/ 8417 w 10000"/>
                <a:gd name="connsiteY196" fmla="*/ 2524 h 10000"/>
                <a:gd name="connsiteX197" fmla="*/ 8527 w 10000"/>
                <a:gd name="connsiteY197" fmla="*/ 2575 h 10000"/>
                <a:gd name="connsiteX198" fmla="*/ 8695 w 10000"/>
                <a:gd name="connsiteY198" fmla="*/ 2519 h 10000"/>
                <a:gd name="connsiteX199" fmla="*/ 8736 w 10000"/>
                <a:gd name="connsiteY199" fmla="*/ 2445 h 10000"/>
                <a:gd name="connsiteX200" fmla="*/ 8864 w 10000"/>
                <a:gd name="connsiteY200" fmla="*/ 2396 h 10000"/>
                <a:gd name="connsiteX201" fmla="*/ 8973 w 10000"/>
                <a:gd name="connsiteY201" fmla="*/ 2418 h 10000"/>
                <a:gd name="connsiteX202" fmla="*/ 9042 w 10000"/>
                <a:gd name="connsiteY202" fmla="*/ 2381 h 10000"/>
                <a:gd name="connsiteX203" fmla="*/ 9231 w 10000"/>
                <a:gd name="connsiteY203" fmla="*/ 2330 h 10000"/>
                <a:gd name="connsiteX204" fmla="*/ 9310 w 10000"/>
                <a:gd name="connsiteY204" fmla="*/ 2263 h 10000"/>
                <a:gd name="connsiteX205" fmla="*/ 9417 w 10000"/>
                <a:gd name="connsiteY205" fmla="*/ 2235 h 10000"/>
                <a:gd name="connsiteX206" fmla="*/ 10000 w 10000"/>
                <a:gd name="connsiteY206" fmla="*/ 1832 h 10000"/>
                <a:gd name="connsiteX207" fmla="*/ 9652 w 10000"/>
                <a:gd name="connsiteY207" fmla="*/ 1699 h 10000"/>
                <a:gd name="connsiteX208" fmla="*/ 9147 w 10000"/>
                <a:gd name="connsiteY208" fmla="*/ 1773 h 10000"/>
                <a:gd name="connsiteX209" fmla="*/ 8784 w 10000"/>
                <a:gd name="connsiteY209" fmla="*/ 1639 h 10000"/>
                <a:gd name="connsiteX210" fmla="*/ 8850 w 10000"/>
                <a:gd name="connsiteY210" fmla="*/ 1480 h 10000"/>
                <a:gd name="connsiteX211" fmla="*/ 7497 w 10000"/>
                <a:gd name="connsiteY211" fmla="*/ 923 h 10000"/>
                <a:gd name="connsiteX212" fmla="*/ 7522 w 10000"/>
                <a:gd name="connsiteY212" fmla="*/ 649 h 10000"/>
                <a:gd name="connsiteX213" fmla="*/ 7012 w 10000"/>
                <a:gd name="connsiteY213" fmla="*/ 590 h 10000"/>
                <a:gd name="connsiteX214" fmla="*/ 6413 w 10000"/>
                <a:gd name="connsiteY214" fmla="*/ 332 h 10000"/>
                <a:gd name="connsiteX215" fmla="*/ 5098 w 10000"/>
                <a:gd name="connsiteY215" fmla="*/ 0 h 10000"/>
                <a:gd name="connsiteX216" fmla="*/ 4837 w 10000"/>
                <a:gd name="connsiteY216" fmla="*/ 82 h 10000"/>
                <a:gd name="connsiteX217" fmla="*/ 4671 w 10000"/>
                <a:gd name="connsiteY217" fmla="*/ 78 h 10000"/>
                <a:gd name="connsiteX218" fmla="*/ 4571 w 10000"/>
                <a:gd name="connsiteY218" fmla="*/ 107 h 10000"/>
                <a:gd name="connsiteX219" fmla="*/ 4298 w 10000"/>
                <a:gd name="connsiteY219" fmla="*/ 913 h 10000"/>
                <a:gd name="connsiteX220" fmla="*/ 3668 w 10000"/>
                <a:gd name="connsiteY220" fmla="*/ 1383 h 10000"/>
                <a:gd name="connsiteX221" fmla="*/ 3672 w 10000"/>
                <a:gd name="connsiteY221" fmla="*/ 1457 h 10000"/>
                <a:gd name="connsiteX222" fmla="*/ 3952 w 10000"/>
                <a:gd name="connsiteY222" fmla="*/ 1668 h 10000"/>
                <a:gd name="connsiteX223" fmla="*/ 3861 w 10000"/>
                <a:gd name="connsiteY223" fmla="*/ 1896 h 10000"/>
                <a:gd name="connsiteX224" fmla="*/ 3698 w 10000"/>
                <a:gd name="connsiteY224" fmla="*/ 1979 h 10000"/>
                <a:gd name="connsiteX225" fmla="*/ 3208 w 10000"/>
                <a:gd name="connsiteY225" fmla="*/ 1924 h 10000"/>
                <a:gd name="connsiteX226" fmla="*/ 2871 w 10000"/>
                <a:gd name="connsiteY226" fmla="*/ 1955 h 10000"/>
                <a:gd name="connsiteX227" fmla="*/ 2601 w 10000"/>
                <a:gd name="connsiteY227" fmla="*/ 2023 h 10000"/>
                <a:gd name="connsiteX228" fmla="*/ 2163 w 10000"/>
                <a:gd name="connsiteY228" fmla="*/ 2233 h 10000"/>
                <a:gd name="connsiteX229" fmla="*/ 1931 w 10000"/>
                <a:gd name="connsiteY229" fmla="*/ 2487 h 10000"/>
                <a:gd name="connsiteX230" fmla="*/ 1951 w 10000"/>
                <a:gd name="connsiteY230" fmla="*/ 2629 h 10000"/>
                <a:gd name="connsiteX231" fmla="*/ 2032 w 10000"/>
                <a:gd name="connsiteY231" fmla="*/ 2738 h 10000"/>
                <a:gd name="connsiteX232" fmla="*/ 2093 w 10000"/>
                <a:gd name="connsiteY232" fmla="*/ 2782 h 10000"/>
                <a:gd name="connsiteX233" fmla="*/ 1979 w 10000"/>
                <a:gd name="connsiteY233" fmla="*/ 2852 h 10000"/>
                <a:gd name="connsiteX234" fmla="*/ 1731 w 10000"/>
                <a:gd name="connsiteY234" fmla="*/ 3330 h 10000"/>
                <a:gd name="connsiteX235" fmla="*/ 1779 w 10000"/>
                <a:gd name="connsiteY235" fmla="*/ 3358 h 10000"/>
                <a:gd name="connsiteX236" fmla="*/ 1815 w 10000"/>
                <a:gd name="connsiteY236" fmla="*/ 3479 h 10000"/>
                <a:gd name="connsiteX237" fmla="*/ 1700 w 10000"/>
                <a:gd name="connsiteY237" fmla="*/ 3982 h 10000"/>
                <a:gd name="connsiteX238" fmla="*/ 1815 w 10000"/>
                <a:gd name="connsiteY238" fmla="*/ 4110 h 10000"/>
                <a:gd name="connsiteX239" fmla="*/ 2131 w 10000"/>
                <a:gd name="connsiteY239" fmla="*/ 4251 h 10000"/>
                <a:gd name="connsiteX240" fmla="*/ 2145 w 10000"/>
                <a:gd name="connsiteY240" fmla="*/ 4423 h 10000"/>
                <a:gd name="connsiteX241" fmla="*/ 2010 w 10000"/>
                <a:gd name="connsiteY241" fmla="*/ 4566 h 10000"/>
                <a:gd name="connsiteX242" fmla="*/ 1815 w 10000"/>
                <a:gd name="connsiteY242" fmla="*/ 4652 h 10000"/>
                <a:gd name="connsiteX243" fmla="*/ 1557 w 10000"/>
                <a:gd name="connsiteY243" fmla="*/ 4687 h 10000"/>
                <a:gd name="connsiteX244" fmla="*/ 1490 w 10000"/>
                <a:gd name="connsiteY244" fmla="*/ 4737 h 10000"/>
                <a:gd name="connsiteX245" fmla="*/ 1640 w 10000"/>
                <a:gd name="connsiteY245" fmla="*/ 4855 h 10000"/>
                <a:gd name="connsiteX246" fmla="*/ 1726 w 10000"/>
                <a:gd name="connsiteY246" fmla="*/ 5136 h 10000"/>
                <a:gd name="connsiteX247" fmla="*/ 1531 w 10000"/>
                <a:gd name="connsiteY247" fmla="*/ 5376 h 10000"/>
                <a:gd name="connsiteX248" fmla="*/ 1599 w 10000"/>
                <a:gd name="connsiteY248" fmla="*/ 5451 h 10000"/>
                <a:gd name="connsiteX249" fmla="*/ 1537 w 10000"/>
                <a:gd name="connsiteY249" fmla="*/ 5577 h 10000"/>
                <a:gd name="connsiteX250" fmla="*/ 1412 w 10000"/>
                <a:gd name="connsiteY250" fmla="*/ 5663 h 10000"/>
                <a:gd name="connsiteX251" fmla="*/ 915 w 10000"/>
                <a:gd name="connsiteY251" fmla="*/ 5730 h 10000"/>
                <a:gd name="connsiteX252" fmla="*/ 885 w 10000"/>
                <a:gd name="connsiteY252" fmla="*/ 5846 h 10000"/>
                <a:gd name="connsiteX253" fmla="*/ 617 w 10000"/>
                <a:gd name="connsiteY253" fmla="*/ 6019 h 10000"/>
                <a:gd name="connsiteX254" fmla="*/ 652 w 10000"/>
                <a:gd name="connsiteY254" fmla="*/ 6268 h 10000"/>
                <a:gd name="connsiteX255" fmla="*/ 427 w 10000"/>
                <a:gd name="connsiteY255" fmla="*/ 6587 h 10000"/>
                <a:gd name="connsiteX256" fmla="*/ 274 w 10000"/>
                <a:gd name="connsiteY256" fmla="*/ 6624 h 10000"/>
                <a:gd name="connsiteX257" fmla="*/ 210 w 10000"/>
                <a:gd name="connsiteY257" fmla="*/ 6548 h 10000"/>
                <a:gd name="connsiteX258" fmla="*/ 132 w 10000"/>
                <a:gd name="connsiteY258" fmla="*/ 6663 h 10000"/>
                <a:gd name="connsiteX259" fmla="*/ 183 w 10000"/>
                <a:gd name="connsiteY259" fmla="*/ 6465 h 10000"/>
                <a:gd name="connsiteX260" fmla="*/ 151 w 10000"/>
                <a:gd name="connsiteY26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166 w 10000"/>
                <a:gd name="connsiteY158" fmla="*/ 4246 h 10000"/>
                <a:gd name="connsiteX159" fmla="*/ 6144 w 10000"/>
                <a:gd name="connsiteY159" fmla="*/ 4198 h 10000"/>
                <a:gd name="connsiteX160" fmla="*/ 6391 w 10000"/>
                <a:gd name="connsiteY160" fmla="*/ 4269 h 10000"/>
                <a:gd name="connsiteX161" fmla="*/ 6408 w 10000"/>
                <a:gd name="connsiteY161" fmla="*/ 4202 h 10000"/>
                <a:gd name="connsiteX162" fmla="*/ 6354 w 10000"/>
                <a:gd name="connsiteY162" fmla="*/ 4029 h 10000"/>
                <a:gd name="connsiteX163" fmla="*/ 6532 w 10000"/>
                <a:gd name="connsiteY163" fmla="*/ 3719 h 10000"/>
                <a:gd name="connsiteX164" fmla="*/ 6423 w 10000"/>
                <a:gd name="connsiteY164" fmla="*/ 3645 h 10000"/>
                <a:gd name="connsiteX165" fmla="*/ 6381 w 10000"/>
                <a:gd name="connsiteY165" fmla="*/ 3576 h 10000"/>
                <a:gd name="connsiteX166" fmla="*/ 6395 w 10000"/>
                <a:gd name="connsiteY166" fmla="*/ 3463 h 10000"/>
                <a:gd name="connsiteX167" fmla="*/ 6656 w 10000"/>
                <a:gd name="connsiteY167" fmla="*/ 3538 h 10000"/>
                <a:gd name="connsiteX168" fmla="*/ 6665 w 10000"/>
                <a:gd name="connsiteY168" fmla="*/ 3516 h 10000"/>
                <a:gd name="connsiteX169" fmla="*/ 6737 w 10000"/>
                <a:gd name="connsiteY169" fmla="*/ 3497 h 10000"/>
                <a:gd name="connsiteX170" fmla="*/ 6837 w 10000"/>
                <a:gd name="connsiteY170" fmla="*/ 3424 h 10000"/>
                <a:gd name="connsiteX171" fmla="*/ 6854 w 10000"/>
                <a:gd name="connsiteY171" fmla="*/ 3404 h 10000"/>
                <a:gd name="connsiteX172" fmla="*/ 6832 w 10000"/>
                <a:gd name="connsiteY172" fmla="*/ 3377 h 10000"/>
                <a:gd name="connsiteX173" fmla="*/ 6886 w 10000"/>
                <a:gd name="connsiteY173" fmla="*/ 3250 h 10000"/>
                <a:gd name="connsiteX174" fmla="*/ 6822 w 10000"/>
                <a:gd name="connsiteY174" fmla="*/ 3167 h 10000"/>
                <a:gd name="connsiteX175" fmla="*/ 6832 w 10000"/>
                <a:gd name="connsiteY175" fmla="*/ 3101 h 10000"/>
                <a:gd name="connsiteX176" fmla="*/ 6868 w 10000"/>
                <a:gd name="connsiteY176" fmla="*/ 3178 h 10000"/>
                <a:gd name="connsiteX177" fmla="*/ 7011 w 10000"/>
                <a:gd name="connsiteY177" fmla="*/ 3236 h 10000"/>
                <a:gd name="connsiteX178" fmla="*/ 7070 w 10000"/>
                <a:gd name="connsiteY178" fmla="*/ 3229 h 10000"/>
                <a:gd name="connsiteX179" fmla="*/ 7164 w 10000"/>
                <a:gd name="connsiteY179" fmla="*/ 3152 h 10000"/>
                <a:gd name="connsiteX180" fmla="*/ 7265 w 10000"/>
                <a:gd name="connsiteY180" fmla="*/ 3183 h 10000"/>
                <a:gd name="connsiteX181" fmla="*/ 7292 w 10000"/>
                <a:gd name="connsiteY181" fmla="*/ 3122 h 10000"/>
                <a:gd name="connsiteX182" fmla="*/ 7360 w 10000"/>
                <a:gd name="connsiteY182" fmla="*/ 3080 h 10000"/>
                <a:gd name="connsiteX183" fmla="*/ 7175 w 10000"/>
                <a:gd name="connsiteY183" fmla="*/ 3036 h 10000"/>
                <a:gd name="connsiteX184" fmla="*/ 7307 w 10000"/>
                <a:gd name="connsiteY184" fmla="*/ 3045 h 10000"/>
                <a:gd name="connsiteX185" fmla="*/ 7442 w 10000"/>
                <a:gd name="connsiteY185" fmla="*/ 2999 h 10000"/>
                <a:gd name="connsiteX186" fmla="*/ 7437 w 10000"/>
                <a:gd name="connsiteY186" fmla="*/ 2966 h 10000"/>
                <a:gd name="connsiteX187" fmla="*/ 7565 w 10000"/>
                <a:gd name="connsiteY187" fmla="*/ 2936 h 10000"/>
                <a:gd name="connsiteX188" fmla="*/ 7576 w 10000"/>
                <a:gd name="connsiteY188" fmla="*/ 2859 h 10000"/>
                <a:gd name="connsiteX189" fmla="*/ 7676 w 10000"/>
                <a:gd name="connsiteY189" fmla="*/ 2844 h 10000"/>
                <a:gd name="connsiteX190" fmla="*/ 7684 w 10000"/>
                <a:gd name="connsiteY190" fmla="*/ 2754 h 10000"/>
                <a:gd name="connsiteX191" fmla="*/ 7790 w 10000"/>
                <a:gd name="connsiteY191" fmla="*/ 2743 h 10000"/>
                <a:gd name="connsiteX192" fmla="*/ 7953 w 10000"/>
                <a:gd name="connsiteY192" fmla="*/ 2762 h 10000"/>
                <a:gd name="connsiteX193" fmla="*/ 8132 w 10000"/>
                <a:gd name="connsiteY193" fmla="*/ 2690 h 10000"/>
                <a:gd name="connsiteX194" fmla="*/ 8195 w 10000"/>
                <a:gd name="connsiteY194" fmla="*/ 2607 h 10000"/>
                <a:gd name="connsiteX195" fmla="*/ 8417 w 10000"/>
                <a:gd name="connsiteY195" fmla="*/ 2524 h 10000"/>
                <a:gd name="connsiteX196" fmla="*/ 8527 w 10000"/>
                <a:gd name="connsiteY196" fmla="*/ 2575 h 10000"/>
                <a:gd name="connsiteX197" fmla="*/ 8695 w 10000"/>
                <a:gd name="connsiteY197" fmla="*/ 2519 h 10000"/>
                <a:gd name="connsiteX198" fmla="*/ 8736 w 10000"/>
                <a:gd name="connsiteY198" fmla="*/ 2445 h 10000"/>
                <a:gd name="connsiteX199" fmla="*/ 8864 w 10000"/>
                <a:gd name="connsiteY199" fmla="*/ 2396 h 10000"/>
                <a:gd name="connsiteX200" fmla="*/ 8973 w 10000"/>
                <a:gd name="connsiteY200" fmla="*/ 2418 h 10000"/>
                <a:gd name="connsiteX201" fmla="*/ 9042 w 10000"/>
                <a:gd name="connsiteY201" fmla="*/ 2381 h 10000"/>
                <a:gd name="connsiteX202" fmla="*/ 9231 w 10000"/>
                <a:gd name="connsiteY202" fmla="*/ 2330 h 10000"/>
                <a:gd name="connsiteX203" fmla="*/ 9310 w 10000"/>
                <a:gd name="connsiteY203" fmla="*/ 2263 h 10000"/>
                <a:gd name="connsiteX204" fmla="*/ 9417 w 10000"/>
                <a:gd name="connsiteY204" fmla="*/ 2235 h 10000"/>
                <a:gd name="connsiteX205" fmla="*/ 10000 w 10000"/>
                <a:gd name="connsiteY205" fmla="*/ 1832 h 10000"/>
                <a:gd name="connsiteX206" fmla="*/ 9652 w 10000"/>
                <a:gd name="connsiteY206" fmla="*/ 1699 h 10000"/>
                <a:gd name="connsiteX207" fmla="*/ 9147 w 10000"/>
                <a:gd name="connsiteY207" fmla="*/ 1773 h 10000"/>
                <a:gd name="connsiteX208" fmla="*/ 8784 w 10000"/>
                <a:gd name="connsiteY208" fmla="*/ 1639 h 10000"/>
                <a:gd name="connsiteX209" fmla="*/ 8850 w 10000"/>
                <a:gd name="connsiteY209" fmla="*/ 1480 h 10000"/>
                <a:gd name="connsiteX210" fmla="*/ 7497 w 10000"/>
                <a:gd name="connsiteY210" fmla="*/ 923 h 10000"/>
                <a:gd name="connsiteX211" fmla="*/ 7522 w 10000"/>
                <a:gd name="connsiteY211" fmla="*/ 649 h 10000"/>
                <a:gd name="connsiteX212" fmla="*/ 7012 w 10000"/>
                <a:gd name="connsiteY212" fmla="*/ 590 h 10000"/>
                <a:gd name="connsiteX213" fmla="*/ 6413 w 10000"/>
                <a:gd name="connsiteY213" fmla="*/ 332 h 10000"/>
                <a:gd name="connsiteX214" fmla="*/ 5098 w 10000"/>
                <a:gd name="connsiteY214" fmla="*/ 0 h 10000"/>
                <a:gd name="connsiteX215" fmla="*/ 4837 w 10000"/>
                <a:gd name="connsiteY215" fmla="*/ 82 h 10000"/>
                <a:gd name="connsiteX216" fmla="*/ 4671 w 10000"/>
                <a:gd name="connsiteY216" fmla="*/ 78 h 10000"/>
                <a:gd name="connsiteX217" fmla="*/ 4571 w 10000"/>
                <a:gd name="connsiteY217" fmla="*/ 107 h 10000"/>
                <a:gd name="connsiteX218" fmla="*/ 4298 w 10000"/>
                <a:gd name="connsiteY218" fmla="*/ 913 h 10000"/>
                <a:gd name="connsiteX219" fmla="*/ 3668 w 10000"/>
                <a:gd name="connsiteY219" fmla="*/ 1383 h 10000"/>
                <a:gd name="connsiteX220" fmla="*/ 3672 w 10000"/>
                <a:gd name="connsiteY220" fmla="*/ 1457 h 10000"/>
                <a:gd name="connsiteX221" fmla="*/ 3952 w 10000"/>
                <a:gd name="connsiteY221" fmla="*/ 1668 h 10000"/>
                <a:gd name="connsiteX222" fmla="*/ 3861 w 10000"/>
                <a:gd name="connsiteY222" fmla="*/ 1896 h 10000"/>
                <a:gd name="connsiteX223" fmla="*/ 3698 w 10000"/>
                <a:gd name="connsiteY223" fmla="*/ 1979 h 10000"/>
                <a:gd name="connsiteX224" fmla="*/ 3208 w 10000"/>
                <a:gd name="connsiteY224" fmla="*/ 1924 h 10000"/>
                <a:gd name="connsiteX225" fmla="*/ 2871 w 10000"/>
                <a:gd name="connsiteY225" fmla="*/ 1955 h 10000"/>
                <a:gd name="connsiteX226" fmla="*/ 2601 w 10000"/>
                <a:gd name="connsiteY226" fmla="*/ 2023 h 10000"/>
                <a:gd name="connsiteX227" fmla="*/ 2163 w 10000"/>
                <a:gd name="connsiteY227" fmla="*/ 2233 h 10000"/>
                <a:gd name="connsiteX228" fmla="*/ 1931 w 10000"/>
                <a:gd name="connsiteY228" fmla="*/ 2487 h 10000"/>
                <a:gd name="connsiteX229" fmla="*/ 1951 w 10000"/>
                <a:gd name="connsiteY229" fmla="*/ 2629 h 10000"/>
                <a:gd name="connsiteX230" fmla="*/ 2032 w 10000"/>
                <a:gd name="connsiteY230" fmla="*/ 2738 h 10000"/>
                <a:gd name="connsiteX231" fmla="*/ 2093 w 10000"/>
                <a:gd name="connsiteY231" fmla="*/ 2782 h 10000"/>
                <a:gd name="connsiteX232" fmla="*/ 1979 w 10000"/>
                <a:gd name="connsiteY232" fmla="*/ 2852 h 10000"/>
                <a:gd name="connsiteX233" fmla="*/ 1731 w 10000"/>
                <a:gd name="connsiteY233" fmla="*/ 3330 h 10000"/>
                <a:gd name="connsiteX234" fmla="*/ 1779 w 10000"/>
                <a:gd name="connsiteY234" fmla="*/ 3358 h 10000"/>
                <a:gd name="connsiteX235" fmla="*/ 1815 w 10000"/>
                <a:gd name="connsiteY235" fmla="*/ 3479 h 10000"/>
                <a:gd name="connsiteX236" fmla="*/ 1700 w 10000"/>
                <a:gd name="connsiteY236" fmla="*/ 3982 h 10000"/>
                <a:gd name="connsiteX237" fmla="*/ 1815 w 10000"/>
                <a:gd name="connsiteY237" fmla="*/ 4110 h 10000"/>
                <a:gd name="connsiteX238" fmla="*/ 2131 w 10000"/>
                <a:gd name="connsiteY238" fmla="*/ 4251 h 10000"/>
                <a:gd name="connsiteX239" fmla="*/ 2145 w 10000"/>
                <a:gd name="connsiteY239" fmla="*/ 4423 h 10000"/>
                <a:gd name="connsiteX240" fmla="*/ 2010 w 10000"/>
                <a:gd name="connsiteY240" fmla="*/ 4566 h 10000"/>
                <a:gd name="connsiteX241" fmla="*/ 1815 w 10000"/>
                <a:gd name="connsiteY241" fmla="*/ 4652 h 10000"/>
                <a:gd name="connsiteX242" fmla="*/ 1557 w 10000"/>
                <a:gd name="connsiteY242" fmla="*/ 4687 h 10000"/>
                <a:gd name="connsiteX243" fmla="*/ 1490 w 10000"/>
                <a:gd name="connsiteY243" fmla="*/ 4737 h 10000"/>
                <a:gd name="connsiteX244" fmla="*/ 1640 w 10000"/>
                <a:gd name="connsiteY244" fmla="*/ 4855 h 10000"/>
                <a:gd name="connsiteX245" fmla="*/ 1726 w 10000"/>
                <a:gd name="connsiteY245" fmla="*/ 5136 h 10000"/>
                <a:gd name="connsiteX246" fmla="*/ 1531 w 10000"/>
                <a:gd name="connsiteY246" fmla="*/ 5376 h 10000"/>
                <a:gd name="connsiteX247" fmla="*/ 1599 w 10000"/>
                <a:gd name="connsiteY247" fmla="*/ 5451 h 10000"/>
                <a:gd name="connsiteX248" fmla="*/ 1537 w 10000"/>
                <a:gd name="connsiteY248" fmla="*/ 5577 h 10000"/>
                <a:gd name="connsiteX249" fmla="*/ 1412 w 10000"/>
                <a:gd name="connsiteY249" fmla="*/ 5663 h 10000"/>
                <a:gd name="connsiteX250" fmla="*/ 915 w 10000"/>
                <a:gd name="connsiteY250" fmla="*/ 5730 h 10000"/>
                <a:gd name="connsiteX251" fmla="*/ 885 w 10000"/>
                <a:gd name="connsiteY251" fmla="*/ 5846 h 10000"/>
                <a:gd name="connsiteX252" fmla="*/ 617 w 10000"/>
                <a:gd name="connsiteY252" fmla="*/ 6019 h 10000"/>
                <a:gd name="connsiteX253" fmla="*/ 652 w 10000"/>
                <a:gd name="connsiteY253" fmla="*/ 6268 h 10000"/>
                <a:gd name="connsiteX254" fmla="*/ 427 w 10000"/>
                <a:gd name="connsiteY254" fmla="*/ 6587 h 10000"/>
                <a:gd name="connsiteX255" fmla="*/ 274 w 10000"/>
                <a:gd name="connsiteY255" fmla="*/ 6624 h 10000"/>
                <a:gd name="connsiteX256" fmla="*/ 210 w 10000"/>
                <a:gd name="connsiteY256" fmla="*/ 6548 h 10000"/>
                <a:gd name="connsiteX257" fmla="*/ 132 w 10000"/>
                <a:gd name="connsiteY257" fmla="*/ 6663 h 10000"/>
                <a:gd name="connsiteX258" fmla="*/ 183 w 10000"/>
                <a:gd name="connsiteY258" fmla="*/ 6465 h 10000"/>
                <a:gd name="connsiteX259" fmla="*/ 151 w 10000"/>
                <a:gd name="connsiteY259"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144 w 10000"/>
                <a:gd name="connsiteY158" fmla="*/ 4198 h 10000"/>
                <a:gd name="connsiteX159" fmla="*/ 6391 w 10000"/>
                <a:gd name="connsiteY159" fmla="*/ 4269 h 10000"/>
                <a:gd name="connsiteX160" fmla="*/ 6408 w 10000"/>
                <a:gd name="connsiteY160" fmla="*/ 4202 h 10000"/>
                <a:gd name="connsiteX161" fmla="*/ 6354 w 10000"/>
                <a:gd name="connsiteY161" fmla="*/ 4029 h 10000"/>
                <a:gd name="connsiteX162" fmla="*/ 6532 w 10000"/>
                <a:gd name="connsiteY162" fmla="*/ 3719 h 10000"/>
                <a:gd name="connsiteX163" fmla="*/ 6423 w 10000"/>
                <a:gd name="connsiteY163" fmla="*/ 3645 h 10000"/>
                <a:gd name="connsiteX164" fmla="*/ 6381 w 10000"/>
                <a:gd name="connsiteY164" fmla="*/ 3576 h 10000"/>
                <a:gd name="connsiteX165" fmla="*/ 6395 w 10000"/>
                <a:gd name="connsiteY165" fmla="*/ 3463 h 10000"/>
                <a:gd name="connsiteX166" fmla="*/ 6656 w 10000"/>
                <a:gd name="connsiteY166" fmla="*/ 3538 h 10000"/>
                <a:gd name="connsiteX167" fmla="*/ 6665 w 10000"/>
                <a:gd name="connsiteY167" fmla="*/ 3516 h 10000"/>
                <a:gd name="connsiteX168" fmla="*/ 6737 w 10000"/>
                <a:gd name="connsiteY168" fmla="*/ 3497 h 10000"/>
                <a:gd name="connsiteX169" fmla="*/ 6837 w 10000"/>
                <a:gd name="connsiteY169" fmla="*/ 3424 h 10000"/>
                <a:gd name="connsiteX170" fmla="*/ 6854 w 10000"/>
                <a:gd name="connsiteY170" fmla="*/ 3404 h 10000"/>
                <a:gd name="connsiteX171" fmla="*/ 6832 w 10000"/>
                <a:gd name="connsiteY171" fmla="*/ 3377 h 10000"/>
                <a:gd name="connsiteX172" fmla="*/ 6886 w 10000"/>
                <a:gd name="connsiteY172" fmla="*/ 3250 h 10000"/>
                <a:gd name="connsiteX173" fmla="*/ 6822 w 10000"/>
                <a:gd name="connsiteY173" fmla="*/ 3167 h 10000"/>
                <a:gd name="connsiteX174" fmla="*/ 6832 w 10000"/>
                <a:gd name="connsiteY174" fmla="*/ 3101 h 10000"/>
                <a:gd name="connsiteX175" fmla="*/ 6868 w 10000"/>
                <a:gd name="connsiteY175" fmla="*/ 3178 h 10000"/>
                <a:gd name="connsiteX176" fmla="*/ 7011 w 10000"/>
                <a:gd name="connsiteY176" fmla="*/ 3236 h 10000"/>
                <a:gd name="connsiteX177" fmla="*/ 7070 w 10000"/>
                <a:gd name="connsiteY177" fmla="*/ 3229 h 10000"/>
                <a:gd name="connsiteX178" fmla="*/ 7164 w 10000"/>
                <a:gd name="connsiteY178" fmla="*/ 3152 h 10000"/>
                <a:gd name="connsiteX179" fmla="*/ 7265 w 10000"/>
                <a:gd name="connsiteY179" fmla="*/ 3183 h 10000"/>
                <a:gd name="connsiteX180" fmla="*/ 7292 w 10000"/>
                <a:gd name="connsiteY180" fmla="*/ 3122 h 10000"/>
                <a:gd name="connsiteX181" fmla="*/ 7360 w 10000"/>
                <a:gd name="connsiteY181" fmla="*/ 3080 h 10000"/>
                <a:gd name="connsiteX182" fmla="*/ 7175 w 10000"/>
                <a:gd name="connsiteY182" fmla="*/ 3036 h 10000"/>
                <a:gd name="connsiteX183" fmla="*/ 7307 w 10000"/>
                <a:gd name="connsiteY183" fmla="*/ 3045 h 10000"/>
                <a:gd name="connsiteX184" fmla="*/ 7442 w 10000"/>
                <a:gd name="connsiteY184" fmla="*/ 2999 h 10000"/>
                <a:gd name="connsiteX185" fmla="*/ 7437 w 10000"/>
                <a:gd name="connsiteY185" fmla="*/ 2966 h 10000"/>
                <a:gd name="connsiteX186" fmla="*/ 7565 w 10000"/>
                <a:gd name="connsiteY186" fmla="*/ 2936 h 10000"/>
                <a:gd name="connsiteX187" fmla="*/ 7576 w 10000"/>
                <a:gd name="connsiteY187" fmla="*/ 2859 h 10000"/>
                <a:gd name="connsiteX188" fmla="*/ 7676 w 10000"/>
                <a:gd name="connsiteY188" fmla="*/ 2844 h 10000"/>
                <a:gd name="connsiteX189" fmla="*/ 7684 w 10000"/>
                <a:gd name="connsiteY189" fmla="*/ 2754 h 10000"/>
                <a:gd name="connsiteX190" fmla="*/ 7790 w 10000"/>
                <a:gd name="connsiteY190" fmla="*/ 2743 h 10000"/>
                <a:gd name="connsiteX191" fmla="*/ 7953 w 10000"/>
                <a:gd name="connsiteY191" fmla="*/ 2762 h 10000"/>
                <a:gd name="connsiteX192" fmla="*/ 8132 w 10000"/>
                <a:gd name="connsiteY192" fmla="*/ 2690 h 10000"/>
                <a:gd name="connsiteX193" fmla="*/ 8195 w 10000"/>
                <a:gd name="connsiteY193" fmla="*/ 2607 h 10000"/>
                <a:gd name="connsiteX194" fmla="*/ 8417 w 10000"/>
                <a:gd name="connsiteY194" fmla="*/ 2524 h 10000"/>
                <a:gd name="connsiteX195" fmla="*/ 8527 w 10000"/>
                <a:gd name="connsiteY195" fmla="*/ 2575 h 10000"/>
                <a:gd name="connsiteX196" fmla="*/ 8695 w 10000"/>
                <a:gd name="connsiteY196" fmla="*/ 2519 h 10000"/>
                <a:gd name="connsiteX197" fmla="*/ 8736 w 10000"/>
                <a:gd name="connsiteY197" fmla="*/ 2445 h 10000"/>
                <a:gd name="connsiteX198" fmla="*/ 8864 w 10000"/>
                <a:gd name="connsiteY198" fmla="*/ 2396 h 10000"/>
                <a:gd name="connsiteX199" fmla="*/ 8973 w 10000"/>
                <a:gd name="connsiteY199" fmla="*/ 2418 h 10000"/>
                <a:gd name="connsiteX200" fmla="*/ 9042 w 10000"/>
                <a:gd name="connsiteY200" fmla="*/ 2381 h 10000"/>
                <a:gd name="connsiteX201" fmla="*/ 9231 w 10000"/>
                <a:gd name="connsiteY201" fmla="*/ 2330 h 10000"/>
                <a:gd name="connsiteX202" fmla="*/ 9310 w 10000"/>
                <a:gd name="connsiteY202" fmla="*/ 2263 h 10000"/>
                <a:gd name="connsiteX203" fmla="*/ 9417 w 10000"/>
                <a:gd name="connsiteY203" fmla="*/ 2235 h 10000"/>
                <a:gd name="connsiteX204" fmla="*/ 10000 w 10000"/>
                <a:gd name="connsiteY204" fmla="*/ 1832 h 10000"/>
                <a:gd name="connsiteX205" fmla="*/ 9652 w 10000"/>
                <a:gd name="connsiteY205" fmla="*/ 1699 h 10000"/>
                <a:gd name="connsiteX206" fmla="*/ 9147 w 10000"/>
                <a:gd name="connsiteY206" fmla="*/ 1773 h 10000"/>
                <a:gd name="connsiteX207" fmla="*/ 8784 w 10000"/>
                <a:gd name="connsiteY207" fmla="*/ 1639 h 10000"/>
                <a:gd name="connsiteX208" fmla="*/ 8850 w 10000"/>
                <a:gd name="connsiteY208" fmla="*/ 1480 h 10000"/>
                <a:gd name="connsiteX209" fmla="*/ 7497 w 10000"/>
                <a:gd name="connsiteY209" fmla="*/ 923 h 10000"/>
                <a:gd name="connsiteX210" fmla="*/ 7522 w 10000"/>
                <a:gd name="connsiteY210" fmla="*/ 649 h 10000"/>
                <a:gd name="connsiteX211" fmla="*/ 7012 w 10000"/>
                <a:gd name="connsiteY211" fmla="*/ 590 h 10000"/>
                <a:gd name="connsiteX212" fmla="*/ 6413 w 10000"/>
                <a:gd name="connsiteY212" fmla="*/ 332 h 10000"/>
                <a:gd name="connsiteX213" fmla="*/ 5098 w 10000"/>
                <a:gd name="connsiteY213" fmla="*/ 0 h 10000"/>
                <a:gd name="connsiteX214" fmla="*/ 4837 w 10000"/>
                <a:gd name="connsiteY214" fmla="*/ 82 h 10000"/>
                <a:gd name="connsiteX215" fmla="*/ 4671 w 10000"/>
                <a:gd name="connsiteY215" fmla="*/ 78 h 10000"/>
                <a:gd name="connsiteX216" fmla="*/ 4571 w 10000"/>
                <a:gd name="connsiteY216" fmla="*/ 107 h 10000"/>
                <a:gd name="connsiteX217" fmla="*/ 4298 w 10000"/>
                <a:gd name="connsiteY217" fmla="*/ 913 h 10000"/>
                <a:gd name="connsiteX218" fmla="*/ 3668 w 10000"/>
                <a:gd name="connsiteY218" fmla="*/ 1383 h 10000"/>
                <a:gd name="connsiteX219" fmla="*/ 3672 w 10000"/>
                <a:gd name="connsiteY219" fmla="*/ 1457 h 10000"/>
                <a:gd name="connsiteX220" fmla="*/ 3952 w 10000"/>
                <a:gd name="connsiteY220" fmla="*/ 1668 h 10000"/>
                <a:gd name="connsiteX221" fmla="*/ 3861 w 10000"/>
                <a:gd name="connsiteY221" fmla="*/ 1896 h 10000"/>
                <a:gd name="connsiteX222" fmla="*/ 3698 w 10000"/>
                <a:gd name="connsiteY222" fmla="*/ 1979 h 10000"/>
                <a:gd name="connsiteX223" fmla="*/ 3208 w 10000"/>
                <a:gd name="connsiteY223" fmla="*/ 1924 h 10000"/>
                <a:gd name="connsiteX224" fmla="*/ 2871 w 10000"/>
                <a:gd name="connsiteY224" fmla="*/ 1955 h 10000"/>
                <a:gd name="connsiteX225" fmla="*/ 2601 w 10000"/>
                <a:gd name="connsiteY225" fmla="*/ 2023 h 10000"/>
                <a:gd name="connsiteX226" fmla="*/ 2163 w 10000"/>
                <a:gd name="connsiteY226" fmla="*/ 2233 h 10000"/>
                <a:gd name="connsiteX227" fmla="*/ 1931 w 10000"/>
                <a:gd name="connsiteY227" fmla="*/ 2487 h 10000"/>
                <a:gd name="connsiteX228" fmla="*/ 1951 w 10000"/>
                <a:gd name="connsiteY228" fmla="*/ 2629 h 10000"/>
                <a:gd name="connsiteX229" fmla="*/ 2032 w 10000"/>
                <a:gd name="connsiteY229" fmla="*/ 2738 h 10000"/>
                <a:gd name="connsiteX230" fmla="*/ 2093 w 10000"/>
                <a:gd name="connsiteY230" fmla="*/ 2782 h 10000"/>
                <a:gd name="connsiteX231" fmla="*/ 1979 w 10000"/>
                <a:gd name="connsiteY231" fmla="*/ 2852 h 10000"/>
                <a:gd name="connsiteX232" fmla="*/ 1731 w 10000"/>
                <a:gd name="connsiteY232" fmla="*/ 3330 h 10000"/>
                <a:gd name="connsiteX233" fmla="*/ 1779 w 10000"/>
                <a:gd name="connsiteY233" fmla="*/ 3358 h 10000"/>
                <a:gd name="connsiteX234" fmla="*/ 1815 w 10000"/>
                <a:gd name="connsiteY234" fmla="*/ 3479 h 10000"/>
                <a:gd name="connsiteX235" fmla="*/ 1700 w 10000"/>
                <a:gd name="connsiteY235" fmla="*/ 3982 h 10000"/>
                <a:gd name="connsiteX236" fmla="*/ 1815 w 10000"/>
                <a:gd name="connsiteY236" fmla="*/ 4110 h 10000"/>
                <a:gd name="connsiteX237" fmla="*/ 2131 w 10000"/>
                <a:gd name="connsiteY237" fmla="*/ 4251 h 10000"/>
                <a:gd name="connsiteX238" fmla="*/ 2145 w 10000"/>
                <a:gd name="connsiteY238" fmla="*/ 4423 h 10000"/>
                <a:gd name="connsiteX239" fmla="*/ 2010 w 10000"/>
                <a:gd name="connsiteY239" fmla="*/ 4566 h 10000"/>
                <a:gd name="connsiteX240" fmla="*/ 1815 w 10000"/>
                <a:gd name="connsiteY240" fmla="*/ 4652 h 10000"/>
                <a:gd name="connsiteX241" fmla="*/ 1557 w 10000"/>
                <a:gd name="connsiteY241" fmla="*/ 4687 h 10000"/>
                <a:gd name="connsiteX242" fmla="*/ 1490 w 10000"/>
                <a:gd name="connsiteY242" fmla="*/ 4737 h 10000"/>
                <a:gd name="connsiteX243" fmla="*/ 1640 w 10000"/>
                <a:gd name="connsiteY243" fmla="*/ 4855 h 10000"/>
                <a:gd name="connsiteX244" fmla="*/ 1726 w 10000"/>
                <a:gd name="connsiteY244" fmla="*/ 5136 h 10000"/>
                <a:gd name="connsiteX245" fmla="*/ 1531 w 10000"/>
                <a:gd name="connsiteY245" fmla="*/ 5376 h 10000"/>
                <a:gd name="connsiteX246" fmla="*/ 1599 w 10000"/>
                <a:gd name="connsiteY246" fmla="*/ 5451 h 10000"/>
                <a:gd name="connsiteX247" fmla="*/ 1537 w 10000"/>
                <a:gd name="connsiteY247" fmla="*/ 5577 h 10000"/>
                <a:gd name="connsiteX248" fmla="*/ 1412 w 10000"/>
                <a:gd name="connsiteY248" fmla="*/ 5663 h 10000"/>
                <a:gd name="connsiteX249" fmla="*/ 915 w 10000"/>
                <a:gd name="connsiteY249" fmla="*/ 5730 h 10000"/>
                <a:gd name="connsiteX250" fmla="*/ 885 w 10000"/>
                <a:gd name="connsiteY250" fmla="*/ 5846 h 10000"/>
                <a:gd name="connsiteX251" fmla="*/ 617 w 10000"/>
                <a:gd name="connsiteY251" fmla="*/ 6019 h 10000"/>
                <a:gd name="connsiteX252" fmla="*/ 652 w 10000"/>
                <a:gd name="connsiteY252" fmla="*/ 6268 h 10000"/>
                <a:gd name="connsiteX253" fmla="*/ 427 w 10000"/>
                <a:gd name="connsiteY253" fmla="*/ 6587 h 10000"/>
                <a:gd name="connsiteX254" fmla="*/ 274 w 10000"/>
                <a:gd name="connsiteY254" fmla="*/ 6624 h 10000"/>
                <a:gd name="connsiteX255" fmla="*/ 210 w 10000"/>
                <a:gd name="connsiteY255" fmla="*/ 6548 h 10000"/>
                <a:gd name="connsiteX256" fmla="*/ 132 w 10000"/>
                <a:gd name="connsiteY256" fmla="*/ 6663 h 10000"/>
                <a:gd name="connsiteX257" fmla="*/ 183 w 10000"/>
                <a:gd name="connsiteY257" fmla="*/ 6465 h 10000"/>
                <a:gd name="connsiteX258" fmla="*/ 151 w 10000"/>
                <a:gd name="connsiteY258"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391 w 10000"/>
                <a:gd name="connsiteY158" fmla="*/ 4269 h 10000"/>
                <a:gd name="connsiteX159" fmla="*/ 6408 w 10000"/>
                <a:gd name="connsiteY159" fmla="*/ 4202 h 10000"/>
                <a:gd name="connsiteX160" fmla="*/ 6354 w 10000"/>
                <a:gd name="connsiteY160" fmla="*/ 4029 h 10000"/>
                <a:gd name="connsiteX161" fmla="*/ 6532 w 10000"/>
                <a:gd name="connsiteY161" fmla="*/ 3719 h 10000"/>
                <a:gd name="connsiteX162" fmla="*/ 6423 w 10000"/>
                <a:gd name="connsiteY162" fmla="*/ 3645 h 10000"/>
                <a:gd name="connsiteX163" fmla="*/ 6381 w 10000"/>
                <a:gd name="connsiteY163" fmla="*/ 3576 h 10000"/>
                <a:gd name="connsiteX164" fmla="*/ 6395 w 10000"/>
                <a:gd name="connsiteY164" fmla="*/ 3463 h 10000"/>
                <a:gd name="connsiteX165" fmla="*/ 6656 w 10000"/>
                <a:gd name="connsiteY165" fmla="*/ 3538 h 10000"/>
                <a:gd name="connsiteX166" fmla="*/ 6665 w 10000"/>
                <a:gd name="connsiteY166" fmla="*/ 3516 h 10000"/>
                <a:gd name="connsiteX167" fmla="*/ 6737 w 10000"/>
                <a:gd name="connsiteY167" fmla="*/ 3497 h 10000"/>
                <a:gd name="connsiteX168" fmla="*/ 6837 w 10000"/>
                <a:gd name="connsiteY168" fmla="*/ 3424 h 10000"/>
                <a:gd name="connsiteX169" fmla="*/ 6854 w 10000"/>
                <a:gd name="connsiteY169" fmla="*/ 3404 h 10000"/>
                <a:gd name="connsiteX170" fmla="*/ 6832 w 10000"/>
                <a:gd name="connsiteY170" fmla="*/ 3377 h 10000"/>
                <a:gd name="connsiteX171" fmla="*/ 6886 w 10000"/>
                <a:gd name="connsiteY171" fmla="*/ 3250 h 10000"/>
                <a:gd name="connsiteX172" fmla="*/ 6822 w 10000"/>
                <a:gd name="connsiteY172" fmla="*/ 3167 h 10000"/>
                <a:gd name="connsiteX173" fmla="*/ 6832 w 10000"/>
                <a:gd name="connsiteY173" fmla="*/ 3101 h 10000"/>
                <a:gd name="connsiteX174" fmla="*/ 6868 w 10000"/>
                <a:gd name="connsiteY174" fmla="*/ 3178 h 10000"/>
                <a:gd name="connsiteX175" fmla="*/ 7011 w 10000"/>
                <a:gd name="connsiteY175" fmla="*/ 3236 h 10000"/>
                <a:gd name="connsiteX176" fmla="*/ 7070 w 10000"/>
                <a:gd name="connsiteY176" fmla="*/ 3229 h 10000"/>
                <a:gd name="connsiteX177" fmla="*/ 7164 w 10000"/>
                <a:gd name="connsiteY177" fmla="*/ 3152 h 10000"/>
                <a:gd name="connsiteX178" fmla="*/ 7265 w 10000"/>
                <a:gd name="connsiteY178" fmla="*/ 3183 h 10000"/>
                <a:gd name="connsiteX179" fmla="*/ 7292 w 10000"/>
                <a:gd name="connsiteY179" fmla="*/ 3122 h 10000"/>
                <a:gd name="connsiteX180" fmla="*/ 7360 w 10000"/>
                <a:gd name="connsiteY180" fmla="*/ 3080 h 10000"/>
                <a:gd name="connsiteX181" fmla="*/ 7175 w 10000"/>
                <a:gd name="connsiteY181" fmla="*/ 3036 h 10000"/>
                <a:gd name="connsiteX182" fmla="*/ 7307 w 10000"/>
                <a:gd name="connsiteY182" fmla="*/ 3045 h 10000"/>
                <a:gd name="connsiteX183" fmla="*/ 7442 w 10000"/>
                <a:gd name="connsiteY183" fmla="*/ 2999 h 10000"/>
                <a:gd name="connsiteX184" fmla="*/ 7437 w 10000"/>
                <a:gd name="connsiteY184" fmla="*/ 2966 h 10000"/>
                <a:gd name="connsiteX185" fmla="*/ 7565 w 10000"/>
                <a:gd name="connsiteY185" fmla="*/ 2936 h 10000"/>
                <a:gd name="connsiteX186" fmla="*/ 7576 w 10000"/>
                <a:gd name="connsiteY186" fmla="*/ 2859 h 10000"/>
                <a:gd name="connsiteX187" fmla="*/ 7676 w 10000"/>
                <a:gd name="connsiteY187" fmla="*/ 2844 h 10000"/>
                <a:gd name="connsiteX188" fmla="*/ 7684 w 10000"/>
                <a:gd name="connsiteY188" fmla="*/ 2754 h 10000"/>
                <a:gd name="connsiteX189" fmla="*/ 7790 w 10000"/>
                <a:gd name="connsiteY189" fmla="*/ 2743 h 10000"/>
                <a:gd name="connsiteX190" fmla="*/ 7953 w 10000"/>
                <a:gd name="connsiteY190" fmla="*/ 2762 h 10000"/>
                <a:gd name="connsiteX191" fmla="*/ 8132 w 10000"/>
                <a:gd name="connsiteY191" fmla="*/ 2690 h 10000"/>
                <a:gd name="connsiteX192" fmla="*/ 8195 w 10000"/>
                <a:gd name="connsiteY192" fmla="*/ 2607 h 10000"/>
                <a:gd name="connsiteX193" fmla="*/ 8417 w 10000"/>
                <a:gd name="connsiteY193" fmla="*/ 2524 h 10000"/>
                <a:gd name="connsiteX194" fmla="*/ 8527 w 10000"/>
                <a:gd name="connsiteY194" fmla="*/ 2575 h 10000"/>
                <a:gd name="connsiteX195" fmla="*/ 8695 w 10000"/>
                <a:gd name="connsiteY195" fmla="*/ 2519 h 10000"/>
                <a:gd name="connsiteX196" fmla="*/ 8736 w 10000"/>
                <a:gd name="connsiteY196" fmla="*/ 2445 h 10000"/>
                <a:gd name="connsiteX197" fmla="*/ 8864 w 10000"/>
                <a:gd name="connsiteY197" fmla="*/ 2396 h 10000"/>
                <a:gd name="connsiteX198" fmla="*/ 8973 w 10000"/>
                <a:gd name="connsiteY198" fmla="*/ 2418 h 10000"/>
                <a:gd name="connsiteX199" fmla="*/ 9042 w 10000"/>
                <a:gd name="connsiteY199" fmla="*/ 2381 h 10000"/>
                <a:gd name="connsiteX200" fmla="*/ 9231 w 10000"/>
                <a:gd name="connsiteY200" fmla="*/ 2330 h 10000"/>
                <a:gd name="connsiteX201" fmla="*/ 9310 w 10000"/>
                <a:gd name="connsiteY201" fmla="*/ 2263 h 10000"/>
                <a:gd name="connsiteX202" fmla="*/ 9417 w 10000"/>
                <a:gd name="connsiteY202" fmla="*/ 2235 h 10000"/>
                <a:gd name="connsiteX203" fmla="*/ 10000 w 10000"/>
                <a:gd name="connsiteY203" fmla="*/ 1832 h 10000"/>
                <a:gd name="connsiteX204" fmla="*/ 9652 w 10000"/>
                <a:gd name="connsiteY204" fmla="*/ 1699 h 10000"/>
                <a:gd name="connsiteX205" fmla="*/ 9147 w 10000"/>
                <a:gd name="connsiteY205" fmla="*/ 1773 h 10000"/>
                <a:gd name="connsiteX206" fmla="*/ 8784 w 10000"/>
                <a:gd name="connsiteY206" fmla="*/ 1639 h 10000"/>
                <a:gd name="connsiteX207" fmla="*/ 8850 w 10000"/>
                <a:gd name="connsiteY207" fmla="*/ 1480 h 10000"/>
                <a:gd name="connsiteX208" fmla="*/ 7497 w 10000"/>
                <a:gd name="connsiteY208" fmla="*/ 923 h 10000"/>
                <a:gd name="connsiteX209" fmla="*/ 7522 w 10000"/>
                <a:gd name="connsiteY209" fmla="*/ 649 h 10000"/>
                <a:gd name="connsiteX210" fmla="*/ 7012 w 10000"/>
                <a:gd name="connsiteY210" fmla="*/ 590 h 10000"/>
                <a:gd name="connsiteX211" fmla="*/ 6413 w 10000"/>
                <a:gd name="connsiteY211" fmla="*/ 332 h 10000"/>
                <a:gd name="connsiteX212" fmla="*/ 5098 w 10000"/>
                <a:gd name="connsiteY212" fmla="*/ 0 h 10000"/>
                <a:gd name="connsiteX213" fmla="*/ 4837 w 10000"/>
                <a:gd name="connsiteY213" fmla="*/ 82 h 10000"/>
                <a:gd name="connsiteX214" fmla="*/ 4671 w 10000"/>
                <a:gd name="connsiteY214" fmla="*/ 78 h 10000"/>
                <a:gd name="connsiteX215" fmla="*/ 4571 w 10000"/>
                <a:gd name="connsiteY215" fmla="*/ 107 h 10000"/>
                <a:gd name="connsiteX216" fmla="*/ 4298 w 10000"/>
                <a:gd name="connsiteY216" fmla="*/ 913 h 10000"/>
                <a:gd name="connsiteX217" fmla="*/ 3668 w 10000"/>
                <a:gd name="connsiteY217" fmla="*/ 1383 h 10000"/>
                <a:gd name="connsiteX218" fmla="*/ 3672 w 10000"/>
                <a:gd name="connsiteY218" fmla="*/ 1457 h 10000"/>
                <a:gd name="connsiteX219" fmla="*/ 3952 w 10000"/>
                <a:gd name="connsiteY219" fmla="*/ 1668 h 10000"/>
                <a:gd name="connsiteX220" fmla="*/ 3861 w 10000"/>
                <a:gd name="connsiteY220" fmla="*/ 1896 h 10000"/>
                <a:gd name="connsiteX221" fmla="*/ 3698 w 10000"/>
                <a:gd name="connsiteY221" fmla="*/ 1979 h 10000"/>
                <a:gd name="connsiteX222" fmla="*/ 3208 w 10000"/>
                <a:gd name="connsiteY222" fmla="*/ 1924 h 10000"/>
                <a:gd name="connsiteX223" fmla="*/ 2871 w 10000"/>
                <a:gd name="connsiteY223" fmla="*/ 1955 h 10000"/>
                <a:gd name="connsiteX224" fmla="*/ 2601 w 10000"/>
                <a:gd name="connsiteY224" fmla="*/ 2023 h 10000"/>
                <a:gd name="connsiteX225" fmla="*/ 2163 w 10000"/>
                <a:gd name="connsiteY225" fmla="*/ 2233 h 10000"/>
                <a:gd name="connsiteX226" fmla="*/ 1931 w 10000"/>
                <a:gd name="connsiteY226" fmla="*/ 2487 h 10000"/>
                <a:gd name="connsiteX227" fmla="*/ 1951 w 10000"/>
                <a:gd name="connsiteY227" fmla="*/ 2629 h 10000"/>
                <a:gd name="connsiteX228" fmla="*/ 2032 w 10000"/>
                <a:gd name="connsiteY228" fmla="*/ 2738 h 10000"/>
                <a:gd name="connsiteX229" fmla="*/ 2093 w 10000"/>
                <a:gd name="connsiteY229" fmla="*/ 2782 h 10000"/>
                <a:gd name="connsiteX230" fmla="*/ 1979 w 10000"/>
                <a:gd name="connsiteY230" fmla="*/ 2852 h 10000"/>
                <a:gd name="connsiteX231" fmla="*/ 1731 w 10000"/>
                <a:gd name="connsiteY231" fmla="*/ 3330 h 10000"/>
                <a:gd name="connsiteX232" fmla="*/ 1779 w 10000"/>
                <a:gd name="connsiteY232" fmla="*/ 3358 h 10000"/>
                <a:gd name="connsiteX233" fmla="*/ 1815 w 10000"/>
                <a:gd name="connsiteY233" fmla="*/ 3479 h 10000"/>
                <a:gd name="connsiteX234" fmla="*/ 1700 w 10000"/>
                <a:gd name="connsiteY234" fmla="*/ 3982 h 10000"/>
                <a:gd name="connsiteX235" fmla="*/ 1815 w 10000"/>
                <a:gd name="connsiteY235" fmla="*/ 4110 h 10000"/>
                <a:gd name="connsiteX236" fmla="*/ 2131 w 10000"/>
                <a:gd name="connsiteY236" fmla="*/ 4251 h 10000"/>
                <a:gd name="connsiteX237" fmla="*/ 2145 w 10000"/>
                <a:gd name="connsiteY237" fmla="*/ 4423 h 10000"/>
                <a:gd name="connsiteX238" fmla="*/ 2010 w 10000"/>
                <a:gd name="connsiteY238" fmla="*/ 4566 h 10000"/>
                <a:gd name="connsiteX239" fmla="*/ 1815 w 10000"/>
                <a:gd name="connsiteY239" fmla="*/ 4652 h 10000"/>
                <a:gd name="connsiteX240" fmla="*/ 1557 w 10000"/>
                <a:gd name="connsiteY240" fmla="*/ 4687 h 10000"/>
                <a:gd name="connsiteX241" fmla="*/ 1490 w 10000"/>
                <a:gd name="connsiteY241" fmla="*/ 4737 h 10000"/>
                <a:gd name="connsiteX242" fmla="*/ 1640 w 10000"/>
                <a:gd name="connsiteY242" fmla="*/ 4855 h 10000"/>
                <a:gd name="connsiteX243" fmla="*/ 1726 w 10000"/>
                <a:gd name="connsiteY243" fmla="*/ 5136 h 10000"/>
                <a:gd name="connsiteX244" fmla="*/ 1531 w 10000"/>
                <a:gd name="connsiteY244" fmla="*/ 5376 h 10000"/>
                <a:gd name="connsiteX245" fmla="*/ 1599 w 10000"/>
                <a:gd name="connsiteY245" fmla="*/ 5451 h 10000"/>
                <a:gd name="connsiteX246" fmla="*/ 1537 w 10000"/>
                <a:gd name="connsiteY246" fmla="*/ 5577 h 10000"/>
                <a:gd name="connsiteX247" fmla="*/ 1412 w 10000"/>
                <a:gd name="connsiteY247" fmla="*/ 5663 h 10000"/>
                <a:gd name="connsiteX248" fmla="*/ 915 w 10000"/>
                <a:gd name="connsiteY248" fmla="*/ 5730 h 10000"/>
                <a:gd name="connsiteX249" fmla="*/ 885 w 10000"/>
                <a:gd name="connsiteY249" fmla="*/ 5846 h 10000"/>
                <a:gd name="connsiteX250" fmla="*/ 617 w 10000"/>
                <a:gd name="connsiteY250" fmla="*/ 6019 h 10000"/>
                <a:gd name="connsiteX251" fmla="*/ 652 w 10000"/>
                <a:gd name="connsiteY251" fmla="*/ 6268 h 10000"/>
                <a:gd name="connsiteX252" fmla="*/ 427 w 10000"/>
                <a:gd name="connsiteY252" fmla="*/ 6587 h 10000"/>
                <a:gd name="connsiteX253" fmla="*/ 274 w 10000"/>
                <a:gd name="connsiteY253" fmla="*/ 6624 h 10000"/>
                <a:gd name="connsiteX254" fmla="*/ 210 w 10000"/>
                <a:gd name="connsiteY254" fmla="*/ 6548 h 10000"/>
                <a:gd name="connsiteX255" fmla="*/ 132 w 10000"/>
                <a:gd name="connsiteY255" fmla="*/ 6663 h 10000"/>
                <a:gd name="connsiteX256" fmla="*/ 183 w 10000"/>
                <a:gd name="connsiteY256" fmla="*/ 6465 h 10000"/>
                <a:gd name="connsiteX257" fmla="*/ 151 w 10000"/>
                <a:gd name="connsiteY257"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391 w 10000"/>
                <a:gd name="connsiteY158" fmla="*/ 4269 h 10000"/>
                <a:gd name="connsiteX159" fmla="*/ 6354 w 10000"/>
                <a:gd name="connsiteY159" fmla="*/ 4029 h 10000"/>
                <a:gd name="connsiteX160" fmla="*/ 6532 w 10000"/>
                <a:gd name="connsiteY160" fmla="*/ 3719 h 10000"/>
                <a:gd name="connsiteX161" fmla="*/ 6423 w 10000"/>
                <a:gd name="connsiteY161" fmla="*/ 3645 h 10000"/>
                <a:gd name="connsiteX162" fmla="*/ 6381 w 10000"/>
                <a:gd name="connsiteY162" fmla="*/ 3576 h 10000"/>
                <a:gd name="connsiteX163" fmla="*/ 6395 w 10000"/>
                <a:gd name="connsiteY163" fmla="*/ 3463 h 10000"/>
                <a:gd name="connsiteX164" fmla="*/ 6656 w 10000"/>
                <a:gd name="connsiteY164" fmla="*/ 3538 h 10000"/>
                <a:gd name="connsiteX165" fmla="*/ 6665 w 10000"/>
                <a:gd name="connsiteY165" fmla="*/ 3516 h 10000"/>
                <a:gd name="connsiteX166" fmla="*/ 6737 w 10000"/>
                <a:gd name="connsiteY166" fmla="*/ 3497 h 10000"/>
                <a:gd name="connsiteX167" fmla="*/ 6837 w 10000"/>
                <a:gd name="connsiteY167" fmla="*/ 3424 h 10000"/>
                <a:gd name="connsiteX168" fmla="*/ 6854 w 10000"/>
                <a:gd name="connsiteY168" fmla="*/ 3404 h 10000"/>
                <a:gd name="connsiteX169" fmla="*/ 6832 w 10000"/>
                <a:gd name="connsiteY169" fmla="*/ 3377 h 10000"/>
                <a:gd name="connsiteX170" fmla="*/ 6886 w 10000"/>
                <a:gd name="connsiteY170" fmla="*/ 3250 h 10000"/>
                <a:gd name="connsiteX171" fmla="*/ 6822 w 10000"/>
                <a:gd name="connsiteY171" fmla="*/ 3167 h 10000"/>
                <a:gd name="connsiteX172" fmla="*/ 6832 w 10000"/>
                <a:gd name="connsiteY172" fmla="*/ 3101 h 10000"/>
                <a:gd name="connsiteX173" fmla="*/ 6868 w 10000"/>
                <a:gd name="connsiteY173" fmla="*/ 3178 h 10000"/>
                <a:gd name="connsiteX174" fmla="*/ 7011 w 10000"/>
                <a:gd name="connsiteY174" fmla="*/ 3236 h 10000"/>
                <a:gd name="connsiteX175" fmla="*/ 7070 w 10000"/>
                <a:gd name="connsiteY175" fmla="*/ 3229 h 10000"/>
                <a:gd name="connsiteX176" fmla="*/ 7164 w 10000"/>
                <a:gd name="connsiteY176" fmla="*/ 3152 h 10000"/>
                <a:gd name="connsiteX177" fmla="*/ 7265 w 10000"/>
                <a:gd name="connsiteY177" fmla="*/ 3183 h 10000"/>
                <a:gd name="connsiteX178" fmla="*/ 7292 w 10000"/>
                <a:gd name="connsiteY178" fmla="*/ 3122 h 10000"/>
                <a:gd name="connsiteX179" fmla="*/ 7360 w 10000"/>
                <a:gd name="connsiteY179" fmla="*/ 3080 h 10000"/>
                <a:gd name="connsiteX180" fmla="*/ 7175 w 10000"/>
                <a:gd name="connsiteY180" fmla="*/ 3036 h 10000"/>
                <a:gd name="connsiteX181" fmla="*/ 7307 w 10000"/>
                <a:gd name="connsiteY181" fmla="*/ 3045 h 10000"/>
                <a:gd name="connsiteX182" fmla="*/ 7442 w 10000"/>
                <a:gd name="connsiteY182" fmla="*/ 2999 h 10000"/>
                <a:gd name="connsiteX183" fmla="*/ 7437 w 10000"/>
                <a:gd name="connsiteY183" fmla="*/ 2966 h 10000"/>
                <a:gd name="connsiteX184" fmla="*/ 7565 w 10000"/>
                <a:gd name="connsiteY184" fmla="*/ 2936 h 10000"/>
                <a:gd name="connsiteX185" fmla="*/ 7576 w 10000"/>
                <a:gd name="connsiteY185" fmla="*/ 2859 h 10000"/>
                <a:gd name="connsiteX186" fmla="*/ 7676 w 10000"/>
                <a:gd name="connsiteY186" fmla="*/ 2844 h 10000"/>
                <a:gd name="connsiteX187" fmla="*/ 7684 w 10000"/>
                <a:gd name="connsiteY187" fmla="*/ 2754 h 10000"/>
                <a:gd name="connsiteX188" fmla="*/ 7790 w 10000"/>
                <a:gd name="connsiteY188" fmla="*/ 2743 h 10000"/>
                <a:gd name="connsiteX189" fmla="*/ 7953 w 10000"/>
                <a:gd name="connsiteY189" fmla="*/ 2762 h 10000"/>
                <a:gd name="connsiteX190" fmla="*/ 8132 w 10000"/>
                <a:gd name="connsiteY190" fmla="*/ 2690 h 10000"/>
                <a:gd name="connsiteX191" fmla="*/ 8195 w 10000"/>
                <a:gd name="connsiteY191" fmla="*/ 2607 h 10000"/>
                <a:gd name="connsiteX192" fmla="*/ 8417 w 10000"/>
                <a:gd name="connsiteY192" fmla="*/ 2524 h 10000"/>
                <a:gd name="connsiteX193" fmla="*/ 8527 w 10000"/>
                <a:gd name="connsiteY193" fmla="*/ 2575 h 10000"/>
                <a:gd name="connsiteX194" fmla="*/ 8695 w 10000"/>
                <a:gd name="connsiteY194" fmla="*/ 2519 h 10000"/>
                <a:gd name="connsiteX195" fmla="*/ 8736 w 10000"/>
                <a:gd name="connsiteY195" fmla="*/ 2445 h 10000"/>
                <a:gd name="connsiteX196" fmla="*/ 8864 w 10000"/>
                <a:gd name="connsiteY196" fmla="*/ 2396 h 10000"/>
                <a:gd name="connsiteX197" fmla="*/ 8973 w 10000"/>
                <a:gd name="connsiteY197" fmla="*/ 2418 h 10000"/>
                <a:gd name="connsiteX198" fmla="*/ 9042 w 10000"/>
                <a:gd name="connsiteY198" fmla="*/ 2381 h 10000"/>
                <a:gd name="connsiteX199" fmla="*/ 9231 w 10000"/>
                <a:gd name="connsiteY199" fmla="*/ 2330 h 10000"/>
                <a:gd name="connsiteX200" fmla="*/ 9310 w 10000"/>
                <a:gd name="connsiteY200" fmla="*/ 2263 h 10000"/>
                <a:gd name="connsiteX201" fmla="*/ 9417 w 10000"/>
                <a:gd name="connsiteY201" fmla="*/ 2235 h 10000"/>
                <a:gd name="connsiteX202" fmla="*/ 10000 w 10000"/>
                <a:gd name="connsiteY202" fmla="*/ 1832 h 10000"/>
                <a:gd name="connsiteX203" fmla="*/ 9652 w 10000"/>
                <a:gd name="connsiteY203" fmla="*/ 1699 h 10000"/>
                <a:gd name="connsiteX204" fmla="*/ 9147 w 10000"/>
                <a:gd name="connsiteY204" fmla="*/ 1773 h 10000"/>
                <a:gd name="connsiteX205" fmla="*/ 8784 w 10000"/>
                <a:gd name="connsiteY205" fmla="*/ 1639 h 10000"/>
                <a:gd name="connsiteX206" fmla="*/ 8850 w 10000"/>
                <a:gd name="connsiteY206" fmla="*/ 1480 h 10000"/>
                <a:gd name="connsiteX207" fmla="*/ 7497 w 10000"/>
                <a:gd name="connsiteY207" fmla="*/ 923 h 10000"/>
                <a:gd name="connsiteX208" fmla="*/ 7522 w 10000"/>
                <a:gd name="connsiteY208" fmla="*/ 649 h 10000"/>
                <a:gd name="connsiteX209" fmla="*/ 7012 w 10000"/>
                <a:gd name="connsiteY209" fmla="*/ 590 h 10000"/>
                <a:gd name="connsiteX210" fmla="*/ 6413 w 10000"/>
                <a:gd name="connsiteY210" fmla="*/ 332 h 10000"/>
                <a:gd name="connsiteX211" fmla="*/ 5098 w 10000"/>
                <a:gd name="connsiteY211" fmla="*/ 0 h 10000"/>
                <a:gd name="connsiteX212" fmla="*/ 4837 w 10000"/>
                <a:gd name="connsiteY212" fmla="*/ 82 h 10000"/>
                <a:gd name="connsiteX213" fmla="*/ 4671 w 10000"/>
                <a:gd name="connsiteY213" fmla="*/ 78 h 10000"/>
                <a:gd name="connsiteX214" fmla="*/ 4571 w 10000"/>
                <a:gd name="connsiteY214" fmla="*/ 107 h 10000"/>
                <a:gd name="connsiteX215" fmla="*/ 4298 w 10000"/>
                <a:gd name="connsiteY215" fmla="*/ 913 h 10000"/>
                <a:gd name="connsiteX216" fmla="*/ 3668 w 10000"/>
                <a:gd name="connsiteY216" fmla="*/ 1383 h 10000"/>
                <a:gd name="connsiteX217" fmla="*/ 3672 w 10000"/>
                <a:gd name="connsiteY217" fmla="*/ 1457 h 10000"/>
                <a:gd name="connsiteX218" fmla="*/ 3952 w 10000"/>
                <a:gd name="connsiteY218" fmla="*/ 1668 h 10000"/>
                <a:gd name="connsiteX219" fmla="*/ 3861 w 10000"/>
                <a:gd name="connsiteY219" fmla="*/ 1896 h 10000"/>
                <a:gd name="connsiteX220" fmla="*/ 3698 w 10000"/>
                <a:gd name="connsiteY220" fmla="*/ 1979 h 10000"/>
                <a:gd name="connsiteX221" fmla="*/ 3208 w 10000"/>
                <a:gd name="connsiteY221" fmla="*/ 1924 h 10000"/>
                <a:gd name="connsiteX222" fmla="*/ 2871 w 10000"/>
                <a:gd name="connsiteY222" fmla="*/ 1955 h 10000"/>
                <a:gd name="connsiteX223" fmla="*/ 2601 w 10000"/>
                <a:gd name="connsiteY223" fmla="*/ 2023 h 10000"/>
                <a:gd name="connsiteX224" fmla="*/ 2163 w 10000"/>
                <a:gd name="connsiteY224" fmla="*/ 2233 h 10000"/>
                <a:gd name="connsiteX225" fmla="*/ 1931 w 10000"/>
                <a:gd name="connsiteY225" fmla="*/ 2487 h 10000"/>
                <a:gd name="connsiteX226" fmla="*/ 1951 w 10000"/>
                <a:gd name="connsiteY226" fmla="*/ 2629 h 10000"/>
                <a:gd name="connsiteX227" fmla="*/ 2032 w 10000"/>
                <a:gd name="connsiteY227" fmla="*/ 2738 h 10000"/>
                <a:gd name="connsiteX228" fmla="*/ 2093 w 10000"/>
                <a:gd name="connsiteY228" fmla="*/ 2782 h 10000"/>
                <a:gd name="connsiteX229" fmla="*/ 1979 w 10000"/>
                <a:gd name="connsiteY229" fmla="*/ 2852 h 10000"/>
                <a:gd name="connsiteX230" fmla="*/ 1731 w 10000"/>
                <a:gd name="connsiteY230" fmla="*/ 3330 h 10000"/>
                <a:gd name="connsiteX231" fmla="*/ 1779 w 10000"/>
                <a:gd name="connsiteY231" fmla="*/ 3358 h 10000"/>
                <a:gd name="connsiteX232" fmla="*/ 1815 w 10000"/>
                <a:gd name="connsiteY232" fmla="*/ 3479 h 10000"/>
                <a:gd name="connsiteX233" fmla="*/ 1700 w 10000"/>
                <a:gd name="connsiteY233" fmla="*/ 3982 h 10000"/>
                <a:gd name="connsiteX234" fmla="*/ 1815 w 10000"/>
                <a:gd name="connsiteY234" fmla="*/ 4110 h 10000"/>
                <a:gd name="connsiteX235" fmla="*/ 2131 w 10000"/>
                <a:gd name="connsiteY235" fmla="*/ 4251 h 10000"/>
                <a:gd name="connsiteX236" fmla="*/ 2145 w 10000"/>
                <a:gd name="connsiteY236" fmla="*/ 4423 h 10000"/>
                <a:gd name="connsiteX237" fmla="*/ 2010 w 10000"/>
                <a:gd name="connsiteY237" fmla="*/ 4566 h 10000"/>
                <a:gd name="connsiteX238" fmla="*/ 1815 w 10000"/>
                <a:gd name="connsiteY238" fmla="*/ 4652 h 10000"/>
                <a:gd name="connsiteX239" fmla="*/ 1557 w 10000"/>
                <a:gd name="connsiteY239" fmla="*/ 4687 h 10000"/>
                <a:gd name="connsiteX240" fmla="*/ 1490 w 10000"/>
                <a:gd name="connsiteY240" fmla="*/ 4737 h 10000"/>
                <a:gd name="connsiteX241" fmla="*/ 1640 w 10000"/>
                <a:gd name="connsiteY241" fmla="*/ 4855 h 10000"/>
                <a:gd name="connsiteX242" fmla="*/ 1726 w 10000"/>
                <a:gd name="connsiteY242" fmla="*/ 5136 h 10000"/>
                <a:gd name="connsiteX243" fmla="*/ 1531 w 10000"/>
                <a:gd name="connsiteY243" fmla="*/ 5376 h 10000"/>
                <a:gd name="connsiteX244" fmla="*/ 1599 w 10000"/>
                <a:gd name="connsiteY244" fmla="*/ 5451 h 10000"/>
                <a:gd name="connsiteX245" fmla="*/ 1537 w 10000"/>
                <a:gd name="connsiteY245" fmla="*/ 5577 h 10000"/>
                <a:gd name="connsiteX246" fmla="*/ 1412 w 10000"/>
                <a:gd name="connsiteY246" fmla="*/ 5663 h 10000"/>
                <a:gd name="connsiteX247" fmla="*/ 915 w 10000"/>
                <a:gd name="connsiteY247" fmla="*/ 5730 h 10000"/>
                <a:gd name="connsiteX248" fmla="*/ 885 w 10000"/>
                <a:gd name="connsiteY248" fmla="*/ 5846 h 10000"/>
                <a:gd name="connsiteX249" fmla="*/ 617 w 10000"/>
                <a:gd name="connsiteY249" fmla="*/ 6019 h 10000"/>
                <a:gd name="connsiteX250" fmla="*/ 652 w 10000"/>
                <a:gd name="connsiteY250" fmla="*/ 6268 h 10000"/>
                <a:gd name="connsiteX251" fmla="*/ 427 w 10000"/>
                <a:gd name="connsiteY251" fmla="*/ 6587 h 10000"/>
                <a:gd name="connsiteX252" fmla="*/ 274 w 10000"/>
                <a:gd name="connsiteY252" fmla="*/ 6624 h 10000"/>
                <a:gd name="connsiteX253" fmla="*/ 210 w 10000"/>
                <a:gd name="connsiteY253" fmla="*/ 6548 h 10000"/>
                <a:gd name="connsiteX254" fmla="*/ 132 w 10000"/>
                <a:gd name="connsiteY254" fmla="*/ 6663 h 10000"/>
                <a:gd name="connsiteX255" fmla="*/ 183 w 10000"/>
                <a:gd name="connsiteY255" fmla="*/ 6465 h 10000"/>
                <a:gd name="connsiteX256" fmla="*/ 151 w 10000"/>
                <a:gd name="connsiteY256"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354 w 10000"/>
                <a:gd name="connsiteY158" fmla="*/ 4029 h 10000"/>
                <a:gd name="connsiteX159" fmla="*/ 6532 w 10000"/>
                <a:gd name="connsiteY159" fmla="*/ 3719 h 10000"/>
                <a:gd name="connsiteX160" fmla="*/ 6423 w 10000"/>
                <a:gd name="connsiteY160" fmla="*/ 3645 h 10000"/>
                <a:gd name="connsiteX161" fmla="*/ 6381 w 10000"/>
                <a:gd name="connsiteY161" fmla="*/ 3576 h 10000"/>
                <a:gd name="connsiteX162" fmla="*/ 6395 w 10000"/>
                <a:gd name="connsiteY162" fmla="*/ 3463 h 10000"/>
                <a:gd name="connsiteX163" fmla="*/ 6656 w 10000"/>
                <a:gd name="connsiteY163" fmla="*/ 3538 h 10000"/>
                <a:gd name="connsiteX164" fmla="*/ 6665 w 10000"/>
                <a:gd name="connsiteY164" fmla="*/ 3516 h 10000"/>
                <a:gd name="connsiteX165" fmla="*/ 6737 w 10000"/>
                <a:gd name="connsiteY165" fmla="*/ 3497 h 10000"/>
                <a:gd name="connsiteX166" fmla="*/ 6837 w 10000"/>
                <a:gd name="connsiteY166" fmla="*/ 3424 h 10000"/>
                <a:gd name="connsiteX167" fmla="*/ 6854 w 10000"/>
                <a:gd name="connsiteY167" fmla="*/ 3404 h 10000"/>
                <a:gd name="connsiteX168" fmla="*/ 6832 w 10000"/>
                <a:gd name="connsiteY168" fmla="*/ 3377 h 10000"/>
                <a:gd name="connsiteX169" fmla="*/ 6886 w 10000"/>
                <a:gd name="connsiteY169" fmla="*/ 3250 h 10000"/>
                <a:gd name="connsiteX170" fmla="*/ 6822 w 10000"/>
                <a:gd name="connsiteY170" fmla="*/ 3167 h 10000"/>
                <a:gd name="connsiteX171" fmla="*/ 6832 w 10000"/>
                <a:gd name="connsiteY171" fmla="*/ 3101 h 10000"/>
                <a:gd name="connsiteX172" fmla="*/ 6868 w 10000"/>
                <a:gd name="connsiteY172" fmla="*/ 3178 h 10000"/>
                <a:gd name="connsiteX173" fmla="*/ 7011 w 10000"/>
                <a:gd name="connsiteY173" fmla="*/ 3236 h 10000"/>
                <a:gd name="connsiteX174" fmla="*/ 7070 w 10000"/>
                <a:gd name="connsiteY174" fmla="*/ 3229 h 10000"/>
                <a:gd name="connsiteX175" fmla="*/ 7164 w 10000"/>
                <a:gd name="connsiteY175" fmla="*/ 3152 h 10000"/>
                <a:gd name="connsiteX176" fmla="*/ 7265 w 10000"/>
                <a:gd name="connsiteY176" fmla="*/ 3183 h 10000"/>
                <a:gd name="connsiteX177" fmla="*/ 7292 w 10000"/>
                <a:gd name="connsiteY177" fmla="*/ 3122 h 10000"/>
                <a:gd name="connsiteX178" fmla="*/ 7360 w 10000"/>
                <a:gd name="connsiteY178" fmla="*/ 3080 h 10000"/>
                <a:gd name="connsiteX179" fmla="*/ 7175 w 10000"/>
                <a:gd name="connsiteY179" fmla="*/ 3036 h 10000"/>
                <a:gd name="connsiteX180" fmla="*/ 7307 w 10000"/>
                <a:gd name="connsiteY180" fmla="*/ 3045 h 10000"/>
                <a:gd name="connsiteX181" fmla="*/ 7442 w 10000"/>
                <a:gd name="connsiteY181" fmla="*/ 2999 h 10000"/>
                <a:gd name="connsiteX182" fmla="*/ 7437 w 10000"/>
                <a:gd name="connsiteY182" fmla="*/ 2966 h 10000"/>
                <a:gd name="connsiteX183" fmla="*/ 7565 w 10000"/>
                <a:gd name="connsiteY183" fmla="*/ 2936 h 10000"/>
                <a:gd name="connsiteX184" fmla="*/ 7576 w 10000"/>
                <a:gd name="connsiteY184" fmla="*/ 2859 h 10000"/>
                <a:gd name="connsiteX185" fmla="*/ 7676 w 10000"/>
                <a:gd name="connsiteY185" fmla="*/ 2844 h 10000"/>
                <a:gd name="connsiteX186" fmla="*/ 7684 w 10000"/>
                <a:gd name="connsiteY186" fmla="*/ 2754 h 10000"/>
                <a:gd name="connsiteX187" fmla="*/ 7790 w 10000"/>
                <a:gd name="connsiteY187" fmla="*/ 2743 h 10000"/>
                <a:gd name="connsiteX188" fmla="*/ 7953 w 10000"/>
                <a:gd name="connsiteY188" fmla="*/ 2762 h 10000"/>
                <a:gd name="connsiteX189" fmla="*/ 8132 w 10000"/>
                <a:gd name="connsiteY189" fmla="*/ 2690 h 10000"/>
                <a:gd name="connsiteX190" fmla="*/ 8195 w 10000"/>
                <a:gd name="connsiteY190" fmla="*/ 2607 h 10000"/>
                <a:gd name="connsiteX191" fmla="*/ 8417 w 10000"/>
                <a:gd name="connsiteY191" fmla="*/ 2524 h 10000"/>
                <a:gd name="connsiteX192" fmla="*/ 8527 w 10000"/>
                <a:gd name="connsiteY192" fmla="*/ 2575 h 10000"/>
                <a:gd name="connsiteX193" fmla="*/ 8695 w 10000"/>
                <a:gd name="connsiteY193" fmla="*/ 2519 h 10000"/>
                <a:gd name="connsiteX194" fmla="*/ 8736 w 10000"/>
                <a:gd name="connsiteY194" fmla="*/ 2445 h 10000"/>
                <a:gd name="connsiteX195" fmla="*/ 8864 w 10000"/>
                <a:gd name="connsiteY195" fmla="*/ 2396 h 10000"/>
                <a:gd name="connsiteX196" fmla="*/ 8973 w 10000"/>
                <a:gd name="connsiteY196" fmla="*/ 2418 h 10000"/>
                <a:gd name="connsiteX197" fmla="*/ 9042 w 10000"/>
                <a:gd name="connsiteY197" fmla="*/ 2381 h 10000"/>
                <a:gd name="connsiteX198" fmla="*/ 9231 w 10000"/>
                <a:gd name="connsiteY198" fmla="*/ 2330 h 10000"/>
                <a:gd name="connsiteX199" fmla="*/ 9310 w 10000"/>
                <a:gd name="connsiteY199" fmla="*/ 2263 h 10000"/>
                <a:gd name="connsiteX200" fmla="*/ 9417 w 10000"/>
                <a:gd name="connsiteY200" fmla="*/ 2235 h 10000"/>
                <a:gd name="connsiteX201" fmla="*/ 10000 w 10000"/>
                <a:gd name="connsiteY201" fmla="*/ 1832 h 10000"/>
                <a:gd name="connsiteX202" fmla="*/ 9652 w 10000"/>
                <a:gd name="connsiteY202" fmla="*/ 1699 h 10000"/>
                <a:gd name="connsiteX203" fmla="*/ 9147 w 10000"/>
                <a:gd name="connsiteY203" fmla="*/ 1773 h 10000"/>
                <a:gd name="connsiteX204" fmla="*/ 8784 w 10000"/>
                <a:gd name="connsiteY204" fmla="*/ 1639 h 10000"/>
                <a:gd name="connsiteX205" fmla="*/ 8850 w 10000"/>
                <a:gd name="connsiteY205" fmla="*/ 1480 h 10000"/>
                <a:gd name="connsiteX206" fmla="*/ 7497 w 10000"/>
                <a:gd name="connsiteY206" fmla="*/ 923 h 10000"/>
                <a:gd name="connsiteX207" fmla="*/ 7522 w 10000"/>
                <a:gd name="connsiteY207" fmla="*/ 649 h 10000"/>
                <a:gd name="connsiteX208" fmla="*/ 7012 w 10000"/>
                <a:gd name="connsiteY208" fmla="*/ 590 h 10000"/>
                <a:gd name="connsiteX209" fmla="*/ 6413 w 10000"/>
                <a:gd name="connsiteY209" fmla="*/ 332 h 10000"/>
                <a:gd name="connsiteX210" fmla="*/ 5098 w 10000"/>
                <a:gd name="connsiteY210" fmla="*/ 0 h 10000"/>
                <a:gd name="connsiteX211" fmla="*/ 4837 w 10000"/>
                <a:gd name="connsiteY211" fmla="*/ 82 h 10000"/>
                <a:gd name="connsiteX212" fmla="*/ 4671 w 10000"/>
                <a:gd name="connsiteY212" fmla="*/ 78 h 10000"/>
                <a:gd name="connsiteX213" fmla="*/ 4571 w 10000"/>
                <a:gd name="connsiteY213" fmla="*/ 107 h 10000"/>
                <a:gd name="connsiteX214" fmla="*/ 4298 w 10000"/>
                <a:gd name="connsiteY214" fmla="*/ 913 h 10000"/>
                <a:gd name="connsiteX215" fmla="*/ 3668 w 10000"/>
                <a:gd name="connsiteY215" fmla="*/ 1383 h 10000"/>
                <a:gd name="connsiteX216" fmla="*/ 3672 w 10000"/>
                <a:gd name="connsiteY216" fmla="*/ 1457 h 10000"/>
                <a:gd name="connsiteX217" fmla="*/ 3952 w 10000"/>
                <a:gd name="connsiteY217" fmla="*/ 1668 h 10000"/>
                <a:gd name="connsiteX218" fmla="*/ 3861 w 10000"/>
                <a:gd name="connsiteY218" fmla="*/ 1896 h 10000"/>
                <a:gd name="connsiteX219" fmla="*/ 3698 w 10000"/>
                <a:gd name="connsiteY219" fmla="*/ 1979 h 10000"/>
                <a:gd name="connsiteX220" fmla="*/ 3208 w 10000"/>
                <a:gd name="connsiteY220" fmla="*/ 1924 h 10000"/>
                <a:gd name="connsiteX221" fmla="*/ 2871 w 10000"/>
                <a:gd name="connsiteY221" fmla="*/ 1955 h 10000"/>
                <a:gd name="connsiteX222" fmla="*/ 2601 w 10000"/>
                <a:gd name="connsiteY222" fmla="*/ 2023 h 10000"/>
                <a:gd name="connsiteX223" fmla="*/ 2163 w 10000"/>
                <a:gd name="connsiteY223" fmla="*/ 2233 h 10000"/>
                <a:gd name="connsiteX224" fmla="*/ 1931 w 10000"/>
                <a:gd name="connsiteY224" fmla="*/ 2487 h 10000"/>
                <a:gd name="connsiteX225" fmla="*/ 1951 w 10000"/>
                <a:gd name="connsiteY225" fmla="*/ 2629 h 10000"/>
                <a:gd name="connsiteX226" fmla="*/ 2032 w 10000"/>
                <a:gd name="connsiteY226" fmla="*/ 2738 h 10000"/>
                <a:gd name="connsiteX227" fmla="*/ 2093 w 10000"/>
                <a:gd name="connsiteY227" fmla="*/ 2782 h 10000"/>
                <a:gd name="connsiteX228" fmla="*/ 1979 w 10000"/>
                <a:gd name="connsiteY228" fmla="*/ 2852 h 10000"/>
                <a:gd name="connsiteX229" fmla="*/ 1731 w 10000"/>
                <a:gd name="connsiteY229" fmla="*/ 3330 h 10000"/>
                <a:gd name="connsiteX230" fmla="*/ 1779 w 10000"/>
                <a:gd name="connsiteY230" fmla="*/ 3358 h 10000"/>
                <a:gd name="connsiteX231" fmla="*/ 1815 w 10000"/>
                <a:gd name="connsiteY231" fmla="*/ 3479 h 10000"/>
                <a:gd name="connsiteX232" fmla="*/ 1700 w 10000"/>
                <a:gd name="connsiteY232" fmla="*/ 3982 h 10000"/>
                <a:gd name="connsiteX233" fmla="*/ 1815 w 10000"/>
                <a:gd name="connsiteY233" fmla="*/ 4110 h 10000"/>
                <a:gd name="connsiteX234" fmla="*/ 2131 w 10000"/>
                <a:gd name="connsiteY234" fmla="*/ 4251 h 10000"/>
                <a:gd name="connsiteX235" fmla="*/ 2145 w 10000"/>
                <a:gd name="connsiteY235" fmla="*/ 4423 h 10000"/>
                <a:gd name="connsiteX236" fmla="*/ 2010 w 10000"/>
                <a:gd name="connsiteY236" fmla="*/ 4566 h 10000"/>
                <a:gd name="connsiteX237" fmla="*/ 1815 w 10000"/>
                <a:gd name="connsiteY237" fmla="*/ 4652 h 10000"/>
                <a:gd name="connsiteX238" fmla="*/ 1557 w 10000"/>
                <a:gd name="connsiteY238" fmla="*/ 4687 h 10000"/>
                <a:gd name="connsiteX239" fmla="*/ 1490 w 10000"/>
                <a:gd name="connsiteY239" fmla="*/ 4737 h 10000"/>
                <a:gd name="connsiteX240" fmla="*/ 1640 w 10000"/>
                <a:gd name="connsiteY240" fmla="*/ 4855 h 10000"/>
                <a:gd name="connsiteX241" fmla="*/ 1726 w 10000"/>
                <a:gd name="connsiteY241" fmla="*/ 5136 h 10000"/>
                <a:gd name="connsiteX242" fmla="*/ 1531 w 10000"/>
                <a:gd name="connsiteY242" fmla="*/ 5376 h 10000"/>
                <a:gd name="connsiteX243" fmla="*/ 1599 w 10000"/>
                <a:gd name="connsiteY243" fmla="*/ 5451 h 10000"/>
                <a:gd name="connsiteX244" fmla="*/ 1537 w 10000"/>
                <a:gd name="connsiteY244" fmla="*/ 5577 h 10000"/>
                <a:gd name="connsiteX245" fmla="*/ 1412 w 10000"/>
                <a:gd name="connsiteY245" fmla="*/ 5663 h 10000"/>
                <a:gd name="connsiteX246" fmla="*/ 915 w 10000"/>
                <a:gd name="connsiteY246" fmla="*/ 5730 h 10000"/>
                <a:gd name="connsiteX247" fmla="*/ 885 w 10000"/>
                <a:gd name="connsiteY247" fmla="*/ 5846 h 10000"/>
                <a:gd name="connsiteX248" fmla="*/ 617 w 10000"/>
                <a:gd name="connsiteY248" fmla="*/ 6019 h 10000"/>
                <a:gd name="connsiteX249" fmla="*/ 652 w 10000"/>
                <a:gd name="connsiteY249" fmla="*/ 6268 h 10000"/>
                <a:gd name="connsiteX250" fmla="*/ 427 w 10000"/>
                <a:gd name="connsiteY250" fmla="*/ 6587 h 10000"/>
                <a:gd name="connsiteX251" fmla="*/ 274 w 10000"/>
                <a:gd name="connsiteY251" fmla="*/ 6624 h 10000"/>
                <a:gd name="connsiteX252" fmla="*/ 210 w 10000"/>
                <a:gd name="connsiteY252" fmla="*/ 6548 h 10000"/>
                <a:gd name="connsiteX253" fmla="*/ 132 w 10000"/>
                <a:gd name="connsiteY253" fmla="*/ 6663 h 10000"/>
                <a:gd name="connsiteX254" fmla="*/ 183 w 10000"/>
                <a:gd name="connsiteY254" fmla="*/ 6465 h 10000"/>
                <a:gd name="connsiteX255" fmla="*/ 151 w 10000"/>
                <a:gd name="connsiteY255"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532 w 10000"/>
                <a:gd name="connsiteY158" fmla="*/ 3719 h 10000"/>
                <a:gd name="connsiteX159" fmla="*/ 6423 w 10000"/>
                <a:gd name="connsiteY159" fmla="*/ 3645 h 10000"/>
                <a:gd name="connsiteX160" fmla="*/ 6381 w 10000"/>
                <a:gd name="connsiteY160" fmla="*/ 3576 h 10000"/>
                <a:gd name="connsiteX161" fmla="*/ 6395 w 10000"/>
                <a:gd name="connsiteY161" fmla="*/ 3463 h 10000"/>
                <a:gd name="connsiteX162" fmla="*/ 6656 w 10000"/>
                <a:gd name="connsiteY162" fmla="*/ 3538 h 10000"/>
                <a:gd name="connsiteX163" fmla="*/ 6665 w 10000"/>
                <a:gd name="connsiteY163" fmla="*/ 3516 h 10000"/>
                <a:gd name="connsiteX164" fmla="*/ 6737 w 10000"/>
                <a:gd name="connsiteY164" fmla="*/ 3497 h 10000"/>
                <a:gd name="connsiteX165" fmla="*/ 6837 w 10000"/>
                <a:gd name="connsiteY165" fmla="*/ 3424 h 10000"/>
                <a:gd name="connsiteX166" fmla="*/ 6854 w 10000"/>
                <a:gd name="connsiteY166" fmla="*/ 3404 h 10000"/>
                <a:gd name="connsiteX167" fmla="*/ 6832 w 10000"/>
                <a:gd name="connsiteY167" fmla="*/ 3377 h 10000"/>
                <a:gd name="connsiteX168" fmla="*/ 6886 w 10000"/>
                <a:gd name="connsiteY168" fmla="*/ 3250 h 10000"/>
                <a:gd name="connsiteX169" fmla="*/ 6822 w 10000"/>
                <a:gd name="connsiteY169" fmla="*/ 3167 h 10000"/>
                <a:gd name="connsiteX170" fmla="*/ 6832 w 10000"/>
                <a:gd name="connsiteY170" fmla="*/ 3101 h 10000"/>
                <a:gd name="connsiteX171" fmla="*/ 6868 w 10000"/>
                <a:gd name="connsiteY171" fmla="*/ 3178 h 10000"/>
                <a:gd name="connsiteX172" fmla="*/ 7011 w 10000"/>
                <a:gd name="connsiteY172" fmla="*/ 3236 h 10000"/>
                <a:gd name="connsiteX173" fmla="*/ 7070 w 10000"/>
                <a:gd name="connsiteY173" fmla="*/ 3229 h 10000"/>
                <a:gd name="connsiteX174" fmla="*/ 7164 w 10000"/>
                <a:gd name="connsiteY174" fmla="*/ 3152 h 10000"/>
                <a:gd name="connsiteX175" fmla="*/ 7265 w 10000"/>
                <a:gd name="connsiteY175" fmla="*/ 3183 h 10000"/>
                <a:gd name="connsiteX176" fmla="*/ 7292 w 10000"/>
                <a:gd name="connsiteY176" fmla="*/ 3122 h 10000"/>
                <a:gd name="connsiteX177" fmla="*/ 7360 w 10000"/>
                <a:gd name="connsiteY177" fmla="*/ 3080 h 10000"/>
                <a:gd name="connsiteX178" fmla="*/ 7175 w 10000"/>
                <a:gd name="connsiteY178" fmla="*/ 3036 h 10000"/>
                <a:gd name="connsiteX179" fmla="*/ 7307 w 10000"/>
                <a:gd name="connsiteY179" fmla="*/ 3045 h 10000"/>
                <a:gd name="connsiteX180" fmla="*/ 7442 w 10000"/>
                <a:gd name="connsiteY180" fmla="*/ 2999 h 10000"/>
                <a:gd name="connsiteX181" fmla="*/ 7437 w 10000"/>
                <a:gd name="connsiteY181" fmla="*/ 2966 h 10000"/>
                <a:gd name="connsiteX182" fmla="*/ 7565 w 10000"/>
                <a:gd name="connsiteY182" fmla="*/ 2936 h 10000"/>
                <a:gd name="connsiteX183" fmla="*/ 7576 w 10000"/>
                <a:gd name="connsiteY183" fmla="*/ 2859 h 10000"/>
                <a:gd name="connsiteX184" fmla="*/ 7676 w 10000"/>
                <a:gd name="connsiteY184" fmla="*/ 2844 h 10000"/>
                <a:gd name="connsiteX185" fmla="*/ 7684 w 10000"/>
                <a:gd name="connsiteY185" fmla="*/ 2754 h 10000"/>
                <a:gd name="connsiteX186" fmla="*/ 7790 w 10000"/>
                <a:gd name="connsiteY186" fmla="*/ 2743 h 10000"/>
                <a:gd name="connsiteX187" fmla="*/ 7953 w 10000"/>
                <a:gd name="connsiteY187" fmla="*/ 2762 h 10000"/>
                <a:gd name="connsiteX188" fmla="*/ 8132 w 10000"/>
                <a:gd name="connsiteY188" fmla="*/ 2690 h 10000"/>
                <a:gd name="connsiteX189" fmla="*/ 8195 w 10000"/>
                <a:gd name="connsiteY189" fmla="*/ 2607 h 10000"/>
                <a:gd name="connsiteX190" fmla="*/ 8417 w 10000"/>
                <a:gd name="connsiteY190" fmla="*/ 2524 h 10000"/>
                <a:gd name="connsiteX191" fmla="*/ 8527 w 10000"/>
                <a:gd name="connsiteY191" fmla="*/ 2575 h 10000"/>
                <a:gd name="connsiteX192" fmla="*/ 8695 w 10000"/>
                <a:gd name="connsiteY192" fmla="*/ 2519 h 10000"/>
                <a:gd name="connsiteX193" fmla="*/ 8736 w 10000"/>
                <a:gd name="connsiteY193" fmla="*/ 2445 h 10000"/>
                <a:gd name="connsiteX194" fmla="*/ 8864 w 10000"/>
                <a:gd name="connsiteY194" fmla="*/ 2396 h 10000"/>
                <a:gd name="connsiteX195" fmla="*/ 8973 w 10000"/>
                <a:gd name="connsiteY195" fmla="*/ 2418 h 10000"/>
                <a:gd name="connsiteX196" fmla="*/ 9042 w 10000"/>
                <a:gd name="connsiteY196" fmla="*/ 2381 h 10000"/>
                <a:gd name="connsiteX197" fmla="*/ 9231 w 10000"/>
                <a:gd name="connsiteY197" fmla="*/ 2330 h 10000"/>
                <a:gd name="connsiteX198" fmla="*/ 9310 w 10000"/>
                <a:gd name="connsiteY198" fmla="*/ 2263 h 10000"/>
                <a:gd name="connsiteX199" fmla="*/ 9417 w 10000"/>
                <a:gd name="connsiteY199" fmla="*/ 2235 h 10000"/>
                <a:gd name="connsiteX200" fmla="*/ 10000 w 10000"/>
                <a:gd name="connsiteY200" fmla="*/ 1832 h 10000"/>
                <a:gd name="connsiteX201" fmla="*/ 9652 w 10000"/>
                <a:gd name="connsiteY201" fmla="*/ 1699 h 10000"/>
                <a:gd name="connsiteX202" fmla="*/ 9147 w 10000"/>
                <a:gd name="connsiteY202" fmla="*/ 1773 h 10000"/>
                <a:gd name="connsiteX203" fmla="*/ 8784 w 10000"/>
                <a:gd name="connsiteY203" fmla="*/ 1639 h 10000"/>
                <a:gd name="connsiteX204" fmla="*/ 8850 w 10000"/>
                <a:gd name="connsiteY204" fmla="*/ 1480 h 10000"/>
                <a:gd name="connsiteX205" fmla="*/ 7497 w 10000"/>
                <a:gd name="connsiteY205" fmla="*/ 923 h 10000"/>
                <a:gd name="connsiteX206" fmla="*/ 7522 w 10000"/>
                <a:gd name="connsiteY206" fmla="*/ 649 h 10000"/>
                <a:gd name="connsiteX207" fmla="*/ 7012 w 10000"/>
                <a:gd name="connsiteY207" fmla="*/ 590 h 10000"/>
                <a:gd name="connsiteX208" fmla="*/ 6413 w 10000"/>
                <a:gd name="connsiteY208" fmla="*/ 332 h 10000"/>
                <a:gd name="connsiteX209" fmla="*/ 5098 w 10000"/>
                <a:gd name="connsiteY209" fmla="*/ 0 h 10000"/>
                <a:gd name="connsiteX210" fmla="*/ 4837 w 10000"/>
                <a:gd name="connsiteY210" fmla="*/ 82 h 10000"/>
                <a:gd name="connsiteX211" fmla="*/ 4671 w 10000"/>
                <a:gd name="connsiteY211" fmla="*/ 78 h 10000"/>
                <a:gd name="connsiteX212" fmla="*/ 4571 w 10000"/>
                <a:gd name="connsiteY212" fmla="*/ 107 h 10000"/>
                <a:gd name="connsiteX213" fmla="*/ 4298 w 10000"/>
                <a:gd name="connsiteY213" fmla="*/ 913 h 10000"/>
                <a:gd name="connsiteX214" fmla="*/ 3668 w 10000"/>
                <a:gd name="connsiteY214" fmla="*/ 1383 h 10000"/>
                <a:gd name="connsiteX215" fmla="*/ 3672 w 10000"/>
                <a:gd name="connsiteY215" fmla="*/ 1457 h 10000"/>
                <a:gd name="connsiteX216" fmla="*/ 3952 w 10000"/>
                <a:gd name="connsiteY216" fmla="*/ 1668 h 10000"/>
                <a:gd name="connsiteX217" fmla="*/ 3861 w 10000"/>
                <a:gd name="connsiteY217" fmla="*/ 1896 h 10000"/>
                <a:gd name="connsiteX218" fmla="*/ 3698 w 10000"/>
                <a:gd name="connsiteY218" fmla="*/ 1979 h 10000"/>
                <a:gd name="connsiteX219" fmla="*/ 3208 w 10000"/>
                <a:gd name="connsiteY219" fmla="*/ 1924 h 10000"/>
                <a:gd name="connsiteX220" fmla="*/ 2871 w 10000"/>
                <a:gd name="connsiteY220" fmla="*/ 1955 h 10000"/>
                <a:gd name="connsiteX221" fmla="*/ 2601 w 10000"/>
                <a:gd name="connsiteY221" fmla="*/ 2023 h 10000"/>
                <a:gd name="connsiteX222" fmla="*/ 2163 w 10000"/>
                <a:gd name="connsiteY222" fmla="*/ 2233 h 10000"/>
                <a:gd name="connsiteX223" fmla="*/ 1931 w 10000"/>
                <a:gd name="connsiteY223" fmla="*/ 2487 h 10000"/>
                <a:gd name="connsiteX224" fmla="*/ 1951 w 10000"/>
                <a:gd name="connsiteY224" fmla="*/ 2629 h 10000"/>
                <a:gd name="connsiteX225" fmla="*/ 2032 w 10000"/>
                <a:gd name="connsiteY225" fmla="*/ 2738 h 10000"/>
                <a:gd name="connsiteX226" fmla="*/ 2093 w 10000"/>
                <a:gd name="connsiteY226" fmla="*/ 2782 h 10000"/>
                <a:gd name="connsiteX227" fmla="*/ 1979 w 10000"/>
                <a:gd name="connsiteY227" fmla="*/ 2852 h 10000"/>
                <a:gd name="connsiteX228" fmla="*/ 1731 w 10000"/>
                <a:gd name="connsiteY228" fmla="*/ 3330 h 10000"/>
                <a:gd name="connsiteX229" fmla="*/ 1779 w 10000"/>
                <a:gd name="connsiteY229" fmla="*/ 3358 h 10000"/>
                <a:gd name="connsiteX230" fmla="*/ 1815 w 10000"/>
                <a:gd name="connsiteY230" fmla="*/ 3479 h 10000"/>
                <a:gd name="connsiteX231" fmla="*/ 1700 w 10000"/>
                <a:gd name="connsiteY231" fmla="*/ 3982 h 10000"/>
                <a:gd name="connsiteX232" fmla="*/ 1815 w 10000"/>
                <a:gd name="connsiteY232" fmla="*/ 4110 h 10000"/>
                <a:gd name="connsiteX233" fmla="*/ 2131 w 10000"/>
                <a:gd name="connsiteY233" fmla="*/ 4251 h 10000"/>
                <a:gd name="connsiteX234" fmla="*/ 2145 w 10000"/>
                <a:gd name="connsiteY234" fmla="*/ 4423 h 10000"/>
                <a:gd name="connsiteX235" fmla="*/ 2010 w 10000"/>
                <a:gd name="connsiteY235" fmla="*/ 4566 h 10000"/>
                <a:gd name="connsiteX236" fmla="*/ 1815 w 10000"/>
                <a:gd name="connsiteY236" fmla="*/ 4652 h 10000"/>
                <a:gd name="connsiteX237" fmla="*/ 1557 w 10000"/>
                <a:gd name="connsiteY237" fmla="*/ 4687 h 10000"/>
                <a:gd name="connsiteX238" fmla="*/ 1490 w 10000"/>
                <a:gd name="connsiteY238" fmla="*/ 4737 h 10000"/>
                <a:gd name="connsiteX239" fmla="*/ 1640 w 10000"/>
                <a:gd name="connsiteY239" fmla="*/ 4855 h 10000"/>
                <a:gd name="connsiteX240" fmla="*/ 1726 w 10000"/>
                <a:gd name="connsiteY240" fmla="*/ 5136 h 10000"/>
                <a:gd name="connsiteX241" fmla="*/ 1531 w 10000"/>
                <a:gd name="connsiteY241" fmla="*/ 5376 h 10000"/>
                <a:gd name="connsiteX242" fmla="*/ 1599 w 10000"/>
                <a:gd name="connsiteY242" fmla="*/ 5451 h 10000"/>
                <a:gd name="connsiteX243" fmla="*/ 1537 w 10000"/>
                <a:gd name="connsiteY243" fmla="*/ 5577 h 10000"/>
                <a:gd name="connsiteX244" fmla="*/ 1412 w 10000"/>
                <a:gd name="connsiteY244" fmla="*/ 5663 h 10000"/>
                <a:gd name="connsiteX245" fmla="*/ 915 w 10000"/>
                <a:gd name="connsiteY245" fmla="*/ 5730 h 10000"/>
                <a:gd name="connsiteX246" fmla="*/ 885 w 10000"/>
                <a:gd name="connsiteY246" fmla="*/ 5846 h 10000"/>
                <a:gd name="connsiteX247" fmla="*/ 617 w 10000"/>
                <a:gd name="connsiteY247" fmla="*/ 6019 h 10000"/>
                <a:gd name="connsiteX248" fmla="*/ 652 w 10000"/>
                <a:gd name="connsiteY248" fmla="*/ 6268 h 10000"/>
                <a:gd name="connsiteX249" fmla="*/ 427 w 10000"/>
                <a:gd name="connsiteY249" fmla="*/ 6587 h 10000"/>
                <a:gd name="connsiteX250" fmla="*/ 274 w 10000"/>
                <a:gd name="connsiteY250" fmla="*/ 6624 h 10000"/>
                <a:gd name="connsiteX251" fmla="*/ 210 w 10000"/>
                <a:gd name="connsiteY251" fmla="*/ 6548 h 10000"/>
                <a:gd name="connsiteX252" fmla="*/ 132 w 10000"/>
                <a:gd name="connsiteY252" fmla="*/ 6663 h 10000"/>
                <a:gd name="connsiteX253" fmla="*/ 183 w 10000"/>
                <a:gd name="connsiteY253" fmla="*/ 6465 h 10000"/>
                <a:gd name="connsiteX254" fmla="*/ 151 w 10000"/>
                <a:gd name="connsiteY254"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381 w 10000"/>
                <a:gd name="connsiteY159" fmla="*/ 3576 h 10000"/>
                <a:gd name="connsiteX160" fmla="*/ 6395 w 10000"/>
                <a:gd name="connsiteY160" fmla="*/ 3463 h 10000"/>
                <a:gd name="connsiteX161" fmla="*/ 6656 w 10000"/>
                <a:gd name="connsiteY161" fmla="*/ 3538 h 10000"/>
                <a:gd name="connsiteX162" fmla="*/ 6665 w 10000"/>
                <a:gd name="connsiteY162" fmla="*/ 3516 h 10000"/>
                <a:gd name="connsiteX163" fmla="*/ 6737 w 10000"/>
                <a:gd name="connsiteY163" fmla="*/ 3497 h 10000"/>
                <a:gd name="connsiteX164" fmla="*/ 6837 w 10000"/>
                <a:gd name="connsiteY164" fmla="*/ 3424 h 10000"/>
                <a:gd name="connsiteX165" fmla="*/ 6854 w 10000"/>
                <a:gd name="connsiteY165" fmla="*/ 3404 h 10000"/>
                <a:gd name="connsiteX166" fmla="*/ 6832 w 10000"/>
                <a:gd name="connsiteY166" fmla="*/ 3377 h 10000"/>
                <a:gd name="connsiteX167" fmla="*/ 6886 w 10000"/>
                <a:gd name="connsiteY167" fmla="*/ 3250 h 10000"/>
                <a:gd name="connsiteX168" fmla="*/ 6822 w 10000"/>
                <a:gd name="connsiteY168" fmla="*/ 3167 h 10000"/>
                <a:gd name="connsiteX169" fmla="*/ 6832 w 10000"/>
                <a:gd name="connsiteY169" fmla="*/ 3101 h 10000"/>
                <a:gd name="connsiteX170" fmla="*/ 6868 w 10000"/>
                <a:gd name="connsiteY170" fmla="*/ 3178 h 10000"/>
                <a:gd name="connsiteX171" fmla="*/ 7011 w 10000"/>
                <a:gd name="connsiteY171" fmla="*/ 3236 h 10000"/>
                <a:gd name="connsiteX172" fmla="*/ 7070 w 10000"/>
                <a:gd name="connsiteY172" fmla="*/ 3229 h 10000"/>
                <a:gd name="connsiteX173" fmla="*/ 7164 w 10000"/>
                <a:gd name="connsiteY173" fmla="*/ 3152 h 10000"/>
                <a:gd name="connsiteX174" fmla="*/ 7265 w 10000"/>
                <a:gd name="connsiteY174" fmla="*/ 3183 h 10000"/>
                <a:gd name="connsiteX175" fmla="*/ 7292 w 10000"/>
                <a:gd name="connsiteY175" fmla="*/ 3122 h 10000"/>
                <a:gd name="connsiteX176" fmla="*/ 7360 w 10000"/>
                <a:gd name="connsiteY176" fmla="*/ 3080 h 10000"/>
                <a:gd name="connsiteX177" fmla="*/ 7175 w 10000"/>
                <a:gd name="connsiteY177" fmla="*/ 3036 h 10000"/>
                <a:gd name="connsiteX178" fmla="*/ 7307 w 10000"/>
                <a:gd name="connsiteY178" fmla="*/ 3045 h 10000"/>
                <a:gd name="connsiteX179" fmla="*/ 7442 w 10000"/>
                <a:gd name="connsiteY179" fmla="*/ 2999 h 10000"/>
                <a:gd name="connsiteX180" fmla="*/ 7437 w 10000"/>
                <a:gd name="connsiteY180" fmla="*/ 2966 h 10000"/>
                <a:gd name="connsiteX181" fmla="*/ 7565 w 10000"/>
                <a:gd name="connsiteY181" fmla="*/ 2936 h 10000"/>
                <a:gd name="connsiteX182" fmla="*/ 7576 w 10000"/>
                <a:gd name="connsiteY182" fmla="*/ 2859 h 10000"/>
                <a:gd name="connsiteX183" fmla="*/ 7676 w 10000"/>
                <a:gd name="connsiteY183" fmla="*/ 2844 h 10000"/>
                <a:gd name="connsiteX184" fmla="*/ 7684 w 10000"/>
                <a:gd name="connsiteY184" fmla="*/ 2754 h 10000"/>
                <a:gd name="connsiteX185" fmla="*/ 7790 w 10000"/>
                <a:gd name="connsiteY185" fmla="*/ 2743 h 10000"/>
                <a:gd name="connsiteX186" fmla="*/ 7953 w 10000"/>
                <a:gd name="connsiteY186" fmla="*/ 2762 h 10000"/>
                <a:gd name="connsiteX187" fmla="*/ 8132 w 10000"/>
                <a:gd name="connsiteY187" fmla="*/ 2690 h 10000"/>
                <a:gd name="connsiteX188" fmla="*/ 8195 w 10000"/>
                <a:gd name="connsiteY188" fmla="*/ 2607 h 10000"/>
                <a:gd name="connsiteX189" fmla="*/ 8417 w 10000"/>
                <a:gd name="connsiteY189" fmla="*/ 2524 h 10000"/>
                <a:gd name="connsiteX190" fmla="*/ 8527 w 10000"/>
                <a:gd name="connsiteY190" fmla="*/ 2575 h 10000"/>
                <a:gd name="connsiteX191" fmla="*/ 8695 w 10000"/>
                <a:gd name="connsiteY191" fmla="*/ 2519 h 10000"/>
                <a:gd name="connsiteX192" fmla="*/ 8736 w 10000"/>
                <a:gd name="connsiteY192" fmla="*/ 2445 h 10000"/>
                <a:gd name="connsiteX193" fmla="*/ 8864 w 10000"/>
                <a:gd name="connsiteY193" fmla="*/ 2396 h 10000"/>
                <a:gd name="connsiteX194" fmla="*/ 8973 w 10000"/>
                <a:gd name="connsiteY194" fmla="*/ 2418 h 10000"/>
                <a:gd name="connsiteX195" fmla="*/ 9042 w 10000"/>
                <a:gd name="connsiteY195" fmla="*/ 2381 h 10000"/>
                <a:gd name="connsiteX196" fmla="*/ 9231 w 10000"/>
                <a:gd name="connsiteY196" fmla="*/ 2330 h 10000"/>
                <a:gd name="connsiteX197" fmla="*/ 9310 w 10000"/>
                <a:gd name="connsiteY197" fmla="*/ 2263 h 10000"/>
                <a:gd name="connsiteX198" fmla="*/ 9417 w 10000"/>
                <a:gd name="connsiteY198" fmla="*/ 2235 h 10000"/>
                <a:gd name="connsiteX199" fmla="*/ 10000 w 10000"/>
                <a:gd name="connsiteY199" fmla="*/ 1832 h 10000"/>
                <a:gd name="connsiteX200" fmla="*/ 9652 w 10000"/>
                <a:gd name="connsiteY200" fmla="*/ 1699 h 10000"/>
                <a:gd name="connsiteX201" fmla="*/ 9147 w 10000"/>
                <a:gd name="connsiteY201" fmla="*/ 1773 h 10000"/>
                <a:gd name="connsiteX202" fmla="*/ 8784 w 10000"/>
                <a:gd name="connsiteY202" fmla="*/ 1639 h 10000"/>
                <a:gd name="connsiteX203" fmla="*/ 8850 w 10000"/>
                <a:gd name="connsiteY203" fmla="*/ 1480 h 10000"/>
                <a:gd name="connsiteX204" fmla="*/ 7497 w 10000"/>
                <a:gd name="connsiteY204" fmla="*/ 923 h 10000"/>
                <a:gd name="connsiteX205" fmla="*/ 7522 w 10000"/>
                <a:gd name="connsiteY205" fmla="*/ 649 h 10000"/>
                <a:gd name="connsiteX206" fmla="*/ 7012 w 10000"/>
                <a:gd name="connsiteY206" fmla="*/ 590 h 10000"/>
                <a:gd name="connsiteX207" fmla="*/ 6413 w 10000"/>
                <a:gd name="connsiteY207" fmla="*/ 332 h 10000"/>
                <a:gd name="connsiteX208" fmla="*/ 5098 w 10000"/>
                <a:gd name="connsiteY208" fmla="*/ 0 h 10000"/>
                <a:gd name="connsiteX209" fmla="*/ 4837 w 10000"/>
                <a:gd name="connsiteY209" fmla="*/ 82 h 10000"/>
                <a:gd name="connsiteX210" fmla="*/ 4671 w 10000"/>
                <a:gd name="connsiteY210" fmla="*/ 78 h 10000"/>
                <a:gd name="connsiteX211" fmla="*/ 4571 w 10000"/>
                <a:gd name="connsiteY211" fmla="*/ 107 h 10000"/>
                <a:gd name="connsiteX212" fmla="*/ 4298 w 10000"/>
                <a:gd name="connsiteY212" fmla="*/ 913 h 10000"/>
                <a:gd name="connsiteX213" fmla="*/ 3668 w 10000"/>
                <a:gd name="connsiteY213" fmla="*/ 1383 h 10000"/>
                <a:gd name="connsiteX214" fmla="*/ 3672 w 10000"/>
                <a:gd name="connsiteY214" fmla="*/ 1457 h 10000"/>
                <a:gd name="connsiteX215" fmla="*/ 3952 w 10000"/>
                <a:gd name="connsiteY215" fmla="*/ 1668 h 10000"/>
                <a:gd name="connsiteX216" fmla="*/ 3861 w 10000"/>
                <a:gd name="connsiteY216" fmla="*/ 1896 h 10000"/>
                <a:gd name="connsiteX217" fmla="*/ 3698 w 10000"/>
                <a:gd name="connsiteY217" fmla="*/ 1979 h 10000"/>
                <a:gd name="connsiteX218" fmla="*/ 3208 w 10000"/>
                <a:gd name="connsiteY218" fmla="*/ 1924 h 10000"/>
                <a:gd name="connsiteX219" fmla="*/ 2871 w 10000"/>
                <a:gd name="connsiteY219" fmla="*/ 1955 h 10000"/>
                <a:gd name="connsiteX220" fmla="*/ 2601 w 10000"/>
                <a:gd name="connsiteY220" fmla="*/ 2023 h 10000"/>
                <a:gd name="connsiteX221" fmla="*/ 2163 w 10000"/>
                <a:gd name="connsiteY221" fmla="*/ 2233 h 10000"/>
                <a:gd name="connsiteX222" fmla="*/ 1931 w 10000"/>
                <a:gd name="connsiteY222" fmla="*/ 2487 h 10000"/>
                <a:gd name="connsiteX223" fmla="*/ 1951 w 10000"/>
                <a:gd name="connsiteY223" fmla="*/ 2629 h 10000"/>
                <a:gd name="connsiteX224" fmla="*/ 2032 w 10000"/>
                <a:gd name="connsiteY224" fmla="*/ 2738 h 10000"/>
                <a:gd name="connsiteX225" fmla="*/ 2093 w 10000"/>
                <a:gd name="connsiteY225" fmla="*/ 2782 h 10000"/>
                <a:gd name="connsiteX226" fmla="*/ 1979 w 10000"/>
                <a:gd name="connsiteY226" fmla="*/ 2852 h 10000"/>
                <a:gd name="connsiteX227" fmla="*/ 1731 w 10000"/>
                <a:gd name="connsiteY227" fmla="*/ 3330 h 10000"/>
                <a:gd name="connsiteX228" fmla="*/ 1779 w 10000"/>
                <a:gd name="connsiteY228" fmla="*/ 3358 h 10000"/>
                <a:gd name="connsiteX229" fmla="*/ 1815 w 10000"/>
                <a:gd name="connsiteY229" fmla="*/ 3479 h 10000"/>
                <a:gd name="connsiteX230" fmla="*/ 1700 w 10000"/>
                <a:gd name="connsiteY230" fmla="*/ 3982 h 10000"/>
                <a:gd name="connsiteX231" fmla="*/ 1815 w 10000"/>
                <a:gd name="connsiteY231" fmla="*/ 4110 h 10000"/>
                <a:gd name="connsiteX232" fmla="*/ 2131 w 10000"/>
                <a:gd name="connsiteY232" fmla="*/ 4251 h 10000"/>
                <a:gd name="connsiteX233" fmla="*/ 2145 w 10000"/>
                <a:gd name="connsiteY233" fmla="*/ 4423 h 10000"/>
                <a:gd name="connsiteX234" fmla="*/ 2010 w 10000"/>
                <a:gd name="connsiteY234" fmla="*/ 4566 h 10000"/>
                <a:gd name="connsiteX235" fmla="*/ 1815 w 10000"/>
                <a:gd name="connsiteY235" fmla="*/ 4652 h 10000"/>
                <a:gd name="connsiteX236" fmla="*/ 1557 w 10000"/>
                <a:gd name="connsiteY236" fmla="*/ 4687 h 10000"/>
                <a:gd name="connsiteX237" fmla="*/ 1490 w 10000"/>
                <a:gd name="connsiteY237" fmla="*/ 4737 h 10000"/>
                <a:gd name="connsiteX238" fmla="*/ 1640 w 10000"/>
                <a:gd name="connsiteY238" fmla="*/ 4855 h 10000"/>
                <a:gd name="connsiteX239" fmla="*/ 1726 w 10000"/>
                <a:gd name="connsiteY239" fmla="*/ 5136 h 10000"/>
                <a:gd name="connsiteX240" fmla="*/ 1531 w 10000"/>
                <a:gd name="connsiteY240" fmla="*/ 5376 h 10000"/>
                <a:gd name="connsiteX241" fmla="*/ 1599 w 10000"/>
                <a:gd name="connsiteY241" fmla="*/ 5451 h 10000"/>
                <a:gd name="connsiteX242" fmla="*/ 1537 w 10000"/>
                <a:gd name="connsiteY242" fmla="*/ 5577 h 10000"/>
                <a:gd name="connsiteX243" fmla="*/ 1412 w 10000"/>
                <a:gd name="connsiteY243" fmla="*/ 5663 h 10000"/>
                <a:gd name="connsiteX244" fmla="*/ 915 w 10000"/>
                <a:gd name="connsiteY244" fmla="*/ 5730 h 10000"/>
                <a:gd name="connsiteX245" fmla="*/ 885 w 10000"/>
                <a:gd name="connsiteY245" fmla="*/ 5846 h 10000"/>
                <a:gd name="connsiteX246" fmla="*/ 617 w 10000"/>
                <a:gd name="connsiteY246" fmla="*/ 6019 h 10000"/>
                <a:gd name="connsiteX247" fmla="*/ 652 w 10000"/>
                <a:gd name="connsiteY247" fmla="*/ 6268 h 10000"/>
                <a:gd name="connsiteX248" fmla="*/ 427 w 10000"/>
                <a:gd name="connsiteY248" fmla="*/ 6587 h 10000"/>
                <a:gd name="connsiteX249" fmla="*/ 274 w 10000"/>
                <a:gd name="connsiteY249" fmla="*/ 6624 h 10000"/>
                <a:gd name="connsiteX250" fmla="*/ 210 w 10000"/>
                <a:gd name="connsiteY250" fmla="*/ 6548 h 10000"/>
                <a:gd name="connsiteX251" fmla="*/ 132 w 10000"/>
                <a:gd name="connsiteY251" fmla="*/ 6663 h 10000"/>
                <a:gd name="connsiteX252" fmla="*/ 183 w 10000"/>
                <a:gd name="connsiteY252" fmla="*/ 6465 h 10000"/>
                <a:gd name="connsiteX253" fmla="*/ 151 w 10000"/>
                <a:gd name="connsiteY253"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395 w 10000"/>
                <a:gd name="connsiteY159" fmla="*/ 3463 h 10000"/>
                <a:gd name="connsiteX160" fmla="*/ 6656 w 10000"/>
                <a:gd name="connsiteY160" fmla="*/ 3538 h 10000"/>
                <a:gd name="connsiteX161" fmla="*/ 6665 w 10000"/>
                <a:gd name="connsiteY161" fmla="*/ 3516 h 10000"/>
                <a:gd name="connsiteX162" fmla="*/ 6737 w 10000"/>
                <a:gd name="connsiteY162" fmla="*/ 3497 h 10000"/>
                <a:gd name="connsiteX163" fmla="*/ 6837 w 10000"/>
                <a:gd name="connsiteY163" fmla="*/ 3424 h 10000"/>
                <a:gd name="connsiteX164" fmla="*/ 6854 w 10000"/>
                <a:gd name="connsiteY164" fmla="*/ 3404 h 10000"/>
                <a:gd name="connsiteX165" fmla="*/ 6832 w 10000"/>
                <a:gd name="connsiteY165" fmla="*/ 3377 h 10000"/>
                <a:gd name="connsiteX166" fmla="*/ 6886 w 10000"/>
                <a:gd name="connsiteY166" fmla="*/ 3250 h 10000"/>
                <a:gd name="connsiteX167" fmla="*/ 6822 w 10000"/>
                <a:gd name="connsiteY167" fmla="*/ 3167 h 10000"/>
                <a:gd name="connsiteX168" fmla="*/ 6832 w 10000"/>
                <a:gd name="connsiteY168" fmla="*/ 3101 h 10000"/>
                <a:gd name="connsiteX169" fmla="*/ 6868 w 10000"/>
                <a:gd name="connsiteY169" fmla="*/ 3178 h 10000"/>
                <a:gd name="connsiteX170" fmla="*/ 7011 w 10000"/>
                <a:gd name="connsiteY170" fmla="*/ 3236 h 10000"/>
                <a:gd name="connsiteX171" fmla="*/ 7070 w 10000"/>
                <a:gd name="connsiteY171" fmla="*/ 3229 h 10000"/>
                <a:gd name="connsiteX172" fmla="*/ 7164 w 10000"/>
                <a:gd name="connsiteY172" fmla="*/ 3152 h 10000"/>
                <a:gd name="connsiteX173" fmla="*/ 7265 w 10000"/>
                <a:gd name="connsiteY173" fmla="*/ 3183 h 10000"/>
                <a:gd name="connsiteX174" fmla="*/ 7292 w 10000"/>
                <a:gd name="connsiteY174" fmla="*/ 3122 h 10000"/>
                <a:gd name="connsiteX175" fmla="*/ 7360 w 10000"/>
                <a:gd name="connsiteY175" fmla="*/ 3080 h 10000"/>
                <a:gd name="connsiteX176" fmla="*/ 7175 w 10000"/>
                <a:gd name="connsiteY176" fmla="*/ 3036 h 10000"/>
                <a:gd name="connsiteX177" fmla="*/ 7307 w 10000"/>
                <a:gd name="connsiteY177" fmla="*/ 3045 h 10000"/>
                <a:gd name="connsiteX178" fmla="*/ 7442 w 10000"/>
                <a:gd name="connsiteY178" fmla="*/ 2999 h 10000"/>
                <a:gd name="connsiteX179" fmla="*/ 7437 w 10000"/>
                <a:gd name="connsiteY179" fmla="*/ 2966 h 10000"/>
                <a:gd name="connsiteX180" fmla="*/ 7565 w 10000"/>
                <a:gd name="connsiteY180" fmla="*/ 2936 h 10000"/>
                <a:gd name="connsiteX181" fmla="*/ 7576 w 10000"/>
                <a:gd name="connsiteY181" fmla="*/ 2859 h 10000"/>
                <a:gd name="connsiteX182" fmla="*/ 7676 w 10000"/>
                <a:gd name="connsiteY182" fmla="*/ 2844 h 10000"/>
                <a:gd name="connsiteX183" fmla="*/ 7684 w 10000"/>
                <a:gd name="connsiteY183" fmla="*/ 2754 h 10000"/>
                <a:gd name="connsiteX184" fmla="*/ 7790 w 10000"/>
                <a:gd name="connsiteY184" fmla="*/ 2743 h 10000"/>
                <a:gd name="connsiteX185" fmla="*/ 7953 w 10000"/>
                <a:gd name="connsiteY185" fmla="*/ 2762 h 10000"/>
                <a:gd name="connsiteX186" fmla="*/ 8132 w 10000"/>
                <a:gd name="connsiteY186" fmla="*/ 2690 h 10000"/>
                <a:gd name="connsiteX187" fmla="*/ 8195 w 10000"/>
                <a:gd name="connsiteY187" fmla="*/ 2607 h 10000"/>
                <a:gd name="connsiteX188" fmla="*/ 8417 w 10000"/>
                <a:gd name="connsiteY188" fmla="*/ 2524 h 10000"/>
                <a:gd name="connsiteX189" fmla="*/ 8527 w 10000"/>
                <a:gd name="connsiteY189" fmla="*/ 2575 h 10000"/>
                <a:gd name="connsiteX190" fmla="*/ 8695 w 10000"/>
                <a:gd name="connsiteY190" fmla="*/ 2519 h 10000"/>
                <a:gd name="connsiteX191" fmla="*/ 8736 w 10000"/>
                <a:gd name="connsiteY191" fmla="*/ 2445 h 10000"/>
                <a:gd name="connsiteX192" fmla="*/ 8864 w 10000"/>
                <a:gd name="connsiteY192" fmla="*/ 2396 h 10000"/>
                <a:gd name="connsiteX193" fmla="*/ 8973 w 10000"/>
                <a:gd name="connsiteY193" fmla="*/ 2418 h 10000"/>
                <a:gd name="connsiteX194" fmla="*/ 9042 w 10000"/>
                <a:gd name="connsiteY194" fmla="*/ 2381 h 10000"/>
                <a:gd name="connsiteX195" fmla="*/ 9231 w 10000"/>
                <a:gd name="connsiteY195" fmla="*/ 2330 h 10000"/>
                <a:gd name="connsiteX196" fmla="*/ 9310 w 10000"/>
                <a:gd name="connsiteY196" fmla="*/ 2263 h 10000"/>
                <a:gd name="connsiteX197" fmla="*/ 9417 w 10000"/>
                <a:gd name="connsiteY197" fmla="*/ 2235 h 10000"/>
                <a:gd name="connsiteX198" fmla="*/ 10000 w 10000"/>
                <a:gd name="connsiteY198" fmla="*/ 1832 h 10000"/>
                <a:gd name="connsiteX199" fmla="*/ 9652 w 10000"/>
                <a:gd name="connsiteY199" fmla="*/ 1699 h 10000"/>
                <a:gd name="connsiteX200" fmla="*/ 9147 w 10000"/>
                <a:gd name="connsiteY200" fmla="*/ 1773 h 10000"/>
                <a:gd name="connsiteX201" fmla="*/ 8784 w 10000"/>
                <a:gd name="connsiteY201" fmla="*/ 1639 h 10000"/>
                <a:gd name="connsiteX202" fmla="*/ 8850 w 10000"/>
                <a:gd name="connsiteY202" fmla="*/ 1480 h 10000"/>
                <a:gd name="connsiteX203" fmla="*/ 7497 w 10000"/>
                <a:gd name="connsiteY203" fmla="*/ 923 h 10000"/>
                <a:gd name="connsiteX204" fmla="*/ 7522 w 10000"/>
                <a:gd name="connsiteY204" fmla="*/ 649 h 10000"/>
                <a:gd name="connsiteX205" fmla="*/ 7012 w 10000"/>
                <a:gd name="connsiteY205" fmla="*/ 590 h 10000"/>
                <a:gd name="connsiteX206" fmla="*/ 6413 w 10000"/>
                <a:gd name="connsiteY206" fmla="*/ 332 h 10000"/>
                <a:gd name="connsiteX207" fmla="*/ 5098 w 10000"/>
                <a:gd name="connsiteY207" fmla="*/ 0 h 10000"/>
                <a:gd name="connsiteX208" fmla="*/ 4837 w 10000"/>
                <a:gd name="connsiteY208" fmla="*/ 82 h 10000"/>
                <a:gd name="connsiteX209" fmla="*/ 4671 w 10000"/>
                <a:gd name="connsiteY209" fmla="*/ 78 h 10000"/>
                <a:gd name="connsiteX210" fmla="*/ 4571 w 10000"/>
                <a:gd name="connsiteY210" fmla="*/ 107 h 10000"/>
                <a:gd name="connsiteX211" fmla="*/ 4298 w 10000"/>
                <a:gd name="connsiteY211" fmla="*/ 913 h 10000"/>
                <a:gd name="connsiteX212" fmla="*/ 3668 w 10000"/>
                <a:gd name="connsiteY212" fmla="*/ 1383 h 10000"/>
                <a:gd name="connsiteX213" fmla="*/ 3672 w 10000"/>
                <a:gd name="connsiteY213" fmla="*/ 1457 h 10000"/>
                <a:gd name="connsiteX214" fmla="*/ 3952 w 10000"/>
                <a:gd name="connsiteY214" fmla="*/ 1668 h 10000"/>
                <a:gd name="connsiteX215" fmla="*/ 3861 w 10000"/>
                <a:gd name="connsiteY215" fmla="*/ 1896 h 10000"/>
                <a:gd name="connsiteX216" fmla="*/ 3698 w 10000"/>
                <a:gd name="connsiteY216" fmla="*/ 1979 h 10000"/>
                <a:gd name="connsiteX217" fmla="*/ 3208 w 10000"/>
                <a:gd name="connsiteY217" fmla="*/ 1924 h 10000"/>
                <a:gd name="connsiteX218" fmla="*/ 2871 w 10000"/>
                <a:gd name="connsiteY218" fmla="*/ 1955 h 10000"/>
                <a:gd name="connsiteX219" fmla="*/ 2601 w 10000"/>
                <a:gd name="connsiteY219" fmla="*/ 2023 h 10000"/>
                <a:gd name="connsiteX220" fmla="*/ 2163 w 10000"/>
                <a:gd name="connsiteY220" fmla="*/ 2233 h 10000"/>
                <a:gd name="connsiteX221" fmla="*/ 1931 w 10000"/>
                <a:gd name="connsiteY221" fmla="*/ 2487 h 10000"/>
                <a:gd name="connsiteX222" fmla="*/ 1951 w 10000"/>
                <a:gd name="connsiteY222" fmla="*/ 2629 h 10000"/>
                <a:gd name="connsiteX223" fmla="*/ 2032 w 10000"/>
                <a:gd name="connsiteY223" fmla="*/ 2738 h 10000"/>
                <a:gd name="connsiteX224" fmla="*/ 2093 w 10000"/>
                <a:gd name="connsiteY224" fmla="*/ 2782 h 10000"/>
                <a:gd name="connsiteX225" fmla="*/ 1979 w 10000"/>
                <a:gd name="connsiteY225" fmla="*/ 2852 h 10000"/>
                <a:gd name="connsiteX226" fmla="*/ 1731 w 10000"/>
                <a:gd name="connsiteY226" fmla="*/ 3330 h 10000"/>
                <a:gd name="connsiteX227" fmla="*/ 1779 w 10000"/>
                <a:gd name="connsiteY227" fmla="*/ 3358 h 10000"/>
                <a:gd name="connsiteX228" fmla="*/ 1815 w 10000"/>
                <a:gd name="connsiteY228" fmla="*/ 3479 h 10000"/>
                <a:gd name="connsiteX229" fmla="*/ 1700 w 10000"/>
                <a:gd name="connsiteY229" fmla="*/ 3982 h 10000"/>
                <a:gd name="connsiteX230" fmla="*/ 1815 w 10000"/>
                <a:gd name="connsiteY230" fmla="*/ 4110 h 10000"/>
                <a:gd name="connsiteX231" fmla="*/ 2131 w 10000"/>
                <a:gd name="connsiteY231" fmla="*/ 4251 h 10000"/>
                <a:gd name="connsiteX232" fmla="*/ 2145 w 10000"/>
                <a:gd name="connsiteY232" fmla="*/ 4423 h 10000"/>
                <a:gd name="connsiteX233" fmla="*/ 2010 w 10000"/>
                <a:gd name="connsiteY233" fmla="*/ 4566 h 10000"/>
                <a:gd name="connsiteX234" fmla="*/ 1815 w 10000"/>
                <a:gd name="connsiteY234" fmla="*/ 4652 h 10000"/>
                <a:gd name="connsiteX235" fmla="*/ 1557 w 10000"/>
                <a:gd name="connsiteY235" fmla="*/ 4687 h 10000"/>
                <a:gd name="connsiteX236" fmla="*/ 1490 w 10000"/>
                <a:gd name="connsiteY236" fmla="*/ 4737 h 10000"/>
                <a:gd name="connsiteX237" fmla="*/ 1640 w 10000"/>
                <a:gd name="connsiteY237" fmla="*/ 4855 h 10000"/>
                <a:gd name="connsiteX238" fmla="*/ 1726 w 10000"/>
                <a:gd name="connsiteY238" fmla="*/ 5136 h 10000"/>
                <a:gd name="connsiteX239" fmla="*/ 1531 w 10000"/>
                <a:gd name="connsiteY239" fmla="*/ 5376 h 10000"/>
                <a:gd name="connsiteX240" fmla="*/ 1599 w 10000"/>
                <a:gd name="connsiteY240" fmla="*/ 5451 h 10000"/>
                <a:gd name="connsiteX241" fmla="*/ 1537 w 10000"/>
                <a:gd name="connsiteY241" fmla="*/ 5577 h 10000"/>
                <a:gd name="connsiteX242" fmla="*/ 1412 w 10000"/>
                <a:gd name="connsiteY242" fmla="*/ 5663 h 10000"/>
                <a:gd name="connsiteX243" fmla="*/ 915 w 10000"/>
                <a:gd name="connsiteY243" fmla="*/ 5730 h 10000"/>
                <a:gd name="connsiteX244" fmla="*/ 885 w 10000"/>
                <a:gd name="connsiteY244" fmla="*/ 5846 h 10000"/>
                <a:gd name="connsiteX245" fmla="*/ 617 w 10000"/>
                <a:gd name="connsiteY245" fmla="*/ 6019 h 10000"/>
                <a:gd name="connsiteX246" fmla="*/ 652 w 10000"/>
                <a:gd name="connsiteY246" fmla="*/ 6268 h 10000"/>
                <a:gd name="connsiteX247" fmla="*/ 427 w 10000"/>
                <a:gd name="connsiteY247" fmla="*/ 6587 h 10000"/>
                <a:gd name="connsiteX248" fmla="*/ 274 w 10000"/>
                <a:gd name="connsiteY248" fmla="*/ 6624 h 10000"/>
                <a:gd name="connsiteX249" fmla="*/ 210 w 10000"/>
                <a:gd name="connsiteY249" fmla="*/ 6548 h 10000"/>
                <a:gd name="connsiteX250" fmla="*/ 132 w 10000"/>
                <a:gd name="connsiteY250" fmla="*/ 6663 h 10000"/>
                <a:gd name="connsiteX251" fmla="*/ 183 w 10000"/>
                <a:gd name="connsiteY251" fmla="*/ 6465 h 10000"/>
                <a:gd name="connsiteX252" fmla="*/ 151 w 10000"/>
                <a:gd name="connsiteY252"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37 w 10000"/>
                <a:gd name="connsiteY162" fmla="*/ 3424 h 10000"/>
                <a:gd name="connsiteX163" fmla="*/ 6854 w 10000"/>
                <a:gd name="connsiteY163" fmla="*/ 3404 h 10000"/>
                <a:gd name="connsiteX164" fmla="*/ 6832 w 10000"/>
                <a:gd name="connsiteY164" fmla="*/ 3377 h 10000"/>
                <a:gd name="connsiteX165" fmla="*/ 6886 w 10000"/>
                <a:gd name="connsiteY165" fmla="*/ 3250 h 10000"/>
                <a:gd name="connsiteX166" fmla="*/ 6822 w 10000"/>
                <a:gd name="connsiteY166" fmla="*/ 3167 h 10000"/>
                <a:gd name="connsiteX167" fmla="*/ 6832 w 10000"/>
                <a:gd name="connsiteY167" fmla="*/ 3101 h 10000"/>
                <a:gd name="connsiteX168" fmla="*/ 6868 w 10000"/>
                <a:gd name="connsiteY168" fmla="*/ 3178 h 10000"/>
                <a:gd name="connsiteX169" fmla="*/ 7011 w 10000"/>
                <a:gd name="connsiteY169" fmla="*/ 3236 h 10000"/>
                <a:gd name="connsiteX170" fmla="*/ 7070 w 10000"/>
                <a:gd name="connsiteY170" fmla="*/ 3229 h 10000"/>
                <a:gd name="connsiteX171" fmla="*/ 7164 w 10000"/>
                <a:gd name="connsiteY171" fmla="*/ 3152 h 10000"/>
                <a:gd name="connsiteX172" fmla="*/ 7265 w 10000"/>
                <a:gd name="connsiteY172" fmla="*/ 3183 h 10000"/>
                <a:gd name="connsiteX173" fmla="*/ 7292 w 10000"/>
                <a:gd name="connsiteY173" fmla="*/ 3122 h 10000"/>
                <a:gd name="connsiteX174" fmla="*/ 7360 w 10000"/>
                <a:gd name="connsiteY174" fmla="*/ 3080 h 10000"/>
                <a:gd name="connsiteX175" fmla="*/ 7175 w 10000"/>
                <a:gd name="connsiteY175" fmla="*/ 3036 h 10000"/>
                <a:gd name="connsiteX176" fmla="*/ 7307 w 10000"/>
                <a:gd name="connsiteY176" fmla="*/ 3045 h 10000"/>
                <a:gd name="connsiteX177" fmla="*/ 7442 w 10000"/>
                <a:gd name="connsiteY177" fmla="*/ 2999 h 10000"/>
                <a:gd name="connsiteX178" fmla="*/ 7437 w 10000"/>
                <a:gd name="connsiteY178" fmla="*/ 2966 h 10000"/>
                <a:gd name="connsiteX179" fmla="*/ 7565 w 10000"/>
                <a:gd name="connsiteY179" fmla="*/ 2936 h 10000"/>
                <a:gd name="connsiteX180" fmla="*/ 7576 w 10000"/>
                <a:gd name="connsiteY180" fmla="*/ 2859 h 10000"/>
                <a:gd name="connsiteX181" fmla="*/ 7676 w 10000"/>
                <a:gd name="connsiteY181" fmla="*/ 2844 h 10000"/>
                <a:gd name="connsiteX182" fmla="*/ 7684 w 10000"/>
                <a:gd name="connsiteY182" fmla="*/ 2754 h 10000"/>
                <a:gd name="connsiteX183" fmla="*/ 7790 w 10000"/>
                <a:gd name="connsiteY183" fmla="*/ 2743 h 10000"/>
                <a:gd name="connsiteX184" fmla="*/ 7953 w 10000"/>
                <a:gd name="connsiteY184" fmla="*/ 2762 h 10000"/>
                <a:gd name="connsiteX185" fmla="*/ 8132 w 10000"/>
                <a:gd name="connsiteY185" fmla="*/ 2690 h 10000"/>
                <a:gd name="connsiteX186" fmla="*/ 8195 w 10000"/>
                <a:gd name="connsiteY186" fmla="*/ 2607 h 10000"/>
                <a:gd name="connsiteX187" fmla="*/ 8417 w 10000"/>
                <a:gd name="connsiteY187" fmla="*/ 2524 h 10000"/>
                <a:gd name="connsiteX188" fmla="*/ 8527 w 10000"/>
                <a:gd name="connsiteY188" fmla="*/ 2575 h 10000"/>
                <a:gd name="connsiteX189" fmla="*/ 8695 w 10000"/>
                <a:gd name="connsiteY189" fmla="*/ 2519 h 10000"/>
                <a:gd name="connsiteX190" fmla="*/ 8736 w 10000"/>
                <a:gd name="connsiteY190" fmla="*/ 2445 h 10000"/>
                <a:gd name="connsiteX191" fmla="*/ 8864 w 10000"/>
                <a:gd name="connsiteY191" fmla="*/ 2396 h 10000"/>
                <a:gd name="connsiteX192" fmla="*/ 8973 w 10000"/>
                <a:gd name="connsiteY192" fmla="*/ 2418 h 10000"/>
                <a:gd name="connsiteX193" fmla="*/ 9042 w 10000"/>
                <a:gd name="connsiteY193" fmla="*/ 2381 h 10000"/>
                <a:gd name="connsiteX194" fmla="*/ 9231 w 10000"/>
                <a:gd name="connsiteY194" fmla="*/ 2330 h 10000"/>
                <a:gd name="connsiteX195" fmla="*/ 9310 w 10000"/>
                <a:gd name="connsiteY195" fmla="*/ 2263 h 10000"/>
                <a:gd name="connsiteX196" fmla="*/ 9417 w 10000"/>
                <a:gd name="connsiteY196" fmla="*/ 2235 h 10000"/>
                <a:gd name="connsiteX197" fmla="*/ 10000 w 10000"/>
                <a:gd name="connsiteY197" fmla="*/ 1832 h 10000"/>
                <a:gd name="connsiteX198" fmla="*/ 9652 w 10000"/>
                <a:gd name="connsiteY198" fmla="*/ 1699 h 10000"/>
                <a:gd name="connsiteX199" fmla="*/ 9147 w 10000"/>
                <a:gd name="connsiteY199" fmla="*/ 1773 h 10000"/>
                <a:gd name="connsiteX200" fmla="*/ 8784 w 10000"/>
                <a:gd name="connsiteY200" fmla="*/ 1639 h 10000"/>
                <a:gd name="connsiteX201" fmla="*/ 8850 w 10000"/>
                <a:gd name="connsiteY201" fmla="*/ 1480 h 10000"/>
                <a:gd name="connsiteX202" fmla="*/ 7497 w 10000"/>
                <a:gd name="connsiteY202" fmla="*/ 923 h 10000"/>
                <a:gd name="connsiteX203" fmla="*/ 7522 w 10000"/>
                <a:gd name="connsiteY203" fmla="*/ 649 h 10000"/>
                <a:gd name="connsiteX204" fmla="*/ 7012 w 10000"/>
                <a:gd name="connsiteY204" fmla="*/ 590 h 10000"/>
                <a:gd name="connsiteX205" fmla="*/ 6413 w 10000"/>
                <a:gd name="connsiteY205" fmla="*/ 332 h 10000"/>
                <a:gd name="connsiteX206" fmla="*/ 5098 w 10000"/>
                <a:gd name="connsiteY206" fmla="*/ 0 h 10000"/>
                <a:gd name="connsiteX207" fmla="*/ 4837 w 10000"/>
                <a:gd name="connsiteY207" fmla="*/ 82 h 10000"/>
                <a:gd name="connsiteX208" fmla="*/ 4671 w 10000"/>
                <a:gd name="connsiteY208" fmla="*/ 78 h 10000"/>
                <a:gd name="connsiteX209" fmla="*/ 4571 w 10000"/>
                <a:gd name="connsiteY209" fmla="*/ 107 h 10000"/>
                <a:gd name="connsiteX210" fmla="*/ 4298 w 10000"/>
                <a:gd name="connsiteY210" fmla="*/ 913 h 10000"/>
                <a:gd name="connsiteX211" fmla="*/ 3668 w 10000"/>
                <a:gd name="connsiteY211" fmla="*/ 1383 h 10000"/>
                <a:gd name="connsiteX212" fmla="*/ 3672 w 10000"/>
                <a:gd name="connsiteY212" fmla="*/ 1457 h 10000"/>
                <a:gd name="connsiteX213" fmla="*/ 3952 w 10000"/>
                <a:gd name="connsiteY213" fmla="*/ 1668 h 10000"/>
                <a:gd name="connsiteX214" fmla="*/ 3861 w 10000"/>
                <a:gd name="connsiteY214" fmla="*/ 1896 h 10000"/>
                <a:gd name="connsiteX215" fmla="*/ 3698 w 10000"/>
                <a:gd name="connsiteY215" fmla="*/ 1979 h 10000"/>
                <a:gd name="connsiteX216" fmla="*/ 3208 w 10000"/>
                <a:gd name="connsiteY216" fmla="*/ 1924 h 10000"/>
                <a:gd name="connsiteX217" fmla="*/ 2871 w 10000"/>
                <a:gd name="connsiteY217" fmla="*/ 1955 h 10000"/>
                <a:gd name="connsiteX218" fmla="*/ 2601 w 10000"/>
                <a:gd name="connsiteY218" fmla="*/ 2023 h 10000"/>
                <a:gd name="connsiteX219" fmla="*/ 2163 w 10000"/>
                <a:gd name="connsiteY219" fmla="*/ 2233 h 10000"/>
                <a:gd name="connsiteX220" fmla="*/ 1931 w 10000"/>
                <a:gd name="connsiteY220" fmla="*/ 2487 h 10000"/>
                <a:gd name="connsiteX221" fmla="*/ 1951 w 10000"/>
                <a:gd name="connsiteY221" fmla="*/ 2629 h 10000"/>
                <a:gd name="connsiteX222" fmla="*/ 2032 w 10000"/>
                <a:gd name="connsiteY222" fmla="*/ 2738 h 10000"/>
                <a:gd name="connsiteX223" fmla="*/ 2093 w 10000"/>
                <a:gd name="connsiteY223" fmla="*/ 2782 h 10000"/>
                <a:gd name="connsiteX224" fmla="*/ 1979 w 10000"/>
                <a:gd name="connsiteY224" fmla="*/ 2852 h 10000"/>
                <a:gd name="connsiteX225" fmla="*/ 1731 w 10000"/>
                <a:gd name="connsiteY225" fmla="*/ 3330 h 10000"/>
                <a:gd name="connsiteX226" fmla="*/ 1779 w 10000"/>
                <a:gd name="connsiteY226" fmla="*/ 3358 h 10000"/>
                <a:gd name="connsiteX227" fmla="*/ 1815 w 10000"/>
                <a:gd name="connsiteY227" fmla="*/ 3479 h 10000"/>
                <a:gd name="connsiteX228" fmla="*/ 1700 w 10000"/>
                <a:gd name="connsiteY228" fmla="*/ 3982 h 10000"/>
                <a:gd name="connsiteX229" fmla="*/ 1815 w 10000"/>
                <a:gd name="connsiteY229" fmla="*/ 4110 h 10000"/>
                <a:gd name="connsiteX230" fmla="*/ 2131 w 10000"/>
                <a:gd name="connsiteY230" fmla="*/ 4251 h 10000"/>
                <a:gd name="connsiteX231" fmla="*/ 2145 w 10000"/>
                <a:gd name="connsiteY231" fmla="*/ 4423 h 10000"/>
                <a:gd name="connsiteX232" fmla="*/ 2010 w 10000"/>
                <a:gd name="connsiteY232" fmla="*/ 4566 h 10000"/>
                <a:gd name="connsiteX233" fmla="*/ 1815 w 10000"/>
                <a:gd name="connsiteY233" fmla="*/ 4652 h 10000"/>
                <a:gd name="connsiteX234" fmla="*/ 1557 w 10000"/>
                <a:gd name="connsiteY234" fmla="*/ 4687 h 10000"/>
                <a:gd name="connsiteX235" fmla="*/ 1490 w 10000"/>
                <a:gd name="connsiteY235" fmla="*/ 4737 h 10000"/>
                <a:gd name="connsiteX236" fmla="*/ 1640 w 10000"/>
                <a:gd name="connsiteY236" fmla="*/ 4855 h 10000"/>
                <a:gd name="connsiteX237" fmla="*/ 1726 w 10000"/>
                <a:gd name="connsiteY237" fmla="*/ 5136 h 10000"/>
                <a:gd name="connsiteX238" fmla="*/ 1531 w 10000"/>
                <a:gd name="connsiteY238" fmla="*/ 5376 h 10000"/>
                <a:gd name="connsiteX239" fmla="*/ 1599 w 10000"/>
                <a:gd name="connsiteY239" fmla="*/ 5451 h 10000"/>
                <a:gd name="connsiteX240" fmla="*/ 1537 w 10000"/>
                <a:gd name="connsiteY240" fmla="*/ 5577 h 10000"/>
                <a:gd name="connsiteX241" fmla="*/ 1412 w 10000"/>
                <a:gd name="connsiteY241" fmla="*/ 5663 h 10000"/>
                <a:gd name="connsiteX242" fmla="*/ 915 w 10000"/>
                <a:gd name="connsiteY242" fmla="*/ 5730 h 10000"/>
                <a:gd name="connsiteX243" fmla="*/ 885 w 10000"/>
                <a:gd name="connsiteY243" fmla="*/ 5846 h 10000"/>
                <a:gd name="connsiteX244" fmla="*/ 617 w 10000"/>
                <a:gd name="connsiteY244" fmla="*/ 6019 h 10000"/>
                <a:gd name="connsiteX245" fmla="*/ 652 w 10000"/>
                <a:gd name="connsiteY245" fmla="*/ 6268 h 10000"/>
                <a:gd name="connsiteX246" fmla="*/ 427 w 10000"/>
                <a:gd name="connsiteY246" fmla="*/ 6587 h 10000"/>
                <a:gd name="connsiteX247" fmla="*/ 274 w 10000"/>
                <a:gd name="connsiteY247" fmla="*/ 6624 h 10000"/>
                <a:gd name="connsiteX248" fmla="*/ 210 w 10000"/>
                <a:gd name="connsiteY248" fmla="*/ 6548 h 10000"/>
                <a:gd name="connsiteX249" fmla="*/ 132 w 10000"/>
                <a:gd name="connsiteY249" fmla="*/ 6663 h 10000"/>
                <a:gd name="connsiteX250" fmla="*/ 183 w 10000"/>
                <a:gd name="connsiteY250" fmla="*/ 6465 h 10000"/>
                <a:gd name="connsiteX251" fmla="*/ 151 w 10000"/>
                <a:gd name="connsiteY251"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37 w 10000"/>
                <a:gd name="connsiteY162" fmla="*/ 3424 h 10000"/>
                <a:gd name="connsiteX163" fmla="*/ 6854 w 10000"/>
                <a:gd name="connsiteY163" fmla="*/ 3404 h 10000"/>
                <a:gd name="connsiteX164" fmla="*/ 6886 w 10000"/>
                <a:gd name="connsiteY164" fmla="*/ 3250 h 10000"/>
                <a:gd name="connsiteX165" fmla="*/ 6822 w 10000"/>
                <a:gd name="connsiteY165" fmla="*/ 3167 h 10000"/>
                <a:gd name="connsiteX166" fmla="*/ 6832 w 10000"/>
                <a:gd name="connsiteY166" fmla="*/ 3101 h 10000"/>
                <a:gd name="connsiteX167" fmla="*/ 6868 w 10000"/>
                <a:gd name="connsiteY167" fmla="*/ 3178 h 10000"/>
                <a:gd name="connsiteX168" fmla="*/ 7011 w 10000"/>
                <a:gd name="connsiteY168" fmla="*/ 3236 h 10000"/>
                <a:gd name="connsiteX169" fmla="*/ 7070 w 10000"/>
                <a:gd name="connsiteY169" fmla="*/ 3229 h 10000"/>
                <a:gd name="connsiteX170" fmla="*/ 7164 w 10000"/>
                <a:gd name="connsiteY170" fmla="*/ 3152 h 10000"/>
                <a:gd name="connsiteX171" fmla="*/ 7265 w 10000"/>
                <a:gd name="connsiteY171" fmla="*/ 3183 h 10000"/>
                <a:gd name="connsiteX172" fmla="*/ 7292 w 10000"/>
                <a:gd name="connsiteY172" fmla="*/ 3122 h 10000"/>
                <a:gd name="connsiteX173" fmla="*/ 7360 w 10000"/>
                <a:gd name="connsiteY173" fmla="*/ 3080 h 10000"/>
                <a:gd name="connsiteX174" fmla="*/ 7175 w 10000"/>
                <a:gd name="connsiteY174" fmla="*/ 3036 h 10000"/>
                <a:gd name="connsiteX175" fmla="*/ 7307 w 10000"/>
                <a:gd name="connsiteY175" fmla="*/ 3045 h 10000"/>
                <a:gd name="connsiteX176" fmla="*/ 7442 w 10000"/>
                <a:gd name="connsiteY176" fmla="*/ 2999 h 10000"/>
                <a:gd name="connsiteX177" fmla="*/ 7437 w 10000"/>
                <a:gd name="connsiteY177" fmla="*/ 2966 h 10000"/>
                <a:gd name="connsiteX178" fmla="*/ 7565 w 10000"/>
                <a:gd name="connsiteY178" fmla="*/ 2936 h 10000"/>
                <a:gd name="connsiteX179" fmla="*/ 7576 w 10000"/>
                <a:gd name="connsiteY179" fmla="*/ 2859 h 10000"/>
                <a:gd name="connsiteX180" fmla="*/ 7676 w 10000"/>
                <a:gd name="connsiteY180" fmla="*/ 2844 h 10000"/>
                <a:gd name="connsiteX181" fmla="*/ 7684 w 10000"/>
                <a:gd name="connsiteY181" fmla="*/ 2754 h 10000"/>
                <a:gd name="connsiteX182" fmla="*/ 7790 w 10000"/>
                <a:gd name="connsiteY182" fmla="*/ 2743 h 10000"/>
                <a:gd name="connsiteX183" fmla="*/ 7953 w 10000"/>
                <a:gd name="connsiteY183" fmla="*/ 2762 h 10000"/>
                <a:gd name="connsiteX184" fmla="*/ 8132 w 10000"/>
                <a:gd name="connsiteY184" fmla="*/ 2690 h 10000"/>
                <a:gd name="connsiteX185" fmla="*/ 8195 w 10000"/>
                <a:gd name="connsiteY185" fmla="*/ 2607 h 10000"/>
                <a:gd name="connsiteX186" fmla="*/ 8417 w 10000"/>
                <a:gd name="connsiteY186" fmla="*/ 2524 h 10000"/>
                <a:gd name="connsiteX187" fmla="*/ 8527 w 10000"/>
                <a:gd name="connsiteY187" fmla="*/ 2575 h 10000"/>
                <a:gd name="connsiteX188" fmla="*/ 8695 w 10000"/>
                <a:gd name="connsiteY188" fmla="*/ 2519 h 10000"/>
                <a:gd name="connsiteX189" fmla="*/ 8736 w 10000"/>
                <a:gd name="connsiteY189" fmla="*/ 2445 h 10000"/>
                <a:gd name="connsiteX190" fmla="*/ 8864 w 10000"/>
                <a:gd name="connsiteY190" fmla="*/ 2396 h 10000"/>
                <a:gd name="connsiteX191" fmla="*/ 8973 w 10000"/>
                <a:gd name="connsiteY191" fmla="*/ 2418 h 10000"/>
                <a:gd name="connsiteX192" fmla="*/ 9042 w 10000"/>
                <a:gd name="connsiteY192" fmla="*/ 2381 h 10000"/>
                <a:gd name="connsiteX193" fmla="*/ 9231 w 10000"/>
                <a:gd name="connsiteY193" fmla="*/ 2330 h 10000"/>
                <a:gd name="connsiteX194" fmla="*/ 9310 w 10000"/>
                <a:gd name="connsiteY194" fmla="*/ 2263 h 10000"/>
                <a:gd name="connsiteX195" fmla="*/ 9417 w 10000"/>
                <a:gd name="connsiteY195" fmla="*/ 2235 h 10000"/>
                <a:gd name="connsiteX196" fmla="*/ 10000 w 10000"/>
                <a:gd name="connsiteY196" fmla="*/ 1832 h 10000"/>
                <a:gd name="connsiteX197" fmla="*/ 9652 w 10000"/>
                <a:gd name="connsiteY197" fmla="*/ 1699 h 10000"/>
                <a:gd name="connsiteX198" fmla="*/ 9147 w 10000"/>
                <a:gd name="connsiteY198" fmla="*/ 1773 h 10000"/>
                <a:gd name="connsiteX199" fmla="*/ 8784 w 10000"/>
                <a:gd name="connsiteY199" fmla="*/ 1639 h 10000"/>
                <a:gd name="connsiteX200" fmla="*/ 8850 w 10000"/>
                <a:gd name="connsiteY200" fmla="*/ 1480 h 10000"/>
                <a:gd name="connsiteX201" fmla="*/ 7497 w 10000"/>
                <a:gd name="connsiteY201" fmla="*/ 923 h 10000"/>
                <a:gd name="connsiteX202" fmla="*/ 7522 w 10000"/>
                <a:gd name="connsiteY202" fmla="*/ 649 h 10000"/>
                <a:gd name="connsiteX203" fmla="*/ 7012 w 10000"/>
                <a:gd name="connsiteY203" fmla="*/ 590 h 10000"/>
                <a:gd name="connsiteX204" fmla="*/ 6413 w 10000"/>
                <a:gd name="connsiteY204" fmla="*/ 332 h 10000"/>
                <a:gd name="connsiteX205" fmla="*/ 5098 w 10000"/>
                <a:gd name="connsiteY205" fmla="*/ 0 h 10000"/>
                <a:gd name="connsiteX206" fmla="*/ 4837 w 10000"/>
                <a:gd name="connsiteY206" fmla="*/ 82 h 10000"/>
                <a:gd name="connsiteX207" fmla="*/ 4671 w 10000"/>
                <a:gd name="connsiteY207" fmla="*/ 78 h 10000"/>
                <a:gd name="connsiteX208" fmla="*/ 4571 w 10000"/>
                <a:gd name="connsiteY208" fmla="*/ 107 h 10000"/>
                <a:gd name="connsiteX209" fmla="*/ 4298 w 10000"/>
                <a:gd name="connsiteY209" fmla="*/ 913 h 10000"/>
                <a:gd name="connsiteX210" fmla="*/ 3668 w 10000"/>
                <a:gd name="connsiteY210" fmla="*/ 1383 h 10000"/>
                <a:gd name="connsiteX211" fmla="*/ 3672 w 10000"/>
                <a:gd name="connsiteY211" fmla="*/ 1457 h 10000"/>
                <a:gd name="connsiteX212" fmla="*/ 3952 w 10000"/>
                <a:gd name="connsiteY212" fmla="*/ 1668 h 10000"/>
                <a:gd name="connsiteX213" fmla="*/ 3861 w 10000"/>
                <a:gd name="connsiteY213" fmla="*/ 1896 h 10000"/>
                <a:gd name="connsiteX214" fmla="*/ 3698 w 10000"/>
                <a:gd name="connsiteY214" fmla="*/ 1979 h 10000"/>
                <a:gd name="connsiteX215" fmla="*/ 3208 w 10000"/>
                <a:gd name="connsiteY215" fmla="*/ 1924 h 10000"/>
                <a:gd name="connsiteX216" fmla="*/ 2871 w 10000"/>
                <a:gd name="connsiteY216" fmla="*/ 1955 h 10000"/>
                <a:gd name="connsiteX217" fmla="*/ 2601 w 10000"/>
                <a:gd name="connsiteY217" fmla="*/ 2023 h 10000"/>
                <a:gd name="connsiteX218" fmla="*/ 2163 w 10000"/>
                <a:gd name="connsiteY218" fmla="*/ 2233 h 10000"/>
                <a:gd name="connsiteX219" fmla="*/ 1931 w 10000"/>
                <a:gd name="connsiteY219" fmla="*/ 2487 h 10000"/>
                <a:gd name="connsiteX220" fmla="*/ 1951 w 10000"/>
                <a:gd name="connsiteY220" fmla="*/ 2629 h 10000"/>
                <a:gd name="connsiteX221" fmla="*/ 2032 w 10000"/>
                <a:gd name="connsiteY221" fmla="*/ 2738 h 10000"/>
                <a:gd name="connsiteX222" fmla="*/ 2093 w 10000"/>
                <a:gd name="connsiteY222" fmla="*/ 2782 h 10000"/>
                <a:gd name="connsiteX223" fmla="*/ 1979 w 10000"/>
                <a:gd name="connsiteY223" fmla="*/ 2852 h 10000"/>
                <a:gd name="connsiteX224" fmla="*/ 1731 w 10000"/>
                <a:gd name="connsiteY224" fmla="*/ 3330 h 10000"/>
                <a:gd name="connsiteX225" fmla="*/ 1779 w 10000"/>
                <a:gd name="connsiteY225" fmla="*/ 3358 h 10000"/>
                <a:gd name="connsiteX226" fmla="*/ 1815 w 10000"/>
                <a:gd name="connsiteY226" fmla="*/ 3479 h 10000"/>
                <a:gd name="connsiteX227" fmla="*/ 1700 w 10000"/>
                <a:gd name="connsiteY227" fmla="*/ 3982 h 10000"/>
                <a:gd name="connsiteX228" fmla="*/ 1815 w 10000"/>
                <a:gd name="connsiteY228" fmla="*/ 4110 h 10000"/>
                <a:gd name="connsiteX229" fmla="*/ 2131 w 10000"/>
                <a:gd name="connsiteY229" fmla="*/ 4251 h 10000"/>
                <a:gd name="connsiteX230" fmla="*/ 2145 w 10000"/>
                <a:gd name="connsiteY230" fmla="*/ 4423 h 10000"/>
                <a:gd name="connsiteX231" fmla="*/ 2010 w 10000"/>
                <a:gd name="connsiteY231" fmla="*/ 4566 h 10000"/>
                <a:gd name="connsiteX232" fmla="*/ 1815 w 10000"/>
                <a:gd name="connsiteY232" fmla="*/ 4652 h 10000"/>
                <a:gd name="connsiteX233" fmla="*/ 1557 w 10000"/>
                <a:gd name="connsiteY233" fmla="*/ 4687 h 10000"/>
                <a:gd name="connsiteX234" fmla="*/ 1490 w 10000"/>
                <a:gd name="connsiteY234" fmla="*/ 4737 h 10000"/>
                <a:gd name="connsiteX235" fmla="*/ 1640 w 10000"/>
                <a:gd name="connsiteY235" fmla="*/ 4855 h 10000"/>
                <a:gd name="connsiteX236" fmla="*/ 1726 w 10000"/>
                <a:gd name="connsiteY236" fmla="*/ 5136 h 10000"/>
                <a:gd name="connsiteX237" fmla="*/ 1531 w 10000"/>
                <a:gd name="connsiteY237" fmla="*/ 5376 h 10000"/>
                <a:gd name="connsiteX238" fmla="*/ 1599 w 10000"/>
                <a:gd name="connsiteY238" fmla="*/ 5451 h 10000"/>
                <a:gd name="connsiteX239" fmla="*/ 1537 w 10000"/>
                <a:gd name="connsiteY239" fmla="*/ 5577 h 10000"/>
                <a:gd name="connsiteX240" fmla="*/ 1412 w 10000"/>
                <a:gd name="connsiteY240" fmla="*/ 5663 h 10000"/>
                <a:gd name="connsiteX241" fmla="*/ 915 w 10000"/>
                <a:gd name="connsiteY241" fmla="*/ 5730 h 10000"/>
                <a:gd name="connsiteX242" fmla="*/ 885 w 10000"/>
                <a:gd name="connsiteY242" fmla="*/ 5846 h 10000"/>
                <a:gd name="connsiteX243" fmla="*/ 617 w 10000"/>
                <a:gd name="connsiteY243" fmla="*/ 6019 h 10000"/>
                <a:gd name="connsiteX244" fmla="*/ 652 w 10000"/>
                <a:gd name="connsiteY244" fmla="*/ 6268 h 10000"/>
                <a:gd name="connsiteX245" fmla="*/ 427 w 10000"/>
                <a:gd name="connsiteY245" fmla="*/ 6587 h 10000"/>
                <a:gd name="connsiteX246" fmla="*/ 274 w 10000"/>
                <a:gd name="connsiteY246" fmla="*/ 6624 h 10000"/>
                <a:gd name="connsiteX247" fmla="*/ 210 w 10000"/>
                <a:gd name="connsiteY247" fmla="*/ 6548 h 10000"/>
                <a:gd name="connsiteX248" fmla="*/ 132 w 10000"/>
                <a:gd name="connsiteY248" fmla="*/ 6663 h 10000"/>
                <a:gd name="connsiteX249" fmla="*/ 183 w 10000"/>
                <a:gd name="connsiteY249" fmla="*/ 6465 h 10000"/>
                <a:gd name="connsiteX250" fmla="*/ 151 w 10000"/>
                <a:gd name="connsiteY25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37 w 10000"/>
                <a:gd name="connsiteY162" fmla="*/ 3424 h 10000"/>
                <a:gd name="connsiteX163" fmla="*/ 6854 w 10000"/>
                <a:gd name="connsiteY163" fmla="*/ 3404 h 10000"/>
                <a:gd name="connsiteX164" fmla="*/ 6886 w 10000"/>
                <a:gd name="connsiteY164" fmla="*/ 3250 h 10000"/>
                <a:gd name="connsiteX165" fmla="*/ 6822 w 10000"/>
                <a:gd name="connsiteY165" fmla="*/ 3167 h 10000"/>
                <a:gd name="connsiteX166" fmla="*/ 6832 w 10000"/>
                <a:gd name="connsiteY166" fmla="*/ 3101 h 10000"/>
                <a:gd name="connsiteX167" fmla="*/ 6868 w 10000"/>
                <a:gd name="connsiteY167" fmla="*/ 3178 h 10000"/>
                <a:gd name="connsiteX168" fmla="*/ 7011 w 10000"/>
                <a:gd name="connsiteY168" fmla="*/ 3236 h 10000"/>
                <a:gd name="connsiteX169" fmla="*/ 7070 w 10000"/>
                <a:gd name="connsiteY169" fmla="*/ 3229 h 10000"/>
                <a:gd name="connsiteX170" fmla="*/ 7164 w 10000"/>
                <a:gd name="connsiteY170" fmla="*/ 3152 h 10000"/>
                <a:gd name="connsiteX171" fmla="*/ 7292 w 10000"/>
                <a:gd name="connsiteY171" fmla="*/ 3122 h 10000"/>
                <a:gd name="connsiteX172" fmla="*/ 7360 w 10000"/>
                <a:gd name="connsiteY172" fmla="*/ 3080 h 10000"/>
                <a:gd name="connsiteX173" fmla="*/ 7175 w 10000"/>
                <a:gd name="connsiteY173" fmla="*/ 3036 h 10000"/>
                <a:gd name="connsiteX174" fmla="*/ 7307 w 10000"/>
                <a:gd name="connsiteY174" fmla="*/ 3045 h 10000"/>
                <a:gd name="connsiteX175" fmla="*/ 7442 w 10000"/>
                <a:gd name="connsiteY175" fmla="*/ 2999 h 10000"/>
                <a:gd name="connsiteX176" fmla="*/ 7437 w 10000"/>
                <a:gd name="connsiteY176" fmla="*/ 2966 h 10000"/>
                <a:gd name="connsiteX177" fmla="*/ 7565 w 10000"/>
                <a:gd name="connsiteY177" fmla="*/ 2936 h 10000"/>
                <a:gd name="connsiteX178" fmla="*/ 7576 w 10000"/>
                <a:gd name="connsiteY178" fmla="*/ 2859 h 10000"/>
                <a:gd name="connsiteX179" fmla="*/ 7676 w 10000"/>
                <a:gd name="connsiteY179" fmla="*/ 2844 h 10000"/>
                <a:gd name="connsiteX180" fmla="*/ 7684 w 10000"/>
                <a:gd name="connsiteY180" fmla="*/ 2754 h 10000"/>
                <a:gd name="connsiteX181" fmla="*/ 7790 w 10000"/>
                <a:gd name="connsiteY181" fmla="*/ 2743 h 10000"/>
                <a:gd name="connsiteX182" fmla="*/ 7953 w 10000"/>
                <a:gd name="connsiteY182" fmla="*/ 2762 h 10000"/>
                <a:gd name="connsiteX183" fmla="*/ 8132 w 10000"/>
                <a:gd name="connsiteY183" fmla="*/ 2690 h 10000"/>
                <a:gd name="connsiteX184" fmla="*/ 8195 w 10000"/>
                <a:gd name="connsiteY184" fmla="*/ 2607 h 10000"/>
                <a:gd name="connsiteX185" fmla="*/ 8417 w 10000"/>
                <a:gd name="connsiteY185" fmla="*/ 2524 h 10000"/>
                <a:gd name="connsiteX186" fmla="*/ 8527 w 10000"/>
                <a:gd name="connsiteY186" fmla="*/ 2575 h 10000"/>
                <a:gd name="connsiteX187" fmla="*/ 8695 w 10000"/>
                <a:gd name="connsiteY187" fmla="*/ 2519 h 10000"/>
                <a:gd name="connsiteX188" fmla="*/ 8736 w 10000"/>
                <a:gd name="connsiteY188" fmla="*/ 2445 h 10000"/>
                <a:gd name="connsiteX189" fmla="*/ 8864 w 10000"/>
                <a:gd name="connsiteY189" fmla="*/ 2396 h 10000"/>
                <a:gd name="connsiteX190" fmla="*/ 8973 w 10000"/>
                <a:gd name="connsiteY190" fmla="*/ 2418 h 10000"/>
                <a:gd name="connsiteX191" fmla="*/ 9042 w 10000"/>
                <a:gd name="connsiteY191" fmla="*/ 2381 h 10000"/>
                <a:gd name="connsiteX192" fmla="*/ 9231 w 10000"/>
                <a:gd name="connsiteY192" fmla="*/ 2330 h 10000"/>
                <a:gd name="connsiteX193" fmla="*/ 9310 w 10000"/>
                <a:gd name="connsiteY193" fmla="*/ 2263 h 10000"/>
                <a:gd name="connsiteX194" fmla="*/ 9417 w 10000"/>
                <a:gd name="connsiteY194" fmla="*/ 2235 h 10000"/>
                <a:gd name="connsiteX195" fmla="*/ 10000 w 10000"/>
                <a:gd name="connsiteY195" fmla="*/ 1832 h 10000"/>
                <a:gd name="connsiteX196" fmla="*/ 9652 w 10000"/>
                <a:gd name="connsiteY196" fmla="*/ 1699 h 10000"/>
                <a:gd name="connsiteX197" fmla="*/ 9147 w 10000"/>
                <a:gd name="connsiteY197" fmla="*/ 1773 h 10000"/>
                <a:gd name="connsiteX198" fmla="*/ 8784 w 10000"/>
                <a:gd name="connsiteY198" fmla="*/ 1639 h 10000"/>
                <a:gd name="connsiteX199" fmla="*/ 8850 w 10000"/>
                <a:gd name="connsiteY199" fmla="*/ 1480 h 10000"/>
                <a:gd name="connsiteX200" fmla="*/ 7497 w 10000"/>
                <a:gd name="connsiteY200" fmla="*/ 923 h 10000"/>
                <a:gd name="connsiteX201" fmla="*/ 7522 w 10000"/>
                <a:gd name="connsiteY201" fmla="*/ 649 h 10000"/>
                <a:gd name="connsiteX202" fmla="*/ 7012 w 10000"/>
                <a:gd name="connsiteY202" fmla="*/ 590 h 10000"/>
                <a:gd name="connsiteX203" fmla="*/ 6413 w 10000"/>
                <a:gd name="connsiteY203" fmla="*/ 332 h 10000"/>
                <a:gd name="connsiteX204" fmla="*/ 5098 w 10000"/>
                <a:gd name="connsiteY204" fmla="*/ 0 h 10000"/>
                <a:gd name="connsiteX205" fmla="*/ 4837 w 10000"/>
                <a:gd name="connsiteY205" fmla="*/ 82 h 10000"/>
                <a:gd name="connsiteX206" fmla="*/ 4671 w 10000"/>
                <a:gd name="connsiteY206" fmla="*/ 78 h 10000"/>
                <a:gd name="connsiteX207" fmla="*/ 4571 w 10000"/>
                <a:gd name="connsiteY207" fmla="*/ 107 h 10000"/>
                <a:gd name="connsiteX208" fmla="*/ 4298 w 10000"/>
                <a:gd name="connsiteY208" fmla="*/ 913 h 10000"/>
                <a:gd name="connsiteX209" fmla="*/ 3668 w 10000"/>
                <a:gd name="connsiteY209" fmla="*/ 1383 h 10000"/>
                <a:gd name="connsiteX210" fmla="*/ 3672 w 10000"/>
                <a:gd name="connsiteY210" fmla="*/ 1457 h 10000"/>
                <a:gd name="connsiteX211" fmla="*/ 3952 w 10000"/>
                <a:gd name="connsiteY211" fmla="*/ 1668 h 10000"/>
                <a:gd name="connsiteX212" fmla="*/ 3861 w 10000"/>
                <a:gd name="connsiteY212" fmla="*/ 1896 h 10000"/>
                <a:gd name="connsiteX213" fmla="*/ 3698 w 10000"/>
                <a:gd name="connsiteY213" fmla="*/ 1979 h 10000"/>
                <a:gd name="connsiteX214" fmla="*/ 3208 w 10000"/>
                <a:gd name="connsiteY214" fmla="*/ 1924 h 10000"/>
                <a:gd name="connsiteX215" fmla="*/ 2871 w 10000"/>
                <a:gd name="connsiteY215" fmla="*/ 1955 h 10000"/>
                <a:gd name="connsiteX216" fmla="*/ 2601 w 10000"/>
                <a:gd name="connsiteY216" fmla="*/ 2023 h 10000"/>
                <a:gd name="connsiteX217" fmla="*/ 2163 w 10000"/>
                <a:gd name="connsiteY217" fmla="*/ 2233 h 10000"/>
                <a:gd name="connsiteX218" fmla="*/ 1931 w 10000"/>
                <a:gd name="connsiteY218" fmla="*/ 2487 h 10000"/>
                <a:gd name="connsiteX219" fmla="*/ 1951 w 10000"/>
                <a:gd name="connsiteY219" fmla="*/ 2629 h 10000"/>
                <a:gd name="connsiteX220" fmla="*/ 2032 w 10000"/>
                <a:gd name="connsiteY220" fmla="*/ 2738 h 10000"/>
                <a:gd name="connsiteX221" fmla="*/ 2093 w 10000"/>
                <a:gd name="connsiteY221" fmla="*/ 2782 h 10000"/>
                <a:gd name="connsiteX222" fmla="*/ 1979 w 10000"/>
                <a:gd name="connsiteY222" fmla="*/ 2852 h 10000"/>
                <a:gd name="connsiteX223" fmla="*/ 1731 w 10000"/>
                <a:gd name="connsiteY223" fmla="*/ 3330 h 10000"/>
                <a:gd name="connsiteX224" fmla="*/ 1779 w 10000"/>
                <a:gd name="connsiteY224" fmla="*/ 3358 h 10000"/>
                <a:gd name="connsiteX225" fmla="*/ 1815 w 10000"/>
                <a:gd name="connsiteY225" fmla="*/ 3479 h 10000"/>
                <a:gd name="connsiteX226" fmla="*/ 1700 w 10000"/>
                <a:gd name="connsiteY226" fmla="*/ 3982 h 10000"/>
                <a:gd name="connsiteX227" fmla="*/ 1815 w 10000"/>
                <a:gd name="connsiteY227" fmla="*/ 4110 h 10000"/>
                <a:gd name="connsiteX228" fmla="*/ 2131 w 10000"/>
                <a:gd name="connsiteY228" fmla="*/ 4251 h 10000"/>
                <a:gd name="connsiteX229" fmla="*/ 2145 w 10000"/>
                <a:gd name="connsiteY229" fmla="*/ 4423 h 10000"/>
                <a:gd name="connsiteX230" fmla="*/ 2010 w 10000"/>
                <a:gd name="connsiteY230" fmla="*/ 4566 h 10000"/>
                <a:gd name="connsiteX231" fmla="*/ 1815 w 10000"/>
                <a:gd name="connsiteY231" fmla="*/ 4652 h 10000"/>
                <a:gd name="connsiteX232" fmla="*/ 1557 w 10000"/>
                <a:gd name="connsiteY232" fmla="*/ 4687 h 10000"/>
                <a:gd name="connsiteX233" fmla="*/ 1490 w 10000"/>
                <a:gd name="connsiteY233" fmla="*/ 4737 h 10000"/>
                <a:gd name="connsiteX234" fmla="*/ 1640 w 10000"/>
                <a:gd name="connsiteY234" fmla="*/ 4855 h 10000"/>
                <a:gd name="connsiteX235" fmla="*/ 1726 w 10000"/>
                <a:gd name="connsiteY235" fmla="*/ 5136 h 10000"/>
                <a:gd name="connsiteX236" fmla="*/ 1531 w 10000"/>
                <a:gd name="connsiteY236" fmla="*/ 5376 h 10000"/>
                <a:gd name="connsiteX237" fmla="*/ 1599 w 10000"/>
                <a:gd name="connsiteY237" fmla="*/ 5451 h 10000"/>
                <a:gd name="connsiteX238" fmla="*/ 1537 w 10000"/>
                <a:gd name="connsiteY238" fmla="*/ 5577 h 10000"/>
                <a:gd name="connsiteX239" fmla="*/ 1412 w 10000"/>
                <a:gd name="connsiteY239" fmla="*/ 5663 h 10000"/>
                <a:gd name="connsiteX240" fmla="*/ 915 w 10000"/>
                <a:gd name="connsiteY240" fmla="*/ 5730 h 10000"/>
                <a:gd name="connsiteX241" fmla="*/ 885 w 10000"/>
                <a:gd name="connsiteY241" fmla="*/ 5846 h 10000"/>
                <a:gd name="connsiteX242" fmla="*/ 617 w 10000"/>
                <a:gd name="connsiteY242" fmla="*/ 6019 h 10000"/>
                <a:gd name="connsiteX243" fmla="*/ 652 w 10000"/>
                <a:gd name="connsiteY243" fmla="*/ 6268 h 10000"/>
                <a:gd name="connsiteX244" fmla="*/ 427 w 10000"/>
                <a:gd name="connsiteY244" fmla="*/ 6587 h 10000"/>
                <a:gd name="connsiteX245" fmla="*/ 274 w 10000"/>
                <a:gd name="connsiteY245" fmla="*/ 6624 h 10000"/>
                <a:gd name="connsiteX246" fmla="*/ 210 w 10000"/>
                <a:gd name="connsiteY246" fmla="*/ 6548 h 10000"/>
                <a:gd name="connsiteX247" fmla="*/ 132 w 10000"/>
                <a:gd name="connsiteY247" fmla="*/ 6663 h 10000"/>
                <a:gd name="connsiteX248" fmla="*/ 183 w 10000"/>
                <a:gd name="connsiteY248" fmla="*/ 6465 h 10000"/>
                <a:gd name="connsiteX249" fmla="*/ 151 w 10000"/>
                <a:gd name="connsiteY249"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37 w 10000"/>
                <a:gd name="connsiteY162" fmla="*/ 3424 h 10000"/>
                <a:gd name="connsiteX163" fmla="*/ 6854 w 10000"/>
                <a:gd name="connsiteY163" fmla="*/ 3404 h 10000"/>
                <a:gd name="connsiteX164" fmla="*/ 6886 w 10000"/>
                <a:gd name="connsiteY164" fmla="*/ 3250 h 10000"/>
                <a:gd name="connsiteX165" fmla="*/ 6822 w 10000"/>
                <a:gd name="connsiteY165" fmla="*/ 3167 h 10000"/>
                <a:gd name="connsiteX166" fmla="*/ 6832 w 10000"/>
                <a:gd name="connsiteY166" fmla="*/ 3101 h 10000"/>
                <a:gd name="connsiteX167" fmla="*/ 6868 w 10000"/>
                <a:gd name="connsiteY167" fmla="*/ 3178 h 10000"/>
                <a:gd name="connsiteX168" fmla="*/ 7011 w 10000"/>
                <a:gd name="connsiteY168" fmla="*/ 3236 h 10000"/>
                <a:gd name="connsiteX169" fmla="*/ 7070 w 10000"/>
                <a:gd name="connsiteY169" fmla="*/ 3229 h 10000"/>
                <a:gd name="connsiteX170" fmla="*/ 7164 w 10000"/>
                <a:gd name="connsiteY170" fmla="*/ 3152 h 10000"/>
                <a:gd name="connsiteX171" fmla="*/ 7292 w 10000"/>
                <a:gd name="connsiteY171" fmla="*/ 3122 h 10000"/>
                <a:gd name="connsiteX172" fmla="*/ 7175 w 10000"/>
                <a:gd name="connsiteY172" fmla="*/ 3036 h 10000"/>
                <a:gd name="connsiteX173" fmla="*/ 7307 w 10000"/>
                <a:gd name="connsiteY173" fmla="*/ 3045 h 10000"/>
                <a:gd name="connsiteX174" fmla="*/ 7442 w 10000"/>
                <a:gd name="connsiteY174" fmla="*/ 2999 h 10000"/>
                <a:gd name="connsiteX175" fmla="*/ 7437 w 10000"/>
                <a:gd name="connsiteY175" fmla="*/ 2966 h 10000"/>
                <a:gd name="connsiteX176" fmla="*/ 7565 w 10000"/>
                <a:gd name="connsiteY176" fmla="*/ 2936 h 10000"/>
                <a:gd name="connsiteX177" fmla="*/ 7576 w 10000"/>
                <a:gd name="connsiteY177" fmla="*/ 2859 h 10000"/>
                <a:gd name="connsiteX178" fmla="*/ 7676 w 10000"/>
                <a:gd name="connsiteY178" fmla="*/ 2844 h 10000"/>
                <a:gd name="connsiteX179" fmla="*/ 7684 w 10000"/>
                <a:gd name="connsiteY179" fmla="*/ 2754 h 10000"/>
                <a:gd name="connsiteX180" fmla="*/ 7790 w 10000"/>
                <a:gd name="connsiteY180" fmla="*/ 2743 h 10000"/>
                <a:gd name="connsiteX181" fmla="*/ 7953 w 10000"/>
                <a:gd name="connsiteY181" fmla="*/ 2762 h 10000"/>
                <a:gd name="connsiteX182" fmla="*/ 8132 w 10000"/>
                <a:gd name="connsiteY182" fmla="*/ 2690 h 10000"/>
                <a:gd name="connsiteX183" fmla="*/ 8195 w 10000"/>
                <a:gd name="connsiteY183" fmla="*/ 2607 h 10000"/>
                <a:gd name="connsiteX184" fmla="*/ 8417 w 10000"/>
                <a:gd name="connsiteY184" fmla="*/ 2524 h 10000"/>
                <a:gd name="connsiteX185" fmla="*/ 8527 w 10000"/>
                <a:gd name="connsiteY185" fmla="*/ 2575 h 10000"/>
                <a:gd name="connsiteX186" fmla="*/ 8695 w 10000"/>
                <a:gd name="connsiteY186" fmla="*/ 2519 h 10000"/>
                <a:gd name="connsiteX187" fmla="*/ 8736 w 10000"/>
                <a:gd name="connsiteY187" fmla="*/ 2445 h 10000"/>
                <a:gd name="connsiteX188" fmla="*/ 8864 w 10000"/>
                <a:gd name="connsiteY188" fmla="*/ 2396 h 10000"/>
                <a:gd name="connsiteX189" fmla="*/ 8973 w 10000"/>
                <a:gd name="connsiteY189" fmla="*/ 2418 h 10000"/>
                <a:gd name="connsiteX190" fmla="*/ 9042 w 10000"/>
                <a:gd name="connsiteY190" fmla="*/ 2381 h 10000"/>
                <a:gd name="connsiteX191" fmla="*/ 9231 w 10000"/>
                <a:gd name="connsiteY191" fmla="*/ 2330 h 10000"/>
                <a:gd name="connsiteX192" fmla="*/ 9310 w 10000"/>
                <a:gd name="connsiteY192" fmla="*/ 2263 h 10000"/>
                <a:gd name="connsiteX193" fmla="*/ 9417 w 10000"/>
                <a:gd name="connsiteY193" fmla="*/ 2235 h 10000"/>
                <a:gd name="connsiteX194" fmla="*/ 10000 w 10000"/>
                <a:gd name="connsiteY194" fmla="*/ 1832 h 10000"/>
                <a:gd name="connsiteX195" fmla="*/ 9652 w 10000"/>
                <a:gd name="connsiteY195" fmla="*/ 1699 h 10000"/>
                <a:gd name="connsiteX196" fmla="*/ 9147 w 10000"/>
                <a:gd name="connsiteY196" fmla="*/ 1773 h 10000"/>
                <a:gd name="connsiteX197" fmla="*/ 8784 w 10000"/>
                <a:gd name="connsiteY197" fmla="*/ 1639 h 10000"/>
                <a:gd name="connsiteX198" fmla="*/ 8850 w 10000"/>
                <a:gd name="connsiteY198" fmla="*/ 1480 h 10000"/>
                <a:gd name="connsiteX199" fmla="*/ 7497 w 10000"/>
                <a:gd name="connsiteY199" fmla="*/ 923 h 10000"/>
                <a:gd name="connsiteX200" fmla="*/ 7522 w 10000"/>
                <a:gd name="connsiteY200" fmla="*/ 649 h 10000"/>
                <a:gd name="connsiteX201" fmla="*/ 7012 w 10000"/>
                <a:gd name="connsiteY201" fmla="*/ 590 h 10000"/>
                <a:gd name="connsiteX202" fmla="*/ 6413 w 10000"/>
                <a:gd name="connsiteY202" fmla="*/ 332 h 10000"/>
                <a:gd name="connsiteX203" fmla="*/ 5098 w 10000"/>
                <a:gd name="connsiteY203" fmla="*/ 0 h 10000"/>
                <a:gd name="connsiteX204" fmla="*/ 4837 w 10000"/>
                <a:gd name="connsiteY204" fmla="*/ 82 h 10000"/>
                <a:gd name="connsiteX205" fmla="*/ 4671 w 10000"/>
                <a:gd name="connsiteY205" fmla="*/ 78 h 10000"/>
                <a:gd name="connsiteX206" fmla="*/ 4571 w 10000"/>
                <a:gd name="connsiteY206" fmla="*/ 107 h 10000"/>
                <a:gd name="connsiteX207" fmla="*/ 4298 w 10000"/>
                <a:gd name="connsiteY207" fmla="*/ 913 h 10000"/>
                <a:gd name="connsiteX208" fmla="*/ 3668 w 10000"/>
                <a:gd name="connsiteY208" fmla="*/ 1383 h 10000"/>
                <a:gd name="connsiteX209" fmla="*/ 3672 w 10000"/>
                <a:gd name="connsiteY209" fmla="*/ 1457 h 10000"/>
                <a:gd name="connsiteX210" fmla="*/ 3952 w 10000"/>
                <a:gd name="connsiteY210" fmla="*/ 1668 h 10000"/>
                <a:gd name="connsiteX211" fmla="*/ 3861 w 10000"/>
                <a:gd name="connsiteY211" fmla="*/ 1896 h 10000"/>
                <a:gd name="connsiteX212" fmla="*/ 3698 w 10000"/>
                <a:gd name="connsiteY212" fmla="*/ 1979 h 10000"/>
                <a:gd name="connsiteX213" fmla="*/ 3208 w 10000"/>
                <a:gd name="connsiteY213" fmla="*/ 1924 h 10000"/>
                <a:gd name="connsiteX214" fmla="*/ 2871 w 10000"/>
                <a:gd name="connsiteY214" fmla="*/ 1955 h 10000"/>
                <a:gd name="connsiteX215" fmla="*/ 2601 w 10000"/>
                <a:gd name="connsiteY215" fmla="*/ 2023 h 10000"/>
                <a:gd name="connsiteX216" fmla="*/ 2163 w 10000"/>
                <a:gd name="connsiteY216" fmla="*/ 2233 h 10000"/>
                <a:gd name="connsiteX217" fmla="*/ 1931 w 10000"/>
                <a:gd name="connsiteY217" fmla="*/ 2487 h 10000"/>
                <a:gd name="connsiteX218" fmla="*/ 1951 w 10000"/>
                <a:gd name="connsiteY218" fmla="*/ 2629 h 10000"/>
                <a:gd name="connsiteX219" fmla="*/ 2032 w 10000"/>
                <a:gd name="connsiteY219" fmla="*/ 2738 h 10000"/>
                <a:gd name="connsiteX220" fmla="*/ 2093 w 10000"/>
                <a:gd name="connsiteY220" fmla="*/ 2782 h 10000"/>
                <a:gd name="connsiteX221" fmla="*/ 1979 w 10000"/>
                <a:gd name="connsiteY221" fmla="*/ 2852 h 10000"/>
                <a:gd name="connsiteX222" fmla="*/ 1731 w 10000"/>
                <a:gd name="connsiteY222" fmla="*/ 3330 h 10000"/>
                <a:gd name="connsiteX223" fmla="*/ 1779 w 10000"/>
                <a:gd name="connsiteY223" fmla="*/ 3358 h 10000"/>
                <a:gd name="connsiteX224" fmla="*/ 1815 w 10000"/>
                <a:gd name="connsiteY224" fmla="*/ 3479 h 10000"/>
                <a:gd name="connsiteX225" fmla="*/ 1700 w 10000"/>
                <a:gd name="connsiteY225" fmla="*/ 3982 h 10000"/>
                <a:gd name="connsiteX226" fmla="*/ 1815 w 10000"/>
                <a:gd name="connsiteY226" fmla="*/ 4110 h 10000"/>
                <a:gd name="connsiteX227" fmla="*/ 2131 w 10000"/>
                <a:gd name="connsiteY227" fmla="*/ 4251 h 10000"/>
                <a:gd name="connsiteX228" fmla="*/ 2145 w 10000"/>
                <a:gd name="connsiteY228" fmla="*/ 4423 h 10000"/>
                <a:gd name="connsiteX229" fmla="*/ 2010 w 10000"/>
                <a:gd name="connsiteY229" fmla="*/ 4566 h 10000"/>
                <a:gd name="connsiteX230" fmla="*/ 1815 w 10000"/>
                <a:gd name="connsiteY230" fmla="*/ 4652 h 10000"/>
                <a:gd name="connsiteX231" fmla="*/ 1557 w 10000"/>
                <a:gd name="connsiteY231" fmla="*/ 4687 h 10000"/>
                <a:gd name="connsiteX232" fmla="*/ 1490 w 10000"/>
                <a:gd name="connsiteY232" fmla="*/ 4737 h 10000"/>
                <a:gd name="connsiteX233" fmla="*/ 1640 w 10000"/>
                <a:gd name="connsiteY233" fmla="*/ 4855 h 10000"/>
                <a:gd name="connsiteX234" fmla="*/ 1726 w 10000"/>
                <a:gd name="connsiteY234" fmla="*/ 5136 h 10000"/>
                <a:gd name="connsiteX235" fmla="*/ 1531 w 10000"/>
                <a:gd name="connsiteY235" fmla="*/ 5376 h 10000"/>
                <a:gd name="connsiteX236" fmla="*/ 1599 w 10000"/>
                <a:gd name="connsiteY236" fmla="*/ 5451 h 10000"/>
                <a:gd name="connsiteX237" fmla="*/ 1537 w 10000"/>
                <a:gd name="connsiteY237" fmla="*/ 5577 h 10000"/>
                <a:gd name="connsiteX238" fmla="*/ 1412 w 10000"/>
                <a:gd name="connsiteY238" fmla="*/ 5663 h 10000"/>
                <a:gd name="connsiteX239" fmla="*/ 915 w 10000"/>
                <a:gd name="connsiteY239" fmla="*/ 5730 h 10000"/>
                <a:gd name="connsiteX240" fmla="*/ 885 w 10000"/>
                <a:gd name="connsiteY240" fmla="*/ 5846 h 10000"/>
                <a:gd name="connsiteX241" fmla="*/ 617 w 10000"/>
                <a:gd name="connsiteY241" fmla="*/ 6019 h 10000"/>
                <a:gd name="connsiteX242" fmla="*/ 652 w 10000"/>
                <a:gd name="connsiteY242" fmla="*/ 6268 h 10000"/>
                <a:gd name="connsiteX243" fmla="*/ 427 w 10000"/>
                <a:gd name="connsiteY243" fmla="*/ 6587 h 10000"/>
                <a:gd name="connsiteX244" fmla="*/ 274 w 10000"/>
                <a:gd name="connsiteY244" fmla="*/ 6624 h 10000"/>
                <a:gd name="connsiteX245" fmla="*/ 210 w 10000"/>
                <a:gd name="connsiteY245" fmla="*/ 6548 h 10000"/>
                <a:gd name="connsiteX246" fmla="*/ 132 w 10000"/>
                <a:gd name="connsiteY246" fmla="*/ 6663 h 10000"/>
                <a:gd name="connsiteX247" fmla="*/ 183 w 10000"/>
                <a:gd name="connsiteY247" fmla="*/ 6465 h 10000"/>
                <a:gd name="connsiteX248" fmla="*/ 151 w 10000"/>
                <a:gd name="connsiteY248"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37 w 10000"/>
                <a:gd name="connsiteY162" fmla="*/ 3424 h 10000"/>
                <a:gd name="connsiteX163" fmla="*/ 6854 w 10000"/>
                <a:gd name="connsiteY163" fmla="*/ 3404 h 10000"/>
                <a:gd name="connsiteX164" fmla="*/ 6886 w 10000"/>
                <a:gd name="connsiteY164" fmla="*/ 3250 h 10000"/>
                <a:gd name="connsiteX165" fmla="*/ 6822 w 10000"/>
                <a:gd name="connsiteY165" fmla="*/ 3167 h 10000"/>
                <a:gd name="connsiteX166" fmla="*/ 6832 w 10000"/>
                <a:gd name="connsiteY166" fmla="*/ 3101 h 10000"/>
                <a:gd name="connsiteX167" fmla="*/ 6868 w 10000"/>
                <a:gd name="connsiteY167" fmla="*/ 3178 h 10000"/>
                <a:gd name="connsiteX168" fmla="*/ 7011 w 10000"/>
                <a:gd name="connsiteY168" fmla="*/ 3236 h 10000"/>
                <a:gd name="connsiteX169" fmla="*/ 7070 w 10000"/>
                <a:gd name="connsiteY169" fmla="*/ 3229 h 10000"/>
                <a:gd name="connsiteX170" fmla="*/ 7164 w 10000"/>
                <a:gd name="connsiteY170" fmla="*/ 3152 h 10000"/>
                <a:gd name="connsiteX171" fmla="*/ 7292 w 10000"/>
                <a:gd name="connsiteY171" fmla="*/ 3122 h 10000"/>
                <a:gd name="connsiteX172" fmla="*/ 7175 w 10000"/>
                <a:gd name="connsiteY172" fmla="*/ 3036 h 10000"/>
                <a:gd name="connsiteX173" fmla="*/ 7307 w 10000"/>
                <a:gd name="connsiteY173" fmla="*/ 3045 h 10000"/>
                <a:gd name="connsiteX174" fmla="*/ 7442 w 10000"/>
                <a:gd name="connsiteY174" fmla="*/ 2999 h 10000"/>
                <a:gd name="connsiteX175" fmla="*/ 7565 w 10000"/>
                <a:gd name="connsiteY175" fmla="*/ 2936 h 10000"/>
                <a:gd name="connsiteX176" fmla="*/ 7576 w 10000"/>
                <a:gd name="connsiteY176" fmla="*/ 2859 h 10000"/>
                <a:gd name="connsiteX177" fmla="*/ 7676 w 10000"/>
                <a:gd name="connsiteY177" fmla="*/ 2844 h 10000"/>
                <a:gd name="connsiteX178" fmla="*/ 7684 w 10000"/>
                <a:gd name="connsiteY178" fmla="*/ 2754 h 10000"/>
                <a:gd name="connsiteX179" fmla="*/ 7790 w 10000"/>
                <a:gd name="connsiteY179" fmla="*/ 2743 h 10000"/>
                <a:gd name="connsiteX180" fmla="*/ 7953 w 10000"/>
                <a:gd name="connsiteY180" fmla="*/ 2762 h 10000"/>
                <a:gd name="connsiteX181" fmla="*/ 8132 w 10000"/>
                <a:gd name="connsiteY181" fmla="*/ 2690 h 10000"/>
                <a:gd name="connsiteX182" fmla="*/ 8195 w 10000"/>
                <a:gd name="connsiteY182" fmla="*/ 2607 h 10000"/>
                <a:gd name="connsiteX183" fmla="*/ 8417 w 10000"/>
                <a:gd name="connsiteY183" fmla="*/ 2524 h 10000"/>
                <a:gd name="connsiteX184" fmla="*/ 8527 w 10000"/>
                <a:gd name="connsiteY184" fmla="*/ 2575 h 10000"/>
                <a:gd name="connsiteX185" fmla="*/ 8695 w 10000"/>
                <a:gd name="connsiteY185" fmla="*/ 2519 h 10000"/>
                <a:gd name="connsiteX186" fmla="*/ 8736 w 10000"/>
                <a:gd name="connsiteY186" fmla="*/ 2445 h 10000"/>
                <a:gd name="connsiteX187" fmla="*/ 8864 w 10000"/>
                <a:gd name="connsiteY187" fmla="*/ 2396 h 10000"/>
                <a:gd name="connsiteX188" fmla="*/ 8973 w 10000"/>
                <a:gd name="connsiteY188" fmla="*/ 2418 h 10000"/>
                <a:gd name="connsiteX189" fmla="*/ 9042 w 10000"/>
                <a:gd name="connsiteY189" fmla="*/ 2381 h 10000"/>
                <a:gd name="connsiteX190" fmla="*/ 9231 w 10000"/>
                <a:gd name="connsiteY190" fmla="*/ 2330 h 10000"/>
                <a:gd name="connsiteX191" fmla="*/ 9310 w 10000"/>
                <a:gd name="connsiteY191" fmla="*/ 2263 h 10000"/>
                <a:gd name="connsiteX192" fmla="*/ 9417 w 10000"/>
                <a:gd name="connsiteY192" fmla="*/ 2235 h 10000"/>
                <a:gd name="connsiteX193" fmla="*/ 10000 w 10000"/>
                <a:gd name="connsiteY193" fmla="*/ 1832 h 10000"/>
                <a:gd name="connsiteX194" fmla="*/ 9652 w 10000"/>
                <a:gd name="connsiteY194" fmla="*/ 1699 h 10000"/>
                <a:gd name="connsiteX195" fmla="*/ 9147 w 10000"/>
                <a:gd name="connsiteY195" fmla="*/ 1773 h 10000"/>
                <a:gd name="connsiteX196" fmla="*/ 8784 w 10000"/>
                <a:gd name="connsiteY196" fmla="*/ 1639 h 10000"/>
                <a:gd name="connsiteX197" fmla="*/ 8850 w 10000"/>
                <a:gd name="connsiteY197" fmla="*/ 1480 h 10000"/>
                <a:gd name="connsiteX198" fmla="*/ 7497 w 10000"/>
                <a:gd name="connsiteY198" fmla="*/ 923 h 10000"/>
                <a:gd name="connsiteX199" fmla="*/ 7522 w 10000"/>
                <a:gd name="connsiteY199" fmla="*/ 649 h 10000"/>
                <a:gd name="connsiteX200" fmla="*/ 7012 w 10000"/>
                <a:gd name="connsiteY200" fmla="*/ 590 h 10000"/>
                <a:gd name="connsiteX201" fmla="*/ 6413 w 10000"/>
                <a:gd name="connsiteY201" fmla="*/ 332 h 10000"/>
                <a:gd name="connsiteX202" fmla="*/ 5098 w 10000"/>
                <a:gd name="connsiteY202" fmla="*/ 0 h 10000"/>
                <a:gd name="connsiteX203" fmla="*/ 4837 w 10000"/>
                <a:gd name="connsiteY203" fmla="*/ 82 h 10000"/>
                <a:gd name="connsiteX204" fmla="*/ 4671 w 10000"/>
                <a:gd name="connsiteY204" fmla="*/ 78 h 10000"/>
                <a:gd name="connsiteX205" fmla="*/ 4571 w 10000"/>
                <a:gd name="connsiteY205" fmla="*/ 107 h 10000"/>
                <a:gd name="connsiteX206" fmla="*/ 4298 w 10000"/>
                <a:gd name="connsiteY206" fmla="*/ 913 h 10000"/>
                <a:gd name="connsiteX207" fmla="*/ 3668 w 10000"/>
                <a:gd name="connsiteY207" fmla="*/ 1383 h 10000"/>
                <a:gd name="connsiteX208" fmla="*/ 3672 w 10000"/>
                <a:gd name="connsiteY208" fmla="*/ 1457 h 10000"/>
                <a:gd name="connsiteX209" fmla="*/ 3952 w 10000"/>
                <a:gd name="connsiteY209" fmla="*/ 1668 h 10000"/>
                <a:gd name="connsiteX210" fmla="*/ 3861 w 10000"/>
                <a:gd name="connsiteY210" fmla="*/ 1896 h 10000"/>
                <a:gd name="connsiteX211" fmla="*/ 3698 w 10000"/>
                <a:gd name="connsiteY211" fmla="*/ 1979 h 10000"/>
                <a:gd name="connsiteX212" fmla="*/ 3208 w 10000"/>
                <a:gd name="connsiteY212" fmla="*/ 1924 h 10000"/>
                <a:gd name="connsiteX213" fmla="*/ 2871 w 10000"/>
                <a:gd name="connsiteY213" fmla="*/ 1955 h 10000"/>
                <a:gd name="connsiteX214" fmla="*/ 2601 w 10000"/>
                <a:gd name="connsiteY214" fmla="*/ 2023 h 10000"/>
                <a:gd name="connsiteX215" fmla="*/ 2163 w 10000"/>
                <a:gd name="connsiteY215" fmla="*/ 2233 h 10000"/>
                <a:gd name="connsiteX216" fmla="*/ 1931 w 10000"/>
                <a:gd name="connsiteY216" fmla="*/ 2487 h 10000"/>
                <a:gd name="connsiteX217" fmla="*/ 1951 w 10000"/>
                <a:gd name="connsiteY217" fmla="*/ 2629 h 10000"/>
                <a:gd name="connsiteX218" fmla="*/ 2032 w 10000"/>
                <a:gd name="connsiteY218" fmla="*/ 2738 h 10000"/>
                <a:gd name="connsiteX219" fmla="*/ 2093 w 10000"/>
                <a:gd name="connsiteY219" fmla="*/ 2782 h 10000"/>
                <a:gd name="connsiteX220" fmla="*/ 1979 w 10000"/>
                <a:gd name="connsiteY220" fmla="*/ 2852 h 10000"/>
                <a:gd name="connsiteX221" fmla="*/ 1731 w 10000"/>
                <a:gd name="connsiteY221" fmla="*/ 3330 h 10000"/>
                <a:gd name="connsiteX222" fmla="*/ 1779 w 10000"/>
                <a:gd name="connsiteY222" fmla="*/ 3358 h 10000"/>
                <a:gd name="connsiteX223" fmla="*/ 1815 w 10000"/>
                <a:gd name="connsiteY223" fmla="*/ 3479 h 10000"/>
                <a:gd name="connsiteX224" fmla="*/ 1700 w 10000"/>
                <a:gd name="connsiteY224" fmla="*/ 3982 h 10000"/>
                <a:gd name="connsiteX225" fmla="*/ 1815 w 10000"/>
                <a:gd name="connsiteY225" fmla="*/ 4110 h 10000"/>
                <a:gd name="connsiteX226" fmla="*/ 2131 w 10000"/>
                <a:gd name="connsiteY226" fmla="*/ 4251 h 10000"/>
                <a:gd name="connsiteX227" fmla="*/ 2145 w 10000"/>
                <a:gd name="connsiteY227" fmla="*/ 4423 h 10000"/>
                <a:gd name="connsiteX228" fmla="*/ 2010 w 10000"/>
                <a:gd name="connsiteY228" fmla="*/ 4566 h 10000"/>
                <a:gd name="connsiteX229" fmla="*/ 1815 w 10000"/>
                <a:gd name="connsiteY229" fmla="*/ 4652 h 10000"/>
                <a:gd name="connsiteX230" fmla="*/ 1557 w 10000"/>
                <a:gd name="connsiteY230" fmla="*/ 4687 h 10000"/>
                <a:gd name="connsiteX231" fmla="*/ 1490 w 10000"/>
                <a:gd name="connsiteY231" fmla="*/ 4737 h 10000"/>
                <a:gd name="connsiteX232" fmla="*/ 1640 w 10000"/>
                <a:gd name="connsiteY232" fmla="*/ 4855 h 10000"/>
                <a:gd name="connsiteX233" fmla="*/ 1726 w 10000"/>
                <a:gd name="connsiteY233" fmla="*/ 5136 h 10000"/>
                <a:gd name="connsiteX234" fmla="*/ 1531 w 10000"/>
                <a:gd name="connsiteY234" fmla="*/ 5376 h 10000"/>
                <a:gd name="connsiteX235" fmla="*/ 1599 w 10000"/>
                <a:gd name="connsiteY235" fmla="*/ 5451 h 10000"/>
                <a:gd name="connsiteX236" fmla="*/ 1537 w 10000"/>
                <a:gd name="connsiteY236" fmla="*/ 5577 h 10000"/>
                <a:gd name="connsiteX237" fmla="*/ 1412 w 10000"/>
                <a:gd name="connsiteY237" fmla="*/ 5663 h 10000"/>
                <a:gd name="connsiteX238" fmla="*/ 915 w 10000"/>
                <a:gd name="connsiteY238" fmla="*/ 5730 h 10000"/>
                <a:gd name="connsiteX239" fmla="*/ 885 w 10000"/>
                <a:gd name="connsiteY239" fmla="*/ 5846 h 10000"/>
                <a:gd name="connsiteX240" fmla="*/ 617 w 10000"/>
                <a:gd name="connsiteY240" fmla="*/ 6019 h 10000"/>
                <a:gd name="connsiteX241" fmla="*/ 652 w 10000"/>
                <a:gd name="connsiteY241" fmla="*/ 6268 h 10000"/>
                <a:gd name="connsiteX242" fmla="*/ 427 w 10000"/>
                <a:gd name="connsiteY242" fmla="*/ 6587 h 10000"/>
                <a:gd name="connsiteX243" fmla="*/ 274 w 10000"/>
                <a:gd name="connsiteY243" fmla="*/ 6624 h 10000"/>
                <a:gd name="connsiteX244" fmla="*/ 210 w 10000"/>
                <a:gd name="connsiteY244" fmla="*/ 6548 h 10000"/>
                <a:gd name="connsiteX245" fmla="*/ 132 w 10000"/>
                <a:gd name="connsiteY245" fmla="*/ 6663 h 10000"/>
                <a:gd name="connsiteX246" fmla="*/ 183 w 10000"/>
                <a:gd name="connsiteY246" fmla="*/ 6465 h 10000"/>
                <a:gd name="connsiteX247" fmla="*/ 151 w 10000"/>
                <a:gd name="connsiteY247"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37 w 10000"/>
                <a:gd name="connsiteY162" fmla="*/ 3424 h 10000"/>
                <a:gd name="connsiteX163" fmla="*/ 6854 w 10000"/>
                <a:gd name="connsiteY163" fmla="*/ 3404 h 10000"/>
                <a:gd name="connsiteX164" fmla="*/ 6886 w 10000"/>
                <a:gd name="connsiteY164" fmla="*/ 3250 h 10000"/>
                <a:gd name="connsiteX165" fmla="*/ 6822 w 10000"/>
                <a:gd name="connsiteY165" fmla="*/ 3167 h 10000"/>
                <a:gd name="connsiteX166" fmla="*/ 6832 w 10000"/>
                <a:gd name="connsiteY166" fmla="*/ 3101 h 10000"/>
                <a:gd name="connsiteX167" fmla="*/ 6868 w 10000"/>
                <a:gd name="connsiteY167" fmla="*/ 3178 h 10000"/>
                <a:gd name="connsiteX168" fmla="*/ 7011 w 10000"/>
                <a:gd name="connsiteY168" fmla="*/ 3236 h 10000"/>
                <a:gd name="connsiteX169" fmla="*/ 7070 w 10000"/>
                <a:gd name="connsiteY169" fmla="*/ 3229 h 10000"/>
                <a:gd name="connsiteX170" fmla="*/ 7164 w 10000"/>
                <a:gd name="connsiteY170" fmla="*/ 3152 h 10000"/>
                <a:gd name="connsiteX171" fmla="*/ 7292 w 10000"/>
                <a:gd name="connsiteY171" fmla="*/ 3122 h 10000"/>
                <a:gd name="connsiteX172" fmla="*/ 7175 w 10000"/>
                <a:gd name="connsiteY172" fmla="*/ 3036 h 10000"/>
                <a:gd name="connsiteX173" fmla="*/ 7307 w 10000"/>
                <a:gd name="connsiteY173" fmla="*/ 3045 h 10000"/>
                <a:gd name="connsiteX174" fmla="*/ 7442 w 10000"/>
                <a:gd name="connsiteY174" fmla="*/ 2999 h 10000"/>
                <a:gd name="connsiteX175" fmla="*/ 7565 w 10000"/>
                <a:gd name="connsiteY175" fmla="*/ 2936 h 10000"/>
                <a:gd name="connsiteX176" fmla="*/ 7676 w 10000"/>
                <a:gd name="connsiteY176" fmla="*/ 2844 h 10000"/>
                <a:gd name="connsiteX177" fmla="*/ 7684 w 10000"/>
                <a:gd name="connsiteY177" fmla="*/ 2754 h 10000"/>
                <a:gd name="connsiteX178" fmla="*/ 7790 w 10000"/>
                <a:gd name="connsiteY178" fmla="*/ 2743 h 10000"/>
                <a:gd name="connsiteX179" fmla="*/ 7953 w 10000"/>
                <a:gd name="connsiteY179" fmla="*/ 2762 h 10000"/>
                <a:gd name="connsiteX180" fmla="*/ 8132 w 10000"/>
                <a:gd name="connsiteY180" fmla="*/ 2690 h 10000"/>
                <a:gd name="connsiteX181" fmla="*/ 8195 w 10000"/>
                <a:gd name="connsiteY181" fmla="*/ 2607 h 10000"/>
                <a:gd name="connsiteX182" fmla="*/ 8417 w 10000"/>
                <a:gd name="connsiteY182" fmla="*/ 2524 h 10000"/>
                <a:gd name="connsiteX183" fmla="*/ 8527 w 10000"/>
                <a:gd name="connsiteY183" fmla="*/ 2575 h 10000"/>
                <a:gd name="connsiteX184" fmla="*/ 8695 w 10000"/>
                <a:gd name="connsiteY184" fmla="*/ 2519 h 10000"/>
                <a:gd name="connsiteX185" fmla="*/ 8736 w 10000"/>
                <a:gd name="connsiteY185" fmla="*/ 2445 h 10000"/>
                <a:gd name="connsiteX186" fmla="*/ 8864 w 10000"/>
                <a:gd name="connsiteY186" fmla="*/ 2396 h 10000"/>
                <a:gd name="connsiteX187" fmla="*/ 8973 w 10000"/>
                <a:gd name="connsiteY187" fmla="*/ 2418 h 10000"/>
                <a:gd name="connsiteX188" fmla="*/ 9042 w 10000"/>
                <a:gd name="connsiteY188" fmla="*/ 2381 h 10000"/>
                <a:gd name="connsiteX189" fmla="*/ 9231 w 10000"/>
                <a:gd name="connsiteY189" fmla="*/ 2330 h 10000"/>
                <a:gd name="connsiteX190" fmla="*/ 9310 w 10000"/>
                <a:gd name="connsiteY190" fmla="*/ 2263 h 10000"/>
                <a:gd name="connsiteX191" fmla="*/ 9417 w 10000"/>
                <a:gd name="connsiteY191" fmla="*/ 2235 h 10000"/>
                <a:gd name="connsiteX192" fmla="*/ 10000 w 10000"/>
                <a:gd name="connsiteY192" fmla="*/ 1832 h 10000"/>
                <a:gd name="connsiteX193" fmla="*/ 9652 w 10000"/>
                <a:gd name="connsiteY193" fmla="*/ 1699 h 10000"/>
                <a:gd name="connsiteX194" fmla="*/ 9147 w 10000"/>
                <a:gd name="connsiteY194" fmla="*/ 1773 h 10000"/>
                <a:gd name="connsiteX195" fmla="*/ 8784 w 10000"/>
                <a:gd name="connsiteY195" fmla="*/ 1639 h 10000"/>
                <a:gd name="connsiteX196" fmla="*/ 8850 w 10000"/>
                <a:gd name="connsiteY196" fmla="*/ 1480 h 10000"/>
                <a:gd name="connsiteX197" fmla="*/ 7497 w 10000"/>
                <a:gd name="connsiteY197" fmla="*/ 923 h 10000"/>
                <a:gd name="connsiteX198" fmla="*/ 7522 w 10000"/>
                <a:gd name="connsiteY198" fmla="*/ 649 h 10000"/>
                <a:gd name="connsiteX199" fmla="*/ 7012 w 10000"/>
                <a:gd name="connsiteY199" fmla="*/ 590 h 10000"/>
                <a:gd name="connsiteX200" fmla="*/ 6413 w 10000"/>
                <a:gd name="connsiteY200" fmla="*/ 332 h 10000"/>
                <a:gd name="connsiteX201" fmla="*/ 5098 w 10000"/>
                <a:gd name="connsiteY201" fmla="*/ 0 h 10000"/>
                <a:gd name="connsiteX202" fmla="*/ 4837 w 10000"/>
                <a:gd name="connsiteY202" fmla="*/ 82 h 10000"/>
                <a:gd name="connsiteX203" fmla="*/ 4671 w 10000"/>
                <a:gd name="connsiteY203" fmla="*/ 78 h 10000"/>
                <a:gd name="connsiteX204" fmla="*/ 4571 w 10000"/>
                <a:gd name="connsiteY204" fmla="*/ 107 h 10000"/>
                <a:gd name="connsiteX205" fmla="*/ 4298 w 10000"/>
                <a:gd name="connsiteY205" fmla="*/ 913 h 10000"/>
                <a:gd name="connsiteX206" fmla="*/ 3668 w 10000"/>
                <a:gd name="connsiteY206" fmla="*/ 1383 h 10000"/>
                <a:gd name="connsiteX207" fmla="*/ 3672 w 10000"/>
                <a:gd name="connsiteY207" fmla="*/ 1457 h 10000"/>
                <a:gd name="connsiteX208" fmla="*/ 3952 w 10000"/>
                <a:gd name="connsiteY208" fmla="*/ 1668 h 10000"/>
                <a:gd name="connsiteX209" fmla="*/ 3861 w 10000"/>
                <a:gd name="connsiteY209" fmla="*/ 1896 h 10000"/>
                <a:gd name="connsiteX210" fmla="*/ 3698 w 10000"/>
                <a:gd name="connsiteY210" fmla="*/ 1979 h 10000"/>
                <a:gd name="connsiteX211" fmla="*/ 3208 w 10000"/>
                <a:gd name="connsiteY211" fmla="*/ 1924 h 10000"/>
                <a:gd name="connsiteX212" fmla="*/ 2871 w 10000"/>
                <a:gd name="connsiteY212" fmla="*/ 1955 h 10000"/>
                <a:gd name="connsiteX213" fmla="*/ 2601 w 10000"/>
                <a:gd name="connsiteY213" fmla="*/ 2023 h 10000"/>
                <a:gd name="connsiteX214" fmla="*/ 2163 w 10000"/>
                <a:gd name="connsiteY214" fmla="*/ 2233 h 10000"/>
                <a:gd name="connsiteX215" fmla="*/ 1931 w 10000"/>
                <a:gd name="connsiteY215" fmla="*/ 2487 h 10000"/>
                <a:gd name="connsiteX216" fmla="*/ 1951 w 10000"/>
                <a:gd name="connsiteY216" fmla="*/ 2629 h 10000"/>
                <a:gd name="connsiteX217" fmla="*/ 2032 w 10000"/>
                <a:gd name="connsiteY217" fmla="*/ 2738 h 10000"/>
                <a:gd name="connsiteX218" fmla="*/ 2093 w 10000"/>
                <a:gd name="connsiteY218" fmla="*/ 2782 h 10000"/>
                <a:gd name="connsiteX219" fmla="*/ 1979 w 10000"/>
                <a:gd name="connsiteY219" fmla="*/ 2852 h 10000"/>
                <a:gd name="connsiteX220" fmla="*/ 1731 w 10000"/>
                <a:gd name="connsiteY220" fmla="*/ 3330 h 10000"/>
                <a:gd name="connsiteX221" fmla="*/ 1779 w 10000"/>
                <a:gd name="connsiteY221" fmla="*/ 3358 h 10000"/>
                <a:gd name="connsiteX222" fmla="*/ 1815 w 10000"/>
                <a:gd name="connsiteY222" fmla="*/ 3479 h 10000"/>
                <a:gd name="connsiteX223" fmla="*/ 1700 w 10000"/>
                <a:gd name="connsiteY223" fmla="*/ 3982 h 10000"/>
                <a:gd name="connsiteX224" fmla="*/ 1815 w 10000"/>
                <a:gd name="connsiteY224" fmla="*/ 4110 h 10000"/>
                <a:gd name="connsiteX225" fmla="*/ 2131 w 10000"/>
                <a:gd name="connsiteY225" fmla="*/ 4251 h 10000"/>
                <a:gd name="connsiteX226" fmla="*/ 2145 w 10000"/>
                <a:gd name="connsiteY226" fmla="*/ 4423 h 10000"/>
                <a:gd name="connsiteX227" fmla="*/ 2010 w 10000"/>
                <a:gd name="connsiteY227" fmla="*/ 4566 h 10000"/>
                <a:gd name="connsiteX228" fmla="*/ 1815 w 10000"/>
                <a:gd name="connsiteY228" fmla="*/ 4652 h 10000"/>
                <a:gd name="connsiteX229" fmla="*/ 1557 w 10000"/>
                <a:gd name="connsiteY229" fmla="*/ 4687 h 10000"/>
                <a:gd name="connsiteX230" fmla="*/ 1490 w 10000"/>
                <a:gd name="connsiteY230" fmla="*/ 4737 h 10000"/>
                <a:gd name="connsiteX231" fmla="*/ 1640 w 10000"/>
                <a:gd name="connsiteY231" fmla="*/ 4855 h 10000"/>
                <a:gd name="connsiteX232" fmla="*/ 1726 w 10000"/>
                <a:gd name="connsiteY232" fmla="*/ 5136 h 10000"/>
                <a:gd name="connsiteX233" fmla="*/ 1531 w 10000"/>
                <a:gd name="connsiteY233" fmla="*/ 5376 h 10000"/>
                <a:gd name="connsiteX234" fmla="*/ 1599 w 10000"/>
                <a:gd name="connsiteY234" fmla="*/ 5451 h 10000"/>
                <a:gd name="connsiteX235" fmla="*/ 1537 w 10000"/>
                <a:gd name="connsiteY235" fmla="*/ 5577 h 10000"/>
                <a:gd name="connsiteX236" fmla="*/ 1412 w 10000"/>
                <a:gd name="connsiteY236" fmla="*/ 5663 h 10000"/>
                <a:gd name="connsiteX237" fmla="*/ 915 w 10000"/>
                <a:gd name="connsiteY237" fmla="*/ 5730 h 10000"/>
                <a:gd name="connsiteX238" fmla="*/ 885 w 10000"/>
                <a:gd name="connsiteY238" fmla="*/ 5846 h 10000"/>
                <a:gd name="connsiteX239" fmla="*/ 617 w 10000"/>
                <a:gd name="connsiteY239" fmla="*/ 6019 h 10000"/>
                <a:gd name="connsiteX240" fmla="*/ 652 w 10000"/>
                <a:gd name="connsiteY240" fmla="*/ 6268 h 10000"/>
                <a:gd name="connsiteX241" fmla="*/ 427 w 10000"/>
                <a:gd name="connsiteY241" fmla="*/ 6587 h 10000"/>
                <a:gd name="connsiteX242" fmla="*/ 274 w 10000"/>
                <a:gd name="connsiteY242" fmla="*/ 6624 h 10000"/>
                <a:gd name="connsiteX243" fmla="*/ 210 w 10000"/>
                <a:gd name="connsiteY243" fmla="*/ 6548 h 10000"/>
                <a:gd name="connsiteX244" fmla="*/ 132 w 10000"/>
                <a:gd name="connsiteY244" fmla="*/ 6663 h 10000"/>
                <a:gd name="connsiteX245" fmla="*/ 183 w 10000"/>
                <a:gd name="connsiteY245" fmla="*/ 6465 h 10000"/>
                <a:gd name="connsiteX246" fmla="*/ 151 w 10000"/>
                <a:gd name="connsiteY246"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37 w 10000"/>
                <a:gd name="connsiteY162" fmla="*/ 3424 h 10000"/>
                <a:gd name="connsiteX163" fmla="*/ 6854 w 10000"/>
                <a:gd name="connsiteY163" fmla="*/ 3404 h 10000"/>
                <a:gd name="connsiteX164" fmla="*/ 6886 w 10000"/>
                <a:gd name="connsiteY164" fmla="*/ 3250 h 10000"/>
                <a:gd name="connsiteX165" fmla="*/ 6822 w 10000"/>
                <a:gd name="connsiteY165" fmla="*/ 3167 h 10000"/>
                <a:gd name="connsiteX166" fmla="*/ 6832 w 10000"/>
                <a:gd name="connsiteY166" fmla="*/ 3101 h 10000"/>
                <a:gd name="connsiteX167" fmla="*/ 6868 w 10000"/>
                <a:gd name="connsiteY167" fmla="*/ 3178 h 10000"/>
                <a:gd name="connsiteX168" fmla="*/ 7011 w 10000"/>
                <a:gd name="connsiteY168" fmla="*/ 3236 h 10000"/>
                <a:gd name="connsiteX169" fmla="*/ 7070 w 10000"/>
                <a:gd name="connsiteY169" fmla="*/ 3229 h 10000"/>
                <a:gd name="connsiteX170" fmla="*/ 7164 w 10000"/>
                <a:gd name="connsiteY170" fmla="*/ 3152 h 10000"/>
                <a:gd name="connsiteX171" fmla="*/ 7292 w 10000"/>
                <a:gd name="connsiteY171" fmla="*/ 3122 h 10000"/>
                <a:gd name="connsiteX172" fmla="*/ 7175 w 10000"/>
                <a:gd name="connsiteY172" fmla="*/ 3036 h 10000"/>
                <a:gd name="connsiteX173" fmla="*/ 7307 w 10000"/>
                <a:gd name="connsiteY173" fmla="*/ 3045 h 10000"/>
                <a:gd name="connsiteX174" fmla="*/ 7442 w 10000"/>
                <a:gd name="connsiteY174" fmla="*/ 2999 h 10000"/>
                <a:gd name="connsiteX175" fmla="*/ 7565 w 10000"/>
                <a:gd name="connsiteY175" fmla="*/ 2936 h 10000"/>
                <a:gd name="connsiteX176" fmla="*/ 7684 w 10000"/>
                <a:gd name="connsiteY176" fmla="*/ 2754 h 10000"/>
                <a:gd name="connsiteX177" fmla="*/ 7790 w 10000"/>
                <a:gd name="connsiteY177" fmla="*/ 2743 h 10000"/>
                <a:gd name="connsiteX178" fmla="*/ 7953 w 10000"/>
                <a:gd name="connsiteY178" fmla="*/ 2762 h 10000"/>
                <a:gd name="connsiteX179" fmla="*/ 8132 w 10000"/>
                <a:gd name="connsiteY179" fmla="*/ 2690 h 10000"/>
                <a:gd name="connsiteX180" fmla="*/ 8195 w 10000"/>
                <a:gd name="connsiteY180" fmla="*/ 2607 h 10000"/>
                <a:gd name="connsiteX181" fmla="*/ 8417 w 10000"/>
                <a:gd name="connsiteY181" fmla="*/ 2524 h 10000"/>
                <a:gd name="connsiteX182" fmla="*/ 8527 w 10000"/>
                <a:gd name="connsiteY182" fmla="*/ 2575 h 10000"/>
                <a:gd name="connsiteX183" fmla="*/ 8695 w 10000"/>
                <a:gd name="connsiteY183" fmla="*/ 2519 h 10000"/>
                <a:gd name="connsiteX184" fmla="*/ 8736 w 10000"/>
                <a:gd name="connsiteY184" fmla="*/ 2445 h 10000"/>
                <a:gd name="connsiteX185" fmla="*/ 8864 w 10000"/>
                <a:gd name="connsiteY185" fmla="*/ 2396 h 10000"/>
                <a:gd name="connsiteX186" fmla="*/ 8973 w 10000"/>
                <a:gd name="connsiteY186" fmla="*/ 2418 h 10000"/>
                <a:gd name="connsiteX187" fmla="*/ 9042 w 10000"/>
                <a:gd name="connsiteY187" fmla="*/ 2381 h 10000"/>
                <a:gd name="connsiteX188" fmla="*/ 9231 w 10000"/>
                <a:gd name="connsiteY188" fmla="*/ 2330 h 10000"/>
                <a:gd name="connsiteX189" fmla="*/ 9310 w 10000"/>
                <a:gd name="connsiteY189" fmla="*/ 2263 h 10000"/>
                <a:gd name="connsiteX190" fmla="*/ 9417 w 10000"/>
                <a:gd name="connsiteY190" fmla="*/ 2235 h 10000"/>
                <a:gd name="connsiteX191" fmla="*/ 10000 w 10000"/>
                <a:gd name="connsiteY191" fmla="*/ 1832 h 10000"/>
                <a:gd name="connsiteX192" fmla="*/ 9652 w 10000"/>
                <a:gd name="connsiteY192" fmla="*/ 1699 h 10000"/>
                <a:gd name="connsiteX193" fmla="*/ 9147 w 10000"/>
                <a:gd name="connsiteY193" fmla="*/ 1773 h 10000"/>
                <a:gd name="connsiteX194" fmla="*/ 8784 w 10000"/>
                <a:gd name="connsiteY194" fmla="*/ 1639 h 10000"/>
                <a:gd name="connsiteX195" fmla="*/ 8850 w 10000"/>
                <a:gd name="connsiteY195" fmla="*/ 1480 h 10000"/>
                <a:gd name="connsiteX196" fmla="*/ 7497 w 10000"/>
                <a:gd name="connsiteY196" fmla="*/ 923 h 10000"/>
                <a:gd name="connsiteX197" fmla="*/ 7522 w 10000"/>
                <a:gd name="connsiteY197" fmla="*/ 649 h 10000"/>
                <a:gd name="connsiteX198" fmla="*/ 7012 w 10000"/>
                <a:gd name="connsiteY198" fmla="*/ 590 h 10000"/>
                <a:gd name="connsiteX199" fmla="*/ 6413 w 10000"/>
                <a:gd name="connsiteY199" fmla="*/ 332 h 10000"/>
                <a:gd name="connsiteX200" fmla="*/ 5098 w 10000"/>
                <a:gd name="connsiteY200" fmla="*/ 0 h 10000"/>
                <a:gd name="connsiteX201" fmla="*/ 4837 w 10000"/>
                <a:gd name="connsiteY201" fmla="*/ 82 h 10000"/>
                <a:gd name="connsiteX202" fmla="*/ 4671 w 10000"/>
                <a:gd name="connsiteY202" fmla="*/ 78 h 10000"/>
                <a:gd name="connsiteX203" fmla="*/ 4571 w 10000"/>
                <a:gd name="connsiteY203" fmla="*/ 107 h 10000"/>
                <a:gd name="connsiteX204" fmla="*/ 4298 w 10000"/>
                <a:gd name="connsiteY204" fmla="*/ 913 h 10000"/>
                <a:gd name="connsiteX205" fmla="*/ 3668 w 10000"/>
                <a:gd name="connsiteY205" fmla="*/ 1383 h 10000"/>
                <a:gd name="connsiteX206" fmla="*/ 3672 w 10000"/>
                <a:gd name="connsiteY206" fmla="*/ 1457 h 10000"/>
                <a:gd name="connsiteX207" fmla="*/ 3952 w 10000"/>
                <a:gd name="connsiteY207" fmla="*/ 1668 h 10000"/>
                <a:gd name="connsiteX208" fmla="*/ 3861 w 10000"/>
                <a:gd name="connsiteY208" fmla="*/ 1896 h 10000"/>
                <a:gd name="connsiteX209" fmla="*/ 3698 w 10000"/>
                <a:gd name="connsiteY209" fmla="*/ 1979 h 10000"/>
                <a:gd name="connsiteX210" fmla="*/ 3208 w 10000"/>
                <a:gd name="connsiteY210" fmla="*/ 1924 h 10000"/>
                <a:gd name="connsiteX211" fmla="*/ 2871 w 10000"/>
                <a:gd name="connsiteY211" fmla="*/ 1955 h 10000"/>
                <a:gd name="connsiteX212" fmla="*/ 2601 w 10000"/>
                <a:gd name="connsiteY212" fmla="*/ 2023 h 10000"/>
                <a:gd name="connsiteX213" fmla="*/ 2163 w 10000"/>
                <a:gd name="connsiteY213" fmla="*/ 2233 h 10000"/>
                <a:gd name="connsiteX214" fmla="*/ 1931 w 10000"/>
                <a:gd name="connsiteY214" fmla="*/ 2487 h 10000"/>
                <a:gd name="connsiteX215" fmla="*/ 1951 w 10000"/>
                <a:gd name="connsiteY215" fmla="*/ 2629 h 10000"/>
                <a:gd name="connsiteX216" fmla="*/ 2032 w 10000"/>
                <a:gd name="connsiteY216" fmla="*/ 2738 h 10000"/>
                <a:gd name="connsiteX217" fmla="*/ 2093 w 10000"/>
                <a:gd name="connsiteY217" fmla="*/ 2782 h 10000"/>
                <a:gd name="connsiteX218" fmla="*/ 1979 w 10000"/>
                <a:gd name="connsiteY218" fmla="*/ 2852 h 10000"/>
                <a:gd name="connsiteX219" fmla="*/ 1731 w 10000"/>
                <a:gd name="connsiteY219" fmla="*/ 3330 h 10000"/>
                <a:gd name="connsiteX220" fmla="*/ 1779 w 10000"/>
                <a:gd name="connsiteY220" fmla="*/ 3358 h 10000"/>
                <a:gd name="connsiteX221" fmla="*/ 1815 w 10000"/>
                <a:gd name="connsiteY221" fmla="*/ 3479 h 10000"/>
                <a:gd name="connsiteX222" fmla="*/ 1700 w 10000"/>
                <a:gd name="connsiteY222" fmla="*/ 3982 h 10000"/>
                <a:gd name="connsiteX223" fmla="*/ 1815 w 10000"/>
                <a:gd name="connsiteY223" fmla="*/ 4110 h 10000"/>
                <a:gd name="connsiteX224" fmla="*/ 2131 w 10000"/>
                <a:gd name="connsiteY224" fmla="*/ 4251 h 10000"/>
                <a:gd name="connsiteX225" fmla="*/ 2145 w 10000"/>
                <a:gd name="connsiteY225" fmla="*/ 4423 h 10000"/>
                <a:gd name="connsiteX226" fmla="*/ 2010 w 10000"/>
                <a:gd name="connsiteY226" fmla="*/ 4566 h 10000"/>
                <a:gd name="connsiteX227" fmla="*/ 1815 w 10000"/>
                <a:gd name="connsiteY227" fmla="*/ 4652 h 10000"/>
                <a:gd name="connsiteX228" fmla="*/ 1557 w 10000"/>
                <a:gd name="connsiteY228" fmla="*/ 4687 h 10000"/>
                <a:gd name="connsiteX229" fmla="*/ 1490 w 10000"/>
                <a:gd name="connsiteY229" fmla="*/ 4737 h 10000"/>
                <a:gd name="connsiteX230" fmla="*/ 1640 w 10000"/>
                <a:gd name="connsiteY230" fmla="*/ 4855 h 10000"/>
                <a:gd name="connsiteX231" fmla="*/ 1726 w 10000"/>
                <a:gd name="connsiteY231" fmla="*/ 5136 h 10000"/>
                <a:gd name="connsiteX232" fmla="*/ 1531 w 10000"/>
                <a:gd name="connsiteY232" fmla="*/ 5376 h 10000"/>
                <a:gd name="connsiteX233" fmla="*/ 1599 w 10000"/>
                <a:gd name="connsiteY233" fmla="*/ 5451 h 10000"/>
                <a:gd name="connsiteX234" fmla="*/ 1537 w 10000"/>
                <a:gd name="connsiteY234" fmla="*/ 5577 h 10000"/>
                <a:gd name="connsiteX235" fmla="*/ 1412 w 10000"/>
                <a:gd name="connsiteY235" fmla="*/ 5663 h 10000"/>
                <a:gd name="connsiteX236" fmla="*/ 915 w 10000"/>
                <a:gd name="connsiteY236" fmla="*/ 5730 h 10000"/>
                <a:gd name="connsiteX237" fmla="*/ 885 w 10000"/>
                <a:gd name="connsiteY237" fmla="*/ 5846 h 10000"/>
                <a:gd name="connsiteX238" fmla="*/ 617 w 10000"/>
                <a:gd name="connsiteY238" fmla="*/ 6019 h 10000"/>
                <a:gd name="connsiteX239" fmla="*/ 652 w 10000"/>
                <a:gd name="connsiteY239" fmla="*/ 6268 h 10000"/>
                <a:gd name="connsiteX240" fmla="*/ 427 w 10000"/>
                <a:gd name="connsiteY240" fmla="*/ 6587 h 10000"/>
                <a:gd name="connsiteX241" fmla="*/ 274 w 10000"/>
                <a:gd name="connsiteY241" fmla="*/ 6624 h 10000"/>
                <a:gd name="connsiteX242" fmla="*/ 210 w 10000"/>
                <a:gd name="connsiteY242" fmla="*/ 6548 h 10000"/>
                <a:gd name="connsiteX243" fmla="*/ 132 w 10000"/>
                <a:gd name="connsiteY243" fmla="*/ 6663 h 10000"/>
                <a:gd name="connsiteX244" fmla="*/ 183 w 10000"/>
                <a:gd name="connsiteY244" fmla="*/ 6465 h 10000"/>
                <a:gd name="connsiteX245" fmla="*/ 151 w 10000"/>
                <a:gd name="connsiteY245"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37 w 10000"/>
                <a:gd name="connsiteY162" fmla="*/ 3424 h 10000"/>
                <a:gd name="connsiteX163" fmla="*/ 6854 w 10000"/>
                <a:gd name="connsiteY163" fmla="*/ 3404 h 10000"/>
                <a:gd name="connsiteX164" fmla="*/ 6886 w 10000"/>
                <a:gd name="connsiteY164" fmla="*/ 3250 h 10000"/>
                <a:gd name="connsiteX165" fmla="*/ 6822 w 10000"/>
                <a:gd name="connsiteY165" fmla="*/ 3167 h 10000"/>
                <a:gd name="connsiteX166" fmla="*/ 6832 w 10000"/>
                <a:gd name="connsiteY166" fmla="*/ 3101 h 10000"/>
                <a:gd name="connsiteX167" fmla="*/ 6868 w 10000"/>
                <a:gd name="connsiteY167" fmla="*/ 3178 h 10000"/>
                <a:gd name="connsiteX168" fmla="*/ 7011 w 10000"/>
                <a:gd name="connsiteY168" fmla="*/ 3236 h 10000"/>
                <a:gd name="connsiteX169" fmla="*/ 7070 w 10000"/>
                <a:gd name="connsiteY169" fmla="*/ 3229 h 10000"/>
                <a:gd name="connsiteX170" fmla="*/ 7164 w 10000"/>
                <a:gd name="connsiteY170" fmla="*/ 3152 h 10000"/>
                <a:gd name="connsiteX171" fmla="*/ 7292 w 10000"/>
                <a:gd name="connsiteY171" fmla="*/ 3122 h 10000"/>
                <a:gd name="connsiteX172" fmla="*/ 7175 w 10000"/>
                <a:gd name="connsiteY172" fmla="*/ 3036 h 10000"/>
                <a:gd name="connsiteX173" fmla="*/ 7307 w 10000"/>
                <a:gd name="connsiteY173" fmla="*/ 3045 h 10000"/>
                <a:gd name="connsiteX174" fmla="*/ 7442 w 10000"/>
                <a:gd name="connsiteY174" fmla="*/ 2999 h 10000"/>
                <a:gd name="connsiteX175" fmla="*/ 7565 w 10000"/>
                <a:gd name="connsiteY175" fmla="*/ 2936 h 10000"/>
                <a:gd name="connsiteX176" fmla="*/ 7684 w 10000"/>
                <a:gd name="connsiteY176" fmla="*/ 2754 h 10000"/>
                <a:gd name="connsiteX177" fmla="*/ 7790 w 10000"/>
                <a:gd name="connsiteY177" fmla="*/ 2743 h 10000"/>
                <a:gd name="connsiteX178" fmla="*/ 8132 w 10000"/>
                <a:gd name="connsiteY178" fmla="*/ 2690 h 10000"/>
                <a:gd name="connsiteX179" fmla="*/ 8195 w 10000"/>
                <a:gd name="connsiteY179" fmla="*/ 2607 h 10000"/>
                <a:gd name="connsiteX180" fmla="*/ 8417 w 10000"/>
                <a:gd name="connsiteY180" fmla="*/ 2524 h 10000"/>
                <a:gd name="connsiteX181" fmla="*/ 8527 w 10000"/>
                <a:gd name="connsiteY181" fmla="*/ 2575 h 10000"/>
                <a:gd name="connsiteX182" fmla="*/ 8695 w 10000"/>
                <a:gd name="connsiteY182" fmla="*/ 2519 h 10000"/>
                <a:gd name="connsiteX183" fmla="*/ 8736 w 10000"/>
                <a:gd name="connsiteY183" fmla="*/ 2445 h 10000"/>
                <a:gd name="connsiteX184" fmla="*/ 8864 w 10000"/>
                <a:gd name="connsiteY184" fmla="*/ 2396 h 10000"/>
                <a:gd name="connsiteX185" fmla="*/ 8973 w 10000"/>
                <a:gd name="connsiteY185" fmla="*/ 2418 h 10000"/>
                <a:gd name="connsiteX186" fmla="*/ 9042 w 10000"/>
                <a:gd name="connsiteY186" fmla="*/ 2381 h 10000"/>
                <a:gd name="connsiteX187" fmla="*/ 9231 w 10000"/>
                <a:gd name="connsiteY187" fmla="*/ 2330 h 10000"/>
                <a:gd name="connsiteX188" fmla="*/ 9310 w 10000"/>
                <a:gd name="connsiteY188" fmla="*/ 2263 h 10000"/>
                <a:gd name="connsiteX189" fmla="*/ 9417 w 10000"/>
                <a:gd name="connsiteY189" fmla="*/ 2235 h 10000"/>
                <a:gd name="connsiteX190" fmla="*/ 10000 w 10000"/>
                <a:gd name="connsiteY190" fmla="*/ 1832 h 10000"/>
                <a:gd name="connsiteX191" fmla="*/ 9652 w 10000"/>
                <a:gd name="connsiteY191" fmla="*/ 1699 h 10000"/>
                <a:gd name="connsiteX192" fmla="*/ 9147 w 10000"/>
                <a:gd name="connsiteY192" fmla="*/ 1773 h 10000"/>
                <a:gd name="connsiteX193" fmla="*/ 8784 w 10000"/>
                <a:gd name="connsiteY193" fmla="*/ 1639 h 10000"/>
                <a:gd name="connsiteX194" fmla="*/ 8850 w 10000"/>
                <a:gd name="connsiteY194" fmla="*/ 1480 h 10000"/>
                <a:gd name="connsiteX195" fmla="*/ 7497 w 10000"/>
                <a:gd name="connsiteY195" fmla="*/ 923 h 10000"/>
                <a:gd name="connsiteX196" fmla="*/ 7522 w 10000"/>
                <a:gd name="connsiteY196" fmla="*/ 649 h 10000"/>
                <a:gd name="connsiteX197" fmla="*/ 7012 w 10000"/>
                <a:gd name="connsiteY197" fmla="*/ 590 h 10000"/>
                <a:gd name="connsiteX198" fmla="*/ 6413 w 10000"/>
                <a:gd name="connsiteY198" fmla="*/ 332 h 10000"/>
                <a:gd name="connsiteX199" fmla="*/ 5098 w 10000"/>
                <a:gd name="connsiteY199" fmla="*/ 0 h 10000"/>
                <a:gd name="connsiteX200" fmla="*/ 4837 w 10000"/>
                <a:gd name="connsiteY200" fmla="*/ 82 h 10000"/>
                <a:gd name="connsiteX201" fmla="*/ 4671 w 10000"/>
                <a:gd name="connsiteY201" fmla="*/ 78 h 10000"/>
                <a:gd name="connsiteX202" fmla="*/ 4571 w 10000"/>
                <a:gd name="connsiteY202" fmla="*/ 107 h 10000"/>
                <a:gd name="connsiteX203" fmla="*/ 4298 w 10000"/>
                <a:gd name="connsiteY203" fmla="*/ 913 h 10000"/>
                <a:gd name="connsiteX204" fmla="*/ 3668 w 10000"/>
                <a:gd name="connsiteY204" fmla="*/ 1383 h 10000"/>
                <a:gd name="connsiteX205" fmla="*/ 3672 w 10000"/>
                <a:gd name="connsiteY205" fmla="*/ 1457 h 10000"/>
                <a:gd name="connsiteX206" fmla="*/ 3952 w 10000"/>
                <a:gd name="connsiteY206" fmla="*/ 1668 h 10000"/>
                <a:gd name="connsiteX207" fmla="*/ 3861 w 10000"/>
                <a:gd name="connsiteY207" fmla="*/ 1896 h 10000"/>
                <a:gd name="connsiteX208" fmla="*/ 3698 w 10000"/>
                <a:gd name="connsiteY208" fmla="*/ 1979 h 10000"/>
                <a:gd name="connsiteX209" fmla="*/ 3208 w 10000"/>
                <a:gd name="connsiteY209" fmla="*/ 1924 h 10000"/>
                <a:gd name="connsiteX210" fmla="*/ 2871 w 10000"/>
                <a:gd name="connsiteY210" fmla="*/ 1955 h 10000"/>
                <a:gd name="connsiteX211" fmla="*/ 2601 w 10000"/>
                <a:gd name="connsiteY211" fmla="*/ 2023 h 10000"/>
                <a:gd name="connsiteX212" fmla="*/ 2163 w 10000"/>
                <a:gd name="connsiteY212" fmla="*/ 2233 h 10000"/>
                <a:gd name="connsiteX213" fmla="*/ 1931 w 10000"/>
                <a:gd name="connsiteY213" fmla="*/ 2487 h 10000"/>
                <a:gd name="connsiteX214" fmla="*/ 1951 w 10000"/>
                <a:gd name="connsiteY214" fmla="*/ 2629 h 10000"/>
                <a:gd name="connsiteX215" fmla="*/ 2032 w 10000"/>
                <a:gd name="connsiteY215" fmla="*/ 2738 h 10000"/>
                <a:gd name="connsiteX216" fmla="*/ 2093 w 10000"/>
                <a:gd name="connsiteY216" fmla="*/ 2782 h 10000"/>
                <a:gd name="connsiteX217" fmla="*/ 1979 w 10000"/>
                <a:gd name="connsiteY217" fmla="*/ 2852 h 10000"/>
                <a:gd name="connsiteX218" fmla="*/ 1731 w 10000"/>
                <a:gd name="connsiteY218" fmla="*/ 3330 h 10000"/>
                <a:gd name="connsiteX219" fmla="*/ 1779 w 10000"/>
                <a:gd name="connsiteY219" fmla="*/ 3358 h 10000"/>
                <a:gd name="connsiteX220" fmla="*/ 1815 w 10000"/>
                <a:gd name="connsiteY220" fmla="*/ 3479 h 10000"/>
                <a:gd name="connsiteX221" fmla="*/ 1700 w 10000"/>
                <a:gd name="connsiteY221" fmla="*/ 3982 h 10000"/>
                <a:gd name="connsiteX222" fmla="*/ 1815 w 10000"/>
                <a:gd name="connsiteY222" fmla="*/ 4110 h 10000"/>
                <a:gd name="connsiteX223" fmla="*/ 2131 w 10000"/>
                <a:gd name="connsiteY223" fmla="*/ 4251 h 10000"/>
                <a:gd name="connsiteX224" fmla="*/ 2145 w 10000"/>
                <a:gd name="connsiteY224" fmla="*/ 4423 h 10000"/>
                <a:gd name="connsiteX225" fmla="*/ 2010 w 10000"/>
                <a:gd name="connsiteY225" fmla="*/ 4566 h 10000"/>
                <a:gd name="connsiteX226" fmla="*/ 1815 w 10000"/>
                <a:gd name="connsiteY226" fmla="*/ 4652 h 10000"/>
                <a:gd name="connsiteX227" fmla="*/ 1557 w 10000"/>
                <a:gd name="connsiteY227" fmla="*/ 4687 h 10000"/>
                <a:gd name="connsiteX228" fmla="*/ 1490 w 10000"/>
                <a:gd name="connsiteY228" fmla="*/ 4737 h 10000"/>
                <a:gd name="connsiteX229" fmla="*/ 1640 w 10000"/>
                <a:gd name="connsiteY229" fmla="*/ 4855 h 10000"/>
                <a:gd name="connsiteX230" fmla="*/ 1726 w 10000"/>
                <a:gd name="connsiteY230" fmla="*/ 5136 h 10000"/>
                <a:gd name="connsiteX231" fmla="*/ 1531 w 10000"/>
                <a:gd name="connsiteY231" fmla="*/ 5376 h 10000"/>
                <a:gd name="connsiteX232" fmla="*/ 1599 w 10000"/>
                <a:gd name="connsiteY232" fmla="*/ 5451 h 10000"/>
                <a:gd name="connsiteX233" fmla="*/ 1537 w 10000"/>
                <a:gd name="connsiteY233" fmla="*/ 5577 h 10000"/>
                <a:gd name="connsiteX234" fmla="*/ 1412 w 10000"/>
                <a:gd name="connsiteY234" fmla="*/ 5663 h 10000"/>
                <a:gd name="connsiteX235" fmla="*/ 915 w 10000"/>
                <a:gd name="connsiteY235" fmla="*/ 5730 h 10000"/>
                <a:gd name="connsiteX236" fmla="*/ 885 w 10000"/>
                <a:gd name="connsiteY236" fmla="*/ 5846 h 10000"/>
                <a:gd name="connsiteX237" fmla="*/ 617 w 10000"/>
                <a:gd name="connsiteY237" fmla="*/ 6019 h 10000"/>
                <a:gd name="connsiteX238" fmla="*/ 652 w 10000"/>
                <a:gd name="connsiteY238" fmla="*/ 6268 h 10000"/>
                <a:gd name="connsiteX239" fmla="*/ 427 w 10000"/>
                <a:gd name="connsiteY239" fmla="*/ 6587 h 10000"/>
                <a:gd name="connsiteX240" fmla="*/ 274 w 10000"/>
                <a:gd name="connsiteY240" fmla="*/ 6624 h 10000"/>
                <a:gd name="connsiteX241" fmla="*/ 210 w 10000"/>
                <a:gd name="connsiteY241" fmla="*/ 6548 h 10000"/>
                <a:gd name="connsiteX242" fmla="*/ 132 w 10000"/>
                <a:gd name="connsiteY242" fmla="*/ 6663 h 10000"/>
                <a:gd name="connsiteX243" fmla="*/ 183 w 10000"/>
                <a:gd name="connsiteY243" fmla="*/ 6465 h 10000"/>
                <a:gd name="connsiteX244" fmla="*/ 151 w 10000"/>
                <a:gd name="connsiteY244"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37 w 10000"/>
                <a:gd name="connsiteY162" fmla="*/ 3424 h 10000"/>
                <a:gd name="connsiteX163" fmla="*/ 6854 w 10000"/>
                <a:gd name="connsiteY163" fmla="*/ 3404 h 10000"/>
                <a:gd name="connsiteX164" fmla="*/ 6886 w 10000"/>
                <a:gd name="connsiteY164" fmla="*/ 3250 h 10000"/>
                <a:gd name="connsiteX165" fmla="*/ 6822 w 10000"/>
                <a:gd name="connsiteY165" fmla="*/ 3167 h 10000"/>
                <a:gd name="connsiteX166" fmla="*/ 6832 w 10000"/>
                <a:gd name="connsiteY166" fmla="*/ 3101 h 10000"/>
                <a:gd name="connsiteX167" fmla="*/ 6868 w 10000"/>
                <a:gd name="connsiteY167" fmla="*/ 3178 h 10000"/>
                <a:gd name="connsiteX168" fmla="*/ 7011 w 10000"/>
                <a:gd name="connsiteY168" fmla="*/ 3236 h 10000"/>
                <a:gd name="connsiteX169" fmla="*/ 7070 w 10000"/>
                <a:gd name="connsiteY169" fmla="*/ 3229 h 10000"/>
                <a:gd name="connsiteX170" fmla="*/ 7164 w 10000"/>
                <a:gd name="connsiteY170" fmla="*/ 3152 h 10000"/>
                <a:gd name="connsiteX171" fmla="*/ 7292 w 10000"/>
                <a:gd name="connsiteY171" fmla="*/ 3122 h 10000"/>
                <a:gd name="connsiteX172" fmla="*/ 7175 w 10000"/>
                <a:gd name="connsiteY172" fmla="*/ 3036 h 10000"/>
                <a:gd name="connsiteX173" fmla="*/ 7307 w 10000"/>
                <a:gd name="connsiteY173" fmla="*/ 3045 h 10000"/>
                <a:gd name="connsiteX174" fmla="*/ 7442 w 10000"/>
                <a:gd name="connsiteY174" fmla="*/ 2999 h 10000"/>
                <a:gd name="connsiteX175" fmla="*/ 7565 w 10000"/>
                <a:gd name="connsiteY175" fmla="*/ 2936 h 10000"/>
                <a:gd name="connsiteX176" fmla="*/ 7684 w 10000"/>
                <a:gd name="connsiteY176" fmla="*/ 2754 h 10000"/>
                <a:gd name="connsiteX177" fmla="*/ 8132 w 10000"/>
                <a:gd name="connsiteY177" fmla="*/ 2690 h 10000"/>
                <a:gd name="connsiteX178" fmla="*/ 8195 w 10000"/>
                <a:gd name="connsiteY178" fmla="*/ 2607 h 10000"/>
                <a:gd name="connsiteX179" fmla="*/ 8417 w 10000"/>
                <a:gd name="connsiteY179" fmla="*/ 2524 h 10000"/>
                <a:gd name="connsiteX180" fmla="*/ 8527 w 10000"/>
                <a:gd name="connsiteY180" fmla="*/ 2575 h 10000"/>
                <a:gd name="connsiteX181" fmla="*/ 8695 w 10000"/>
                <a:gd name="connsiteY181" fmla="*/ 2519 h 10000"/>
                <a:gd name="connsiteX182" fmla="*/ 8736 w 10000"/>
                <a:gd name="connsiteY182" fmla="*/ 2445 h 10000"/>
                <a:gd name="connsiteX183" fmla="*/ 8864 w 10000"/>
                <a:gd name="connsiteY183" fmla="*/ 2396 h 10000"/>
                <a:gd name="connsiteX184" fmla="*/ 8973 w 10000"/>
                <a:gd name="connsiteY184" fmla="*/ 2418 h 10000"/>
                <a:gd name="connsiteX185" fmla="*/ 9042 w 10000"/>
                <a:gd name="connsiteY185" fmla="*/ 2381 h 10000"/>
                <a:gd name="connsiteX186" fmla="*/ 9231 w 10000"/>
                <a:gd name="connsiteY186" fmla="*/ 2330 h 10000"/>
                <a:gd name="connsiteX187" fmla="*/ 9310 w 10000"/>
                <a:gd name="connsiteY187" fmla="*/ 2263 h 10000"/>
                <a:gd name="connsiteX188" fmla="*/ 9417 w 10000"/>
                <a:gd name="connsiteY188" fmla="*/ 2235 h 10000"/>
                <a:gd name="connsiteX189" fmla="*/ 10000 w 10000"/>
                <a:gd name="connsiteY189" fmla="*/ 1832 h 10000"/>
                <a:gd name="connsiteX190" fmla="*/ 9652 w 10000"/>
                <a:gd name="connsiteY190" fmla="*/ 1699 h 10000"/>
                <a:gd name="connsiteX191" fmla="*/ 9147 w 10000"/>
                <a:gd name="connsiteY191" fmla="*/ 1773 h 10000"/>
                <a:gd name="connsiteX192" fmla="*/ 8784 w 10000"/>
                <a:gd name="connsiteY192" fmla="*/ 1639 h 10000"/>
                <a:gd name="connsiteX193" fmla="*/ 8850 w 10000"/>
                <a:gd name="connsiteY193" fmla="*/ 1480 h 10000"/>
                <a:gd name="connsiteX194" fmla="*/ 7497 w 10000"/>
                <a:gd name="connsiteY194" fmla="*/ 923 h 10000"/>
                <a:gd name="connsiteX195" fmla="*/ 7522 w 10000"/>
                <a:gd name="connsiteY195" fmla="*/ 649 h 10000"/>
                <a:gd name="connsiteX196" fmla="*/ 7012 w 10000"/>
                <a:gd name="connsiteY196" fmla="*/ 590 h 10000"/>
                <a:gd name="connsiteX197" fmla="*/ 6413 w 10000"/>
                <a:gd name="connsiteY197" fmla="*/ 332 h 10000"/>
                <a:gd name="connsiteX198" fmla="*/ 5098 w 10000"/>
                <a:gd name="connsiteY198" fmla="*/ 0 h 10000"/>
                <a:gd name="connsiteX199" fmla="*/ 4837 w 10000"/>
                <a:gd name="connsiteY199" fmla="*/ 82 h 10000"/>
                <a:gd name="connsiteX200" fmla="*/ 4671 w 10000"/>
                <a:gd name="connsiteY200" fmla="*/ 78 h 10000"/>
                <a:gd name="connsiteX201" fmla="*/ 4571 w 10000"/>
                <a:gd name="connsiteY201" fmla="*/ 107 h 10000"/>
                <a:gd name="connsiteX202" fmla="*/ 4298 w 10000"/>
                <a:gd name="connsiteY202" fmla="*/ 913 h 10000"/>
                <a:gd name="connsiteX203" fmla="*/ 3668 w 10000"/>
                <a:gd name="connsiteY203" fmla="*/ 1383 h 10000"/>
                <a:gd name="connsiteX204" fmla="*/ 3672 w 10000"/>
                <a:gd name="connsiteY204" fmla="*/ 1457 h 10000"/>
                <a:gd name="connsiteX205" fmla="*/ 3952 w 10000"/>
                <a:gd name="connsiteY205" fmla="*/ 1668 h 10000"/>
                <a:gd name="connsiteX206" fmla="*/ 3861 w 10000"/>
                <a:gd name="connsiteY206" fmla="*/ 1896 h 10000"/>
                <a:gd name="connsiteX207" fmla="*/ 3698 w 10000"/>
                <a:gd name="connsiteY207" fmla="*/ 1979 h 10000"/>
                <a:gd name="connsiteX208" fmla="*/ 3208 w 10000"/>
                <a:gd name="connsiteY208" fmla="*/ 1924 h 10000"/>
                <a:gd name="connsiteX209" fmla="*/ 2871 w 10000"/>
                <a:gd name="connsiteY209" fmla="*/ 1955 h 10000"/>
                <a:gd name="connsiteX210" fmla="*/ 2601 w 10000"/>
                <a:gd name="connsiteY210" fmla="*/ 2023 h 10000"/>
                <a:gd name="connsiteX211" fmla="*/ 2163 w 10000"/>
                <a:gd name="connsiteY211" fmla="*/ 2233 h 10000"/>
                <a:gd name="connsiteX212" fmla="*/ 1931 w 10000"/>
                <a:gd name="connsiteY212" fmla="*/ 2487 h 10000"/>
                <a:gd name="connsiteX213" fmla="*/ 1951 w 10000"/>
                <a:gd name="connsiteY213" fmla="*/ 2629 h 10000"/>
                <a:gd name="connsiteX214" fmla="*/ 2032 w 10000"/>
                <a:gd name="connsiteY214" fmla="*/ 2738 h 10000"/>
                <a:gd name="connsiteX215" fmla="*/ 2093 w 10000"/>
                <a:gd name="connsiteY215" fmla="*/ 2782 h 10000"/>
                <a:gd name="connsiteX216" fmla="*/ 1979 w 10000"/>
                <a:gd name="connsiteY216" fmla="*/ 2852 h 10000"/>
                <a:gd name="connsiteX217" fmla="*/ 1731 w 10000"/>
                <a:gd name="connsiteY217" fmla="*/ 3330 h 10000"/>
                <a:gd name="connsiteX218" fmla="*/ 1779 w 10000"/>
                <a:gd name="connsiteY218" fmla="*/ 3358 h 10000"/>
                <a:gd name="connsiteX219" fmla="*/ 1815 w 10000"/>
                <a:gd name="connsiteY219" fmla="*/ 3479 h 10000"/>
                <a:gd name="connsiteX220" fmla="*/ 1700 w 10000"/>
                <a:gd name="connsiteY220" fmla="*/ 3982 h 10000"/>
                <a:gd name="connsiteX221" fmla="*/ 1815 w 10000"/>
                <a:gd name="connsiteY221" fmla="*/ 4110 h 10000"/>
                <a:gd name="connsiteX222" fmla="*/ 2131 w 10000"/>
                <a:gd name="connsiteY222" fmla="*/ 4251 h 10000"/>
                <a:gd name="connsiteX223" fmla="*/ 2145 w 10000"/>
                <a:gd name="connsiteY223" fmla="*/ 4423 h 10000"/>
                <a:gd name="connsiteX224" fmla="*/ 2010 w 10000"/>
                <a:gd name="connsiteY224" fmla="*/ 4566 h 10000"/>
                <a:gd name="connsiteX225" fmla="*/ 1815 w 10000"/>
                <a:gd name="connsiteY225" fmla="*/ 4652 h 10000"/>
                <a:gd name="connsiteX226" fmla="*/ 1557 w 10000"/>
                <a:gd name="connsiteY226" fmla="*/ 4687 h 10000"/>
                <a:gd name="connsiteX227" fmla="*/ 1490 w 10000"/>
                <a:gd name="connsiteY227" fmla="*/ 4737 h 10000"/>
                <a:gd name="connsiteX228" fmla="*/ 1640 w 10000"/>
                <a:gd name="connsiteY228" fmla="*/ 4855 h 10000"/>
                <a:gd name="connsiteX229" fmla="*/ 1726 w 10000"/>
                <a:gd name="connsiteY229" fmla="*/ 5136 h 10000"/>
                <a:gd name="connsiteX230" fmla="*/ 1531 w 10000"/>
                <a:gd name="connsiteY230" fmla="*/ 5376 h 10000"/>
                <a:gd name="connsiteX231" fmla="*/ 1599 w 10000"/>
                <a:gd name="connsiteY231" fmla="*/ 5451 h 10000"/>
                <a:gd name="connsiteX232" fmla="*/ 1537 w 10000"/>
                <a:gd name="connsiteY232" fmla="*/ 5577 h 10000"/>
                <a:gd name="connsiteX233" fmla="*/ 1412 w 10000"/>
                <a:gd name="connsiteY233" fmla="*/ 5663 h 10000"/>
                <a:gd name="connsiteX234" fmla="*/ 915 w 10000"/>
                <a:gd name="connsiteY234" fmla="*/ 5730 h 10000"/>
                <a:gd name="connsiteX235" fmla="*/ 885 w 10000"/>
                <a:gd name="connsiteY235" fmla="*/ 5846 h 10000"/>
                <a:gd name="connsiteX236" fmla="*/ 617 w 10000"/>
                <a:gd name="connsiteY236" fmla="*/ 6019 h 10000"/>
                <a:gd name="connsiteX237" fmla="*/ 652 w 10000"/>
                <a:gd name="connsiteY237" fmla="*/ 6268 h 10000"/>
                <a:gd name="connsiteX238" fmla="*/ 427 w 10000"/>
                <a:gd name="connsiteY238" fmla="*/ 6587 h 10000"/>
                <a:gd name="connsiteX239" fmla="*/ 274 w 10000"/>
                <a:gd name="connsiteY239" fmla="*/ 6624 h 10000"/>
                <a:gd name="connsiteX240" fmla="*/ 210 w 10000"/>
                <a:gd name="connsiteY240" fmla="*/ 6548 h 10000"/>
                <a:gd name="connsiteX241" fmla="*/ 132 w 10000"/>
                <a:gd name="connsiteY241" fmla="*/ 6663 h 10000"/>
                <a:gd name="connsiteX242" fmla="*/ 183 w 10000"/>
                <a:gd name="connsiteY242" fmla="*/ 6465 h 10000"/>
                <a:gd name="connsiteX243" fmla="*/ 151 w 10000"/>
                <a:gd name="connsiteY243"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37 w 10000"/>
                <a:gd name="connsiteY162" fmla="*/ 3424 h 10000"/>
                <a:gd name="connsiteX163" fmla="*/ 6854 w 10000"/>
                <a:gd name="connsiteY163" fmla="*/ 3404 h 10000"/>
                <a:gd name="connsiteX164" fmla="*/ 6886 w 10000"/>
                <a:gd name="connsiteY164" fmla="*/ 3250 h 10000"/>
                <a:gd name="connsiteX165" fmla="*/ 6822 w 10000"/>
                <a:gd name="connsiteY165" fmla="*/ 3167 h 10000"/>
                <a:gd name="connsiteX166" fmla="*/ 6832 w 10000"/>
                <a:gd name="connsiteY166" fmla="*/ 3101 h 10000"/>
                <a:gd name="connsiteX167" fmla="*/ 6868 w 10000"/>
                <a:gd name="connsiteY167" fmla="*/ 3178 h 10000"/>
                <a:gd name="connsiteX168" fmla="*/ 7011 w 10000"/>
                <a:gd name="connsiteY168" fmla="*/ 3236 h 10000"/>
                <a:gd name="connsiteX169" fmla="*/ 7070 w 10000"/>
                <a:gd name="connsiteY169" fmla="*/ 3229 h 10000"/>
                <a:gd name="connsiteX170" fmla="*/ 7164 w 10000"/>
                <a:gd name="connsiteY170" fmla="*/ 3152 h 10000"/>
                <a:gd name="connsiteX171" fmla="*/ 7292 w 10000"/>
                <a:gd name="connsiteY171" fmla="*/ 3122 h 10000"/>
                <a:gd name="connsiteX172" fmla="*/ 7175 w 10000"/>
                <a:gd name="connsiteY172" fmla="*/ 3036 h 10000"/>
                <a:gd name="connsiteX173" fmla="*/ 7307 w 10000"/>
                <a:gd name="connsiteY173" fmla="*/ 3045 h 10000"/>
                <a:gd name="connsiteX174" fmla="*/ 7442 w 10000"/>
                <a:gd name="connsiteY174" fmla="*/ 2999 h 10000"/>
                <a:gd name="connsiteX175" fmla="*/ 7565 w 10000"/>
                <a:gd name="connsiteY175" fmla="*/ 2936 h 10000"/>
                <a:gd name="connsiteX176" fmla="*/ 7684 w 10000"/>
                <a:gd name="connsiteY176" fmla="*/ 2754 h 10000"/>
                <a:gd name="connsiteX177" fmla="*/ 8132 w 10000"/>
                <a:gd name="connsiteY177" fmla="*/ 2690 h 10000"/>
                <a:gd name="connsiteX178" fmla="*/ 8417 w 10000"/>
                <a:gd name="connsiteY178" fmla="*/ 2524 h 10000"/>
                <a:gd name="connsiteX179" fmla="*/ 8527 w 10000"/>
                <a:gd name="connsiteY179" fmla="*/ 2575 h 10000"/>
                <a:gd name="connsiteX180" fmla="*/ 8695 w 10000"/>
                <a:gd name="connsiteY180" fmla="*/ 2519 h 10000"/>
                <a:gd name="connsiteX181" fmla="*/ 8736 w 10000"/>
                <a:gd name="connsiteY181" fmla="*/ 2445 h 10000"/>
                <a:gd name="connsiteX182" fmla="*/ 8864 w 10000"/>
                <a:gd name="connsiteY182" fmla="*/ 2396 h 10000"/>
                <a:gd name="connsiteX183" fmla="*/ 8973 w 10000"/>
                <a:gd name="connsiteY183" fmla="*/ 2418 h 10000"/>
                <a:gd name="connsiteX184" fmla="*/ 9042 w 10000"/>
                <a:gd name="connsiteY184" fmla="*/ 2381 h 10000"/>
                <a:gd name="connsiteX185" fmla="*/ 9231 w 10000"/>
                <a:gd name="connsiteY185" fmla="*/ 2330 h 10000"/>
                <a:gd name="connsiteX186" fmla="*/ 9310 w 10000"/>
                <a:gd name="connsiteY186" fmla="*/ 2263 h 10000"/>
                <a:gd name="connsiteX187" fmla="*/ 9417 w 10000"/>
                <a:gd name="connsiteY187" fmla="*/ 2235 h 10000"/>
                <a:gd name="connsiteX188" fmla="*/ 10000 w 10000"/>
                <a:gd name="connsiteY188" fmla="*/ 1832 h 10000"/>
                <a:gd name="connsiteX189" fmla="*/ 9652 w 10000"/>
                <a:gd name="connsiteY189" fmla="*/ 1699 h 10000"/>
                <a:gd name="connsiteX190" fmla="*/ 9147 w 10000"/>
                <a:gd name="connsiteY190" fmla="*/ 1773 h 10000"/>
                <a:gd name="connsiteX191" fmla="*/ 8784 w 10000"/>
                <a:gd name="connsiteY191" fmla="*/ 1639 h 10000"/>
                <a:gd name="connsiteX192" fmla="*/ 8850 w 10000"/>
                <a:gd name="connsiteY192" fmla="*/ 1480 h 10000"/>
                <a:gd name="connsiteX193" fmla="*/ 7497 w 10000"/>
                <a:gd name="connsiteY193" fmla="*/ 923 h 10000"/>
                <a:gd name="connsiteX194" fmla="*/ 7522 w 10000"/>
                <a:gd name="connsiteY194" fmla="*/ 649 h 10000"/>
                <a:gd name="connsiteX195" fmla="*/ 7012 w 10000"/>
                <a:gd name="connsiteY195" fmla="*/ 590 h 10000"/>
                <a:gd name="connsiteX196" fmla="*/ 6413 w 10000"/>
                <a:gd name="connsiteY196" fmla="*/ 332 h 10000"/>
                <a:gd name="connsiteX197" fmla="*/ 5098 w 10000"/>
                <a:gd name="connsiteY197" fmla="*/ 0 h 10000"/>
                <a:gd name="connsiteX198" fmla="*/ 4837 w 10000"/>
                <a:gd name="connsiteY198" fmla="*/ 82 h 10000"/>
                <a:gd name="connsiteX199" fmla="*/ 4671 w 10000"/>
                <a:gd name="connsiteY199" fmla="*/ 78 h 10000"/>
                <a:gd name="connsiteX200" fmla="*/ 4571 w 10000"/>
                <a:gd name="connsiteY200" fmla="*/ 107 h 10000"/>
                <a:gd name="connsiteX201" fmla="*/ 4298 w 10000"/>
                <a:gd name="connsiteY201" fmla="*/ 913 h 10000"/>
                <a:gd name="connsiteX202" fmla="*/ 3668 w 10000"/>
                <a:gd name="connsiteY202" fmla="*/ 1383 h 10000"/>
                <a:gd name="connsiteX203" fmla="*/ 3672 w 10000"/>
                <a:gd name="connsiteY203" fmla="*/ 1457 h 10000"/>
                <a:gd name="connsiteX204" fmla="*/ 3952 w 10000"/>
                <a:gd name="connsiteY204" fmla="*/ 1668 h 10000"/>
                <a:gd name="connsiteX205" fmla="*/ 3861 w 10000"/>
                <a:gd name="connsiteY205" fmla="*/ 1896 h 10000"/>
                <a:gd name="connsiteX206" fmla="*/ 3698 w 10000"/>
                <a:gd name="connsiteY206" fmla="*/ 1979 h 10000"/>
                <a:gd name="connsiteX207" fmla="*/ 3208 w 10000"/>
                <a:gd name="connsiteY207" fmla="*/ 1924 h 10000"/>
                <a:gd name="connsiteX208" fmla="*/ 2871 w 10000"/>
                <a:gd name="connsiteY208" fmla="*/ 1955 h 10000"/>
                <a:gd name="connsiteX209" fmla="*/ 2601 w 10000"/>
                <a:gd name="connsiteY209" fmla="*/ 2023 h 10000"/>
                <a:gd name="connsiteX210" fmla="*/ 2163 w 10000"/>
                <a:gd name="connsiteY210" fmla="*/ 2233 h 10000"/>
                <a:gd name="connsiteX211" fmla="*/ 1931 w 10000"/>
                <a:gd name="connsiteY211" fmla="*/ 2487 h 10000"/>
                <a:gd name="connsiteX212" fmla="*/ 1951 w 10000"/>
                <a:gd name="connsiteY212" fmla="*/ 2629 h 10000"/>
                <a:gd name="connsiteX213" fmla="*/ 2032 w 10000"/>
                <a:gd name="connsiteY213" fmla="*/ 2738 h 10000"/>
                <a:gd name="connsiteX214" fmla="*/ 2093 w 10000"/>
                <a:gd name="connsiteY214" fmla="*/ 2782 h 10000"/>
                <a:gd name="connsiteX215" fmla="*/ 1979 w 10000"/>
                <a:gd name="connsiteY215" fmla="*/ 2852 h 10000"/>
                <a:gd name="connsiteX216" fmla="*/ 1731 w 10000"/>
                <a:gd name="connsiteY216" fmla="*/ 3330 h 10000"/>
                <a:gd name="connsiteX217" fmla="*/ 1779 w 10000"/>
                <a:gd name="connsiteY217" fmla="*/ 3358 h 10000"/>
                <a:gd name="connsiteX218" fmla="*/ 1815 w 10000"/>
                <a:gd name="connsiteY218" fmla="*/ 3479 h 10000"/>
                <a:gd name="connsiteX219" fmla="*/ 1700 w 10000"/>
                <a:gd name="connsiteY219" fmla="*/ 3982 h 10000"/>
                <a:gd name="connsiteX220" fmla="*/ 1815 w 10000"/>
                <a:gd name="connsiteY220" fmla="*/ 4110 h 10000"/>
                <a:gd name="connsiteX221" fmla="*/ 2131 w 10000"/>
                <a:gd name="connsiteY221" fmla="*/ 4251 h 10000"/>
                <a:gd name="connsiteX222" fmla="*/ 2145 w 10000"/>
                <a:gd name="connsiteY222" fmla="*/ 4423 h 10000"/>
                <a:gd name="connsiteX223" fmla="*/ 2010 w 10000"/>
                <a:gd name="connsiteY223" fmla="*/ 4566 h 10000"/>
                <a:gd name="connsiteX224" fmla="*/ 1815 w 10000"/>
                <a:gd name="connsiteY224" fmla="*/ 4652 h 10000"/>
                <a:gd name="connsiteX225" fmla="*/ 1557 w 10000"/>
                <a:gd name="connsiteY225" fmla="*/ 4687 h 10000"/>
                <a:gd name="connsiteX226" fmla="*/ 1490 w 10000"/>
                <a:gd name="connsiteY226" fmla="*/ 4737 h 10000"/>
                <a:gd name="connsiteX227" fmla="*/ 1640 w 10000"/>
                <a:gd name="connsiteY227" fmla="*/ 4855 h 10000"/>
                <a:gd name="connsiteX228" fmla="*/ 1726 w 10000"/>
                <a:gd name="connsiteY228" fmla="*/ 5136 h 10000"/>
                <a:gd name="connsiteX229" fmla="*/ 1531 w 10000"/>
                <a:gd name="connsiteY229" fmla="*/ 5376 h 10000"/>
                <a:gd name="connsiteX230" fmla="*/ 1599 w 10000"/>
                <a:gd name="connsiteY230" fmla="*/ 5451 h 10000"/>
                <a:gd name="connsiteX231" fmla="*/ 1537 w 10000"/>
                <a:gd name="connsiteY231" fmla="*/ 5577 h 10000"/>
                <a:gd name="connsiteX232" fmla="*/ 1412 w 10000"/>
                <a:gd name="connsiteY232" fmla="*/ 5663 h 10000"/>
                <a:gd name="connsiteX233" fmla="*/ 915 w 10000"/>
                <a:gd name="connsiteY233" fmla="*/ 5730 h 10000"/>
                <a:gd name="connsiteX234" fmla="*/ 885 w 10000"/>
                <a:gd name="connsiteY234" fmla="*/ 5846 h 10000"/>
                <a:gd name="connsiteX235" fmla="*/ 617 w 10000"/>
                <a:gd name="connsiteY235" fmla="*/ 6019 h 10000"/>
                <a:gd name="connsiteX236" fmla="*/ 652 w 10000"/>
                <a:gd name="connsiteY236" fmla="*/ 6268 h 10000"/>
                <a:gd name="connsiteX237" fmla="*/ 427 w 10000"/>
                <a:gd name="connsiteY237" fmla="*/ 6587 h 10000"/>
                <a:gd name="connsiteX238" fmla="*/ 274 w 10000"/>
                <a:gd name="connsiteY238" fmla="*/ 6624 h 10000"/>
                <a:gd name="connsiteX239" fmla="*/ 210 w 10000"/>
                <a:gd name="connsiteY239" fmla="*/ 6548 h 10000"/>
                <a:gd name="connsiteX240" fmla="*/ 132 w 10000"/>
                <a:gd name="connsiteY240" fmla="*/ 6663 h 10000"/>
                <a:gd name="connsiteX241" fmla="*/ 183 w 10000"/>
                <a:gd name="connsiteY241" fmla="*/ 6465 h 10000"/>
                <a:gd name="connsiteX242" fmla="*/ 151 w 10000"/>
                <a:gd name="connsiteY242"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37 w 10000"/>
                <a:gd name="connsiteY162" fmla="*/ 3424 h 10000"/>
                <a:gd name="connsiteX163" fmla="*/ 6854 w 10000"/>
                <a:gd name="connsiteY163" fmla="*/ 3404 h 10000"/>
                <a:gd name="connsiteX164" fmla="*/ 6886 w 10000"/>
                <a:gd name="connsiteY164" fmla="*/ 3250 h 10000"/>
                <a:gd name="connsiteX165" fmla="*/ 6822 w 10000"/>
                <a:gd name="connsiteY165" fmla="*/ 3167 h 10000"/>
                <a:gd name="connsiteX166" fmla="*/ 6832 w 10000"/>
                <a:gd name="connsiteY166" fmla="*/ 3101 h 10000"/>
                <a:gd name="connsiteX167" fmla="*/ 6868 w 10000"/>
                <a:gd name="connsiteY167" fmla="*/ 3178 h 10000"/>
                <a:gd name="connsiteX168" fmla="*/ 7011 w 10000"/>
                <a:gd name="connsiteY168" fmla="*/ 3236 h 10000"/>
                <a:gd name="connsiteX169" fmla="*/ 7070 w 10000"/>
                <a:gd name="connsiteY169" fmla="*/ 3229 h 10000"/>
                <a:gd name="connsiteX170" fmla="*/ 7164 w 10000"/>
                <a:gd name="connsiteY170" fmla="*/ 3152 h 10000"/>
                <a:gd name="connsiteX171" fmla="*/ 7292 w 10000"/>
                <a:gd name="connsiteY171" fmla="*/ 3122 h 10000"/>
                <a:gd name="connsiteX172" fmla="*/ 7175 w 10000"/>
                <a:gd name="connsiteY172" fmla="*/ 3036 h 10000"/>
                <a:gd name="connsiteX173" fmla="*/ 7307 w 10000"/>
                <a:gd name="connsiteY173" fmla="*/ 3045 h 10000"/>
                <a:gd name="connsiteX174" fmla="*/ 7442 w 10000"/>
                <a:gd name="connsiteY174" fmla="*/ 2999 h 10000"/>
                <a:gd name="connsiteX175" fmla="*/ 7565 w 10000"/>
                <a:gd name="connsiteY175" fmla="*/ 2936 h 10000"/>
                <a:gd name="connsiteX176" fmla="*/ 7684 w 10000"/>
                <a:gd name="connsiteY176" fmla="*/ 2754 h 10000"/>
                <a:gd name="connsiteX177" fmla="*/ 8132 w 10000"/>
                <a:gd name="connsiteY177" fmla="*/ 2690 h 10000"/>
                <a:gd name="connsiteX178" fmla="*/ 8417 w 10000"/>
                <a:gd name="connsiteY178" fmla="*/ 2524 h 10000"/>
                <a:gd name="connsiteX179" fmla="*/ 8527 w 10000"/>
                <a:gd name="connsiteY179" fmla="*/ 2575 h 10000"/>
                <a:gd name="connsiteX180" fmla="*/ 8736 w 10000"/>
                <a:gd name="connsiteY180" fmla="*/ 2445 h 10000"/>
                <a:gd name="connsiteX181" fmla="*/ 8864 w 10000"/>
                <a:gd name="connsiteY181" fmla="*/ 2396 h 10000"/>
                <a:gd name="connsiteX182" fmla="*/ 8973 w 10000"/>
                <a:gd name="connsiteY182" fmla="*/ 2418 h 10000"/>
                <a:gd name="connsiteX183" fmla="*/ 9042 w 10000"/>
                <a:gd name="connsiteY183" fmla="*/ 2381 h 10000"/>
                <a:gd name="connsiteX184" fmla="*/ 9231 w 10000"/>
                <a:gd name="connsiteY184" fmla="*/ 2330 h 10000"/>
                <a:gd name="connsiteX185" fmla="*/ 9310 w 10000"/>
                <a:gd name="connsiteY185" fmla="*/ 2263 h 10000"/>
                <a:gd name="connsiteX186" fmla="*/ 9417 w 10000"/>
                <a:gd name="connsiteY186" fmla="*/ 2235 h 10000"/>
                <a:gd name="connsiteX187" fmla="*/ 10000 w 10000"/>
                <a:gd name="connsiteY187" fmla="*/ 1832 h 10000"/>
                <a:gd name="connsiteX188" fmla="*/ 9652 w 10000"/>
                <a:gd name="connsiteY188" fmla="*/ 1699 h 10000"/>
                <a:gd name="connsiteX189" fmla="*/ 9147 w 10000"/>
                <a:gd name="connsiteY189" fmla="*/ 1773 h 10000"/>
                <a:gd name="connsiteX190" fmla="*/ 8784 w 10000"/>
                <a:gd name="connsiteY190" fmla="*/ 1639 h 10000"/>
                <a:gd name="connsiteX191" fmla="*/ 8850 w 10000"/>
                <a:gd name="connsiteY191" fmla="*/ 1480 h 10000"/>
                <a:gd name="connsiteX192" fmla="*/ 7497 w 10000"/>
                <a:gd name="connsiteY192" fmla="*/ 923 h 10000"/>
                <a:gd name="connsiteX193" fmla="*/ 7522 w 10000"/>
                <a:gd name="connsiteY193" fmla="*/ 649 h 10000"/>
                <a:gd name="connsiteX194" fmla="*/ 7012 w 10000"/>
                <a:gd name="connsiteY194" fmla="*/ 590 h 10000"/>
                <a:gd name="connsiteX195" fmla="*/ 6413 w 10000"/>
                <a:gd name="connsiteY195" fmla="*/ 332 h 10000"/>
                <a:gd name="connsiteX196" fmla="*/ 5098 w 10000"/>
                <a:gd name="connsiteY196" fmla="*/ 0 h 10000"/>
                <a:gd name="connsiteX197" fmla="*/ 4837 w 10000"/>
                <a:gd name="connsiteY197" fmla="*/ 82 h 10000"/>
                <a:gd name="connsiteX198" fmla="*/ 4671 w 10000"/>
                <a:gd name="connsiteY198" fmla="*/ 78 h 10000"/>
                <a:gd name="connsiteX199" fmla="*/ 4571 w 10000"/>
                <a:gd name="connsiteY199" fmla="*/ 107 h 10000"/>
                <a:gd name="connsiteX200" fmla="*/ 4298 w 10000"/>
                <a:gd name="connsiteY200" fmla="*/ 913 h 10000"/>
                <a:gd name="connsiteX201" fmla="*/ 3668 w 10000"/>
                <a:gd name="connsiteY201" fmla="*/ 1383 h 10000"/>
                <a:gd name="connsiteX202" fmla="*/ 3672 w 10000"/>
                <a:gd name="connsiteY202" fmla="*/ 1457 h 10000"/>
                <a:gd name="connsiteX203" fmla="*/ 3952 w 10000"/>
                <a:gd name="connsiteY203" fmla="*/ 1668 h 10000"/>
                <a:gd name="connsiteX204" fmla="*/ 3861 w 10000"/>
                <a:gd name="connsiteY204" fmla="*/ 1896 h 10000"/>
                <a:gd name="connsiteX205" fmla="*/ 3698 w 10000"/>
                <a:gd name="connsiteY205" fmla="*/ 1979 h 10000"/>
                <a:gd name="connsiteX206" fmla="*/ 3208 w 10000"/>
                <a:gd name="connsiteY206" fmla="*/ 1924 h 10000"/>
                <a:gd name="connsiteX207" fmla="*/ 2871 w 10000"/>
                <a:gd name="connsiteY207" fmla="*/ 1955 h 10000"/>
                <a:gd name="connsiteX208" fmla="*/ 2601 w 10000"/>
                <a:gd name="connsiteY208" fmla="*/ 2023 h 10000"/>
                <a:gd name="connsiteX209" fmla="*/ 2163 w 10000"/>
                <a:gd name="connsiteY209" fmla="*/ 2233 h 10000"/>
                <a:gd name="connsiteX210" fmla="*/ 1931 w 10000"/>
                <a:gd name="connsiteY210" fmla="*/ 2487 h 10000"/>
                <a:gd name="connsiteX211" fmla="*/ 1951 w 10000"/>
                <a:gd name="connsiteY211" fmla="*/ 2629 h 10000"/>
                <a:gd name="connsiteX212" fmla="*/ 2032 w 10000"/>
                <a:gd name="connsiteY212" fmla="*/ 2738 h 10000"/>
                <a:gd name="connsiteX213" fmla="*/ 2093 w 10000"/>
                <a:gd name="connsiteY213" fmla="*/ 2782 h 10000"/>
                <a:gd name="connsiteX214" fmla="*/ 1979 w 10000"/>
                <a:gd name="connsiteY214" fmla="*/ 2852 h 10000"/>
                <a:gd name="connsiteX215" fmla="*/ 1731 w 10000"/>
                <a:gd name="connsiteY215" fmla="*/ 3330 h 10000"/>
                <a:gd name="connsiteX216" fmla="*/ 1779 w 10000"/>
                <a:gd name="connsiteY216" fmla="*/ 3358 h 10000"/>
                <a:gd name="connsiteX217" fmla="*/ 1815 w 10000"/>
                <a:gd name="connsiteY217" fmla="*/ 3479 h 10000"/>
                <a:gd name="connsiteX218" fmla="*/ 1700 w 10000"/>
                <a:gd name="connsiteY218" fmla="*/ 3982 h 10000"/>
                <a:gd name="connsiteX219" fmla="*/ 1815 w 10000"/>
                <a:gd name="connsiteY219" fmla="*/ 4110 h 10000"/>
                <a:gd name="connsiteX220" fmla="*/ 2131 w 10000"/>
                <a:gd name="connsiteY220" fmla="*/ 4251 h 10000"/>
                <a:gd name="connsiteX221" fmla="*/ 2145 w 10000"/>
                <a:gd name="connsiteY221" fmla="*/ 4423 h 10000"/>
                <a:gd name="connsiteX222" fmla="*/ 2010 w 10000"/>
                <a:gd name="connsiteY222" fmla="*/ 4566 h 10000"/>
                <a:gd name="connsiteX223" fmla="*/ 1815 w 10000"/>
                <a:gd name="connsiteY223" fmla="*/ 4652 h 10000"/>
                <a:gd name="connsiteX224" fmla="*/ 1557 w 10000"/>
                <a:gd name="connsiteY224" fmla="*/ 4687 h 10000"/>
                <a:gd name="connsiteX225" fmla="*/ 1490 w 10000"/>
                <a:gd name="connsiteY225" fmla="*/ 4737 h 10000"/>
                <a:gd name="connsiteX226" fmla="*/ 1640 w 10000"/>
                <a:gd name="connsiteY226" fmla="*/ 4855 h 10000"/>
                <a:gd name="connsiteX227" fmla="*/ 1726 w 10000"/>
                <a:gd name="connsiteY227" fmla="*/ 5136 h 10000"/>
                <a:gd name="connsiteX228" fmla="*/ 1531 w 10000"/>
                <a:gd name="connsiteY228" fmla="*/ 5376 h 10000"/>
                <a:gd name="connsiteX229" fmla="*/ 1599 w 10000"/>
                <a:gd name="connsiteY229" fmla="*/ 5451 h 10000"/>
                <a:gd name="connsiteX230" fmla="*/ 1537 w 10000"/>
                <a:gd name="connsiteY230" fmla="*/ 5577 h 10000"/>
                <a:gd name="connsiteX231" fmla="*/ 1412 w 10000"/>
                <a:gd name="connsiteY231" fmla="*/ 5663 h 10000"/>
                <a:gd name="connsiteX232" fmla="*/ 915 w 10000"/>
                <a:gd name="connsiteY232" fmla="*/ 5730 h 10000"/>
                <a:gd name="connsiteX233" fmla="*/ 885 w 10000"/>
                <a:gd name="connsiteY233" fmla="*/ 5846 h 10000"/>
                <a:gd name="connsiteX234" fmla="*/ 617 w 10000"/>
                <a:gd name="connsiteY234" fmla="*/ 6019 h 10000"/>
                <a:gd name="connsiteX235" fmla="*/ 652 w 10000"/>
                <a:gd name="connsiteY235" fmla="*/ 6268 h 10000"/>
                <a:gd name="connsiteX236" fmla="*/ 427 w 10000"/>
                <a:gd name="connsiteY236" fmla="*/ 6587 h 10000"/>
                <a:gd name="connsiteX237" fmla="*/ 274 w 10000"/>
                <a:gd name="connsiteY237" fmla="*/ 6624 h 10000"/>
                <a:gd name="connsiteX238" fmla="*/ 210 w 10000"/>
                <a:gd name="connsiteY238" fmla="*/ 6548 h 10000"/>
                <a:gd name="connsiteX239" fmla="*/ 132 w 10000"/>
                <a:gd name="connsiteY239" fmla="*/ 6663 h 10000"/>
                <a:gd name="connsiteX240" fmla="*/ 183 w 10000"/>
                <a:gd name="connsiteY240" fmla="*/ 6465 h 10000"/>
                <a:gd name="connsiteX241" fmla="*/ 151 w 10000"/>
                <a:gd name="connsiteY241"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37 w 10000"/>
                <a:gd name="connsiteY162" fmla="*/ 3424 h 10000"/>
                <a:gd name="connsiteX163" fmla="*/ 6854 w 10000"/>
                <a:gd name="connsiteY163" fmla="*/ 3404 h 10000"/>
                <a:gd name="connsiteX164" fmla="*/ 6886 w 10000"/>
                <a:gd name="connsiteY164" fmla="*/ 3250 h 10000"/>
                <a:gd name="connsiteX165" fmla="*/ 6822 w 10000"/>
                <a:gd name="connsiteY165" fmla="*/ 3167 h 10000"/>
                <a:gd name="connsiteX166" fmla="*/ 6832 w 10000"/>
                <a:gd name="connsiteY166" fmla="*/ 3101 h 10000"/>
                <a:gd name="connsiteX167" fmla="*/ 6868 w 10000"/>
                <a:gd name="connsiteY167" fmla="*/ 3178 h 10000"/>
                <a:gd name="connsiteX168" fmla="*/ 7011 w 10000"/>
                <a:gd name="connsiteY168" fmla="*/ 3236 h 10000"/>
                <a:gd name="connsiteX169" fmla="*/ 7070 w 10000"/>
                <a:gd name="connsiteY169" fmla="*/ 3229 h 10000"/>
                <a:gd name="connsiteX170" fmla="*/ 7164 w 10000"/>
                <a:gd name="connsiteY170" fmla="*/ 3152 h 10000"/>
                <a:gd name="connsiteX171" fmla="*/ 7292 w 10000"/>
                <a:gd name="connsiteY171" fmla="*/ 3122 h 10000"/>
                <a:gd name="connsiteX172" fmla="*/ 7175 w 10000"/>
                <a:gd name="connsiteY172" fmla="*/ 3036 h 10000"/>
                <a:gd name="connsiteX173" fmla="*/ 7307 w 10000"/>
                <a:gd name="connsiteY173" fmla="*/ 3045 h 10000"/>
                <a:gd name="connsiteX174" fmla="*/ 7442 w 10000"/>
                <a:gd name="connsiteY174" fmla="*/ 2999 h 10000"/>
                <a:gd name="connsiteX175" fmla="*/ 7565 w 10000"/>
                <a:gd name="connsiteY175" fmla="*/ 2936 h 10000"/>
                <a:gd name="connsiteX176" fmla="*/ 7684 w 10000"/>
                <a:gd name="connsiteY176" fmla="*/ 2754 h 10000"/>
                <a:gd name="connsiteX177" fmla="*/ 8132 w 10000"/>
                <a:gd name="connsiteY177" fmla="*/ 2690 h 10000"/>
                <a:gd name="connsiteX178" fmla="*/ 8417 w 10000"/>
                <a:gd name="connsiteY178" fmla="*/ 2524 h 10000"/>
                <a:gd name="connsiteX179" fmla="*/ 8527 w 10000"/>
                <a:gd name="connsiteY179" fmla="*/ 2575 h 10000"/>
                <a:gd name="connsiteX180" fmla="*/ 8864 w 10000"/>
                <a:gd name="connsiteY180" fmla="*/ 2396 h 10000"/>
                <a:gd name="connsiteX181" fmla="*/ 8973 w 10000"/>
                <a:gd name="connsiteY181" fmla="*/ 2418 h 10000"/>
                <a:gd name="connsiteX182" fmla="*/ 9042 w 10000"/>
                <a:gd name="connsiteY182" fmla="*/ 2381 h 10000"/>
                <a:gd name="connsiteX183" fmla="*/ 9231 w 10000"/>
                <a:gd name="connsiteY183" fmla="*/ 2330 h 10000"/>
                <a:gd name="connsiteX184" fmla="*/ 9310 w 10000"/>
                <a:gd name="connsiteY184" fmla="*/ 2263 h 10000"/>
                <a:gd name="connsiteX185" fmla="*/ 9417 w 10000"/>
                <a:gd name="connsiteY185" fmla="*/ 2235 h 10000"/>
                <a:gd name="connsiteX186" fmla="*/ 10000 w 10000"/>
                <a:gd name="connsiteY186" fmla="*/ 1832 h 10000"/>
                <a:gd name="connsiteX187" fmla="*/ 9652 w 10000"/>
                <a:gd name="connsiteY187" fmla="*/ 1699 h 10000"/>
                <a:gd name="connsiteX188" fmla="*/ 9147 w 10000"/>
                <a:gd name="connsiteY188" fmla="*/ 1773 h 10000"/>
                <a:gd name="connsiteX189" fmla="*/ 8784 w 10000"/>
                <a:gd name="connsiteY189" fmla="*/ 1639 h 10000"/>
                <a:gd name="connsiteX190" fmla="*/ 8850 w 10000"/>
                <a:gd name="connsiteY190" fmla="*/ 1480 h 10000"/>
                <a:gd name="connsiteX191" fmla="*/ 7497 w 10000"/>
                <a:gd name="connsiteY191" fmla="*/ 923 h 10000"/>
                <a:gd name="connsiteX192" fmla="*/ 7522 w 10000"/>
                <a:gd name="connsiteY192" fmla="*/ 649 h 10000"/>
                <a:gd name="connsiteX193" fmla="*/ 7012 w 10000"/>
                <a:gd name="connsiteY193" fmla="*/ 590 h 10000"/>
                <a:gd name="connsiteX194" fmla="*/ 6413 w 10000"/>
                <a:gd name="connsiteY194" fmla="*/ 332 h 10000"/>
                <a:gd name="connsiteX195" fmla="*/ 5098 w 10000"/>
                <a:gd name="connsiteY195" fmla="*/ 0 h 10000"/>
                <a:gd name="connsiteX196" fmla="*/ 4837 w 10000"/>
                <a:gd name="connsiteY196" fmla="*/ 82 h 10000"/>
                <a:gd name="connsiteX197" fmla="*/ 4671 w 10000"/>
                <a:gd name="connsiteY197" fmla="*/ 78 h 10000"/>
                <a:gd name="connsiteX198" fmla="*/ 4571 w 10000"/>
                <a:gd name="connsiteY198" fmla="*/ 107 h 10000"/>
                <a:gd name="connsiteX199" fmla="*/ 4298 w 10000"/>
                <a:gd name="connsiteY199" fmla="*/ 913 h 10000"/>
                <a:gd name="connsiteX200" fmla="*/ 3668 w 10000"/>
                <a:gd name="connsiteY200" fmla="*/ 1383 h 10000"/>
                <a:gd name="connsiteX201" fmla="*/ 3672 w 10000"/>
                <a:gd name="connsiteY201" fmla="*/ 1457 h 10000"/>
                <a:gd name="connsiteX202" fmla="*/ 3952 w 10000"/>
                <a:gd name="connsiteY202" fmla="*/ 1668 h 10000"/>
                <a:gd name="connsiteX203" fmla="*/ 3861 w 10000"/>
                <a:gd name="connsiteY203" fmla="*/ 1896 h 10000"/>
                <a:gd name="connsiteX204" fmla="*/ 3698 w 10000"/>
                <a:gd name="connsiteY204" fmla="*/ 1979 h 10000"/>
                <a:gd name="connsiteX205" fmla="*/ 3208 w 10000"/>
                <a:gd name="connsiteY205" fmla="*/ 1924 h 10000"/>
                <a:gd name="connsiteX206" fmla="*/ 2871 w 10000"/>
                <a:gd name="connsiteY206" fmla="*/ 1955 h 10000"/>
                <a:gd name="connsiteX207" fmla="*/ 2601 w 10000"/>
                <a:gd name="connsiteY207" fmla="*/ 2023 h 10000"/>
                <a:gd name="connsiteX208" fmla="*/ 2163 w 10000"/>
                <a:gd name="connsiteY208" fmla="*/ 2233 h 10000"/>
                <a:gd name="connsiteX209" fmla="*/ 1931 w 10000"/>
                <a:gd name="connsiteY209" fmla="*/ 2487 h 10000"/>
                <a:gd name="connsiteX210" fmla="*/ 1951 w 10000"/>
                <a:gd name="connsiteY210" fmla="*/ 2629 h 10000"/>
                <a:gd name="connsiteX211" fmla="*/ 2032 w 10000"/>
                <a:gd name="connsiteY211" fmla="*/ 2738 h 10000"/>
                <a:gd name="connsiteX212" fmla="*/ 2093 w 10000"/>
                <a:gd name="connsiteY212" fmla="*/ 2782 h 10000"/>
                <a:gd name="connsiteX213" fmla="*/ 1979 w 10000"/>
                <a:gd name="connsiteY213" fmla="*/ 2852 h 10000"/>
                <a:gd name="connsiteX214" fmla="*/ 1731 w 10000"/>
                <a:gd name="connsiteY214" fmla="*/ 3330 h 10000"/>
                <a:gd name="connsiteX215" fmla="*/ 1779 w 10000"/>
                <a:gd name="connsiteY215" fmla="*/ 3358 h 10000"/>
                <a:gd name="connsiteX216" fmla="*/ 1815 w 10000"/>
                <a:gd name="connsiteY216" fmla="*/ 3479 h 10000"/>
                <a:gd name="connsiteX217" fmla="*/ 1700 w 10000"/>
                <a:gd name="connsiteY217" fmla="*/ 3982 h 10000"/>
                <a:gd name="connsiteX218" fmla="*/ 1815 w 10000"/>
                <a:gd name="connsiteY218" fmla="*/ 4110 h 10000"/>
                <a:gd name="connsiteX219" fmla="*/ 2131 w 10000"/>
                <a:gd name="connsiteY219" fmla="*/ 4251 h 10000"/>
                <a:gd name="connsiteX220" fmla="*/ 2145 w 10000"/>
                <a:gd name="connsiteY220" fmla="*/ 4423 h 10000"/>
                <a:gd name="connsiteX221" fmla="*/ 2010 w 10000"/>
                <a:gd name="connsiteY221" fmla="*/ 4566 h 10000"/>
                <a:gd name="connsiteX222" fmla="*/ 1815 w 10000"/>
                <a:gd name="connsiteY222" fmla="*/ 4652 h 10000"/>
                <a:gd name="connsiteX223" fmla="*/ 1557 w 10000"/>
                <a:gd name="connsiteY223" fmla="*/ 4687 h 10000"/>
                <a:gd name="connsiteX224" fmla="*/ 1490 w 10000"/>
                <a:gd name="connsiteY224" fmla="*/ 4737 h 10000"/>
                <a:gd name="connsiteX225" fmla="*/ 1640 w 10000"/>
                <a:gd name="connsiteY225" fmla="*/ 4855 h 10000"/>
                <a:gd name="connsiteX226" fmla="*/ 1726 w 10000"/>
                <a:gd name="connsiteY226" fmla="*/ 5136 h 10000"/>
                <a:gd name="connsiteX227" fmla="*/ 1531 w 10000"/>
                <a:gd name="connsiteY227" fmla="*/ 5376 h 10000"/>
                <a:gd name="connsiteX228" fmla="*/ 1599 w 10000"/>
                <a:gd name="connsiteY228" fmla="*/ 5451 h 10000"/>
                <a:gd name="connsiteX229" fmla="*/ 1537 w 10000"/>
                <a:gd name="connsiteY229" fmla="*/ 5577 h 10000"/>
                <a:gd name="connsiteX230" fmla="*/ 1412 w 10000"/>
                <a:gd name="connsiteY230" fmla="*/ 5663 h 10000"/>
                <a:gd name="connsiteX231" fmla="*/ 915 w 10000"/>
                <a:gd name="connsiteY231" fmla="*/ 5730 h 10000"/>
                <a:gd name="connsiteX232" fmla="*/ 885 w 10000"/>
                <a:gd name="connsiteY232" fmla="*/ 5846 h 10000"/>
                <a:gd name="connsiteX233" fmla="*/ 617 w 10000"/>
                <a:gd name="connsiteY233" fmla="*/ 6019 h 10000"/>
                <a:gd name="connsiteX234" fmla="*/ 652 w 10000"/>
                <a:gd name="connsiteY234" fmla="*/ 6268 h 10000"/>
                <a:gd name="connsiteX235" fmla="*/ 427 w 10000"/>
                <a:gd name="connsiteY235" fmla="*/ 6587 h 10000"/>
                <a:gd name="connsiteX236" fmla="*/ 274 w 10000"/>
                <a:gd name="connsiteY236" fmla="*/ 6624 h 10000"/>
                <a:gd name="connsiteX237" fmla="*/ 210 w 10000"/>
                <a:gd name="connsiteY237" fmla="*/ 6548 h 10000"/>
                <a:gd name="connsiteX238" fmla="*/ 132 w 10000"/>
                <a:gd name="connsiteY238" fmla="*/ 6663 h 10000"/>
                <a:gd name="connsiteX239" fmla="*/ 183 w 10000"/>
                <a:gd name="connsiteY239" fmla="*/ 6465 h 10000"/>
                <a:gd name="connsiteX240" fmla="*/ 151 w 10000"/>
                <a:gd name="connsiteY24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37 w 10000"/>
                <a:gd name="connsiteY162" fmla="*/ 3424 h 10000"/>
                <a:gd name="connsiteX163" fmla="*/ 6854 w 10000"/>
                <a:gd name="connsiteY163" fmla="*/ 3404 h 10000"/>
                <a:gd name="connsiteX164" fmla="*/ 6886 w 10000"/>
                <a:gd name="connsiteY164" fmla="*/ 3250 h 10000"/>
                <a:gd name="connsiteX165" fmla="*/ 6822 w 10000"/>
                <a:gd name="connsiteY165" fmla="*/ 3167 h 10000"/>
                <a:gd name="connsiteX166" fmla="*/ 6832 w 10000"/>
                <a:gd name="connsiteY166" fmla="*/ 3101 h 10000"/>
                <a:gd name="connsiteX167" fmla="*/ 6868 w 10000"/>
                <a:gd name="connsiteY167" fmla="*/ 3178 h 10000"/>
                <a:gd name="connsiteX168" fmla="*/ 7011 w 10000"/>
                <a:gd name="connsiteY168" fmla="*/ 3236 h 10000"/>
                <a:gd name="connsiteX169" fmla="*/ 7070 w 10000"/>
                <a:gd name="connsiteY169" fmla="*/ 3229 h 10000"/>
                <a:gd name="connsiteX170" fmla="*/ 7164 w 10000"/>
                <a:gd name="connsiteY170" fmla="*/ 3152 h 10000"/>
                <a:gd name="connsiteX171" fmla="*/ 7292 w 10000"/>
                <a:gd name="connsiteY171" fmla="*/ 3122 h 10000"/>
                <a:gd name="connsiteX172" fmla="*/ 7175 w 10000"/>
                <a:gd name="connsiteY172" fmla="*/ 3036 h 10000"/>
                <a:gd name="connsiteX173" fmla="*/ 7307 w 10000"/>
                <a:gd name="connsiteY173" fmla="*/ 3045 h 10000"/>
                <a:gd name="connsiteX174" fmla="*/ 7442 w 10000"/>
                <a:gd name="connsiteY174" fmla="*/ 2999 h 10000"/>
                <a:gd name="connsiteX175" fmla="*/ 7565 w 10000"/>
                <a:gd name="connsiteY175" fmla="*/ 2936 h 10000"/>
                <a:gd name="connsiteX176" fmla="*/ 7684 w 10000"/>
                <a:gd name="connsiteY176" fmla="*/ 2754 h 10000"/>
                <a:gd name="connsiteX177" fmla="*/ 8132 w 10000"/>
                <a:gd name="connsiteY177" fmla="*/ 2690 h 10000"/>
                <a:gd name="connsiteX178" fmla="*/ 8417 w 10000"/>
                <a:gd name="connsiteY178" fmla="*/ 2524 h 10000"/>
                <a:gd name="connsiteX179" fmla="*/ 8527 w 10000"/>
                <a:gd name="connsiteY179" fmla="*/ 2575 h 10000"/>
                <a:gd name="connsiteX180" fmla="*/ 8864 w 10000"/>
                <a:gd name="connsiteY180" fmla="*/ 2396 h 10000"/>
                <a:gd name="connsiteX181" fmla="*/ 8973 w 10000"/>
                <a:gd name="connsiteY181" fmla="*/ 2418 h 10000"/>
                <a:gd name="connsiteX182" fmla="*/ 9231 w 10000"/>
                <a:gd name="connsiteY182" fmla="*/ 2330 h 10000"/>
                <a:gd name="connsiteX183" fmla="*/ 9310 w 10000"/>
                <a:gd name="connsiteY183" fmla="*/ 2263 h 10000"/>
                <a:gd name="connsiteX184" fmla="*/ 9417 w 10000"/>
                <a:gd name="connsiteY184" fmla="*/ 2235 h 10000"/>
                <a:gd name="connsiteX185" fmla="*/ 10000 w 10000"/>
                <a:gd name="connsiteY185" fmla="*/ 1832 h 10000"/>
                <a:gd name="connsiteX186" fmla="*/ 9652 w 10000"/>
                <a:gd name="connsiteY186" fmla="*/ 1699 h 10000"/>
                <a:gd name="connsiteX187" fmla="*/ 9147 w 10000"/>
                <a:gd name="connsiteY187" fmla="*/ 1773 h 10000"/>
                <a:gd name="connsiteX188" fmla="*/ 8784 w 10000"/>
                <a:gd name="connsiteY188" fmla="*/ 1639 h 10000"/>
                <a:gd name="connsiteX189" fmla="*/ 8850 w 10000"/>
                <a:gd name="connsiteY189" fmla="*/ 1480 h 10000"/>
                <a:gd name="connsiteX190" fmla="*/ 7497 w 10000"/>
                <a:gd name="connsiteY190" fmla="*/ 923 h 10000"/>
                <a:gd name="connsiteX191" fmla="*/ 7522 w 10000"/>
                <a:gd name="connsiteY191" fmla="*/ 649 h 10000"/>
                <a:gd name="connsiteX192" fmla="*/ 7012 w 10000"/>
                <a:gd name="connsiteY192" fmla="*/ 590 h 10000"/>
                <a:gd name="connsiteX193" fmla="*/ 6413 w 10000"/>
                <a:gd name="connsiteY193" fmla="*/ 332 h 10000"/>
                <a:gd name="connsiteX194" fmla="*/ 5098 w 10000"/>
                <a:gd name="connsiteY194" fmla="*/ 0 h 10000"/>
                <a:gd name="connsiteX195" fmla="*/ 4837 w 10000"/>
                <a:gd name="connsiteY195" fmla="*/ 82 h 10000"/>
                <a:gd name="connsiteX196" fmla="*/ 4671 w 10000"/>
                <a:gd name="connsiteY196" fmla="*/ 78 h 10000"/>
                <a:gd name="connsiteX197" fmla="*/ 4571 w 10000"/>
                <a:gd name="connsiteY197" fmla="*/ 107 h 10000"/>
                <a:gd name="connsiteX198" fmla="*/ 4298 w 10000"/>
                <a:gd name="connsiteY198" fmla="*/ 913 h 10000"/>
                <a:gd name="connsiteX199" fmla="*/ 3668 w 10000"/>
                <a:gd name="connsiteY199" fmla="*/ 1383 h 10000"/>
                <a:gd name="connsiteX200" fmla="*/ 3672 w 10000"/>
                <a:gd name="connsiteY200" fmla="*/ 1457 h 10000"/>
                <a:gd name="connsiteX201" fmla="*/ 3952 w 10000"/>
                <a:gd name="connsiteY201" fmla="*/ 1668 h 10000"/>
                <a:gd name="connsiteX202" fmla="*/ 3861 w 10000"/>
                <a:gd name="connsiteY202" fmla="*/ 1896 h 10000"/>
                <a:gd name="connsiteX203" fmla="*/ 3698 w 10000"/>
                <a:gd name="connsiteY203" fmla="*/ 1979 h 10000"/>
                <a:gd name="connsiteX204" fmla="*/ 3208 w 10000"/>
                <a:gd name="connsiteY204" fmla="*/ 1924 h 10000"/>
                <a:gd name="connsiteX205" fmla="*/ 2871 w 10000"/>
                <a:gd name="connsiteY205" fmla="*/ 1955 h 10000"/>
                <a:gd name="connsiteX206" fmla="*/ 2601 w 10000"/>
                <a:gd name="connsiteY206" fmla="*/ 2023 h 10000"/>
                <a:gd name="connsiteX207" fmla="*/ 2163 w 10000"/>
                <a:gd name="connsiteY207" fmla="*/ 2233 h 10000"/>
                <a:gd name="connsiteX208" fmla="*/ 1931 w 10000"/>
                <a:gd name="connsiteY208" fmla="*/ 2487 h 10000"/>
                <a:gd name="connsiteX209" fmla="*/ 1951 w 10000"/>
                <a:gd name="connsiteY209" fmla="*/ 2629 h 10000"/>
                <a:gd name="connsiteX210" fmla="*/ 2032 w 10000"/>
                <a:gd name="connsiteY210" fmla="*/ 2738 h 10000"/>
                <a:gd name="connsiteX211" fmla="*/ 2093 w 10000"/>
                <a:gd name="connsiteY211" fmla="*/ 2782 h 10000"/>
                <a:gd name="connsiteX212" fmla="*/ 1979 w 10000"/>
                <a:gd name="connsiteY212" fmla="*/ 2852 h 10000"/>
                <a:gd name="connsiteX213" fmla="*/ 1731 w 10000"/>
                <a:gd name="connsiteY213" fmla="*/ 3330 h 10000"/>
                <a:gd name="connsiteX214" fmla="*/ 1779 w 10000"/>
                <a:gd name="connsiteY214" fmla="*/ 3358 h 10000"/>
                <a:gd name="connsiteX215" fmla="*/ 1815 w 10000"/>
                <a:gd name="connsiteY215" fmla="*/ 3479 h 10000"/>
                <a:gd name="connsiteX216" fmla="*/ 1700 w 10000"/>
                <a:gd name="connsiteY216" fmla="*/ 3982 h 10000"/>
                <a:gd name="connsiteX217" fmla="*/ 1815 w 10000"/>
                <a:gd name="connsiteY217" fmla="*/ 4110 h 10000"/>
                <a:gd name="connsiteX218" fmla="*/ 2131 w 10000"/>
                <a:gd name="connsiteY218" fmla="*/ 4251 h 10000"/>
                <a:gd name="connsiteX219" fmla="*/ 2145 w 10000"/>
                <a:gd name="connsiteY219" fmla="*/ 4423 h 10000"/>
                <a:gd name="connsiteX220" fmla="*/ 2010 w 10000"/>
                <a:gd name="connsiteY220" fmla="*/ 4566 h 10000"/>
                <a:gd name="connsiteX221" fmla="*/ 1815 w 10000"/>
                <a:gd name="connsiteY221" fmla="*/ 4652 h 10000"/>
                <a:gd name="connsiteX222" fmla="*/ 1557 w 10000"/>
                <a:gd name="connsiteY222" fmla="*/ 4687 h 10000"/>
                <a:gd name="connsiteX223" fmla="*/ 1490 w 10000"/>
                <a:gd name="connsiteY223" fmla="*/ 4737 h 10000"/>
                <a:gd name="connsiteX224" fmla="*/ 1640 w 10000"/>
                <a:gd name="connsiteY224" fmla="*/ 4855 h 10000"/>
                <a:gd name="connsiteX225" fmla="*/ 1726 w 10000"/>
                <a:gd name="connsiteY225" fmla="*/ 5136 h 10000"/>
                <a:gd name="connsiteX226" fmla="*/ 1531 w 10000"/>
                <a:gd name="connsiteY226" fmla="*/ 5376 h 10000"/>
                <a:gd name="connsiteX227" fmla="*/ 1599 w 10000"/>
                <a:gd name="connsiteY227" fmla="*/ 5451 h 10000"/>
                <a:gd name="connsiteX228" fmla="*/ 1537 w 10000"/>
                <a:gd name="connsiteY228" fmla="*/ 5577 h 10000"/>
                <a:gd name="connsiteX229" fmla="*/ 1412 w 10000"/>
                <a:gd name="connsiteY229" fmla="*/ 5663 h 10000"/>
                <a:gd name="connsiteX230" fmla="*/ 915 w 10000"/>
                <a:gd name="connsiteY230" fmla="*/ 5730 h 10000"/>
                <a:gd name="connsiteX231" fmla="*/ 885 w 10000"/>
                <a:gd name="connsiteY231" fmla="*/ 5846 h 10000"/>
                <a:gd name="connsiteX232" fmla="*/ 617 w 10000"/>
                <a:gd name="connsiteY232" fmla="*/ 6019 h 10000"/>
                <a:gd name="connsiteX233" fmla="*/ 652 w 10000"/>
                <a:gd name="connsiteY233" fmla="*/ 6268 h 10000"/>
                <a:gd name="connsiteX234" fmla="*/ 427 w 10000"/>
                <a:gd name="connsiteY234" fmla="*/ 6587 h 10000"/>
                <a:gd name="connsiteX235" fmla="*/ 274 w 10000"/>
                <a:gd name="connsiteY235" fmla="*/ 6624 h 10000"/>
                <a:gd name="connsiteX236" fmla="*/ 210 w 10000"/>
                <a:gd name="connsiteY236" fmla="*/ 6548 h 10000"/>
                <a:gd name="connsiteX237" fmla="*/ 132 w 10000"/>
                <a:gd name="connsiteY237" fmla="*/ 6663 h 10000"/>
                <a:gd name="connsiteX238" fmla="*/ 183 w 10000"/>
                <a:gd name="connsiteY238" fmla="*/ 6465 h 10000"/>
                <a:gd name="connsiteX239" fmla="*/ 151 w 10000"/>
                <a:gd name="connsiteY239"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37 w 10000"/>
                <a:gd name="connsiteY162" fmla="*/ 3424 h 10000"/>
                <a:gd name="connsiteX163" fmla="*/ 6854 w 10000"/>
                <a:gd name="connsiteY163" fmla="*/ 3404 h 10000"/>
                <a:gd name="connsiteX164" fmla="*/ 6886 w 10000"/>
                <a:gd name="connsiteY164" fmla="*/ 3250 h 10000"/>
                <a:gd name="connsiteX165" fmla="*/ 6822 w 10000"/>
                <a:gd name="connsiteY165" fmla="*/ 3167 h 10000"/>
                <a:gd name="connsiteX166" fmla="*/ 6832 w 10000"/>
                <a:gd name="connsiteY166" fmla="*/ 3101 h 10000"/>
                <a:gd name="connsiteX167" fmla="*/ 6868 w 10000"/>
                <a:gd name="connsiteY167" fmla="*/ 3178 h 10000"/>
                <a:gd name="connsiteX168" fmla="*/ 7011 w 10000"/>
                <a:gd name="connsiteY168" fmla="*/ 3236 h 10000"/>
                <a:gd name="connsiteX169" fmla="*/ 7070 w 10000"/>
                <a:gd name="connsiteY169" fmla="*/ 3229 h 10000"/>
                <a:gd name="connsiteX170" fmla="*/ 7164 w 10000"/>
                <a:gd name="connsiteY170" fmla="*/ 3152 h 10000"/>
                <a:gd name="connsiteX171" fmla="*/ 7292 w 10000"/>
                <a:gd name="connsiteY171" fmla="*/ 3122 h 10000"/>
                <a:gd name="connsiteX172" fmla="*/ 7175 w 10000"/>
                <a:gd name="connsiteY172" fmla="*/ 3036 h 10000"/>
                <a:gd name="connsiteX173" fmla="*/ 7307 w 10000"/>
                <a:gd name="connsiteY173" fmla="*/ 3045 h 10000"/>
                <a:gd name="connsiteX174" fmla="*/ 7442 w 10000"/>
                <a:gd name="connsiteY174" fmla="*/ 2999 h 10000"/>
                <a:gd name="connsiteX175" fmla="*/ 7565 w 10000"/>
                <a:gd name="connsiteY175" fmla="*/ 2936 h 10000"/>
                <a:gd name="connsiteX176" fmla="*/ 7684 w 10000"/>
                <a:gd name="connsiteY176" fmla="*/ 2754 h 10000"/>
                <a:gd name="connsiteX177" fmla="*/ 8132 w 10000"/>
                <a:gd name="connsiteY177" fmla="*/ 2690 h 10000"/>
                <a:gd name="connsiteX178" fmla="*/ 8417 w 10000"/>
                <a:gd name="connsiteY178" fmla="*/ 2524 h 10000"/>
                <a:gd name="connsiteX179" fmla="*/ 8527 w 10000"/>
                <a:gd name="connsiteY179" fmla="*/ 2575 h 10000"/>
                <a:gd name="connsiteX180" fmla="*/ 8864 w 10000"/>
                <a:gd name="connsiteY180" fmla="*/ 2396 h 10000"/>
                <a:gd name="connsiteX181" fmla="*/ 8973 w 10000"/>
                <a:gd name="connsiteY181" fmla="*/ 2418 h 10000"/>
                <a:gd name="connsiteX182" fmla="*/ 9310 w 10000"/>
                <a:gd name="connsiteY182" fmla="*/ 2263 h 10000"/>
                <a:gd name="connsiteX183" fmla="*/ 9417 w 10000"/>
                <a:gd name="connsiteY183" fmla="*/ 2235 h 10000"/>
                <a:gd name="connsiteX184" fmla="*/ 10000 w 10000"/>
                <a:gd name="connsiteY184" fmla="*/ 1832 h 10000"/>
                <a:gd name="connsiteX185" fmla="*/ 9652 w 10000"/>
                <a:gd name="connsiteY185" fmla="*/ 1699 h 10000"/>
                <a:gd name="connsiteX186" fmla="*/ 9147 w 10000"/>
                <a:gd name="connsiteY186" fmla="*/ 1773 h 10000"/>
                <a:gd name="connsiteX187" fmla="*/ 8784 w 10000"/>
                <a:gd name="connsiteY187" fmla="*/ 1639 h 10000"/>
                <a:gd name="connsiteX188" fmla="*/ 8850 w 10000"/>
                <a:gd name="connsiteY188" fmla="*/ 1480 h 10000"/>
                <a:gd name="connsiteX189" fmla="*/ 7497 w 10000"/>
                <a:gd name="connsiteY189" fmla="*/ 923 h 10000"/>
                <a:gd name="connsiteX190" fmla="*/ 7522 w 10000"/>
                <a:gd name="connsiteY190" fmla="*/ 649 h 10000"/>
                <a:gd name="connsiteX191" fmla="*/ 7012 w 10000"/>
                <a:gd name="connsiteY191" fmla="*/ 590 h 10000"/>
                <a:gd name="connsiteX192" fmla="*/ 6413 w 10000"/>
                <a:gd name="connsiteY192" fmla="*/ 332 h 10000"/>
                <a:gd name="connsiteX193" fmla="*/ 5098 w 10000"/>
                <a:gd name="connsiteY193" fmla="*/ 0 h 10000"/>
                <a:gd name="connsiteX194" fmla="*/ 4837 w 10000"/>
                <a:gd name="connsiteY194" fmla="*/ 82 h 10000"/>
                <a:gd name="connsiteX195" fmla="*/ 4671 w 10000"/>
                <a:gd name="connsiteY195" fmla="*/ 78 h 10000"/>
                <a:gd name="connsiteX196" fmla="*/ 4571 w 10000"/>
                <a:gd name="connsiteY196" fmla="*/ 107 h 10000"/>
                <a:gd name="connsiteX197" fmla="*/ 4298 w 10000"/>
                <a:gd name="connsiteY197" fmla="*/ 913 h 10000"/>
                <a:gd name="connsiteX198" fmla="*/ 3668 w 10000"/>
                <a:gd name="connsiteY198" fmla="*/ 1383 h 10000"/>
                <a:gd name="connsiteX199" fmla="*/ 3672 w 10000"/>
                <a:gd name="connsiteY199" fmla="*/ 1457 h 10000"/>
                <a:gd name="connsiteX200" fmla="*/ 3952 w 10000"/>
                <a:gd name="connsiteY200" fmla="*/ 1668 h 10000"/>
                <a:gd name="connsiteX201" fmla="*/ 3861 w 10000"/>
                <a:gd name="connsiteY201" fmla="*/ 1896 h 10000"/>
                <a:gd name="connsiteX202" fmla="*/ 3698 w 10000"/>
                <a:gd name="connsiteY202" fmla="*/ 1979 h 10000"/>
                <a:gd name="connsiteX203" fmla="*/ 3208 w 10000"/>
                <a:gd name="connsiteY203" fmla="*/ 1924 h 10000"/>
                <a:gd name="connsiteX204" fmla="*/ 2871 w 10000"/>
                <a:gd name="connsiteY204" fmla="*/ 1955 h 10000"/>
                <a:gd name="connsiteX205" fmla="*/ 2601 w 10000"/>
                <a:gd name="connsiteY205" fmla="*/ 2023 h 10000"/>
                <a:gd name="connsiteX206" fmla="*/ 2163 w 10000"/>
                <a:gd name="connsiteY206" fmla="*/ 2233 h 10000"/>
                <a:gd name="connsiteX207" fmla="*/ 1931 w 10000"/>
                <a:gd name="connsiteY207" fmla="*/ 2487 h 10000"/>
                <a:gd name="connsiteX208" fmla="*/ 1951 w 10000"/>
                <a:gd name="connsiteY208" fmla="*/ 2629 h 10000"/>
                <a:gd name="connsiteX209" fmla="*/ 2032 w 10000"/>
                <a:gd name="connsiteY209" fmla="*/ 2738 h 10000"/>
                <a:gd name="connsiteX210" fmla="*/ 2093 w 10000"/>
                <a:gd name="connsiteY210" fmla="*/ 2782 h 10000"/>
                <a:gd name="connsiteX211" fmla="*/ 1979 w 10000"/>
                <a:gd name="connsiteY211" fmla="*/ 2852 h 10000"/>
                <a:gd name="connsiteX212" fmla="*/ 1731 w 10000"/>
                <a:gd name="connsiteY212" fmla="*/ 3330 h 10000"/>
                <a:gd name="connsiteX213" fmla="*/ 1779 w 10000"/>
                <a:gd name="connsiteY213" fmla="*/ 3358 h 10000"/>
                <a:gd name="connsiteX214" fmla="*/ 1815 w 10000"/>
                <a:gd name="connsiteY214" fmla="*/ 3479 h 10000"/>
                <a:gd name="connsiteX215" fmla="*/ 1700 w 10000"/>
                <a:gd name="connsiteY215" fmla="*/ 3982 h 10000"/>
                <a:gd name="connsiteX216" fmla="*/ 1815 w 10000"/>
                <a:gd name="connsiteY216" fmla="*/ 4110 h 10000"/>
                <a:gd name="connsiteX217" fmla="*/ 2131 w 10000"/>
                <a:gd name="connsiteY217" fmla="*/ 4251 h 10000"/>
                <a:gd name="connsiteX218" fmla="*/ 2145 w 10000"/>
                <a:gd name="connsiteY218" fmla="*/ 4423 h 10000"/>
                <a:gd name="connsiteX219" fmla="*/ 2010 w 10000"/>
                <a:gd name="connsiteY219" fmla="*/ 4566 h 10000"/>
                <a:gd name="connsiteX220" fmla="*/ 1815 w 10000"/>
                <a:gd name="connsiteY220" fmla="*/ 4652 h 10000"/>
                <a:gd name="connsiteX221" fmla="*/ 1557 w 10000"/>
                <a:gd name="connsiteY221" fmla="*/ 4687 h 10000"/>
                <a:gd name="connsiteX222" fmla="*/ 1490 w 10000"/>
                <a:gd name="connsiteY222" fmla="*/ 4737 h 10000"/>
                <a:gd name="connsiteX223" fmla="*/ 1640 w 10000"/>
                <a:gd name="connsiteY223" fmla="*/ 4855 h 10000"/>
                <a:gd name="connsiteX224" fmla="*/ 1726 w 10000"/>
                <a:gd name="connsiteY224" fmla="*/ 5136 h 10000"/>
                <a:gd name="connsiteX225" fmla="*/ 1531 w 10000"/>
                <a:gd name="connsiteY225" fmla="*/ 5376 h 10000"/>
                <a:gd name="connsiteX226" fmla="*/ 1599 w 10000"/>
                <a:gd name="connsiteY226" fmla="*/ 5451 h 10000"/>
                <a:gd name="connsiteX227" fmla="*/ 1537 w 10000"/>
                <a:gd name="connsiteY227" fmla="*/ 5577 h 10000"/>
                <a:gd name="connsiteX228" fmla="*/ 1412 w 10000"/>
                <a:gd name="connsiteY228" fmla="*/ 5663 h 10000"/>
                <a:gd name="connsiteX229" fmla="*/ 915 w 10000"/>
                <a:gd name="connsiteY229" fmla="*/ 5730 h 10000"/>
                <a:gd name="connsiteX230" fmla="*/ 885 w 10000"/>
                <a:gd name="connsiteY230" fmla="*/ 5846 h 10000"/>
                <a:gd name="connsiteX231" fmla="*/ 617 w 10000"/>
                <a:gd name="connsiteY231" fmla="*/ 6019 h 10000"/>
                <a:gd name="connsiteX232" fmla="*/ 652 w 10000"/>
                <a:gd name="connsiteY232" fmla="*/ 6268 h 10000"/>
                <a:gd name="connsiteX233" fmla="*/ 427 w 10000"/>
                <a:gd name="connsiteY233" fmla="*/ 6587 h 10000"/>
                <a:gd name="connsiteX234" fmla="*/ 274 w 10000"/>
                <a:gd name="connsiteY234" fmla="*/ 6624 h 10000"/>
                <a:gd name="connsiteX235" fmla="*/ 210 w 10000"/>
                <a:gd name="connsiteY235" fmla="*/ 6548 h 10000"/>
                <a:gd name="connsiteX236" fmla="*/ 132 w 10000"/>
                <a:gd name="connsiteY236" fmla="*/ 6663 h 10000"/>
                <a:gd name="connsiteX237" fmla="*/ 183 w 10000"/>
                <a:gd name="connsiteY237" fmla="*/ 6465 h 10000"/>
                <a:gd name="connsiteX238" fmla="*/ 151 w 10000"/>
                <a:gd name="connsiteY238"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37 w 10000"/>
                <a:gd name="connsiteY162" fmla="*/ 3424 h 10000"/>
                <a:gd name="connsiteX163" fmla="*/ 6854 w 10000"/>
                <a:gd name="connsiteY163" fmla="*/ 3404 h 10000"/>
                <a:gd name="connsiteX164" fmla="*/ 6886 w 10000"/>
                <a:gd name="connsiteY164" fmla="*/ 3250 h 10000"/>
                <a:gd name="connsiteX165" fmla="*/ 6822 w 10000"/>
                <a:gd name="connsiteY165" fmla="*/ 3167 h 10000"/>
                <a:gd name="connsiteX166" fmla="*/ 6832 w 10000"/>
                <a:gd name="connsiteY166" fmla="*/ 3101 h 10000"/>
                <a:gd name="connsiteX167" fmla="*/ 6868 w 10000"/>
                <a:gd name="connsiteY167" fmla="*/ 3178 h 10000"/>
                <a:gd name="connsiteX168" fmla="*/ 7011 w 10000"/>
                <a:gd name="connsiteY168" fmla="*/ 3236 h 10000"/>
                <a:gd name="connsiteX169" fmla="*/ 7070 w 10000"/>
                <a:gd name="connsiteY169" fmla="*/ 3229 h 10000"/>
                <a:gd name="connsiteX170" fmla="*/ 7164 w 10000"/>
                <a:gd name="connsiteY170" fmla="*/ 3152 h 10000"/>
                <a:gd name="connsiteX171" fmla="*/ 7292 w 10000"/>
                <a:gd name="connsiteY171" fmla="*/ 3122 h 10000"/>
                <a:gd name="connsiteX172" fmla="*/ 7175 w 10000"/>
                <a:gd name="connsiteY172" fmla="*/ 3036 h 10000"/>
                <a:gd name="connsiteX173" fmla="*/ 7307 w 10000"/>
                <a:gd name="connsiteY173" fmla="*/ 3045 h 10000"/>
                <a:gd name="connsiteX174" fmla="*/ 7442 w 10000"/>
                <a:gd name="connsiteY174" fmla="*/ 2999 h 10000"/>
                <a:gd name="connsiteX175" fmla="*/ 7565 w 10000"/>
                <a:gd name="connsiteY175" fmla="*/ 2936 h 10000"/>
                <a:gd name="connsiteX176" fmla="*/ 7684 w 10000"/>
                <a:gd name="connsiteY176" fmla="*/ 2754 h 10000"/>
                <a:gd name="connsiteX177" fmla="*/ 8132 w 10000"/>
                <a:gd name="connsiteY177" fmla="*/ 2690 h 10000"/>
                <a:gd name="connsiteX178" fmla="*/ 8417 w 10000"/>
                <a:gd name="connsiteY178" fmla="*/ 2524 h 10000"/>
                <a:gd name="connsiteX179" fmla="*/ 8527 w 10000"/>
                <a:gd name="connsiteY179" fmla="*/ 2575 h 10000"/>
                <a:gd name="connsiteX180" fmla="*/ 8864 w 10000"/>
                <a:gd name="connsiteY180" fmla="*/ 2396 h 10000"/>
                <a:gd name="connsiteX181" fmla="*/ 9310 w 10000"/>
                <a:gd name="connsiteY181" fmla="*/ 2263 h 10000"/>
                <a:gd name="connsiteX182" fmla="*/ 9417 w 10000"/>
                <a:gd name="connsiteY182" fmla="*/ 2235 h 10000"/>
                <a:gd name="connsiteX183" fmla="*/ 10000 w 10000"/>
                <a:gd name="connsiteY183" fmla="*/ 1832 h 10000"/>
                <a:gd name="connsiteX184" fmla="*/ 9652 w 10000"/>
                <a:gd name="connsiteY184" fmla="*/ 1699 h 10000"/>
                <a:gd name="connsiteX185" fmla="*/ 9147 w 10000"/>
                <a:gd name="connsiteY185" fmla="*/ 1773 h 10000"/>
                <a:gd name="connsiteX186" fmla="*/ 8784 w 10000"/>
                <a:gd name="connsiteY186" fmla="*/ 1639 h 10000"/>
                <a:gd name="connsiteX187" fmla="*/ 8850 w 10000"/>
                <a:gd name="connsiteY187" fmla="*/ 1480 h 10000"/>
                <a:gd name="connsiteX188" fmla="*/ 7497 w 10000"/>
                <a:gd name="connsiteY188" fmla="*/ 923 h 10000"/>
                <a:gd name="connsiteX189" fmla="*/ 7522 w 10000"/>
                <a:gd name="connsiteY189" fmla="*/ 649 h 10000"/>
                <a:gd name="connsiteX190" fmla="*/ 7012 w 10000"/>
                <a:gd name="connsiteY190" fmla="*/ 590 h 10000"/>
                <a:gd name="connsiteX191" fmla="*/ 6413 w 10000"/>
                <a:gd name="connsiteY191" fmla="*/ 332 h 10000"/>
                <a:gd name="connsiteX192" fmla="*/ 5098 w 10000"/>
                <a:gd name="connsiteY192" fmla="*/ 0 h 10000"/>
                <a:gd name="connsiteX193" fmla="*/ 4837 w 10000"/>
                <a:gd name="connsiteY193" fmla="*/ 82 h 10000"/>
                <a:gd name="connsiteX194" fmla="*/ 4671 w 10000"/>
                <a:gd name="connsiteY194" fmla="*/ 78 h 10000"/>
                <a:gd name="connsiteX195" fmla="*/ 4571 w 10000"/>
                <a:gd name="connsiteY195" fmla="*/ 107 h 10000"/>
                <a:gd name="connsiteX196" fmla="*/ 4298 w 10000"/>
                <a:gd name="connsiteY196" fmla="*/ 913 h 10000"/>
                <a:gd name="connsiteX197" fmla="*/ 3668 w 10000"/>
                <a:gd name="connsiteY197" fmla="*/ 1383 h 10000"/>
                <a:gd name="connsiteX198" fmla="*/ 3672 w 10000"/>
                <a:gd name="connsiteY198" fmla="*/ 1457 h 10000"/>
                <a:gd name="connsiteX199" fmla="*/ 3952 w 10000"/>
                <a:gd name="connsiteY199" fmla="*/ 1668 h 10000"/>
                <a:gd name="connsiteX200" fmla="*/ 3861 w 10000"/>
                <a:gd name="connsiteY200" fmla="*/ 1896 h 10000"/>
                <a:gd name="connsiteX201" fmla="*/ 3698 w 10000"/>
                <a:gd name="connsiteY201" fmla="*/ 1979 h 10000"/>
                <a:gd name="connsiteX202" fmla="*/ 3208 w 10000"/>
                <a:gd name="connsiteY202" fmla="*/ 1924 h 10000"/>
                <a:gd name="connsiteX203" fmla="*/ 2871 w 10000"/>
                <a:gd name="connsiteY203" fmla="*/ 1955 h 10000"/>
                <a:gd name="connsiteX204" fmla="*/ 2601 w 10000"/>
                <a:gd name="connsiteY204" fmla="*/ 2023 h 10000"/>
                <a:gd name="connsiteX205" fmla="*/ 2163 w 10000"/>
                <a:gd name="connsiteY205" fmla="*/ 2233 h 10000"/>
                <a:gd name="connsiteX206" fmla="*/ 1931 w 10000"/>
                <a:gd name="connsiteY206" fmla="*/ 2487 h 10000"/>
                <a:gd name="connsiteX207" fmla="*/ 1951 w 10000"/>
                <a:gd name="connsiteY207" fmla="*/ 2629 h 10000"/>
                <a:gd name="connsiteX208" fmla="*/ 2032 w 10000"/>
                <a:gd name="connsiteY208" fmla="*/ 2738 h 10000"/>
                <a:gd name="connsiteX209" fmla="*/ 2093 w 10000"/>
                <a:gd name="connsiteY209" fmla="*/ 2782 h 10000"/>
                <a:gd name="connsiteX210" fmla="*/ 1979 w 10000"/>
                <a:gd name="connsiteY210" fmla="*/ 2852 h 10000"/>
                <a:gd name="connsiteX211" fmla="*/ 1731 w 10000"/>
                <a:gd name="connsiteY211" fmla="*/ 3330 h 10000"/>
                <a:gd name="connsiteX212" fmla="*/ 1779 w 10000"/>
                <a:gd name="connsiteY212" fmla="*/ 3358 h 10000"/>
                <a:gd name="connsiteX213" fmla="*/ 1815 w 10000"/>
                <a:gd name="connsiteY213" fmla="*/ 3479 h 10000"/>
                <a:gd name="connsiteX214" fmla="*/ 1700 w 10000"/>
                <a:gd name="connsiteY214" fmla="*/ 3982 h 10000"/>
                <a:gd name="connsiteX215" fmla="*/ 1815 w 10000"/>
                <a:gd name="connsiteY215" fmla="*/ 4110 h 10000"/>
                <a:gd name="connsiteX216" fmla="*/ 2131 w 10000"/>
                <a:gd name="connsiteY216" fmla="*/ 4251 h 10000"/>
                <a:gd name="connsiteX217" fmla="*/ 2145 w 10000"/>
                <a:gd name="connsiteY217" fmla="*/ 4423 h 10000"/>
                <a:gd name="connsiteX218" fmla="*/ 2010 w 10000"/>
                <a:gd name="connsiteY218" fmla="*/ 4566 h 10000"/>
                <a:gd name="connsiteX219" fmla="*/ 1815 w 10000"/>
                <a:gd name="connsiteY219" fmla="*/ 4652 h 10000"/>
                <a:gd name="connsiteX220" fmla="*/ 1557 w 10000"/>
                <a:gd name="connsiteY220" fmla="*/ 4687 h 10000"/>
                <a:gd name="connsiteX221" fmla="*/ 1490 w 10000"/>
                <a:gd name="connsiteY221" fmla="*/ 4737 h 10000"/>
                <a:gd name="connsiteX222" fmla="*/ 1640 w 10000"/>
                <a:gd name="connsiteY222" fmla="*/ 4855 h 10000"/>
                <a:gd name="connsiteX223" fmla="*/ 1726 w 10000"/>
                <a:gd name="connsiteY223" fmla="*/ 5136 h 10000"/>
                <a:gd name="connsiteX224" fmla="*/ 1531 w 10000"/>
                <a:gd name="connsiteY224" fmla="*/ 5376 h 10000"/>
                <a:gd name="connsiteX225" fmla="*/ 1599 w 10000"/>
                <a:gd name="connsiteY225" fmla="*/ 5451 h 10000"/>
                <a:gd name="connsiteX226" fmla="*/ 1537 w 10000"/>
                <a:gd name="connsiteY226" fmla="*/ 5577 h 10000"/>
                <a:gd name="connsiteX227" fmla="*/ 1412 w 10000"/>
                <a:gd name="connsiteY227" fmla="*/ 5663 h 10000"/>
                <a:gd name="connsiteX228" fmla="*/ 915 w 10000"/>
                <a:gd name="connsiteY228" fmla="*/ 5730 h 10000"/>
                <a:gd name="connsiteX229" fmla="*/ 885 w 10000"/>
                <a:gd name="connsiteY229" fmla="*/ 5846 h 10000"/>
                <a:gd name="connsiteX230" fmla="*/ 617 w 10000"/>
                <a:gd name="connsiteY230" fmla="*/ 6019 h 10000"/>
                <a:gd name="connsiteX231" fmla="*/ 652 w 10000"/>
                <a:gd name="connsiteY231" fmla="*/ 6268 h 10000"/>
                <a:gd name="connsiteX232" fmla="*/ 427 w 10000"/>
                <a:gd name="connsiteY232" fmla="*/ 6587 h 10000"/>
                <a:gd name="connsiteX233" fmla="*/ 274 w 10000"/>
                <a:gd name="connsiteY233" fmla="*/ 6624 h 10000"/>
                <a:gd name="connsiteX234" fmla="*/ 210 w 10000"/>
                <a:gd name="connsiteY234" fmla="*/ 6548 h 10000"/>
                <a:gd name="connsiteX235" fmla="*/ 132 w 10000"/>
                <a:gd name="connsiteY235" fmla="*/ 6663 h 10000"/>
                <a:gd name="connsiteX236" fmla="*/ 183 w 10000"/>
                <a:gd name="connsiteY236" fmla="*/ 6465 h 10000"/>
                <a:gd name="connsiteX237" fmla="*/ 151 w 10000"/>
                <a:gd name="connsiteY237"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37 w 10000"/>
                <a:gd name="connsiteY162" fmla="*/ 3424 h 10000"/>
                <a:gd name="connsiteX163" fmla="*/ 6854 w 10000"/>
                <a:gd name="connsiteY163" fmla="*/ 3404 h 10000"/>
                <a:gd name="connsiteX164" fmla="*/ 6886 w 10000"/>
                <a:gd name="connsiteY164" fmla="*/ 3250 h 10000"/>
                <a:gd name="connsiteX165" fmla="*/ 6822 w 10000"/>
                <a:gd name="connsiteY165" fmla="*/ 3167 h 10000"/>
                <a:gd name="connsiteX166" fmla="*/ 6832 w 10000"/>
                <a:gd name="connsiteY166" fmla="*/ 3101 h 10000"/>
                <a:gd name="connsiteX167" fmla="*/ 6868 w 10000"/>
                <a:gd name="connsiteY167" fmla="*/ 3178 h 10000"/>
                <a:gd name="connsiteX168" fmla="*/ 7011 w 10000"/>
                <a:gd name="connsiteY168" fmla="*/ 3236 h 10000"/>
                <a:gd name="connsiteX169" fmla="*/ 7070 w 10000"/>
                <a:gd name="connsiteY169" fmla="*/ 3229 h 10000"/>
                <a:gd name="connsiteX170" fmla="*/ 7164 w 10000"/>
                <a:gd name="connsiteY170" fmla="*/ 3152 h 10000"/>
                <a:gd name="connsiteX171" fmla="*/ 7292 w 10000"/>
                <a:gd name="connsiteY171" fmla="*/ 3122 h 10000"/>
                <a:gd name="connsiteX172" fmla="*/ 7175 w 10000"/>
                <a:gd name="connsiteY172" fmla="*/ 3036 h 10000"/>
                <a:gd name="connsiteX173" fmla="*/ 7307 w 10000"/>
                <a:gd name="connsiteY173" fmla="*/ 3045 h 10000"/>
                <a:gd name="connsiteX174" fmla="*/ 7442 w 10000"/>
                <a:gd name="connsiteY174" fmla="*/ 2999 h 10000"/>
                <a:gd name="connsiteX175" fmla="*/ 7565 w 10000"/>
                <a:gd name="connsiteY175" fmla="*/ 2936 h 10000"/>
                <a:gd name="connsiteX176" fmla="*/ 7684 w 10000"/>
                <a:gd name="connsiteY176" fmla="*/ 2754 h 10000"/>
                <a:gd name="connsiteX177" fmla="*/ 8132 w 10000"/>
                <a:gd name="connsiteY177" fmla="*/ 2690 h 10000"/>
                <a:gd name="connsiteX178" fmla="*/ 8417 w 10000"/>
                <a:gd name="connsiteY178" fmla="*/ 2524 h 10000"/>
                <a:gd name="connsiteX179" fmla="*/ 8864 w 10000"/>
                <a:gd name="connsiteY179" fmla="*/ 2396 h 10000"/>
                <a:gd name="connsiteX180" fmla="*/ 9310 w 10000"/>
                <a:gd name="connsiteY180" fmla="*/ 2263 h 10000"/>
                <a:gd name="connsiteX181" fmla="*/ 9417 w 10000"/>
                <a:gd name="connsiteY181" fmla="*/ 2235 h 10000"/>
                <a:gd name="connsiteX182" fmla="*/ 10000 w 10000"/>
                <a:gd name="connsiteY182" fmla="*/ 1832 h 10000"/>
                <a:gd name="connsiteX183" fmla="*/ 9652 w 10000"/>
                <a:gd name="connsiteY183" fmla="*/ 1699 h 10000"/>
                <a:gd name="connsiteX184" fmla="*/ 9147 w 10000"/>
                <a:gd name="connsiteY184" fmla="*/ 1773 h 10000"/>
                <a:gd name="connsiteX185" fmla="*/ 8784 w 10000"/>
                <a:gd name="connsiteY185" fmla="*/ 1639 h 10000"/>
                <a:gd name="connsiteX186" fmla="*/ 8850 w 10000"/>
                <a:gd name="connsiteY186" fmla="*/ 1480 h 10000"/>
                <a:gd name="connsiteX187" fmla="*/ 7497 w 10000"/>
                <a:gd name="connsiteY187" fmla="*/ 923 h 10000"/>
                <a:gd name="connsiteX188" fmla="*/ 7522 w 10000"/>
                <a:gd name="connsiteY188" fmla="*/ 649 h 10000"/>
                <a:gd name="connsiteX189" fmla="*/ 7012 w 10000"/>
                <a:gd name="connsiteY189" fmla="*/ 590 h 10000"/>
                <a:gd name="connsiteX190" fmla="*/ 6413 w 10000"/>
                <a:gd name="connsiteY190" fmla="*/ 332 h 10000"/>
                <a:gd name="connsiteX191" fmla="*/ 5098 w 10000"/>
                <a:gd name="connsiteY191" fmla="*/ 0 h 10000"/>
                <a:gd name="connsiteX192" fmla="*/ 4837 w 10000"/>
                <a:gd name="connsiteY192" fmla="*/ 82 h 10000"/>
                <a:gd name="connsiteX193" fmla="*/ 4671 w 10000"/>
                <a:gd name="connsiteY193" fmla="*/ 78 h 10000"/>
                <a:gd name="connsiteX194" fmla="*/ 4571 w 10000"/>
                <a:gd name="connsiteY194" fmla="*/ 107 h 10000"/>
                <a:gd name="connsiteX195" fmla="*/ 4298 w 10000"/>
                <a:gd name="connsiteY195" fmla="*/ 913 h 10000"/>
                <a:gd name="connsiteX196" fmla="*/ 3668 w 10000"/>
                <a:gd name="connsiteY196" fmla="*/ 1383 h 10000"/>
                <a:gd name="connsiteX197" fmla="*/ 3672 w 10000"/>
                <a:gd name="connsiteY197" fmla="*/ 1457 h 10000"/>
                <a:gd name="connsiteX198" fmla="*/ 3952 w 10000"/>
                <a:gd name="connsiteY198" fmla="*/ 1668 h 10000"/>
                <a:gd name="connsiteX199" fmla="*/ 3861 w 10000"/>
                <a:gd name="connsiteY199" fmla="*/ 1896 h 10000"/>
                <a:gd name="connsiteX200" fmla="*/ 3698 w 10000"/>
                <a:gd name="connsiteY200" fmla="*/ 1979 h 10000"/>
                <a:gd name="connsiteX201" fmla="*/ 3208 w 10000"/>
                <a:gd name="connsiteY201" fmla="*/ 1924 h 10000"/>
                <a:gd name="connsiteX202" fmla="*/ 2871 w 10000"/>
                <a:gd name="connsiteY202" fmla="*/ 1955 h 10000"/>
                <a:gd name="connsiteX203" fmla="*/ 2601 w 10000"/>
                <a:gd name="connsiteY203" fmla="*/ 2023 h 10000"/>
                <a:gd name="connsiteX204" fmla="*/ 2163 w 10000"/>
                <a:gd name="connsiteY204" fmla="*/ 2233 h 10000"/>
                <a:gd name="connsiteX205" fmla="*/ 1931 w 10000"/>
                <a:gd name="connsiteY205" fmla="*/ 2487 h 10000"/>
                <a:gd name="connsiteX206" fmla="*/ 1951 w 10000"/>
                <a:gd name="connsiteY206" fmla="*/ 2629 h 10000"/>
                <a:gd name="connsiteX207" fmla="*/ 2032 w 10000"/>
                <a:gd name="connsiteY207" fmla="*/ 2738 h 10000"/>
                <a:gd name="connsiteX208" fmla="*/ 2093 w 10000"/>
                <a:gd name="connsiteY208" fmla="*/ 2782 h 10000"/>
                <a:gd name="connsiteX209" fmla="*/ 1979 w 10000"/>
                <a:gd name="connsiteY209" fmla="*/ 2852 h 10000"/>
                <a:gd name="connsiteX210" fmla="*/ 1731 w 10000"/>
                <a:gd name="connsiteY210" fmla="*/ 3330 h 10000"/>
                <a:gd name="connsiteX211" fmla="*/ 1779 w 10000"/>
                <a:gd name="connsiteY211" fmla="*/ 3358 h 10000"/>
                <a:gd name="connsiteX212" fmla="*/ 1815 w 10000"/>
                <a:gd name="connsiteY212" fmla="*/ 3479 h 10000"/>
                <a:gd name="connsiteX213" fmla="*/ 1700 w 10000"/>
                <a:gd name="connsiteY213" fmla="*/ 3982 h 10000"/>
                <a:gd name="connsiteX214" fmla="*/ 1815 w 10000"/>
                <a:gd name="connsiteY214" fmla="*/ 4110 h 10000"/>
                <a:gd name="connsiteX215" fmla="*/ 2131 w 10000"/>
                <a:gd name="connsiteY215" fmla="*/ 4251 h 10000"/>
                <a:gd name="connsiteX216" fmla="*/ 2145 w 10000"/>
                <a:gd name="connsiteY216" fmla="*/ 4423 h 10000"/>
                <a:gd name="connsiteX217" fmla="*/ 2010 w 10000"/>
                <a:gd name="connsiteY217" fmla="*/ 4566 h 10000"/>
                <a:gd name="connsiteX218" fmla="*/ 1815 w 10000"/>
                <a:gd name="connsiteY218" fmla="*/ 4652 h 10000"/>
                <a:gd name="connsiteX219" fmla="*/ 1557 w 10000"/>
                <a:gd name="connsiteY219" fmla="*/ 4687 h 10000"/>
                <a:gd name="connsiteX220" fmla="*/ 1490 w 10000"/>
                <a:gd name="connsiteY220" fmla="*/ 4737 h 10000"/>
                <a:gd name="connsiteX221" fmla="*/ 1640 w 10000"/>
                <a:gd name="connsiteY221" fmla="*/ 4855 h 10000"/>
                <a:gd name="connsiteX222" fmla="*/ 1726 w 10000"/>
                <a:gd name="connsiteY222" fmla="*/ 5136 h 10000"/>
                <a:gd name="connsiteX223" fmla="*/ 1531 w 10000"/>
                <a:gd name="connsiteY223" fmla="*/ 5376 h 10000"/>
                <a:gd name="connsiteX224" fmla="*/ 1599 w 10000"/>
                <a:gd name="connsiteY224" fmla="*/ 5451 h 10000"/>
                <a:gd name="connsiteX225" fmla="*/ 1537 w 10000"/>
                <a:gd name="connsiteY225" fmla="*/ 5577 h 10000"/>
                <a:gd name="connsiteX226" fmla="*/ 1412 w 10000"/>
                <a:gd name="connsiteY226" fmla="*/ 5663 h 10000"/>
                <a:gd name="connsiteX227" fmla="*/ 915 w 10000"/>
                <a:gd name="connsiteY227" fmla="*/ 5730 h 10000"/>
                <a:gd name="connsiteX228" fmla="*/ 885 w 10000"/>
                <a:gd name="connsiteY228" fmla="*/ 5846 h 10000"/>
                <a:gd name="connsiteX229" fmla="*/ 617 w 10000"/>
                <a:gd name="connsiteY229" fmla="*/ 6019 h 10000"/>
                <a:gd name="connsiteX230" fmla="*/ 652 w 10000"/>
                <a:gd name="connsiteY230" fmla="*/ 6268 h 10000"/>
                <a:gd name="connsiteX231" fmla="*/ 427 w 10000"/>
                <a:gd name="connsiteY231" fmla="*/ 6587 h 10000"/>
                <a:gd name="connsiteX232" fmla="*/ 274 w 10000"/>
                <a:gd name="connsiteY232" fmla="*/ 6624 h 10000"/>
                <a:gd name="connsiteX233" fmla="*/ 210 w 10000"/>
                <a:gd name="connsiteY233" fmla="*/ 6548 h 10000"/>
                <a:gd name="connsiteX234" fmla="*/ 132 w 10000"/>
                <a:gd name="connsiteY234" fmla="*/ 6663 h 10000"/>
                <a:gd name="connsiteX235" fmla="*/ 183 w 10000"/>
                <a:gd name="connsiteY235" fmla="*/ 6465 h 10000"/>
                <a:gd name="connsiteX236" fmla="*/ 151 w 10000"/>
                <a:gd name="connsiteY236"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37 w 10000"/>
                <a:gd name="connsiteY162" fmla="*/ 3424 h 10000"/>
                <a:gd name="connsiteX163" fmla="*/ 6854 w 10000"/>
                <a:gd name="connsiteY163" fmla="*/ 3404 h 10000"/>
                <a:gd name="connsiteX164" fmla="*/ 6886 w 10000"/>
                <a:gd name="connsiteY164" fmla="*/ 3250 h 10000"/>
                <a:gd name="connsiteX165" fmla="*/ 6822 w 10000"/>
                <a:gd name="connsiteY165" fmla="*/ 3167 h 10000"/>
                <a:gd name="connsiteX166" fmla="*/ 6832 w 10000"/>
                <a:gd name="connsiteY166" fmla="*/ 3101 h 10000"/>
                <a:gd name="connsiteX167" fmla="*/ 6868 w 10000"/>
                <a:gd name="connsiteY167" fmla="*/ 3178 h 10000"/>
                <a:gd name="connsiteX168" fmla="*/ 7011 w 10000"/>
                <a:gd name="connsiteY168" fmla="*/ 3236 h 10000"/>
                <a:gd name="connsiteX169" fmla="*/ 7070 w 10000"/>
                <a:gd name="connsiteY169" fmla="*/ 3229 h 10000"/>
                <a:gd name="connsiteX170" fmla="*/ 7164 w 10000"/>
                <a:gd name="connsiteY170" fmla="*/ 3152 h 10000"/>
                <a:gd name="connsiteX171" fmla="*/ 7292 w 10000"/>
                <a:gd name="connsiteY171" fmla="*/ 3122 h 10000"/>
                <a:gd name="connsiteX172" fmla="*/ 7175 w 10000"/>
                <a:gd name="connsiteY172" fmla="*/ 3036 h 10000"/>
                <a:gd name="connsiteX173" fmla="*/ 7307 w 10000"/>
                <a:gd name="connsiteY173" fmla="*/ 3045 h 10000"/>
                <a:gd name="connsiteX174" fmla="*/ 7442 w 10000"/>
                <a:gd name="connsiteY174" fmla="*/ 2999 h 10000"/>
                <a:gd name="connsiteX175" fmla="*/ 7565 w 10000"/>
                <a:gd name="connsiteY175" fmla="*/ 2936 h 10000"/>
                <a:gd name="connsiteX176" fmla="*/ 7684 w 10000"/>
                <a:gd name="connsiteY176" fmla="*/ 2754 h 10000"/>
                <a:gd name="connsiteX177" fmla="*/ 8132 w 10000"/>
                <a:gd name="connsiteY177" fmla="*/ 2690 h 10000"/>
                <a:gd name="connsiteX178" fmla="*/ 8864 w 10000"/>
                <a:gd name="connsiteY178" fmla="*/ 2396 h 10000"/>
                <a:gd name="connsiteX179" fmla="*/ 9310 w 10000"/>
                <a:gd name="connsiteY179" fmla="*/ 2263 h 10000"/>
                <a:gd name="connsiteX180" fmla="*/ 9417 w 10000"/>
                <a:gd name="connsiteY180" fmla="*/ 2235 h 10000"/>
                <a:gd name="connsiteX181" fmla="*/ 10000 w 10000"/>
                <a:gd name="connsiteY181" fmla="*/ 1832 h 10000"/>
                <a:gd name="connsiteX182" fmla="*/ 9652 w 10000"/>
                <a:gd name="connsiteY182" fmla="*/ 1699 h 10000"/>
                <a:gd name="connsiteX183" fmla="*/ 9147 w 10000"/>
                <a:gd name="connsiteY183" fmla="*/ 1773 h 10000"/>
                <a:gd name="connsiteX184" fmla="*/ 8784 w 10000"/>
                <a:gd name="connsiteY184" fmla="*/ 1639 h 10000"/>
                <a:gd name="connsiteX185" fmla="*/ 8850 w 10000"/>
                <a:gd name="connsiteY185" fmla="*/ 1480 h 10000"/>
                <a:gd name="connsiteX186" fmla="*/ 7497 w 10000"/>
                <a:gd name="connsiteY186" fmla="*/ 923 h 10000"/>
                <a:gd name="connsiteX187" fmla="*/ 7522 w 10000"/>
                <a:gd name="connsiteY187" fmla="*/ 649 h 10000"/>
                <a:gd name="connsiteX188" fmla="*/ 7012 w 10000"/>
                <a:gd name="connsiteY188" fmla="*/ 590 h 10000"/>
                <a:gd name="connsiteX189" fmla="*/ 6413 w 10000"/>
                <a:gd name="connsiteY189" fmla="*/ 332 h 10000"/>
                <a:gd name="connsiteX190" fmla="*/ 5098 w 10000"/>
                <a:gd name="connsiteY190" fmla="*/ 0 h 10000"/>
                <a:gd name="connsiteX191" fmla="*/ 4837 w 10000"/>
                <a:gd name="connsiteY191" fmla="*/ 82 h 10000"/>
                <a:gd name="connsiteX192" fmla="*/ 4671 w 10000"/>
                <a:gd name="connsiteY192" fmla="*/ 78 h 10000"/>
                <a:gd name="connsiteX193" fmla="*/ 4571 w 10000"/>
                <a:gd name="connsiteY193" fmla="*/ 107 h 10000"/>
                <a:gd name="connsiteX194" fmla="*/ 4298 w 10000"/>
                <a:gd name="connsiteY194" fmla="*/ 913 h 10000"/>
                <a:gd name="connsiteX195" fmla="*/ 3668 w 10000"/>
                <a:gd name="connsiteY195" fmla="*/ 1383 h 10000"/>
                <a:gd name="connsiteX196" fmla="*/ 3672 w 10000"/>
                <a:gd name="connsiteY196" fmla="*/ 1457 h 10000"/>
                <a:gd name="connsiteX197" fmla="*/ 3952 w 10000"/>
                <a:gd name="connsiteY197" fmla="*/ 1668 h 10000"/>
                <a:gd name="connsiteX198" fmla="*/ 3861 w 10000"/>
                <a:gd name="connsiteY198" fmla="*/ 1896 h 10000"/>
                <a:gd name="connsiteX199" fmla="*/ 3698 w 10000"/>
                <a:gd name="connsiteY199" fmla="*/ 1979 h 10000"/>
                <a:gd name="connsiteX200" fmla="*/ 3208 w 10000"/>
                <a:gd name="connsiteY200" fmla="*/ 1924 h 10000"/>
                <a:gd name="connsiteX201" fmla="*/ 2871 w 10000"/>
                <a:gd name="connsiteY201" fmla="*/ 1955 h 10000"/>
                <a:gd name="connsiteX202" fmla="*/ 2601 w 10000"/>
                <a:gd name="connsiteY202" fmla="*/ 2023 h 10000"/>
                <a:gd name="connsiteX203" fmla="*/ 2163 w 10000"/>
                <a:gd name="connsiteY203" fmla="*/ 2233 h 10000"/>
                <a:gd name="connsiteX204" fmla="*/ 1931 w 10000"/>
                <a:gd name="connsiteY204" fmla="*/ 2487 h 10000"/>
                <a:gd name="connsiteX205" fmla="*/ 1951 w 10000"/>
                <a:gd name="connsiteY205" fmla="*/ 2629 h 10000"/>
                <a:gd name="connsiteX206" fmla="*/ 2032 w 10000"/>
                <a:gd name="connsiteY206" fmla="*/ 2738 h 10000"/>
                <a:gd name="connsiteX207" fmla="*/ 2093 w 10000"/>
                <a:gd name="connsiteY207" fmla="*/ 2782 h 10000"/>
                <a:gd name="connsiteX208" fmla="*/ 1979 w 10000"/>
                <a:gd name="connsiteY208" fmla="*/ 2852 h 10000"/>
                <a:gd name="connsiteX209" fmla="*/ 1731 w 10000"/>
                <a:gd name="connsiteY209" fmla="*/ 3330 h 10000"/>
                <a:gd name="connsiteX210" fmla="*/ 1779 w 10000"/>
                <a:gd name="connsiteY210" fmla="*/ 3358 h 10000"/>
                <a:gd name="connsiteX211" fmla="*/ 1815 w 10000"/>
                <a:gd name="connsiteY211" fmla="*/ 3479 h 10000"/>
                <a:gd name="connsiteX212" fmla="*/ 1700 w 10000"/>
                <a:gd name="connsiteY212" fmla="*/ 3982 h 10000"/>
                <a:gd name="connsiteX213" fmla="*/ 1815 w 10000"/>
                <a:gd name="connsiteY213" fmla="*/ 4110 h 10000"/>
                <a:gd name="connsiteX214" fmla="*/ 2131 w 10000"/>
                <a:gd name="connsiteY214" fmla="*/ 4251 h 10000"/>
                <a:gd name="connsiteX215" fmla="*/ 2145 w 10000"/>
                <a:gd name="connsiteY215" fmla="*/ 4423 h 10000"/>
                <a:gd name="connsiteX216" fmla="*/ 2010 w 10000"/>
                <a:gd name="connsiteY216" fmla="*/ 4566 h 10000"/>
                <a:gd name="connsiteX217" fmla="*/ 1815 w 10000"/>
                <a:gd name="connsiteY217" fmla="*/ 4652 h 10000"/>
                <a:gd name="connsiteX218" fmla="*/ 1557 w 10000"/>
                <a:gd name="connsiteY218" fmla="*/ 4687 h 10000"/>
                <a:gd name="connsiteX219" fmla="*/ 1490 w 10000"/>
                <a:gd name="connsiteY219" fmla="*/ 4737 h 10000"/>
                <a:gd name="connsiteX220" fmla="*/ 1640 w 10000"/>
                <a:gd name="connsiteY220" fmla="*/ 4855 h 10000"/>
                <a:gd name="connsiteX221" fmla="*/ 1726 w 10000"/>
                <a:gd name="connsiteY221" fmla="*/ 5136 h 10000"/>
                <a:gd name="connsiteX222" fmla="*/ 1531 w 10000"/>
                <a:gd name="connsiteY222" fmla="*/ 5376 h 10000"/>
                <a:gd name="connsiteX223" fmla="*/ 1599 w 10000"/>
                <a:gd name="connsiteY223" fmla="*/ 5451 h 10000"/>
                <a:gd name="connsiteX224" fmla="*/ 1537 w 10000"/>
                <a:gd name="connsiteY224" fmla="*/ 5577 h 10000"/>
                <a:gd name="connsiteX225" fmla="*/ 1412 w 10000"/>
                <a:gd name="connsiteY225" fmla="*/ 5663 h 10000"/>
                <a:gd name="connsiteX226" fmla="*/ 915 w 10000"/>
                <a:gd name="connsiteY226" fmla="*/ 5730 h 10000"/>
                <a:gd name="connsiteX227" fmla="*/ 885 w 10000"/>
                <a:gd name="connsiteY227" fmla="*/ 5846 h 10000"/>
                <a:gd name="connsiteX228" fmla="*/ 617 w 10000"/>
                <a:gd name="connsiteY228" fmla="*/ 6019 h 10000"/>
                <a:gd name="connsiteX229" fmla="*/ 652 w 10000"/>
                <a:gd name="connsiteY229" fmla="*/ 6268 h 10000"/>
                <a:gd name="connsiteX230" fmla="*/ 427 w 10000"/>
                <a:gd name="connsiteY230" fmla="*/ 6587 h 10000"/>
                <a:gd name="connsiteX231" fmla="*/ 274 w 10000"/>
                <a:gd name="connsiteY231" fmla="*/ 6624 h 10000"/>
                <a:gd name="connsiteX232" fmla="*/ 210 w 10000"/>
                <a:gd name="connsiteY232" fmla="*/ 6548 h 10000"/>
                <a:gd name="connsiteX233" fmla="*/ 132 w 10000"/>
                <a:gd name="connsiteY233" fmla="*/ 6663 h 10000"/>
                <a:gd name="connsiteX234" fmla="*/ 183 w 10000"/>
                <a:gd name="connsiteY234" fmla="*/ 6465 h 10000"/>
                <a:gd name="connsiteX235" fmla="*/ 151 w 10000"/>
                <a:gd name="connsiteY235"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37 w 10000"/>
                <a:gd name="connsiteY162" fmla="*/ 3424 h 10000"/>
                <a:gd name="connsiteX163" fmla="*/ 6854 w 10000"/>
                <a:gd name="connsiteY163" fmla="*/ 3404 h 10000"/>
                <a:gd name="connsiteX164" fmla="*/ 6886 w 10000"/>
                <a:gd name="connsiteY164" fmla="*/ 3250 h 10000"/>
                <a:gd name="connsiteX165" fmla="*/ 6822 w 10000"/>
                <a:gd name="connsiteY165" fmla="*/ 3167 h 10000"/>
                <a:gd name="connsiteX166" fmla="*/ 6832 w 10000"/>
                <a:gd name="connsiteY166" fmla="*/ 3101 h 10000"/>
                <a:gd name="connsiteX167" fmla="*/ 6868 w 10000"/>
                <a:gd name="connsiteY167" fmla="*/ 3178 h 10000"/>
                <a:gd name="connsiteX168" fmla="*/ 7011 w 10000"/>
                <a:gd name="connsiteY168" fmla="*/ 3236 h 10000"/>
                <a:gd name="connsiteX169" fmla="*/ 7070 w 10000"/>
                <a:gd name="connsiteY169" fmla="*/ 3229 h 10000"/>
                <a:gd name="connsiteX170" fmla="*/ 7164 w 10000"/>
                <a:gd name="connsiteY170" fmla="*/ 3152 h 10000"/>
                <a:gd name="connsiteX171" fmla="*/ 7292 w 10000"/>
                <a:gd name="connsiteY171" fmla="*/ 3122 h 10000"/>
                <a:gd name="connsiteX172" fmla="*/ 7175 w 10000"/>
                <a:gd name="connsiteY172" fmla="*/ 3036 h 10000"/>
                <a:gd name="connsiteX173" fmla="*/ 7307 w 10000"/>
                <a:gd name="connsiteY173" fmla="*/ 3045 h 10000"/>
                <a:gd name="connsiteX174" fmla="*/ 7442 w 10000"/>
                <a:gd name="connsiteY174" fmla="*/ 2999 h 10000"/>
                <a:gd name="connsiteX175" fmla="*/ 7565 w 10000"/>
                <a:gd name="connsiteY175" fmla="*/ 2936 h 10000"/>
                <a:gd name="connsiteX176" fmla="*/ 7684 w 10000"/>
                <a:gd name="connsiteY176" fmla="*/ 2754 h 10000"/>
                <a:gd name="connsiteX177" fmla="*/ 8864 w 10000"/>
                <a:gd name="connsiteY177" fmla="*/ 2396 h 10000"/>
                <a:gd name="connsiteX178" fmla="*/ 9310 w 10000"/>
                <a:gd name="connsiteY178" fmla="*/ 2263 h 10000"/>
                <a:gd name="connsiteX179" fmla="*/ 9417 w 10000"/>
                <a:gd name="connsiteY179" fmla="*/ 2235 h 10000"/>
                <a:gd name="connsiteX180" fmla="*/ 10000 w 10000"/>
                <a:gd name="connsiteY180" fmla="*/ 1832 h 10000"/>
                <a:gd name="connsiteX181" fmla="*/ 9652 w 10000"/>
                <a:gd name="connsiteY181" fmla="*/ 1699 h 10000"/>
                <a:gd name="connsiteX182" fmla="*/ 9147 w 10000"/>
                <a:gd name="connsiteY182" fmla="*/ 1773 h 10000"/>
                <a:gd name="connsiteX183" fmla="*/ 8784 w 10000"/>
                <a:gd name="connsiteY183" fmla="*/ 1639 h 10000"/>
                <a:gd name="connsiteX184" fmla="*/ 8850 w 10000"/>
                <a:gd name="connsiteY184" fmla="*/ 1480 h 10000"/>
                <a:gd name="connsiteX185" fmla="*/ 7497 w 10000"/>
                <a:gd name="connsiteY185" fmla="*/ 923 h 10000"/>
                <a:gd name="connsiteX186" fmla="*/ 7522 w 10000"/>
                <a:gd name="connsiteY186" fmla="*/ 649 h 10000"/>
                <a:gd name="connsiteX187" fmla="*/ 7012 w 10000"/>
                <a:gd name="connsiteY187" fmla="*/ 590 h 10000"/>
                <a:gd name="connsiteX188" fmla="*/ 6413 w 10000"/>
                <a:gd name="connsiteY188" fmla="*/ 332 h 10000"/>
                <a:gd name="connsiteX189" fmla="*/ 5098 w 10000"/>
                <a:gd name="connsiteY189" fmla="*/ 0 h 10000"/>
                <a:gd name="connsiteX190" fmla="*/ 4837 w 10000"/>
                <a:gd name="connsiteY190" fmla="*/ 82 h 10000"/>
                <a:gd name="connsiteX191" fmla="*/ 4671 w 10000"/>
                <a:gd name="connsiteY191" fmla="*/ 78 h 10000"/>
                <a:gd name="connsiteX192" fmla="*/ 4571 w 10000"/>
                <a:gd name="connsiteY192" fmla="*/ 107 h 10000"/>
                <a:gd name="connsiteX193" fmla="*/ 4298 w 10000"/>
                <a:gd name="connsiteY193" fmla="*/ 913 h 10000"/>
                <a:gd name="connsiteX194" fmla="*/ 3668 w 10000"/>
                <a:gd name="connsiteY194" fmla="*/ 1383 h 10000"/>
                <a:gd name="connsiteX195" fmla="*/ 3672 w 10000"/>
                <a:gd name="connsiteY195" fmla="*/ 1457 h 10000"/>
                <a:gd name="connsiteX196" fmla="*/ 3952 w 10000"/>
                <a:gd name="connsiteY196" fmla="*/ 1668 h 10000"/>
                <a:gd name="connsiteX197" fmla="*/ 3861 w 10000"/>
                <a:gd name="connsiteY197" fmla="*/ 1896 h 10000"/>
                <a:gd name="connsiteX198" fmla="*/ 3698 w 10000"/>
                <a:gd name="connsiteY198" fmla="*/ 1979 h 10000"/>
                <a:gd name="connsiteX199" fmla="*/ 3208 w 10000"/>
                <a:gd name="connsiteY199" fmla="*/ 1924 h 10000"/>
                <a:gd name="connsiteX200" fmla="*/ 2871 w 10000"/>
                <a:gd name="connsiteY200" fmla="*/ 1955 h 10000"/>
                <a:gd name="connsiteX201" fmla="*/ 2601 w 10000"/>
                <a:gd name="connsiteY201" fmla="*/ 2023 h 10000"/>
                <a:gd name="connsiteX202" fmla="*/ 2163 w 10000"/>
                <a:gd name="connsiteY202" fmla="*/ 2233 h 10000"/>
                <a:gd name="connsiteX203" fmla="*/ 1931 w 10000"/>
                <a:gd name="connsiteY203" fmla="*/ 2487 h 10000"/>
                <a:gd name="connsiteX204" fmla="*/ 1951 w 10000"/>
                <a:gd name="connsiteY204" fmla="*/ 2629 h 10000"/>
                <a:gd name="connsiteX205" fmla="*/ 2032 w 10000"/>
                <a:gd name="connsiteY205" fmla="*/ 2738 h 10000"/>
                <a:gd name="connsiteX206" fmla="*/ 2093 w 10000"/>
                <a:gd name="connsiteY206" fmla="*/ 2782 h 10000"/>
                <a:gd name="connsiteX207" fmla="*/ 1979 w 10000"/>
                <a:gd name="connsiteY207" fmla="*/ 2852 h 10000"/>
                <a:gd name="connsiteX208" fmla="*/ 1731 w 10000"/>
                <a:gd name="connsiteY208" fmla="*/ 3330 h 10000"/>
                <a:gd name="connsiteX209" fmla="*/ 1779 w 10000"/>
                <a:gd name="connsiteY209" fmla="*/ 3358 h 10000"/>
                <a:gd name="connsiteX210" fmla="*/ 1815 w 10000"/>
                <a:gd name="connsiteY210" fmla="*/ 3479 h 10000"/>
                <a:gd name="connsiteX211" fmla="*/ 1700 w 10000"/>
                <a:gd name="connsiteY211" fmla="*/ 3982 h 10000"/>
                <a:gd name="connsiteX212" fmla="*/ 1815 w 10000"/>
                <a:gd name="connsiteY212" fmla="*/ 4110 h 10000"/>
                <a:gd name="connsiteX213" fmla="*/ 2131 w 10000"/>
                <a:gd name="connsiteY213" fmla="*/ 4251 h 10000"/>
                <a:gd name="connsiteX214" fmla="*/ 2145 w 10000"/>
                <a:gd name="connsiteY214" fmla="*/ 4423 h 10000"/>
                <a:gd name="connsiteX215" fmla="*/ 2010 w 10000"/>
                <a:gd name="connsiteY215" fmla="*/ 4566 h 10000"/>
                <a:gd name="connsiteX216" fmla="*/ 1815 w 10000"/>
                <a:gd name="connsiteY216" fmla="*/ 4652 h 10000"/>
                <a:gd name="connsiteX217" fmla="*/ 1557 w 10000"/>
                <a:gd name="connsiteY217" fmla="*/ 4687 h 10000"/>
                <a:gd name="connsiteX218" fmla="*/ 1490 w 10000"/>
                <a:gd name="connsiteY218" fmla="*/ 4737 h 10000"/>
                <a:gd name="connsiteX219" fmla="*/ 1640 w 10000"/>
                <a:gd name="connsiteY219" fmla="*/ 4855 h 10000"/>
                <a:gd name="connsiteX220" fmla="*/ 1726 w 10000"/>
                <a:gd name="connsiteY220" fmla="*/ 5136 h 10000"/>
                <a:gd name="connsiteX221" fmla="*/ 1531 w 10000"/>
                <a:gd name="connsiteY221" fmla="*/ 5376 h 10000"/>
                <a:gd name="connsiteX222" fmla="*/ 1599 w 10000"/>
                <a:gd name="connsiteY222" fmla="*/ 5451 h 10000"/>
                <a:gd name="connsiteX223" fmla="*/ 1537 w 10000"/>
                <a:gd name="connsiteY223" fmla="*/ 5577 h 10000"/>
                <a:gd name="connsiteX224" fmla="*/ 1412 w 10000"/>
                <a:gd name="connsiteY224" fmla="*/ 5663 h 10000"/>
                <a:gd name="connsiteX225" fmla="*/ 915 w 10000"/>
                <a:gd name="connsiteY225" fmla="*/ 5730 h 10000"/>
                <a:gd name="connsiteX226" fmla="*/ 885 w 10000"/>
                <a:gd name="connsiteY226" fmla="*/ 5846 h 10000"/>
                <a:gd name="connsiteX227" fmla="*/ 617 w 10000"/>
                <a:gd name="connsiteY227" fmla="*/ 6019 h 10000"/>
                <a:gd name="connsiteX228" fmla="*/ 652 w 10000"/>
                <a:gd name="connsiteY228" fmla="*/ 6268 h 10000"/>
                <a:gd name="connsiteX229" fmla="*/ 427 w 10000"/>
                <a:gd name="connsiteY229" fmla="*/ 6587 h 10000"/>
                <a:gd name="connsiteX230" fmla="*/ 274 w 10000"/>
                <a:gd name="connsiteY230" fmla="*/ 6624 h 10000"/>
                <a:gd name="connsiteX231" fmla="*/ 210 w 10000"/>
                <a:gd name="connsiteY231" fmla="*/ 6548 h 10000"/>
                <a:gd name="connsiteX232" fmla="*/ 132 w 10000"/>
                <a:gd name="connsiteY232" fmla="*/ 6663 h 10000"/>
                <a:gd name="connsiteX233" fmla="*/ 183 w 10000"/>
                <a:gd name="connsiteY233" fmla="*/ 6465 h 10000"/>
                <a:gd name="connsiteX234" fmla="*/ 151 w 10000"/>
                <a:gd name="connsiteY234"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37 w 10000"/>
                <a:gd name="connsiteY162" fmla="*/ 3424 h 10000"/>
                <a:gd name="connsiteX163" fmla="*/ 6854 w 10000"/>
                <a:gd name="connsiteY163" fmla="*/ 3404 h 10000"/>
                <a:gd name="connsiteX164" fmla="*/ 6886 w 10000"/>
                <a:gd name="connsiteY164" fmla="*/ 3250 h 10000"/>
                <a:gd name="connsiteX165" fmla="*/ 6822 w 10000"/>
                <a:gd name="connsiteY165" fmla="*/ 3167 h 10000"/>
                <a:gd name="connsiteX166" fmla="*/ 6832 w 10000"/>
                <a:gd name="connsiteY166" fmla="*/ 3101 h 10000"/>
                <a:gd name="connsiteX167" fmla="*/ 6868 w 10000"/>
                <a:gd name="connsiteY167" fmla="*/ 3178 h 10000"/>
                <a:gd name="connsiteX168" fmla="*/ 7011 w 10000"/>
                <a:gd name="connsiteY168" fmla="*/ 3236 h 10000"/>
                <a:gd name="connsiteX169" fmla="*/ 7070 w 10000"/>
                <a:gd name="connsiteY169" fmla="*/ 3229 h 10000"/>
                <a:gd name="connsiteX170" fmla="*/ 7164 w 10000"/>
                <a:gd name="connsiteY170" fmla="*/ 3152 h 10000"/>
                <a:gd name="connsiteX171" fmla="*/ 7292 w 10000"/>
                <a:gd name="connsiteY171" fmla="*/ 3122 h 10000"/>
                <a:gd name="connsiteX172" fmla="*/ 7175 w 10000"/>
                <a:gd name="connsiteY172" fmla="*/ 3036 h 10000"/>
                <a:gd name="connsiteX173" fmla="*/ 7307 w 10000"/>
                <a:gd name="connsiteY173" fmla="*/ 3045 h 10000"/>
                <a:gd name="connsiteX174" fmla="*/ 7442 w 10000"/>
                <a:gd name="connsiteY174" fmla="*/ 2999 h 10000"/>
                <a:gd name="connsiteX175" fmla="*/ 7565 w 10000"/>
                <a:gd name="connsiteY175" fmla="*/ 2936 h 10000"/>
                <a:gd name="connsiteX176" fmla="*/ 8864 w 10000"/>
                <a:gd name="connsiteY176" fmla="*/ 2396 h 10000"/>
                <a:gd name="connsiteX177" fmla="*/ 9310 w 10000"/>
                <a:gd name="connsiteY177" fmla="*/ 2263 h 10000"/>
                <a:gd name="connsiteX178" fmla="*/ 9417 w 10000"/>
                <a:gd name="connsiteY178" fmla="*/ 2235 h 10000"/>
                <a:gd name="connsiteX179" fmla="*/ 10000 w 10000"/>
                <a:gd name="connsiteY179" fmla="*/ 1832 h 10000"/>
                <a:gd name="connsiteX180" fmla="*/ 9652 w 10000"/>
                <a:gd name="connsiteY180" fmla="*/ 1699 h 10000"/>
                <a:gd name="connsiteX181" fmla="*/ 9147 w 10000"/>
                <a:gd name="connsiteY181" fmla="*/ 1773 h 10000"/>
                <a:gd name="connsiteX182" fmla="*/ 8784 w 10000"/>
                <a:gd name="connsiteY182" fmla="*/ 1639 h 10000"/>
                <a:gd name="connsiteX183" fmla="*/ 8850 w 10000"/>
                <a:gd name="connsiteY183" fmla="*/ 1480 h 10000"/>
                <a:gd name="connsiteX184" fmla="*/ 7497 w 10000"/>
                <a:gd name="connsiteY184" fmla="*/ 923 h 10000"/>
                <a:gd name="connsiteX185" fmla="*/ 7522 w 10000"/>
                <a:gd name="connsiteY185" fmla="*/ 649 h 10000"/>
                <a:gd name="connsiteX186" fmla="*/ 7012 w 10000"/>
                <a:gd name="connsiteY186" fmla="*/ 590 h 10000"/>
                <a:gd name="connsiteX187" fmla="*/ 6413 w 10000"/>
                <a:gd name="connsiteY187" fmla="*/ 332 h 10000"/>
                <a:gd name="connsiteX188" fmla="*/ 5098 w 10000"/>
                <a:gd name="connsiteY188" fmla="*/ 0 h 10000"/>
                <a:gd name="connsiteX189" fmla="*/ 4837 w 10000"/>
                <a:gd name="connsiteY189" fmla="*/ 82 h 10000"/>
                <a:gd name="connsiteX190" fmla="*/ 4671 w 10000"/>
                <a:gd name="connsiteY190" fmla="*/ 78 h 10000"/>
                <a:gd name="connsiteX191" fmla="*/ 4571 w 10000"/>
                <a:gd name="connsiteY191" fmla="*/ 107 h 10000"/>
                <a:gd name="connsiteX192" fmla="*/ 4298 w 10000"/>
                <a:gd name="connsiteY192" fmla="*/ 913 h 10000"/>
                <a:gd name="connsiteX193" fmla="*/ 3668 w 10000"/>
                <a:gd name="connsiteY193" fmla="*/ 1383 h 10000"/>
                <a:gd name="connsiteX194" fmla="*/ 3672 w 10000"/>
                <a:gd name="connsiteY194" fmla="*/ 1457 h 10000"/>
                <a:gd name="connsiteX195" fmla="*/ 3952 w 10000"/>
                <a:gd name="connsiteY195" fmla="*/ 1668 h 10000"/>
                <a:gd name="connsiteX196" fmla="*/ 3861 w 10000"/>
                <a:gd name="connsiteY196" fmla="*/ 1896 h 10000"/>
                <a:gd name="connsiteX197" fmla="*/ 3698 w 10000"/>
                <a:gd name="connsiteY197" fmla="*/ 1979 h 10000"/>
                <a:gd name="connsiteX198" fmla="*/ 3208 w 10000"/>
                <a:gd name="connsiteY198" fmla="*/ 1924 h 10000"/>
                <a:gd name="connsiteX199" fmla="*/ 2871 w 10000"/>
                <a:gd name="connsiteY199" fmla="*/ 1955 h 10000"/>
                <a:gd name="connsiteX200" fmla="*/ 2601 w 10000"/>
                <a:gd name="connsiteY200" fmla="*/ 2023 h 10000"/>
                <a:gd name="connsiteX201" fmla="*/ 2163 w 10000"/>
                <a:gd name="connsiteY201" fmla="*/ 2233 h 10000"/>
                <a:gd name="connsiteX202" fmla="*/ 1931 w 10000"/>
                <a:gd name="connsiteY202" fmla="*/ 2487 h 10000"/>
                <a:gd name="connsiteX203" fmla="*/ 1951 w 10000"/>
                <a:gd name="connsiteY203" fmla="*/ 2629 h 10000"/>
                <a:gd name="connsiteX204" fmla="*/ 2032 w 10000"/>
                <a:gd name="connsiteY204" fmla="*/ 2738 h 10000"/>
                <a:gd name="connsiteX205" fmla="*/ 2093 w 10000"/>
                <a:gd name="connsiteY205" fmla="*/ 2782 h 10000"/>
                <a:gd name="connsiteX206" fmla="*/ 1979 w 10000"/>
                <a:gd name="connsiteY206" fmla="*/ 2852 h 10000"/>
                <a:gd name="connsiteX207" fmla="*/ 1731 w 10000"/>
                <a:gd name="connsiteY207" fmla="*/ 3330 h 10000"/>
                <a:gd name="connsiteX208" fmla="*/ 1779 w 10000"/>
                <a:gd name="connsiteY208" fmla="*/ 3358 h 10000"/>
                <a:gd name="connsiteX209" fmla="*/ 1815 w 10000"/>
                <a:gd name="connsiteY209" fmla="*/ 3479 h 10000"/>
                <a:gd name="connsiteX210" fmla="*/ 1700 w 10000"/>
                <a:gd name="connsiteY210" fmla="*/ 3982 h 10000"/>
                <a:gd name="connsiteX211" fmla="*/ 1815 w 10000"/>
                <a:gd name="connsiteY211" fmla="*/ 4110 h 10000"/>
                <a:gd name="connsiteX212" fmla="*/ 2131 w 10000"/>
                <a:gd name="connsiteY212" fmla="*/ 4251 h 10000"/>
                <a:gd name="connsiteX213" fmla="*/ 2145 w 10000"/>
                <a:gd name="connsiteY213" fmla="*/ 4423 h 10000"/>
                <a:gd name="connsiteX214" fmla="*/ 2010 w 10000"/>
                <a:gd name="connsiteY214" fmla="*/ 4566 h 10000"/>
                <a:gd name="connsiteX215" fmla="*/ 1815 w 10000"/>
                <a:gd name="connsiteY215" fmla="*/ 4652 h 10000"/>
                <a:gd name="connsiteX216" fmla="*/ 1557 w 10000"/>
                <a:gd name="connsiteY216" fmla="*/ 4687 h 10000"/>
                <a:gd name="connsiteX217" fmla="*/ 1490 w 10000"/>
                <a:gd name="connsiteY217" fmla="*/ 4737 h 10000"/>
                <a:gd name="connsiteX218" fmla="*/ 1640 w 10000"/>
                <a:gd name="connsiteY218" fmla="*/ 4855 h 10000"/>
                <a:gd name="connsiteX219" fmla="*/ 1726 w 10000"/>
                <a:gd name="connsiteY219" fmla="*/ 5136 h 10000"/>
                <a:gd name="connsiteX220" fmla="*/ 1531 w 10000"/>
                <a:gd name="connsiteY220" fmla="*/ 5376 h 10000"/>
                <a:gd name="connsiteX221" fmla="*/ 1599 w 10000"/>
                <a:gd name="connsiteY221" fmla="*/ 5451 h 10000"/>
                <a:gd name="connsiteX222" fmla="*/ 1537 w 10000"/>
                <a:gd name="connsiteY222" fmla="*/ 5577 h 10000"/>
                <a:gd name="connsiteX223" fmla="*/ 1412 w 10000"/>
                <a:gd name="connsiteY223" fmla="*/ 5663 h 10000"/>
                <a:gd name="connsiteX224" fmla="*/ 915 w 10000"/>
                <a:gd name="connsiteY224" fmla="*/ 5730 h 10000"/>
                <a:gd name="connsiteX225" fmla="*/ 885 w 10000"/>
                <a:gd name="connsiteY225" fmla="*/ 5846 h 10000"/>
                <a:gd name="connsiteX226" fmla="*/ 617 w 10000"/>
                <a:gd name="connsiteY226" fmla="*/ 6019 h 10000"/>
                <a:gd name="connsiteX227" fmla="*/ 652 w 10000"/>
                <a:gd name="connsiteY227" fmla="*/ 6268 h 10000"/>
                <a:gd name="connsiteX228" fmla="*/ 427 w 10000"/>
                <a:gd name="connsiteY228" fmla="*/ 6587 h 10000"/>
                <a:gd name="connsiteX229" fmla="*/ 274 w 10000"/>
                <a:gd name="connsiteY229" fmla="*/ 6624 h 10000"/>
                <a:gd name="connsiteX230" fmla="*/ 210 w 10000"/>
                <a:gd name="connsiteY230" fmla="*/ 6548 h 10000"/>
                <a:gd name="connsiteX231" fmla="*/ 132 w 10000"/>
                <a:gd name="connsiteY231" fmla="*/ 6663 h 10000"/>
                <a:gd name="connsiteX232" fmla="*/ 183 w 10000"/>
                <a:gd name="connsiteY232" fmla="*/ 6465 h 10000"/>
                <a:gd name="connsiteX233" fmla="*/ 151 w 10000"/>
                <a:gd name="connsiteY233"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37 w 10000"/>
                <a:gd name="connsiteY162" fmla="*/ 3424 h 10000"/>
                <a:gd name="connsiteX163" fmla="*/ 6854 w 10000"/>
                <a:gd name="connsiteY163" fmla="*/ 3404 h 10000"/>
                <a:gd name="connsiteX164" fmla="*/ 6886 w 10000"/>
                <a:gd name="connsiteY164" fmla="*/ 3250 h 10000"/>
                <a:gd name="connsiteX165" fmla="*/ 6822 w 10000"/>
                <a:gd name="connsiteY165" fmla="*/ 3167 h 10000"/>
                <a:gd name="connsiteX166" fmla="*/ 6832 w 10000"/>
                <a:gd name="connsiteY166" fmla="*/ 3101 h 10000"/>
                <a:gd name="connsiteX167" fmla="*/ 6868 w 10000"/>
                <a:gd name="connsiteY167" fmla="*/ 3178 h 10000"/>
                <a:gd name="connsiteX168" fmla="*/ 7011 w 10000"/>
                <a:gd name="connsiteY168" fmla="*/ 3236 h 10000"/>
                <a:gd name="connsiteX169" fmla="*/ 7070 w 10000"/>
                <a:gd name="connsiteY169" fmla="*/ 3229 h 10000"/>
                <a:gd name="connsiteX170" fmla="*/ 7164 w 10000"/>
                <a:gd name="connsiteY170" fmla="*/ 3152 h 10000"/>
                <a:gd name="connsiteX171" fmla="*/ 7175 w 10000"/>
                <a:gd name="connsiteY171" fmla="*/ 3036 h 10000"/>
                <a:gd name="connsiteX172" fmla="*/ 7307 w 10000"/>
                <a:gd name="connsiteY172" fmla="*/ 3045 h 10000"/>
                <a:gd name="connsiteX173" fmla="*/ 7442 w 10000"/>
                <a:gd name="connsiteY173" fmla="*/ 2999 h 10000"/>
                <a:gd name="connsiteX174" fmla="*/ 7565 w 10000"/>
                <a:gd name="connsiteY174" fmla="*/ 2936 h 10000"/>
                <a:gd name="connsiteX175" fmla="*/ 8864 w 10000"/>
                <a:gd name="connsiteY175" fmla="*/ 2396 h 10000"/>
                <a:gd name="connsiteX176" fmla="*/ 9310 w 10000"/>
                <a:gd name="connsiteY176" fmla="*/ 2263 h 10000"/>
                <a:gd name="connsiteX177" fmla="*/ 9417 w 10000"/>
                <a:gd name="connsiteY177" fmla="*/ 2235 h 10000"/>
                <a:gd name="connsiteX178" fmla="*/ 10000 w 10000"/>
                <a:gd name="connsiteY178" fmla="*/ 1832 h 10000"/>
                <a:gd name="connsiteX179" fmla="*/ 9652 w 10000"/>
                <a:gd name="connsiteY179" fmla="*/ 1699 h 10000"/>
                <a:gd name="connsiteX180" fmla="*/ 9147 w 10000"/>
                <a:gd name="connsiteY180" fmla="*/ 1773 h 10000"/>
                <a:gd name="connsiteX181" fmla="*/ 8784 w 10000"/>
                <a:gd name="connsiteY181" fmla="*/ 1639 h 10000"/>
                <a:gd name="connsiteX182" fmla="*/ 8850 w 10000"/>
                <a:gd name="connsiteY182" fmla="*/ 1480 h 10000"/>
                <a:gd name="connsiteX183" fmla="*/ 7497 w 10000"/>
                <a:gd name="connsiteY183" fmla="*/ 923 h 10000"/>
                <a:gd name="connsiteX184" fmla="*/ 7522 w 10000"/>
                <a:gd name="connsiteY184" fmla="*/ 649 h 10000"/>
                <a:gd name="connsiteX185" fmla="*/ 7012 w 10000"/>
                <a:gd name="connsiteY185" fmla="*/ 590 h 10000"/>
                <a:gd name="connsiteX186" fmla="*/ 6413 w 10000"/>
                <a:gd name="connsiteY186" fmla="*/ 332 h 10000"/>
                <a:gd name="connsiteX187" fmla="*/ 5098 w 10000"/>
                <a:gd name="connsiteY187" fmla="*/ 0 h 10000"/>
                <a:gd name="connsiteX188" fmla="*/ 4837 w 10000"/>
                <a:gd name="connsiteY188" fmla="*/ 82 h 10000"/>
                <a:gd name="connsiteX189" fmla="*/ 4671 w 10000"/>
                <a:gd name="connsiteY189" fmla="*/ 78 h 10000"/>
                <a:gd name="connsiteX190" fmla="*/ 4571 w 10000"/>
                <a:gd name="connsiteY190" fmla="*/ 107 h 10000"/>
                <a:gd name="connsiteX191" fmla="*/ 4298 w 10000"/>
                <a:gd name="connsiteY191" fmla="*/ 913 h 10000"/>
                <a:gd name="connsiteX192" fmla="*/ 3668 w 10000"/>
                <a:gd name="connsiteY192" fmla="*/ 1383 h 10000"/>
                <a:gd name="connsiteX193" fmla="*/ 3672 w 10000"/>
                <a:gd name="connsiteY193" fmla="*/ 1457 h 10000"/>
                <a:gd name="connsiteX194" fmla="*/ 3952 w 10000"/>
                <a:gd name="connsiteY194" fmla="*/ 1668 h 10000"/>
                <a:gd name="connsiteX195" fmla="*/ 3861 w 10000"/>
                <a:gd name="connsiteY195" fmla="*/ 1896 h 10000"/>
                <a:gd name="connsiteX196" fmla="*/ 3698 w 10000"/>
                <a:gd name="connsiteY196" fmla="*/ 1979 h 10000"/>
                <a:gd name="connsiteX197" fmla="*/ 3208 w 10000"/>
                <a:gd name="connsiteY197" fmla="*/ 1924 h 10000"/>
                <a:gd name="connsiteX198" fmla="*/ 2871 w 10000"/>
                <a:gd name="connsiteY198" fmla="*/ 1955 h 10000"/>
                <a:gd name="connsiteX199" fmla="*/ 2601 w 10000"/>
                <a:gd name="connsiteY199" fmla="*/ 2023 h 10000"/>
                <a:gd name="connsiteX200" fmla="*/ 2163 w 10000"/>
                <a:gd name="connsiteY200" fmla="*/ 2233 h 10000"/>
                <a:gd name="connsiteX201" fmla="*/ 1931 w 10000"/>
                <a:gd name="connsiteY201" fmla="*/ 2487 h 10000"/>
                <a:gd name="connsiteX202" fmla="*/ 1951 w 10000"/>
                <a:gd name="connsiteY202" fmla="*/ 2629 h 10000"/>
                <a:gd name="connsiteX203" fmla="*/ 2032 w 10000"/>
                <a:gd name="connsiteY203" fmla="*/ 2738 h 10000"/>
                <a:gd name="connsiteX204" fmla="*/ 2093 w 10000"/>
                <a:gd name="connsiteY204" fmla="*/ 2782 h 10000"/>
                <a:gd name="connsiteX205" fmla="*/ 1979 w 10000"/>
                <a:gd name="connsiteY205" fmla="*/ 2852 h 10000"/>
                <a:gd name="connsiteX206" fmla="*/ 1731 w 10000"/>
                <a:gd name="connsiteY206" fmla="*/ 3330 h 10000"/>
                <a:gd name="connsiteX207" fmla="*/ 1779 w 10000"/>
                <a:gd name="connsiteY207" fmla="*/ 3358 h 10000"/>
                <a:gd name="connsiteX208" fmla="*/ 1815 w 10000"/>
                <a:gd name="connsiteY208" fmla="*/ 3479 h 10000"/>
                <a:gd name="connsiteX209" fmla="*/ 1700 w 10000"/>
                <a:gd name="connsiteY209" fmla="*/ 3982 h 10000"/>
                <a:gd name="connsiteX210" fmla="*/ 1815 w 10000"/>
                <a:gd name="connsiteY210" fmla="*/ 4110 h 10000"/>
                <a:gd name="connsiteX211" fmla="*/ 2131 w 10000"/>
                <a:gd name="connsiteY211" fmla="*/ 4251 h 10000"/>
                <a:gd name="connsiteX212" fmla="*/ 2145 w 10000"/>
                <a:gd name="connsiteY212" fmla="*/ 4423 h 10000"/>
                <a:gd name="connsiteX213" fmla="*/ 2010 w 10000"/>
                <a:gd name="connsiteY213" fmla="*/ 4566 h 10000"/>
                <a:gd name="connsiteX214" fmla="*/ 1815 w 10000"/>
                <a:gd name="connsiteY214" fmla="*/ 4652 h 10000"/>
                <a:gd name="connsiteX215" fmla="*/ 1557 w 10000"/>
                <a:gd name="connsiteY215" fmla="*/ 4687 h 10000"/>
                <a:gd name="connsiteX216" fmla="*/ 1490 w 10000"/>
                <a:gd name="connsiteY216" fmla="*/ 4737 h 10000"/>
                <a:gd name="connsiteX217" fmla="*/ 1640 w 10000"/>
                <a:gd name="connsiteY217" fmla="*/ 4855 h 10000"/>
                <a:gd name="connsiteX218" fmla="*/ 1726 w 10000"/>
                <a:gd name="connsiteY218" fmla="*/ 5136 h 10000"/>
                <a:gd name="connsiteX219" fmla="*/ 1531 w 10000"/>
                <a:gd name="connsiteY219" fmla="*/ 5376 h 10000"/>
                <a:gd name="connsiteX220" fmla="*/ 1599 w 10000"/>
                <a:gd name="connsiteY220" fmla="*/ 5451 h 10000"/>
                <a:gd name="connsiteX221" fmla="*/ 1537 w 10000"/>
                <a:gd name="connsiteY221" fmla="*/ 5577 h 10000"/>
                <a:gd name="connsiteX222" fmla="*/ 1412 w 10000"/>
                <a:gd name="connsiteY222" fmla="*/ 5663 h 10000"/>
                <a:gd name="connsiteX223" fmla="*/ 915 w 10000"/>
                <a:gd name="connsiteY223" fmla="*/ 5730 h 10000"/>
                <a:gd name="connsiteX224" fmla="*/ 885 w 10000"/>
                <a:gd name="connsiteY224" fmla="*/ 5846 h 10000"/>
                <a:gd name="connsiteX225" fmla="*/ 617 w 10000"/>
                <a:gd name="connsiteY225" fmla="*/ 6019 h 10000"/>
                <a:gd name="connsiteX226" fmla="*/ 652 w 10000"/>
                <a:gd name="connsiteY226" fmla="*/ 6268 h 10000"/>
                <a:gd name="connsiteX227" fmla="*/ 427 w 10000"/>
                <a:gd name="connsiteY227" fmla="*/ 6587 h 10000"/>
                <a:gd name="connsiteX228" fmla="*/ 274 w 10000"/>
                <a:gd name="connsiteY228" fmla="*/ 6624 h 10000"/>
                <a:gd name="connsiteX229" fmla="*/ 210 w 10000"/>
                <a:gd name="connsiteY229" fmla="*/ 6548 h 10000"/>
                <a:gd name="connsiteX230" fmla="*/ 132 w 10000"/>
                <a:gd name="connsiteY230" fmla="*/ 6663 h 10000"/>
                <a:gd name="connsiteX231" fmla="*/ 183 w 10000"/>
                <a:gd name="connsiteY231" fmla="*/ 6465 h 10000"/>
                <a:gd name="connsiteX232" fmla="*/ 151 w 10000"/>
                <a:gd name="connsiteY232"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37 w 10000"/>
                <a:gd name="connsiteY162" fmla="*/ 3424 h 10000"/>
                <a:gd name="connsiteX163" fmla="*/ 6854 w 10000"/>
                <a:gd name="connsiteY163" fmla="*/ 3404 h 10000"/>
                <a:gd name="connsiteX164" fmla="*/ 6886 w 10000"/>
                <a:gd name="connsiteY164" fmla="*/ 3250 h 10000"/>
                <a:gd name="connsiteX165" fmla="*/ 6822 w 10000"/>
                <a:gd name="connsiteY165" fmla="*/ 3167 h 10000"/>
                <a:gd name="connsiteX166" fmla="*/ 6832 w 10000"/>
                <a:gd name="connsiteY166" fmla="*/ 3101 h 10000"/>
                <a:gd name="connsiteX167" fmla="*/ 6868 w 10000"/>
                <a:gd name="connsiteY167" fmla="*/ 3178 h 10000"/>
                <a:gd name="connsiteX168" fmla="*/ 7011 w 10000"/>
                <a:gd name="connsiteY168" fmla="*/ 3236 h 10000"/>
                <a:gd name="connsiteX169" fmla="*/ 7070 w 10000"/>
                <a:gd name="connsiteY169" fmla="*/ 3229 h 10000"/>
                <a:gd name="connsiteX170" fmla="*/ 7175 w 10000"/>
                <a:gd name="connsiteY170" fmla="*/ 3036 h 10000"/>
                <a:gd name="connsiteX171" fmla="*/ 7307 w 10000"/>
                <a:gd name="connsiteY171" fmla="*/ 3045 h 10000"/>
                <a:gd name="connsiteX172" fmla="*/ 7442 w 10000"/>
                <a:gd name="connsiteY172" fmla="*/ 2999 h 10000"/>
                <a:gd name="connsiteX173" fmla="*/ 7565 w 10000"/>
                <a:gd name="connsiteY173" fmla="*/ 2936 h 10000"/>
                <a:gd name="connsiteX174" fmla="*/ 8864 w 10000"/>
                <a:gd name="connsiteY174" fmla="*/ 2396 h 10000"/>
                <a:gd name="connsiteX175" fmla="*/ 9310 w 10000"/>
                <a:gd name="connsiteY175" fmla="*/ 2263 h 10000"/>
                <a:gd name="connsiteX176" fmla="*/ 9417 w 10000"/>
                <a:gd name="connsiteY176" fmla="*/ 2235 h 10000"/>
                <a:gd name="connsiteX177" fmla="*/ 10000 w 10000"/>
                <a:gd name="connsiteY177" fmla="*/ 1832 h 10000"/>
                <a:gd name="connsiteX178" fmla="*/ 9652 w 10000"/>
                <a:gd name="connsiteY178" fmla="*/ 1699 h 10000"/>
                <a:gd name="connsiteX179" fmla="*/ 9147 w 10000"/>
                <a:gd name="connsiteY179" fmla="*/ 1773 h 10000"/>
                <a:gd name="connsiteX180" fmla="*/ 8784 w 10000"/>
                <a:gd name="connsiteY180" fmla="*/ 1639 h 10000"/>
                <a:gd name="connsiteX181" fmla="*/ 8850 w 10000"/>
                <a:gd name="connsiteY181" fmla="*/ 1480 h 10000"/>
                <a:gd name="connsiteX182" fmla="*/ 7497 w 10000"/>
                <a:gd name="connsiteY182" fmla="*/ 923 h 10000"/>
                <a:gd name="connsiteX183" fmla="*/ 7522 w 10000"/>
                <a:gd name="connsiteY183" fmla="*/ 649 h 10000"/>
                <a:gd name="connsiteX184" fmla="*/ 7012 w 10000"/>
                <a:gd name="connsiteY184" fmla="*/ 590 h 10000"/>
                <a:gd name="connsiteX185" fmla="*/ 6413 w 10000"/>
                <a:gd name="connsiteY185" fmla="*/ 332 h 10000"/>
                <a:gd name="connsiteX186" fmla="*/ 5098 w 10000"/>
                <a:gd name="connsiteY186" fmla="*/ 0 h 10000"/>
                <a:gd name="connsiteX187" fmla="*/ 4837 w 10000"/>
                <a:gd name="connsiteY187" fmla="*/ 82 h 10000"/>
                <a:gd name="connsiteX188" fmla="*/ 4671 w 10000"/>
                <a:gd name="connsiteY188" fmla="*/ 78 h 10000"/>
                <a:gd name="connsiteX189" fmla="*/ 4571 w 10000"/>
                <a:gd name="connsiteY189" fmla="*/ 107 h 10000"/>
                <a:gd name="connsiteX190" fmla="*/ 4298 w 10000"/>
                <a:gd name="connsiteY190" fmla="*/ 913 h 10000"/>
                <a:gd name="connsiteX191" fmla="*/ 3668 w 10000"/>
                <a:gd name="connsiteY191" fmla="*/ 1383 h 10000"/>
                <a:gd name="connsiteX192" fmla="*/ 3672 w 10000"/>
                <a:gd name="connsiteY192" fmla="*/ 1457 h 10000"/>
                <a:gd name="connsiteX193" fmla="*/ 3952 w 10000"/>
                <a:gd name="connsiteY193" fmla="*/ 1668 h 10000"/>
                <a:gd name="connsiteX194" fmla="*/ 3861 w 10000"/>
                <a:gd name="connsiteY194" fmla="*/ 1896 h 10000"/>
                <a:gd name="connsiteX195" fmla="*/ 3698 w 10000"/>
                <a:gd name="connsiteY195" fmla="*/ 1979 h 10000"/>
                <a:gd name="connsiteX196" fmla="*/ 3208 w 10000"/>
                <a:gd name="connsiteY196" fmla="*/ 1924 h 10000"/>
                <a:gd name="connsiteX197" fmla="*/ 2871 w 10000"/>
                <a:gd name="connsiteY197" fmla="*/ 1955 h 10000"/>
                <a:gd name="connsiteX198" fmla="*/ 2601 w 10000"/>
                <a:gd name="connsiteY198" fmla="*/ 2023 h 10000"/>
                <a:gd name="connsiteX199" fmla="*/ 2163 w 10000"/>
                <a:gd name="connsiteY199" fmla="*/ 2233 h 10000"/>
                <a:gd name="connsiteX200" fmla="*/ 1931 w 10000"/>
                <a:gd name="connsiteY200" fmla="*/ 2487 h 10000"/>
                <a:gd name="connsiteX201" fmla="*/ 1951 w 10000"/>
                <a:gd name="connsiteY201" fmla="*/ 2629 h 10000"/>
                <a:gd name="connsiteX202" fmla="*/ 2032 w 10000"/>
                <a:gd name="connsiteY202" fmla="*/ 2738 h 10000"/>
                <a:gd name="connsiteX203" fmla="*/ 2093 w 10000"/>
                <a:gd name="connsiteY203" fmla="*/ 2782 h 10000"/>
                <a:gd name="connsiteX204" fmla="*/ 1979 w 10000"/>
                <a:gd name="connsiteY204" fmla="*/ 2852 h 10000"/>
                <a:gd name="connsiteX205" fmla="*/ 1731 w 10000"/>
                <a:gd name="connsiteY205" fmla="*/ 3330 h 10000"/>
                <a:gd name="connsiteX206" fmla="*/ 1779 w 10000"/>
                <a:gd name="connsiteY206" fmla="*/ 3358 h 10000"/>
                <a:gd name="connsiteX207" fmla="*/ 1815 w 10000"/>
                <a:gd name="connsiteY207" fmla="*/ 3479 h 10000"/>
                <a:gd name="connsiteX208" fmla="*/ 1700 w 10000"/>
                <a:gd name="connsiteY208" fmla="*/ 3982 h 10000"/>
                <a:gd name="connsiteX209" fmla="*/ 1815 w 10000"/>
                <a:gd name="connsiteY209" fmla="*/ 4110 h 10000"/>
                <a:gd name="connsiteX210" fmla="*/ 2131 w 10000"/>
                <a:gd name="connsiteY210" fmla="*/ 4251 h 10000"/>
                <a:gd name="connsiteX211" fmla="*/ 2145 w 10000"/>
                <a:gd name="connsiteY211" fmla="*/ 4423 h 10000"/>
                <a:gd name="connsiteX212" fmla="*/ 2010 w 10000"/>
                <a:gd name="connsiteY212" fmla="*/ 4566 h 10000"/>
                <a:gd name="connsiteX213" fmla="*/ 1815 w 10000"/>
                <a:gd name="connsiteY213" fmla="*/ 4652 h 10000"/>
                <a:gd name="connsiteX214" fmla="*/ 1557 w 10000"/>
                <a:gd name="connsiteY214" fmla="*/ 4687 h 10000"/>
                <a:gd name="connsiteX215" fmla="*/ 1490 w 10000"/>
                <a:gd name="connsiteY215" fmla="*/ 4737 h 10000"/>
                <a:gd name="connsiteX216" fmla="*/ 1640 w 10000"/>
                <a:gd name="connsiteY216" fmla="*/ 4855 h 10000"/>
                <a:gd name="connsiteX217" fmla="*/ 1726 w 10000"/>
                <a:gd name="connsiteY217" fmla="*/ 5136 h 10000"/>
                <a:gd name="connsiteX218" fmla="*/ 1531 w 10000"/>
                <a:gd name="connsiteY218" fmla="*/ 5376 h 10000"/>
                <a:gd name="connsiteX219" fmla="*/ 1599 w 10000"/>
                <a:gd name="connsiteY219" fmla="*/ 5451 h 10000"/>
                <a:gd name="connsiteX220" fmla="*/ 1537 w 10000"/>
                <a:gd name="connsiteY220" fmla="*/ 5577 h 10000"/>
                <a:gd name="connsiteX221" fmla="*/ 1412 w 10000"/>
                <a:gd name="connsiteY221" fmla="*/ 5663 h 10000"/>
                <a:gd name="connsiteX222" fmla="*/ 915 w 10000"/>
                <a:gd name="connsiteY222" fmla="*/ 5730 h 10000"/>
                <a:gd name="connsiteX223" fmla="*/ 885 w 10000"/>
                <a:gd name="connsiteY223" fmla="*/ 5846 h 10000"/>
                <a:gd name="connsiteX224" fmla="*/ 617 w 10000"/>
                <a:gd name="connsiteY224" fmla="*/ 6019 h 10000"/>
                <a:gd name="connsiteX225" fmla="*/ 652 w 10000"/>
                <a:gd name="connsiteY225" fmla="*/ 6268 h 10000"/>
                <a:gd name="connsiteX226" fmla="*/ 427 w 10000"/>
                <a:gd name="connsiteY226" fmla="*/ 6587 h 10000"/>
                <a:gd name="connsiteX227" fmla="*/ 274 w 10000"/>
                <a:gd name="connsiteY227" fmla="*/ 6624 h 10000"/>
                <a:gd name="connsiteX228" fmla="*/ 210 w 10000"/>
                <a:gd name="connsiteY228" fmla="*/ 6548 h 10000"/>
                <a:gd name="connsiteX229" fmla="*/ 132 w 10000"/>
                <a:gd name="connsiteY229" fmla="*/ 6663 h 10000"/>
                <a:gd name="connsiteX230" fmla="*/ 183 w 10000"/>
                <a:gd name="connsiteY230" fmla="*/ 6465 h 10000"/>
                <a:gd name="connsiteX231" fmla="*/ 151 w 10000"/>
                <a:gd name="connsiteY231"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37 w 10000"/>
                <a:gd name="connsiteY162" fmla="*/ 3424 h 10000"/>
                <a:gd name="connsiteX163" fmla="*/ 6854 w 10000"/>
                <a:gd name="connsiteY163" fmla="*/ 3404 h 10000"/>
                <a:gd name="connsiteX164" fmla="*/ 6886 w 10000"/>
                <a:gd name="connsiteY164" fmla="*/ 3250 h 10000"/>
                <a:gd name="connsiteX165" fmla="*/ 6822 w 10000"/>
                <a:gd name="connsiteY165" fmla="*/ 3167 h 10000"/>
                <a:gd name="connsiteX166" fmla="*/ 6832 w 10000"/>
                <a:gd name="connsiteY166" fmla="*/ 3101 h 10000"/>
                <a:gd name="connsiteX167" fmla="*/ 6868 w 10000"/>
                <a:gd name="connsiteY167" fmla="*/ 3178 h 10000"/>
                <a:gd name="connsiteX168" fmla="*/ 7011 w 10000"/>
                <a:gd name="connsiteY168" fmla="*/ 3236 h 10000"/>
                <a:gd name="connsiteX169" fmla="*/ 7175 w 10000"/>
                <a:gd name="connsiteY169" fmla="*/ 3036 h 10000"/>
                <a:gd name="connsiteX170" fmla="*/ 7307 w 10000"/>
                <a:gd name="connsiteY170" fmla="*/ 3045 h 10000"/>
                <a:gd name="connsiteX171" fmla="*/ 7442 w 10000"/>
                <a:gd name="connsiteY171" fmla="*/ 2999 h 10000"/>
                <a:gd name="connsiteX172" fmla="*/ 7565 w 10000"/>
                <a:gd name="connsiteY172" fmla="*/ 2936 h 10000"/>
                <a:gd name="connsiteX173" fmla="*/ 8864 w 10000"/>
                <a:gd name="connsiteY173" fmla="*/ 2396 h 10000"/>
                <a:gd name="connsiteX174" fmla="*/ 9310 w 10000"/>
                <a:gd name="connsiteY174" fmla="*/ 2263 h 10000"/>
                <a:gd name="connsiteX175" fmla="*/ 9417 w 10000"/>
                <a:gd name="connsiteY175" fmla="*/ 2235 h 10000"/>
                <a:gd name="connsiteX176" fmla="*/ 10000 w 10000"/>
                <a:gd name="connsiteY176" fmla="*/ 1832 h 10000"/>
                <a:gd name="connsiteX177" fmla="*/ 9652 w 10000"/>
                <a:gd name="connsiteY177" fmla="*/ 1699 h 10000"/>
                <a:gd name="connsiteX178" fmla="*/ 9147 w 10000"/>
                <a:gd name="connsiteY178" fmla="*/ 1773 h 10000"/>
                <a:gd name="connsiteX179" fmla="*/ 8784 w 10000"/>
                <a:gd name="connsiteY179" fmla="*/ 1639 h 10000"/>
                <a:gd name="connsiteX180" fmla="*/ 8850 w 10000"/>
                <a:gd name="connsiteY180" fmla="*/ 1480 h 10000"/>
                <a:gd name="connsiteX181" fmla="*/ 7497 w 10000"/>
                <a:gd name="connsiteY181" fmla="*/ 923 h 10000"/>
                <a:gd name="connsiteX182" fmla="*/ 7522 w 10000"/>
                <a:gd name="connsiteY182" fmla="*/ 649 h 10000"/>
                <a:gd name="connsiteX183" fmla="*/ 7012 w 10000"/>
                <a:gd name="connsiteY183" fmla="*/ 590 h 10000"/>
                <a:gd name="connsiteX184" fmla="*/ 6413 w 10000"/>
                <a:gd name="connsiteY184" fmla="*/ 332 h 10000"/>
                <a:gd name="connsiteX185" fmla="*/ 5098 w 10000"/>
                <a:gd name="connsiteY185" fmla="*/ 0 h 10000"/>
                <a:gd name="connsiteX186" fmla="*/ 4837 w 10000"/>
                <a:gd name="connsiteY186" fmla="*/ 82 h 10000"/>
                <a:gd name="connsiteX187" fmla="*/ 4671 w 10000"/>
                <a:gd name="connsiteY187" fmla="*/ 78 h 10000"/>
                <a:gd name="connsiteX188" fmla="*/ 4571 w 10000"/>
                <a:gd name="connsiteY188" fmla="*/ 107 h 10000"/>
                <a:gd name="connsiteX189" fmla="*/ 4298 w 10000"/>
                <a:gd name="connsiteY189" fmla="*/ 913 h 10000"/>
                <a:gd name="connsiteX190" fmla="*/ 3668 w 10000"/>
                <a:gd name="connsiteY190" fmla="*/ 1383 h 10000"/>
                <a:gd name="connsiteX191" fmla="*/ 3672 w 10000"/>
                <a:gd name="connsiteY191" fmla="*/ 1457 h 10000"/>
                <a:gd name="connsiteX192" fmla="*/ 3952 w 10000"/>
                <a:gd name="connsiteY192" fmla="*/ 1668 h 10000"/>
                <a:gd name="connsiteX193" fmla="*/ 3861 w 10000"/>
                <a:gd name="connsiteY193" fmla="*/ 1896 h 10000"/>
                <a:gd name="connsiteX194" fmla="*/ 3698 w 10000"/>
                <a:gd name="connsiteY194" fmla="*/ 1979 h 10000"/>
                <a:gd name="connsiteX195" fmla="*/ 3208 w 10000"/>
                <a:gd name="connsiteY195" fmla="*/ 1924 h 10000"/>
                <a:gd name="connsiteX196" fmla="*/ 2871 w 10000"/>
                <a:gd name="connsiteY196" fmla="*/ 1955 h 10000"/>
                <a:gd name="connsiteX197" fmla="*/ 2601 w 10000"/>
                <a:gd name="connsiteY197" fmla="*/ 2023 h 10000"/>
                <a:gd name="connsiteX198" fmla="*/ 2163 w 10000"/>
                <a:gd name="connsiteY198" fmla="*/ 2233 h 10000"/>
                <a:gd name="connsiteX199" fmla="*/ 1931 w 10000"/>
                <a:gd name="connsiteY199" fmla="*/ 2487 h 10000"/>
                <a:gd name="connsiteX200" fmla="*/ 1951 w 10000"/>
                <a:gd name="connsiteY200" fmla="*/ 2629 h 10000"/>
                <a:gd name="connsiteX201" fmla="*/ 2032 w 10000"/>
                <a:gd name="connsiteY201" fmla="*/ 2738 h 10000"/>
                <a:gd name="connsiteX202" fmla="*/ 2093 w 10000"/>
                <a:gd name="connsiteY202" fmla="*/ 2782 h 10000"/>
                <a:gd name="connsiteX203" fmla="*/ 1979 w 10000"/>
                <a:gd name="connsiteY203" fmla="*/ 2852 h 10000"/>
                <a:gd name="connsiteX204" fmla="*/ 1731 w 10000"/>
                <a:gd name="connsiteY204" fmla="*/ 3330 h 10000"/>
                <a:gd name="connsiteX205" fmla="*/ 1779 w 10000"/>
                <a:gd name="connsiteY205" fmla="*/ 3358 h 10000"/>
                <a:gd name="connsiteX206" fmla="*/ 1815 w 10000"/>
                <a:gd name="connsiteY206" fmla="*/ 3479 h 10000"/>
                <a:gd name="connsiteX207" fmla="*/ 1700 w 10000"/>
                <a:gd name="connsiteY207" fmla="*/ 3982 h 10000"/>
                <a:gd name="connsiteX208" fmla="*/ 1815 w 10000"/>
                <a:gd name="connsiteY208" fmla="*/ 4110 h 10000"/>
                <a:gd name="connsiteX209" fmla="*/ 2131 w 10000"/>
                <a:gd name="connsiteY209" fmla="*/ 4251 h 10000"/>
                <a:gd name="connsiteX210" fmla="*/ 2145 w 10000"/>
                <a:gd name="connsiteY210" fmla="*/ 4423 h 10000"/>
                <a:gd name="connsiteX211" fmla="*/ 2010 w 10000"/>
                <a:gd name="connsiteY211" fmla="*/ 4566 h 10000"/>
                <a:gd name="connsiteX212" fmla="*/ 1815 w 10000"/>
                <a:gd name="connsiteY212" fmla="*/ 4652 h 10000"/>
                <a:gd name="connsiteX213" fmla="*/ 1557 w 10000"/>
                <a:gd name="connsiteY213" fmla="*/ 4687 h 10000"/>
                <a:gd name="connsiteX214" fmla="*/ 1490 w 10000"/>
                <a:gd name="connsiteY214" fmla="*/ 4737 h 10000"/>
                <a:gd name="connsiteX215" fmla="*/ 1640 w 10000"/>
                <a:gd name="connsiteY215" fmla="*/ 4855 h 10000"/>
                <a:gd name="connsiteX216" fmla="*/ 1726 w 10000"/>
                <a:gd name="connsiteY216" fmla="*/ 5136 h 10000"/>
                <a:gd name="connsiteX217" fmla="*/ 1531 w 10000"/>
                <a:gd name="connsiteY217" fmla="*/ 5376 h 10000"/>
                <a:gd name="connsiteX218" fmla="*/ 1599 w 10000"/>
                <a:gd name="connsiteY218" fmla="*/ 5451 h 10000"/>
                <a:gd name="connsiteX219" fmla="*/ 1537 w 10000"/>
                <a:gd name="connsiteY219" fmla="*/ 5577 h 10000"/>
                <a:gd name="connsiteX220" fmla="*/ 1412 w 10000"/>
                <a:gd name="connsiteY220" fmla="*/ 5663 h 10000"/>
                <a:gd name="connsiteX221" fmla="*/ 915 w 10000"/>
                <a:gd name="connsiteY221" fmla="*/ 5730 h 10000"/>
                <a:gd name="connsiteX222" fmla="*/ 885 w 10000"/>
                <a:gd name="connsiteY222" fmla="*/ 5846 h 10000"/>
                <a:gd name="connsiteX223" fmla="*/ 617 w 10000"/>
                <a:gd name="connsiteY223" fmla="*/ 6019 h 10000"/>
                <a:gd name="connsiteX224" fmla="*/ 652 w 10000"/>
                <a:gd name="connsiteY224" fmla="*/ 6268 h 10000"/>
                <a:gd name="connsiteX225" fmla="*/ 427 w 10000"/>
                <a:gd name="connsiteY225" fmla="*/ 6587 h 10000"/>
                <a:gd name="connsiteX226" fmla="*/ 274 w 10000"/>
                <a:gd name="connsiteY226" fmla="*/ 6624 h 10000"/>
                <a:gd name="connsiteX227" fmla="*/ 210 w 10000"/>
                <a:gd name="connsiteY227" fmla="*/ 6548 h 10000"/>
                <a:gd name="connsiteX228" fmla="*/ 132 w 10000"/>
                <a:gd name="connsiteY228" fmla="*/ 6663 h 10000"/>
                <a:gd name="connsiteX229" fmla="*/ 183 w 10000"/>
                <a:gd name="connsiteY229" fmla="*/ 6465 h 10000"/>
                <a:gd name="connsiteX230" fmla="*/ 151 w 10000"/>
                <a:gd name="connsiteY23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37 w 10000"/>
                <a:gd name="connsiteY162" fmla="*/ 3424 h 10000"/>
                <a:gd name="connsiteX163" fmla="*/ 6854 w 10000"/>
                <a:gd name="connsiteY163" fmla="*/ 3404 h 10000"/>
                <a:gd name="connsiteX164" fmla="*/ 6886 w 10000"/>
                <a:gd name="connsiteY164" fmla="*/ 3250 h 10000"/>
                <a:gd name="connsiteX165" fmla="*/ 6822 w 10000"/>
                <a:gd name="connsiteY165" fmla="*/ 3167 h 10000"/>
                <a:gd name="connsiteX166" fmla="*/ 6832 w 10000"/>
                <a:gd name="connsiteY166" fmla="*/ 3101 h 10000"/>
                <a:gd name="connsiteX167" fmla="*/ 6868 w 10000"/>
                <a:gd name="connsiteY167" fmla="*/ 3178 h 10000"/>
                <a:gd name="connsiteX168" fmla="*/ 7175 w 10000"/>
                <a:gd name="connsiteY168" fmla="*/ 3036 h 10000"/>
                <a:gd name="connsiteX169" fmla="*/ 7307 w 10000"/>
                <a:gd name="connsiteY169" fmla="*/ 3045 h 10000"/>
                <a:gd name="connsiteX170" fmla="*/ 7442 w 10000"/>
                <a:gd name="connsiteY170" fmla="*/ 2999 h 10000"/>
                <a:gd name="connsiteX171" fmla="*/ 7565 w 10000"/>
                <a:gd name="connsiteY171" fmla="*/ 2936 h 10000"/>
                <a:gd name="connsiteX172" fmla="*/ 8864 w 10000"/>
                <a:gd name="connsiteY172" fmla="*/ 2396 h 10000"/>
                <a:gd name="connsiteX173" fmla="*/ 9310 w 10000"/>
                <a:gd name="connsiteY173" fmla="*/ 2263 h 10000"/>
                <a:gd name="connsiteX174" fmla="*/ 9417 w 10000"/>
                <a:gd name="connsiteY174" fmla="*/ 2235 h 10000"/>
                <a:gd name="connsiteX175" fmla="*/ 10000 w 10000"/>
                <a:gd name="connsiteY175" fmla="*/ 1832 h 10000"/>
                <a:gd name="connsiteX176" fmla="*/ 9652 w 10000"/>
                <a:gd name="connsiteY176" fmla="*/ 1699 h 10000"/>
                <a:gd name="connsiteX177" fmla="*/ 9147 w 10000"/>
                <a:gd name="connsiteY177" fmla="*/ 1773 h 10000"/>
                <a:gd name="connsiteX178" fmla="*/ 8784 w 10000"/>
                <a:gd name="connsiteY178" fmla="*/ 1639 h 10000"/>
                <a:gd name="connsiteX179" fmla="*/ 8850 w 10000"/>
                <a:gd name="connsiteY179" fmla="*/ 1480 h 10000"/>
                <a:gd name="connsiteX180" fmla="*/ 7497 w 10000"/>
                <a:gd name="connsiteY180" fmla="*/ 923 h 10000"/>
                <a:gd name="connsiteX181" fmla="*/ 7522 w 10000"/>
                <a:gd name="connsiteY181" fmla="*/ 649 h 10000"/>
                <a:gd name="connsiteX182" fmla="*/ 7012 w 10000"/>
                <a:gd name="connsiteY182" fmla="*/ 590 h 10000"/>
                <a:gd name="connsiteX183" fmla="*/ 6413 w 10000"/>
                <a:gd name="connsiteY183" fmla="*/ 332 h 10000"/>
                <a:gd name="connsiteX184" fmla="*/ 5098 w 10000"/>
                <a:gd name="connsiteY184" fmla="*/ 0 h 10000"/>
                <a:gd name="connsiteX185" fmla="*/ 4837 w 10000"/>
                <a:gd name="connsiteY185" fmla="*/ 82 h 10000"/>
                <a:gd name="connsiteX186" fmla="*/ 4671 w 10000"/>
                <a:gd name="connsiteY186" fmla="*/ 78 h 10000"/>
                <a:gd name="connsiteX187" fmla="*/ 4571 w 10000"/>
                <a:gd name="connsiteY187" fmla="*/ 107 h 10000"/>
                <a:gd name="connsiteX188" fmla="*/ 4298 w 10000"/>
                <a:gd name="connsiteY188" fmla="*/ 913 h 10000"/>
                <a:gd name="connsiteX189" fmla="*/ 3668 w 10000"/>
                <a:gd name="connsiteY189" fmla="*/ 1383 h 10000"/>
                <a:gd name="connsiteX190" fmla="*/ 3672 w 10000"/>
                <a:gd name="connsiteY190" fmla="*/ 1457 h 10000"/>
                <a:gd name="connsiteX191" fmla="*/ 3952 w 10000"/>
                <a:gd name="connsiteY191" fmla="*/ 1668 h 10000"/>
                <a:gd name="connsiteX192" fmla="*/ 3861 w 10000"/>
                <a:gd name="connsiteY192" fmla="*/ 1896 h 10000"/>
                <a:gd name="connsiteX193" fmla="*/ 3698 w 10000"/>
                <a:gd name="connsiteY193" fmla="*/ 1979 h 10000"/>
                <a:gd name="connsiteX194" fmla="*/ 3208 w 10000"/>
                <a:gd name="connsiteY194" fmla="*/ 1924 h 10000"/>
                <a:gd name="connsiteX195" fmla="*/ 2871 w 10000"/>
                <a:gd name="connsiteY195" fmla="*/ 1955 h 10000"/>
                <a:gd name="connsiteX196" fmla="*/ 2601 w 10000"/>
                <a:gd name="connsiteY196" fmla="*/ 2023 h 10000"/>
                <a:gd name="connsiteX197" fmla="*/ 2163 w 10000"/>
                <a:gd name="connsiteY197" fmla="*/ 2233 h 10000"/>
                <a:gd name="connsiteX198" fmla="*/ 1931 w 10000"/>
                <a:gd name="connsiteY198" fmla="*/ 2487 h 10000"/>
                <a:gd name="connsiteX199" fmla="*/ 1951 w 10000"/>
                <a:gd name="connsiteY199" fmla="*/ 2629 h 10000"/>
                <a:gd name="connsiteX200" fmla="*/ 2032 w 10000"/>
                <a:gd name="connsiteY200" fmla="*/ 2738 h 10000"/>
                <a:gd name="connsiteX201" fmla="*/ 2093 w 10000"/>
                <a:gd name="connsiteY201" fmla="*/ 2782 h 10000"/>
                <a:gd name="connsiteX202" fmla="*/ 1979 w 10000"/>
                <a:gd name="connsiteY202" fmla="*/ 2852 h 10000"/>
                <a:gd name="connsiteX203" fmla="*/ 1731 w 10000"/>
                <a:gd name="connsiteY203" fmla="*/ 3330 h 10000"/>
                <a:gd name="connsiteX204" fmla="*/ 1779 w 10000"/>
                <a:gd name="connsiteY204" fmla="*/ 3358 h 10000"/>
                <a:gd name="connsiteX205" fmla="*/ 1815 w 10000"/>
                <a:gd name="connsiteY205" fmla="*/ 3479 h 10000"/>
                <a:gd name="connsiteX206" fmla="*/ 1700 w 10000"/>
                <a:gd name="connsiteY206" fmla="*/ 3982 h 10000"/>
                <a:gd name="connsiteX207" fmla="*/ 1815 w 10000"/>
                <a:gd name="connsiteY207" fmla="*/ 4110 h 10000"/>
                <a:gd name="connsiteX208" fmla="*/ 2131 w 10000"/>
                <a:gd name="connsiteY208" fmla="*/ 4251 h 10000"/>
                <a:gd name="connsiteX209" fmla="*/ 2145 w 10000"/>
                <a:gd name="connsiteY209" fmla="*/ 4423 h 10000"/>
                <a:gd name="connsiteX210" fmla="*/ 2010 w 10000"/>
                <a:gd name="connsiteY210" fmla="*/ 4566 h 10000"/>
                <a:gd name="connsiteX211" fmla="*/ 1815 w 10000"/>
                <a:gd name="connsiteY211" fmla="*/ 4652 h 10000"/>
                <a:gd name="connsiteX212" fmla="*/ 1557 w 10000"/>
                <a:gd name="connsiteY212" fmla="*/ 4687 h 10000"/>
                <a:gd name="connsiteX213" fmla="*/ 1490 w 10000"/>
                <a:gd name="connsiteY213" fmla="*/ 4737 h 10000"/>
                <a:gd name="connsiteX214" fmla="*/ 1640 w 10000"/>
                <a:gd name="connsiteY214" fmla="*/ 4855 h 10000"/>
                <a:gd name="connsiteX215" fmla="*/ 1726 w 10000"/>
                <a:gd name="connsiteY215" fmla="*/ 5136 h 10000"/>
                <a:gd name="connsiteX216" fmla="*/ 1531 w 10000"/>
                <a:gd name="connsiteY216" fmla="*/ 5376 h 10000"/>
                <a:gd name="connsiteX217" fmla="*/ 1599 w 10000"/>
                <a:gd name="connsiteY217" fmla="*/ 5451 h 10000"/>
                <a:gd name="connsiteX218" fmla="*/ 1537 w 10000"/>
                <a:gd name="connsiteY218" fmla="*/ 5577 h 10000"/>
                <a:gd name="connsiteX219" fmla="*/ 1412 w 10000"/>
                <a:gd name="connsiteY219" fmla="*/ 5663 h 10000"/>
                <a:gd name="connsiteX220" fmla="*/ 915 w 10000"/>
                <a:gd name="connsiteY220" fmla="*/ 5730 h 10000"/>
                <a:gd name="connsiteX221" fmla="*/ 885 w 10000"/>
                <a:gd name="connsiteY221" fmla="*/ 5846 h 10000"/>
                <a:gd name="connsiteX222" fmla="*/ 617 w 10000"/>
                <a:gd name="connsiteY222" fmla="*/ 6019 h 10000"/>
                <a:gd name="connsiteX223" fmla="*/ 652 w 10000"/>
                <a:gd name="connsiteY223" fmla="*/ 6268 h 10000"/>
                <a:gd name="connsiteX224" fmla="*/ 427 w 10000"/>
                <a:gd name="connsiteY224" fmla="*/ 6587 h 10000"/>
                <a:gd name="connsiteX225" fmla="*/ 274 w 10000"/>
                <a:gd name="connsiteY225" fmla="*/ 6624 h 10000"/>
                <a:gd name="connsiteX226" fmla="*/ 210 w 10000"/>
                <a:gd name="connsiteY226" fmla="*/ 6548 h 10000"/>
                <a:gd name="connsiteX227" fmla="*/ 132 w 10000"/>
                <a:gd name="connsiteY227" fmla="*/ 6663 h 10000"/>
                <a:gd name="connsiteX228" fmla="*/ 183 w 10000"/>
                <a:gd name="connsiteY228" fmla="*/ 6465 h 10000"/>
                <a:gd name="connsiteX229" fmla="*/ 151 w 10000"/>
                <a:gd name="connsiteY229"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37 w 10000"/>
                <a:gd name="connsiteY162" fmla="*/ 3424 h 10000"/>
                <a:gd name="connsiteX163" fmla="*/ 6854 w 10000"/>
                <a:gd name="connsiteY163" fmla="*/ 3404 h 10000"/>
                <a:gd name="connsiteX164" fmla="*/ 6886 w 10000"/>
                <a:gd name="connsiteY164" fmla="*/ 3250 h 10000"/>
                <a:gd name="connsiteX165" fmla="*/ 6822 w 10000"/>
                <a:gd name="connsiteY165" fmla="*/ 3167 h 10000"/>
                <a:gd name="connsiteX166" fmla="*/ 6832 w 10000"/>
                <a:gd name="connsiteY166" fmla="*/ 3101 h 10000"/>
                <a:gd name="connsiteX167" fmla="*/ 7175 w 10000"/>
                <a:gd name="connsiteY167" fmla="*/ 3036 h 10000"/>
                <a:gd name="connsiteX168" fmla="*/ 7307 w 10000"/>
                <a:gd name="connsiteY168" fmla="*/ 3045 h 10000"/>
                <a:gd name="connsiteX169" fmla="*/ 7442 w 10000"/>
                <a:gd name="connsiteY169" fmla="*/ 2999 h 10000"/>
                <a:gd name="connsiteX170" fmla="*/ 7565 w 10000"/>
                <a:gd name="connsiteY170" fmla="*/ 2936 h 10000"/>
                <a:gd name="connsiteX171" fmla="*/ 8864 w 10000"/>
                <a:gd name="connsiteY171" fmla="*/ 2396 h 10000"/>
                <a:gd name="connsiteX172" fmla="*/ 9310 w 10000"/>
                <a:gd name="connsiteY172" fmla="*/ 2263 h 10000"/>
                <a:gd name="connsiteX173" fmla="*/ 9417 w 10000"/>
                <a:gd name="connsiteY173" fmla="*/ 2235 h 10000"/>
                <a:gd name="connsiteX174" fmla="*/ 10000 w 10000"/>
                <a:gd name="connsiteY174" fmla="*/ 1832 h 10000"/>
                <a:gd name="connsiteX175" fmla="*/ 9652 w 10000"/>
                <a:gd name="connsiteY175" fmla="*/ 1699 h 10000"/>
                <a:gd name="connsiteX176" fmla="*/ 9147 w 10000"/>
                <a:gd name="connsiteY176" fmla="*/ 1773 h 10000"/>
                <a:gd name="connsiteX177" fmla="*/ 8784 w 10000"/>
                <a:gd name="connsiteY177" fmla="*/ 1639 h 10000"/>
                <a:gd name="connsiteX178" fmla="*/ 8850 w 10000"/>
                <a:gd name="connsiteY178" fmla="*/ 1480 h 10000"/>
                <a:gd name="connsiteX179" fmla="*/ 7497 w 10000"/>
                <a:gd name="connsiteY179" fmla="*/ 923 h 10000"/>
                <a:gd name="connsiteX180" fmla="*/ 7522 w 10000"/>
                <a:gd name="connsiteY180" fmla="*/ 649 h 10000"/>
                <a:gd name="connsiteX181" fmla="*/ 7012 w 10000"/>
                <a:gd name="connsiteY181" fmla="*/ 590 h 10000"/>
                <a:gd name="connsiteX182" fmla="*/ 6413 w 10000"/>
                <a:gd name="connsiteY182" fmla="*/ 332 h 10000"/>
                <a:gd name="connsiteX183" fmla="*/ 5098 w 10000"/>
                <a:gd name="connsiteY183" fmla="*/ 0 h 10000"/>
                <a:gd name="connsiteX184" fmla="*/ 4837 w 10000"/>
                <a:gd name="connsiteY184" fmla="*/ 82 h 10000"/>
                <a:gd name="connsiteX185" fmla="*/ 4671 w 10000"/>
                <a:gd name="connsiteY185" fmla="*/ 78 h 10000"/>
                <a:gd name="connsiteX186" fmla="*/ 4571 w 10000"/>
                <a:gd name="connsiteY186" fmla="*/ 107 h 10000"/>
                <a:gd name="connsiteX187" fmla="*/ 4298 w 10000"/>
                <a:gd name="connsiteY187" fmla="*/ 913 h 10000"/>
                <a:gd name="connsiteX188" fmla="*/ 3668 w 10000"/>
                <a:gd name="connsiteY188" fmla="*/ 1383 h 10000"/>
                <a:gd name="connsiteX189" fmla="*/ 3672 w 10000"/>
                <a:gd name="connsiteY189" fmla="*/ 1457 h 10000"/>
                <a:gd name="connsiteX190" fmla="*/ 3952 w 10000"/>
                <a:gd name="connsiteY190" fmla="*/ 1668 h 10000"/>
                <a:gd name="connsiteX191" fmla="*/ 3861 w 10000"/>
                <a:gd name="connsiteY191" fmla="*/ 1896 h 10000"/>
                <a:gd name="connsiteX192" fmla="*/ 3698 w 10000"/>
                <a:gd name="connsiteY192" fmla="*/ 1979 h 10000"/>
                <a:gd name="connsiteX193" fmla="*/ 3208 w 10000"/>
                <a:gd name="connsiteY193" fmla="*/ 1924 h 10000"/>
                <a:gd name="connsiteX194" fmla="*/ 2871 w 10000"/>
                <a:gd name="connsiteY194" fmla="*/ 1955 h 10000"/>
                <a:gd name="connsiteX195" fmla="*/ 2601 w 10000"/>
                <a:gd name="connsiteY195" fmla="*/ 2023 h 10000"/>
                <a:gd name="connsiteX196" fmla="*/ 2163 w 10000"/>
                <a:gd name="connsiteY196" fmla="*/ 2233 h 10000"/>
                <a:gd name="connsiteX197" fmla="*/ 1931 w 10000"/>
                <a:gd name="connsiteY197" fmla="*/ 2487 h 10000"/>
                <a:gd name="connsiteX198" fmla="*/ 1951 w 10000"/>
                <a:gd name="connsiteY198" fmla="*/ 2629 h 10000"/>
                <a:gd name="connsiteX199" fmla="*/ 2032 w 10000"/>
                <a:gd name="connsiteY199" fmla="*/ 2738 h 10000"/>
                <a:gd name="connsiteX200" fmla="*/ 2093 w 10000"/>
                <a:gd name="connsiteY200" fmla="*/ 2782 h 10000"/>
                <a:gd name="connsiteX201" fmla="*/ 1979 w 10000"/>
                <a:gd name="connsiteY201" fmla="*/ 2852 h 10000"/>
                <a:gd name="connsiteX202" fmla="*/ 1731 w 10000"/>
                <a:gd name="connsiteY202" fmla="*/ 3330 h 10000"/>
                <a:gd name="connsiteX203" fmla="*/ 1779 w 10000"/>
                <a:gd name="connsiteY203" fmla="*/ 3358 h 10000"/>
                <a:gd name="connsiteX204" fmla="*/ 1815 w 10000"/>
                <a:gd name="connsiteY204" fmla="*/ 3479 h 10000"/>
                <a:gd name="connsiteX205" fmla="*/ 1700 w 10000"/>
                <a:gd name="connsiteY205" fmla="*/ 3982 h 10000"/>
                <a:gd name="connsiteX206" fmla="*/ 1815 w 10000"/>
                <a:gd name="connsiteY206" fmla="*/ 4110 h 10000"/>
                <a:gd name="connsiteX207" fmla="*/ 2131 w 10000"/>
                <a:gd name="connsiteY207" fmla="*/ 4251 h 10000"/>
                <a:gd name="connsiteX208" fmla="*/ 2145 w 10000"/>
                <a:gd name="connsiteY208" fmla="*/ 4423 h 10000"/>
                <a:gd name="connsiteX209" fmla="*/ 2010 w 10000"/>
                <a:gd name="connsiteY209" fmla="*/ 4566 h 10000"/>
                <a:gd name="connsiteX210" fmla="*/ 1815 w 10000"/>
                <a:gd name="connsiteY210" fmla="*/ 4652 h 10000"/>
                <a:gd name="connsiteX211" fmla="*/ 1557 w 10000"/>
                <a:gd name="connsiteY211" fmla="*/ 4687 h 10000"/>
                <a:gd name="connsiteX212" fmla="*/ 1490 w 10000"/>
                <a:gd name="connsiteY212" fmla="*/ 4737 h 10000"/>
                <a:gd name="connsiteX213" fmla="*/ 1640 w 10000"/>
                <a:gd name="connsiteY213" fmla="*/ 4855 h 10000"/>
                <a:gd name="connsiteX214" fmla="*/ 1726 w 10000"/>
                <a:gd name="connsiteY214" fmla="*/ 5136 h 10000"/>
                <a:gd name="connsiteX215" fmla="*/ 1531 w 10000"/>
                <a:gd name="connsiteY215" fmla="*/ 5376 h 10000"/>
                <a:gd name="connsiteX216" fmla="*/ 1599 w 10000"/>
                <a:gd name="connsiteY216" fmla="*/ 5451 h 10000"/>
                <a:gd name="connsiteX217" fmla="*/ 1537 w 10000"/>
                <a:gd name="connsiteY217" fmla="*/ 5577 h 10000"/>
                <a:gd name="connsiteX218" fmla="*/ 1412 w 10000"/>
                <a:gd name="connsiteY218" fmla="*/ 5663 h 10000"/>
                <a:gd name="connsiteX219" fmla="*/ 915 w 10000"/>
                <a:gd name="connsiteY219" fmla="*/ 5730 h 10000"/>
                <a:gd name="connsiteX220" fmla="*/ 885 w 10000"/>
                <a:gd name="connsiteY220" fmla="*/ 5846 h 10000"/>
                <a:gd name="connsiteX221" fmla="*/ 617 w 10000"/>
                <a:gd name="connsiteY221" fmla="*/ 6019 h 10000"/>
                <a:gd name="connsiteX222" fmla="*/ 652 w 10000"/>
                <a:gd name="connsiteY222" fmla="*/ 6268 h 10000"/>
                <a:gd name="connsiteX223" fmla="*/ 427 w 10000"/>
                <a:gd name="connsiteY223" fmla="*/ 6587 h 10000"/>
                <a:gd name="connsiteX224" fmla="*/ 274 w 10000"/>
                <a:gd name="connsiteY224" fmla="*/ 6624 h 10000"/>
                <a:gd name="connsiteX225" fmla="*/ 210 w 10000"/>
                <a:gd name="connsiteY225" fmla="*/ 6548 h 10000"/>
                <a:gd name="connsiteX226" fmla="*/ 132 w 10000"/>
                <a:gd name="connsiteY226" fmla="*/ 6663 h 10000"/>
                <a:gd name="connsiteX227" fmla="*/ 183 w 10000"/>
                <a:gd name="connsiteY227" fmla="*/ 6465 h 10000"/>
                <a:gd name="connsiteX228" fmla="*/ 151 w 10000"/>
                <a:gd name="connsiteY228"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37 w 10000"/>
                <a:gd name="connsiteY162" fmla="*/ 3424 h 10000"/>
                <a:gd name="connsiteX163" fmla="*/ 6854 w 10000"/>
                <a:gd name="connsiteY163" fmla="*/ 3404 h 10000"/>
                <a:gd name="connsiteX164" fmla="*/ 6822 w 10000"/>
                <a:gd name="connsiteY164" fmla="*/ 3167 h 10000"/>
                <a:gd name="connsiteX165" fmla="*/ 6832 w 10000"/>
                <a:gd name="connsiteY165" fmla="*/ 3101 h 10000"/>
                <a:gd name="connsiteX166" fmla="*/ 7175 w 10000"/>
                <a:gd name="connsiteY166" fmla="*/ 3036 h 10000"/>
                <a:gd name="connsiteX167" fmla="*/ 7307 w 10000"/>
                <a:gd name="connsiteY167" fmla="*/ 3045 h 10000"/>
                <a:gd name="connsiteX168" fmla="*/ 7442 w 10000"/>
                <a:gd name="connsiteY168" fmla="*/ 2999 h 10000"/>
                <a:gd name="connsiteX169" fmla="*/ 7565 w 10000"/>
                <a:gd name="connsiteY169" fmla="*/ 2936 h 10000"/>
                <a:gd name="connsiteX170" fmla="*/ 8864 w 10000"/>
                <a:gd name="connsiteY170" fmla="*/ 2396 h 10000"/>
                <a:gd name="connsiteX171" fmla="*/ 9310 w 10000"/>
                <a:gd name="connsiteY171" fmla="*/ 2263 h 10000"/>
                <a:gd name="connsiteX172" fmla="*/ 9417 w 10000"/>
                <a:gd name="connsiteY172" fmla="*/ 2235 h 10000"/>
                <a:gd name="connsiteX173" fmla="*/ 10000 w 10000"/>
                <a:gd name="connsiteY173" fmla="*/ 1832 h 10000"/>
                <a:gd name="connsiteX174" fmla="*/ 9652 w 10000"/>
                <a:gd name="connsiteY174" fmla="*/ 1699 h 10000"/>
                <a:gd name="connsiteX175" fmla="*/ 9147 w 10000"/>
                <a:gd name="connsiteY175" fmla="*/ 1773 h 10000"/>
                <a:gd name="connsiteX176" fmla="*/ 8784 w 10000"/>
                <a:gd name="connsiteY176" fmla="*/ 1639 h 10000"/>
                <a:gd name="connsiteX177" fmla="*/ 8850 w 10000"/>
                <a:gd name="connsiteY177" fmla="*/ 1480 h 10000"/>
                <a:gd name="connsiteX178" fmla="*/ 7497 w 10000"/>
                <a:gd name="connsiteY178" fmla="*/ 923 h 10000"/>
                <a:gd name="connsiteX179" fmla="*/ 7522 w 10000"/>
                <a:gd name="connsiteY179" fmla="*/ 649 h 10000"/>
                <a:gd name="connsiteX180" fmla="*/ 7012 w 10000"/>
                <a:gd name="connsiteY180" fmla="*/ 590 h 10000"/>
                <a:gd name="connsiteX181" fmla="*/ 6413 w 10000"/>
                <a:gd name="connsiteY181" fmla="*/ 332 h 10000"/>
                <a:gd name="connsiteX182" fmla="*/ 5098 w 10000"/>
                <a:gd name="connsiteY182" fmla="*/ 0 h 10000"/>
                <a:gd name="connsiteX183" fmla="*/ 4837 w 10000"/>
                <a:gd name="connsiteY183" fmla="*/ 82 h 10000"/>
                <a:gd name="connsiteX184" fmla="*/ 4671 w 10000"/>
                <a:gd name="connsiteY184" fmla="*/ 78 h 10000"/>
                <a:gd name="connsiteX185" fmla="*/ 4571 w 10000"/>
                <a:gd name="connsiteY185" fmla="*/ 107 h 10000"/>
                <a:gd name="connsiteX186" fmla="*/ 4298 w 10000"/>
                <a:gd name="connsiteY186" fmla="*/ 913 h 10000"/>
                <a:gd name="connsiteX187" fmla="*/ 3668 w 10000"/>
                <a:gd name="connsiteY187" fmla="*/ 1383 h 10000"/>
                <a:gd name="connsiteX188" fmla="*/ 3672 w 10000"/>
                <a:gd name="connsiteY188" fmla="*/ 1457 h 10000"/>
                <a:gd name="connsiteX189" fmla="*/ 3952 w 10000"/>
                <a:gd name="connsiteY189" fmla="*/ 1668 h 10000"/>
                <a:gd name="connsiteX190" fmla="*/ 3861 w 10000"/>
                <a:gd name="connsiteY190" fmla="*/ 1896 h 10000"/>
                <a:gd name="connsiteX191" fmla="*/ 3698 w 10000"/>
                <a:gd name="connsiteY191" fmla="*/ 1979 h 10000"/>
                <a:gd name="connsiteX192" fmla="*/ 3208 w 10000"/>
                <a:gd name="connsiteY192" fmla="*/ 1924 h 10000"/>
                <a:gd name="connsiteX193" fmla="*/ 2871 w 10000"/>
                <a:gd name="connsiteY193" fmla="*/ 1955 h 10000"/>
                <a:gd name="connsiteX194" fmla="*/ 2601 w 10000"/>
                <a:gd name="connsiteY194" fmla="*/ 2023 h 10000"/>
                <a:gd name="connsiteX195" fmla="*/ 2163 w 10000"/>
                <a:gd name="connsiteY195" fmla="*/ 2233 h 10000"/>
                <a:gd name="connsiteX196" fmla="*/ 1931 w 10000"/>
                <a:gd name="connsiteY196" fmla="*/ 2487 h 10000"/>
                <a:gd name="connsiteX197" fmla="*/ 1951 w 10000"/>
                <a:gd name="connsiteY197" fmla="*/ 2629 h 10000"/>
                <a:gd name="connsiteX198" fmla="*/ 2032 w 10000"/>
                <a:gd name="connsiteY198" fmla="*/ 2738 h 10000"/>
                <a:gd name="connsiteX199" fmla="*/ 2093 w 10000"/>
                <a:gd name="connsiteY199" fmla="*/ 2782 h 10000"/>
                <a:gd name="connsiteX200" fmla="*/ 1979 w 10000"/>
                <a:gd name="connsiteY200" fmla="*/ 2852 h 10000"/>
                <a:gd name="connsiteX201" fmla="*/ 1731 w 10000"/>
                <a:gd name="connsiteY201" fmla="*/ 3330 h 10000"/>
                <a:gd name="connsiteX202" fmla="*/ 1779 w 10000"/>
                <a:gd name="connsiteY202" fmla="*/ 3358 h 10000"/>
                <a:gd name="connsiteX203" fmla="*/ 1815 w 10000"/>
                <a:gd name="connsiteY203" fmla="*/ 3479 h 10000"/>
                <a:gd name="connsiteX204" fmla="*/ 1700 w 10000"/>
                <a:gd name="connsiteY204" fmla="*/ 3982 h 10000"/>
                <a:gd name="connsiteX205" fmla="*/ 1815 w 10000"/>
                <a:gd name="connsiteY205" fmla="*/ 4110 h 10000"/>
                <a:gd name="connsiteX206" fmla="*/ 2131 w 10000"/>
                <a:gd name="connsiteY206" fmla="*/ 4251 h 10000"/>
                <a:gd name="connsiteX207" fmla="*/ 2145 w 10000"/>
                <a:gd name="connsiteY207" fmla="*/ 4423 h 10000"/>
                <a:gd name="connsiteX208" fmla="*/ 2010 w 10000"/>
                <a:gd name="connsiteY208" fmla="*/ 4566 h 10000"/>
                <a:gd name="connsiteX209" fmla="*/ 1815 w 10000"/>
                <a:gd name="connsiteY209" fmla="*/ 4652 h 10000"/>
                <a:gd name="connsiteX210" fmla="*/ 1557 w 10000"/>
                <a:gd name="connsiteY210" fmla="*/ 4687 h 10000"/>
                <a:gd name="connsiteX211" fmla="*/ 1490 w 10000"/>
                <a:gd name="connsiteY211" fmla="*/ 4737 h 10000"/>
                <a:gd name="connsiteX212" fmla="*/ 1640 w 10000"/>
                <a:gd name="connsiteY212" fmla="*/ 4855 h 10000"/>
                <a:gd name="connsiteX213" fmla="*/ 1726 w 10000"/>
                <a:gd name="connsiteY213" fmla="*/ 5136 h 10000"/>
                <a:gd name="connsiteX214" fmla="*/ 1531 w 10000"/>
                <a:gd name="connsiteY214" fmla="*/ 5376 h 10000"/>
                <a:gd name="connsiteX215" fmla="*/ 1599 w 10000"/>
                <a:gd name="connsiteY215" fmla="*/ 5451 h 10000"/>
                <a:gd name="connsiteX216" fmla="*/ 1537 w 10000"/>
                <a:gd name="connsiteY216" fmla="*/ 5577 h 10000"/>
                <a:gd name="connsiteX217" fmla="*/ 1412 w 10000"/>
                <a:gd name="connsiteY217" fmla="*/ 5663 h 10000"/>
                <a:gd name="connsiteX218" fmla="*/ 915 w 10000"/>
                <a:gd name="connsiteY218" fmla="*/ 5730 h 10000"/>
                <a:gd name="connsiteX219" fmla="*/ 885 w 10000"/>
                <a:gd name="connsiteY219" fmla="*/ 5846 h 10000"/>
                <a:gd name="connsiteX220" fmla="*/ 617 w 10000"/>
                <a:gd name="connsiteY220" fmla="*/ 6019 h 10000"/>
                <a:gd name="connsiteX221" fmla="*/ 652 w 10000"/>
                <a:gd name="connsiteY221" fmla="*/ 6268 h 10000"/>
                <a:gd name="connsiteX222" fmla="*/ 427 w 10000"/>
                <a:gd name="connsiteY222" fmla="*/ 6587 h 10000"/>
                <a:gd name="connsiteX223" fmla="*/ 274 w 10000"/>
                <a:gd name="connsiteY223" fmla="*/ 6624 h 10000"/>
                <a:gd name="connsiteX224" fmla="*/ 210 w 10000"/>
                <a:gd name="connsiteY224" fmla="*/ 6548 h 10000"/>
                <a:gd name="connsiteX225" fmla="*/ 132 w 10000"/>
                <a:gd name="connsiteY225" fmla="*/ 6663 h 10000"/>
                <a:gd name="connsiteX226" fmla="*/ 183 w 10000"/>
                <a:gd name="connsiteY226" fmla="*/ 6465 h 10000"/>
                <a:gd name="connsiteX227" fmla="*/ 151 w 10000"/>
                <a:gd name="connsiteY227"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37 w 10000"/>
                <a:gd name="connsiteY162" fmla="*/ 3424 h 10000"/>
                <a:gd name="connsiteX163" fmla="*/ 6822 w 10000"/>
                <a:gd name="connsiteY163" fmla="*/ 3167 h 10000"/>
                <a:gd name="connsiteX164" fmla="*/ 6832 w 10000"/>
                <a:gd name="connsiteY164" fmla="*/ 3101 h 10000"/>
                <a:gd name="connsiteX165" fmla="*/ 7175 w 10000"/>
                <a:gd name="connsiteY165" fmla="*/ 3036 h 10000"/>
                <a:gd name="connsiteX166" fmla="*/ 7307 w 10000"/>
                <a:gd name="connsiteY166" fmla="*/ 3045 h 10000"/>
                <a:gd name="connsiteX167" fmla="*/ 7442 w 10000"/>
                <a:gd name="connsiteY167" fmla="*/ 2999 h 10000"/>
                <a:gd name="connsiteX168" fmla="*/ 7565 w 10000"/>
                <a:gd name="connsiteY168" fmla="*/ 2936 h 10000"/>
                <a:gd name="connsiteX169" fmla="*/ 8864 w 10000"/>
                <a:gd name="connsiteY169" fmla="*/ 2396 h 10000"/>
                <a:gd name="connsiteX170" fmla="*/ 9310 w 10000"/>
                <a:gd name="connsiteY170" fmla="*/ 2263 h 10000"/>
                <a:gd name="connsiteX171" fmla="*/ 9417 w 10000"/>
                <a:gd name="connsiteY171" fmla="*/ 2235 h 10000"/>
                <a:gd name="connsiteX172" fmla="*/ 10000 w 10000"/>
                <a:gd name="connsiteY172" fmla="*/ 1832 h 10000"/>
                <a:gd name="connsiteX173" fmla="*/ 9652 w 10000"/>
                <a:gd name="connsiteY173" fmla="*/ 1699 h 10000"/>
                <a:gd name="connsiteX174" fmla="*/ 9147 w 10000"/>
                <a:gd name="connsiteY174" fmla="*/ 1773 h 10000"/>
                <a:gd name="connsiteX175" fmla="*/ 8784 w 10000"/>
                <a:gd name="connsiteY175" fmla="*/ 1639 h 10000"/>
                <a:gd name="connsiteX176" fmla="*/ 8850 w 10000"/>
                <a:gd name="connsiteY176" fmla="*/ 1480 h 10000"/>
                <a:gd name="connsiteX177" fmla="*/ 7497 w 10000"/>
                <a:gd name="connsiteY177" fmla="*/ 923 h 10000"/>
                <a:gd name="connsiteX178" fmla="*/ 7522 w 10000"/>
                <a:gd name="connsiteY178" fmla="*/ 649 h 10000"/>
                <a:gd name="connsiteX179" fmla="*/ 7012 w 10000"/>
                <a:gd name="connsiteY179" fmla="*/ 590 h 10000"/>
                <a:gd name="connsiteX180" fmla="*/ 6413 w 10000"/>
                <a:gd name="connsiteY180" fmla="*/ 332 h 10000"/>
                <a:gd name="connsiteX181" fmla="*/ 5098 w 10000"/>
                <a:gd name="connsiteY181" fmla="*/ 0 h 10000"/>
                <a:gd name="connsiteX182" fmla="*/ 4837 w 10000"/>
                <a:gd name="connsiteY182" fmla="*/ 82 h 10000"/>
                <a:gd name="connsiteX183" fmla="*/ 4671 w 10000"/>
                <a:gd name="connsiteY183" fmla="*/ 78 h 10000"/>
                <a:gd name="connsiteX184" fmla="*/ 4571 w 10000"/>
                <a:gd name="connsiteY184" fmla="*/ 107 h 10000"/>
                <a:gd name="connsiteX185" fmla="*/ 4298 w 10000"/>
                <a:gd name="connsiteY185" fmla="*/ 913 h 10000"/>
                <a:gd name="connsiteX186" fmla="*/ 3668 w 10000"/>
                <a:gd name="connsiteY186" fmla="*/ 1383 h 10000"/>
                <a:gd name="connsiteX187" fmla="*/ 3672 w 10000"/>
                <a:gd name="connsiteY187" fmla="*/ 1457 h 10000"/>
                <a:gd name="connsiteX188" fmla="*/ 3952 w 10000"/>
                <a:gd name="connsiteY188" fmla="*/ 1668 h 10000"/>
                <a:gd name="connsiteX189" fmla="*/ 3861 w 10000"/>
                <a:gd name="connsiteY189" fmla="*/ 1896 h 10000"/>
                <a:gd name="connsiteX190" fmla="*/ 3698 w 10000"/>
                <a:gd name="connsiteY190" fmla="*/ 1979 h 10000"/>
                <a:gd name="connsiteX191" fmla="*/ 3208 w 10000"/>
                <a:gd name="connsiteY191" fmla="*/ 1924 h 10000"/>
                <a:gd name="connsiteX192" fmla="*/ 2871 w 10000"/>
                <a:gd name="connsiteY192" fmla="*/ 1955 h 10000"/>
                <a:gd name="connsiteX193" fmla="*/ 2601 w 10000"/>
                <a:gd name="connsiteY193" fmla="*/ 2023 h 10000"/>
                <a:gd name="connsiteX194" fmla="*/ 2163 w 10000"/>
                <a:gd name="connsiteY194" fmla="*/ 2233 h 10000"/>
                <a:gd name="connsiteX195" fmla="*/ 1931 w 10000"/>
                <a:gd name="connsiteY195" fmla="*/ 2487 h 10000"/>
                <a:gd name="connsiteX196" fmla="*/ 1951 w 10000"/>
                <a:gd name="connsiteY196" fmla="*/ 2629 h 10000"/>
                <a:gd name="connsiteX197" fmla="*/ 2032 w 10000"/>
                <a:gd name="connsiteY197" fmla="*/ 2738 h 10000"/>
                <a:gd name="connsiteX198" fmla="*/ 2093 w 10000"/>
                <a:gd name="connsiteY198" fmla="*/ 2782 h 10000"/>
                <a:gd name="connsiteX199" fmla="*/ 1979 w 10000"/>
                <a:gd name="connsiteY199" fmla="*/ 2852 h 10000"/>
                <a:gd name="connsiteX200" fmla="*/ 1731 w 10000"/>
                <a:gd name="connsiteY200" fmla="*/ 3330 h 10000"/>
                <a:gd name="connsiteX201" fmla="*/ 1779 w 10000"/>
                <a:gd name="connsiteY201" fmla="*/ 3358 h 10000"/>
                <a:gd name="connsiteX202" fmla="*/ 1815 w 10000"/>
                <a:gd name="connsiteY202" fmla="*/ 3479 h 10000"/>
                <a:gd name="connsiteX203" fmla="*/ 1700 w 10000"/>
                <a:gd name="connsiteY203" fmla="*/ 3982 h 10000"/>
                <a:gd name="connsiteX204" fmla="*/ 1815 w 10000"/>
                <a:gd name="connsiteY204" fmla="*/ 4110 h 10000"/>
                <a:gd name="connsiteX205" fmla="*/ 2131 w 10000"/>
                <a:gd name="connsiteY205" fmla="*/ 4251 h 10000"/>
                <a:gd name="connsiteX206" fmla="*/ 2145 w 10000"/>
                <a:gd name="connsiteY206" fmla="*/ 4423 h 10000"/>
                <a:gd name="connsiteX207" fmla="*/ 2010 w 10000"/>
                <a:gd name="connsiteY207" fmla="*/ 4566 h 10000"/>
                <a:gd name="connsiteX208" fmla="*/ 1815 w 10000"/>
                <a:gd name="connsiteY208" fmla="*/ 4652 h 10000"/>
                <a:gd name="connsiteX209" fmla="*/ 1557 w 10000"/>
                <a:gd name="connsiteY209" fmla="*/ 4687 h 10000"/>
                <a:gd name="connsiteX210" fmla="*/ 1490 w 10000"/>
                <a:gd name="connsiteY210" fmla="*/ 4737 h 10000"/>
                <a:gd name="connsiteX211" fmla="*/ 1640 w 10000"/>
                <a:gd name="connsiteY211" fmla="*/ 4855 h 10000"/>
                <a:gd name="connsiteX212" fmla="*/ 1726 w 10000"/>
                <a:gd name="connsiteY212" fmla="*/ 5136 h 10000"/>
                <a:gd name="connsiteX213" fmla="*/ 1531 w 10000"/>
                <a:gd name="connsiteY213" fmla="*/ 5376 h 10000"/>
                <a:gd name="connsiteX214" fmla="*/ 1599 w 10000"/>
                <a:gd name="connsiteY214" fmla="*/ 5451 h 10000"/>
                <a:gd name="connsiteX215" fmla="*/ 1537 w 10000"/>
                <a:gd name="connsiteY215" fmla="*/ 5577 h 10000"/>
                <a:gd name="connsiteX216" fmla="*/ 1412 w 10000"/>
                <a:gd name="connsiteY216" fmla="*/ 5663 h 10000"/>
                <a:gd name="connsiteX217" fmla="*/ 915 w 10000"/>
                <a:gd name="connsiteY217" fmla="*/ 5730 h 10000"/>
                <a:gd name="connsiteX218" fmla="*/ 885 w 10000"/>
                <a:gd name="connsiteY218" fmla="*/ 5846 h 10000"/>
                <a:gd name="connsiteX219" fmla="*/ 617 w 10000"/>
                <a:gd name="connsiteY219" fmla="*/ 6019 h 10000"/>
                <a:gd name="connsiteX220" fmla="*/ 652 w 10000"/>
                <a:gd name="connsiteY220" fmla="*/ 6268 h 10000"/>
                <a:gd name="connsiteX221" fmla="*/ 427 w 10000"/>
                <a:gd name="connsiteY221" fmla="*/ 6587 h 10000"/>
                <a:gd name="connsiteX222" fmla="*/ 274 w 10000"/>
                <a:gd name="connsiteY222" fmla="*/ 6624 h 10000"/>
                <a:gd name="connsiteX223" fmla="*/ 210 w 10000"/>
                <a:gd name="connsiteY223" fmla="*/ 6548 h 10000"/>
                <a:gd name="connsiteX224" fmla="*/ 132 w 10000"/>
                <a:gd name="connsiteY224" fmla="*/ 6663 h 10000"/>
                <a:gd name="connsiteX225" fmla="*/ 183 w 10000"/>
                <a:gd name="connsiteY225" fmla="*/ 6465 h 10000"/>
                <a:gd name="connsiteX226" fmla="*/ 151 w 10000"/>
                <a:gd name="connsiteY226"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423 w 10000"/>
                <a:gd name="connsiteY158" fmla="*/ 3645 h 10000"/>
                <a:gd name="connsiteX159" fmla="*/ 6656 w 10000"/>
                <a:gd name="connsiteY159" fmla="*/ 3538 h 10000"/>
                <a:gd name="connsiteX160" fmla="*/ 6665 w 10000"/>
                <a:gd name="connsiteY160" fmla="*/ 3516 h 10000"/>
                <a:gd name="connsiteX161" fmla="*/ 6737 w 10000"/>
                <a:gd name="connsiteY161" fmla="*/ 3497 h 10000"/>
                <a:gd name="connsiteX162" fmla="*/ 6822 w 10000"/>
                <a:gd name="connsiteY162" fmla="*/ 3167 h 10000"/>
                <a:gd name="connsiteX163" fmla="*/ 6832 w 10000"/>
                <a:gd name="connsiteY163" fmla="*/ 3101 h 10000"/>
                <a:gd name="connsiteX164" fmla="*/ 7175 w 10000"/>
                <a:gd name="connsiteY164" fmla="*/ 3036 h 10000"/>
                <a:gd name="connsiteX165" fmla="*/ 7307 w 10000"/>
                <a:gd name="connsiteY165" fmla="*/ 3045 h 10000"/>
                <a:gd name="connsiteX166" fmla="*/ 7442 w 10000"/>
                <a:gd name="connsiteY166" fmla="*/ 2999 h 10000"/>
                <a:gd name="connsiteX167" fmla="*/ 7565 w 10000"/>
                <a:gd name="connsiteY167" fmla="*/ 2936 h 10000"/>
                <a:gd name="connsiteX168" fmla="*/ 8864 w 10000"/>
                <a:gd name="connsiteY168" fmla="*/ 2396 h 10000"/>
                <a:gd name="connsiteX169" fmla="*/ 9310 w 10000"/>
                <a:gd name="connsiteY169" fmla="*/ 2263 h 10000"/>
                <a:gd name="connsiteX170" fmla="*/ 9417 w 10000"/>
                <a:gd name="connsiteY170" fmla="*/ 2235 h 10000"/>
                <a:gd name="connsiteX171" fmla="*/ 10000 w 10000"/>
                <a:gd name="connsiteY171" fmla="*/ 1832 h 10000"/>
                <a:gd name="connsiteX172" fmla="*/ 9652 w 10000"/>
                <a:gd name="connsiteY172" fmla="*/ 1699 h 10000"/>
                <a:gd name="connsiteX173" fmla="*/ 9147 w 10000"/>
                <a:gd name="connsiteY173" fmla="*/ 1773 h 10000"/>
                <a:gd name="connsiteX174" fmla="*/ 8784 w 10000"/>
                <a:gd name="connsiteY174" fmla="*/ 1639 h 10000"/>
                <a:gd name="connsiteX175" fmla="*/ 8850 w 10000"/>
                <a:gd name="connsiteY175" fmla="*/ 1480 h 10000"/>
                <a:gd name="connsiteX176" fmla="*/ 7497 w 10000"/>
                <a:gd name="connsiteY176" fmla="*/ 923 h 10000"/>
                <a:gd name="connsiteX177" fmla="*/ 7522 w 10000"/>
                <a:gd name="connsiteY177" fmla="*/ 649 h 10000"/>
                <a:gd name="connsiteX178" fmla="*/ 7012 w 10000"/>
                <a:gd name="connsiteY178" fmla="*/ 590 h 10000"/>
                <a:gd name="connsiteX179" fmla="*/ 6413 w 10000"/>
                <a:gd name="connsiteY179" fmla="*/ 332 h 10000"/>
                <a:gd name="connsiteX180" fmla="*/ 5098 w 10000"/>
                <a:gd name="connsiteY180" fmla="*/ 0 h 10000"/>
                <a:gd name="connsiteX181" fmla="*/ 4837 w 10000"/>
                <a:gd name="connsiteY181" fmla="*/ 82 h 10000"/>
                <a:gd name="connsiteX182" fmla="*/ 4671 w 10000"/>
                <a:gd name="connsiteY182" fmla="*/ 78 h 10000"/>
                <a:gd name="connsiteX183" fmla="*/ 4571 w 10000"/>
                <a:gd name="connsiteY183" fmla="*/ 107 h 10000"/>
                <a:gd name="connsiteX184" fmla="*/ 4298 w 10000"/>
                <a:gd name="connsiteY184" fmla="*/ 913 h 10000"/>
                <a:gd name="connsiteX185" fmla="*/ 3668 w 10000"/>
                <a:gd name="connsiteY185" fmla="*/ 1383 h 10000"/>
                <a:gd name="connsiteX186" fmla="*/ 3672 w 10000"/>
                <a:gd name="connsiteY186" fmla="*/ 1457 h 10000"/>
                <a:gd name="connsiteX187" fmla="*/ 3952 w 10000"/>
                <a:gd name="connsiteY187" fmla="*/ 1668 h 10000"/>
                <a:gd name="connsiteX188" fmla="*/ 3861 w 10000"/>
                <a:gd name="connsiteY188" fmla="*/ 1896 h 10000"/>
                <a:gd name="connsiteX189" fmla="*/ 3698 w 10000"/>
                <a:gd name="connsiteY189" fmla="*/ 1979 h 10000"/>
                <a:gd name="connsiteX190" fmla="*/ 3208 w 10000"/>
                <a:gd name="connsiteY190" fmla="*/ 1924 h 10000"/>
                <a:gd name="connsiteX191" fmla="*/ 2871 w 10000"/>
                <a:gd name="connsiteY191" fmla="*/ 1955 h 10000"/>
                <a:gd name="connsiteX192" fmla="*/ 2601 w 10000"/>
                <a:gd name="connsiteY192" fmla="*/ 2023 h 10000"/>
                <a:gd name="connsiteX193" fmla="*/ 2163 w 10000"/>
                <a:gd name="connsiteY193" fmla="*/ 2233 h 10000"/>
                <a:gd name="connsiteX194" fmla="*/ 1931 w 10000"/>
                <a:gd name="connsiteY194" fmla="*/ 2487 h 10000"/>
                <a:gd name="connsiteX195" fmla="*/ 1951 w 10000"/>
                <a:gd name="connsiteY195" fmla="*/ 2629 h 10000"/>
                <a:gd name="connsiteX196" fmla="*/ 2032 w 10000"/>
                <a:gd name="connsiteY196" fmla="*/ 2738 h 10000"/>
                <a:gd name="connsiteX197" fmla="*/ 2093 w 10000"/>
                <a:gd name="connsiteY197" fmla="*/ 2782 h 10000"/>
                <a:gd name="connsiteX198" fmla="*/ 1979 w 10000"/>
                <a:gd name="connsiteY198" fmla="*/ 2852 h 10000"/>
                <a:gd name="connsiteX199" fmla="*/ 1731 w 10000"/>
                <a:gd name="connsiteY199" fmla="*/ 3330 h 10000"/>
                <a:gd name="connsiteX200" fmla="*/ 1779 w 10000"/>
                <a:gd name="connsiteY200" fmla="*/ 3358 h 10000"/>
                <a:gd name="connsiteX201" fmla="*/ 1815 w 10000"/>
                <a:gd name="connsiteY201" fmla="*/ 3479 h 10000"/>
                <a:gd name="connsiteX202" fmla="*/ 1700 w 10000"/>
                <a:gd name="connsiteY202" fmla="*/ 3982 h 10000"/>
                <a:gd name="connsiteX203" fmla="*/ 1815 w 10000"/>
                <a:gd name="connsiteY203" fmla="*/ 4110 h 10000"/>
                <a:gd name="connsiteX204" fmla="*/ 2131 w 10000"/>
                <a:gd name="connsiteY204" fmla="*/ 4251 h 10000"/>
                <a:gd name="connsiteX205" fmla="*/ 2145 w 10000"/>
                <a:gd name="connsiteY205" fmla="*/ 4423 h 10000"/>
                <a:gd name="connsiteX206" fmla="*/ 2010 w 10000"/>
                <a:gd name="connsiteY206" fmla="*/ 4566 h 10000"/>
                <a:gd name="connsiteX207" fmla="*/ 1815 w 10000"/>
                <a:gd name="connsiteY207" fmla="*/ 4652 h 10000"/>
                <a:gd name="connsiteX208" fmla="*/ 1557 w 10000"/>
                <a:gd name="connsiteY208" fmla="*/ 4687 h 10000"/>
                <a:gd name="connsiteX209" fmla="*/ 1490 w 10000"/>
                <a:gd name="connsiteY209" fmla="*/ 4737 h 10000"/>
                <a:gd name="connsiteX210" fmla="*/ 1640 w 10000"/>
                <a:gd name="connsiteY210" fmla="*/ 4855 h 10000"/>
                <a:gd name="connsiteX211" fmla="*/ 1726 w 10000"/>
                <a:gd name="connsiteY211" fmla="*/ 5136 h 10000"/>
                <a:gd name="connsiteX212" fmla="*/ 1531 w 10000"/>
                <a:gd name="connsiteY212" fmla="*/ 5376 h 10000"/>
                <a:gd name="connsiteX213" fmla="*/ 1599 w 10000"/>
                <a:gd name="connsiteY213" fmla="*/ 5451 h 10000"/>
                <a:gd name="connsiteX214" fmla="*/ 1537 w 10000"/>
                <a:gd name="connsiteY214" fmla="*/ 5577 h 10000"/>
                <a:gd name="connsiteX215" fmla="*/ 1412 w 10000"/>
                <a:gd name="connsiteY215" fmla="*/ 5663 h 10000"/>
                <a:gd name="connsiteX216" fmla="*/ 915 w 10000"/>
                <a:gd name="connsiteY216" fmla="*/ 5730 h 10000"/>
                <a:gd name="connsiteX217" fmla="*/ 885 w 10000"/>
                <a:gd name="connsiteY217" fmla="*/ 5846 h 10000"/>
                <a:gd name="connsiteX218" fmla="*/ 617 w 10000"/>
                <a:gd name="connsiteY218" fmla="*/ 6019 h 10000"/>
                <a:gd name="connsiteX219" fmla="*/ 652 w 10000"/>
                <a:gd name="connsiteY219" fmla="*/ 6268 h 10000"/>
                <a:gd name="connsiteX220" fmla="*/ 427 w 10000"/>
                <a:gd name="connsiteY220" fmla="*/ 6587 h 10000"/>
                <a:gd name="connsiteX221" fmla="*/ 274 w 10000"/>
                <a:gd name="connsiteY221" fmla="*/ 6624 h 10000"/>
                <a:gd name="connsiteX222" fmla="*/ 210 w 10000"/>
                <a:gd name="connsiteY222" fmla="*/ 6548 h 10000"/>
                <a:gd name="connsiteX223" fmla="*/ 132 w 10000"/>
                <a:gd name="connsiteY223" fmla="*/ 6663 h 10000"/>
                <a:gd name="connsiteX224" fmla="*/ 183 w 10000"/>
                <a:gd name="connsiteY224" fmla="*/ 6465 h 10000"/>
                <a:gd name="connsiteX225" fmla="*/ 151 w 10000"/>
                <a:gd name="connsiteY225"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656 w 10000"/>
                <a:gd name="connsiteY158" fmla="*/ 3538 h 10000"/>
                <a:gd name="connsiteX159" fmla="*/ 6665 w 10000"/>
                <a:gd name="connsiteY159" fmla="*/ 3516 h 10000"/>
                <a:gd name="connsiteX160" fmla="*/ 6737 w 10000"/>
                <a:gd name="connsiteY160" fmla="*/ 3497 h 10000"/>
                <a:gd name="connsiteX161" fmla="*/ 6822 w 10000"/>
                <a:gd name="connsiteY161" fmla="*/ 3167 h 10000"/>
                <a:gd name="connsiteX162" fmla="*/ 6832 w 10000"/>
                <a:gd name="connsiteY162" fmla="*/ 3101 h 10000"/>
                <a:gd name="connsiteX163" fmla="*/ 7175 w 10000"/>
                <a:gd name="connsiteY163" fmla="*/ 3036 h 10000"/>
                <a:gd name="connsiteX164" fmla="*/ 7307 w 10000"/>
                <a:gd name="connsiteY164" fmla="*/ 3045 h 10000"/>
                <a:gd name="connsiteX165" fmla="*/ 7442 w 10000"/>
                <a:gd name="connsiteY165" fmla="*/ 2999 h 10000"/>
                <a:gd name="connsiteX166" fmla="*/ 7565 w 10000"/>
                <a:gd name="connsiteY166" fmla="*/ 2936 h 10000"/>
                <a:gd name="connsiteX167" fmla="*/ 8864 w 10000"/>
                <a:gd name="connsiteY167" fmla="*/ 2396 h 10000"/>
                <a:gd name="connsiteX168" fmla="*/ 9310 w 10000"/>
                <a:gd name="connsiteY168" fmla="*/ 2263 h 10000"/>
                <a:gd name="connsiteX169" fmla="*/ 9417 w 10000"/>
                <a:gd name="connsiteY169" fmla="*/ 2235 h 10000"/>
                <a:gd name="connsiteX170" fmla="*/ 10000 w 10000"/>
                <a:gd name="connsiteY170" fmla="*/ 1832 h 10000"/>
                <a:gd name="connsiteX171" fmla="*/ 9652 w 10000"/>
                <a:gd name="connsiteY171" fmla="*/ 1699 h 10000"/>
                <a:gd name="connsiteX172" fmla="*/ 9147 w 10000"/>
                <a:gd name="connsiteY172" fmla="*/ 1773 h 10000"/>
                <a:gd name="connsiteX173" fmla="*/ 8784 w 10000"/>
                <a:gd name="connsiteY173" fmla="*/ 1639 h 10000"/>
                <a:gd name="connsiteX174" fmla="*/ 8850 w 10000"/>
                <a:gd name="connsiteY174" fmla="*/ 1480 h 10000"/>
                <a:gd name="connsiteX175" fmla="*/ 7497 w 10000"/>
                <a:gd name="connsiteY175" fmla="*/ 923 h 10000"/>
                <a:gd name="connsiteX176" fmla="*/ 7522 w 10000"/>
                <a:gd name="connsiteY176" fmla="*/ 649 h 10000"/>
                <a:gd name="connsiteX177" fmla="*/ 7012 w 10000"/>
                <a:gd name="connsiteY177" fmla="*/ 590 h 10000"/>
                <a:gd name="connsiteX178" fmla="*/ 6413 w 10000"/>
                <a:gd name="connsiteY178" fmla="*/ 332 h 10000"/>
                <a:gd name="connsiteX179" fmla="*/ 5098 w 10000"/>
                <a:gd name="connsiteY179" fmla="*/ 0 h 10000"/>
                <a:gd name="connsiteX180" fmla="*/ 4837 w 10000"/>
                <a:gd name="connsiteY180" fmla="*/ 82 h 10000"/>
                <a:gd name="connsiteX181" fmla="*/ 4671 w 10000"/>
                <a:gd name="connsiteY181" fmla="*/ 78 h 10000"/>
                <a:gd name="connsiteX182" fmla="*/ 4571 w 10000"/>
                <a:gd name="connsiteY182" fmla="*/ 107 h 10000"/>
                <a:gd name="connsiteX183" fmla="*/ 4298 w 10000"/>
                <a:gd name="connsiteY183" fmla="*/ 913 h 10000"/>
                <a:gd name="connsiteX184" fmla="*/ 3668 w 10000"/>
                <a:gd name="connsiteY184" fmla="*/ 1383 h 10000"/>
                <a:gd name="connsiteX185" fmla="*/ 3672 w 10000"/>
                <a:gd name="connsiteY185" fmla="*/ 1457 h 10000"/>
                <a:gd name="connsiteX186" fmla="*/ 3952 w 10000"/>
                <a:gd name="connsiteY186" fmla="*/ 1668 h 10000"/>
                <a:gd name="connsiteX187" fmla="*/ 3861 w 10000"/>
                <a:gd name="connsiteY187" fmla="*/ 1896 h 10000"/>
                <a:gd name="connsiteX188" fmla="*/ 3698 w 10000"/>
                <a:gd name="connsiteY188" fmla="*/ 1979 h 10000"/>
                <a:gd name="connsiteX189" fmla="*/ 3208 w 10000"/>
                <a:gd name="connsiteY189" fmla="*/ 1924 h 10000"/>
                <a:gd name="connsiteX190" fmla="*/ 2871 w 10000"/>
                <a:gd name="connsiteY190" fmla="*/ 1955 h 10000"/>
                <a:gd name="connsiteX191" fmla="*/ 2601 w 10000"/>
                <a:gd name="connsiteY191" fmla="*/ 2023 h 10000"/>
                <a:gd name="connsiteX192" fmla="*/ 2163 w 10000"/>
                <a:gd name="connsiteY192" fmla="*/ 2233 h 10000"/>
                <a:gd name="connsiteX193" fmla="*/ 1931 w 10000"/>
                <a:gd name="connsiteY193" fmla="*/ 2487 h 10000"/>
                <a:gd name="connsiteX194" fmla="*/ 1951 w 10000"/>
                <a:gd name="connsiteY194" fmla="*/ 2629 h 10000"/>
                <a:gd name="connsiteX195" fmla="*/ 2032 w 10000"/>
                <a:gd name="connsiteY195" fmla="*/ 2738 h 10000"/>
                <a:gd name="connsiteX196" fmla="*/ 2093 w 10000"/>
                <a:gd name="connsiteY196" fmla="*/ 2782 h 10000"/>
                <a:gd name="connsiteX197" fmla="*/ 1979 w 10000"/>
                <a:gd name="connsiteY197" fmla="*/ 2852 h 10000"/>
                <a:gd name="connsiteX198" fmla="*/ 1731 w 10000"/>
                <a:gd name="connsiteY198" fmla="*/ 3330 h 10000"/>
                <a:gd name="connsiteX199" fmla="*/ 1779 w 10000"/>
                <a:gd name="connsiteY199" fmla="*/ 3358 h 10000"/>
                <a:gd name="connsiteX200" fmla="*/ 1815 w 10000"/>
                <a:gd name="connsiteY200" fmla="*/ 3479 h 10000"/>
                <a:gd name="connsiteX201" fmla="*/ 1700 w 10000"/>
                <a:gd name="connsiteY201" fmla="*/ 3982 h 10000"/>
                <a:gd name="connsiteX202" fmla="*/ 1815 w 10000"/>
                <a:gd name="connsiteY202" fmla="*/ 4110 h 10000"/>
                <a:gd name="connsiteX203" fmla="*/ 2131 w 10000"/>
                <a:gd name="connsiteY203" fmla="*/ 4251 h 10000"/>
                <a:gd name="connsiteX204" fmla="*/ 2145 w 10000"/>
                <a:gd name="connsiteY204" fmla="*/ 4423 h 10000"/>
                <a:gd name="connsiteX205" fmla="*/ 2010 w 10000"/>
                <a:gd name="connsiteY205" fmla="*/ 4566 h 10000"/>
                <a:gd name="connsiteX206" fmla="*/ 1815 w 10000"/>
                <a:gd name="connsiteY206" fmla="*/ 4652 h 10000"/>
                <a:gd name="connsiteX207" fmla="*/ 1557 w 10000"/>
                <a:gd name="connsiteY207" fmla="*/ 4687 h 10000"/>
                <a:gd name="connsiteX208" fmla="*/ 1490 w 10000"/>
                <a:gd name="connsiteY208" fmla="*/ 4737 h 10000"/>
                <a:gd name="connsiteX209" fmla="*/ 1640 w 10000"/>
                <a:gd name="connsiteY209" fmla="*/ 4855 h 10000"/>
                <a:gd name="connsiteX210" fmla="*/ 1726 w 10000"/>
                <a:gd name="connsiteY210" fmla="*/ 5136 h 10000"/>
                <a:gd name="connsiteX211" fmla="*/ 1531 w 10000"/>
                <a:gd name="connsiteY211" fmla="*/ 5376 h 10000"/>
                <a:gd name="connsiteX212" fmla="*/ 1599 w 10000"/>
                <a:gd name="connsiteY212" fmla="*/ 5451 h 10000"/>
                <a:gd name="connsiteX213" fmla="*/ 1537 w 10000"/>
                <a:gd name="connsiteY213" fmla="*/ 5577 h 10000"/>
                <a:gd name="connsiteX214" fmla="*/ 1412 w 10000"/>
                <a:gd name="connsiteY214" fmla="*/ 5663 h 10000"/>
                <a:gd name="connsiteX215" fmla="*/ 915 w 10000"/>
                <a:gd name="connsiteY215" fmla="*/ 5730 h 10000"/>
                <a:gd name="connsiteX216" fmla="*/ 885 w 10000"/>
                <a:gd name="connsiteY216" fmla="*/ 5846 h 10000"/>
                <a:gd name="connsiteX217" fmla="*/ 617 w 10000"/>
                <a:gd name="connsiteY217" fmla="*/ 6019 h 10000"/>
                <a:gd name="connsiteX218" fmla="*/ 652 w 10000"/>
                <a:gd name="connsiteY218" fmla="*/ 6268 h 10000"/>
                <a:gd name="connsiteX219" fmla="*/ 427 w 10000"/>
                <a:gd name="connsiteY219" fmla="*/ 6587 h 10000"/>
                <a:gd name="connsiteX220" fmla="*/ 274 w 10000"/>
                <a:gd name="connsiteY220" fmla="*/ 6624 h 10000"/>
                <a:gd name="connsiteX221" fmla="*/ 210 w 10000"/>
                <a:gd name="connsiteY221" fmla="*/ 6548 h 10000"/>
                <a:gd name="connsiteX222" fmla="*/ 132 w 10000"/>
                <a:gd name="connsiteY222" fmla="*/ 6663 h 10000"/>
                <a:gd name="connsiteX223" fmla="*/ 183 w 10000"/>
                <a:gd name="connsiteY223" fmla="*/ 6465 h 10000"/>
                <a:gd name="connsiteX224" fmla="*/ 151 w 10000"/>
                <a:gd name="connsiteY224"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656 w 10000"/>
                <a:gd name="connsiteY158" fmla="*/ 3538 h 10000"/>
                <a:gd name="connsiteX159" fmla="*/ 6665 w 10000"/>
                <a:gd name="connsiteY159" fmla="*/ 3516 h 10000"/>
                <a:gd name="connsiteX160" fmla="*/ 6822 w 10000"/>
                <a:gd name="connsiteY160" fmla="*/ 3167 h 10000"/>
                <a:gd name="connsiteX161" fmla="*/ 6832 w 10000"/>
                <a:gd name="connsiteY161" fmla="*/ 3101 h 10000"/>
                <a:gd name="connsiteX162" fmla="*/ 7175 w 10000"/>
                <a:gd name="connsiteY162" fmla="*/ 3036 h 10000"/>
                <a:gd name="connsiteX163" fmla="*/ 7307 w 10000"/>
                <a:gd name="connsiteY163" fmla="*/ 3045 h 10000"/>
                <a:gd name="connsiteX164" fmla="*/ 7442 w 10000"/>
                <a:gd name="connsiteY164" fmla="*/ 2999 h 10000"/>
                <a:gd name="connsiteX165" fmla="*/ 7565 w 10000"/>
                <a:gd name="connsiteY165" fmla="*/ 2936 h 10000"/>
                <a:gd name="connsiteX166" fmla="*/ 8864 w 10000"/>
                <a:gd name="connsiteY166" fmla="*/ 2396 h 10000"/>
                <a:gd name="connsiteX167" fmla="*/ 9310 w 10000"/>
                <a:gd name="connsiteY167" fmla="*/ 2263 h 10000"/>
                <a:gd name="connsiteX168" fmla="*/ 9417 w 10000"/>
                <a:gd name="connsiteY168" fmla="*/ 2235 h 10000"/>
                <a:gd name="connsiteX169" fmla="*/ 10000 w 10000"/>
                <a:gd name="connsiteY169" fmla="*/ 1832 h 10000"/>
                <a:gd name="connsiteX170" fmla="*/ 9652 w 10000"/>
                <a:gd name="connsiteY170" fmla="*/ 1699 h 10000"/>
                <a:gd name="connsiteX171" fmla="*/ 9147 w 10000"/>
                <a:gd name="connsiteY171" fmla="*/ 1773 h 10000"/>
                <a:gd name="connsiteX172" fmla="*/ 8784 w 10000"/>
                <a:gd name="connsiteY172" fmla="*/ 1639 h 10000"/>
                <a:gd name="connsiteX173" fmla="*/ 8850 w 10000"/>
                <a:gd name="connsiteY173" fmla="*/ 1480 h 10000"/>
                <a:gd name="connsiteX174" fmla="*/ 7497 w 10000"/>
                <a:gd name="connsiteY174" fmla="*/ 923 h 10000"/>
                <a:gd name="connsiteX175" fmla="*/ 7522 w 10000"/>
                <a:gd name="connsiteY175" fmla="*/ 649 h 10000"/>
                <a:gd name="connsiteX176" fmla="*/ 7012 w 10000"/>
                <a:gd name="connsiteY176" fmla="*/ 590 h 10000"/>
                <a:gd name="connsiteX177" fmla="*/ 6413 w 10000"/>
                <a:gd name="connsiteY177" fmla="*/ 332 h 10000"/>
                <a:gd name="connsiteX178" fmla="*/ 5098 w 10000"/>
                <a:gd name="connsiteY178" fmla="*/ 0 h 10000"/>
                <a:gd name="connsiteX179" fmla="*/ 4837 w 10000"/>
                <a:gd name="connsiteY179" fmla="*/ 82 h 10000"/>
                <a:gd name="connsiteX180" fmla="*/ 4671 w 10000"/>
                <a:gd name="connsiteY180" fmla="*/ 78 h 10000"/>
                <a:gd name="connsiteX181" fmla="*/ 4571 w 10000"/>
                <a:gd name="connsiteY181" fmla="*/ 107 h 10000"/>
                <a:gd name="connsiteX182" fmla="*/ 4298 w 10000"/>
                <a:gd name="connsiteY182" fmla="*/ 913 h 10000"/>
                <a:gd name="connsiteX183" fmla="*/ 3668 w 10000"/>
                <a:gd name="connsiteY183" fmla="*/ 1383 h 10000"/>
                <a:gd name="connsiteX184" fmla="*/ 3672 w 10000"/>
                <a:gd name="connsiteY184" fmla="*/ 1457 h 10000"/>
                <a:gd name="connsiteX185" fmla="*/ 3952 w 10000"/>
                <a:gd name="connsiteY185" fmla="*/ 1668 h 10000"/>
                <a:gd name="connsiteX186" fmla="*/ 3861 w 10000"/>
                <a:gd name="connsiteY186" fmla="*/ 1896 h 10000"/>
                <a:gd name="connsiteX187" fmla="*/ 3698 w 10000"/>
                <a:gd name="connsiteY187" fmla="*/ 1979 h 10000"/>
                <a:gd name="connsiteX188" fmla="*/ 3208 w 10000"/>
                <a:gd name="connsiteY188" fmla="*/ 1924 h 10000"/>
                <a:gd name="connsiteX189" fmla="*/ 2871 w 10000"/>
                <a:gd name="connsiteY189" fmla="*/ 1955 h 10000"/>
                <a:gd name="connsiteX190" fmla="*/ 2601 w 10000"/>
                <a:gd name="connsiteY190" fmla="*/ 2023 h 10000"/>
                <a:gd name="connsiteX191" fmla="*/ 2163 w 10000"/>
                <a:gd name="connsiteY191" fmla="*/ 2233 h 10000"/>
                <a:gd name="connsiteX192" fmla="*/ 1931 w 10000"/>
                <a:gd name="connsiteY192" fmla="*/ 2487 h 10000"/>
                <a:gd name="connsiteX193" fmla="*/ 1951 w 10000"/>
                <a:gd name="connsiteY193" fmla="*/ 2629 h 10000"/>
                <a:gd name="connsiteX194" fmla="*/ 2032 w 10000"/>
                <a:gd name="connsiteY194" fmla="*/ 2738 h 10000"/>
                <a:gd name="connsiteX195" fmla="*/ 2093 w 10000"/>
                <a:gd name="connsiteY195" fmla="*/ 2782 h 10000"/>
                <a:gd name="connsiteX196" fmla="*/ 1979 w 10000"/>
                <a:gd name="connsiteY196" fmla="*/ 2852 h 10000"/>
                <a:gd name="connsiteX197" fmla="*/ 1731 w 10000"/>
                <a:gd name="connsiteY197" fmla="*/ 3330 h 10000"/>
                <a:gd name="connsiteX198" fmla="*/ 1779 w 10000"/>
                <a:gd name="connsiteY198" fmla="*/ 3358 h 10000"/>
                <a:gd name="connsiteX199" fmla="*/ 1815 w 10000"/>
                <a:gd name="connsiteY199" fmla="*/ 3479 h 10000"/>
                <a:gd name="connsiteX200" fmla="*/ 1700 w 10000"/>
                <a:gd name="connsiteY200" fmla="*/ 3982 h 10000"/>
                <a:gd name="connsiteX201" fmla="*/ 1815 w 10000"/>
                <a:gd name="connsiteY201" fmla="*/ 4110 h 10000"/>
                <a:gd name="connsiteX202" fmla="*/ 2131 w 10000"/>
                <a:gd name="connsiteY202" fmla="*/ 4251 h 10000"/>
                <a:gd name="connsiteX203" fmla="*/ 2145 w 10000"/>
                <a:gd name="connsiteY203" fmla="*/ 4423 h 10000"/>
                <a:gd name="connsiteX204" fmla="*/ 2010 w 10000"/>
                <a:gd name="connsiteY204" fmla="*/ 4566 h 10000"/>
                <a:gd name="connsiteX205" fmla="*/ 1815 w 10000"/>
                <a:gd name="connsiteY205" fmla="*/ 4652 h 10000"/>
                <a:gd name="connsiteX206" fmla="*/ 1557 w 10000"/>
                <a:gd name="connsiteY206" fmla="*/ 4687 h 10000"/>
                <a:gd name="connsiteX207" fmla="*/ 1490 w 10000"/>
                <a:gd name="connsiteY207" fmla="*/ 4737 h 10000"/>
                <a:gd name="connsiteX208" fmla="*/ 1640 w 10000"/>
                <a:gd name="connsiteY208" fmla="*/ 4855 h 10000"/>
                <a:gd name="connsiteX209" fmla="*/ 1726 w 10000"/>
                <a:gd name="connsiteY209" fmla="*/ 5136 h 10000"/>
                <a:gd name="connsiteX210" fmla="*/ 1531 w 10000"/>
                <a:gd name="connsiteY210" fmla="*/ 5376 h 10000"/>
                <a:gd name="connsiteX211" fmla="*/ 1599 w 10000"/>
                <a:gd name="connsiteY211" fmla="*/ 5451 h 10000"/>
                <a:gd name="connsiteX212" fmla="*/ 1537 w 10000"/>
                <a:gd name="connsiteY212" fmla="*/ 5577 h 10000"/>
                <a:gd name="connsiteX213" fmla="*/ 1412 w 10000"/>
                <a:gd name="connsiteY213" fmla="*/ 5663 h 10000"/>
                <a:gd name="connsiteX214" fmla="*/ 915 w 10000"/>
                <a:gd name="connsiteY214" fmla="*/ 5730 h 10000"/>
                <a:gd name="connsiteX215" fmla="*/ 885 w 10000"/>
                <a:gd name="connsiteY215" fmla="*/ 5846 h 10000"/>
                <a:gd name="connsiteX216" fmla="*/ 617 w 10000"/>
                <a:gd name="connsiteY216" fmla="*/ 6019 h 10000"/>
                <a:gd name="connsiteX217" fmla="*/ 652 w 10000"/>
                <a:gd name="connsiteY217" fmla="*/ 6268 h 10000"/>
                <a:gd name="connsiteX218" fmla="*/ 427 w 10000"/>
                <a:gd name="connsiteY218" fmla="*/ 6587 h 10000"/>
                <a:gd name="connsiteX219" fmla="*/ 274 w 10000"/>
                <a:gd name="connsiteY219" fmla="*/ 6624 h 10000"/>
                <a:gd name="connsiteX220" fmla="*/ 210 w 10000"/>
                <a:gd name="connsiteY220" fmla="*/ 6548 h 10000"/>
                <a:gd name="connsiteX221" fmla="*/ 132 w 10000"/>
                <a:gd name="connsiteY221" fmla="*/ 6663 h 10000"/>
                <a:gd name="connsiteX222" fmla="*/ 183 w 10000"/>
                <a:gd name="connsiteY222" fmla="*/ 6465 h 10000"/>
                <a:gd name="connsiteX223" fmla="*/ 151 w 10000"/>
                <a:gd name="connsiteY223"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656 w 10000"/>
                <a:gd name="connsiteY158" fmla="*/ 3538 h 10000"/>
                <a:gd name="connsiteX159" fmla="*/ 6822 w 10000"/>
                <a:gd name="connsiteY159" fmla="*/ 3167 h 10000"/>
                <a:gd name="connsiteX160" fmla="*/ 6832 w 10000"/>
                <a:gd name="connsiteY160" fmla="*/ 3101 h 10000"/>
                <a:gd name="connsiteX161" fmla="*/ 7175 w 10000"/>
                <a:gd name="connsiteY161" fmla="*/ 3036 h 10000"/>
                <a:gd name="connsiteX162" fmla="*/ 7307 w 10000"/>
                <a:gd name="connsiteY162" fmla="*/ 3045 h 10000"/>
                <a:gd name="connsiteX163" fmla="*/ 7442 w 10000"/>
                <a:gd name="connsiteY163" fmla="*/ 2999 h 10000"/>
                <a:gd name="connsiteX164" fmla="*/ 7565 w 10000"/>
                <a:gd name="connsiteY164" fmla="*/ 2936 h 10000"/>
                <a:gd name="connsiteX165" fmla="*/ 8864 w 10000"/>
                <a:gd name="connsiteY165" fmla="*/ 2396 h 10000"/>
                <a:gd name="connsiteX166" fmla="*/ 9310 w 10000"/>
                <a:gd name="connsiteY166" fmla="*/ 2263 h 10000"/>
                <a:gd name="connsiteX167" fmla="*/ 9417 w 10000"/>
                <a:gd name="connsiteY167" fmla="*/ 2235 h 10000"/>
                <a:gd name="connsiteX168" fmla="*/ 10000 w 10000"/>
                <a:gd name="connsiteY168" fmla="*/ 1832 h 10000"/>
                <a:gd name="connsiteX169" fmla="*/ 9652 w 10000"/>
                <a:gd name="connsiteY169" fmla="*/ 1699 h 10000"/>
                <a:gd name="connsiteX170" fmla="*/ 9147 w 10000"/>
                <a:gd name="connsiteY170" fmla="*/ 1773 h 10000"/>
                <a:gd name="connsiteX171" fmla="*/ 8784 w 10000"/>
                <a:gd name="connsiteY171" fmla="*/ 1639 h 10000"/>
                <a:gd name="connsiteX172" fmla="*/ 8850 w 10000"/>
                <a:gd name="connsiteY172" fmla="*/ 1480 h 10000"/>
                <a:gd name="connsiteX173" fmla="*/ 7497 w 10000"/>
                <a:gd name="connsiteY173" fmla="*/ 923 h 10000"/>
                <a:gd name="connsiteX174" fmla="*/ 7522 w 10000"/>
                <a:gd name="connsiteY174" fmla="*/ 649 h 10000"/>
                <a:gd name="connsiteX175" fmla="*/ 7012 w 10000"/>
                <a:gd name="connsiteY175" fmla="*/ 590 h 10000"/>
                <a:gd name="connsiteX176" fmla="*/ 6413 w 10000"/>
                <a:gd name="connsiteY176" fmla="*/ 332 h 10000"/>
                <a:gd name="connsiteX177" fmla="*/ 5098 w 10000"/>
                <a:gd name="connsiteY177" fmla="*/ 0 h 10000"/>
                <a:gd name="connsiteX178" fmla="*/ 4837 w 10000"/>
                <a:gd name="connsiteY178" fmla="*/ 82 h 10000"/>
                <a:gd name="connsiteX179" fmla="*/ 4671 w 10000"/>
                <a:gd name="connsiteY179" fmla="*/ 78 h 10000"/>
                <a:gd name="connsiteX180" fmla="*/ 4571 w 10000"/>
                <a:gd name="connsiteY180" fmla="*/ 107 h 10000"/>
                <a:gd name="connsiteX181" fmla="*/ 4298 w 10000"/>
                <a:gd name="connsiteY181" fmla="*/ 913 h 10000"/>
                <a:gd name="connsiteX182" fmla="*/ 3668 w 10000"/>
                <a:gd name="connsiteY182" fmla="*/ 1383 h 10000"/>
                <a:gd name="connsiteX183" fmla="*/ 3672 w 10000"/>
                <a:gd name="connsiteY183" fmla="*/ 1457 h 10000"/>
                <a:gd name="connsiteX184" fmla="*/ 3952 w 10000"/>
                <a:gd name="connsiteY184" fmla="*/ 1668 h 10000"/>
                <a:gd name="connsiteX185" fmla="*/ 3861 w 10000"/>
                <a:gd name="connsiteY185" fmla="*/ 1896 h 10000"/>
                <a:gd name="connsiteX186" fmla="*/ 3698 w 10000"/>
                <a:gd name="connsiteY186" fmla="*/ 1979 h 10000"/>
                <a:gd name="connsiteX187" fmla="*/ 3208 w 10000"/>
                <a:gd name="connsiteY187" fmla="*/ 1924 h 10000"/>
                <a:gd name="connsiteX188" fmla="*/ 2871 w 10000"/>
                <a:gd name="connsiteY188" fmla="*/ 1955 h 10000"/>
                <a:gd name="connsiteX189" fmla="*/ 2601 w 10000"/>
                <a:gd name="connsiteY189" fmla="*/ 2023 h 10000"/>
                <a:gd name="connsiteX190" fmla="*/ 2163 w 10000"/>
                <a:gd name="connsiteY190" fmla="*/ 2233 h 10000"/>
                <a:gd name="connsiteX191" fmla="*/ 1931 w 10000"/>
                <a:gd name="connsiteY191" fmla="*/ 2487 h 10000"/>
                <a:gd name="connsiteX192" fmla="*/ 1951 w 10000"/>
                <a:gd name="connsiteY192" fmla="*/ 2629 h 10000"/>
                <a:gd name="connsiteX193" fmla="*/ 2032 w 10000"/>
                <a:gd name="connsiteY193" fmla="*/ 2738 h 10000"/>
                <a:gd name="connsiteX194" fmla="*/ 2093 w 10000"/>
                <a:gd name="connsiteY194" fmla="*/ 2782 h 10000"/>
                <a:gd name="connsiteX195" fmla="*/ 1979 w 10000"/>
                <a:gd name="connsiteY195" fmla="*/ 2852 h 10000"/>
                <a:gd name="connsiteX196" fmla="*/ 1731 w 10000"/>
                <a:gd name="connsiteY196" fmla="*/ 3330 h 10000"/>
                <a:gd name="connsiteX197" fmla="*/ 1779 w 10000"/>
                <a:gd name="connsiteY197" fmla="*/ 3358 h 10000"/>
                <a:gd name="connsiteX198" fmla="*/ 1815 w 10000"/>
                <a:gd name="connsiteY198" fmla="*/ 3479 h 10000"/>
                <a:gd name="connsiteX199" fmla="*/ 1700 w 10000"/>
                <a:gd name="connsiteY199" fmla="*/ 3982 h 10000"/>
                <a:gd name="connsiteX200" fmla="*/ 1815 w 10000"/>
                <a:gd name="connsiteY200" fmla="*/ 4110 h 10000"/>
                <a:gd name="connsiteX201" fmla="*/ 2131 w 10000"/>
                <a:gd name="connsiteY201" fmla="*/ 4251 h 10000"/>
                <a:gd name="connsiteX202" fmla="*/ 2145 w 10000"/>
                <a:gd name="connsiteY202" fmla="*/ 4423 h 10000"/>
                <a:gd name="connsiteX203" fmla="*/ 2010 w 10000"/>
                <a:gd name="connsiteY203" fmla="*/ 4566 h 10000"/>
                <a:gd name="connsiteX204" fmla="*/ 1815 w 10000"/>
                <a:gd name="connsiteY204" fmla="*/ 4652 h 10000"/>
                <a:gd name="connsiteX205" fmla="*/ 1557 w 10000"/>
                <a:gd name="connsiteY205" fmla="*/ 4687 h 10000"/>
                <a:gd name="connsiteX206" fmla="*/ 1490 w 10000"/>
                <a:gd name="connsiteY206" fmla="*/ 4737 h 10000"/>
                <a:gd name="connsiteX207" fmla="*/ 1640 w 10000"/>
                <a:gd name="connsiteY207" fmla="*/ 4855 h 10000"/>
                <a:gd name="connsiteX208" fmla="*/ 1726 w 10000"/>
                <a:gd name="connsiteY208" fmla="*/ 5136 h 10000"/>
                <a:gd name="connsiteX209" fmla="*/ 1531 w 10000"/>
                <a:gd name="connsiteY209" fmla="*/ 5376 h 10000"/>
                <a:gd name="connsiteX210" fmla="*/ 1599 w 10000"/>
                <a:gd name="connsiteY210" fmla="*/ 5451 h 10000"/>
                <a:gd name="connsiteX211" fmla="*/ 1537 w 10000"/>
                <a:gd name="connsiteY211" fmla="*/ 5577 h 10000"/>
                <a:gd name="connsiteX212" fmla="*/ 1412 w 10000"/>
                <a:gd name="connsiteY212" fmla="*/ 5663 h 10000"/>
                <a:gd name="connsiteX213" fmla="*/ 915 w 10000"/>
                <a:gd name="connsiteY213" fmla="*/ 5730 h 10000"/>
                <a:gd name="connsiteX214" fmla="*/ 885 w 10000"/>
                <a:gd name="connsiteY214" fmla="*/ 5846 h 10000"/>
                <a:gd name="connsiteX215" fmla="*/ 617 w 10000"/>
                <a:gd name="connsiteY215" fmla="*/ 6019 h 10000"/>
                <a:gd name="connsiteX216" fmla="*/ 652 w 10000"/>
                <a:gd name="connsiteY216" fmla="*/ 6268 h 10000"/>
                <a:gd name="connsiteX217" fmla="*/ 427 w 10000"/>
                <a:gd name="connsiteY217" fmla="*/ 6587 h 10000"/>
                <a:gd name="connsiteX218" fmla="*/ 274 w 10000"/>
                <a:gd name="connsiteY218" fmla="*/ 6624 h 10000"/>
                <a:gd name="connsiteX219" fmla="*/ 210 w 10000"/>
                <a:gd name="connsiteY219" fmla="*/ 6548 h 10000"/>
                <a:gd name="connsiteX220" fmla="*/ 132 w 10000"/>
                <a:gd name="connsiteY220" fmla="*/ 6663 h 10000"/>
                <a:gd name="connsiteX221" fmla="*/ 183 w 10000"/>
                <a:gd name="connsiteY221" fmla="*/ 6465 h 10000"/>
                <a:gd name="connsiteX222" fmla="*/ 151 w 10000"/>
                <a:gd name="connsiteY222"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822 w 10000"/>
                <a:gd name="connsiteY158" fmla="*/ 3167 h 10000"/>
                <a:gd name="connsiteX159" fmla="*/ 6832 w 10000"/>
                <a:gd name="connsiteY159" fmla="*/ 3101 h 10000"/>
                <a:gd name="connsiteX160" fmla="*/ 7175 w 10000"/>
                <a:gd name="connsiteY160" fmla="*/ 3036 h 10000"/>
                <a:gd name="connsiteX161" fmla="*/ 7307 w 10000"/>
                <a:gd name="connsiteY161" fmla="*/ 3045 h 10000"/>
                <a:gd name="connsiteX162" fmla="*/ 7442 w 10000"/>
                <a:gd name="connsiteY162" fmla="*/ 2999 h 10000"/>
                <a:gd name="connsiteX163" fmla="*/ 7565 w 10000"/>
                <a:gd name="connsiteY163" fmla="*/ 2936 h 10000"/>
                <a:gd name="connsiteX164" fmla="*/ 8864 w 10000"/>
                <a:gd name="connsiteY164" fmla="*/ 2396 h 10000"/>
                <a:gd name="connsiteX165" fmla="*/ 9310 w 10000"/>
                <a:gd name="connsiteY165" fmla="*/ 2263 h 10000"/>
                <a:gd name="connsiteX166" fmla="*/ 9417 w 10000"/>
                <a:gd name="connsiteY166" fmla="*/ 2235 h 10000"/>
                <a:gd name="connsiteX167" fmla="*/ 10000 w 10000"/>
                <a:gd name="connsiteY167" fmla="*/ 1832 h 10000"/>
                <a:gd name="connsiteX168" fmla="*/ 9652 w 10000"/>
                <a:gd name="connsiteY168" fmla="*/ 1699 h 10000"/>
                <a:gd name="connsiteX169" fmla="*/ 9147 w 10000"/>
                <a:gd name="connsiteY169" fmla="*/ 1773 h 10000"/>
                <a:gd name="connsiteX170" fmla="*/ 8784 w 10000"/>
                <a:gd name="connsiteY170" fmla="*/ 1639 h 10000"/>
                <a:gd name="connsiteX171" fmla="*/ 8850 w 10000"/>
                <a:gd name="connsiteY171" fmla="*/ 1480 h 10000"/>
                <a:gd name="connsiteX172" fmla="*/ 7497 w 10000"/>
                <a:gd name="connsiteY172" fmla="*/ 923 h 10000"/>
                <a:gd name="connsiteX173" fmla="*/ 7522 w 10000"/>
                <a:gd name="connsiteY173" fmla="*/ 649 h 10000"/>
                <a:gd name="connsiteX174" fmla="*/ 7012 w 10000"/>
                <a:gd name="connsiteY174" fmla="*/ 590 h 10000"/>
                <a:gd name="connsiteX175" fmla="*/ 6413 w 10000"/>
                <a:gd name="connsiteY175" fmla="*/ 332 h 10000"/>
                <a:gd name="connsiteX176" fmla="*/ 5098 w 10000"/>
                <a:gd name="connsiteY176" fmla="*/ 0 h 10000"/>
                <a:gd name="connsiteX177" fmla="*/ 4837 w 10000"/>
                <a:gd name="connsiteY177" fmla="*/ 82 h 10000"/>
                <a:gd name="connsiteX178" fmla="*/ 4671 w 10000"/>
                <a:gd name="connsiteY178" fmla="*/ 78 h 10000"/>
                <a:gd name="connsiteX179" fmla="*/ 4571 w 10000"/>
                <a:gd name="connsiteY179" fmla="*/ 107 h 10000"/>
                <a:gd name="connsiteX180" fmla="*/ 4298 w 10000"/>
                <a:gd name="connsiteY180" fmla="*/ 913 h 10000"/>
                <a:gd name="connsiteX181" fmla="*/ 3668 w 10000"/>
                <a:gd name="connsiteY181" fmla="*/ 1383 h 10000"/>
                <a:gd name="connsiteX182" fmla="*/ 3672 w 10000"/>
                <a:gd name="connsiteY182" fmla="*/ 1457 h 10000"/>
                <a:gd name="connsiteX183" fmla="*/ 3952 w 10000"/>
                <a:gd name="connsiteY183" fmla="*/ 1668 h 10000"/>
                <a:gd name="connsiteX184" fmla="*/ 3861 w 10000"/>
                <a:gd name="connsiteY184" fmla="*/ 1896 h 10000"/>
                <a:gd name="connsiteX185" fmla="*/ 3698 w 10000"/>
                <a:gd name="connsiteY185" fmla="*/ 1979 h 10000"/>
                <a:gd name="connsiteX186" fmla="*/ 3208 w 10000"/>
                <a:gd name="connsiteY186" fmla="*/ 1924 h 10000"/>
                <a:gd name="connsiteX187" fmla="*/ 2871 w 10000"/>
                <a:gd name="connsiteY187" fmla="*/ 1955 h 10000"/>
                <a:gd name="connsiteX188" fmla="*/ 2601 w 10000"/>
                <a:gd name="connsiteY188" fmla="*/ 2023 h 10000"/>
                <a:gd name="connsiteX189" fmla="*/ 2163 w 10000"/>
                <a:gd name="connsiteY189" fmla="*/ 2233 h 10000"/>
                <a:gd name="connsiteX190" fmla="*/ 1931 w 10000"/>
                <a:gd name="connsiteY190" fmla="*/ 2487 h 10000"/>
                <a:gd name="connsiteX191" fmla="*/ 1951 w 10000"/>
                <a:gd name="connsiteY191" fmla="*/ 2629 h 10000"/>
                <a:gd name="connsiteX192" fmla="*/ 2032 w 10000"/>
                <a:gd name="connsiteY192" fmla="*/ 2738 h 10000"/>
                <a:gd name="connsiteX193" fmla="*/ 2093 w 10000"/>
                <a:gd name="connsiteY193" fmla="*/ 2782 h 10000"/>
                <a:gd name="connsiteX194" fmla="*/ 1979 w 10000"/>
                <a:gd name="connsiteY194" fmla="*/ 2852 h 10000"/>
                <a:gd name="connsiteX195" fmla="*/ 1731 w 10000"/>
                <a:gd name="connsiteY195" fmla="*/ 3330 h 10000"/>
                <a:gd name="connsiteX196" fmla="*/ 1779 w 10000"/>
                <a:gd name="connsiteY196" fmla="*/ 3358 h 10000"/>
                <a:gd name="connsiteX197" fmla="*/ 1815 w 10000"/>
                <a:gd name="connsiteY197" fmla="*/ 3479 h 10000"/>
                <a:gd name="connsiteX198" fmla="*/ 1700 w 10000"/>
                <a:gd name="connsiteY198" fmla="*/ 3982 h 10000"/>
                <a:gd name="connsiteX199" fmla="*/ 1815 w 10000"/>
                <a:gd name="connsiteY199" fmla="*/ 4110 h 10000"/>
                <a:gd name="connsiteX200" fmla="*/ 2131 w 10000"/>
                <a:gd name="connsiteY200" fmla="*/ 4251 h 10000"/>
                <a:gd name="connsiteX201" fmla="*/ 2145 w 10000"/>
                <a:gd name="connsiteY201" fmla="*/ 4423 h 10000"/>
                <a:gd name="connsiteX202" fmla="*/ 2010 w 10000"/>
                <a:gd name="connsiteY202" fmla="*/ 4566 h 10000"/>
                <a:gd name="connsiteX203" fmla="*/ 1815 w 10000"/>
                <a:gd name="connsiteY203" fmla="*/ 4652 h 10000"/>
                <a:gd name="connsiteX204" fmla="*/ 1557 w 10000"/>
                <a:gd name="connsiteY204" fmla="*/ 4687 h 10000"/>
                <a:gd name="connsiteX205" fmla="*/ 1490 w 10000"/>
                <a:gd name="connsiteY205" fmla="*/ 4737 h 10000"/>
                <a:gd name="connsiteX206" fmla="*/ 1640 w 10000"/>
                <a:gd name="connsiteY206" fmla="*/ 4855 h 10000"/>
                <a:gd name="connsiteX207" fmla="*/ 1726 w 10000"/>
                <a:gd name="connsiteY207" fmla="*/ 5136 h 10000"/>
                <a:gd name="connsiteX208" fmla="*/ 1531 w 10000"/>
                <a:gd name="connsiteY208" fmla="*/ 5376 h 10000"/>
                <a:gd name="connsiteX209" fmla="*/ 1599 w 10000"/>
                <a:gd name="connsiteY209" fmla="*/ 5451 h 10000"/>
                <a:gd name="connsiteX210" fmla="*/ 1537 w 10000"/>
                <a:gd name="connsiteY210" fmla="*/ 5577 h 10000"/>
                <a:gd name="connsiteX211" fmla="*/ 1412 w 10000"/>
                <a:gd name="connsiteY211" fmla="*/ 5663 h 10000"/>
                <a:gd name="connsiteX212" fmla="*/ 915 w 10000"/>
                <a:gd name="connsiteY212" fmla="*/ 5730 h 10000"/>
                <a:gd name="connsiteX213" fmla="*/ 885 w 10000"/>
                <a:gd name="connsiteY213" fmla="*/ 5846 h 10000"/>
                <a:gd name="connsiteX214" fmla="*/ 617 w 10000"/>
                <a:gd name="connsiteY214" fmla="*/ 6019 h 10000"/>
                <a:gd name="connsiteX215" fmla="*/ 652 w 10000"/>
                <a:gd name="connsiteY215" fmla="*/ 6268 h 10000"/>
                <a:gd name="connsiteX216" fmla="*/ 427 w 10000"/>
                <a:gd name="connsiteY216" fmla="*/ 6587 h 10000"/>
                <a:gd name="connsiteX217" fmla="*/ 274 w 10000"/>
                <a:gd name="connsiteY217" fmla="*/ 6624 h 10000"/>
                <a:gd name="connsiteX218" fmla="*/ 210 w 10000"/>
                <a:gd name="connsiteY218" fmla="*/ 6548 h 10000"/>
                <a:gd name="connsiteX219" fmla="*/ 132 w 10000"/>
                <a:gd name="connsiteY219" fmla="*/ 6663 h 10000"/>
                <a:gd name="connsiteX220" fmla="*/ 183 w 10000"/>
                <a:gd name="connsiteY220" fmla="*/ 6465 h 10000"/>
                <a:gd name="connsiteX221" fmla="*/ 151 w 10000"/>
                <a:gd name="connsiteY221"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6832 w 10000"/>
                <a:gd name="connsiteY158" fmla="*/ 3101 h 10000"/>
                <a:gd name="connsiteX159" fmla="*/ 7175 w 10000"/>
                <a:gd name="connsiteY159" fmla="*/ 3036 h 10000"/>
                <a:gd name="connsiteX160" fmla="*/ 7307 w 10000"/>
                <a:gd name="connsiteY160" fmla="*/ 3045 h 10000"/>
                <a:gd name="connsiteX161" fmla="*/ 7442 w 10000"/>
                <a:gd name="connsiteY161" fmla="*/ 2999 h 10000"/>
                <a:gd name="connsiteX162" fmla="*/ 7565 w 10000"/>
                <a:gd name="connsiteY162" fmla="*/ 2936 h 10000"/>
                <a:gd name="connsiteX163" fmla="*/ 8864 w 10000"/>
                <a:gd name="connsiteY163" fmla="*/ 2396 h 10000"/>
                <a:gd name="connsiteX164" fmla="*/ 9310 w 10000"/>
                <a:gd name="connsiteY164" fmla="*/ 2263 h 10000"/>
                <a:gd name="connsiteX165" fmla="*/ 9417 w 10000"/>
                <a:gd name="connsiteY165" fmla="*/ 2235 h 10000"/>
                <a:gd name="connsiteX166" fmla="*/ 10000 w 10000"/>
                <a:gd name="connsiteY166" fmla="*/ 1832 h 10000"/>
                <a:gd name="connsiteX167" fmla="*/ 9652 w 10000"/>
                <a:gd name="connsiteY167" fmla="*/ 1699 h 10000"/>
                <a:gd name="connsiteX168" fmla="*/ 9147 w 10000"/>
                <a:gd name="connsiteY168" fmla="*/ 1773 h 10000"/>
                <a:gd name="connsiteX169" fmla="*/ 8784 w 10000"/>
                <a:gd name="connsiteY169" fmla="*/ 1639 h 10000"/>
                <a:gd name="connsiteX170" fmla="*/ 8850 w 10000"/>
                <a:gd name="connsiteY170" fmla="*/ 1480 h 10000"/>
                <a:gd name="connsiteX171" fmla="*/ 7497 w 10000"/>
                <a:gd name="connsiteY171" fmla="*/ 923 h 10000"/>
                <a:gd name="connsiteX172" fmla="*/ 7522 w 10000"/>
                <a:gd name="connsiteY172" fmla="*/ 649 h 10000"/>
                <a:gd name="connsiteX173" fmla="*/ 7012 w 10000"/>
                <a:gd name="connsiteY173" fmla="*/ 590 h 10000"/>
                <a:gd name="connsiteX174" fmla="*/ 6413 w 10000"/>
                <a:gd name="connsiteY174" fmla="*/ 332 h 10000"/>
                <a:gd name="connsiteX175" fmla="*/ 5098 w 10000"/>
                <a:gd name="connsiteY175" fmla="*/ 0 h 10000"/>
                <a:gd name="connsiteX176" fmla="*/ 4837 w 10000"/>
                <a:gd name="connsiteY176" fmla="*/ 82 h 10000"/>
                <a:gd name="connsiteX177" fmla="*/ 4671 w 10000"/>
                <a:gd name="connsiteY177" fmla="*/ 78 h 10000"/>
                <a:gd name="connsiteX178" fmla="*/ 4571 w 10000"/>
                <a:gd name="connsiteY178" fmla="*/ 107 h 10000"/>
                <a:gd name="connsiteX179" fmla="*/ 4298 w 10000"/>
                <a:gd name="connsiteY179" fmla="*/ 913 h 10000"/>
                <a:gd name="connsiteX180" fmla="*/ 3668 w 10000"/>
                <a:gd name="connsiteY180" fmla="*/ 1383 h 10000"/>
                <a:gd name="connsiteX181" fmla="*/ 3672 w 10000"/>
                <a:gd name="connsiteY181" fmla="*/ 1457 h 10000"/>
                <a:gd name="connsiteX182" fmla="*/ 3952 w 10000"/>
                <a:gd name="connsiteY182" fmla="*/ 1668 h 10000"/>
                <a:gd name="connsiteX183" fmla="*/ 3861 w 10000"/>
                <a:gd name="connsiteY183" fmla="*/ 1896 h 10000"/>
                <a:gd name="connsiteX184" fmla="*/ 3698 w 10000"/>
                <a:gd name="connsiteY184" fmla="*/ 1979 h 10000"/>
                <a:gd name="connsiteX185" fmla="*/ 3208 w 10000"/>
                <a:gd name="connsiteY185" fmla="*/ 1924 h 10000"/>
                <a:gd name="connsiteX186" fmla="*/ 2871 w 10000"/>
                <a:gd name="connsiteY186" fmla="*/ 1955 h 10000"/>
                <a:gd name="connsiteX187" fmla="*/ 2601 w 10000"/>
                <a:gd name="connsiteY187" fmla="*/ 2023 h 10000"/>
                <a:gd name="connsiteX188" fmla="*/ 2163 w 10000"/>
                <a:gd name="connsiteY188" fmla="*/ 2233 h 10000"/>
                <a:gd name="connsiteX189" fmla="*/ 1931 w 10000"/>
                <a:gd name="connsiteY189" fmla="*/ 2487 h 10000"/>
                <a:gd name="connsiteX190" fmla="*/ 1951 w 10000"/>
                <a:gd name="connsiteY190" fmla="*/ 2629 h 10000"/>
                <a:gd name="connsiteX191" fmla="*/ 2032 w 10000"/>
                <a:gd name="connsiteY191" fmla="*/ 2738 h 10000"/>
                <a:gd name="connsiteX192" fmla="*/ 2093 w 10000"/>
                <a:gd name="connsiteY192" fmla="*/ 2782 h 10000"/>
                <a:gd name="connsiteX193" fmla="*/ 1979 w 10000"/>
                <a:gd name="connsiteY193" fmla="*/ 2852 h 10000"/>
                <a:gd name="connsiteX194" fmla="*/ 1731 w 10000"/>
                <a:gd name="connsiteY194" fmla="*/ 3330 h 10000"/>
                <a:gd name="connsiteX195" fmla="*/ 1779 w 10000"/>
                <a:gd name="connsiteY195" fmla="*/ 3358 h 10000"/>
                <a:gd name="connsiteX196" fmla="*/ 1815 w 10000"/>
                <a:gd name="connsiteY196" fmla="*/ 3479 h 10000"/>
                <a:gd name="connsiteX197" fmla="*/ 1700 w 10000"/>
                <a:gd name="connsiteY197" fmla="*/ 3982 h 10000"/>
                <a:gd name="connsiteX198" fmla="*/ 1815 w 10000"/>
                <a:gd name="connsiteY198" fmla="*/ 4110 h 10000"/>
                <a:gd name="connsiteX199" fmla="*/ 2131 w 10000"/>
                <a:gd name="connsiteY199" fmla="*/ 4251 h 10000"/>
                <a:gd name="connsiteX200" fmla="*/ 2145 w 10000"/>
                <a:gd name="connsiteY200" fmla="*/ 4423 h 10000"/>
                <a:gd name="connsiteX201" fmla="*/ 2010 w 10000"/>
                <a:gd name="connsiteY201" fmla="*/ 4566 h 10000"/>
                <a:gd name="connsiteX202" fmla="*/ 1815 w 10000"/>
                <a:gd name="connsiteY202" fmla="*/ 4652 h 10000"/>
                <a:gd name="connsiteX203" fmla="*/ 1557 w 10000"/>
                <a:gd name="connsiteY203" fmla="*/ 4687 h 10000"/>
                <a:gd name="connsiteX204" fmla="*/ 1490 w 10000"/>
                <a:gd name="connsiteY204" fmla="*/ 4737 h 10000"/>
                <a:gd name="connsiteX205" fmla="*/ 1640 w 10000"/>
                <a:gd name="connsiteY205" fmla="*/ 4855 h 10000"/>
                <a:gd name="connsiteX206" fmla="*/ 1726 w 10000"/>
                <a:gd name="connsiteY206" fmla="*/ 5136 h 10000"/>
                <a:gd name="connsiteX207" fmla="*/ 1531 w 10000"/>
                <a:gd name="connsiteY207" fmla="*/ 5376 h 10000"/>
                <a:gd name="connsiteX208" fmla="*/ 1599 w 10000"/>
                <a:gd name="connsiteY208" fmla="*/ 5451 h 10000"/>
                <a:gd name="connsiteX209" fmla="*/ 1537 w 10000"/>
                <a:gd name="connsiteY209" fmla="*/ 5577 h 10000"/>
                <a:gd name="connsiteX210" fmla="*/ 1412 w 10000"/>
                <a:gd name="connsiteY210" fmla="*/ 5663 h 10000"/>
                <a:gd name="connsiteX211" fmla="*/ 915 w 10000"/>
                <a:gd name="connsiteY211" fmla="*/ 5730 h 10000"/>
                <a:gd name="connsiteX212" fmla="*/ 885 w 10000"/>
                <a:gd name="connsiteY212" fmla="*/ 5846 h 10000"/>
                <a:gd name="connsiteX213" fmla="*/ 617 w 10000"/>
                <a:gd name="connsiteY213" fmla="*/ 6019 h 10000"/>
                <a:gd name="connsiteX214" fmla="*/ 652 w 10000"/>
                <a:gd name="connsiteY214" fmla="*/ 6268 h 10000"/>
                <a:gd name="connsiteX215" fmla="*/ 427 w 10000"/>
                <a:gd name="connsiteY215" fmla="*/ 6587 h 10000"/>
                <a:gd name="connsiteX216" fmla="*/ 274 w 10000"/>
                <a:gd name="connsiteY216" fmla="*/ 6624 h 10000"/>
                <a:gd name="connsiteX217" fmla="*/ 210 w 10000"/>
                <a:gd name="connsiteY217" fmla="*/ 6548 h 10000"/>
                <a:gd name="connsiteX218" fmla="*/ 132 w 10000"/>
                <a:gd name="connsiteY218" fmla="*/ 6663 h 10000"/>
                <a:gd name="connsiteX219" fmla="*/ 183 w 10000"/>
                <a:gd name="connsiteY219" fmla="*/ 6465 h 10000"/>
                <a:gd name="connsiteX220" fmla="*/ 151 w 10000"/>
                <a:gd name="connsiteY220"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7175 w 10000"/>
                <a:gd name="connsiteY158" fmla="*/ 3036 h 10000"/>
                <a:gd name="connsiteX159" fmla="*/ 7307 w 10000"/>
                <a:gd name="connsiteY159" fmla="*/ 3045 h 10000"/>
                <a:gd name="connsiteX160" fmla="*/ 7442 w 10000"/>
                <a:gd name="connsiteY160" fmla="*/ 2999 h 10000"/>
                <a:gd name="connsiteX161" fmla="*/ 7565 w 10000"/>
                <a:gd name="connsiteY161" fmla="*/ 2936 h 10000"/>
                <a:gd name="connsiteX162" fmla="*/ 8864 w 10000"/>
                <a:gd name="connsiteY162" fmla="*/ 2396 h 10000"/>
                <a:gd name="connsiteX163" fmla="*/ 9310 w 10000"/>
                <a:gd name="connsiteY163" fmla="*/ 2263 h 10000"/>
                <a:gd name="connsiteX164" fmla="*/ 9417 w 10000"/>
                <a:gd name="connsiteY164" fmla="*/ 2235 h 10000"/>
                <a:gd name="connsiteX165" fmla="*/ 10000 w 10000"/>
                <a:gd name="connsiteY165" fmla="*/ 1832 h 10000"/>
                <a:gd name="connsiteX166" fmla="*/ 9652 w 10000"/>
                <a:gd name="connsiteY166" fmla="*/ 1699 h 10000"/>
                <a:gd name="connsiteX167" fmla="*/ 9147 w 10000"/>
                <a:gd name="connsiteY167" fmla="*/ 1773 h 10000"/>
                <a:gd name="connsiteX168" fmla="*/ 8784 w 10000"/>
                <a:gd name="connsiteY168" fmla="*/ 1639 h 10000"/>
                <a:gd name="connsiteX169" fmla="*/ 8850 w 10000"/>
                <a:gd name="connsiteY169" fmla="*/ 1480 h 10000"/>
                <a:gd name="connsiteX170" fmla="*/ 7497 w 10000"/>
                <a:gd name="connsiteY170" fmla="*/ 923 h 10000"/>
                <a:gd name="connsiteX171" fmla="*/ 7522 w 10000"/>
                <a:gd name="connsiteY171" fmla="*/ 649 h 10000"/>
                <a:gd name="connsiteX172" fmla="*/ 7012 w 10000"/>
                <a:gd name="connsiteY172" fmla="*/ 590 h 10000"/>
                <a:gd name="connsiteX173" fmla="*/ 6413 w 10000"/>
                <a:gd name="connsiteY173" fmla="*/ 332 h 10000"/>
                <a:gd name="connsiteX174" fmla="*/ 5098 w 10000"/>
                <a:gd name="connsiteY174" fmla="*/ 0 h 10000"/>
                <a:gd name="connsiteX175" fmla="*/ 4837 w 10000"/>
                <a:gd name="connsiteY175" fmla="*/ 82 h 10000"/>
                <a:gd name="connsiteX176" fmla="*/ 4671 w 10000"/>
                <a:gd name="connsiteY176" fmla="*/ 78 h 10000"/>
                <a:gd name="connsiteX177" fmla="*/ 4571 w 10000"/>
                <a:gd name="connsiteY177" fmla="*/ 107 h 10000"/>
                <a:gd name="connsiteX178" fmla="*/ 4298 w 10000"/>
                <a:gd name="connsiteY178" fmla="*/ 913 h 10000"/>
                <a:gd name="connsiteX179" fmla="*/ 3668 w 10000"/>
                <a:gd name="connsiteY179" fmla="*/ 1383 h 10000"/>
                <a:gd name="connsiteX180" fmla="*/ 3672 w 10000"/>
                <a:gd name="connsiteY180" fmla="*/ 1457 h 10000"/>
                <a:gd name="connsiteX181" fmla="*/ 3952 w 10000"/>
                <a:gd name="connsiteY181" fmla="*/ 1668 h 10000"/>
                <a:gd name="connsiteX182" fmla="*/ 3861 w 10000"/>
                <a:gd name="connsiteY182" fmla="*/ 1896 h 10000"/>
                <a:gd name="connsiteX183" fmla="*/ 3698 w 10000"/>
                <a:gd name="connsiteY183" fmla="*/ 1979 h 10000"/>
                <a:gd name="connsiteX184" fmla="*/ 3208 w 10000"/>
                <a:gd name="connsiteY184" fmla="*/ 1924 h 10000"/>
                <a:gd name="connsiteX185" fmla="*/ 2871 w 10000"/>
                <a:gd name="connsiteY185" fmla="*/ 1955 h 10000"/>
                <a:gd name="connsiteX186" fmla="*/ 2601 w 10000"/>
                <a:gd name="connsiteY186" fmla="*/ 2023 h 10000"/>
                <a:gd name="connsiteX187" fmla="*/ 2163 w 10000"/>
                <a:gd name="connsiteY187" fmla="*/ 2233 h 10000"/>
                <a:gd name="connsiteX188" fmla="*/ 1931 w 10000"/>
                <a:gd name="connsiteY188" fmla="*/ 2487 h 10000"/>
                <a:gd name="connsiteX189" fmla="*/ 1951 w 10000"/>
                <a:gd name="connsiteY189" fmla="*/ 2629 h 10000"/>
                <a:gd name="connsiteX190" fmla="*/ 2032 w 10000"/>
                <a:gd name="connsiteY190" fmla="*/ 2738 h 10000"/>
                <a:gd name="connsiteX191" fmla="*/ 2093 w 10000"/>
                <a:gd name="connsiteY191" fmla="*/ 2782 h 10000"/>
                <a:gd name="connsiteX192" fmla="*/ 1979 w 10000"/>
                <a:gd name="connsiteY192" fmla="*/ 2852 h 10000"/>
                <a:gd name="connsiteX193" fmla="*/ 1731 w 10000"/>
                <a:gd name="connsiteY193" fmla="*/ 3330 h 10000"/>
                <a:gd name="connsiteX194" fmla="*/ 1779 w 10000"/>
                <a:gd name="connsiteY194" fmla="*/ 3358 h 10000"/>
                <a:gd name="connsiteX195" fmla="*/ 1815 w 10000"/>
                <a:gd name="connsiteY195" fmla="*/ 3479 h 10000"/>
                <a:gd name="connsiteX196" fmla="*/ 1700 w 10000"/>
                <a:gd name="connsiteY196" fmla="*/ 3982 h 10000"/>
                <a:gd name="connsiteX197" fmla="*/ 1815 w 10000"/>
                <a:gd name="connsiteY197" fmla="*/ 4110 h 10000"/>
                <a:gd name="connsiteX198" fmla="*/ 2131 w 10000"/>
                <a:gd name="connsiteY198" fmla="*/ 4251 h 10000"/>
                <a:gd name="connsiteX199" fmla="*/ 2145 w 10000"/>
                <a:gd name="connsiteY199" fmla="*/ 4423 h 10000"/>
                <a:gd name="connsiteX200" fmla="*/ 2010 w 10000"/>
                <a:gd name="connsiteY200" fmla="*/ 4566 h 10000"/>
                <a:gd name="connsiteX201" fmla="*/ 1815 w 10000"/>
                <a:gd name="connsiteY201" fmla="*/ 4652 h 10000"/>
                <a:gd name="connsiteX202" fmla="*/ 1557 w 10000"/>
                <a:gd name="connsiteY202" fmla="*/ 4687 h 10000"/>
                <a:gd name="connsiteX203" fmla="*/ 1490 w 10000"/>
                <a:gd name="connsiteY203" fmla="*/ 4737 h 10000"/>
                <a:gd name="connsiteX204" fmla="*/ 1640 w 10000"/>
                <a:gd name="connsiteY204" fmla="*/ 4855 h 10000"/>
                <a:gd name="connsiteX205" fmla="*/ 1726 w 10000"/>
                <a:gd name="connsiteY205" fmla="*/ 5136 h 10000"/>
                <a:gd name="connsiteX206" fmla="*/ 1531 w 10000"/>
                <a:gd name="connsiteY206" fmla="*/ 5376 h 10000"/>
                <a:gd name="connsiteX207" fmla="*/ 1599 w 10000"/>
                <a:gd name="connsiteY207" fmla="*/ 5451 h 10000"/>
                <a:gd name="connsiteX208" fmla="*/ 1537 w 10000"/>
                <a:gd name="connsiteY208" fmla="*/ 5577 h 10000"/>
                <a:gd name="connsiteX209" fmla="*/ 1412 w 10000"/>
                <a:gd name="connsiteY209" fmla="*/ 5663 h 10000"/>
                <a:gd name="connsiteX210" fmla="*/ 915 w 10000"/>
                <a:gd name="connsiteY210" fmla="*/ 5730 h 10000"/>
                <a:gd name="connsiteX211" fmla="*/ 885 w 10000"/>
                <a:gd name="connsiteY211" fmla="*/ 5846 h 10000"/>
                <a:gd name="connsiteX212" fmla="*/ 617 w 10000"/>
                <a:gd name="connsiteY212" fmla="*/ 6019 h 10000"/>
                <a:gd name="connsiteX213" fmla="*/ 652 w 10000"/>
                <a:gd name="connsiteY213" fmla="*/ 6268 h 10000"/>
                <a:gd name="connsiteX214" fmla="*/ 427 w 10000"/>
                <a:gd name="connsiteY214" fmla="*/ 6587 h 10000"/>
                <a:gd name="connsiteX215" fmla="*/ 274 w 10000"/>
                <a:gd name="connsiteY215" fmla="*/ 6624 h 10000"/>
                <a:gd name="connsiteX216" fmla="*/ 210 w 10000"/>
                <a:gd name="connsiteY216" fmla="*/ 6548 h 10000"/>
                <a:gd name="connsiteX217" fmla="*/ 132 w 10000"/>
                <a:gd name="connsiteY217" fmla="*/ 6663 h 10000"/>
                <a:gd name="connsiteX218" fmla="*/ 183 w 10000"/>
                <a:gd name="connsiteY218" fmla="*/ 6465 h 10000"/>
                <a:gd name="connsiteX219" fmla="*/ 151 w 10000"/>
                <a:gd name="connsiteY219"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7175 w 10000"/>
                <a:gd name="connsiteY158" fmla="*/ 3036 h 10000"/>
                <a:gd name="connsiteX159" fmla="*/ 7442 w 10000"/>
                <a:gd name="connsiteY159" fmla="*/ 2999 h 10000"/>
                <a:gd name="connsiteX160" fmla="*/ 7565 w 10000"/>
                <a:gd name="connsiteY160" fmla="*/ 2936 h 10000"/>
                <a:gd name="connsiteX161" fmla="*/ 8864 w 10000"/>
                <a:gd name="connsiteY161" fmla="*/ 2396 h 10000"/>
                <a:gd name="connsiteX162" fmla="*/ 9310 w 10000"/>
                <a:gd name="connsiteY162" fmla="*/ 2263 h 10000"/>
                <a:gd name="connsiteX163" fmla="*/ 9417 w 10000"/>
                <a:gd name="connsiteY163" fmla="*/ 2235 h 10000"/>
                <a:gd name="connsiteX164" fmla="*/ 10000 w 10000"/>
                <a:gd name="connsiteY164" fmla="*/ 1832 h 10000"/>
                <a:gd name="connsiteX165" fmla="*/ 9652 w 10000"/>
                <a:gd name="connsiteY165" fmla="*/ 1699 h 10000"/>
                <a:gd name="connsiteX166" fmla="*/ 9147 w 10000"/>
                <a:gd name="connsiteY166" fmla="*/ 1773 h 10000"/>
                <a:gd name="connsiteX167" fmla="*/ 8784 w 10000"/>
                <a:gd name="connsiteY167" fmla="*/ 1639 h 10000"/>
                <a:gd name="connsiteX168" fmla="*/ 8850 w 10000"/>
                <a:gd name="connsiteY168" fmla="*/ 1480 h 10000"/>
                <a:gd name="connsiteX169" fmla="*/ 7497 w 10000"/>
                <a:gd name="connsiteY169" fmla="*/ 923 h 10000"/>
                <a:gd name="connsiteX170" fmla="*/ 7522 w 10000"/>
                <a:gd name="connsiteY170" fmla="*/ 649 h 10000"/>
                <a:gd name="connsiteX171" fmla="*/ 7012 w 10000"/>
                <a:gd name="connsiteY171" fmla="*/ 590 h 10000"/>
                <a:gd name="connsiteX172" fmla="*/ 6413 w 10000"/>
                <a:gd name="connsiteY172" fmla="*/ 332 h 10000"/>
                <a:gd name="connsiteX173" fmla="*/ 5098 w 10000"/>
                <a:gd name="connsiteY173" fmla="*/ 0 h 10000"/>
                <a:gd name="connsiteX174" fmla="*/ 4837 w 10000"/>
                <a:gd name="connsiteY174" fmla="*/ 82 h 10000"/>
                <a:gd name="connsiteX175" fmla="*/ 4671 w 10000"/>
                <a:gd name="connsiteY175" fmla="*/ 78 h 10000"/>
                <a:gd name="connsiteX176" fmla="*/ 4571 w 10000"/>
                <a:gd name="connsiteY176" fmla="*/ 107 h 10000"/>
                <a:gd name="connsiteX177" fmla="*/ 4298 w 10000"/>
                <a:gd name="connsiteY177" fmla="*/ 913 h 10000"/>
                <a:gd name="connsiteX178" fmla="*/ 3668 w 10000"/>
                <a:gd name="connsiteY178" fmla="*/ 1383 h 10000"/>
                <a:gd name="connsiteX179" fmla="*/ 3672 w 10000"/>
                <a:gd name="connsiteY179" fmla="*/ 1457 h 10000"/>
                <a:gd name="connsiteX180" fmla="*/ 3952 w 10000"/>
                <a:gd name="connsiteY180" fmla="*/ 1668 h 10000"/>
                <a:gd name="connsiteX181" fmla="*/ 3861 w 10000"/>
                <a:gd name="connsiteY181" fmla="*/ 1896 h 10000"/>
                <a:gd name="connsiteX182" fmla="*/ 3698 w 10000"/>
                <a:gd name="connsiteY182" fmla="*/ 1979 h 10000"/>
                <a:gd name="connsiteX183" fmla="*/ 3208 w 10000"/>
                <a:gd name="connsiteY183" fmla="*/ 1924 h 10000"/>
                <a:gd name="connsiteX184" fmla="*/ 2871 w 10000"/>
                <a:gd name="connsiteY184" fmla="*/ 1955 h 10000"/>
                <a:gd name="connsiteX185" fmla="*/ 2601 w 10000"/>
                <a:gd name="connsiteY185" fmla="*/ 2023 h 10000"/>
                <a:gd name="connsiteX186" fmla="*/ 2163 w 10000"/>
                <a:gd name="connsiteY186" fmla="*/ 2233 h 10000"/>
                <a:gd name="connsiteX187" fmla="*/ 1931 w 10000"/>
                <a:gd name="connsiteY187" fmla="*/ 2487 h 10000"/>
                <a:gd name="connsiteX188" fmla="*/ 1951 w 10000"/>
                <a:gd name="connsiteY188" fmla="*/ 2629 h 10000"/>
                <a:gd name="connsiteX189" fmla="*/ 2032 w 10000"/>
                <a:gd name="connsiteY189" fmla="*/ 2738 h 10000"/>
                <a:gd name="connsiteX190" fmla="*/ 2093 w 10000"/>
                <a:gd name="connsiteY190" fmla="*/ 2782 h 10000"/>
                <a:gd name="connsiteX191" fmla="*/ 1979 w 10000"/>
                <a:gd name="connsiteY191" fmla="*/ 2852 h 10000"/>
                <a:gd name="connsiteX192" fmla="*/ 1731 w 10000"/>
                <a:gd name="connsiteY192" fmla="*/ 3330 h 10000"/>
                <a:gd name="connsiteX193" fmla="*/ 1779 w 10000"/>
                <a:gd name="connsiteY193" fmla="*/ 3358 h 10000"/>
                <a:gd name="connsiteX194" fmla="*/ 1815 w 10000"/>
                <a:gd name="connsiteY194" fmla="*/ 3479 h 10000"/>
                <a:gd name="connsiteX195" fmla="*/ 1700 w 10000"/>
                <a:gd name="connsiteY195" fmla="*/ 3982 h 10000"/>
                <a:gd name="connsiteX196" fmla="*/ 1815 w 10000"/>
                <a:gd name="connsiteY196" fmla="*/ 4110 h 10000"/>
                <a:gd name="connsiteX197" fmla="*/ 2131 w 10000"/>
                <a:gd name="connsiteY197" fmla="*/ 4251 h 10000"/>
                <a:gd name="connsiteX198" fmla="*/ 2145 w 10000"/>
                <a:gd name="connsiteY198" fmla="*/ 4423 h 10000"/>
                <a:gd name="connsiteX199" fmla="*/ 2010 w 10000"/>
                <a:gd name="connsiteY199" fmla="*/ 4566 h 10000"/>
                <a:gd name="connsiteX200" fmla="*/ 1815 w 10000"/>
                <a:gd name="connsiteY200" fmla="*/ 4652 h 10000"/>
                <a:gd name="connsiteX201" fmla="*/ 1557 w 10000"/>
                <a:gd name="connsiteY201" fmla="*/ 4687 h 10000"/>
                <a:gd name="connsiteX202" fmla="*/ 1490 w 10000"/>
                <a:gd name="connsiteY202" fmla="*/ 4737 h 10000"/>
                <a:gd name="connsiteX203" fmla="*/ 1640 w 10000"/>
                <a:gd name="connsiteY203" fmla="*/ 4855 h 10000"/>
                <a:gd name="connsiteX204" fmla="*/ 1726 w 10000"/>
                <a:gd name="connsiteY204" fmla="*/ 5136 h 10000"/>
                <a:gd name="connsiteX205" fmla="*/ 1531 w 10000"/>
                <a:gd name="connsiteY205" fmla="*/ 5376 h 10000"/>
                <a:gd name="connsiteX206" fmla="*/ 1599 w 10000"/>
                <a:gd name="connsiteY206" fmla="*/ 5451 h 10000"/>
                <a:gd name="connsiteX207" fmla="*/ 1537 w 10000"/>
                <a:gd name="connsiteY207" fmla="*/ 5577 h 10000"/>
                <a:gd name="connsiteX208" fmla="*/ 1412 w 10000"/>
                <a:gd name="connsiteY208" fmla="*/ 5663 h 10000"/>
                <a:gd name="connsiteX209" fmla="*/ 915 w 10000"/>
                <a:gd name="connsiteY209" fmla="*/ 5730 h 10000"/>
                <a:gd name="connsiteX210" fmla="*/ 885 w 10000"/>
                <a:gd name="connsiteY210" fmla="*/ 5846 h 10000"/>
                <a:gd name="connsiteX211" fmla="*/ 617 w 10000"/>
                <a:gd name="connsiteY211" fmla="*/ 6019 h 10000"/>
                <a:gd name="connsiteX212" fmla="*/ 652 w 10000"/>
                <a:gd name="connsiteY212" fmla="*/ 6268 h 10000"/>
                <a:gd name="connsiteX213" fmla="*/ 427 w 10000"/>
                <a:gd name="connsiteY213" fmla="*/ 6587 h 10000"/>
                <a:gd name="connsiteX214" fmla="*/ 274 w 10000"/>
                <a:gd name="connsiteY214" fmla="*/ 6624 h 10000"/>
                <a:gd name="connsiteX215" fmla="*/ 210 w 10000"/>
                <a:gd name="connsiteY215" fmla="*/ 6548 h 10000"/>
                <a:gd name="connsiteX216" fmla="*/ 132 w 10000"/>
                <a:gd name="connsiteY216" fmla="*/ 6663 h 10000"/>
                <a:gd name="connsiteX217" fmla="*/ 183 w 10000"/>
                <a:gd name="connsiteY217" fmla="*/ 6465 h 10000"/>
                <a:gd name="connsiteX218" fmla="*/ 151 w 10000"/>
                <a:gd name="connsiteY218"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7175 w 10000"/>
                <a:gd name="connsiteY158" fmla="*/ 3036 h 10000"/>
                <a:gd name="connsiteX159" fmla="*/ 7565 w 10000"/>
                <a:gd name="connsiteY159" fmla="*/ 2936 h 10000"/>
                <a:gd name="connsiteX160" fmla="*/ 8864 w 10000"/>
                <a:gd name="connsiteY160" fmla="*/ 2396 h 10000"/>
                <a:gd name="connsiteX161" fmla="*/ 9310 w 10000"/>
                <a:gd name="connsiteY161" fmla="*/ 2263 h 10000"/>
                <a:gd name="connsiteX162" fmla="*/ 9417 w 10000"/>
                <a:gd name="connsiteY162" fmla="*/ 2235 h 10000"/>
                <a:gd name="connsiteX163" fmla="*/ 10000 w 10000"/>
                <a:gd name="connsiteY163" fmla="*/ 1832 h 10000"/>
                <a:gd name="connsiteX164" fmla="*/ 9652 w 10000"/>
                <a:gd name="connsiteY164" fmla="*/ 1699 h 10000"/>
                <a:gd name="connsiteX165" fmla="*/ 9147 w 10000"/>
                <a:gd name="connsiteY165" fmla="*/ 1773 h 10000"/>
                <a:gd name="connsiteX166" fmla="*/ 8784 w 10000"/>
                <a:gd name="connsiteY166" fmla="*/ 1639 h 10000"/>
                <a:gd name="connsiteX167" fmla="*/ 8850 w 10000"/>
                <a:gd name="connsiteY167" fmla="*/ 1480 h 10000"/>
                <a:gd name="connsiteX168" fmla="*/ 7497 w 10000"/>
                <a:gd name="connsiteY168" fmla="*/ 923 h 10000"/>
                <a:gd name="connsiteX169" fmla="*/ 7522 w 10000"/>
                <a:gd name="connsiteY169" fmla="*/ 649 h 10000"/>
                <a:gd name="connsiteX170" fmla="*/ 7012 w 10000"/>
                <a:gd name="connsiteY170" fmla="*/ 590 h 10000"/>
                <a:gd name="connsiteX171" fmla="*/ 6413 w 10000"/>
                <a:gd name="connsiteY171" fmla="*/ 332 h 10000"/>
                <a:gd name="connsiteX172" fmla="*/ 5098 w 10000"/>
                <a:gd name="connsiteY172" fmla="*/ 0 h 10000"/>
                <a:gd name="connsiteX173" fmla="*/ 4837 w 10000"/>
                <a:gd name="connsiteY173" fmla="*/ 82 h 10000"/>
                <a:gd name="connsiteX174" fmla="*/ 4671 w 10000"/>
                <a:gd name="connsiteY174" fmla="*/ 78 h 10000"/>
                <a:gd name="connsiteX175" fmla="*/ 4571 w 10000"/>
                <a:gd name="connsiteY175" fmla="*/ 107 h 10000"/>
                <a:gd name="connsiteX176" fmla="*/ 4298 w 10000"/>
                <a:gd name="connsiteY176" fmla="*/ 913 h 10000"/>
                <a:gd name="connsiteX177" fmla="*/ 3668 w 10000"/>
                <a:gd name="connsiteY177" fmla="*/ 1383 h 10000"/>
                <a:gd name="connsiteX178" fmla="*/ 3672 w 10000"/>
                <a:gd name="connsiteY178" fmla="*/ 1457 h 10000"/>
                <a:gd name="connsiteX179" fmla="*/ 3952 w 10000"/>
                <a:gd name="connsiteY179" fmla="*/ 1668 h 10000"/>
                <a:gd name="connsiteX180" fmla="*/ 3861 w 10000"/>
                <a:gd name="connsiteY180" fmla="*/ 1896 h 10000"/>
                <a:gd name="connsiteX181" fmla="*/ 3698 w 10000"/>
                <a:gd name="connsiteY181" fmla="*/ 1979 h 10000"/>
                <a:gd name="connsiteX182" fmla="*/ 3208 w 10000"/>
                <a:gd name="connsiteY182" fmla="*/ 1924 h 10000"/>
                <a:gd name="connsiteX183" fmla="*/ 2871 w 10000"/>
                <a:gd name="connsiteY183" fmla="*/ 1955 h 10000"/>
                <a:gd name="connsiteX184" fmla="*/ 2601 w 10000"/>
                <a:gd name="connsiteY184" fmla="*/ 2023 h 10000"/>
                <a:gd name="connsiteX185" fmla="*/ 2163 w 10000"/>
                <a:gd name="connsiteY185" fmla="*/ 2233 h 10000"/>
                <a:gd name="connsiteX186" fmla="*/ 1931 w 10000"/>
                <a:gd name="connsiteY186" fmla="*/ 2487 h 10000"/>
                <a:gd name="connsiteX187" fmla="*/ 1951 w 10000"/>
                <a:gd name="connsiteY187" fmla="*/ 2629 h 10000"/>
                <a:gd name="connsiteX188" fmla="*/ 2032 w 10000"/>
                <a:gd name="connsiteY188" fmla="*/ 2738 h 10000"/>
                <a:gd name="connsiteX189" fmla="*/ 2093 w 10000"/>
                <a:gd name="connsiteY189" fmla="*/ 2782 h 10000"/>
                <a:gd name="connsiteX190" fmla="*/ 1979 w 10000"/>
                <a:gd name="connsiteY190" fmla="*/ 2852 h 10000"/>
                <a:gd name="connsiteX191" fmla="*/ 1731 w 10000"/>
                <a:gd name="connsiteY191" fmla="*/ 3330 h 10000"/>
                <a:gd name="connsiteX192" fmla="*/ 1779 w 10000"/>
                <a:gd name="connsiteY192" fmla="*/ 3358 h 10000"/>
                <a:gd name="connsiteX193" fmla="*/ 1815 w 10000"/>
                <a:gd name="connsiteY193" fmla="*/ 3479 h 10000"/>
                <a:gd name="connsiteX194" fmla="*/ 1700 w 10000"/>
                <a:gd name="connsiteY194" fmla="*/ 3982 h 10000"/>
                <a:gd name="connsiteX195" fmla="*/ 1815 w 10000"/>
                <a:gd name="connsiteY195" fmla="*/ 4110 h 10000"/>
                <a:gd name="connsiteX196" fmla="*/ 2131 w 10000"/>
                <a:gd name="connsiteY196" fmla="*/ 4251 h 10000"/>
                <a:gd name="connsiteX197" fmla="*/ 2145 w 10000"/>
                <a:gd name="connsiteY197" fmla="*/ 4423 h 10000"/>
                <a:gd name="connsiteX198" fmla="*/ 2010 w 10000"/>
                <a:gd name="connsiteY198" fmla="*/ 4566 h 10000"/>
                <a:gd name="connsiteX199" fmla="*/ 1815 w 10000"/>
                <a:gd name="connsiteY199" fmla="*/ 4652 h 10000"/>
                <a:gd name="connsiteX200" fmla="*/ 1557 w 10000"/>
                <a:gd name="connsiteY200" fmla="*/ 4687 h 10000"/>
                <a:gd name="connsiteX201" fmla="*/ 1490 w 10000"/>
                <a:gd name="connsiteY201" fmla="*/ 4737 h 10000"/>
                <a:gd name="connsiteX202" fmla="*/ 1640 w 10000"/>
                <a:gd name="connsiteY202" fmla="*/ 4855 h 10000"/>
                <a:gd name="connsiteX203" fmla="*/ 1726 w 10000"/>
                <a:gd name="connsiteY203" fmla="*/ 5136 h 10000"/>
                <a:gd name="connsiteX204" fmla="*/ 1531 w 10000"/>
                <a:gd name="connsiteY204" fmla="*/ 5376 h 10000"/>
                <a:gd name="connsiteX205" fmla="*/ 1599 w 10000"/>
                <a:gd name="connsiteY205" fmla="*/ 5451 h 10000"/>
                <a:gd name="connsiteX206" fmla="*/ 1537 w 10000"/>
                <a:gd name="connsiteY206" fmla="*/ 5577 h 10000"/>
                <a:gd name="connsiteX207" fmla="*/ 1412 w 10000"/>
                <a:gd name="connsiteY207" fmla="*/ 5663 h 10000"/>
                <a:gd name="connsiteX208" fmla="*/ 915 w 10000"/>
                <a:gd name="connsiteY208" fmla="*/ 5730 h 10000"/>
                <a:gd name="connsiteX209" fmla="*/ 885 w 10000"/>
                <a:gd name="connsiteY209" fmla="*/ 5846 h 10000"/>
                <a:gd name="connsiteX210" fmla="*/ 617 w 10000"/>
                <a:gd name="connsiteY210" fmla="*/ 6019 h 10000"/>
                <a:gd name="connsiteX211" fmla="*/ 652 w 10000"/>
                <a:gd name="connsiteY211" fmla="*/ 6268 h 10000"/>
                <a:gd name="connsiteX212" fmla="*/ 427 w 10000"/>
                <a:gd name="connsiteY212" fmla="*/ 6587 h 10000"/>
                <a:gd name="connsiteX213" fmla="*/ 274 w 10000"/>
                <a:gd name="connsiteY213" fmla="*/ 6624 h 10000"/>
                <a:gd name="connsiteX214" fmla="*/ 210 w 10000"/>
                <a:gd name="connsiteY214" fmla="*/ 6548 h 10000"/>
                <a:gd name="connsiteX215" fmla="*/ 132 w 10000"/>
                <a:gd name="connsiteY215" fmla="*/ 6663 h 10000"/>
                <a:gd name="connsiteX216" fmla="*/ 183 w 10000"/>
                <a:gd name="connsiteY216" fmla="*/ 6465 h 10000"/>
                <a:gd name="connsiteX217" fmla="*/ 151 w 10000"/>
                <a:gd name="connsiteY217"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7175 w 10000"/>
                <a:gd name="connsiteY158" fmla="*/ 3036 h 10000"/>
                <a:gd name="connsiteX159" fmla="*/ 8864 w 10000"/>
                <a:gd name="connsiteY159" fmla="*/ 2396 h 10000"/>
                <a:gd name="connsiteX160" fmla="*/ 9310 w 10000"/>
                <a:gd name="connsiteY160" fmla="*/ 2263 h 10000"/>
                <a:gd name="connsiteX161" fmla="*/ 9417 w 10000"/>
                <a:gd name="connsiteY161" fmla="*/ 2235 h 10000"/>
                <a:gd name="connsiteX162" fmla="*/ 10000 w 10000"/>
                <a:gd name="connsiteY162" fmla="*/ 1832 h 10000"/>
                <a:gd name="connsiteX163" fmla="*/ 9652 w 10000"/>
                <a:gd name="connsiteY163" fmla="*/ 1699 h 10000"/>
                <a:gd name="connsiteX164" fmla="*/ 9147 w 10000"/>
                <a:gd name="connsiteY164" fmla="*/ 1773 h 10000"/>
                <a:gd name="connsiteX165" fmla="*/ 8784 w 10000"/>
                <a:gd name="connsiteY165" fmla="*/ 1639 h 10000"/>
                <a:gd name="connsiteX166" fmla="*/ 8850 w 10000"/>
                <a:gd name="connsiteY166" fmla="*/ 1480 h 10000"/>
                <a:gd name="connsiteX167" fmla="*/ 7497 w 10000"/>
                <a:gd name="connsiteY167" fmla="*/ 923 h 10000"/>
                <a:gd name="connsiteX168" fmla="*/ 7522 w 10000"/>
                <a:gd name="connsiteY168" fmla="*/ 649 h 10000"/>
                <a:gd name="connsiteX169" fmla="*/ 7012 w 10000"/>
                <a:gd name="connsiteY169" fmla="*/ 590 h 10000"/>
                <a:gd name="connsiteX170" fmla="*/ 6413 w 10000"/>
                <a:gd name="connsiteY170" fmla="*/ 332 h 10000"/>
                <a:gd name="connsiteX171" fmla="*/ 5098 w 10000"/>
                <a:gd name="connsiteY171" fmla="*/ 0 h 10000"/>
                <a:gd name="connsiteX172" fmla="*/ 4837 w 10000"/>
                <a:gd name="connsiteY172" fmla="*/ 82 h 10000"/>
                <a:gd name="connsiteX173" fmla="*/ 4671 w 10000"/>
                <a:gd name="connsiteY173" fmla="*/ 78 h 10000"/>
                <a:gd name="connsiteX174" fmla="*/ 4571 w 10000"/>
                <a:gd name="connsiteY174" fmla="*/ 107 h 10000"/>
                <a:gd name="connsiteX175" fmla="*/ 4298 w 10000"/>
                <a:gd name="connsiteY175" fmla="*/ 913 h 10000"/>
                <a:gd name="connsiteX176" fmla="*/ 3668 w 10000"/>
                <a:gd name="connsiteY176" fmla="*/ 1383 h 10000"/>
                <a:gd name="connsiteX177" fmla="*/ 3672 w 10000"/>
                <a:gd name="connsiteY177" fmla="*/ 1457 h 10000"/>
                <a:gd name="connsiteX178" fmla="*/ 3952 w 10000"/>
                <a:gd name="connsiteY178" fmla="*/ 1668 h 10000"/>
                <a:gd name="connsiteX179" fmla="*/ 3861 w 10000"/>
                <a:gd name="connsiteY179" fmla="*/ 1896 h 10000"/>
                <a:gd name="connsiteX180" fmla="*/ 3698 w 10000"/>
                <a:gd name="connsiteY180" fmla="*/ 1979 h 10000"/>
                <a:gd name="connsiteX181" fmla="*/ 3208 w 10000"/>
                <a:gd name="connsiteY181" fmla="*/ 1924 h 10000"/>
                <a:gd name="connsiteX182" fmla="*/ 2871 w 10000"/>
                <a:gd name="connsiteY182" fmla="*/ 1955 h 10000"/>
                <a:gd name="connsiteX183" fmla="*/ 2601 w 10000"/>
                <a:gd name="connsiteY183" fmla="*/ 2023 h 10000"/>
                <a:gd name="connsiteX184" fmla="*/ 2163 w 10000"/>
                <a:gd name="connsiteY184" fmla="*/ 2233 h 10000"/>
                <a:gd name="connsiteX185" fmla="*/ 1931 w 10000"/>
                <a:gd name="connsiteY185" fmla="*/ 2487 h 10000"/>
                <a:gd name="connsiteX186" fmla="*/ 1951 w 10000"/>
                <a:gd name="connsiteY186" fmla="*/ 2629 h 10000"/>
                <a:gd name="connsiteX187" fmla="*/ 2032 w 10000"/>
                <a:gd name="connsiteY187" fmla="*/ 2738 h 10000"/>
                <a:gd name="connsiteX188" fmla="*/ 2093 w 10000"/>
                <a:gd name="connsiteY188" fmla="*/ 2782 h 10000"/>
                <a:gd name="connsiteX189" fmla="*/ 1979 w 10000"/>
                <a:gd name="connsiteY189" fmla="*/ 2852 h 10000"/>
                <a:gd name="connsiteX190" fmla="*/ 1731 w 10000"/>
                <a:gd name="connsiteY190" fmla="*/ 3330 h 10000"/>
                <a:gd name="connsiteX191" fmla="*/ 1779 w 10000"/>
                <a:gd name="connsiteY191" fmla="*/ 3358 h 10000"/>
                <a:gd name="connsiteX192" fmla="*/ 1815 w 10000"/>
                <a:gd name="connsiteY192" fmla="*/ 3479 h 10000"/>
                <a:gd name="connsiteX193" fmla="*/ 1700 w 10000"/>
                <a:gd name="connsiteY193" fmla="*/ 3982 h 10000"/>
                <a:gd name="connsiteX194" fmla="*/ 1815 w 10000"/>
                <a:gd name="connsiteY194" fmla="*/ 4110 h 10000"/>
                <a:gd name="connsiteX195" fmla="*/ 2131 w 10000"/>
                <a:gd name="connsiteY195" fmla="*/ 4251 h 10000"/>
                <a:gd name="connsiteX196" fmla="*/ 2145 w 10000"/>
                <a:gd name="connsiteY196" fmla="*/ 4423 h 10000"/>
                <a:gd name="connsiteX197" fmla="*/ 2010 w 10000"/>
                <a:gd name="connsiteY197" fmla="*/ 4566 h 10000"/>
                <a:gd name="connsiteX198" fmla="*/ 1815 w 10000"/>
                <a:gd name="connsiteY198" fmla="*/ 4652 h 10000"/>
                <a:gd name="connsiteX199" fmla="*/ 1557 w 10000"/>
                <a:gd name="connsiteY199" fmla="*/ 4687 h 10000"/>
                <a:gd name="connsiteX200" fmla="*/ 1490 w 10000"/>
                <a:gd name="connsiteY200" fmla="*/ 4737 h 10000"/>
                <a:gd name="connsiteX201" fmla="*/ 1640 w 10000"/>
                <a:gd name="connsiteY201" fmla="*/ 4855 h 10000"/>
                <a:gd name="connsiteX202" fmla="*/ 1726 w 10000"/>
                <a:gd name="connsiteY202" fmla="*/ 5136 h 10000"/>
                <a:gd name="connsiteX203" fmla="*/ 1531 w 10000"/>
                <a:gd name="connsiteY203" fmla="*/ 5376 h 10000"/>
                <a:gd name="connsiteX204" fmla="*/ 1599 w 10000"/>
                <a:gd name="connsiteY204" fmla="*/ 5451 h 10000"/>
                <a:gd name="connsiteX205" fmla="*/ 1537 w 10000"/>
                <a:gd name="connsiteY205" fmla="*/ 5577 h 10000"/>
                <a:gd name="connsiteX206" fmla="*/ 1412 w 10000"/>
                <a:gd name="connsiteY206" fmla="*/ 5663 h 10000"/>
                <a:gd name="connsiteX207" fmla="*/ 915 w 10000"/>
                <a:gd name="connsiteY207" fmla="*/ 5730 h 10000"/>
                <a:gd name="connsiteX208" fmla="*/ 885 w 10000"/>
                <a:gd name="connsiteY208" fmla="*/ 5846 h 10000"/>
                <a:gd name="connsiteX209" fmla="*/ 617 w 10000"/>
                <a:gd name="connsiteY209" fmla="*/ 6019 h 10000"/>
                <a:gd name="connsiteX210" fmla="*/ 652 w 10000"/>
                <a:gd name="connsiteY210" fmla="*/ 6268 h 10000"/>
                <a:gd name="connsiteX211" fmla="*/ 427 w 10000"/>
                <a:gd name="connsiteY211" fmla="*/ 6587 h 10000"/>
                <a:gd name="connsiteX212" fmla="*/ 274 w 10000"/>
                <a:gd name="connsiteY212" fmla="*/ 6624 h 10000"/>
                <a:gd name="connsiteX213" fmla="*/ 210 w 10000"/>
                <a:gd name="connsiteY213" fmla="*/ 6548 h 10000"/>
                <a:gd name="connsiteX214" fmla="*/ 132 w 10000"/>
                <a:gd name="connsiteY214" fmla="*/ 6663 h 10000"/>
                <a:gd name="connsiteX215" fmla="*/ 183 w 10000"/>
                <a:gd name="connsiteY215" fmla="*/ 6465 h 10000"/>
                <a:gd name="connsiteX216" fmla="*/ 151 w 10000"/>
                <a:gd name="connsiteY216"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7175 w 10000"/>
                <a:gd name="connsiteY158" fmla="*/ 3036 h 10000"/>
                <a:gd name="connsiteX159" fmla="*/ 7625 w 10000"/>
                <a:gd name="connsiteY159" fmla="*/ 2904 h 10000"/>
                <a:gd name="connsiteX160" fmla="*/ 8864 w 10000"/>
                <a:gd name="connsiteY160" fmla="*/ 2396 h 10000"/>
                <a:gd name="connsiteX161" fmla="*/ 9310 w 10000"/>
                <a:gd name="connsiteY161" fmla="*/ 2263 h 10000"/>
                <a:gd name="connsiteX162" fmla="*/ 9417 w 10000"/>
                <a:gd name="connsiteY162" fmla="*/ 2235 h 10000"/>
                <a:gd name="connsiteX163" fmla="*/ 10000 w 10000"/>
                <a:gd name="connsiteY163" fmla="*/ 1832 h 10000"/>
                <a:gd name="connsiteX164" fmla="*/ 9652 w 10000"/>
                <a:gd name="connsiteY164" fmla="*/ 1699 h 10000"/>
                <a:gd name="connsiteX165" fmla="*/ 9147 w 10000"/>
                <a:gd name="connsiteY165" fmla="*/ 1773 h 10000"/>
                <a:gd name="connsiteX166" fmla="*/ 8784 w 10000"/>
                <a:gd name="connsiteY166" fmla="*/ 1639 h 10000"/>
                <a:gd name="connsiteX167" fmla="*/ 8850 w 10000"/>
                <a:gd name="connsiteY167" fmla="*/ 1480 h 10000"/>
                <a:gd name="connsiteX168" fmla="*/ 7497 w 10000"/>
                <a:gd name="connsiteY168" fmla="*/ 923 h 10000"/>
                <a:gd name="connsiteX169" fmla="*/ 7522 w 10000"/>
                <a:gd name="connsiteY169" fmla="*/ 649 h 10000"/>
                <a:gd name="connsiteX170" fmla="*/ 7012 w 10000"/>
                <a:gd name="connsiteY170" fmla="*/ 590 h 10000"/>
                <a:gd name="connsiteX171" fmla="*/ 6413 w 10000"/>
                <a:gd name="connsiteY171" fmla="*/ 332 h 10000"/>
                <a:gd name="connsiteX172" fmla="*/ 5098 w 10000"/>
                <a:gd name="connsiteY172" fmla="*/ 0 h 10000"/>
                <a:gd name="connsiteX173" fmla="*/ 4837 w 10000"/>
                <a:gd name="connsiteY173" fmla="*/ 82 h 10000"/>
                <a:gd name="connsiteX174" fmla="*/ 4671 w 10000"/>
                <a:gd name="connsiteY174" fmla="*/ 78 h 10000"/>
                <a:gd name="connsiteX175" fmla="*/ 4571 w 10000"/>
                <a:gd name="connsiteY175" fmla="*/ 107 h 10000"/>
                <a:gd name="connsiteX176" fmla="*/ 4298 w 10000"/>
                <a:gd name="connsiteY176" fmla="*/ 913 h 10000"/>
                <a:gd name="connsiteX177" fmla="*/ 3668 w 10000"/>
                <a:gd name="connsiteY177" fmla="*/ 1383 h 10000"/>
                <a:gd name="connsiteX178" fmla="*/ 3672 w 10000"/>
                <a:gd name="connsiteY178" fmla="*/ 1457 h 10000"/>
                <a:gd name="connsiteX179" fmla="*/ 3952 w 10000"/>
                <a:gd name="connsiteY179" fmla="*/ 1668 h 10000"/>
                <a:gd name="connsiteX180" fmla="*/ 3861 w 10000"/>
                <a:gd name="connsiteY180" fmla="*/ 1896 h 10000"/>
                <a:gd name="connsiteX181" fmla="*/ 3698 w 10000"/>
                <a:gd name="connsiteY181" fmla="*/ 1979 h 10000"/>
                <a:gd name="connsiteX182" fmla="*/ 3208 w 10000"/>
                <a:gd name="connsiteY182" fmla="*/ 1924 h 10000"/>
                <a:gd name="connsiteX183" fmla="*/ 2871 w 10000"/>
                <a:gd name="connsiteY183" fmla="*/ 1955 h 10000"/>
                <a:gd name="connsiteX184" fmla="*/ 2601 w 10000"/>
                <a:gd name="connsiteY184" fmla="*/ 2023 h 10000"/>
                <a:gd name="connsiteX185" fmla="*/ 2163 w 10000"/>
                <a:gd name="connsiteY185" fmla="*/ 2233 h 10000"/>
                <a:gd name="connsiteX186" fmla="*/ 1931 w 10000"/>
                <a:gd name="connsiteY186" fmla="*/ 2487 h 10000"/>
                <a:gd name="connsiteX187" fmla="*/ 1951 w 10000"/>
                <a:gd name="connsiteY187" fmla="*/ 2629 h 10000"/>
                <a:gd name="connsiteX188" fmla="*/ 2032 w 10000"/>
                <a:gd name="connsiteY188" fmla="*/ 2738 h 10000"/>
                <a:gd name="connsiteX189" fmla="*/ 2093 w 10000"/>
                <a:gd name="connsiteY189" fmla="*/ 2782 h 10000"/>
                <a:gd name="connsiteX190" fmla="*/ 1979 w 10000"/>
                <a:gd name="connsiteY190" fmla="*/ 2852 h 10000"/>
                <a:gd name="connsiteX191" fmla="*/ 1731 w 10000"/>
                <a:gd name="connsiteY191" fmla="*/ 3330 h 10000"/>
                <a:gd name="connsiteX192" fmla="*/ 1779 w 10000"/>
                <a:gd name="connsiteY192" fmla="*/ 3358 h 10000"/>
                <a:gd name="connsiteX193" fmla="*/ 1815 w 10000"/>
                <a:gd name="connsiteY193" fmla="*/ 3479 h 10000"/>
                <a:gd name="connsiteX194" fmla="*/ 1700 w 10000"/>
                <a:gd name="connsiteY194" fmla="*/ 3982 h 10000"/>
                <a:gd name="connsiteX195" fmla="*/ 1815 w 10000"/>
                <a:gd name="connsiteY195" fmla="*/ 4110 h 10000"/>
                <a:gd name="connsiteX196" fmla="*/ 2131 w 10000"/>
                <a:gd name="connsiteY196" fmla="*/ 4251 h 10000"/>
                <a:gd name="connsiteX197" fmla="*/ 2145 w 10000"/>
                <a:gd name="connsiteY197" fmla="*/ 4423 h 10000"/>
                <a:gd name="connsiteX198" fmla="*/ 2010 w 10000"/>
                <a:gd name="connsiteY198" fmla="*/ 4566 h 10000"/>
                <a:gd name="connsiteX199" fmla="*/ 1815 w 10000"/>
                <a:gd name="connsiteY199" fmla="*/ 4652 h 10000"/>
                <a:gd name="connsiteX200" fmla="*/ 1557 w 10000"/>
                <a:gd name="connsiteY200" fmla="*/ 4687 h 10000"/>
                <a:gd name="connsiteX201" fmla="*/ 1490 w 10000"/>
                <a:gd name="connsiteY201" fmla="*/ 4737 h 10000"/>
                <a:gd name="connsiteX202" fmla="*/ 1640 w 10000"/>
                <a:gd name="connsiteY202" fmla="*/ 4855 h 10000"/>
                <a:gd name="connsiteX203" fmla="*/ 1726 w 10000"/>
                <a:gd name="connsiteY203" fmla="*/ 5136 h 10000"/>
                <a:gd name="connsiteX204" fmla="*/ 1531 w 10000"/>
                <a:gd name="connsiteY204" fmla="*/ 5376 h 10000"/>
                <a:gd name="connsiteX205" fmla="*/ 1599 w 10000"/>
                <a:gd name="connsiteY205" fmla="*/ 5451 h 10000"/>
                <a:gd name="connsiteX206" fmla="*/ 1537 w 10000"/>
                <a:gd name="connsiteY206" fmla="*/ 5577 h 10000"/>
                <a:gd name="connsiteX207" fmla="*/ 1412 w 10000"/>
                <a:gd name="connsiteY207" fmla="*/ 5663 h 10000"/>
                <a:gd name="connsiteX208" fmla="*/ 915 w 10000"/>
                <a:gd name="connsiteY208" fmla="*/ 5730 h 10000"/>
                <a:gd name="connsiteX209" fmla="*/ 885 w 10000"/>
                <a:gd name="connsiteY209" fmla="*/ 5846 h 10000"/>
                <a:gd name="connsiteX210" fmla="*/ 617 w 10000"/>
                <a:gd name="connsiteY210" fmla="*/ 6019 h 10000"/>
                <a:gd name="connsiteX211" fmla="*/ 652 w 10000"/>
                <a:gd name="connsiteY211" fmla="*/ 6268 h 10000"/>
                <a:gd name="connsiteX212" fmla="*/ 427 w 10000"/>
                <a:gd name="connsiteY212" fmla="*/ 6587 h 10000"/>
                <a:gd name="connsiteX213" fmla="*/ 274 w 10000"/>
                <a:gd name="connsiteY213" fmla="*/ 6624 h 10000"/>
                <a:gd name="connsiteX214" fmla="*/ 210 w 10000"/>
                <a:gd name="connsiteY214" fmla="*/ 6548 h 10000"/>
                <a:gd name="connsiteX215" fmla="*/ 132 w 10000"/>
                <a:gd name="connsiteY215" fmla="*/ 6663 h 10000"/>
                <a:gd name="connsiteX216" fmla="*/ 183 w 10000"/>
                <a:gd name="connsiteY216" fmla="*/ 6465 h 10000"/>
                <a:gd name="connsiteX217" fmla="*/ 151 w 10000"/>
                <a:gd name="connsiteY217"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7625 w 10000"/>
                <a:gd name="connsiteY158" fmla="*/ 2904 h 10000"/>
                <a:gd name="connsiteX159" fmla="*/ 8864 w 10000"/>
                <a:gd name="connsiteY159" fmla="*/ 2396 h 10000"/>
                <a:gd name="connsiteX160" fmla="*/ 9310 w 10000"/>
                <a:gd name="connsiteY160" fmla="*/ 2263 h 10000"/>
                <a:gd name="connsiteX161" fmla="*/ 9417 w 10000"/>
                <a:gd name="connsiteY161" fmla="*/ 2235 h 10000"/>
                <a:gd name="connsiteX162" fmla="*/ 10000 w 10000"/>
                <a:gd name="connsiteY162" fmla="*/ 1832 h 10000"/>
                <a:gd name="connsiteX163" fmla="*/ 9652 w 10000"/>
                <a:gd name="connsiteY163" fmla="*/ 1699 h 10000"/>
                <a:gd name="connsiteX164" fmla="*/ 9147 w 10000"/>
                <a:gd name="connsiteY164" fmla="*/ 1773 h 10000"/>
                <a:gd name="connsiteX165" fmla="*/ 8784 w 10000"/>
                <a:gd name="connsiteY165" fmla="*/ 1639 h 10000"/>
                <a:gd name="connsiteX166" fmla="*/ 8850 w 10000"/>
                <a:gd name="connsiteY166" fmla="*/ 1480 h 10000"/>
                <a:gd name="connsiteX167" fmla="*/ 7497 w 10000"/>
                <a:gd name="connsiteY167" fmla="*/ 923 h 10000"/>
                <a:gd name="connsiteX168" fmla="*/ 7522 w 10000"/>
                <a:gd name="connsiteY168" fmla="*/ 649 h 10000"/>
                <a:gd name="connsiteX169" fmla="*/ 7012 w 10000"/>
                <a:gd name="connsiteY169" fmla="*/ 590 h 10000"/>
                <a:gd name="connsiteX170" fmla="*/ 6413 w 10000"/>
                <a:gd name="connsiteY170" fmla="*/ 332 h 10000"/>
                <a:gd name="connsiteX171" fmla="*/ 5098 w 10000"/>
                <a:gd name="connsiteY171" fmla="*/ 0 h 10000"/>
                <a:gd name="connsiteX172" fmla="*/ 4837 w 10000"/>
                <a:gd name="connsiteY172" fmla="*/ 82 h 10000"/>
                <a:gd name="connsiteX173" fmla="*/ 4671 w 10000"/>
                <a:gd name="connsiteY173" fmla="*/ 78 h 10000"/>
                <a:gd name="connsiteX174" fmla="*/ 4571 w 10000"/>
                <a:gd name="connsiteY174" fmla="*/ 107 h 10000"/>
                <a:gd name="connsiteX175" fmla="*/ 4298 w 10000"/>
                <a:gd name="connsiteY175" fmla="*/ 913 h 10000"/>
                <a:gd name="connsiteX176" fmla="*/ 3668 w 10000"/>
                <a:gd name="connsiteY176" fmla="*/ 1383 h 10000"/>
                <a:gd name="connsiteX177" fmla="*/ 3672 w 10000"/>
                <a:gd name="connsiteY177" fmla="*/ 1457 h 10000"/>
                <a:gd name="connsiteX178" fmla="*/ 3952 w 10000"/>
                <a:gd name="connsiteY178" fmla="*/ 1668 h 10000"/>
                <a:gd name="connsiteX179" fmla="*/ 3861 w 10000"/>
                <a:gd name="connsiteY179" fmla="*/ 1896 h 10000"/>
                <a:gd name="connsiteX180" fmla="*/ 3698 w 10000"/>
                <a:gd name="connsiteY180" fmla="*/ 1979 h 10000"/>
                <a:gd name="connsiteX181" fmla="*/ 3208 w 10000"/>
                <a:gd name="connsiteY181" fmla="*/ 1924 h 10000"/>
                <a:gd name="connsiteX182" fmla="*/ 2871 w 10000"/>
                <a:gd name="connsiteY182" fmla="*/ 1955 h 10000"/>
                <a:gd name="connsiteX183" fmla="*/ 2601 w 10000"/>
                <a:gd name="connsiteY183" fmla="*/ 2023 h 10000"/>
                <a:gd name="connsiteX184" fmla="*/ 2163 w 10000"/>
                <a:gd name="connsiteY184" fmla="*/ 2233 h 10000"/>
                <a:gd name="connsiteX185" fmla="*/ 1931 w 10000"/>
                <a:gd name="connsiteY185" fmla="*/ 2487 h 10000"/>
                <a:gd name="connsiteX186" fmla="*/ 1951 w 10000"/>
                <a:gd name="connsiteY186" fmla="*/ 2629 h 10000"/>
                <a:gd name="connsiteX187" fmla="*/ 2032 w 10000"/>
                <a:gd name="connsiteY187" fmla="*/ 2738 h 10000"/>
                <a:gd name="connsiteX188" fmla="*/ 2093 w 10000"/>
                <a:gd name="connsiteY188" fmla="*/ 2782 h 10000"/>
                <a:gd name="connsiteX189" fmla="*/ 1979 w 10000"/>
                <a:gd name="connsiteY189" fmla="*/ 2852 h 10000"/>
                <a:gd name="connsiteX190" fmla="*/ 1731 w 10000"/>
                <a:gd name="connsiteY190" fmla="*/ 3330 h 10000"/>
                <a:gd name="connsiteX191" fmla="*/ 1779 w 10000"/>
                <a:gd name="connsiteY191" fmla="*/ 3358 h 10000"/>
                <a:gd name="connsiteX192" fmla="*/ 1815 w 10000"/>
                <a:gd name="connsiteY192" fmla="*/ 3479 h 10000"/>
                <a:gd name="connsiteX193" fmla="*/ 1700 w 10000"/>
                <a:gd name="connsiteY193" fmla="*/ 3982 h 10000"/>
                <a:gd name="connsiteX194" fmla="*/ 1815 w 10000"/>
                <a:gd name="connsiteY194" fmla="*/ 4110 h 10000"/>
                <a:gd name="connsiteX195" fmla="*/ 2131 w 10000"/>
                <a:gd name="connsiteY195" fmla="*/ 4251 h 10000"/>
                <a:gd name="connsiteX196" fmla="*/ 2145 w 10000"/>
                <a:gd name="connsiteY196" fmla="*/ 4423 h 10000"/>
                <a:gd name="connsiteX197" fmla="*/ 2010 w 10000"/>
                <a:gd name="connsiteY197" fmla="*/ 4566 h 10000"/>
                <a:gd name="connsiteX198" fmla="*/ 1815 w 10000"/>
                <a:gd name="connsiteY198" fmla="*/ 4652 h 10000"/>
                <a:gd name="connsiteX199" fmla="*/ 1557 w 10000"/>
                <a:gd name="connsiteY199" fmla="*/ 4687 h 10000"/>
                <a:gd name="connsiteX200" fmla="*/ 1490 w 10000"/>
                <a:gd name="connsiteY200" fmla="*/ 4737 h 10000"/>
                <a:gd name="connsiteX201" fmla="*/ 1640 w 10000"/>
                <a:gd name="connsiteY201" fmla="*/ 4855 h 10000"/>
                <a:gd name="connsiteX202" fmla="*/ 1726 w 10000"/>
                <a:gd name="connsiteY202" fmla="*/ 5136 h 10000"/>
                <a:gd name="connsiteX203" fmla="*/ 1531 w 10000"/>
                <a:gd name="connsiteY203" fmla="*/ 5376 h 10000"/>
                <a:gd name="connsiteX204" fmla="*/ 1599 w 10000"/>
                <a:gd name="connsiteY204" fmla="*/ 5451 h 10000"/>
                <a:gd name="connsiteX205" fmla="*/ 1537 w 10000"/>
                <a:gd name="connsiteY205" fmla="*/ 5577 h 10000"/>
                <a:gd name="connsiteX206" fmla="*/ 1412 w 10000"/>
                <a:gd name="connsiteY206" fmla="*/ 5663 h 10000"/>
                <a:gd name="connsiteX207" fmla="*/ 915 w 10000"/>
                <a:gd name="connsiteY207" fmla="*/ 5730 h 10000"/>
                <a:gd name="connsiteX208" fmla="*/ 885 w 10000"/>
                <a:gd name="connsiteY208" fmla="*/ 5846 h 10000"/>
                <a:gd name="connsiteX209" fmla="*/ 617 w 10000"/>
                <a:gd name="connsiteY209" fmla="*/ 6019 h 10000"/>
                <a:gd name="connsiteX210" fmla="*/ 652 w 10000"/>
                <a:gd name="connsiteY210" fmla="*/ 6268 h 10000"/>
                <a:gd name="connsiteX211" fmla="*/ 427 w 10000"/>
                <a:gd name="connsiteY211" fmla="*/ 6587 h 10000"/>
                <a:gd name="connsiteX212" fmla="*/ 274 w 10000"/>
                <a:gd name="connsiteY212" fmla="*/ 6624 h 10000"/>
                <a:gd name="connsiteX213" fmla="*/ 210 w 10000"/>
                <a:gd name="connsiteY213" fmla="*/ 6548 h 10000"/>
                <a:gd name="connsiteX214" fmla="*/ 132 w 10000"/>
                <a:gd name="connsiteY214" fmla="*/ 6663 h 10000"/>
                <a:gd name="connsiteX215" fmla="*/ 183 w 10000"/>
                <a:gd name="connsiteY215" fmla="*/ 6465 h 10000"/>
                <a:gd name="connsiteX216" fmla="*/ 151 w 10000"/>
                <a:gd name="connsiteY216"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8864 w 10000"/>
                <a:gd name="connsiteY158" fmla="*/ 2396 h 10000"/>
                <a:gd name="connsiteX159" fmla="*/ 9310 w 10000"/>
                <a:gd name="connsiteY159" fmla="*/ 2263 h 10000"/>
                <a:gd name="connsiteX160" fmla="*/ 9417 w 10000"/>
                <a:gd name="connsiteY160" fmla="*/ 2235 h 10000"/>
                <a:gd name="connsiteX161" fmla="*/ 10000 w 10000"/>
                <a:gd name="connsiteY161" fmla="*/ 1832 h 10000"/>
                <a:gd name="connsiteX162" fmla="*/ 9652 w 10000"/>
                <a:gd name="connsiteY162" fmla="*/ 1699 h 10000"/>
                <a:gd name="connsiteX163" fmla="*/ 9147 w 10000"/>
                <a:gd name="connsiteY163" fmla="*/ 1773 h 10000"/>
                <a:gd name="connsiteX164" fmla="*/ 8784 w 10000"/>
                <a:gd name="connsiteY164" fmla="*/ 1639 h 10000"/>
                <a:gd name="connsiteX165" fmla="*/ 8850 w 10000"/>
                <a:gd name="connsiteY165" fmla="*/ 1480 h 10000"/>
                <a:gd name="connsiteX166" fmla="*/ 7497 w 10000"/>
                <a:gd name="connsiteY166" fmla="*/ 923 h 10000"/>
                <a:gd name="connsiteX167" fmla="*/ 7522 w 10000"/>
                <a:gd name="connsiteY167" fmla="*/ 649 h 10000"/>
                <a:gd name="connsiteX168" fmla="*/ 7012 w 10000"/>
                <a:gd name="connsiteY168" fmla="*/ 590 h 10000"/>
                <a:gd name="connsiteX169" fmla="*/ 6413 w 10000"/>
                <a:gd name="connsiteY169" fmla="*/ 332 h 10000"/>
                <a:gd name="connsiteX170" fmla="*/ 5098 w 10000"/>
                <a:gd name="connsiteY170" fmla="*/ 0 h 10000"/>
                <a:gd name="connsiteX171" fmla="*/ 4837 w 10000"/>
                <a:gd name="connsiteY171" fmla="*/ 82 h 10000"/>
                <a:gd name="connsiteX172" fmla="*/ 4671 w 10000"/>
                <a:gd name="connsiteY172" fmla="*/ 78 h 10000"/>
                <a:gd name="connsiteX173" fmla="*/ 4571 w 10000"/>
                <a:gd name="connsiteY173" fmla="*/ 107 h 10000"/>
                <a:gd name="connsiteX174" fmla="*/ 4298 w 10000"/>
                <a:gd name="connsiteY174" fmla="*/ 913 h 10000"/>
                <a:gd name="connsiteX175" fmla="*/ 3668 w 10000"/>
                <a:gd name="connsiteY175" fmla="*/ 1383 h 10000"/>
                <a:gd name="connsiteX176" fmla="*/ 3672 w 10000"/>
                <a:gd name="connsiteY176" fmla="*/ 1457 h 10000"/>
                <a:gd name="connsiteX177" fmla="*/ 3952 w 10000"/>
                <a:gd name="connsiteY177" fmla="*/ 1668 h 10000"/>
                <a:gd name="connsiteX178" fmla="*/ 3861 w 10000"/>
                <a:gd name="connsiteY178" fmla="*/ 1896 h 10000"/>
                <a:gd name="connsiteX179" fmla="*/ 3698 w 10000"/>
                <a:gd name="connsiteY179" fmla="*/ 1979 h 10000"/>
                <a:gd name="connsiteX180" fmla="*/ 3208 w 10000"/>
                <a:gd name="connsiteY180" fmla="*/ 1924 h 10000"/>
                <a:gd name="connsiteX181" fmla="*/ 2871 w 10000"/>
                <a:gd name="connsiteY181" fmla="*/ 1955 h 10000"/>
                <a:gd name="connsiteX182" fmla="*/ 2601 w 10000"/>
                <a:gd name="connsiteY182" fmla="*/ 2023 h 10000"/>
                <a:gd name="connsiteX183" fmla="*/ 2163 w 10000"/>
                <a:gd name="connsiteY183" fmla="*/ 2233 h 10000"/>
                <a:gd name="connsiteX184" fmla="*/ 1931 w 10000"/>
                <a:gd name="connsiteY184" fmla="*/ 2487 h 10000"/>
                <a:gd name="connsiteX185" fmla="*/ 1951 w 10000"/>
                <a:gd name="connsiteY185" fmla="*/ 2629 h 10000"/>
                <a:gd name="connsiteX186" fmla="*/ 2032 w 10000"/>
                <a:gd name="connsiteY186" fmla="*/ 2738 h 10000"/>
                <a:gd name="connsiteX187" fmla="*/ 2093 w 10000"/>
                <a:gd name="connsiteY187" fmla="*/ 2782 h 10000"/>
                <a:gd name="connsiteX188" fmla="*/ 1979 w 10000"/>
                <a:gd name="connsiteY188" fmla="*/ 2852 h 10000"/>
                <a:gd name="connsiteX189" fmla="*/ 1731 w 10000"/>
                <a:gd name="connsiteY189" fmla="*/ 3330 h 10000"/>
                <a:gd name="connsiteX190" fmla="*/ 1779 w 10000"/>
                <a:gd name="connsiteY190" fmla="*/ 3358 h 10000"/>
                <a:gd name="connsiteX191" fmla="*/ 1815 w 10000"/>
                <a:gd name="connsiteY191" fmla="*/ 3479 h 10000"/>
                <a:gd name="connsiteX192" fmla="*/ 1700 w 10000"/>
                <a:gd name="connsiteY192" fmla="*/ 3982 h 10000"/>
                <a:gd name="connsiteX193" fmla="*/ 1815 w 10000"/>
                <a:gd name="connsiteY193" fmla="*/ 4110 h 10000"/>
                <a:gd name="connsiteX194" fmla="*/ 2131 w 10000"/>
                <a:gd name="connsiteY194" fmla="*/ 4251 h 10000"/>
                <a:gd name="connsiteX195" fmla="*/ 2145 w 10000"/>
                <a:gd name="connsiteY195" fmla="*/ 4423 h 10000"/>
                <a:gd name="connsiteX196" fmla="*/ 2010 w 10000"/>
                <a:gd name="connsiteY196" fmla="*/ 4566 h 10000"/>
                <a:gd name="connsiteX197" fmla="*/ 1815 w 10000"/>
                <a:gd name="connsiteY197" fmla="*/ 4652 h 10000"/>
                <a:gd name="connsiteX198" fmla="*/ 1557 w 10000"/>
                <a:gd name="connsiteY198" fmla="*/ 4687 h 10000"/>
                <a:gd name="connsiteX199" fmla="*/ 1490 w 10000"/>
                <a:gd name="connsiteY199" fmla="*/ 4737 h 10000"/>
                <a:gd name="connsiteX200" fmla="*/ 1640 w 10000"/>
                <a:gd name="connsiteY200" fmla="*/ 4855 h 10000"/>
                <a:gd name="connsiteX201" fmla="*/ 1726 w 10000"/>
                <a:gd name="connsiteY201" fmla="*/ 5136 h 10000"/>
                <a:gd name="connsiteX202" fmla="*/ 1531 w 10000"/>
                <a:gd name="connsiteY202" fmla="*/ 5376 h 10000"/>
                <a:gd name="connsiteX203" fmla="*/ 1599 w 10000"/>
                <a:gd name="connsiteY203" fmla="*/ 5451 h 10000"/>
                <a:gd name="connsiteX204" fmla="*/ 1537 w 10000"/>
                <a:gd name="connsiteY204" fmla="*/ 5577 h 10000"/>
                <a:gd name="connsiteX205" fmla="*/ 1412 w 10000"/>
                <a:gd name="connsiteY205" fmla="*/ 5663 h 10000"/>
                <a:gd name="connsiteX206" fmla="*/ 915 w 10000"/>
                <a:gd name="connsiteY206" fmla="*/ 5730 h 10000"/>
                <a:gd name="connsiteX207" fmla="*/ 885 w 10000"/>
                <a:gd name="connsiteY207" fmla="*/ 5846 h 10000"/>
                <a:gd name="connsiteX208" fmla="*/ 617 w 10000"/>
                <a:gd name="connsiteY208" fmla="*/ 6019 h 10000"/>
                <a:gd name="connsiteX209" fmla="*/ 652 w 10000"/>
                <a:gd name="connsiteY209" fmla="*/ 6268 h 10000"/>
                <a:gd name="connsiteX210" fmla="*/ 427 w 10000"/>
                <a:gd name="connsiteY210" fmla="*/ 6587 h 10000"/>
                <a:gd name="connsiteX211" fmla="*/ 274 w 10000"/>
                <a:gd name="connsiteY211" fmla="*/ 6624 h 10000"/>
                <a:gd name="connsiteX212" fmla="*/ 210 w 10000"/>
                <a:gd name="connsiteY212" fmla="*/ 6548 h 10000"/>
                <a:gd name="connsiteX213" fmla="*/ 132 w 10000"/>
                <a:gd name="connsiteY213" fmla="*/ 6663 h 10000"/>
                <a:gd name="connsiteX214" fmla="*/ 183 w 10000"/>
                <a:gd name="connsiteY214" fmla="*/ 6465 h 10000"/>
                <a:gd name="connsiteX215" fmla="*/ 151 w 10000"/>
                <a:gd name="connsiteY215"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9310 w 10000"/>
                <a:gd name="connsiteY158" fmla="*/ 2263 h 10000"/>
                <a:gd name="connsiteX159" fmla="*/ 9417 w 10000"/>
                <a:gd name="connsiteY159" fmla="*/ 2235 h 10000"/>
                <a:gd name="connsiteX160" fmla="*/ 10000 w 10000"/>
                <a:gd name="connsiteY160" fmla="*/ 1832 h 10000"/>
                <a:gd name="connsiteX161" fmla="*/ 9652 w 10000"/>
                <a:gd name="connsiteY161" fmla="*/ 1699 h 10000"/>
                <a:gd name="connsiteX162" fmla="*/ 9147 w 10000"/>
                <a:gd name="connsiteY162" fmla="*/ 1773 h 10000"/>
                <a:gd name="connsiteX163" fmla="*/ 8784 w 10000"/>
                <a:gd name="connsiteY163" fmla="*/ 1639 h 10000"/>
                <a:gd name="connsiteX164" fmla="*/ 8850 w 10000"/>
                <a:gd name="connsiteY164" fmla="*/ 1480 h 10000"/>
                <a:gd name="connsiteX165" fmla="*/ 7497 w 10000"/>
                <a:gd name="connsiteY165" fmla="*/ 923 h 10000"/>
                <a:gd name="connsiteX166" fmla="*/ 7522 w 10000"/>
                <a:gd name="connsiteY166" fmla="*/ 649 h 10000"/>
                <a:gd name="connsiteX167" fmla="*/ 7012 w 10000"/>
                <a:gd name="connsiteY167" fmla="*/ 590 h 10000"/>
                <a:gd name="connsiteX168" fmla="*/ 6413 w 10000"/>
                <a:gd name="connsiteY168" fmla="*/ 332 h 10000"/>
                <a:gd name="connsiteX169" fmla="*/ 5098 w 10000"/>
                <a:gd name="connsiteY169" fmla="*/ 0 h 10000"/>
                <a:gd name="connsiteX170" fmla="*/ 4837 w 10000"/>
                <a:gd name="connsiteY170" fmla="*/ 82 h 10000"/>
                <a:gd name="connsiteX171" fmla="*/ 4671 w 10000"/>
                <a:gd name="connsiteY171" fmla="*/ 78 h 10000"/>
                <a:gd name="connsiteX172" fmla="*/ 4571 w 10000"/>
                <a:gd name="connsiteY172" fmla="*/ 107 h 10000"/>
                <a:gd name="connsiteX173" fmla="*/ 4298 w 10000"/>
                <a:gd name="connsiteY173" fmla="*/ 913 h 10000"/>
                <a:gd name="connsiteX174" fmla="*/ 3668 w 10000"/>
                <a:gd name="connsiteY174" fmla="*/ 1383 h 10000"/>
                <a:gd name="connsiteX175" fmla="*/ 3672 w 10000"/>
                <a:gd name="connsiteY175" fmla="*/ 1457 h 10000"/>
                <a:gd name="connsiteX176" fmla="*/ 3952 w 10000"/>
                <a:gd name="connsiteY176" fmla="*/ 1668 h 10000"/>
                <a:gd name="connsiteX177" fmla="*/ 3861 w 10000"/>
                <a:gd name="connsiteY177" fmla="*/ 1896 h 10000"/>
                <a:gd name="connsiteX178" fmla="*/ 3698 w 10000"/>
                <a:gd name="connsiteY178" fmla="*/ 1979 h 10000"/>
                <a:gd name="connsiteX179" fmla="*/ 3208 w 10000"/>
                <a:gd name="connsiteY179" fmla="*/ 1924 h 10000"/>
                <a:gd name="connsiteX180" fmla="*/ 2871 w 10000"/>
                <a:gd name="connsiteY180" fmla="*/ 1955 h 10000"/>
                <a:gd name="connsiteX181" fmla="*/ 2601 w 10000"/>
                <a:gd name="connsiteY181" fmla="*/ 2023 h 10000"/>
                <a:gd name="connsiteX182" fmla="*/ 2163 w 10000"/>
                <a:gd name="connsiteY182" fmla="*/ 2233 h 10000"/>
                <a:gd name="connsiteX183" fmla="*/ 1931 w 10000"/>
                <a:gd name="connsiteY183" fmla="*/ 2487 h 10000"/>
                <a:gd name="connsiteX184" fmla="*/ 1951 w 10000"/>
                <a:gd name="connsiteY184" fmla="*/ 2629 h 10000"/>
                <a:gd name="connsiteX185" fmla="*/ 2032 w 10000"/>
                <a:gd name="connsiteY185" fmla="*/ 2738 h 10000"/>
                <a:gd name="connsiteX186" fmla="*/ 2093 w 10000"/>
                <a:gd name="connsiteY186" fmla="*/ 2782 h 10000"/>
                <a:gd name="connsiteX187" fmla="*/ 1979 w 10000"/>
                <a:gd name="connsiteY187" fmla="*/ 2852 h 10000"/>
                <a:gd name="connsiteX188" fmla="*/ 1731 w 10000"/>
                <a:gd name="connsiteY188" fmla="*/ 3330 h 10000"/>
                <a:gd name="connsiteX189" fmla="*/ 1779 w 10000"/>
                <a:gd name="connsiteY189" fmla="*/ 3358 h 10000"/>
                <a:gd name="connsiteX190" fmla="*/ 1815 w 10000"/>
                <a:gd name="connsiteY190" fmla="*/ 3479 h 10000"/>
                <a:gd name="connsiteX191" fmla="*/ 1700 w 10000"/>
                <a:gd name="connsiteY191" fmla="*/ 3982 h 10000"/>
                <a:gd name="connsiteX192" fmla="*/ 1815 w 10000"/>
                <a:gd name="connsiteY192" fmla="*/ 4110 h 10000"/>
                <a:gd name="connsiteX193" fmla="*/ 2131 w 10000"/>
                <a:gd name="connsiteY193" fmla="*/ 4251 h 10000"/>
                <a:gd name="connsiteX194" fmla="*/ 2145 w 10000"/>
                <a:gd name="connsiteY194" fmla="*/ 4423 h 10000"/>
                <a:gd name="connsiteX195" fmla="*/ 2010 w 10000"/>
                <a:gd name="connsiteY195" fmla="*/ 4566 h 10000"/>
                <a:gd name="connsiteX196" fmla="*/ 1815 w 10000"/>
                <a:gd name="connsiteY196" fmla="*/ 4652 h 10000"/>
                <a:gd name="connsiteX197" fmla="*/ 1557 w 10000"/>
                <a:gd name="connsiteY197" fmla="*/ 4687 h 10000"/>
                <a:gd name="connsiteX198" fmla="*/ 1490 w 10000"/>
                <a:gd name="connsiteY198" fmla="*/ 4737 h 10000"/>
                <a:gd name="connsiteX199" fmla="*/ 1640 w 10000"/>
                <a:gd name="connsiteY199" fmla="*/ 4855 h 10000"/>
                <a:gd name="connsiteX200" fmla="*/ 1726 w 10000"/>
                <a:gd name="connsiteY200" fmla="*/ 5136 h 10000"/>
                <a:gd name="connsiteX201" fmla="*/ 1531 w 10000"/>
                <a:gd name="connsiteY201" fmla="*/ 5376 h 10000"/>
                <a:gd name="connsiteX202" fmla="*/ 1599 w 10000"/>
                <a:gd name="connsiteY202" fmla="*/ 5451 h 10000"/>
                <a:gd name="connsiteX203" fmla="*/ 1537 w 10000"/>
                <a:gd name="connsiteY203" fmla="*/ 5577 h 10000"/>
                <a:gd name="connsiteX204" fmla="*/ 1412 w 10000"/>
                <a:gd name="connsiteY204" fmla="*/ 5663 h 10000"/>
                <a:gd name="connsiteX205" fmla="*/ 915 w 10000"/>
                <a:gd name="connsiteY205" fmla="*/ 5730 h 10000"/>
                <a:gd name="connsiteX206" fmla="*/ 885 w 10000"/>
                <a:gd name="connsiteY206" fmla="*/ 5846 h 10000"/>
                <a:gd name="connsiteX207" fmla="*/ 617 w 10000"/>
                <a:gd name="connsiteY207" fmla="*/ 6019 h 10000"/>
                <a:gd name="connsiteX208" fmla="*/ 652 w 10000"/>
                <a:gd name="connsiteY208" fmla="*/ 6268 h 10000"/>
                <a:gd name="connsiteX209" fmla="*/ 427 w 10000"/>
                <a:gd name="connsiteY209" fmla="*/ 6587 h 10000"/>
                <a:gd name="connsiteX210" fmla="*/ 274 w 10000"/>
                <a:gd name="connsiteY210" fmla="*/ 6624 h 10000"/>
                <a:gd name="connsiteX211" fmla="*/ 210 w 10000"/>
                <a:gd name="connsiteY211" fmla="*/ 6548 h 10000"/>
                <a:gd name="connsiteX212" fmla="*/ 132 w 10000"/>
                <a:gd name="connsiteY212" fmla="*/ 6663 h 10000"/>
                <a:gd name="connsiteX213" fmla="*/ 183 w 10000"/>
                <a:gd name="connsiteY213" fmla="*/ 6465 h 10000"/>
                <a:gd name="connsiteX214" fmla="*/ 151 w 10000"/>
                <a:gd name="connsiteY214" fmla="*/ 6427 h 10000"/>
                <a:gd name="connsiteX0" fmla="*/ 151 w 10000"/>
                <a:gd name="connsiteY0" fmla="*/ 6427 h 10000"/>
                <a:gd name="connsiteX1" fmla="*/ 0 w 10000"/>
                <a:gd name="connsiteY1" fmla="*/ 6530 h 10000"/>
                <a:gd name="connsiteX2" fmla="*/ 0 w 10000"/>
                <a:gd name="connsiteY2" fmla="*/ 7039 h 10000"/>
                <a:gd name="connsiteX3" fmla="*/ 83 w 10000"/>
                <a:gd name="connsiteY3" fmla="*/ 7053 h 10000"/>
                <a:gd name="connsiteX4" fmla="*/ 103 w 10000"/>
                <a:gd name="connsiteY4" fmla="*/ 7092 h 10000"/>
                <a:gd name="connsiteX5" fmla="*/ 99 w 10000"/>
                <a:gd name="connsiteY5" fmla="*/ 7161 h 10000"/>
                <a:gd name="connsiteX6" fmla="*/ 68 w 10000"/>
                <a:gd name="connsiteY6" fmla="*/ 7192 h 10000"/>
                <a:gd name="connsiteX7" fmla="*/ 195 w 10000"/>
                <a:gd name="connsiteY7" fmla="*/ 7133 h 10000"/>
                <a:gd name="connsiteX8" fmla="*/ 249 w 10000"/>
                <a:gd name="connsiteY8" fmla="*/ 7075 h 10000"/>
                <a:gd name="connsiteX9" fmla="*/ 315 w 10000"/>
                <a:gd name="connsiteY9" fmla="*/ 7115 h 10000"/>
                <a:gd name="connsiteX10" fmla="*/ 242 w 10000"/>
                <a:gd name="connsiteY10" fmla="*/ 7198 h 10000"/>
                <a:gd name="connsiteX11" fmla="*/ 320 w 10000"/>
                <a:gd name="connsiteY11" fmla="*/ 7200 h 10000"/>
                <a:gd name="connsiteX12" fmla="*/ 358 w 10000"/>
                <a:gd name="connsiteY12" fmla="*/ 7221 h 10000"/>
                <a:gd name="connsiteX13" fmla="*/ 257 w 10000"/>
                <a:gd name="connsiteY13" fmla="*/ 7248 h 10000"/>
                <a:gd name="connsiteX14" fmla="*/ 99 w 10000"/>
                <a:gd name="connsiteY14" fmla="*/ 7333 h 10000"/>
                <a:gd name="connsiteX15" fmla="*/ 381 w 10000"/>
                <a:gd name="connsiteY15" fmla="*/ 7400 h 10000"/>
                <a:gd name="connsiteX16" fmla="*/ 416 w 10000"/>
                <a:gd name="connsiteY16" fmla="*/ 7496 h 10000"/>
                <a:gd name="connsiteX17" fmla="*/ 320 w 10000"/>
                <a:gd name="connsiteY17" fmla="*/ 7636 h 10000"/>
                <a:gd name="connsiteX18" fmla="*/ 526 w 10000"/>
                <a:gd name="connsiteY18" fmla="*/ 7627 h 10000"/>
                <a:gd name="connsiteX19" fmla="*/ 541 w 10000"/>
                <a:gd name="connsiteY19" fmla="*/ 7733 h 10000"/>
                <a:gd name="connsiteX20" fmla="*/ 404 w 10000"/>
                <a:gd name="connsiteY20" fmla="*/ 7805 h 10000"/>
                <a:gd name="connsiteX21" fmla="*/ 427 w 10000"/>
                <a:gd name="connsiteY21" fmla="*/ 7945 h 10000"/>
                <a:gd name="connsiteX22" fmla="*/ 374 w 10000"/>
                <a:gd name="connsiteY22" fmla="*/ 8053 h 10000"/>
                <a:gd name="connsiteX23" fmla="*/ 536 w 10000"/>
                <a:gd name="connsiteY23" fmla="*/ 8063 h 10000"/>
                <a:gd name="connsiteX24" fmla="*/ 695 w 10000"/>
                <a:gd name="connsiteY24" fmla="*/ 8478 h 10000"/>
                <a:gd name="connsiteX25" fmla="*/ 878 w 10000"/>
                <a:gd name="connsiteY25" fmla="*/ 8583 h 10000"/>
                <a:gd name="connsiteX26" fmla="*/ 958 w 10000"/>
                <a:gd name="connsiteY26" fmla="*/ 8695 h 10000"/>
                <a:gd name="connsiteX27" fmla="*/ 1157 w 10000"/>
                <a:gd name="connsiteY27" fmla="*/ 8776 h 10000"/>
                <a:gd name="connsiteX28" fmla="*/ 1285 w 10000"/>
                <a:gd name="connsiteY28" fmla="*/ 8881 h 10000"/>
                <a:gd name="connsiteX29" fmla="*/ 1269 w 10000"/>
                <a:gd name="connsiteY29" fmla="*/ 8955 h 10000"/>
                <a:gd name="connsiteX30" fmla="*/ 1142 w 10000"/>
                <a:gd name="connsiteY30" fmla="*/ 8983 h 10000"/>
                <a:gd name="connsiteX31" fmla="*/ 1004 w 10000"/>
                <a:gd name="connsiteY31" fmla="*/ 8965 h 10000"/>
                <a:gd name="connsiteX32" fmla="*/ 962 w 10000"/>
                <a:gd name="connsiteY32" fmla="*/ 8996 h 10000"/>
                <a:gd name="connsiteX33" fmla="*/ 1067 w 10000"/>
                <a:gd name="connsiteY33" fmla="*/ 9158 h 10000"/>
                <a:gd name="connsiteX34" fmla="*/ 920 w 10000"/>
                <a:gd name="connsiteY34" fmla="*/ 9144 h 10000"/>
                <a:gd name="connsiteX35" fmla="*/ 795 w 10000"/>
                <a:gd name="connsiteY35" fmla="*/ 9105 h 10000"/>
                <a:gd name="connsiteX36" fmla="*/ 772 w 10000"/>
                <a:gd name="connsiteY36" fmla="*/ 9165 h 10000"/>
                <a:gd name="connsiteX37" fmla="*/ 1188 w 10000"/>
                <a:gd name="connsiteY37" fmla="*/ 9718 h 10000"/>
                <a:gd name="connsiteX38" fmla="*/ 1122 w 10000"/>
                <a:gd name="connsiteY38" fmla="*/ 9770 h 10000"/>
                <a:gd name="connsiteX39" fmla="*/ 1075 w 10000"/>
                <a:gd name="connsiteY39" fmla="*/ 9876 h 10000"/>
                <a:gd name="connsiteX40" fmla="*/ 1015 w 10000"/>
                <a:gd name="connsiteY40" fmla="*/ 9885 h 10000"/>
                <a:gd name="connsiteX41" fmla="*/ 978 w 10000"/>
                <a:gd name="connsiteY41" fmla="*/ 9931 h 10000"/>
                <a:gd name="connsiteX42" fmla="*/ 1229 w 10000"/>
                <a:gd name="connsiteY42" fmla="*/ 9936 h 10000"/>
                <a:gd name="connsiteX43" fmla="*/ 1451 w 10000"/>
                <a:gd name="connsiteY43" fmla="*/ 9982 h 10000"/>
                <a:gd name="connsiteX44" fmla="*/ 1820 w 10000"/>
                <a:gd name="connsiteY44" fmla="*/ 9933 h 10000"/>
                <a:gd name="connsiteX45" fmla="*/ 2151 w 10000"/>
                <a:gd name="connsiteY45" fmla="*/ 9941 h 10000"/>
                <a:gd name="connsiteX46" fmla="*/ 2346 w 10000"/>
                <a:gd name="connsiteY46" fmla="*/ 10000 h 10000"/>
                <a:gd name="connsiteX47" fmla="*/ 2454 w 10000"/>
                <a:gd name="connsiteY47" fmla="*/ 9961 h 10000"/>
                <a:gd name="connsiteX48" fmla="*/ 2557 w 10000"/>
                <a:gd name="connsiteY48" fmla="*/ 9834 h 10000"/>
                <a:gd name="connsiteX49" fmla="*/ 2530 w 10000"/>
                <a:gd name="connsiteY49" fmla="*/ 9625 h 10000"/>
                <a:gd name="connsiteX50" fmla="*/ 2782 w 10000"/>
                <a:gd name="connsiteY50" fmla="*/ 9392 h 10000"/>
                <a:gd name="connsiteX51" fmla="*/ 2966 w 10000"/>
                <a:gd name="connsiteY51" fmla="*/ 9428 h 10000"/>
                <a:gd name="connsiteX52" fmla="*/ 3073 w 10000"/>
                <a:gd name="connsiteY52" fmla="*/ 9335 h 10000"/>
                <a:gd name="connsiteX53" fmla="*/ 3278 w 10000"/>
                <a:gd name="connsiteY53" fmla="*/ 9282 h 10000"/>
                <a:gd name="connsiteX54" fmla="*/ 3557 w 10000"/>
                <a:gd name="connsiteY54" fmla="*/ 9295 h 10000"/>
                <a:gd name="connsiteX55" fmla="*/ 3724 w 10000"/>
                <a:gd name="connsiteY55" fmla="*/ 9332 h 10000"/>
                <a:gd name="connsiteX56" fmla="*/ 3948 w 10000"/>
                <a:gd name="connsiteY56" fmla="*/ 9315 h 10000"/>
                <a:gd name="connsiteX57" fmla="*/ 4173 w 10000"/>
                <a:gd name="connsiteY57" fmla="*/ 9356 h 10000"/>
                <a:gd name="connsiteX58" fmla="*/ 4398 w 10000"/>
                <a:gd name="connsiteY58" fmla="*/ 9361 h 10000"/>
                <a:gd name="connsiteX59" fmla="*/ 4902 w 10000"/>
                <a:gd name="connsiteY59" fmla="*/ 8817 h 10000"/>
                <a:gd name="connsiteX60" fmla="*/ 5030 w 10000"/>
                <a:gd name="connsiteY60" fmla="*/ 8375 h 10000"/>
                <a:gd name="connsiteX61" fmla="*/ 5235 w 10000"/>
                <a:gd name="connsiteY61" fmla="*/ 8177 h 10000"/>
                <a:gd name="connsiteX62" fmla="*/ 5235 w 10000"/>
                <a:gd name="connsiteY62" fmla="*/ 8073 h 10000"/>
                <a:gd name="connsiteX63" fmla="*/ 5160 w 10000"/>
                <a:gd name="connsiteY63" fmla="*/ 8015 h 10000"/>
                <a:gd name="connsiteX64" fmla="*/ 5281 w 10000"/>
                <a:gd name="connsiteY64" fmla="*/ 7922 h 10000"/>
                <a:gd name="connsiteX65" fmla="*/ 5259 w 10000"/>
                <a:gd name="connsiteY65" fmla="*/ 7844 h 10000"/>
                <a:gd name="connsiteX66" fmla="*/ 5177 w 10000"/>
                <a:gd name="connsiteY66" fmla="*/ 7776 h 10000"/>
                <a:gd name="connsiteX67" fmla="*/ 5160 w 10000"/>
                <a:gd name="connsiteY67" fmla="*/ 7728 h 10000"/>
                <a:gd name="connsiteX68" fmla="*/ 5181 w 10000"/>
                <a:gd name="connsiteY68" fmla="*/ 7691 h 10000"/>
                <a:gd name="connsiteX69" fmla="*/ 5292 w 10000"/>
                <a:gd name="connsiteY69" fmla="*/ 7721 h 10000"/>
                <a:gd name="connsiteX70" fmla="*/ 5381 w 10000"/>
                <a:gd name="connsiteY70" fmla="*/ 7719 h 10000"/>
                <a:gd name="connsiteX71" fmla="*/ 5333 w 10000"/>
                <a:gd name="connsiteY71" fmla="*/ 7655 h 10000"/>
                <a:gd name="connsiteX72" fmla="*/ 5348 w 10000"/>
                <a:gd name="connsiteY72" fmla="*/ 7619 h 10000"/>
                <a:gd name="connsiteX73" fmla="*/ 5414 w 10000"/>
                <a:gd name="connsiteY73" fmla="*/ 7565 h 10000"/>
                <a:gd name="connsiteX74" fmla="*/ 5401 w 10000"/>
                <a:gd name="connsiteY74" fmla="*/ 7521 h 10000"/>
                <a:gd name="connsiteX75" fmla="*/ 5462 w 10000"/>
                <a:gd name="connsiteY75" fmla="*/ 7373 h 10000"/>
                <a:gd name="connsiteX76" fmla="*/ 5445 w 10000"/>
                <a:gd name="connsiteY76" fmla="*/ 7327 h 10000"/>
                <a:gd name="connsiteX77" fmla="*/ 5140 w 10000"/>
                <a:gd name="connsiteY77" fmla="*/ 7216 h 10000"/>
                <a:gd name="connsiteX78" fmla="*/ 5181 w 10000"/>
                <a:gd name="connsiteY78" fmla="*/ 7211 h 10000"/>
                <a:gd name="connsiteX79" fmla="*/ 5344 w 10000"/>
                <a:gd name="connsiteY79" fmla="*/ 7241 h 10000"/>
                <a:gd name="connsiteX80" fmla="*/ 5520 w 10000"/>
                <a:gd name="connsiteY80" fmla="*/ 7230 h 10000"/>
                <a:gd name="connsiteX81" fmla="*/ 5571 w 10000"/>
                <a:gd name="connsiteY81" fmla="*/ 7189 h 10000"/>
                <a:gd name="connsiteX82" fmla="*/ 5401 w 10000"/>
                <a:gd name="connsiteY82" fmla="*/ 7113 h 10000"/>
                <a:gd name="connsiteX83" fmla="*/ 4898 w 10000"/>
                <a:gd name="connsiteY83" fmla="*/ 7062 h 10000"/>
                <a:gd name="connsiteX84" fmla="*/ 4932 w 10000"/>
                <a:gd name="connsiteY84" fmla="*/ 7039 h 10000"/>
                <a:gd name="connsiteX85" fmla="*/ 5344 w 10000"/>
                <a:gd name="connsiteY85" fmla="*/ 7023 h 10000"/>
                <a:gd name="connsiteX86" fmla="*/ 5571 w 10000"/>
                <a:gd name="connsiteY86" fmla="*/ 7069 h 10000"/>
                <a:gd name="connsiteX87" fmla="*/ 5702 w 10000"/>
                <a:gd name="connsiteY87" fmla="*/ 7039 h 10000"/>
                <a:gd name="connsiteX88" fmla="*/ 5750 w 10000"/>
                <a:gd name="connsiteY88" fmla="*/ 6959 h 10000"/>
                <a:gd name="connsiteX89" fmla="*/ 5987 w 10000"/>
                <a:gd name="connsiteY89" fmla="*/ 6959 h 10000"/>
                <a:gd name="connsiteX90" fmla="*/ 6308 w 10000"/>
                <a:gd name="connsiteY90" fmla="*/ 6799 h 10000"/>
                <a:gd name="connsiteX91" fmla="*/ 6319 w 10000"/>
                <a:gd name="connsiteY91" fmla="*/ 6693 h 10000"/>
                <a:gd name="connsiteX92" fmla="*/ 6455 w 10000"/>
                <a:gd name="connsiteY92" fmla="*/ 6718 h 10000"/>
                <a:gd name="connsiteX93" fmla="*/ 6449 w 10000"/>
                <a:gd name="connsiteY93" fmla="*/ 6824 h 10000"/>
                <a:gd name="connsiteX94" fmla="*/ 6665 w 10000"/>
                <a:gd name="connsiteY94" fmla="*/ 6817 h 10000"/>
                <a:gd name="connsiteX95" fmla="*/ 6807 w 10000"/>
                <a:gd name="connsiteY95" fmla="*/ 6707 h 10000"/>
                <a:gd name="connsiteX96" fmla="*/ 7070 w 10000"/>
                <a:gd name="connsiteY96" fmla="*/ 6607 h 10000"/>
                <a:gd name="connsiteX97" fmla="*/ 7029 w 10000"/>
                <a:gd name="connsiteY97" fmla="*/ 6493 h 10000"/>
                <a:gd name="connsiteX98" fmla="*/ 7107 w 10000"/>
                <a:gd name="connsiteY98" fmla="*/ 6538 h 10000"/>
                <a:gd name="connsiteX99" fmla="*/ 7227 w 10000"/>
                <a:gd name="connsiteY99" fmla="*/ 6538 h 10000"/>
                <a:gd name="connsiteX100" fmla="*/ 7227 w 10000"/>
                <a:gd name="connsiteY100" fmla="*/ 6486 h 10000"/>
                <a:gd name="connsiteX101" fmla="*/ 7340 w 10000"/>
                <a:gd name="connsiteY101" fmla="*/ 6446 h 10000"/>
                <a:gd name="connsiteX102" fmla="*/ 7324 w 10000"/>
                <a:gd name="connsiteY102" fmla="*/ 6405 h 10000"/>
                <a:gd name="connsiteX103" fmla="*/ 6377 w 10000"/>
                <a:gd name="connsiteY103" fmla="*/ 6488 h 10000"/>
                <a:gd name="connsiteX104" fmla="*/ 6155 w 10000"/>
                <a:gd name="connsiteY104" fmla="*/ 6463 h 10000"/>
                <a:gd name="connsiteX105" fmla="*/ 6065 w 10000"/>
                <a:gd name="connsiteY105" fmla="*/ 6493 h 10000"/>
                <a:gd name="connsiteX106" fmla="*/ 6035 w 10000"/>
                <a:gd name="connsiteY106" fmla="*/ 6436 h 10000"/>
                <a:gd name="connsiteX107" fmla="*/ 5930 w 10000"/>
                <a:gd name="connsiteY107" fmla="*/ 6384 h 10000"/>
                <a:gd name="connsiteX108" fmla="*/ 5508 w 10000"/>
                <a:gd name="connsiteY108" fmla="*/ 6282 h 10000"/>
                <a:gd name="connsiteX109" fmla="*/ 5259 w 10000"/>
                <a:gd name="connsiteY109" fmla="*/ 6298 h 10000"/>
                <a:gd name="connsiteX110" fmla="*/ 5160 w 10000"/>
                <a:gd name="connsiteY110" fmla="*/ 6270 h 10000"/>
                <a:gd name="connsiteX111" fmla="*/ 5265 w 10000"/>
                <a:gd name="connsiteY111" fmla="*/ 6245 h 10000"/>
                <a:gd name="connsiteX112" fmla="*/ 5344 w 10000"/>
                <a:gd name="connsiteY112" fmla="*/ 6190 h 10000"/>
                <a:gd name="connsiteX113" fmla="*/ 5462 w 10000"/>
                <a:gd name="connsiteY113" fmla="*/ 6208 h 10000"/>
                <a:gd name="connsiteX114" fmla="*/ 5602 w 10000"/>
                <a:gd name="connsiteY114" fmla="*/ 6193 h 10000"/>
                <a:gd name="connsiteX115" fmla="*/ 5813 w 10000"/>
                <a:gd name="connsiteY115" fmla="*/ 6211 h 10000"/>
                <a:gd name="connsiteX116" fmla="*/ 5838 w 10000"/>
                <a:gd name="connsiteY116" fmla="*/ 6204 h 10000"/>
                <a:gd name="connsiteX117" fmla="*/ 6002 w 10000"/>
                <a:gd name="connsiteY117" fmla="*/ 6287 h 10000"/>
                <a:gd name="connsiteX118" fmla="*/ 6122 w 10000"/>
                <a:gd name="connsiteY118" fmla="*/ 6257 h 10000"/>
                <a:gd name="connsiteX119" fmla="*/ 6133 w 10000"/>
                <a:gd name="connsiteY119" fmla="*/ 6229 h 10000"/>
                <a:gd name="connsiteX120" fmla="*/ 6244 w 10000"/>
                <a:gd name="connsiteY120" fmla="*/ 6278 h 10000"/>
                <a:gd name="connsiteX121" fmla="*/ 6391 w 10000"/>
                <a:gd name="connsiteY121" fmla="*/ 6304 h 10000"/>
                <a:gd name="connsiteX122" fmla="*/ 6449 w 10000"/>
                <a:gd name="connsiteY122" fmla="*/ 6255 h 10000"/>
                <a:gd name="connsiteX123" fmla="*/ 6496 w 10000"/>
                <a:gd name="connsiteY123" fmla="*/ 6282 h 10000"/>
                <a:gd name="connsiteX124" fmla="*/ 6565 w 10000"/>
                <a:gd name="connsiteY124" fmla="*/ 6377 h 10000"/>
                <a:gd name="connsiteX125" fmla="*/ 6707 w 10000"/>
                <a:gd name="connsiteY125" fmla="*/ 6399 h 10000"/>
                <a:gd name="connsiteX126" fmla="*/ 7286 w 10000"/>
                <a:gd name="connsiteY126" fmla="*/ 6259 h 10000"/>
                <a:gd name="connsiteX127" fmla="*/ 7571 w 10000"/>
                <a:gd name="connsiteY127" fmla="*/ 6064 h 10000"/>
                <a:gd name="connsiteX128" fmla="*/ 7637 w 10000"/>
                <a:gd name="connsiteY128" fmla="*/ 5921 h 10000"/>
                <a:gd name="connsiteX129" fmla="*/ 7534 w 10000"/>
                <a:gd name="connsiteY129" fmla="*/ 5792 h 10000"/>
                <a:gd name="connsiteX130" fmla="*/ 7318 w 10000"/>
                <a:gd name="connsiteY130" fmla="*/ 5715 h 10000"/>
                <a:gd name="connsiteX131" fmla="*/ 7164 w 10000"/>
                <a:gd name="connsiteY131" fmla="*/ 5589 h 10000"/>
                <a:gd name="connsiteX132" fmla="*/ 7307 w 10000"/>
                <a:gd name="connsiteY132" fmla="*/ 5584 h 10000"/>
                <a:gd name="connsiteX133" fmla="*/ 7297 w 10000"/>
                <a:gd name="connsiteY133" fmla="*/ 5554 h 10000"/>
                <a:gd name="connsiteX134" fmla="*/ 6925 w 10000"/>
                <a:gd name="connsiteY134" fmla="*/ 5465 h 10000"/>
                <a:gd name="connsiteX135" fmla="*/ 6909 w 10000"/>
                <a:gd name="connsiteY135" fmla="*/ 5383 h 10000"/>
                <a:gd name="connsiteX136" fmla="*/ 6837 w 10000"/>
                <a:gd name="connsiteY136" fmla="*/ 5299 h 10000"/>
                <a:gd name="connsiteX137" fmla="*/ 6543 w 10000"/>
                <a:gd name="connsiteY137" fmla="*/ 5314 h 10000"/>
                <a:gd name="connsiteX138" fmla="*/ 6438 w 10000"/>
                <a:gd name="connsiteY138" fmla="*/ 5224 h 10000"/>
                <a:gd name="connsiteX139" fmla="*/ 6377 w 10000"/>
                <a:gd name="connsiteY139" fmla="*/ 5219 h 10000"/>
                <a:gd name="connsiteX140" fmla="*/ 6377 w 10000"/>
                <a:gd name="connsiteY140" fmla="*/ 5256 h 10000"/>
                <a:gd name="connsiteX141" fmla="*/ 6244 w 10000"/>
                <a:gd name="connsiteY141" fmla="*/ 5408 h 10000"/>
                <a:gd name="connsiteX142" fmla="*/ 6101 w 10000"/>
                <a:gd name="connsiteY142" fmla="*/ 5498 h 10000"/>
                <a:gd name="connsiteX143" fmla="*/ 5653 w 10000"/>
                <a:gd name="connsiteY143" fmla="*/ 5651 h 10000"/>
                <a:gd name="connsiteX144" fmla="*/ 5496 w 10000"/>
                <a:gd name="connsiteY144" fmla="*/ 5646 h 10000"/>
                <a:gd name="connsiteX145" fmla="*/ 5281 w 10000"/>
                <a:gd name="connsiteY145" fmla="*/ 5669 h 10000"/>
                <a:gd name="connsiteX146" fmla="*/ 5160 w 10000"/>
                <a:gd name="connsiteY146" fmla="*/ 5646 h 10000"/>
                <a:gd name="connsiteX147" fmla="*/ 5318 w 10000"/>
                <a:gd name="connsiteY147" fmla="*/ 5604 h 10000"/>
                <a:gd name="connsiteX148" fmla="*/ 5524 w 10000"/>
                <a:gd name="connsiteY148" fmla="*/ 5584 h 10000"/>
                <a:gd name="connsiteX149" fmla="*/ 5693 w 10000"/>
                <a:gd name="connsiteY149" fmla="*/ 5513 h 10000"/>
                <a:gd name="connsiteX150" fmla="*/ 5859 w 10000"/>
                <a:gd name="connsiteY150" fmla="*/ 5480 h 10000"/>
                <a:gd name="connsiteX151" fmla="*/ 6171 w 10000"/>
                <a:gd name="connsiteY151" fmla="*/ 5355 h 10000"/>
                <a:gd name="connsiteX152" fmla="*/ 6230 w 10000"/>
                <a:gd name="connsiteY152" fmla="*/ 5274 h 10000"/>
                <a:gd name="connsiteX153" fmla="*/ 6235 w 10000"/>
                <a:gd name="connsiteY153" fmla="*/ 5168 h 10000"/>
                <a:gd name="connsiteX154" fmla="*/ 6092 w 10000"/>
                <a:gd name="connsiteY154" fmla="*/ 5150 h 10000"/>
                <a:gd name="connsiteX155" fmla="*/ 6155 w 10000"/>
                <a:gd name="connsiteY155" fmla="*/ 5086 h 10000"/>
                <a:gd name="connsiteX156" fmla="*/ 6175 w 10000"/>
                <a:gd name="connsiteY156" fmla="*/ 5005 h 10000"/>
                <a:gd name="connsiteX157" fmla="*/ 6115 w 10000"/>
                <a:gd name="connsiteY157" fmla="*/ 4928 h 10000"/>
                <a:gd name="connsiteX158" fmla="*/ 9310 w 10000"/>
                <a:gd name="connsiteY158" fmla="*/ 2263 h 10000"/>
                <a:gd name="connsiteX159" fmla="*/ 10000 w 10000"/>
                <a:gd name="connsiteY159" fmla="*/ 1832 h 10000"/>
                <a:gd name="connsiteX160" fmla="*/ 9652 w 10000"/>
                <a:gd name="connsiteY160" fmla="*/ 1699 h 10000"/>
                <a:gd name="connsiteX161" fmla="*/ 9147 w 10000"/>
                <a:gd name="connsiteY161" fmla="*/ 1773 h 10000"/>
                <a:gd name="connsiteX162" fmla="*/ 8784 w 10000"/>
                <a:gd name="connsiteY162" fmla="*/ 1639 h 10000"/>
                <a:gd name="connsiteX163" fmla="*/ 8850 w 10000"/>
                <a:gd name="connsiteY163" fmla="*/ 1480 h 10000"/>
                <a:gd name="connsiteX164" fmla="*/ 7497 w 10000"/>
                <a:gd name="connsiteY164" fmla="*/ 923 h 10000"/>
                <a:gd name="connsiteX165" fmla="*/ 7522 w 10000"/>
                <a:gd name="connsiteY165" fmla="*/ 649 h 10000"/>
                <a:gd name="connsiteX166" fmla="*/ 7012 w 10000"/>
                <a:gd name="connsiteY166" fmla="*/ 590 h 10000"/>
                <a:gd name="connsiteX167" fmla="*/ 6413 w 10000"/>
                <a:gd name="connsiteY167" fmla="*/ 332 h 10000"/>
                <a:gd name="connsiteX168" fmla="*/ 5098 w 10000"/>
                <a:gd name="connsiteY168" fmla="*/ 0 h 10000"/>
                <a:gd name="connsiteX169" fmla="*/ 4837 w 10000"/>
                <a:gd name="connsiteY169" fmla="*/ 82 h 10000"/>
                <a:gd name="connsiteX170" fmla="*/ 4671 w 10000"/>
                <a:gd name="connsiteY170" fmla="*/ 78 h 10000"/>
                <a:gd name="connsiteX171" fmla="*/ 4571 w 10000"/>
                <a:gd name="connsiteY171" fmla="*/ 107 h 10000"/>
                <a:gd name="connsiteX172" fmla="*/ 4298 w 10000"/>
                <a:gd name="connsiteY172" fmla="*/ 913 h 10000"/>
                <a:gd name="connsiteX173" fmla="*/ 3668 w 10000"/>
                <a:gd name="connsiteY173" fmla="*/ 1383 h 10000"/>
                <a:gd name="connsiteX174" fmla="*/ 3672 w 10000"/>
                <a:gd name="connsiteY174" fmla="*/ 1457 h 10000"/>
                <a:gd name="connsiteX175" fmla="*/ 3952 w 10000"/>
                <a:gd name="connsiteY175" fmla="*/ 1668 h 10000"/>
                <a:gd name="connsiteX176" fmla="*/ 3861 w 10000"/>
                <a:gd name="connsiteY176" fmla="*/ 1896 h 10000"/>
                <a:gd name="connsiteX177" fmla="*/ 3698 w 10000"/>
                <a:gd name="connsiteY177" fmla="*/ 1979 h 10000"/>
                <a:gd name="connsiteX178" fmla="*/ 3208 w 10000"/>
                <a:gd name="connsiteY178" fmla="*/ 1924 h 10000"/>
                <a:gd name="connsiteX179" fmla="*/ 2871 w 10000"/>
                <a:gd name="connsiteY179" fmla="*/ 1955 h 10000"/>
                <a:gd name="connsiteX180" fmla="*/ 2601 w 10000"/>
                <a:gd name="connsiteY180" fmla="*/ 2023 h 10000"/>
                <a:gd name="connsiteX181" fmla="*/ 2163 w 10000"/>
                <a:gd name="connsiteY181" fmla="*/ 2233 h 10000"/>
                <a:gd name="connsiteX182" fmla="*/ 1931 w 10000"/>
                <a:gd name="connsiteY182" fmla="*/ 2487 h 10000"/>
                <a:gd name="connsiteX183" fmla="*/ 1951 w 10000"/>
                <a:gd name="connsiteY183" fmla="*/ 2629 h 10000"/>
                <a:gd name="connsiteX184" fmla="*/ 2032 w 10000"/>
                <a:gd name="connsiteY184" fmla="*/ 2738 h 10000"/>
                <a:gd name="connsiteX185" fmla="*/ 2093 w 10000"/>
                <a:gd name="connsiteY185" fmla="*/ 2782 h 10000"/>
                <a:gd name="connsiteX186" fmla="*/ 1979 w 10000"/>
                <a:gd name="connsiteY186" fmla="*/ 2852 h 10000"/>
                <a:gd name="connsiteX187" fmla="*/ 1731 w 10000"/>
                <a:gd name="connsiteY187" fmla="*/ 3330 h 10000"/>
                <a:gd name="connsiteX188" fmla="*/ 1779 w 10000"/>
                <a:gd name="connsiteY188" fmla="*/ 3358 h 10000"/>
                <a:gd name="connsiteX189" fmla="*/ 1815 w 10000"/>
                <a:gd name="connsiteY189" fmla="*/ 3479 h 10000"/>
                <a:gd name="connsiteX190" fmla="*/ 1700 w 10000"/>
                <a:gd name="connsiteY190" fmla="*/ 3982 h 10000"/>
                <a:gd name="connsiteX191" fmla="*/ 1815 w 10000"/>
                <a:gd name="connsiteY191" fmla="*/ 4110 h 10000"/>
                <a:gd name="connsiteX192" fmla="*/ 2131 w 10000"/>
                <a:gd name="connsiteY192" fmla="*/ 4251 h 10000"/>
                <a:gd name="connsiteX193" fmla="*/ 2145 w 10000"/>
                <a:gd name="connsiteY193" fmla="*/ 4423 h 10000"/>
                <a:gd name="connsiteX194" fmla="*/ 2010 w 10000"/>
                <a:gd name="connsiteY194" fmla="*/ 4566 h 10000"/>
                <a:gd name="connsiteX195" fmla="*/ 1815 w 10000"/>
                <a:gd name="connsiteY195" fmla="*/ 4652 h 10000"/>
                <a:gd name="connsiteX196" fmla="*/ 1557 w 10000"/>
                <a:gd name="connsiteY196" fmla="*/ 4687 h 10000"/>
                <a:gd name="connsiteX197" fmla="*/ 1490 w 10000"/>
                <a:gd name="connsiteY197" fmla="*/ 4737 h 10000"/>
                <a:gd name="connsiteX198" fmla="*/ 1640 w 10000"/>
                <a:gd name="connsiteY198" fmla="*/ 4855 h 10000"/>
                <a:gd name="connsiteX199" fmla="*/ 1726 w 10000"/>
                <a:gd name="connsiteY199" fmla="*/ 5136 h 10000"/>
                <a:gd name="connsiteX200" fmla="*/ 1531 w 10000"/>
                <a:gd name="connsiteY200" fmla="*/ 5376 h 10000"/>
                <a:gd name="connsiteX201" fmla="*/ 1599 w 10000"/>
                <a:gd name="connsiteY201" fmla="*/ 5451 h 10000"/>
                <a:gd name="connsiteX202" fmla="*/ 1537 w 10000"/>
                <a:gd name="connsiteY202" fmla="*/ 5577 h 10000"/>
                <a:gd name="connsiteX203" fmla="*/ 1412 w 10000"/>
                <a:gd name="connsiteY203" fmla="*/ 5663 h 10000"/>
                <a:gd name="connsiteX204" fmla="*/ 915 w 10000"/>
                <a:gd name="connsiteY204" fmla="*/ 5730 h 10000"/>
                <a:gd name="connsiteX205" fmla="*/ 885 w 10000"/>
                <a:gd name="connsiteY205" fmla="*/ 5846 h 10000"/>
                <a:gd name="connsiteX206" fmla="*/ 617 w 10000"/>
                <a:gd name="connsiteY206" fmla="*/ 6019 h 10000"/>
                <a:gd name="connsiteX207" fmla="*/ 652 w 10000"/>
                <a:gd name="connsiteY207" fmla="*/ 6268 h 10000"/>
                <a:gd name="connsiteX208" fmla="*/ 427 w 10000"/>
                <a:gd name="connsiteY208" fmla="*/ 6587 h 10000"/>
                <a:gd name="connsiteX209" fmla="*/ 274 w 10000"/>
                <a:gd name="connsiteY209" fmla="*/ 6624 h 10000"/>
                <a:gd name="connsiteX210" fmla="*/ 210 w 10000"/>
                <a:gd name="connsiteY210" fmla="*/ 6548 h 10000"/>
                <a:gd name="connsiteX211" fmla="*/ 132 w 10000"/>
                <a:gd name="connsiteY211" fmla="*/ 6663 h 10000"/>
                <a:gd name="connsiteX212" fmla="*/ 183 w 10000"/>
                <a:gd name="connsiteY212" fmla="*/ 6465 h 10000"/>
                <a:gd name="connsiteX213" fmla="*/ 151 w 10000"/>
                <a:gd name="connsiteY213" fmla="*/ 6427 h 10000"/>
                <a:gd name="connsiteX0" fmla="*/ 151 w 9714"/>
                <a:gd name="connsiteY0" fmla="*/ 6427 h 10000"/>
                <a:gd name="connsiteX1" fmla="*/ 0 w 9714"/>
                <a:gd name="connsiteY1" fmla="*/ 6530 h 10000"/>
                <a:gd name="connsiteX2" fmla="*/ 0 w 9714"/>
                <a:gd name="connsiteY2" fmla="*/ 7039 h 10000"/>
                <a:gd name="connsiteX3" fmla="*/ 83 w 9714"/>
                <a:gd name="connsiteY3" fmla="*/ 7053 h 10000"/>
                <a:gd name="connsiteX4" fmla="*/ 103 w 9714"/>
                <a:gd name="connsiteY4" fmla="*/ 7092 h 10000"/>
                <a:gd name="connsiteX5" fmla="*/ 99 w 9714"/>
                <a:gd name="connsiteY5" fmla="*/ 7161 h 10000"/>
                <a:gd name="connsiteX6" fmla="*/ 68 w 9714"/>
                <a:gd name="connsiteY6" fmla="*/ 7192 h 10000"/>
                <a:gd name="connsiteX7" fmla="*/ 195 w 9714"/>
                <a:gd name="connsiteY7" fmla="*/ 7133 h 10000"/>
                <a:gd name="connsiteX8" fmla="*/ 249 w 9714"/>
                <a:gd name="connsiteY8" fmla="*/ 7075 h 10000"/>
                <a:gd name="connsiteX9" fmla="*/ 315 w 9714"/>
                <a:gd name="connsiteY9" fmla="*/ 7115 h 10000"/>
                <a:gd name="connsiteX10" fmla="*/ 242 w 9714"/>
                <a:gd name="connsiteY10" fmla="*/ 7198 h 10000"/>
                <a:gd name="connsiteX11" fmla="*/ 320 w 9714"/>
                <a:gd name="connsiteY11" fmla="*/ 7200 h 10000"/>
                <a:gd name="connsiteX12" fmla="*/ 358 w 9714"/>
                <a:gd name="connsiteY12" fmla="*/ 7221 h 10000"/>
                <a:gd name="connsiteX13" fmla="*/ 257 w 9714"/>
                <a:gd name="connsiteY13" fmla="*/ 7248 h 10000"/>
                <a:gd name="connsiteX14" fmla="*/ 99 w 9714"/>
                <a:gd name="connsiteY14" fmla="*/ 7333 h 10000"/>
                <a:gd name="connsiteX15" fmla="*/ 381 w 9714"/>
                <a:gd name="connsiteY15" fmla="*/ 7400 h 10000"/>
                <a:gd name="connsiteX16" fmla="*/ 416 w 9714"/>
                <a:gd name="connsiteY16" fmla="*/ 7496 h 10000"/>
                <a:gd name="connsiteX17" fmla="*/ 320 w 9714"/>
                <a:gd name="connsiteY17" fmla="*/ 7636 h 10000"/>
                <a:gd name="connsiteX18" fmla="*/ 526 w 9714"/>
                <a:gd name="connsiteY18" fmla="*/ 7627 h 10000"/>
                <a:gd name="connsiteX19" fmla="*/ 541 w 9714"/>
                <a:gd name="connsiteY19" fmla="*/ 7733 h 10000"/>
                <a:gd name="connsiteX20" fmla="*/ 404 w 9714"/>
                <a:gd name="connsiteY20" fmla="*/ 7805 h 10000"/>
                <a:gd name="connsiteX21" fmla="*/ 427 w 9714"/>
                <a:gd name="connsiteY21" fmla="*/ 7945 h 10000"/>
                <a:gd name="connsiteX22" fmla="*/ 374 w 9714"/>
                <a:gd name="connsiteY22" fmla="*/ 8053 h 10000"/>
                <a:gd name="connsiteX23" fmla="*/ 536 w 9714"/>
                <a:gd name="connsiteY23" fmla="*/ 8063 h 10000"/>
                <a:gd name="connsiteX24" fmla="*/ 695 w 9714"/>
                <a:gd name="connsiteY24" fmla="*/ 8478 h 10000"/>
                <a:gd name="connsiteX25" fmla="*/ 878 w 9714"/>
                <a:gd name="connsiteY25" fmla="*/ 8583 h 10000"/>
                <a:gd name="connsiteX26" fmla="*/ 958 w 9714"/>
                <a:gd name="connsiteY26" fmla="*/ 8695 h 10000"/>
                <a:gd name="connsiteX27" fmla="*/ 1157 w 9714"/>
                <a:gd name="connsiteY27" fmla="*/ 8776 h 10000"/>
                <a:gd name="connsiteX28" fmla="*/ 1285 w 9714"/>
                <a:gd name="connsiteY28" fmla="*/ 8881 h 10000"/>
                <a:gd name="connsiteX29" fmla="*/ 1269 w 9714"/>
                <a:gd name="connsiteY29" fmla="*/ 8955 h 10000"/>
                <a:gd name="connsiteX30" fmla="*/ 1142 w 9714"/>
                <a:gd name="connsiteY30" fmla="*/ 8983 h 10000"/>
                <a:gd name="connsiteX31" fmla="*/ 1004 w 9714"/>
                <a:gd name="connsiteY31" fmla="*/ 8965 h 10000"/>
                <a:gd name="connsiteX32" fmla="*/ 962 w 9714"/>
                <a:gd name="connsiteY32" fmla="*/ 8996 h 10000"/>
                <a:gd name="connsiteX33" fmla="*/ 1067 w 9714"/>
                <a:gd name="connsiteY33" fmla="*/ 9158 h 10000"/>
                <a:gd name="connsiteX34" fmla="*/ 920 w 9714"/>
                <a:gd name="connsiteY34" fmla="*/ 9144 h 10000"/>
                <a:gd name="connsiteX35" fmla="*/ 795 w 9714"/>
                <a:gd name="connsiteY35" fmla="*/ 9105 h 10000"/>
                <a:gd name="connsiteX36" fmla="*/ 772 w 9714"/>
                <a:gd name="connsiteY36" fmla="*/ 9165 h 10000"/>
                <a:gd name="connsiteX37" fmla="*/ 1188 w 9714"/>
                <a:gd name="connsiteY37" fmla="*/ 9718 h 10000"/>
                <a:gd name="connsiteX38" fmla="*/ 1122 w 9714"/>
                <a:gd name="connsiteY38" fmla="*/ 9770 h 10000"/>
                <a:gd name="connsiteX39" fmla="*/ 1075 w 9714"/>
                <a:gd name="connsiteY39" fmla="*/ 9876 h 10000"/>
                <a:gd name="connsiteX40" fmla="*/ 1015 w 9714"/>
                <a:gd name="connsiteY40" fmla="*/ 9885 h 10000"/>
                <a:gd name="connsiteX41" fmla="*/ 978 w 9714"/>
                <a:gd name="connsiteY41" fmla="*/ 9931 h 10000"/>
                <a:gd name="connsiteX42" fmla="*/ 1229 w 9714"/>
                <a:gd name="connsiteY42" fmla="*/ 9936 h 10000"/>
                <a:gd name="connsiteX43" fmla="*/ 1451 w 9714"/>
                <a:gd name="connsiteY43" fmla="*/ 9982 h 10000"/>
                <a:gd name="connsiteX44" fmla="*/ 1820 w 9714"/>
                <a:gd name="connsiteY44" fmla="*/ 9933 h 10000"/>
                <a:gd name="connsiteX45" fmla="*/ 2151 w 9714"/>
                <a:gd name="connsiteY45" fmla="*/ 9941 h 10000"/>
                <a:gd name="connsiteX46" fmla="*/ 2346 w 9714"/>
                <a:gd name="connsiteY46" fmla="*/ 10000 h 10000"/>
                <a:gd name="connsiteX47" fmla="*/ 2454 w 9714"/>
                <a:gd name="connsiteY47" fmla="*/ 9961 h 10000"/>
                <a:gd name="connsiteX48" fmla="*/ 2557 w 9714"/>
                <a:gd name="connsiteY48" fmla="*/ 9834 h 10000"/>
                <a:gd name="connsiteX49" fmla="*/ 2530 w 9714"/>
                <a:gd name="connsiteY49" fmla="*/ 9625 h 10000"/>
                <a:gd name="connsiteX50" fmla="*/ 2782 w 9714"/>
                <a:gd name="connsiteY50" fmla="*/ 9392 h 10000"/>
                <a:gd name="connsiteX51" fmla="*/ 2966 w 9714"/>
                <a:gd name="connsiteY51" fmla="*/ 9428 h 10000"/>
                <a:gd name="connsiteX52" fmla="*/ 3073 w 9714"/>
                <a:gd name="connsiteY52" fmla="*/ 9335 h 10000"/>
                <a:gd name="connsiteX53" fmla="*/ 3278 w 9714"/>
                <a:gd name="connsiteY53" fmla="*/ 9282 h 10000"/>
                <a:gd name="connsiteX54" fmla="*/ 3557 w 9714"/>
                <a:gd name="connsiteY54" fmla="*/ 9295 h 10000"/>
                <a:gd name="connsiteX55" fmla="*/ 3724 w 9714"/>
                <a:gd name="connsiteY55" fmla="*/ 9332 h 10000"/>
                <a:gd name="connsiteX56" fmla="*/ 3948 w 9714"/>
                <a:gd name="connsiteY56" fmla="*/ 9315 h 10000"/>
                <a:gd name="connsiteX57" fmla="*/ 4173 w 9714"/>
                <a:gd name="connsiteY57" fmla="*/ 9356 h 10000"/>
                <a:gd name="connsiteX58" fmla="*/ 4398 w 9714"/>
                <a:gd name="connsiteY58" fmla="*/ 9361 h 10000"/>
                <a:gd name="connsiteX59" fmla="*/ 4902 w 9714"/>
                <a:gd name="connsiteY59" fmla="*/ 8817 h 10000"/>
                <a:gd name="connsiteX60" fmla="*/ 5030 w 9714"/>
                <a:gd name="connsiteY60" fmla="*/ 8375 h 10000"/>
                <a:gd name="connsiteX61" fmla="*/ 5235 w 9714"/>
                <a:gd name="connsiteY61" fmla="*/ 8177 h 10000"/>
                <a:gd name="connsiteX62" fmla="*/ 5235 w 9714"/>
                <a:gd name="connsiteY62" fmla="*/ 8073 h 10000"/>
                <a:gd name="connsiteX63" fmla="*/ 5160 w 9714"/>
                <a:gd name="connsiteY63" fmla="*/ 8015 h 10000"/>
                <a:gd name="connsiteX64" fmla="*/ 5281 w 9714"/>
                <a:gd name="connsiteY64" fmla="*/ 7922 h 10000"/>
                <a:gd name="connsiteX65" fmla="*/ 5259 w 9714"/>
                <a:gd name="connsiteY65" fmla="*/ 7844 h 10000"/>
                <a:gd name="connsiteX66" fmla="*/ 5177 w 9714"/>
                <a:gd name="connsiteY66" fmla="*/ 7776 h 10000"/>
                <a:gd name="connsiteX67" fmla="*/ 5160 w 9714"/>
                <a:gd name="connsiteY67" fmla="*/ 7728 h 10000"/>
                <a:gd name="connsiteX68" fmla="*/ 5181 w 9714"/>
                <a:gd name="connsiteY68" fmla="*/ 7691 h 10000"/>
                <a:gd name="connsiteX69" fmla="*/ 5292 w 9714"/>
                <a:gd name="connsiteY69" fmla="*/ 7721 h 10000"/>
                <a:gd name="connsiteX70" fmla="*/ 5381 w 9714"/>
                <a:gd name="connsiteY70" fmla="*/ 7719 h 10000"/>
                <a:gd name="connsiteX71" fmla="*/ 5333 w 9714"/>
                <a:gd name="connsiteY71" fmla="*/ 7655 h 10000"/>
                <a:gd name="connsiteX72" fmla="*/ 5348 w 9714"/>
                <a:gd name="connsiteY72" fmla="*/ 7619 h 10000"/>
                <a:gd name="connsiteX73" fmla="*/ 5414 w 9714"/>
                <a:gd name="connsiteY73" fmla="*/ 7565 h 10000"/>
                <a:gd name="connsiteX74" fmla="*/ 5401 w 9714"/>
                <a:gd name="connsiteY74" fmla="*/ 7521 h 10000"/>
                <a:gd name="connsiteX75" fmla="*/ 5462 w 9714"/>
                <a:gd name="connsiteY75" fmla="*/ 7373 h 10000"/>
                <a:gd name="connsiteX76" fmla="*/ 5445 w 9714"/>
                <a:gd name="connsiteY76" fmla="*/ 7327 h 10000"/>
                <a:gd name="connsiteX77" fmla="*/ 5140 w 9714"/>
                <a:gd name="connsiteY77" fmla="*/ 7216 h 10000"/>
                <a:gd name="connsiteX78" fmla="*/ 5181 w 9714"/>
                <a:gd name="connsiteY78" fmla="*/ 7211 h 10000"/>
                <a:gd name="connsiteX79" fmla="*/ 5344 w 9714"/>
                <a:gd name="connsiteY79" fmla="*/ 7241 h 10000"/>
                <a:gd name="connsiteX80" fmla="*/ 5520 w 9714"/>
                <a:gd name="connsiteY80" fmla="*/ 7230 h 10000"/>
                <a:gd name="connsiteX81" fmla="*/ 5571 w 9714"/>
                <a:gd name="connsiteY81" fmla="*/ 7189 h 10000"/>
                <a:gd name="connsiteX82" fmla="*/ 5401 w 9714"/>
                <a:gd name="connsiteY82" fmla="*/ 7113 h 10000"/>
                <a:gd name="connsiteX83" fmla="*/ 4898 w 9714"/>
                <a:gd name="connsiteY83" fmla="*/ 7062 h 10000"/>
                <a:gd name="connsiteX84" fmla="*/ 4932 w 9714"/>
                <a:gd name="connsiteY84" fmla="*/ 7039 h 10000"/>
                <a:gd name="connsiteX85" fmla="*/ 5344 w 9714"/>
                <a:gd name="connsiteY85" fmla="*/ 7023 h 10000"/>
                <a:gd name="connsiteX86" fmla="*/ 5571 w 9714"/>
                <a:gd name="connsiteY86" fmla="*/ 7069 h 10000"/>
                <a:gd name="connsiteX87" fmla="*/ 5702 w 9714"/>
                <a:gd name="connsiteY87" fmla="*/ 7039 h 10000"/>
                <a:gd name="connsiteX88" fmla="*/ 5750 w 9714"/>
                <a:gd name="connsiteY88" fmla="*/ 6959 h 10000"/>
                <a:gd name="connsiteX89" fmla="*/ 5987 w 9714"/>
                <a:gd name="connsiteY89" fmla="*/ 6959 h 10000"/>
                <a:gd name="connsiteX90" fmla="*/ 6308 w 9714"/>
                <a:gd name="connsiteY90" fmla="*/ 6799 h 10000"/>
                <a:gd name="connsiteX91" fmla="*/ 6319 w 9714"/>
                <a:gd name="connsiteY91" fmla="*/ 6693 h 10000"/>
                <a:gd name="connsiteX92" fmla="*/ 6455 w 9714"/>
                <a:gd name="connsiteY92" fmla="*/ 6718 h 10000"/>
                <a:gd name="connsiteX93" fmla="*/ 6449 w 9714"/>
                <a:gd name="connsiteY93" fmla="*/ 6824 h 10000"/>
                <a:gd name="connsiteX94" fmla="*/ 6665 w 9714"/>
                <a:gd name="connsiteY94" fmla="*/ 6817 h 10000"/>
                <a:gd name="connsiteX95" fmla="*/ 6807 w 9714"/>
                <a:gd name="connsiteY95" fmla="*/ 6707 h 10000"/>
                <a:gd name="connsiteX96" fmla="*/ 7070 w 9714"/>
                <a:gd name="connsiteY96" fmla="*/ 6607 h 10000"/>
                <a:gd name="connsiteX97" fmla="*/ 7029 w 9714"/>
                <a:gd name="connsiteY97" fmla="*/ 6493 h 10000"/>
                <a:gd name="connsiteX98" fmla="*/ 7107 w 9714"/>
                <a:gd name="connsiteY98" fmla="*/ 6538 h 10000"/>
                <a:gd name="connsiteX99" fmla="*/ 7227 w 9714"/>
                <a:gd name="connsiteY99" fmla="*/ 6538 h 10000"/>
                <a:gd name="connsiteX100" fmla="*/ 7227 w 9714"/>
                <a:gd name="connsiteY100" fmla="*/ 6486 h 10000"/>
                <a:gd name="connsiteX101" fmla="*/ 7340 w 9714"/>
                <a:gd name="connsiteY101" fmla="*/ 6446 h 10000"/>
                <a:gd name="connsiteX102" fmla="*/ 7324 w 9714"/>
                <a:gd name="connsiteY102" fmla="*/ 6405 h 10000"/>
                <a:gd name="connsiteX103" fmla="*/ 6377 w 9714"/>
                <a:gd name="connsiteY103" fmla="*/ 6488 h 10000"/>
                <a:gd name="connsiteX104" fmla="*/ 6155 w 9714"/>
                <a:gd name="connsiteY104" fmla="*/ 6463 h 10000"/>
                <a:gd name="connsiteX105" fmla="*/ 6065 w 9714"/>
                <a:gd name="connsiteY105" fmla="*/ 6493 h 10000"/>
                <a:gd name="connsiteX106" fmla="*/ 6035 w 9714"/>
                <a:gd name="connsiteY106" fmla="*/ 6436 h 10000"/>
                <a:gd name="connsiteX107" fmla="*/ 5930 w 9714"/>
                <a:gd name="connsiteY107" fmla="*/ 6384 h 10000"/>
                <a:gd name="connsiteX108" fmla="*/ 5508 w 9714"/>
                <a:gd name="connsiteY108" fmla="*/ 6282 h 10000"/>
                <a:gd name="connsiteX109" fmla="*/ 5259 w 9714"/>
                <a:gd name="connsiteY109" fmla="*/ 6298 h 10000"/>
                <a:gd name="connsiteX110" fmla="*/ 5160 w 9714"/>
                <a:gd name="connsiteY110" fmla="*/ 6270 h 10000"/>
                <a:gd name="connsiteX111" fmla="*/ 5265 w 9714"/>
                <a:gd name="connsiteY111" fmla="*/ 6245 h 10000"/>
                <a:gd name="connsiteX112" fmla="*/ 5344 w 9714"/>
                <a:gd name="connsiteY112" fmla="*/ 6190 h 10000"/>
                <a:gd name="connsiteX113" fmla="*/ 5462 w 9714"/>
                <a:gd name="connsiteY113" fmla="*/ 6208 h 10000"/>
                <a:gd name="connsiteX114" fmla="*/ 5602 w 9714"/>
                <a:gd name="connsiteY114" fmla="*/ 6193 h 10000"/>
                <a:gd name="connsiteX115" fmla="*/ 5813 w 9714"/>
                <a:gd name="connsiteY115" fmla="*/ 6211 h 10000"/>
                <a:gd name="connsiteX116" fmla="*/ 5838 w 9714"/>
                <a:gd name="connsiteY116" fmla="*/ 6204 h 10000"/>
                <a:gd name="connsiteX117" fmla="*/ 6002 w 9714"/>
                <a:gd name="connsiteY117" fmla="*/ 6287 h 10000"/>
                <a:gd name="connsiteX118" fmla="*/ 6122 w 9714"/>
                <a:gd name="connsiteY118" fmla="*/ 6257 h 10000"/>
                <a:gd name="connsiteX119" fmla="*/ 6133 w 9714"/>
                <a:gd name="connsiteY119" fmla="*/ 6229 h 10000"/>
                <a:gd name="connsiteX120" fmla="*/ 6244 w 9714"/>
                <a:gd name="connsiteY120" fmla="*/ 6278 h 10000"/>
                <a:gd name="connsiteX121" fmla="*/ 6391 w 9714"/>
                <a:gd name="connsiteY121" fmla="*/ 6304 h 10000"/>
                <a:gd name="connsiteX122" fmla="*/ 6449 w 9714"/>
                <a:gd name="connsiteY122" fmla="*/ 6255 h 10000"/>
                <a:gd name="connsiteX123" fmla="*/ 6496 w 9714"/>
                <a:gd name="connsiteY123" fmla="*/ 6282 h 10000"/>
                <a:gd name="connsiteX124" fmla="*/ 6565 w 9714"/>
                <a:gd name="connsiteY124" fmla="*/ 6377 h 10000"/>
                <a:gd name="connsiteX125" fmla="*/ 6707 w 9714"/>
                <a:gd name="connsiteY125" fmla="*/ 6399 h 10000"/>
                <a:gd name="connsiteX126" fmla="*/ 7286 w 9714"/>
                <a:gd name="connsiteY126" fmla="*/ 6259 h 10000"/>
                <a:gd name="connsiteX127" fmla="*/ 7571 w 9714"/>
                <a:gd name="connsiteY127" fmla="*/ 6064 h 10000"/>
                <a:gd name="connsiteX128" fmla="*/ 7637 w 9714"/>
                <a:gd name="connsiteY128" fmla="*/ 5921 h 10000"/>
                <a:gd name="connsiteX129" fmla="*/ 7534 w 9714"/>
                <a:gd name="connsiteY129" fmla="*/ 5792 h 10000"/>
                <a:gd name="connsiteX130" fmla="*/ 7318 w 9714"/>
                <a:gd name="connsiteY130" fmla="*/ 5715 h 10000"/>
                <a:gd name="connsiteX131" fmla="*/ 7164 w 9714"/>
                <a:gd name="connsiteY131" fmla="*/ 5589 h 10000"/>
                <a:gd name="connsiteX132" fmla="*/ 7307 w 9714"/>
                <a:gd name="connsiteY132" fmla="*/ 5584 h 10000"/>
                <a:gd name="connsiteX133" fmla="*/ 7297 w 9714"/>
                <a:gd name="connsiteY133" fmla="*/ 5554 h 10000"/>
                <a:gd name="connsiteX134" fmla="*/ 6925 w 9714"/>
                <a:gd name="connsiteY134" fmla="*/ 5465 h 10000"/>
                <a:gd name="connsiteX135" fmla="*/ 6909 w 9714"/>
                <a:gd name="connsiteY135" fmla="*/ 5383 h 10000"/>
                <a:gd name="connsiteX136" fmla="*/ 6837 w 9714"/>
                <a:gd name="connsiteY136" fmla="*/ 5299 h 10000"/>
                <a:gd name="connsiteX137" fmla="*/ 6543 w 9714"/>
                <a:gd name="connsiteY137" fmla="*/ 5314 h 10000"/>
                <a:gd name="connsiteX138" fmla="*/ 6438 w 9714"/>
                <a:gd name="connsiteY138" fmla="*/ 5224 h 10000"/>
                <a:gd name="connsiteX139" fmla="*/ 6377 w 9714"/>
                <a:gd name="connsiteY139" fmla="*/ 5219 h 10000"/>
                <a:gd name="connsiteX140" fmla="*/ 6377 w 9714"/>
                <a:gd name="connsiteY140" fmla="*/ 5256 h 10000"/>
                <a:gd name="connsiteX141" fmla="*/ 6244 w 9714"/>
                <a:gd name="connsiteY141" fmla="*/ 5408 h 10000"/>
                <a:gd name="connsiteX142" fmla="*/ 6101 w 9714"/>
                <a:gd name="connsiteY142" fmla="*/ 5498 h 10000"/>
                <a:gd name="connsiteX143" fmla="*/ 5653 w 9714"/>
                <a:gd name="connsiteY143" fmla="*/ 5651 h 10000"/>
                <a:gd name="connsiteX144" fmla="*/ 5496 w 9714"/>
                <a:gd name="connsiteY144" fmla="*/ 5646 h 10000"/>
                <a:gd name="connsiteX145" fmla="*/ 5281 w 9714"/>
                <a:gd name="connsiteY145" fmla="*/ 5669 h 10000"/>
                <a:gd name="connsiteX146" fmla="*/ 5160 w 9714"/>
                <a:gd name="connsiteY146" fmla="*/ 5646 h 10000"/>
                <a:gd name="connsiteX147" fmla="*/ 5318 w 9714"/>
                <a:gd name="connsiteY147" fmla="*/ 5604 h 10000"/>
                <a:gd name="connsiteX148" fmla="*/ 5524 w 9714"/>
                <a:gd name="connsiteY148" fmla="*/ 5584 h 10000"/>
                <a:gd name="connsiteX149" fmla="*/ 5693 w 9714"/>
                <a:gd name="connsiteY149" fmla="*/ 5513 h 10000"/>
                <a:gd name="connsiteX150" fmla="*/ 5859 w 9714"/>
                <a:gd name="connsiteY150" fmla="*/ 5480 h 10000"/>
                <a:gd name="connsiteX151" fmla="*/ 6171 w 9714"/>
                <a:gd name="connsiteY151" fmla="*/ 5355 h 10000"/>
                <a:gd name="connsiteX152" fmla="*/ 6230 w 9714"/>
                <a:gd name="connsiteY152" fmla="*/ 5274 h 10000"/>
                <a:gd name="connsiteX153" fmla="*/ 6235 w 9714"/>
                <a:gd name="connsiteY153" fmla="*/ 5168 h 10000"/>
                <a:gd name="connsiteX154" fmla="*/ 6092 w 9714"/>
                <a:gd name="connsiteY154" fmla="*/ 5150 h 10000"/>
                <a:gd name="connsiteX155" fmla="*/ 6155 w 9714"/>
                <a:gd name="connsiteY155" fmla="*/ 5086 h 10000"/>
                <a:gd name="connsiteX156" fmla="*/ 6175 w 9714"/>
                <a:gd name="connsiteY156" fmla="*/ 5005 h 10000"/>
                <a:gd name="connsiteX157" fmla="*/ 6115 w 9714"/>
                <a:gd name="connsiteY157" fmla="*/ 4928 h 10000"/>
                <a:gd name="connsiteX158" fmla="*/ 9310 w 9714"/>
                <a:gd name="connsiteY158" fmla="*/ 2263 h 10000"/>
                <a:gd name="connsiteX159" fmla="*/ 9652 w 9714"/>
                <a:gd name="connsiteY159" fmla="*/ 1699 h 10000"/>
                <a:gd name="connsiteX160" fmla="*/ 9147 w 9714"/>
                <a:gd name="connsiteY160" fmla="*/ 1773 h 10000"/>
                <a:gd name="connsiteX161" fmla="*/ 8784 w 9714"/>
                <a:gd name="connsiteY161" fmla="*/ 1639 h 10000"/>
                <a:gd name="connsiteX162" fmla="*/ 8850 w 9714"/>
                <a:gd name="connsiteY162" fmla="*/ 1480 h 10000"/>
                <a:gd name="connsiteX163" fmla="*/ 7497 w 9714"/>
                <a:gd name="connsiteY163" fmla="*/ 923 h 10000"/>
                <a:gd name="connsiteX164" fmla="*/ 7522 w 9714"/>
                <a:gd name="connsiteY164" fmla="*/ 649 h 10000"/>
                <a:gd name="connsiteX165" fmla="*/ 7012 w 9714"/>
                <a:gd name="connsiteY165" fmla="*/ 590 h 10000"/>
                <a:gd name="connsiteX166" fmla="*/ 6413 w 9714"/>
                <a:gd name="connsiteY166" fmla="*/ 332 h 10000"/>
                <a:gd name="connsiteX167" fmla="*/ 5098 w 9714"/>
                <a:gd name="connsiteY167" fmla="*/ 0 h 10000"/>
                <a:gd name="connsiteX168" fmla="*/ 4837 w 9714"/>
                <a:gd name="connsiteY168" fmla="*/ 82 h 10000"/>
                <a:gd name="connsiteX169" fmla="*/ 4671 w 9714"/>
                <a:gd name="connsiteY169" fmla="*/ 78 h 10000"/>
                <a:gd name="connsiteX170" fmla="*/ 4571 w 9714"/>
                <a:gd name="connsiteY170" fmla="*/ 107 h 10000"/>
                <a:gd name="connsiteX171" fmla="*/ 4298 w 9714"/>
                <a:gd name="connsiteY171" fmla="*/ 913 h 10000"/>
                <a:gd name="connsiteX172" fmla="*/ 3668 w 9714"/>
                <a:gd name="connsiteY172" fmla="*/ 1383 h 10000"/>
                <a:gd name="connsiteX173" fmla="*/ 3672 w 9714"/>
                <a:gd name="connsiteY173" fmla="*/ 1457 h 10000"/>
                <a:gd name="connsiteX174" fmla="*/ 3952 w 9714"/>
                <a:gd name="connsiteY174" fmla="*/ 1668 h 10000"/>
                <a:gd name="connsiteX175" fmla="*/ 3861 w 9714"/>
                <a:gd name="connsiteY175" fmla="*/ 1896 h 10000"/>
                <a:gd name="connsiteX176" fmla="*/ 3698 w 9714"/>
                <a:gd name="connsiteY176" fmla="*/ 1979 h 10000"/>
                <a:gd name="connsiteX177" fmla="*/ 3208 w 9714"/>
                <a:gd name="connsiteY177" fmla="*/ 1924 h 10000"/>
                <a:gd name="connsiteX178" fmla="*/ 2871 w 9714"/>
                <a:gd name="connsiteY178" fmla="*/ 1955 h 10000"/>
                <a:gd name="connsiteX179" fmla="*/ 2601 w 9714"/>
                <a:gd name="connsiteY179" fmla="*/ 2023 h 10000"/>
                <a:gd name="connsiteX180" fmla="*/ 2163 w 9714"/>
                <a:gd name="connsiteY180" fmla="*/ 2233 h 10000"/>
                <a:gd name="connsiteX181" fmla="*/ 1931 w 9714"/>
                <a:gd name="connsiteY181" fmla="*/ 2487 h 10000"/>
                <a:gd name="connsiteX182" fmla="*/ 1951 w 9714"/>
                <a:gd name="connsiteY182" fmla="*/ 2629 h 10000"/>
                <a:gd name="connsiteX183" fmla="*/ 2032 w 9714"/>
                <a:gd name="connsiteY183" fmla="*/ 2738 h 10000"/>
                <a:gd name="connsiteX184" fmla="*/ 2093 w 9714"/>
                <a:gd name="connsiteY184" fmla="*/ 2782 h 10000"/>
                <a:gd name="connsiteX185" fmla="*/ 1979 w 9714"/>
                <a:gd name="connsiteY185" fmla="*/ 2852 h 10000"/>
                <a:gd name="connsiteX186" fmla="*/ 1731 w 9714"/>
                <a:gd name="connsiteY186" fmla="*/ 3330 h 10000"/>
                <a:gd name="connsiteX187" fmla="*/ 1779 w 9714"/>
                <a:gd name="connsiteY187" fmla="*/ 3358 h 10000"/>
                <a:gd name="connsiteX188" fmla="*/ 1815 w 9714"/>
                <a:gd name="connsiteY188" fmla="*/ 3479 h 10000"/>
                <a:gd name="connsiteX189" fmla="*/ 1700 w 9714"/>
                <a:gd name="connsiteY189" fmla="*/ 3982 h 10000"/>
                <a:gd name="connsiteX190" fmla="*/ 1815 w 9714"/>
                <a:gd name="connsiteY190" fmla="*/ 4110 h 10000"/>
                <a:gd name="connsiteX191" fmla="*/ 2131 w 9714"/>
                <a:gd name="connsiteY191" fmla="*/ 4251 h 10000"/>
                <a:gd name="connsiteX192" fmla="*/ 2145 w 9714"/>
                <a:gd name="connsiteY192" fmla="*/ 4423 h 10000"/>
                <a:gd name="connsiteX193" fmla="*/ 2010 w 9714"/>
                <a:gd name="connsiteY193" fmla="*/ 4566 h 10000"/>
                <a:gd name="connsiteX194" fmla="*/ 1815 w 9714"/>
                <a:gd name="connsiteY194" fmla="*/ 4652 h 10000"/>
                <a:gd name="connsiteX195" fmla="*/ 1557 w 9714"/>
                <a:gd name="connsiteY195" fmla="*/ 4687 h 10000"/>
                <a:gd name="connsiteX196" fmla="*/ 1490 w 9714"/>
                <a:gd name="connsiteY196" fmla="*/ 4737 h 10000"/>
                <a:gd name="connsiteX197" fmla="*/ 1640 w 9714"/>
                <a:gd name="connsiteY197" fmla="*/ 4855 h 10000"/>
                <a:gd name="connsiteX198" fmla="*/ 1726 w 9714"/>
                <a:gd name="connsiteY198" fmla="*/ 5136 h 10000"/>
                <a:gd name="connsiteX199" fmla="*/ 1531 w 9714"/>
                <a:gd name="connsiteY199" fmla="*/ 5376 h 10000"/>
                <a:gd name="connsiteX200" fmla="*/ 1599 w 9714"/>
                <a:gd name="connsiteY200" fmla="*/ 5451 h 10000"/>
                <a:gd name="connsiteX201" fmla="*/ 1537 w 9714"/>
                <a:gd name="connsiteY201" fmla="*/ 5577 h 10000"/>
                <a:gd name="connsiteX202" fmla="*/ 1412 w 9714"/>
                <a:gd name="connsiteY202" fmla="*/ 5663 h 10000"/>
                <a:gd name="connsiteX203" fmla="*/ 915 w 9714"/>
                <a:gd name="connsiteY203" fmla="*/ 5730 h 10000"/>
                <a:gd name="connsiteX204" fmla="*/ 885 w 9714"/>
                <a:gd name="connsiteY204" fmla="*/ 5846 h 10000"/>
                <a:gd name="connsiteX205" fmla="*/ 617 w 9714"/>
                <a:gd name="connsiteY205" fmla="*/ 6019 h 10000"/>
                <a:gd name="connsiteX206" fmla="*/ 652 w 9714"/>
                <a:gd name="connsiteY206" fmla="*/ 6268 h 10000"/>
                <a:gd name="connsiteX207" fmla="*/ 427 w 9714"/>
                <a:gd name="connsiteY207" fmla="*/ 6587 h 10000"/>
                <a:gd name="connsiteX208" fmla="*/ 274 w 9714"/>
                <a:gd name="connsiteY208" fmla="*/ 6624 h 10000"/>
                <a:gd name="connsiteX209" fmla="*/ 210 w 9714"/>
                <a:gd name="connsiteY209" fmla="*/ 6548 h 10000"/>
                <a:gd name="connsiteX210" fmla="*/ 132 w 9714"/>
                <a:gd name="connsiteY210" fmla="*/ 6663 h 10000"/>
                <a:gd name="connsiteX211" fmla="*/ 183 w 9714"/>
                <a:gd name="connsiteY211" fmla="*/ 6465 h 10000"/>
                <a:gd name="connsiteX212" fmla="*/ 151 w 9714"/>
                <a:gd name="connsiteY212" fmla="*/ 6427 h 10000"/>
                <a:gd name="connsiteX0" fmla="*/ 155 w 9794"/>
                <a:gd name="connsiteY0" fmla="*/ 6427 h 10000"/>
                <a:gd name="connsiteX1" fmla="*/ 0 w 9794"/>
                <a:gd name="connsiteY1" fmla="*/ 6530 h 10000"/>
                <a:gd name="connsiteX2" fmla="*/ 0 w 9794"/>
                <a:gd name="connsiteY2" fmla="*/ 7039 h 10000"/>
                <a:gd name="connsiteX3" fmla="*/ 85 w 9794"/>
                <a:gd name="connsiteY3" fmla="*/ 7053 h 10000"/>
                <a:gd name="connsiteX4" fmla="*/ 106 w 9794"/>
                <a:gd name="connsiteY4" fmla="*/ 7092 h 10000"/>
                <a:gd name="connsiteX5" fmla="*/ 102 w 9794"/>
                <a:gd name="connsiteY5" fmla="*/ 7161 h 10000"/>
                <a:gd name="connsiteX6" fmla="*/ 70 w 9794"/>
                <a:gd name="connsiteY6" fmla="*/ 7192 h 10000"/>
                <a:gd name="connsiteX7" fmla="*/ 201 w 9794"/>
                <a:gd name="connsiteY7" fmla="*/ 7133 h 10000"/>
                <a:gd name="connsiteX8" fmla="*/ 256 w 9794"/>
                <a:gd name="connsiteY8" fmla="*/ 7075 h 10000"/>
                <a:gd name="connsiteX9" fmla="*/ 324 w 9794"/>
                <a:gd name="connsiteY9" fmla="*/ 7115 h 10000"/>
                <a:gd name="connsiteX10" fmla="*/ 249 w 9794"/>
                <a:gd name="connsiteY10" fmla="*/ 7198 h 10000"/>
                <a:gd name="connsiteX11" fmla="*/ 329 w 9794"/>
                <a:gd name="connsiteY11" fmla="*/ 7200 h 10000"/>
                <a:gd name="connsiteX12" fmla="*/ 369 w 9794"/>
                <a:gd name="connsiteY12" fmla="*/ 7221 h 10000"/>
                <a:gd name="connsiteX13" fmla="*/ 265 w 9794"/>
                <a:gd name="connsiteY13" fmla="*/ 7248 h 10000"/>
                <a:gd name="connsiteX14" fmla="*/ 102 w 9794"/>
                <a:gd name="connsiteY14" fmla="*/ 7333 h 10000"/>
                <a:gd name="connsiteX15" fmla="*/ 392 w 9794"/>
                <a:gd name="connsiteY15" fmla="*/ 7400 h 10000"/>
                <a:gd name="connsiteX16" fmla="*/ 428 w 9794"/>
                <a:gd name="connsiteY16" fmla="*/ 7496 h 10000"/>
                <a:gd name="connsiteX17" fmla="*/ 329 w 9794"/>
                <a:gd name="connsiteY17" fmla="*/ 7636 h 10000"/>
                <a:gd name="connsiteX18" fmla="*/ 541 w 9794"/>
                <a:gd name="connsiteY18" fmla="*/ 7627 h 10000"/>
                <a:gd name="connsiteX19" fmla="*/ 557 w 9794"/>
                <a:gd name="connsiteY19" fmla="*/ 7733 h 10000"/>
                <a:gd name="connsiteX20" fmla="*/ 416 w 9794"/>
                <a:gd name="connsiteY20" fmla="*/ 7805 h 10000"/>
                <a:gd name="connsiteX21" fmla="*/ 440 w 9794"/>
                <a:gd name="connsiteY21" fmla="*/ 7945 h 10000"/>
                <a:gd name="connsiteX22" fmla="*/ 385 w 9794"/>
                <a:gd name="connsiteY22" fmla="*/ 8053 h 10000"/>
                <a:gd name="connsiteX23" fmla="*/ 552 w 9794"/>
                <a:gd name="connsiteY23" fmla="*/ 8063 h 10000"/>
                <a:gd name="connsiteX24" fmla="*/ 715 w 9794"/>
                <a:gd name="connsiteY24" fmla="*/ 8478 h 10000"/>
                <a:gd name="connsiteX25" fmla="*/ 904 w 9794"/>
                <a:gd name="connsiteY25" fmla="*/ 8583 h 10000"/>
                <a:gd name="connsiteX26" fmla="*/ 986 w 9794"/>
                <a:gd name="connsiteY26" fmla="*/ 8695 h 10000"/>
                <a:gd name="connsiteX27" fmla="*/ 1191 w 9794"/>
                <a:gd name="connsiteY27" fmla="*/ 8776 h 10000"/>
                <a:gd name="connsiteX28" fmla="*/ 1323 w 9794"/>
                <a:gd name="connsiteY28" fmla="*/ 8881 h 10000"/>
                <a:gd name="connsiteX29" fmla="*/ 1306 w 9794"/>
                <a:gd name="connsiteY29" fmla="*/ 8955 h 10000"/>
                <a:gd name="connsiteX30" fmla="*/ 1176 w 9794"/>
                <a:gd name="connsiteY30" fmla="*/ 8983 h 10000"/>
                <a:gd name="connsiteX31" fmla="*/ 1034 w 9794"/>
                <a:gd name="connsiteY31" fmla="*/ 8965 h 10000"/>
                <a:gd name="connsiteX32" fmla="*/ 990 w 9794"/>
                <a:gd name="connsiteY32" fmla="*/ 8996 h 10000"/>
                <a:gd name="connsiteX33" fmla="*/ 1098 w 9794"/>
                <a:gd name="connsiteY33" fmla="*/ 9158 h 10000"/>
                <a:gd name="connsiteX34" fmla="*/ 947 w 9794"/>
                <a:gd name="connsiteY34" fmla="*/ 9144 h 10000"/>
                <a:gd name="connsiteX35" fmla="*/ 818 w 9794"/>
                <a:gd name="connsiteY35" fmla="*/ 9105 h 10000"/>
                <a:gd name="connsiteX36" fmla="*/ 795 w 9794"/>
                <a:gd name="connsiteY36" fmla="*/ 9165 h 10000"/>
                <a:gd name="connsiteX37" fmla="*/ 1223 w 9794"/>
                <a:gd name="connsiteY37" fmla="*/ 9718 h 10000"/>
                <a:gd name="connsiteX38" fmla="*/ 1155 w 9794"/>
                <a:gd name="connsiteY38" fmla="*/ 9770 h 10000"/>
                <a:gd name="connsiteX39" fmla="*/ 1107 w 9794"/>
                <a:gd name="connsiteY39" fmla="*/ 9876 h 10000"/>
                <a:gd name="connsiteX40" fmla="*/ 1045 w 9794"/>
                <a:gd name="connsiteY40" fmla="*/ 9885 h 10000"/>
                <a:gd name="connsiteX41" fmla="*/ 1007 w 9794"/>
                <a:gd name="connsiteY41" fmla="*/ 9931 h 10000"/>
                <a:gd name="connsiteX42" fmla="*/ 1265 w 9794"/>
                <a:gd name="connsiteY42" fmla="*/ 9936 h 10000"/>
                <a:gd name="connsiteX43" fmla="*/ 1494 w 9794"/>
                <a:gd name="connsiteY43" fmla="*/ 9982 h 10000"/>
                <a:gd name="connsiteX44" fmla="*/ 1874 w 9794"/>
                <a:gd name="connsiteY44" fmla="*/ 9933 h 10000"/>
                <a:gd name="connsiteX45" fmla="*/ 2214 w 9794"/>
                <a:gd name="connsiteY45" fmla="*/ 9941 h 10000"/>
                <a:gd name="connsiteX46" fmla="*/ 2415 w 9794"/>
                <a:gd name="connsiteY46" fmla="*/ 10000 h 10000"/>
                <a:gd name="connsiteX47" fmla="*/ 2526 w 9794"/>
                <a:gd name="connsiteY47" fmla="*/ 9961 h 10000"/>
                <a:gd name="connsiteX48" fmla="*/ 2632 w 9794"/>
                <a:gd name="connsiteY48" fmla="*/ 9834 h 10000"/>
                <a:gd name="connsiteX49" fmla="*/ 2604 w 9794"/>
                <a:gd name="connsiteY49" fmla="*/ 9625 h 10000"/>
                <a:gd name="connsiteX50" fmla="*/ 2864 w 9794"/>
                <a:gd name="connsiteY50" fmla="*/ 9392 h 10000"/>
                <a:gd name="connsiteX51" fmla="*/ 3053 w 9794"/>
                <a:gd name="connsiteY51" fmla="*/ 9428 h 10000"/>
                <a:gd name="connsiteX52" fmla="*/ 3163 w 9794"/>
                <a:gd name="connsiteY52" fmla="*/ 9335 h 10000"/>
                <a:gd name="connsiteX53" fmla="*/ 3375 w 9794"/>
                <a:gd name="connsiteY53" fmla="*/ 9282 h 10000"/>
                <a:gd name="connsiteX54" fmla="*/ 3662 w 9794"/>
                <a:gd name="connsiteY54" fmla="*/ 9295 h 10000"/>
                <a:gd name="connsiteX55" fmla="*/ 3834 w 9794"/>
                <a:gd name="connsiteY55" fmla="*/ 9332 h 10000"/>
                <a:gd name="connsiteX56" fmla="*/ 4064 w 9794"/>
                <a:gd name="connsiteY56" fmla="*/ 9315 h 10000"/>
                <a:gd name="connsiteX57" fmla="*/ 4296 w 9794"/>
                <a:gd name="connsiteY57" fmla="*/ 9356 h 10000"/>
                <a:gd name="connsiteX58" fmla="*/ 4527 w 9794"/>
                <a:gd name="connsiteY58" fmla="*/ 9361 h 10000"/>
                <a:gd name="connsiteX59" fmla="*/ 5046 w 9794"/>
                <a:gd name="connsiteY59" fmla="*/ 8817 h 10000"/>
                <a:gd name="connsiteX60" fmla="*/ 5178 w 9794"/>
                <a:gd name="connsiteY60" fmla="*/ 8375 h 10000"/>
                <a:gd name="connsiteX61" fmla="*/ 5389 w 9794"/>
                <a:gd name="connsiteY61" fmla="*/ 8177 h 10000"/>
                <a:gd name="connsiteX62" fmla="*/ 5389 w 9794"/>
                <a:gd name="connsiteY62" fmla="*/ 8073 h 10000"/>
                <a:gd name="connsiteX63" fmla="*/ 5312 w 9794"/>
                <a:gd name="connsiteY63" fmla="*/ 8015 h 10000"/>
                <a:gd name="connsiteX64" fmla="*/ 5436 w 9794"/>
                <a:gd name="connsiteY64" fmla="*/ 7922 h 10000"/>
                <a:gd name="connsiteX65" fmla="*/ 5414 w 9794"/>
                <a:gd name="connsiteY65" fmla="*/ 7844 h 10000"/>
                <a:gd name="connsiteX66" fmla="*/ 5329 w 9794"/>
                <a:gd name="connsiteY66" fmla="*/ 7776 h 10000"/>
                <a:gd name="connsiteX67" fmla="*/ 5312 w 9794"/>
                <a:gd name="connsiteY67" fmla="*/ 7728 h 10000"/>
                <a:gd name="connsiteX68" fmla="*/ 5334 w 9794"/>
                <a:gd name="connsiteY68" fmla="*/ 7691 h 10000"/>
                <a:gd name="connsiteX69" fmla="*/ 5448 w 9794"/>
                <a:gd name="connsiteY69" fmla="*/ 7721 h 10000"/>
                <a:gd name="connsiteX70" fmla="*/ 5539 w 9794"/>
                <a:gd name="connsiteY70" fmla="*/ 7719 h 10000"/>
                <a:gd name="connsiteX71" fmla="*/ 5490 w 9794"/>
                <a:gd name="connsiteY71" fmla="*/ 7655 h 10000"/>
                <a:gd name="connsiteX72" fmla="*/ 5505 w 9794"/>
                <a:gd name="connsiteY72" fmla="*/ 7619 h 10000"/>
                <a:gd name="connsiteX73" fmla="*/ 5573 w 9794"/>
                <a:gd name="connsiteY73" fmla="*/ 7565 h 10000"/>
                <a:gd name="connsiteX74" fmla="*/ 5560 w 9794"/>
                <a:gd name="connsiteY74" fmla="*/ 7521 h 10000"/>
                <a:gd name="connsiteX75" fmla="*/ 5623 w 9794"/>
                <a:gd name="connsiteY75" fmla="*/ 7373 h 10000"/>
                <a:gd name="connsiteX76" fmla="*/ 5605 w 9794"/>
                <a:gd name="connsiteY76" fmla="*/ 7327 h 10000"/>
                <a:gd name="connsiteX77" fmla="*/ 5291 w 9794"/>
                <a:gd name="connsiteY77" fmla="*/ 7216 h 10000"/>
                <a:gd name="connsiteX78" fmla="*/ 5334 w 9794"/>
                <a:gd name="connsiteY78" fmla="*/ 7211 h 10000"/>
                <a:gd name="connsiteX79" fmla="*/ 5501 w 9794"/>
                <a:gd name="connsiteY79" fmla="*/ 7241 h 10000"/>
                <a:gd name="connsiteX80" fmla="*/ 5683 w 9794"/>
                <a:gd name="connsiteY80" fmla="*/ 7230 h 10000"/>
                <a:gd name="connsiteX81" fmla="*/ 5735 w 9794"/>
                <a:gd name="connsiteY81" fmla="*/ 7189 h 10000"/>
                <a:gd name="connsiteX82" fmla="*/ 5560 w 9794"/>
                <a:gd name="connsiteY82" fmla="*/ 7113 h 10000"/>
                <a:gd name="connsiteX83" fmla="*/ 5042 w 9794"/>
                <a:gd name="connsiteY83" fmla="*/ 7062 h 10000"/>
                <a:gd name="connsiteX84" fmla="*/ 5077 w 9794"/>
                <a:gd name="connsiteY84" fmla="*/ 7039 h 10000"/>
                <a:gd name="connsiteX85" fmla="*/ 5501 w 9794"/>
                <a:gd name="connsiteY85" fmla="*/ 7023 h 10000"/>
                <a:gd name="connsiteX86" fmla="*/ 5735 w 9794"/>
                <a:gd name="connsiteY86" fmla="*/ 7069 h 10000"/>
                <a:gd name="connsiteX87" fmla="*/ 5870 w 9794"/>
                <a:gd name="connsiteY87" fmla="*/ 7039 h 10000"/>
                <a:gd name="connsiteX88" fmla="*/ 5919 w 9794"/>
                <a:gd name="connsiteY88" fmla="*/ 6959 h 10000"/>
                <a:gd name="connsiteX89" fmla="*/ 6163 w 9794"/>
                <a:gd name="connsiteY89" fmla="*/ 6959 h 10000"/>
                <a:gd name="connsiteX90" fmla="*/ 6494 w 9794"/>
                <a:gd name="connsiteY90" fmla="*/ 6799 h 10000"/>
                <a:gd name="connsiteX91" fmla="*/ 6505 w 9794"/>
                <a:gd name="connsiteY91" fmla="*/ 6693 h 10000"/>
                <a:gd name="connsiteX92" fmla="*/ 6645 w 9794"/>
                <a:gd name="connsiteY92" fmla="*/ 6718 h 10000"/>
                <a:gd name="connsiteX93" fmla="*/ 6639 w 9794"/>
                <a:gd name="connsiteY93" fmla="*/ 6824 h 10000"/>
                <a:gd name="connsiteX94" fmla="*/ 6861 w 9794"/>
                <a:gd name="connsiteY94" fmla="*/ 6817 h 10000"/>
                <a:gd name="connsiteX95" fmla="*/ 7007 w 9794"/>
                <a:gd name="connsiteY95" fmla="*/ 6707 h 10000"/>
                <a:gd name="connsiteX96" fmla="*/ 7278 w 9794"/>
                <a:gd name="connsiteY96" fmla="*/ 6607 h 10000"/>
                <a:gd name="connsiteX97" fmla="*/ 7236 w 9794"/>
                <a:gd name="connsiteY97" fmla="*/ 6493 h 10000"/>
                <a:gd name="connsiteX98" fmla="*/ 7316 w 9794"/>
                <a:gd name="connsiteY98" fmla="*/ 6538 h 10000"/>
                <a:gd name="connsiteX99" fmla="*/ 7440 w 9794"/>
                <a:gd name="connsiteY99" fmla="*/ 6538 h 10000"/>
                <a:gd name="connsiteX100" fmla="*/ 7440 w 9794"/>
                <a:gd name="connsiteY100" fmla="*/ 6486 h 10000"/>
                <a:gd name="connsiteX101" fmla="*/ 7556 w 9794"/>
                <a:gd name="connsiteY101" fmla="*/ 6446 h 10000"/>
                <a:gd name="connsiteX102" fmla="*/ 7540 w 9794"/>
                <a:gd name="connsiteY102" fmla="*/ 6405 h 10000"/>
                <a:gd name="connsiteX103" fmla="*/ 6565 w 9794"/>
                <a:gd name="connsiteY103" fmla="*/ 6488 h 10000"/>
                <a:gd name="connsiteX104" fmla="*/ 6336 w 9794"/>
                <a:gd name="connsiteY104" fmla="*/ 6463 h 10000"/>
                <a:gd name="connsiteX105" fmla="*/ 6244 w 9794"/>
                <a:gd name="connsiteY105" fmla="*/ 6493 h 10000"/>
                <a:gd name="connsiteX106" fmla="*/ 6213 w 9794"/>
                <a:gd name="connsiteY106" fmla="*/ 6436 h 10000"/>
                <a:gd name="connsiteX107" fmla="*/ 6105 w 9794"/>
                <a:gd name="connsiteY107" fmla="*/ 6384 h 10000"/>
                <a:gd name="connsiteX108" fmla="*/ 5670 w 9794"/>
                <a:gd name="connsiteY108" fmla="*/ 6282 h 10000"/>
                <a:gd name="connsiteX109" fmla="*/ 5414 w 9794"/>
                <a:gd name="connsiteY109" fmla="*/ 6298 h 10000"/>
                <a:gd name="connsiteX110" fmla="*/ 5312 w 9794"/>
                <a:gd name="connsiteY110" fmla="*/ 6270 h 10000"/>
                <a:gd name="connsiteX111" fmla="*/ 5420 w 9794"/>
                <a:gd name="connsiteY111" fmla="*/ 6245 h 10000"/>
                <a:gd name="connsiteX112" fmla="*/ 5501 w 9794"/>
                <a:gd name="connsiteY112" fmla="*/ 6190 h 10000"/>
                <a:gd name="connsiteX113" fmla="*/ 5623 w 9794"/>
                <a:gd name="connsiteY113" fmla="*/ 6208 h 10000"/>
                <a:gd name="connsiteX114" fmla="*/ 5767 w 9794"/>
                <a:gd name="connsiteY114" fmla="*/ 6193 h 10000"/>
                <a:gd name="connsiteX115" fmla="*/ 5984 w 9794"/>
                <a:gd name="connsiteY115" fmla="*/ 6211 h 10000"/>
                <a:gd name="connsiteX116" fmla="*/ 6010 w 9794"/>
                <a:gd name="connsiteY116" fmla="*/ 6204 h 10000"/>
                <a:gd name="connsiteX117" fmla="*/ 6179 w 9794"/>
                <a:gd name="connsiteY117" fmla="*/ 6287 h 10000"/>
                <a:gd name="connsiteX118" fmla="*/ 6302 w 9794"/>
                <a:gd name="connsiteY118" fmla="*/ 6257 h 10000"/>
                <a:gd name="connsiteX119" fmla="*/ 6314 w 9794"/>
                <a:gd name="connsiteY119" fmla="*/ 6229 h 10000"/>
                <a:gd name="connsiteX120" fmla="*/ 6428 w 9794"/>
                <a:gd name="connsiteY120" fmla="*/ 6278 h 10000"/>
                <a:gd name="connsiteX121" fmla="*/ 6579 w 9794"/>
                <a:gd name="connsiteY121" fmla="*/ 6304 h 10000"/>
                <a:gd name="connsiteX122" fmla="*/ 6639 w 9794"/>
                <a:gd name="connsiteY122" fmla="*/ 6255 h 10000"/>
                <a:gd name="connsiteX123" fmla="*/ 6687 w 9794"/>
                <a:gd name="connsiteY123" fmla="*/ 6282 h 10000"/>
                <a:gd name="connsiteX124" fmla="*/ 6758 w 9794"/>
                <a:gd name="connsiteY124" fmla="*/ 6377 h 10000"/>
                <a:gd name="connsiteX125" fmla="*/ 6904 w 9794"/>
                <a:gd name="connsiteY125" fmla="*/ 6399 h 10000"/>
                <a:gd name="connsiteX126" fmla="*/ 7501 w 9794"/>
                <a:gd name="connsiteY126" fmla="*/ 6259 h 10000"/>
                <a:gd name="connsiteX127" fmla="*/ 7794 w 9794"/>
                <a:gd name="connsiteY127" fmla="*/ 6064 h 10000"/>
                <a:gd name="connsiteX128" fmla="*/ 7862 w 9794"/>
                <a:gd name="connsiteY128" fmla="*/ 5921 h 10000"/>
                <a:gd name="connsiteX129" fmla="*/ 7756 w 9794"/>
                <a:gd name="connsiteY129" fmla="*/ 5792 h 10000"/>
                <a:gd name="connsiteX130" fmla="*/ 7533 w 9794"/>
                <a:gd name="connsiteY130" fmla="*/ 5715 h 10000"/>
                <a:gd name="connsiteX131" fmla="*/ 7375 w 9794"/>
                <a:gd name="connsiteY131" fmla="*/ 5589 h 10000"/>
                <a:gd name="connsiteX132" fmla="*/ 7522 w 9794"/>
                <a:gd name="connsiteY132" fmla="*/ 5584 h 10000"/>
                <a:gd name="connsiteX133" fmla="*/ 7512 w 9794"/>
                <a:gd name="connsiteY133" fmla="*/ 5554 h 10000"/>
                <a:gd name="connsiteX134" fmla="*/ 7129 w 9794"/>
                <a:gd name="connsiteY134" fmla="*/ 5465 h 10000"/>
                <a:gd name="connsiteX135" fmla="*/ 7112 w 9794"/>
                <a:gd name="connsiteY135" fmla="*/ 5383 h 10000"/>
                <a:gd name="connsiteX136" fmla="*/ 7038 w 9794"/>
                <a:gd name="connsiteY136" fmla="*/ 5299 h 10000"/>
                <a:gd name="connsiteX137" fmla="*/ 6736 w 9794"/>
                <a:gd name="connsiteY137" fmla="*/ 5314 h 10000"/>
                <a:gd name="connsiteX138" fmla="*/ 6628 w 9794"/>
                <a:gd name="connsiteY138" fmla="*/ 5224 h 10000"/>
                <a:gd name="connsiteX139" fmla="*/ 6565 w 9794"/>
                <a:gd name="connsiteY139" fmla="*/ 5219 h 10000"/>
                <a:gd name="connsiteX140" fmla="*/ 6565 w 9794"/>
                <a:gd name="connsiteY140" fmla="*/ 5256 h 10000"/>
                <a:gd name="connsiteX141" fmla="*/ 6428 w 9794"/>
                <a:gd name="connsiteY141" fmla="*/ 5408 h 10000"/>
                <a:gd name="connsiteX142" fmla="*/ 6281 w 9794"/>
                <a:gd name="connsiteY142" fmla="*/ 5498 h 10000"/>
                <a:gd name="connsiteX143" fmla="*/ 5819 w 9794"/>
                <a:gd name="connsiteY143" fmla="*/ 5651 h 10000"/>
                <a:gd name="connsiteX144" fmla="*/ 5658 w 9794"/>
                <a:gd name="connsiteY144" fmla="*/ 5646 h 10000"/>
                <a:gd name="connsiteX145" fmla="*/ 5436 w 9794"/>
                <a:gd name="connsiteY145" fmla="*/ 5669 h 10000"/>
                <a:gd name="connsiteX146" fmla="*/ 5312 w 9794"/>
                <a:gd name="connsiteY146" fmla="*/ 5646 h 10000"/>
                <a:gd name="connsiteX147" fmla="*/ 5475 w 9794"/>
                <a:gd name="connsiteY147" fmla="*/ 5604 h 10000"/>
                <a:gd name="connsiteX148" fmla="*/ 5687 w 9794"/>
                <a:gd name="connsiteY148" fmla="*/ 5584 h 10000"/>
                <a:gd name="connsiteX149" fmla="*/ 5861 w 9794"/>
                <a:gd name="connsiteY149" fmla="*/ 5513 h 10000"/>
                <a:gd name="connsiteX150" fmla="*/ 6032 w 9794"/>
                <a:gd name="connsiteY150" fmla="*/ 5480 h 10000"/>
                <a:gd name="connsiteX151" fmla="*/ 6353 w 9794"/>
                <a:gd name="connsiteY151" fmla="*/ 5355 h 10000"/>
                <a:gd name="connsiteX152" fmla="*/ 6413 w 9794"/>
                <a:gd name="connsiteY152" fmla="*/ 5274 h 10000"/>
                <a:gd name="connsiteX153" fmla="*/ 6419 w 9794"/>
                <a:gd name="connsiteY153" fmla="*/ 5168 h 10000"/>
                <a:gd name="connsiteX154" fmla="*/ 6271 w 9794"/>
                <a:gd name="connsiteY154" fmla="*/ 5150 h 10000"/>
                <a:gd name="connsiteX155" fmla="*/ 6336 w 9794"/>
                <a:gd name="connsiteY155" fmla="*/ 5086 h 10000"/>
                <a:gd name="connsiteX156" fmla="*/ 6357 w 9794"/>
                <a:gd name="connsiteY156" fmla="*/ 5005 h 10000"/>
                <a:gd name="connsiteX157" fmla="*/ 6295 w 9794"/>
                <a:gd name="connsiteY157" fmla="*/ 4928 h 10000"/>
                <a:gd name="connsiteX158" fmla="*/ 9584 w 9794"/>
                <a:gd name="connsiteY158" fmla="*/ 2263 h 10000"/>
                <a:gd name="connsiteX159" fmla="*/ 9416 w 9794"/>
                <a:gd name="connsiteY159" fmla="*/ 1773 h 10000"/>
                <a:gd name="connsiteX160" fmla="*/ 9043 w 9794"/>
                <a:gd name="connsiteY160" fmla="*/ 1639 h 10000"/>
                <a:gd name="connsiteX161" fmla="*/ 9111 w 9794"/>
                <a:gd name="connsiteY161" fmla="*/ 1480 h 10000"/>
                <a:gd name="connsiteX162" fmla="*/ 7718 w 9794"/>
                <a:gd name="connsiteY162" fmla="*/ 923 h 10000"/>
                <a:gd name="connsiteX163" fmla="*/ 7743 w 9794"/>
                <a:gd name="connsiteY163" fmla="*/ 649 h 10000"/>
                <a:gd name="connsiteX164" fmla="*/ 7218 w 9794"/>
                <a:gd name="connsiteY164" fmla="*/ 590 h 10000"/>
                <a:gd name="connsiteX165" fmla="*/ 6602 w 9794"/>
                <a:gd name="connsiteY165" fmla="*/ 332 h 10000"/>
                <a:gd name="connsiteX166" fmla="*/ 5248 w 9794"/>
                <a:gd name="connsiteY166" fmla="*/ 0 h 10000"/>
                <a:gd name="connsiteX167" fmla="*/ 4979 w 9794"/>
                <a:gd name="connsiteY167" fmla="*/ 82 h 10000"/>
                <a:gd name="connsiteX168" fmla="*/ 4809 w 9794"/>
                <a:gd name="connsiteY168" fmla="*/ 78 h 10000"/>
                <a:gd name="connsiteX169" fmla="*/ 4706 w 9794"/>
                <a:gd name="connsiteY169" fmla="*/ 107 h 10000"/>
                <a:gd name="connsiteX170" fmla="*/ 4425 w 9794"/>
                <a:gd name="connsiteY170" fmla="*/ 913 h 10000"/>
                <a:gd name="connsiteX171" fmla="*/ 3776 w 9794"/>
                <a:gd name="connsiteY171" fmla="*/ 1383 h 10000"/>
                <a:gd name="connsiteX172" fmla="*/ 3780 w 9794"/>
                <a:gd name="connsiteY172" fmla="*/ 1457 h 10000"/>
                <a:gd name="connsiteX173" fmla="*/ 4068 w 9794"/>
                <a:gd name="connsiteY173" fmla="*/ 1668 h 10000"/>
                <a:gd name="connsiteX174" fmla="*/ 3975 w 9794"/>
                <a:gd name="connsiteY174" fmla="*/ 1896 h 10000"/>
                <a:gd name="connsiteX175" fmla="*/ 3807 w 9794"/>
                <a:gd name="connsiteY175" fmla="*/ 1979 h 10000"/>
                <a:gd name="connsiteX176" fmla="*/ 3302 w 9794"/>
                <a:gd name="connsiteY176" fmla="*/ 1924 h 10000"/>
                <a:gd name="connsiteX177" fmla="*/ 2956 w 9794"/>
                <a:gd name="connsiteY177" fmla="*/ 1955 h 10000"/>
                <a:gd name="connsiteX178" fmla="*/ 2678 w 9794"/>
                <a:gd name="connsiteY178" fmla="*/ 2023 h 10000"/>
                <a:gd name="connsiteX179" fmla="*/ 2227 w 9794"/>
                <a:gd name="connsiteY179" fmla="*/ 2233 h 10000"/>
                <a:gd name="connsiteX180" fmla="*/ 1988 w 9794"/>
                <a:gd name="connsiteY180" fmla="*/ 2487 h 10000"/>
                <a:gd name="connsiteX181" fmla="*/ 2008 w 9794"/>
                <a:gd name="connsiteY181" fmla="*/ 2629 h 10000"/>
                <a:gd name="connsiteX182" fmla="*/ 2092 w 9794"/>
                <a:gd name="connsiteY182" fmla="*/ 2738 h 10000"/>
                <a:gd name="connsiteX183" fmla="*/ 2155 w 9794"/>
                <a:gd name="connsiteY183" fmla="*/ 2782 h 10000"/>
                <a:gd name="connsiteX184" fmla="*/ 2037 w 9794"/>
                <a:gd name="connsiteY184" fmla="*/ 2852 h 10000"/>
                <a:gd name="connsiteX185" fmla="*/ 1782 w 9794"/>
                <a:gd name="connsiteY185" fmla="*/ 3330 h 10000"/>
                <a:gd name="connsiteX186" fmla="*/ 1831 w 9794"/>
                <a:gd name="connsiteY186" fmla="*/ 3358 h 10000"/>
                <a:gd name="connsiteX187" fmla="*/ 1868 w 9794"/>
                <a:gd name="connsiteY187" fmla="*/ 3479 h 10000"/>
                <a:gd name="connsiteX188" fmla="*/ 1750 w 9794"/>
                <a:gd name="connsiteY188" fmla="*/ 3982 h 10000"/>
                <a:gd name="connsiteX189" fmla="*/ 1868 w 9794"/>
                <a:gd name="connsiteY189" fmla="*/ 4110 h 10000"/>
                <a:gd name="connsiteX190" fmla="*/ 2194 w 9794"/>
                <a:gd name="connsiteY190" fmla="*/ 4251 h 10000"/>
                <a:gd name="connsiteX191" fmla="*/ 2208 w 9794"/>
                <a:gd name="connsiteY191" fmla="*/ 4423 h 10000"/>
                <a:gd name="connsiteX192" fmla="*/ 2069 w 9794"/>
                <a:gd name="connsiteY192" fmla="*/ 4566 h 10000"/>
                <a:gd name="connsiteX193" fmla="*/ 1868 w 9794"/>
                <a:gd name="connsiteY193" fmla="*/ 4652 h 10000"/>
                <a:gd name="connsiteX194" fmla="*/ 1603 w 9794"/>
                <a:gd name="connsiteY194" fmla="*/ 4687 h 10000"/>
                <a:gd name="connsiteX195" fmla="*/ 1534 w 9794"/>
                <a:gd name="connsiteY195" fmla="*/ 4737 h 10000"/>
                <a:gd name="connsiteX196" fmla="*/ 1688 w 9794"/>
                <a:gd name="connsiteY196" fmla="*/ 4855 h 10000"/>
                <a:gd name="connsiteX197" fmla="*/ 1777 w 9794"/>
                <a:gd name="connsiteY197" fmla="*/ 5136 h 10000"/>
                <a:gd name="connsiteX198" fmla="*/ 1576 w 9794"/>
                <a:gd name="connsiteY198" fmla="*/ 5376 h 10000"/>
                <a:gd name="connsiteX199" fmla="*/ 1646 w 9794"/>
                <a:gd name="connsiteY199" fmla="*/ 5451 h 10000"/>
                <a:gd name="connsiteX200" fmla="*/ 1582 w 9794"/>
                <a:gd name="connsiteY200" fmla="*/ 5577 h 10000"/>
                <a:gd name="connsiteX201" fmla="*/ 1454 w 9794"/>
                <a:gd name="connsiteY201" fmla="*/ 5663 h 10000"/>
                <a:gd name="connsiteX202" fmla="*/ 942 w 9794"/>
                <a:gd name="connsiteY202" fmla="*/ 5730 h 10000"/>
                <a:gd name="connsiteX203" fmla="*/ 911 w 9794"/>
                <a:gd name="connsiteY203" fmla="*/ 5846 h 10000"/>
                <a:gd name="connsiteX204" fmla="*/ 635 w 9794"/>
                <a:gd name="connsiteY204" fmla="*/ 6019 h 10000"/>
                <a:gd name="connsiteX205" fmla="*/ 671 w 9794"/>
                <a:gd name="connsiteY205" fmla="*/ 6268 h 10000"/>
                <a:gd name="connsiteX206" fmla="*/ 440 w 9794"/>
                <a:gd name="connsiteY206" fmla="*/ 6587 h 10000"/>
                <a:gd name="connsiteX207" fmla="*/ 282 w 9794"/>
                <a:gd name="connsiteY207" fmla="*/ 6624 h 10000"/>
                <a:gd name="connsiteX208" fmla="*/ 216 w 9794"/>
                <a:gd name="connsiteY208" fmla="*/ 6548 h 10000"/>
                <a:gd name="connsiteX209" fmla="*/ 136 w 9794"/>
                <a:gd name="connsiteY209" fmla="*/ 6663 h 10000"/>
                <a:gd name="connsiteX210" fmla="*/ 188 w 9794"/>
                <a:gd name="connsiteY210" fmla="*/ 6465 h 10000"/>
                <a:gd name="connsiteX211" fmla="*/ 155 w 9794"/>
                <a:gd name="connsiteY211" fmla="*/ 6427 h 10000"/>
                <a:gd name="connsiteX0" fmla="*/ 158 w 9915"/>
                <a:gd name="connsiteY0" fmla="*/ 6427 h 10000"/>
                <a:gd name="connsiteX1" fmla="*/ 0 w 9915"/>
                <a:gd name="connsiteY1" fmla="*/ 6530 h 10000"/>
                <a:gd name="connsiteX2" fmla="*/ 0 w 9915"/>
                <a:gd name="connsiteY2" fmla="*/ 7039 h 10000"/>
                <a:gd name="connsiteX3" fmla="*/ 87 w 9915"/>
                <a:gd name="connsiteY3" fmla="*/ 7053 h 10000"/>
                <a:gd name="connsiteX4" fmla="*/ 108 w 9915"/>
                <a:gd name="connsiteY4" fmla="*/ 7092 h 10000"/>
                <a:gd name="connsiteX5" fmla="*/ 104 w 9915"/>
                <a:gd name="connsiteY5" fmla="*/ 7161 h 10000"/>
                <a:gd name="connsiteX6" fmla="*/ 71 w 9915"/>
                <a:gd name="connsiteY6" fmla="*/ 7192 h 10000"/>
                <a:gd name="connsiteX7" fmla="*/ 205 w 9915"/>
                <a:gd name="connsiteY7" fmla="*/ 7133 h 10000"/>
                <a:gd name="connsiteX8" fmla="*/ 261 w 9915"/>
                <a:gd name="connsiteY8" fmla="*/ 7075 h 10000"/>
                <a:gd name="connsiteX9" fmla="*/ 331 w 9915"/>
                <a:gd name="connsiteY9" fmla="*/ 7115 h 10000"/>
                <a:gd name="connsiteX10" fmla="*/ 254 w 9915"/>
                <a:gd name="connsiteY10" fmla="*/ 7198 h 10000"/>
                <a:gd name="connsiteX11" fmla="*/ 336 w 9915"/>
                <a:gd name="connsiteY11" fmla="*/ 7200 h 10000"/>
                <a:gd name="connsiteX12" fmla="*/ 377 w 9915"/>
                <a:gd name="connsiteY12" fmla="*/ 7221 h 10000"/>
                <a:gd name="connsiteX13" fmla="*/ 271 w 9915"/>
                <a:gd name="connsiteY13" fmla="*/ 7248 h 10000"/>
                <a:gd name="connsiteX14" fmla="*/ 104 w 9915"/>
                <a:gd name="connsiteY14" fmla="*/ 7333 h 10000"/>
                <a:gd name="connsiteX15" fmla="*/ 400 w 9915"/>
                <a:gd name="connsiteY15" fmla="*/ 7400 h 10000"/>
                <a:gd name="connsiteX16" fmla="*/ 437 w 9915"/>
                <a:gd name="connsiteY16" fmla="*/ 7496 h 10000"/>
                <a:gd name="connsiteX17" fmla="*/ 336 w 9915"/>
                <a:gd name="connsiteY17" fmla="*/ 7636 h 10000"/>
                <a:gd name="connsiteX18" fmla="*/ 552 w 9915"/>
                <a:gd name="connsiteY18" fmla="*/ 7627 h 10000"/>
                <a:gd name="connsiteX19" fmla="*/ 569 w 9915"/>
                <a:gd name="connsiteY19" fmla="*/ 7733 h 10000"/>
                <a:gd name="connsiteX20" fmla="*/ 425 w 9915"/>
                <a:gd name="connsiteY20" fmla="*/ 7805 h 10000"/>
                <a:gd name="connsiteX21" fmla="*/ 449 w 9915"/>
                <a:gd name="connsiteY21" fmla="*/ 7945 h 10000"/>
                <a:gd name="connsiteX22" fmla="*/ 393 w 9915"/>
                <a:gd name="connsiteY22" fmla="*/ 8053 h 10000"/>
                <a:gd name="connsiteX23" fmla="*/ 564 w 9915"/>
                <a:gd name="connsiteY23" fmla="*/ 8063 h 10000"/>
                <a:gd name="connsiteX24" fmla="*/ 730 w 9915"/>
                <a:gd name="connsiteY24" fmla="*/ 8478 h 10000"/>
                <a:gd name="connsiteX25" fmla="*/ 923 w 9915"/>
                <a:gd name="connsiteY25" fmla="*/ 8583 h 10000"/>
                <a:gd name="connsiteX26" fmla="*/ 1007 w 9915"/>
                <a:gd name="connsiteY26" fmla="*/ 8695 h 10000"/>
                <a:gd name="connsiteX27" fmla="*/ 1216 w 9915"/>
                <a:gd name="connsiteY27" fmla="*/ 8776 h 10000"/>
                <a:gd name="connsiteX28" fmla="*/ 1351 w 9915"/>
                <a:gd name="connsiteY28" fmla="*/ 8881 h 10000"/>
                <a:gd name="connsiteX29" fmla="*/ 1333 w 9915"/>
                <a:gd name="connsiteY29" fmla="*/ 8955 h 10000"/>
                <a:gd name="connsiteX30" fmla="*/ 1201 w 9915"/>
                <a:gd name="connsiteY30" fmla="*/ 8983 h 10000"/>
                <a:gd name="connsiteX31" fmla="*/ 1056 w 9915"/>
                <a:gd name="connsiteY31" fmla="*/ 8965 h 10000"/>
                <a:gd name="connsiteX32" fmla="*/ 1011 w 9915"/>
                <a:gd name="connsiteY32" fmla="*/ 8996 h 10000"/>
                <a:gd name="connsiteX33" fmla="*/ 1121 w 9915"/>
                <a:gd name="connsiteY33" fmla="*/ 9158 h 10000"/>
                <a:gd name="connsiteX34" fmla="*/ 967 w 9915"/>
                <a:gd name="connsiteY34" fmla="*/ 9144 h 10000"/>
                <a:gd name="connsiteX35" fmla="*/ 835 w 9915"/>
                <a:gd name="connsiteY35" fmla="*/ 9105 h 10000"/>
                <a:gd name="connsiteX36" fmla="*/ 812 w 9915"/>
                <a:gd name="connsiteY36" fmla="*/ 9165 h 10000"/>
                <a:gd name="connsiteX37" fmla="*/ 1249 w 9915"/>
                <a:gd name="connsiteY37" fmla="*/ 9718 h 10000"/>
                <a:gd name="connsiteX38" fmla="*/ 1179 w 9915"/>
                <a:gd name="connsiteY38" fmla="*/ 9770 h 10000"/>
                <a:gd name="connsiteX39" fmla="*/ 1130 w 9915"/>
                <a:gd name="connsiteY39" fmla="*/ 9876 h 10000"/>
                <a:gd name="connsiteX40" fmla="*/ 1067 w 9915"/>
                <a:gd name="connsiteY40" fmla="*/ 9885 h 10000"/>
                <a:gd name="connsiteX41" fmla="*/ 1028 w 9915"/>
                <a:gd name="connsiteY41" fmla="*/ 9931 h 10000"/>
                <a:gd name="connsiteX42" fmla="*/ 1292 w 9915"/>
                <a:gd name="connsiteY42" fmla="*/ 9936 h 10000"/>
                <a:gd name="connsiteX43" fmla="*/ 1525 w 9915"/>
                <a:gd name="connsiteY43" fmla="*/ 9982 h 10000"/>
                <a:gd name="connsiteX44" fmla="*/ 1913 w 9915"/>
                <a:gd name="connsiteY44" fmla="*/ 9933 h 10000"/>
                <a:gd name="connsiteX45" fmla="*/ 2261 w 9915"/>
                <a:gd name="connsiteY45" fmla="*/ 9941 h 10000"/>
                <a:gd name="connsiteX46" fmla="*/ 2466 w 9915"/>
                <a:gd name="connsiteY46" fmla="*/ 10000 h 10000"/>
                <a:gd name="connsiteX47" fmla="*/ 2579 w 9915"/>
                <a:gd name="connsiteY47" fmla="*/ 9961 h 10000"/>
                <a:gd name="connsiteX48" fmla="*/ 2687 w 9915"/>
                <a:gd name="connsiteY48" fmla="*/ 9834 h 10000"/>
                <a:gd name="connsiteX49" fmla="*/ 2659 w 9915"/>
                <a:gd name="connsiteY49" fmla="*/ 9625 h 10000"/>
                <a:gd name="connsiteX50" fmla="*/ 2924 w 9915"/>
                <a:gd name="connsiteY50" fmla="*/ 9392 h 10000"/>
                <a:gd name="connsiteX51" fmla="*/ 3117 w 9915"/>
                <a:gd name="connsiteY51" fmla="*/ 9428 h 10000"/>
                <a:gd name="connsiteX52" fmla="*/ 3230 w 9915"/>
                <a:gd name="connsiteY52" fmla="*/ 9335 h 10000"/>
                <a:gd name="connsiteX53" fmla="*/ 3446 w 9915"/>
                <a:gd name="connsiteY53" fmla="*/ 9282 h 10000"/>
                <a:gd name="connsiteX54" fmla="*/ 3739 w 9915"/>
                <a:gd name="connsiteY54" fmla="*/ 9295 h 10000"/>
                <a:gd name="connsiteX55" fmla="*/ 3915 w 9915"/>
                <a:gd name="connsiteY55" fmla="*/ 9332 h 10000"/>
                <a:gd name="connsiteX56" fmla="*/ 4149 w 9915"/>
                <a:gd name="connsiteY56" fmla="*/ 9315 h 10000"/>
                <a:gd name="connsiteX57" fmla="*/ 4386 w 9915"/>
                <a:gd name="connsiteY57" fmla="*/ 9356 h 10000"/>
                <a:gd name="connsiteX58" fmla="*/ 4622 w 9915"/>
                <a:gd name="connsiteY58" fmla="*/ 9361 h 10000"/>
                <a:gd name="connsiteX59" fmla="*/ 5152 w 9915"/>
                <a:gd name="connsiteY59" fmla="*/ 8817 h 10000"/>
                <a:gd name="connsiteX60" fmla="*/ 5287 w 9915"/>
                <a:gd name="connsiteY60" fmla="*/ 8375 h 10000"/>
                <a:gd name="connsiteX61" fmla="*/ 5502 w 9915"/>
                <a:gd name="connsiteY61" fmla="*/ 8177 h 10000"/>
                <a:gd name="connsiteX62" fmla="*/ 5502 w 9915"/>
                <a:gd name="connsiteY62" fmla="*/ 8073 h 10000"/>
                <a:gd name="connsiteX63" fmla="*/ 5424 w 9915"/>
                <a:gd name="connsiteY63" fmla="*/ 8015 h 10000"/>
                <a:gd name="connsiteX64" fmla="*/ 5550 w 9915"/>
                <a:gd name="connsiteY64" fmla="*/ 7922 h 10000"/>
                <a:gd name="connsiteX65" fmla="*/ 5528 w 9915"/>
                <a:gd name="connsiteY65" fmla="*/ 7844 h 10000"/>
                <a:gd name="connsiteX66" fmla="*/ 5441 w 9915"/>
                <a:gd name="connsiteY66" fmla="*/ 7776 h 10000"/>
                <a:gd name="connsiteX67" fmla="*/ 5424 w 9915"/>
                <a:gd name="connsiteY67" fmla="*/ 7728 h 10000"/>
                <a:gd name="connsiteX68" fmla="*/ 5446 w 9915"/>
                <a:gd name="connsiteY68" fmla="*/ 7691 h 10000"/>
                <a:gd name="connsiteX69" fmla="*/ 5563 w 9915"/>
                <a:gd name="connsiteY69" fmla="*/ 7721 h 10000"/>
                <a:gd name="connsiteX70" fmla="*/ 5656 w 9915"/>
                <a:gd name="connsiteY70" fmla="*/ 7719 h 10000"/>
                <a:gd name="connsiteX71" fmla="*/ 5605 w 9915"/>
                <a:gd name="connsiteY71" fmla="*/ 7655 h 10000"/>
                <a:gd name="connsiteX72" fmla="*/ 5621 w 9915"/>
                <a:gd name="connsiteY72" fmla="*/ 7619 h 10000"/>
                <a:gd name="connsiteX73" fmla="*/ 5690 w 9915"/>
                <a:gd name="connsiteY73" fmla="*/ 7565 h 10000"/>
                <a:gd name="connsiteX74" fmla="*/ 5677 w 9915"/>
                <a:gd name="connsiteY74" fmla="*/ 7521 h 10000"/>
                <a:gd name="connsiteX75" fmla="*/ 5741 w 9915"/>
                <a:gd name="connsiteY75" fmla="*/ 7373 h 10000"/>
                <a:gd name="connsiteX76" fmla="*/ 5723 w 9915"/>
                <a:gd name="connsiteY76" fmla="*/ 7327 h 10000"/>
                <a:gd name="connsiteX77" fmla="*/ 5402 w 9915"/>
                <a:gd name="connsiteY77" fmla="*/ 7216 h 10000"/>
                <a:gd name="connsiteX78" fmla="*/ 5446 w 9915"/>
                <a:gd name="connsiteY78" fmla="*/ 7211 h 10000"/>
                <a:gd name="connsiteX79" fmla="*/ 5617 w 9915"/>
                <a:gd name="connsiteY79" fmla="*/ 7241 h 10000"/>
                <a:gd name="connsiteX80" fmla="*/ 5803 w 9915"/>
                <a:gd name="connsiteY80" fmla="*/ 7230 h 10000"/>
                <a:gd name="connsiteX81" fmla="*/ 5856 w 9915"/>
                <a:gd name="connsiteY81" fmla="*/ 7189 h 10000"/>
                <a:gd name="connsiteX82" fmla="*/ 5677 w 9915"/>
                <a:gd name="connsiteY82" fmla="*/ 7113 h 10000"/>
                <a:gd name="connsiteX83" fmla="*/ 5148 w 9915"/>
                <a:gd name="connsiteY83" fmla="*/ 7062 h 10000"/>
                <a:gd name="connsiteX84" fmla="*/ 5184 w 9915"/>
                <a:gd name="connsiteY84" fmla="*/ 7039 h 10000"/>
                <a:gd name="connsiteX85" fmla="*/ 5617 w 9915"/>
                <a:gd name="connsiteY85" fmla="*/ 7023 h 10000"/>
                <a:gd name="connsiteX86" fmla="*/ 5856 w 9915"/>
                <a:gd name="connsiteY86" fmla="*/ 7069 h 10000"/>
                <a:gd name="connsiteX87" fmla="*/ 5993 w 9915"/>
                <a:gd name="connsiteY87" fmla="*/ 7039 h 10000"/>
                <a:gd name="connsiteX88" fmla="*/ 6043 w 9915"/>
                <a:gd name="connsiteY88" fmla="*/ 6959 h 10000"/>
                <a:gd name="connsiteX89" fmla="*/ 6293 w 9915"/>
                <a:gd name="connsiteY89" fmla="*/ 6959 h 10000"/>
                <a:gd name="connsiteX90" fmla="*/ 6631 w 9915"/>
                <a:gd name="connsiteY90" fmla="*/ 6799 h 10000"/>
                <a:gd name="connsiteX91" fmla="*/ 6642 w 9915"/>
                <a:gd name="connsiteY91" fmla="*/ 6693 h 10000"/>
                <a:gd name="connsiteX92" fmla="*/ 6785 w 9915"/>
                <a:gd name="connsiteY92" fmla="*/ 6718 h 10000"/>
                <a:gd name="connsiteX93" fmla="*/ 6779 w 9915"/>
                <a:gd name="connsiteY93" fmla="*/ 6824 h 10000"/>
                <a:gd name="connsiteX94" fmla="*/ 7005 w 9915"/>
                <a:gd name="connsiteY94" fmla="*/ 6817 h 10000"/>
                <a:gd name="connsiteX95" fmla="*/ 7154 w 9915"/>
                <a:gd name="connsiteY95" fmla="*/ 6707 h 10000"/>
                <a:gd name="connsiteX96" fmla="*/ 7431 w 9915"/>
                <a:gd name="connsiteY96" fmla="*/ 6607 h 10000"/>
                <a:gd name="connsiteX97" fmla="*/ 7388 w 9915"/>
                <a:gd name="connsiteY97" fmla="*/ 6493 h 10000"/>
                <a:gd name="connsiteX98" fmla="*/ 7470 w 9915"/>
                <a:gd name="connsiteY98" fmla="*/ 6538 h 10000"/>
                <a:gd name="connsiteX99" fmla="*/ 7596 w 9915"/>
                <a:gd name="connsiteY99" fmla="*/ 6538 h 10000"/>
                <a:gd name="connsiteX100" fmla="*/ 7596 w 9915"/>
                <a:gd name="connsiteY100" fmla="*/ 6486 h 10000"/>
                <a:gd name="connsiteX101" fmla="*/ 7715 w 9915"/>
                <a:gd name="connsiteY101" fmla="*/ 6446 h 10000"/>
                <a:gd name="connsiteX102" fmla="*/ 7699 w 9915"/>
                <a:gd name="connsiteY102" fmla="*/ 6405 h 10000"/>
                <a:gd name="connsiteX103" fmla="*/ 6703 w 9915"/>
                <a:gd name="connsiteY103" fmla="*/ 6488 h 10000"/>
                <a:gd name="connsiteX104" fmla="*/ 6469 w 9915"/>
                <a:gd name="connsiteY104" fmla="*/ 6463 h 10000"/>
                <a:gd name="connsiteX105" fmla="*/ 6375 w 9915"/>
                <a:gd name="connsiteY105" fmla="*/ 6493 h 10000"/>
                <a:gd name="connsiteX106" fmla="*/ 6344 w 9915"/>
                <a:gd name="connsiteY106" fmla="*/ 6436 h 10000"/>
                <a:gd name="connsiteX107" fmla="*/ 6233 w 9915"/>
                <a:gd name="connsiteY107" fmla="*/ 6384 h 10000"/>
                <a:gd name="connsiteX108" fmla="*/ 5789 w 9915"/>
                <a:gd name="connsiteY108" fmla="*/ 6282 h 10000"/>
                <a:gd name="connsiteX109" fmla="*/ 5528 w 9915"/>
                <a:gd name="connsiteY109" fmla="*/ 6298 h 10000"/>
                <a:gd name="connsiteX110" fmla="*/ 5424 w 9915"/>
                <a:gd name="connsiteY110" fmla="*/ 6270 h 10000"/>
                <a:gd name="connsiteX111" fmla="*/ 5534 w 9915"/>
                <a:gd name="connsiteY111" fmla="*/ 6245 h 10000"/>
                <a:gd name="connsiteX112" fmla="*/ 5617 w 9915"/>
                <a:gd name="connsiteY112" fmla="*/ 6190 h 10000"/>
                <a:gd name="connsiteX113" fmla="*/ 5741 w 9915"/>
                <a:gd name="connsiteY113" fmla="*/ 6208 h 10000"/>
                <a:gd name="connsiteX114" fmla="*/ 5888 w 9915"/>
                <a:gd name="connsiteY114" fmla="*/ 6193 h 10000"/>
                <a:gd name="connsiteX115" fmla="*/ 6110 w 9915"/>
                <a:gd name="connsiteY115" fmla="*/ 6211 h 10000"/>
                <a:gd name="connsiteX116" fmla="*/ 6136 w 9915"/>
                <a:gd name="connsiteY116" fmla="*/ 6204 h 10000"/>
                <a:gd name="connsiteX117" fmla="*/ 6309 w 9915"/>
                <a:gd name="connsiteY117" fmla="*/ 6287 h 10000"/>
                <a:gd name="connsiteX118" fmla="*/ 6435 w 9915"/>
                <a:gd name="connsiteY118" fmla="*/ 6257 h 10000"/>
                <a:gd name="connsiteX119" fmla="*/ 6447 w 9915"/>
                <a:gd name="connsiteY119" fmla="*/ 6229 h 10000"/>
                <a:gd name="connsiteX120" fmla="*/ 6563 w 9915"/>
                <a:gd name="connsiteY120" fmla="*/ 6278 h 10000"/>
                <a:gd name="connsiteX121" fmla="*/ 6717 w 9915"/>
                <a:gd name="connsiteY121" fmla="*/ 6304 h 10000"/>
                <a:gd name="connsiteX122" fmla="*/ 6779 w 9915"/>
                <a:gd name="connsiteY122" fmla="*/ 6255 h 10000"/>
                <a:gd name="connsiteX123" fmla="*/ 6828 w 9915"/>
                <a:gd name="connsiteY123" fmla="*/ 6282 h 10000"/>
                <a:gd name="connsiteX124" fmla="*/ 6900 w 9915"/>
                <a:gd name="connsiteY124" fmla="*/ 6377 h 10000"/>
                <a:gd name="connsiteX125" fmla="*/ 7049 w 9915"/>
                <a:gd name="connsiteY125" fmla="*/ 6399 h 10000"/>
                <a:gd name="connsiteX126" fmla="*/ 7659 w 9915"/>
                <a:gd name="connsiteY126" fmla="*/ 6259 h 10000"/>
                <a:gd name="connsiteX127" fmla="*/ 7958 w 9915"/>
                <a:gd name="connsiteY127" fmla="*/ 6064 h 10000"/>
                <a:gd name="connsiteX128" fmla="*/ 8027 w 9915"/>
                <a:gd name="connsiteY128" fmla="*/ 5921 h 10000"/>
                <a:gd name="connsiteX129" fmla="*/ 7919 w 9915"/>
                <a:gd name="connsiteY129" fmla="*/ 5792 h 10000"/>
                <a:gd name="connsiteX130" fmla="*/ 7691 w 9915"/>
                <a:gd name="connsiteY130" fmla="*/ 5715 h 10000"/>
                <a:gd name="connsiteX131" fmla="*/ 7530 w 9915"/>
                <a:gd name="connsiteY131" fmla="*/ 5589 h 10000"/>
                <a:gd name="connsiteX132" fmla="*/ 7680 w 9915"/>
                <a:gd name="connsiteY132" fmla="*/ 5584 h 10000"/>
                <a:gd name="connsiteX133" fmla="*/ 7670 w 9915"/>
                <a:gd name="connsiteY133" fmla="*/ 5554 h 10000"/>
                <a:gd name="connsiteX134" fmla="*/ 7279 w 9915"/>
                <a:gd name="connsiteY134" fmla="*/ 5465 h 10000"/>
                <a:gd name="connsiteX135" fmla="*/ 7262 w 9915"/>
                <a:gd name="connsiteY135" fmla="*/ 5383 h 10000"/>
                <a:gd name="connsiteX136" fmla="*/ 7186 w 9915"/>
                <a:gd name="connsiteY136" fmla="*/ 5299 h 10000"/>
                <a:gd name="connsiteX137" fmla="*/ 6878 w 9915"/>
                <a:gd name="connsiteY137" fmla="*/ 5314 h 10000"/>
                <a:gd name="connsiteX138" fmla="*/ 6767 w 9915"/>
                <a:gd name="connsiteY138" fmla="*/ 5224 h 10000"/>
                <a:gd name="connsiteX139" fmla="*/ 6703 w 9915"/>
                <a:gd name="connsiteY139" fmla="*/ 5219 h 10000"/>
                <a:gd name="connsiteX140" fmla="*/ 6703 w 9915"/>
                <a:gd name="connsiteY140" fmla="*/ 5256 h 10000"/>
                <a:gd name="connsiteX141" fmla="*/ 6563 w 9915"/>
                <a:gd name="connsiteY141" fmla="*/ 5408 h 10000"/>
                <a:gd name="connsiteX142" fmla="*/ 6413 w 9915"/>
                <a:gd name="connsiteY142" fmla="*/ 5498 h 10000"/>
                <a:gd name="connsiteX143" fmla="*/ 5941 w 9915"/>
                <a:gd name="connsiteY143" fmla="*/ 5651 h 10000"/>
                <a:gd name="connsiteX144" fmla="*/ 5777 w 9915"/>
                <a:gd name="connsiteY144" fmla="*/ 5646 h 10000"/>
                <a:gd name="connsiteX145" fmla="*/ 5550 w 9915"/>
                <a:gd name="connsiteY145" fmla="*/ 5669 h 10000"/>
                <a:gd name="connsiteX146" fmla="*/ 5424 w 9915"/>
                <a:gd name="connsiteY146" fmla="*/ 5646 h 10000"/>
                <a:gd name="connsiteX147" fmla="*/ 5590 w 9915"/>
                <a:gd name="connsiteY147" fmla="*/ 5604 h 10000"/>
                <a:gd name="connsiteX148" fmla="*/ 5807 w 9915"/>
                <a:gd name="connsiteY148" fmla="*/ 5584 h 10000"/>
                <a:gd name="connsiteX149" fmla="*/ 5984 w 9915"/>
                <a:gd name="connsiteY149" fmla="*/ 5513 h 10000"/>
                <a:gd name="connsiteX150" fmla="*/ 6159 w 9915"/>
                <a:gd name="connsiteY150" fmla="*/ 5480 h 10000"/>
                <a:gd name="connsiteX151" fmla="*/ 6487 w 9915"/>
                <a:gd name="connsiteY151" fmla="*/ 5355 h 10000"/>
                <a:gd name="connsiteX152" fmla="*/ 6548 w 9915"/>
                <a:gd name="connsiteY152" fmla="*/ 5274 h 10000"/>
                <a:gd name="connsiteX153" fmla="*/ 6554 w 9915"/>
                <a:gd name="connsiteY153" fmla="*/ 5168 h 10000"/>
                <a:gd name="connsiteX154" fmla="*/ 6403 w 9915"/>
                <a:gd name="connsiteY154" fmla="*/ 5150 h 10000"/>
                <a:gd name="connsiteX155" fmla="*/ 6469 w 9915"/>
                <a:gd name="connsiteY155" fmla="*/ 5086 h 10000"/>
                <a:gd name="connsiteX156" fmla="*/ 6491 w 9915"/>
                <a:gd name="connsiteY156" fmla="*/ 5005 h 10000"/>
                <a:gd name="connsiteX157" fmla="*/ 6427 w 9915"/>
                <a:gd name="connsiteY157" fmla="*/ 4928 h 10000"/>
                <a:gd name="connsiteX158" fmla="*/ 9786 w 9915"/>
                <a:gd name="connsiteY158" fmla="*/ 2263 h 10000"/>
                <a:gd name="connsiteX159" fmla="*/ 9233 w 9915"/>
                <a:gd name="connsiteY159" fmla="*/ 1639 h 10000"/>
                <a:gd name="connsiteX160" fmla="*/ 9303 w 9915"/>
                <a:gd name="connsiteY160" fmla="*/ 1480 h 10000"/>
                <a:gd name="connsiteX161" fmla="*/ 7880 w 9915"/>
                <a:gd name="connsiteY161" fmla="*/ 923 h 10000"/>
                <a:gd name="connsiteX162" fmla="*/ 7906 w 9915"/>
                <a:gd name="connsiteY162" fmla="*/ 649 h 10000"/>
                <a:gd name="connsiteX163" fmla="*/ 7370 w 9915"/>
                <a:gd name="connsiteY163" fmla="*/ 590 h 10000"/>
                <a:gd name="connsiteX164" fmla="*/ 6741 w 9915"/>
                <a:gd name="connsiteY164" fmla="*/ 332 h 10000"/>
                <a:gd name="connsiteX165" fmla="*/ 5358 w 9915"/>
                <a:gd name="connsiteY165" fmla="*/ 0 h 10000"/>
                <a:gd name="connsiteX166" fmla="*/ 5084 w 9915"/>
                <a:gd name="connsiteY166" fmla="*/ 82 h 10000"/>
                <a:gd name="connsiteX167" fmla="*/ 4910 w 9915"/>
                <a:gd name="connsiteY167" fmla="*/ 78 h 10000"/>
                <a:gd name="connsiteX168" fmla="*/ 4805 w 9915"/>
                <a:gd name="connsiteY168" fmla="*/ 107 h 10000"/>
                <a:gd name="connsiteX169" fmla="*/ 4518 w 9915"/>
                <a:gd name="connsiteY169" fmla="*/ 913 h 10000"/>
                <a:gd name="connsiteX170" fmla="*/ 3855 w 9915"/>
                <a:gd name="connsiteY170" fmla="*/ 1383 h 10000"/>
                <a:gd name="connsiteX171" fmla="*/ 3860 w 9915"/>
                <a:gd name="connsiteY171" fmla="*/ 1457 h 10000"/>
                <a:gd name="connsiteX172" fmla="*/ 4154 w 9915"/>
                <a:gd name="connsiteY172" fmla="*/ 1668 h 10000"/>
                <a:gd name="connsiteX173" fmla="*/ 4059 w 9915"/>
                <a:gd name="connsiteY173" fmla="*/ 1896 h 10000"/>
                <a:gd name="connsiteX174" fmla="*/ 3887 w 9915"/>
                <a:gd name="connsiteY174" fmla="*/ 1979 h 10000"/>
                <a:gd name="connsiteX175" fmla="*/ 3371 w 9915"/>
                <a:gd name="connsiteY175" fmla="*/ 1924 h 10000"/>
                <a:gd name="connsiteX176" fmla="*/ 3018 w 9915"/>
                <a:gd name="connsiteY176" fmla="*/ 1955 h 10000"/>
                <a:gd name="connsiteX177" fmla="*/ 2734 w 9915"/>
                <a:gd name="connsiteY177" fmla="*/ 2023 h 10000"/>
                <a:gd name="connsiteX178" fmla="*/ 2274 w 9915"/>
                <a:gd name="connsiteY178" fmla="*/ 2233 h 10000"/>
                <a:gd name="connsiteX179" fmla="*/ 2030 w 9915"/>
                <a:gd name="connsiteY179" fmla="*/ 2487 h 10000"/>
                <a:gd name="connsiteX180" fmla="*/ 2050 w 9915"/>
                <a:gd name="connsiteY180" fmla="*/ 2629 h 10000"/>
                <a:gd name="connsiteX181" fmla="*/ 2136 w 9915"/>
                <a:gd name="connsiteY181" fmla="*/ 2738 h 10000"/>
                <a:gd name="connsiteX182" fmla="*/ 2200 w 9915"/>
                <a:gd name="connsiteY182" fmla="*/ 2782 h 10000"/>
                <a:gd name="connsiteX183" fmla="*/ 2080 w 9915"/>
                <a:gd name="connsiteY183" fmla="*/ 2852 h 10000"/>
                <a:gd name="connsiteX184" fmla="*/ 1819 w 9915"/>
                <a:gd name="connsiteY184" fmla="*/ 3330 h 10000"/>
                <a:gd name="connsiteX185" fmla="*/ 1870 w 9915"/>
                <a:gd name="connsiteY185" fmla="*/ 3358 h 10000"/>
                <a:gd name="connsiteX186" fmla="*/ 1907 w 9915"/>
                <a:gd name="connsiteY186" fmla="*/ 3479 h 10000"/>
                <a:gd name="connsiteX187" fmla="*/ 1787 w 9915"/>
                <a:gd name="connsiteY187" fmla="*/ 3982 h 10000"/>
                <a:gd name="connsiteX188" fmla="*/ 1907 w 9915"/>
                <a:gd name="connsiteY188" fmla="*/ 4110 h 10000"/>
                <a:gd name="connsiteX189" fmla="*/ 2240 w 9915"/>
                <a:gd name="connsiteY189" fmla="*/ 4251 h 10000"/>
                <a:gd name="connsiteX190" fmla="*/ 2254 w 9915"/>
                <a:gd name="connsiteY190" fmla="*/ 4423 h 10000"/>
                <a:gd name="connsiteX191" fmla="*/ 2113 w 9915"/>
                <a:gd name="connsiteY191" fmla="*/ 4566 h 10000"/>
                <a:gd name="connsiteX192" fmla="*/ 1907 w 9915"/>
                <a:gd name="connsiteY192" fmla="*/ 4652 h 10000"/>
                <a:gd name="connsiteX193" fmla="*/ 1637 w 9915"/>
                <a:gd name="connsiteY193" fmla="*/ 4687 h 10000"/>
                <a:gd name="connsiteX194" fmla="*/ 1566 w 9915"/>
                <a:gd name="connsiteY194" fmla="*/ 4737 h 10000"/>
                <a:gd name="connsiteX195" fmla="*/ 1724 w 9915"/>
                <a:gd name="connsiteY195" fmla="*/ 4855 h 10000"/>
                <a:gd name="connsiteX196" fmla="*/ 1814 w 9915"/>
                <a:gd name="connsiteY196" fmla="*/ 5136 h 10000"/>
                <a:gd name="connsiteX197" fmla="*/ 1609 w 9915"/>
                <a:gd name="connsiteY197" fmla="*/ 5376 h 10000"/>
                <a:gd name="connsiteX198" fmla="*/ 1681 w 9915"/>
                <a:gd name="connsiteY198" fmla="*/ 5451 h 10000"/>
                <a:gd name="connsiteX199" fmla="*/ 1615 w 9915"/>
                <a:gd name="connsiteY199" fmla="*/ 5577 h 10000"/>
                <a:gd name="connsiteX200" fmla="*/ 1485 w 9915"/>
                <a:gd name="connsiteY200" fmla="*/ 5663 h 10000"/>
                <a:gd name="connsiteX201" fmla="*/ 962 w 9915"/>
                <a:gd name="connsiteY201" fmla="*/ 5730 h 10000"/>
                <a:gd name="connsiteX202" fmla="*/ 930 w 9915"/>
                <a:gd name="connsiteY202" fmla="*/ 5846 h 10000"/>
                <a:gd name="connsiteX203" fmla="*/ 648 w 9915"/>
                <a:gd name="connsiteY203" fmla="*/ 6019 h 10000"/>
                <a:gd name="connsiteX204" fmla="*/ 685 w 9915"/>
                <a:gd name="connsiteY204" fmla="*/ 6268 h 10000"/>
                <a:gd name="connsiteX205" fmla="*/ 449 w 9915"/>
                <a:gd name="connsiteY205" fmla="*/ 6587 h 10000"/>
                <a:gd name="connsiteX206" fmla="*/ 288 w 9915"/>
                <a:gd name="connsiteY206" fmla="*/ 6624 h 10000"/>
                <a:gd name="connsiteX207" fmla="*/ 221 w 9915"/>
                <a:gd name="connsiteY207" fmla="*/ 6548 h 10000"/>
                <a:gd name="connsiteX208" fmla="*/ 139 w 9915"/>
                <a:gd name="connsiteY208" fmla="*/ 6663 h 10000"/>
                <a:gd name="connsiteX209" fmla="*/ 192 w 9915"/>
                <a:gd name="connsiteY209" fmla="*/ 6465 h 10000"/>
                <a:gd name="connsiteX210" fmla="*/ 158 w 9915"/>
                <a:gd name="connsiteY210" fmla="*/ 6427 h 10000"/>
                <a:gd name="connsiteX0" fmla="*/ 159 w 10043"/>
                <a:gd name="connsiteY0" fmla="*/ 6427 h 10000"/>
                <a:gd name="connsiteX1" fmla="*/ 0 w 10043"/>
                <a:gd name="connsiteY1" fmla="*/ 6530 h 10000"/>
                <a:gd name="connsiteX2" fmla="*/ 0 w 10043"/>
                <a:gd name="connsiteY2" fmla="*/ 7039 h 10000"/>
                <a:gd name="connsiteX3" fmla="*/ 88 w 10043"/>
                <a:gd name="connsiteY3" fmla="*/ 7053 h 10000"/>
                <a:gd name="connsiteX4" fmla="*/ 109 w 10043"/>
                <a:gd name="connsiteY4" fmla="*/ 7092 h 10000"/>
                <a:gd name="connsiteX5" fmla="*/ 105 w 10043"/>
                <a:gd name="connsiteY5" fmla="*/ 7161 h 10000"/>
                <a:gd name="connsiteX6" fmla="*/ 72 w 10043"/>
                <a:gd name="connsiteY6" fmla="*/ 7192 h 10000"/>
                <a:gd name="connsiteX7" fmla="*/ 207 w 10043"/>
                <a:gd name="connsiteY7" fmla="*/ 7133 h 10000"/>
                <a:gd name="connsiteX8" fmla="*/ 263 w 10043"/>
                <a:gd name="connsiteY8" fmla="*/ 7075 h 10000"/>
                <a:gd name="connsiteX9" fmla="*/ 334 w 10043"/>
                <a:gd name="connsiteY9" fmla="*/ 7115 h 10000"/>
                <a:gd name="connsiteX10" fmla="*/ 256 w 10043"/>
                <a:gd name="connsiteY10" fmla="*/ 7198 h 10000"/>
                <a:gd name="connsiteX11" fmla="*/ 339 w 10043"/>
                <a:gd name="connsiteY11" fmla="*/ 7200 h 10000"/>
                <a:gd name="connsiteX12" fmla="*/ 380 w 10043"/>
                <a:gd name="connsiteY12" fmla="*/ 7221 h 10000"/>
                <a:gd name="connsiteX13" fmla="*/ 273 w 10043"/>
                <a:gd name="connsiteY13" fmla="*/ 7248 h 10000"/>
                <a:gd name="connsiteX14" fmla="*/ 105 w 10043"/>
                <a:gd name="connsiteY14" fmla="*/ 7333 h 10000"/>
                <a:gd name="connsiteX15" fmla="*/ 403 w 10043"/>
                <a:gd name="connsiteY15" fmla="*/ 7400 h 10000"/>
                <a:gd name="connsiteX16" fmla="*/ 441 w 10043"/>
                <a:gd name="connsiteY16" fmla="*/ 7496 h 10000"/>
                <a:gd name="connsiteX17" fmla="*/ 339 w 10043"/>
                <a:gd name="connsiteY17" fmla="*/ 7636 h 10000"/>
                <a:gd name="connsiteX18" fmla="*/ 557 w 10043"/>
                <a:gd name="connsiteY18" fmla="*/ 7627 h 10000"/>
                <a:gd name="connsiteX19" fmla="*/ 574 w 10043"/>
                <a:gd name="connsiteY19" fmla="*/ 7733 h 10000"/>
                <a:gd name="connsiteX20" fmla="*/ 429 w 10043"/>
                <a:gd name="connsiteY20" fmla="*/ 7805 h 10000"/>
                <a:gd name="connsiteX21" fmla="*/ 453 w 10043"/>
                <a:gd name="connsiteY21" fmla="*/ 7945 h 10000"/>
                <a:gd name="connsiteX22" fmla="*/ 396 w 10043"/>
                <a:gd name="connsiteY22" fmla="*/ 8053 h 10000"/>
                <a:gd name="connsiteX23" fmla="*/ 569 w 10043"/>
                <a:gd name="connsiteY23" fmla="*/ 8063 h 10000"/>
                <a:gd name="connsiteX24" fmla="*/ 736 w 10043"/>
                <a:gd name="connsiteY24" fmla="*/ 8478 h 10000"/>
                <a:gd name="connsiteX25" fmla="*/ 931 w 10043"/>
                <a:gd name="connsiteY25" fmla="*/ 8583 h 10000"/>
                <a:gd name="connsiteX26" fmla="*/ 1016 w 10043"/>
                <a:gd name="connsiteY26" fmla="*/ 8695 h 10000"/>
                <a:gd name="connsiteX27" fmla="*/ 1226 w 10043"/>
                <a:gd name="connsiteY27" fmla="*/ 8776 h 10000"/>
                <a:gd name="connsiteX28" fmla="*/ 1363 w 10043"/>
                <a:gd name="connsiteY28" fmla="*/ 8881 h 10000"/>
                <a:gd name="connsiteX29" fmla="*/ 1344 w 10043"/>
                <a:gd name="connsiteY29" fmla="*/ 8955 h 10000"/>
                <a:gd name="connsiteX30" fmla="*/ 1211 w 10043"/>
                <a:gd name="connsiteY30" fmla="*/ 8983 h 10000"/>
                <a:gd name="connsiteX31" fmla="*/ 1065 w 10043"/>
                <a:gd name="connsiteY31" fmla="*/ 8965 h 10000"/>
                <a:gd name="connsiteX32" fmla="*/ 1020 w 10043"/>
                <a:gd name="connsiteY32" fmla="*/ 8996 h 10000"/>
                <a:gd name="connsiteX33" fmla="*/ 1131 w 10043"/>
                <a:gd name="connsiteY33" fmla="*/ 9158 h 10000"/>
                <a:gd name="connsiteX34" fmla="*/ 975 w 10043"/>
                <a:gd name="connsiteY34" fmla="*/ 9144 h 10000"/>
                <a:gd name="connsiteX35" fmla="*/ 842 w 10043"/>
                <a:gd name="connsiteY35" fmla="*/ 9105 h 10000"/>
                <a:gd name="connsiteX36" fmla="*/ 819 w 10043"/>
                <a:gd name="connsiteY36" fmla="*/ 9165 h 10000"/>
                <a:gd name="connsiteX37" fmla="*/ 1260 w 10043"/>
                <a:gd name="connsiteY37" fmla="*/ 9718 h 10000"/>
                <a:gd name="connsiteX38" fmla="*/ 1189 w 10043"/>
                <a:gd name="connsiteY38" fmla="*/ 9770 h 10000"/>
                <a:gd name="connsiteX39" fmla="*/ 1140 w 10043"/>
                <a:gd name="connsiteY39" fmla="*/ 9876 h 10000"/>
                <a:gd name="connsiteX40" fmla="*/ 1076 w 10043"/>
                <a:gd name="connsiteY40" fmla="*/ 9885 h 10000"/>
                <a:gd name="connsiteX41" fmla="*/ 1037 w 10043"/>
                <a:gd name="connsiteY41" fmla="*/ 9931 h 10000"/>
                <a:gd name="connsiteX42" fmla="*/ 1303 w 10043"/>
                <a:gd name="connsiteY42" fmla="*/ 9936 h 10000"/>
                <a:gd name="connsiteX43" fmla="*/ 1538 w 10043"/>
                <a:gd name="connsiteY43" fmla="*/ 9982 h 10000"/>
                <a:gd name="connsiteX44" fmla="*/ 1929 w 10043"/>
                <a:gd name="connsiteY44" fmla="*/ 9933 h 10000"/>
                <a:gd name="connsiteX45" fmla="*/ 2280 w 10043"/>
                <a:gd name="connsiteY45" fmla="*/ 9941 h 10000"/>
                <a:gd name="connsiteX46" fmla="*/ 2487 w 10043"/>
                <a:gd name="connsiteY46" fmla="*/ 10000 h 10000"/>
                <a:gd name="connsiteX47" fmla="*/ 2601 w 10043"/>
                <a:gd name="connsiteY47" fmla="*/ 9961 h 10000"/>
                <a:gd name="connsiteX48" fmla="*/ 2710 w 10043"/>
                <a:gd name="connsiteY48" fmla="*/ 9834 h 10000"/>
                <a:gd name="connsiteX49" fmla="*/ 2682 w 10043"/>
                <a:gd name="connsiteY49" fmla="*/ 9625 h 10000"/>
                <a:gd name="connsiteX50" fmla="*/ 2949 w 10043"/>
                <a:gd name="connsiteY50" fmla="*/ 9392 h 10000"/>
                <a:gd name="connsiteX51" fmla="*/ 3144 w 10043"/>
                <a:gd name="connsiteY51" fmla="*/ 9428 h 10000"/>
                <a:gd name="connsiteX52" fmla="*/ 3258 w 10043"/>
                <a:gd name="connsiteY52" fmla="*/ 9335 h 10000"/>
                <a:gd name="connsiteX53" fmla="*/ 3476 w 10043"/>
                <a:gd name="connsiteY53" fmla="*/ 9282 h 10000"/>
                <a:gd name="connsiteX54" fmla="*/ 3771 w 10043"/>
                <a:gd name="connsiteY54" fmla="*/ 9295 h 10000"/>
                <a:gd name="connsiteX55" fmla="*/ 3949 w 10043"/>
                <a:gd name="connsiteY55" fmla="*/ 9332 h 10000"/>
                <a:gd name="connsiteX56" fmla="*/ 4185 w 10043"/>
                <a:gd name="connsiteY56" fmla="*/ 9315 h 10000"/>
                <a:gd name="connsiteX57" fmla="*/ 4424 w 10043"/>
                <a:gd name="connsiteY57" fmla="*/ 9356 h 10000"/>
                <a:gd name="connsiteX58" fmla="*/ 4662 w 10043"/>
                <a:gd name="connsiteY58" fmla="*/ 9361 h 10000"/>
                <a:gd name="connsiteX59" fmla="*/ 5196 w 10043"/>
                <a:gd name="connsiteY59" fmla="*/ 8817 h 10000"/>
                <a:gd name="connsiteX60" fmla="*/ 5332 w 10043"/>
                <a:gd name="connsiteY60" fmla="*/ 8375 h 10000"/>
                <a:gd name="connsiteX61" fmla="*/ 5549 w 10043"/>
                <a:gd name="connsiteY61" fmla="*/ 8177 h 10000"/>
                <a:gd name="connsiteX62" fmla="*/ 5549 w 10043"/>
                <a:gd name="connsiteY62" fmla="*/ 8073 h 10000"/>
                <a:gd name="connsiteX63" fmla="*/ 5470 w 10043"/>
                <a:gd name="connsiteY63" fmla="*/ 8015 h 10000"/>
                <a:gd name="connsiteX64" fmla="*/ 5598 w 10043"/>
                <a:gd name="connsiteY64" fmla="*/ 7922 h 10000"/>
                <a:gd name="connsiteX65" fmla="*/ 5575 w 10043"/>
                <a:gd name="connsiteY65" fmla="*/ 7844 h 10000"/>
                <a:gd name="connsiteX66" fmla="*/ 5488 w 10043"/>
                <a:gd name="connsiteY66" fmla="*/ 7776 h 10000"/>
                <a:gd name="connsiteX67" fmla="*/ 5470 w 10043"/>
                <a:gd name="connsiteY67" fmla="*/ 7728 h 10000"/>
                <a:gd name="connsiteX68" fmla="*/ 5493 w 10043"/>
                <a:gd name="connsiteY68" fmla="*/ 7691 h 10000"/>
                <a:gd name="connsiteX69" fmla="*/ 5611 w 10043"/>
                <a:gd name="connsiteY69" fmla="*/ 7721 h 10000"/>
                <a:gd name="connsiteX70" fmla="*/ 5704 w 10043"/>
                <a:gd name="connsiteY70" fmla="*/ 7719 h 10000"/>
                <a:gd name="connsiteX71" fmla="*/ 5653 w 10043"/>
                <a:gd name="connsiteY71" fmla="*/ 7655 h 10000"/>
                <a:gd name="connsiteX72" fmla="*/ 5669 w 10043"/>
                <a:gd name="connsiteY72" fmla="*/ 7619 h 10000"/>
                <a:gd name="connsiteX73" fmla="*/ 5739 w 10043"/>
                <a:gd name="connsiteY73" fmla="*/ 7565 h 10000"/>
                <a:gd name="connsiteX74" fmla="*/ 5726 w 10043"/>
                <a:gd name="connsiteY74" fmla="*/ 7521 h 10000"/>
                <a:gd name="connsiteX75" fmla="*/ 5790 w 10043"/>
                <a:gd name="connsiteY75" fmla="*/ 7373 h 10000"/>
                <a:gd name="connsiteX76" fmla="*/ 5772 w 10043"/>
                <a:gd name="connsiteY76" fmla="*/ 7327 h 10000"/>
                <a:gd name="connsiteX77" fmla="*/ 5448 w 10043"/>
                <a:gd name="connsiteY77" fmla="*/ 7216 h 10000"/>
                <a:gd name="connsiteX78" fmla="*/ 5493 w 10043"/>
                <a:gd name="connsiteY78" fmla="*/ 7211 h 10000"/>
                <a:gd name="connsiteX79" fmla="*/ 5665 w 10043"/>
                <a:gd name="connsiteY79" fmla="*/ 7241 h 10000"/>
                <a:gd name="connsiteX80" fmla="*/ 5853 w 10043"/>
                <a:gd name="connsiteY80" fmla="*/ 7230 h 10000"/>
                <a:gd name="connsiteX81" fmla="*/ 5906 w 10043"/>
                <a:gd name="connsiteY81" fmla="*/ 7189 h 10000"/>
                <a:gd name="connsiteX82" fmla="*/ 5726 w 10043"/>
                <a:gd name="connsiteY82" fmla="*/ 7113 h 10000"/>
                <a:gd name="connsiteX83" fmla="*/ 5192 w 10043"/>
                <a:gd name="connsiteY83" fmla="*/ 7062 h 10000"/>
                <a:gd name="connsiteX84" fmla="*/ 5228 w 10043"/>
                <a:gd name="connsiteY84" fmla="*/ 7039 h 10000"/>
                <a:gd name="connsiteX85" fmla="*/ 5665 w 10043"/>
                <a:gd name="connsiteY85" fmla="*/ 7023 h 10000"/>
                <a:gd name="connsiteX86" fmla="*/ 5906 w 10043"/>
                <a:gd name="connsiteY86" fmla="*/ 7069 h 10000"/>
                <a:gd name="connsiteX87" fmla="*/ 6044 w 10043"/>
                <a:gd name="connsiteY87" fmla="*/ 7039 h 10000"/>
                <a:gd name="connsiteX88" fmla="*/ 6095 w 10043"/>
                <a:gd name="connsiteY88" fmla="*/ 6959 h 10000"/>
                <a:gd name="connsiteX89" fmla="*/ 6347 w 10043"/>
                <a:gd name="connsiteY89" fmla="*/ 6959 h 10000"/>
                <a:gd name="connsiteX90" fmla="*/ 6688 w 10043"/>
                <a:gd name="connsiteY90" fmla="*/ 6799 h 10000"/>
                <a:gd name="connsiteX91" fmla="*/ 6699 w 10043"/>
                <a:gd name="connsiteY91" fmla="*/ 6693 h 10000"/>
                <a:gd name="connsiteX92" fmla="*/ 6843 w 10043"/>
                <a:gd name="connsiteY92" fmla="*/ 6718 h 10000"/>
                <a:gd name="connsiteX93" fmla="*/ 6837 w 10043"/>
                <a:gd name="connsiteY93" fmla="*/ 6824 h 10000"/>
                <a:gd name="connsiteX94" fmla="*/ 7065 w 10043"/>
                <a:gd name="connsiteY94" fmla="*/ 6817 h 10000"/>
                <a:gd name="connsiteX95" fmla="*/ 7215 w 10043"/>
                <a:gd name="connsiteY95" fmla="*/ 6707 h 10000"/>
                <a:gd name="connsiteX96" fmla="*/ 7495 w 10043"/>
                <a:gd name="connsiteY96" fmla="*/ 6607 h 10000"/>
                <a:gd name="connsiteX97" fmla="*/ 7451 w 10043"/>
                <a:gd name="connsiteY97" fmla="*/ 6493 h 10000"/>
                <a:gd name="connsiteX98" fmla="*/ 7534 w 10043"/>
                <a:gd name="connsiteY98" fmla="*/ 6538 h 10000"/>
                <a:gd name="connsiteX99" fmla="*/ 7661 w 10043"/>
                <a:gd name="connsiteY99" fmla="*/ 6538 h 10000"/>
                <a:gd name="connsiteX100" fmla="*/ 7661 w 10043"/>
                <a:gd name="connsiteY100" fmla="*/ 6486 h 10000"/>
                <a:gd name="connsiteX101" fmla="*/ 7781 w 10043"/>
                <a:gd name="connsiteY101" fmla="*/ 6446 h 10000"/>
                <a:gd name="connsiteX102" fmla="*/ 7765 w 10043"/>
                <a:gd name="connsiteY102" fmla="*/ 6405 h 10000"/>
                <a:gd name="connsiteX103" fmla="*/ 6760 w 10043"/>
                <a:gd name="connsiteY103" fmla="*/ 6488 h 10000"/>
                <a:gd name="connsiteX104" fmla="*/ 6524 w 10043"/>
                <a:gd name="connsiteY104" fmla="*/ 6463 h 10000"/>
                <a:gd name="connsiteX105" fmla="*/ 6430 w 10043"/>
                <a:gd name="connsiteY105" fmla="*/ 6493 h 10000"/>
                <a:gd name="connsiteX106" fmla="*/ 6398 w 10043"/>
                <a:gd name="connsiteY106" fmla="*/ 6436 h 10000"/>
                <a:gd name="connsiteX107" fmla="*/ 6286 w 10043"/>
                <a:gd name="connsiteY107" fmla="*/ 6384 h 10000"/>
                <a:gd name="connsiteX108" fmla="*/ 5839 w 10043"/>
                <a:gd name="connsiteY108" fmla="*/ 6282 h 10000"/>
                <a:gd name="connsiteX109" fmla="*/ 5575 w 10043"/>
                <a:gd name="connsiteY109" fmla="*/ 6298 h 10000"/>
                <a:gd name="connsiteX110" fmla="*/ 5470 w 10043"/>
                <a:gd name="connsiteY110" fmla="*/ 6270 h 10000"/>
                <a:gd name="connsiteX111" fmla="*/ 5581 w 10043"/>
                <a:gd name="connsiteY111" fmla="*/ 6245 h 10000"/>
                <a:gd name="connsiteX112" fmla="*/ 5665 w 10043"/>
                <a:gd name="connsiteY112" fmla="*/ 6190 h 10000"/>
                <a:gd name="connsiteX113" fmla="*/ 5790 w 10043"/>
                <a:gd name="connsiteY113" fmla="*/ 6208 h 10000"/>
                <a:gd name="connsiteX114" fmla="*/ 5938 w 10043"/>
                <a:gd name="connsiteY114" fmla="*/ 6193 h 10000"/>
                <a:gd name="connsiteX115" fmla="*/ 6162 w 10043"/>
                <a:gd name="connsiteY115" fmla="*/ 6211 h 10000"/>
                <a:gd name="connsiteX116" fmla="*/ 6189 w 10043"/>
                <a:gd name="connsiteY116" fmla="*/ 6204 h 10000"/>
                <a:gd name="connsiteX117" fmla="*/ 6363 w 10043"/>
                <a:gd name="connsiteY117" fmla="*/ 6287 h 10000"/>
                <a:gd name="connsiteX118" fmla="*/ 6490 w 10043"/>
                <a:gd name="connsiteY118" fmla="*/ 6257 h 10000"/>
                <a:gd name="connsiteX119" fmla="*/ 6502 w 10043"/>
                <a:gd name="connsiteY119" fmla="*/ 6229 h 10000"/>
                <a:gd name="connsiteX120" fmla="*/ 6619 w 10043"/>
                <a:gd name="connsiteY120" fmla="*/ 6278 h 10000"/>
                <a:gd name="connsiteX121" fmla="*/ 6775 w 10043"/>
                <a:gd name="connsiteY121" fmla="*/ 6304 h 10000"/>
                <a:gd name="connsiteX122" fmla="*/ 6837 w 10043"/>
                <a:gd name="connsiteY122" fmla="*/ 6255 h 10000"/>
                <a:gd name="connsiteX123" fmla="*/ 6887 w 10043"/>
                <a:gd name="connsiteY123" fmla="*/ 6282 h 10000"/>
                <a:gd name="connsiteX124" fmla="*/ 6959 w 10043"/>
                <a:gd name="connsiteY124" fmla="*/ 6377 h 10000"/>
                <a:gd name="connsiteX125" fmla="*/ 7109 w 10043"/>
                <a:gd name="connsiteY125" fmla="*/ 6399 h 10000"/>
                <a:gd name="connsiteX126" fmla="*/ 7725 w 10043"/>
                <a:gd name="connsiteY126" fmla="*/ 6259 h 10000"/>
                <a:gd name="connsiteX127" fmla="*/ 8026 w 10043"/>
                <a:gd name="connsiteY127" fmla="*/ 6064 h 10000"/>
                <a:gd name="connsiteX128" fmla="*/ 8096 w 10043"/>
                <a:gd name="connsiteY128" fmla="*/ 5921 h 10000"/>
                <a:gd name="connsiteX129" fmla="*/ 7987 w 10043"/>
                <a:gd name="connsiteY129" fmla="*/ 5792 h 10000"/>
                <a:gd name="connsiteX130" fmla="*/ 7757 w 10043"/>
                <a:gd name="connsiteY130" fmla="*/ 5715 h 10000"/>
                <a:gd name="connsiteX131" fmla="*/ 7595 w 10043"/>
                <a:gd name="connsiteY131" fmla="*/ 5589 h 10000"/>
                <a:gd name="connsiteX132" fmla="*/ 7746 w 10043"/>
                <a:gd name="connsiteY132" fmla="*/ 5584 h 10000"/>
                <a:gd name="connsiteX133" fmla="*/ 7736 w 10043"/>
                <a:gd name="connsiteY133" fmla="*/ 5554 h 10000"/>
                <a:gd name="connsiteX134" fmla="*/ 7341 w 10043"/>
                <a:gd name="connsiteY134" fmla="*/ 5465 h 10000"/>
                <a:gd name="connsiteX135" fmla="*/ 7324 w 10043"/>
                <a:gd name="connsiteY135" fmla="*/ 5383 h 10000"/>
                <a:gd name="connsiteX136" fmla="*/ 7248 w 10043"/>
                <a:gd name="connsiteY136" fmla="*/ 5299 h 10000"/>
                <a:gd name="connsiteX137" fmla="*/ 6937 w 10043"/>
                <a:gd name="connsiteY137" fmla="*/ 5314 h 10000"/>
                <a:gd name="connsiteX138" fmla="*/ 6825 w 10043"/>
                <a:gd name="connsiteY138" fmla="*/ 5224 h 10000"/>
                <a:gd name="connsiteX139" fmla="*/ 6760 w 10043"/>
                <a:gd name="connsiteY139" fmla="*/ 5219 h 10000"/>
                <a:gd name="connsiteX140" fmla="*/ 6760 w 10043"/>
                <a:gd name="connsiteY140" fmla="*/ 5256 h 10000"/>
                <a:gd name="connsiteX141" fmla="*/ 6619 w 10043"/>
                <a:gd name="connsiteY141" fmla="*/ 5408 h 10000"/>
                <a:gd name="connsiteX142" fmla="*/ 6468 w 10043"/>
                <a:gd name="connsiteY142" fmla="*/ 5498 h 10000"/>
                <a:gd name="connsiteX143" fmla="*/ 5992 w 10043"/>
                <a:gd name="connsiteY143" fmla="*/ 5651 h 10000"/>
                <a:gd name="connsiteX144" fmla="*/ 5827 w 10043"/>
                <a:gd name="connsiteY144" fmla="*/ 5646 h 10000"/>
                <a:gd name="connsiteX145" fmla="*/ 5598 w 10043"/>
                <a:gd name="connsiteY145" fmla="*/ 5669 h 10000"/>
                <a:gd name="connsiteX146" fmla="*/ 5470 w 10043"/>
                <a:gd name="connsiteY146" fmla="*/ 5646 h 10000"/>
                <a:gd name="connsiteX147" fmla="*/ 5638 w 10043"/>
                <a:gd name="connsiteY147" fmla="*/ 5604 h 10000"/>
                <a:gd name="connsiteX148" fmla="*/ 5857 w 10043"/>
                <a:gd name="connsiteY148" fmla="*/ 5584 h 10000"/>
                <a:gd name="connsiteX149" fmla="*/ 6035 w 10043"/>
                <a:gd name="connsiteY149" fmla="*/ 5513 h 10000"/>
                <a:gd name="connsiteX150" fmla="*/ 6212 w 10043"/>
                <a:gd name="connsiteY150" fmla="*/ 5480 h 10000"/>
                <a:gd name="connsiteX151" fmla="*/ 6543 w 10043"/>
                <a:gd name="connsiteY151" fmla="*/ 5355 h 10000"/>
                <a:gd name="connsiteX152" fmla="*/ 6604 w 10043"/>
                <a:gd name="connsiteY152" fmla="*/ 5274 h 10000"/>
                <a:gd name="connsiteX153" fmla="*/ 6610 w 10043"/>
                <a:gd name="connsiteY153" fmla="*/ 5168 h 10000"/>
                <a:gd name="connsiteX154" fmla="*/ 6458 w 10043"/>
                <a:gd name="connsiteY154" fmla="*/ 5150 h 10000"/>
                <a:gd name="connsiteX155" fmla="*/ 6524 w 10043"/>
                <a:gd name="connsiteY155" fmla="*/ 5086 h 10000"/>
                <a:gd name="connsiteX156" fmla="*/ 6547 w 10043"/>
                <a:gd name="connsiteY156" fmla="*/ 5005 h 10000"/>
                <a:gd name="connsiteX157" fmla="*/ 6482 w 10043"/>
                <a:gd name="connsiteY157" fmla="*/ 4928 h 10000"/>
                <a:gd name="connsiteX158" fmla="*/ 9870 w 10043"/>
                <a:gd name="connsiteY158" fmla="*/ 2263 h 10000"/>
                <a:gd name="connsiteX159" fmla="*/ 9383 w 10043"/>
                <a:gd name="connsiteY159" fmla="*/ 1480 h 10000"/>
                <a:gd name="connsiteX160" fmla="*/ 7948 w 10043"/>
                <a:gd name="connsiteY160" fmla="*/ 923 h 10000"/>
                <a:gd name="connsiteX161" fmla="*/ 7974 w 10043"/>
                <a:gd name="connsiteY161" fmla="*/ 649 h 10000"/>
                <a:gd name="connsiteX162" fmla="*/ 7433 w 10043"/>
                <a:gd name="connsiteY162" fmla="*/ 590 h 10000"/>
                <a:gd name="connsiteX163" fmla="*/ 6799 w 10043"/>
                <a:gd name="connsiteY163" fmla="*/ 332 h 10000"/>
                <a:gd name="connsiteX164" fmla="*/ 5404 w 10043"/>
                <a:gd name="connsiteY164" fmla="*/ 0 h 10000"/>
                <a:gd name="connsiteX165" fmla="*/ 5128 w 10043"/>
                <a:gd name="connsiteY165" fmla="*/ 82 h 10000"/>
                <a:gd name="connsiteX166" fmla="*/ 4952 w 10043"/>
                <a:gd name="connsiteY166" fmla="*/ 78 h 10000"/>
                <a:gd name="connsiteX167" fmla="*/ 4846 w 10043"/>
                <a:gd name="connsiteY167" fmla="*/ 107 h 10000"/>
                <a:gd name="connsiteX168" fmla="*/ 4557 w 10043"/>
                <a:gd name="connsiteY168" fmla="*/ 913 h 10000"/>
                <a:gd name="connsiteX169" fmla="*/ 3888 w 10043"/>
                <a:gd name="connsiteY169" fmla="*/ 1383 h 10000"/>
                <a:gd name="connsiteX170" fmla="*/ 3893 w 10043"/>
                <a:gd name="connsiteY170" fmla="*/ 1457 h 10000"/>
                <a:gd name="connsiteX171" fmla="*/ 4190 w 10043"/>
                <a:gd name="connsiteY171" fmla="*/ 1668 h 10000"/>
                <a:gd name="connsiteX172" fmla="*/ 4094 w 10043"/>
                <a:gd name="connsiteY172" fmla="*/ 1896 h 10000"/>
                <a:gd name="connsiteX173" fmla="*/ 3920 w 10043"/>
                <a:gd name="connsiteY173" fmla="*/ 1979 h 10000"/>
                <a:gd name="connsiteX174" fmla="*/ 3400 w 10043"/>
                <a:gd name="connsiteY174" fmla="*/ 1924 h 10000"/>
                <a:gd name="connsiteX175" fmla="*/ 3044 w 10043"/>
                <a:gd name="connsiteY175" fmla="*/ 1955 h 10000"/>
                <a:gd name="connsiteX176" fmla="*/ 2757 w 10043"/>
                <a:gd name="connsiteY176" fmla="*/ 2023 h 10000"/>
                <a:gd name="connsiteX177" fmla="*/ 2293 w 10043"/>
                <a:gd name="connsiteY177" fmla="*/ 2233 h 10000"/>
                <a:gd name="connsiteX178" fmla="*/ 2047 w 10043"/>
                <a:gd name="connsiteY178" fmla="*/ 2487 h 10000"/>
                <a:gd name="connsiteX179" fmla="*/ 2068 w 10043"/>
                <a:gd name="connsiteY179" fmla="*/ 2629 h 10000"/>
                <a:gd name="connsiteX180" fmla="*/ 2154 w 10043"/>
                <a:gd name="connsiteY180" fmla="*/ 2738 h 10000"/>
                <a:gd name="connsiteX181" fmla="*/ 2219 w 10043"/>
                <a:gd name="connsiteY181" fmla="*/ 2782 h 10000"/>
                <a:gd name="connsiteX182" fmla="*/ 2098 w 10043"/>
                <a:gd name="connsiteY182" fmla="*/ 2852 h 10000"/>
                <a:gd name="connsiteX183" fmla="*/ 1835 w 10043"/>
                <a:gd name="connsiteY183" fmla="*/ 3330 h 10000"/>
                <a:gd name="connsiteX184" fmla="*/ 1886 w 10043"/>
                <a:gd name="connsiteY184" fmla="*/ 3358 h 10000"/>
                <a:gd name="connsiteX185" fmla="*/ 1923 w 10043"/>
                <a:gd name="connsiteY185" fmla="*/ 3479 h 10000"/>
                <a:gd name="connsiteX186" fmla="*/ 1802 w 10043"/>
                <a:gd name="connsiteY186" fmla="*/ 3982 h 10000"/>
                <a:gd name="connsiteX187" fmla="*/ 1923 w 10043"/>
                <a:gd name="connsiteY187" fmla="*/ 4110 h 10000"/>
                <a:gd name="connsiteX188" fmla="*/ 2259 w 10043"/>
                <a:gd name="connsiteY188" fmla="*/ 4251 h 10000"/>
                <a:gd name="connsiteX189" fmla="*/ 2273 w 10043"/>
                <a:gd name="connsiteY189" fmla="*/ 4423 h 10000"/>
                <a:gd name="connsiteX190" fmla="*/ 2131 w 10043"/>
                <a:gd name="connsiteY190" fmla="*/ 4566 h 10000"/>
                <a:gd name="connsiteX191" fmla="*/ 1923 w 10043"/>
                <a:gd name="connsiteY191" fmla="*/ 4652 h 10000"/>
                <a:gd name="connsiteX192" fmla="*/ 1651 w 10043"/>
                <a:gd name="connsiteY192" fmla="*/ 4687 h 10000"/>
                <a:gd name="connsiteX193" fmla="*/ 1579 w 10043"/>
                <a:gd name="connsiteY193" fmla="*/ 4737 h 10000"/>
                <a:gd name="connsiteX194" fmla="*/ 1739 w 10043"/>
                <a:gd name="connsiteY194" fmla="*/ 4855 h 10000"/>
                <a:gd name="connsiteX195" fmla="*/ 1830 w 10043"/>
                <a:gd name="connsiteY195" fmla="*/ 5136 h 10000"/>
                <a:gd name="connsiteX196" fmla="*/ 1623 w 10043"/>
                <a:gd name="connsiteY196" fmla="*/ 5376 h 10000"/>
                <a:gd name="connsiteX197" fmla="*/ 1695 w 10043"/>
                <a:gd name="connsiteY197" fmla="*/ 5451 h 10000"/>
                <a:gd name="connsiteX198" fmla="*/ 1629 w 10043"/>
                <a:gd name="connsiteY198" fmla="*/ 5577 h 10000"/>
                <a:gd name="connsiteX199" fmla="*/ 1498 w 10043"/>
                <a:gd name="connsiteY199" fmla="*/ 5663 h 10000"/>
                <a:gd name="connsiteX200" fmla="*/ 970 w 10043"/>
                <a:gd name="connsiteY200" fmla="*/ 5730 h 10000"/>
                <a:gd name="connsiteX201" fmla="*/ 938 w 10043"/>
                <a:gd name="connsiteY201" fmla="*/ 5846 h 10000"/>
                <a:gd name="connsiteX202" fmla="*/ 654 w 10043"/>
                <a:gd name="connsiteY202" fmla="*/ 6019 h 10000"/>
                <a:gd name="connsiteX203" fmla="*/ 691 w 10043"/>
                <a:gd name="connsiteY203" fmla="*/ 6268 h 10000"/>
                <a:gd name="connsiteX204" fmla="*/ 453 w 10043"/>
                <a:gd name="connsiteY204" fmla="*/ 6587 h 10000"/>
                <a:gd name="connsiteX205" fmla="*/ 290 w 10043"/>
                <a:gd name="connsiteY205" fmla="*/ 6624 h 10000"/>
                <a:gd name="connsiteX206" fmla="*/ 223 w 10043"/>
                <a:gd name="connsiteY206" fmla="*/ 6548 h 10000"/>
                <a:gd name="connsiteX207" fmla="*/ 140 w 10043"/>
                <a:gd name="connsiteY207" fmla="*/ 6663 h 10000"/>
                <a:gd name="connsiteX208" fmla="*/ 194 w 10043"/>
                <a:gd name="connsiteY208" fmla="*/ 6465 h 10000"/>
                <a:gd name="connsiteX209" fmla="*/ 159 w 10043"/>
                <a:gd name="connsiteY209" fmla="*/ 6427 h 10000"/>
                <a:gd name="connsiteX0" fmla="*/ 159 w 9892"/>
                <a:gd name="connsiteY0" fmla="*/ 6427 h 10000"/>
                <a:gd name="connsiteX1" fmla="*/ 0 w 9892"/>
                <a:gd name="connsiteY1" fmla="*/ 6530 h 10000"/>
                <a:gd name="connsiteX2" fmla="*/ 0 w 9892"/>
                <a:gd name="connsiteY2" fmla="*/ 7039 h 10000"/>
                <a:gd name="connsiteX3" fmla="*/ 88 w 9892"/>
                <a:gd name="connsiteY3" fmla="*/ 7053 h 10000"/>
                <a:gd name="connsiteX4" fmla="*/ 109 w 9892"/>
                <a:gd name="connsiteY4" fmla="*/ 7092 h 10000"/>
                <a:gd name="connsiteX5" fmla="*/ 105 w 9892"/>
                <a:gd name="connsiteY5" fmla="*/ 7161 h 10000"/>
                <a:gd name="connsiteX6" fmla="*/ 72 w 9892"/>
                <a:gd name="connsiteY6" fmla="*/ 7192 h 10000"/>
                <a:gd name="connsiteX7" fmla="*/ 207 w 9892"/>
                <a:gd name="connsiteY7" fmla="*/ 7133 h 10000"/>
                <a:gd name="connsiteX8" fmla="*/ 263 w 9892"/>
                <a:gd name="connsiteY8" fmla="*/ 7075 h 10000"/>
                <a:gd name="connsiteX9" fmla="*/ 334 w 9892"/>
                <a:gd name="connsiteY9" fmla="*/ 7115 h 10000"/>
                <a:gd name="connsiteX10" fmla="*/ 256 w 9892"/>
                <a:gd name="connsiteY10" fmla="*/ 7198 h 10000"/>
                <a:gd name="connsiteX11" fmla="*/ 339 w 9892"/>
                <a:gd name="connsiteY11" fmla="*/ 7200 h 10000"/>
                <a:gd name="connsiteX12" fmla="*/ 380 w 9892"/>
                <a:gd name="connsiteY12" fmla="*/ 7221 h 10000"/>
                <a:gd name="connsiteX13" fmla="*/ 273 w 9892"/>
                <a:gd name="connsiteY13" fmla="*/ 7248 h 10000"/>
                <a:gd name="connsiteX14" fmla="*/ 105 w 9892"/>
                <a:gd name="connsiteY14" fmla="*/ 7333 h 10000"/>
                <a:gd name="connsiteX15" fmla="*/ 403 w 9892"/>
                <a:gd name="connsiteY15" fmla="*/ 7400 h 10000"/>
                <a:gd name="connsiteX16" fmla="*/ 441 w 9892"/>
                <a:gd name="connsiteY16" fmla="*/ 7496 h 10000"/>
                <a:gd name="connsiteX17" fmla="*/ 339 w 9892"/>
                <a:gd name="connsiteY17" fmla="*/ 7636 h 10000"/>
                <a:gd name="connsiteX18" fmla="*/ 557 w 9892"/>
                <a:gd name="connsiteY18" fmla="*/ 7627 h 10000"/>
                <a:gd name="connsiteX19" fmla="*/ 574 w 9892"/>
                <a:gd name="connsiteY19" fmla="*/ 7733 h 10000"/>
                <a:gd name="connsiteX20" fmla="*/ 429 w 9892"/>
                <a:gd name="connsiteY20" fmla="*/ 7805 h 10000"/>
                <a:gd name="connsiteX21" fmla="*/ 453 w 9892"/>
                <a:gd name="connsiteY21" fmla="*/ 7945 h 10000"/>
                <a:gd name="connsiteX22" fmla="*/ 396 w 9892"/>
                <a:gd name="connsiteY22" fmla="*/ 8053 h 10000"/>
                <a:gd name="connsiteX23" fmla="*/ 569 w 9892"/>
                <a:gd name="connsiteY23" fmla="*/ 8063 h 10000"/>
                <a:gd name="connsiteX24" fmla="*/ 736 w 9892"/>
                <a:gd name="connsiteY24" fmla="*/ 8478 h 10000"/>
                <a:gd name="connsiteX25" fmla="*/ 931 w 9892"/>
                <a:gd name="connsiteY25" fmla="*/ 8583 h 10000"/>
                <a:gd name="connsiteX26" fmla="*/ 1016 w 9892"/>
                <a:gd name="connsiteY26" fmla="*/ 8695 h 10000"/>
                <a:gd name="connsiteX27" fmla="*/ 1226 w 9892"/>
                <a:gd name="connsiteY27" fmla="*/ 8776 h 10000"/>
                <a:gd name="connsiteX28" fmla="*/ 1363 w 9892"/>
                <a:gd name="connsiteY28" fmla="*/ 8881 h 10000"/>
                <a:gd name="connsiteX29" fmla="*/ 1344 w 9892"/>
                <a:gd name="connsiteY29" fmla="*/ 8955 h 10000"/>
                <a:gd name="connsiteX30" fmla="*/ 1211 w 9892"/>
                <a:gd name="connsiteY30" fmla="*/ 8983 h 10000"/>
                <a:gd name="connsiteX31" fmla="*/ 1065 w 9892"/>
                <a:gd name="connsiteY31" fmla="*/ 8965 h 10000"/>
                <a:gd name="connsiteX32" fmla="*/ 1020 w 9892"/>
                <a:gd name="connsiteY32" fmla="*/ 8996 h 10000"/>
                <a:gd name="connsiteX33" fmla="*/ 1131 w 9892"/>
                <a:gd name="connsiteY33" fmla="*/ 9158 h 10000"/>
                <a:gd name="connsiteX34" fmla="*/ 975 w 9892"/>
                <a:gd name="connsiteY34" fmla="*/ 9144 h 10000"/>
                <a:gd name="connsiteX35" fmla="*/ 842 w 9892"/>
                <a:gd name="connsiteY35" fmla="*/ 9105 h 10000"/>
                <a:gd name="connsiteX36" fmla="*/ 819 w 9892"/>
                <a:gd name="connsiteY36" fmla="*/ 9165 h 10000"/>
                <a:gd name="connsiteX37" fmla="*/ 1260 w 9892"/>
                <a:gd name="connsiteY37" fmla="*/ 9718 h 10000"/>
                <a:gd name="connsiteX38" fmla="*/ 1189 w 9892"/>
                <a:gd name="connsiteY38" fmla="*/ 9770 h 10000"/>
                <a:gd name="connsiteX39" fmla="*/ 1140 w 9892"/>
                <a:gd name="connsiteY39" fmla="*/ 9876 h 10000"/>
                <a:gd name="connsiteX40" fmla="*/ 1076 w 9892"/>
                <a:gd name="connsiteY40" fmla="*/ 9885 h 10000"/>
                <a:gd name="connsiteX41" fmla="*/ 1037 w 9892"/>
                <a:gd name="connsiteY41" fmla="*/ 9931 h 10000"/>
                <a:gd name="connsiteX42" fmla="*/ 1303 w 9892"/>
                <a:gd name="connsiteY42" fmla="*/ 9936 h 10000"/>
                <a:gd name="connsiteX43" fmla="*/ 1538 w 9892"/>
                <a:gd name="connsiteY43" fmla="*/ 9982 h 10000"/>
                <a:gd name="connsiteX44" fmla="*/ 1929 w 9892"/>
                <a:gd name="connsiteY44" fmla="*/ 9933 h 10000"/>
                <a:gd name="connsiteX45" fmla="*/ 2280 w 9892"/>
                <a:gd name="connsiteY45" fmla="*/ 9941 h 10000"/>
                <a:gd name="connsiteX46" fmla="*/ 2487 w 9892"/>
                <a:gd name="connsiteY46" fmla="*/ 10000 h 10000"/>
                <a:gd name="connsiteX47" fmla="*/ 2601 w 9892"/>
                <a:gd name="connsiteY47" fmla="*/ 9961 h 10000"/>
                <a:gd name="connsiteX48" fmla="*/ 2710 w 9892"/>
                <a:gd name="connsiteY48" fmla="*/ 9834 h 10000"/>
                <a:gd name="connsiteX49" fmla="*/ 2682 w 9892"/>
                <a:gd name="connsiteY49" fmla="*/ 9625 h 10000"/>
                <a:gd name="connsiteX50" fmla="*/ 2949 w 9892"/>
                <a:gd name="connsiteY50" fmla="*/ 9392 h 10000"/>
                <a:gd name="connsiteX51" fmla="*/ 3144 w 9892"/>
                <a:gd name="connsiteY51" fmla="*/ 9428 h 10000"/>
                <a:gd name="connsiteX52" fmla="*/ 3258 w 9892"/>
                <a:gd name="connsiteY52" fmla="*/ 9335 h 10000"/>
                <a:gd name="connsiteX53" fmla="*/ 3476 w 9892"/>
                <a:gd name="connsiteY53" fmla="*/ 9282 h 10000"/>
                <a:gd name="connsiteX54" fmla="*/ 3771 w 9892"/>
                <a:gd name="connsiteY54" fmla="*/ 9295 h 10000"/>
                <a:gd name="connsiteX55" fmla="*/ 3949 w 9892"/>
                <a:gd name="connsiteY55" fmla="*/ 9332 h 10000"/>
                <a:gd name="connsiteX56" fmla="*/ 4185 w 9892"/>
                <a:gd name="connsiteY56" fmla="*/ 9315 h 10000"/>
                <a:gd name="connsiteX57" fmla="*/ 4424 w 9892"/>
                <a:gd name="connsiteY57" fmla="*/ 9356 h 10000"/>
                <a:gd name="connsiteX58" fmla="*/ 4662 w 9892"/>
                <a:gd name="connsiteY58" fmla="*/ 9361 h 10000"/>
                <a:gd name="connsiteX59" fmla="*/ 5196 w 9892"/>
                <a:gd name="connsiteY59" fmla="*/ 8817 h 10000"/>
                <a:gd name="connsiteX60" fmla="*/ 5332 w 9892"/>
                <a:gd name="connsiteY60" fmla="*/ 8375 h 10000"/>
                <a:gd name="connsiteX61" fmla="*/ 5549 w 9892"/>
                <a:gd name="connsiteY61" fmla="*/ 8177 h 10000"/>
                <a:gd name="connsiteX62" fmla="*/ 5549 w 9892"/>
                <a:gd name="connsiteY62" fmla="*/ 8073 h 10000"/>
                <a:gd name="connsiteX63" fmla="*/ 5470 w 9892"/>
                <a:gd name="connsiteY63" fmla="*/ 8015 h 10000"/>
                <a:gd name="connsiteX64" fmla="*/ 5598 w 9892"/>
                <a:gd name="connsiteY64" fmla="*/ 7922 h 10000"/>
                <a:gd name="connsiteX65" fmla="*/ 5575 w 9892"/>
                <a:gd name="connsiteY65" fmla="*/ 7844 h 10000"/>
                <a:gd name="connsiteX66" fmla="*/ 5488 w 9892"/>
                <a:gd name="connsiteY66" fmla="*/ 7776 h 10000"/>
                <a:gd name="connsiteX67" fmla="*/ 5470 w 9892"/>
                <a:gd name="connsiteY67" fmla="*/ 7728 h 10000"/>
                <a:gd name="connsiteX68" fmla="*/ 5493 w 9892"/>
                <a:gd name="connsiteY68" fmla="*/ 7691 h 10000"/>
                <a:gd name="connsiteX69" fmla="*/ 5611 w 9892"/>
                <a:gd name="connsiteY69" fmla="*/ 7721 h 10000"/>
                <a:gd name="connsiteX70" fmla="*/ 5704 w 9892"/>
                <a:gd name="connsiteY70" fmla="*/ 7719 h 10000"/>
                <a:gd name="connsiteX71" fmla="*/ 5653 w 9892"/>
                <a:gd name="connsiteY71" fmla="*/ 7655 h 10000"/>
                <a:gd name="connsiteX72" fmla="*/ 5669 w 9892"/>
                <a:gd name="connsiteY72" fmla="*/ 7619 h 10000"/>
                <a:gd name="connsiteX73" fmla="*/ 5739 w 9892"/>
                <a:gd name="connsiteY73" fmla="*/ 7565 h 10000"/>
                <a:gd name="connsiteX74" fmla="*/ 5726 w 9892"/>
                <a:gd name="connsiteY74" fmla="*/ 7521 h 10000"/>
                <a:gd name="connsiteX75" fmla="*/ 5790 w 9892"/>
                <a:gd name="connsiteY75" fmla="*/ 7373 h 10000"/>
                <a:gd name="connsiteX76" fmla="*/ 5772 w 9892"/>
                <a:gd name="connsiteY76" fmla="*/ 7327 h 10000"/>
                <a:gd name="connsiteX77" fmla="*/ 5448 w 9892"/>
                <a:gd name="connsiteY77" fmla="*/ 7216 h 10000"/>
                <a:gd name="connsiteX78" fmla="*/ 5493 w 9892"/>
                <a:gd name="connsiteY78" fmla="*/ 7211 h 10000"/>
                <a:gd name="connsiteX79" fmla="*/ 5665 w 9892"/>
                <a:gd name="connsiteY79" fmla="*/ 7241 h 10000"/>
                <a:gd name="connsiteX80" fmla="*/ 5853 w 9892"/>
                <a:gd name="connsiteY80" fmla="*/ 7230 h 10000"/>
                <a:gd name="connsiteX81" fmla="*/ 5906 w 9892"/>
                <a:gd name="connsiteY81" fmla="*/ 7189 h 10000"/>
                <a:gd name="connsiteX82" fmla="*/ 5726 w 9892"/>
                <a:gd name="connsiteY82" fmla="*/ 7113 h 10000"/>
                <a:gd name="connsiteX83" fmla="*/ 5192 w 9892"/>
                <a:gd name="connsiteY83" fmla="*/ 7062 h 10000"/>
                <a:gd name="connsiteX84" fmla="*/ 5228 w 9892"/>
                <a:gd name="connsiteY84" fmla="*/ 7039 h 10000"/>
                <a:gd name="connsiteX85" fmla="*/ 5665 w 9892"/>
                <a:gd name="connsiteY85" fmla="*/ 7023 h 10000"/>
                <a:gd name="connsiteX86" fmla="*/ 5906 w 9892"/>
                <a:gd name="connsiteY86" fmla="*/ 7069 h 10000"/>
                <a:gd name="connsiteX87" fmla="*/ 6044 w 9892"/>
                <a:gd name="connsiteY87" fmla="*/ 7039 h 10000"/>
                <a:gd name="connsiteX88" fmla="*/ 6095 w 9892"/>
                <a:gd name="connsiteY88" fmla="*/ 6959 h 10000"/>
                <a:gd name="connsiteX89" fmla="*/ 6347 w 9892"/>
                <a:gd name="connsiteY89" fmla="*/ 6959 h 10000"/>
                <a:gd name="connsiteX90" fmla="*/ 6688 w 9892"/>
                <a:gd name="connsiteY90" fmla="*/ 6799 h 10000"/>
                <a:gd name="connsiteX91" fmla="*/ 6699 w 9892"/>
                <a:gd name="connsiteY91" fmla="*/ 6693 h 10000"/>
                <a:gd name="connsiteX92" fmla="*/ 6843 w 9892"/>
                <a:gd name="connsiteY92" fmla="*/ 6718 h 10000"/>
                <a:gd name="connsiteX93" fmla="*/ 6837 w 9892"/>
                <a:gd name="connsiteY93" fmla="*/ 6824 h 10000"/>
                <a:gd name="connsiteX94" fmla="*/ 7065 w 9892"/>
                <a:gd name="connsiteY94" fmla="*/ 6817 h 10000"/>
                <a:gd name="connsiteX95" fmla="*/ 7215 w 9892"/>
                <a:gd name="connsiteY95" fmla="*/ 6707 h 10000"/>
                <a:gd name="connsiteX96" fmla="*/ 7495 w 9892"/>
                <a:gd name="connsiteY96" fmla="*/ 6607 h 10000"/>
                <a:gd name="connsiteX97" fmla="*/ 7451 w 9892"/>
                <a:gd name="connsiteY97" fmla="*/ 6493 h 10000"/>
                <a:gd name="connsiteX98" fmla="*/ 7534 w 9892"/>
                <a:gd name="connsiteY98" fmla="*/ 6538 h 10000"/>
                <a:gd name="connsiteX99" fmla="*/ 7661 w 9892"/>
                <a:gd name="connsiteY99" fmla="*/ 6538 h 10000"/>
                <a:gd name="connsiteX100" fmla="*/ 7661 w 9892"/>
                <a:gd name="connsiteY100" fmla="*/ 6486 h 10000"/>
                <a:gd name="connsiteX101" fmla="*/ 7781 w 9892"/>
                <a:gd name="connsiteY101" fmla="*/ 6446 h 10000"/>
                <a:gd name="connsiteX102" fmla="*/ 7765 w 9892"/>
                <a:gd name="connsiteY102" fmla="*/ 6405 h 10000"/>
                <a:gd name="connsiteX103" fmla="*/ 6760 w 9892"/>
                <a:gd name="connsiteY103" fmla="*/ 6488 h 10000"/>
                <a:gd name="connsiteX104" fmla="*/ 6524 w 9892"/>
                <a:gd name="connsiteY104" fmla="*/ 6463 h 10000"/>
                <a:gd name="connsiteX105" fmla="*/ 6430 w 9892"/>
                <a:gd name="connsiteY105" fmla="*/ 6493 h 10000"/>
                <a:gd name="connsiteX106" fmla="*/ 6398 w 9892"/>
                <a:gd name="connsiteY106" fmla="*/ 6436 h 10000"/>
                <a:gd name="connsiteX107" fmla="*/ 6286 w 9892"/>
                <a:gd name="connsiteY107" fmla="*/ 6384 h 10000"/>
                <a:gd name="connsiteX108" fmla="*/ 5839 w 9892"/>
                <a:gd name="connsiteY108" fmla="*/ 6282 h 10000"/>
                <a:gd name="connsiteX109" fmla="*/ 5575 w 9892"/>
                <a:gd name="connsiteY109" fmla="*/ 6298 h 10000"/>
                <a:gd name="connsiteX110" fmla="*/ 5470 w 9892"/>
                <a:gd name="connsiteY110" fmla="*/ 6270 h 10000"/>
                <a:gd name="connsiteX111" fmla="*/ 5581 w 9892"/>
                <a:gd name="connsiteY111" fmla="*/ 6245 h 10000"/>
                <a:gd name="connsiteX112" fmla="*/ 5665 w 9892"/>
                <a:gd name="connsiteY112" fmla="*/ 6190 h 10000"/>
                <a:gd name="connsiteX113" fmla="*/ 5790 w 9892"/>
                <a:gd name="connsiteY113" fmla="*/ 6208 h 10000"/>
                <a:gd name="connsiteX114" fmla="*/ 5938 w 9892"/>
                <a:gd name="connsiteY114" fmla="*/ 6193 h 10000"/>
                <a:gd name="connsiteX115" fmla="*/ 6162 w 9892"/>
                <a:gd name="connsiteY115" fmla="*/ 6211 h 10000"/>
                <a:gd name="connsiteX116" fmla="*/ 6189 w 9892"/>
                <a:gd name="connsiteY116" fmla="*/ 6204 h 10000"/>
                <a:gd name="connsiteX117" fmla="*/ 6363 w 9892"/>
                <a:gd name="connsiteY117" fmla="*/ 6287 h 10000"/>
                <a:gd name="connsiteX118" fmla="*/ 6490 w 9892"/>
                <a:gd name="connsiteY118" fmla="*/ 6257 h 10000"/>
                <a:gd name="connsiteX119" fmla="*/ 6502 w 9892"/>
                <a:gd name="connsiteY119" fmla="*/ 6229 h 10000"/>
                <a:gd name="connsiteX120" fmla="*/ 6619 w 9892"/>
                <a:gd name="connsiteY120" fmla="*/ 6278 h 10000"/>
                <a:gd name="connsiteX121" fmla="*/ 6775 w 9892"/>
                <a:gd name="connsiteY121" fmla="*/ 6304 h 10000"/>
                <a:gd name="connsiteX122" fmla="*/ 6837 w 9892"/>
                <a:gd name="connsiteY122" fmla="*/ 6255 h 10000"/>
                <a:gd name="connsiteX123" fmla="*/ 6887 w 9892"/>
                <a:gd name="connsiteY123" fmla="*/ 6282 h 10000"/>
                <a:gd name="connsiteX124" fmla="*/ 6959 w 9892"/>
                <a:gd name="connsiteY124" fmla="*/ 6377 h 10000"/>
                <a:gd name="connsiteX125" fmla="*/ 7109 w 9892"/>
                <a:gd name="connsiteY125" fmla="*/ 6399 h 10000"/>
                <a:gd name="connsiteX126" fmla="*/ 7725 w 9892"/>
                <a:gd name="connsiteY126" fmla="*/ 6259 h 10000"/>
                <a:gd name="connsiteX127" fmla="*/ 8026 w 9892"/>
                <a:gd name="connsiteY127" fmla="*/ 6064 h 10000"/>
                <a:gd name="connsiteX128" fmla="*/ 8096 w 9892"/>
                <a:gd name="connsiteY128" fmla="*/ 5921 h 10000"/>
                <a:gd name="connsiteX129" fmla="*/ 7987 w 9892"/>
                <a:gd name="connsiteY129" fmla="*/ 5792 h 10000"/>
                <a:gd name="connsiteX130" fmla="*/ 7757 w 9892"/>
                <a:gd name="connsiteY130" fmla="*/ 5715 h 10000"/>
                <a:gd name="connsiteX131" fmla="*/ 7595 w 9892"/>
                <a:gd name="connsiteY131" fmla="*/ 5589 h 10000"/>
                <a:gd name="connsiteX132" fmla="*/ 7746 w 9892"/>
                <a:gd name="connsiteY132" fmla="*/ 5584 h 10000"/>
                <a:gd name="connsiteX133" fmla="*/ 7736 w 9892"/>
                <a:gd name="connsiteY133" fmla="*/ 5554 h 10000"/>
                <a:gd name="connsiteX134" fmla="*/ 7341 w 9892"/>
                <a:gd name="connsiteY134" fmla="*/ 5465 h 10000"/>
                <a:gd name="connsiteX135" fmla="*/ 7324 w 9892"/>
                <a:gd name="connsiteY135" fmla="*/ 5383 h 10000"/>
                <a:gd name="connsiteX136" fmla="*/ 7248 w 9892"/>
                <a:gd name="connsiteY136" fmla="*/ 5299 h 10000"/>
                <a:gd name="connsiteX137" fmla="*/ 6937 w 9892"/>
                <a:gd name="connsiteY137" fmla="*/ 5314 h 10000"/>
                <a:gd name="connsiteX138" fmla="*/ 6825 w 9892"/>
                <a:gd name="connsiteY138" fmla="*/ 5224 h 10000"/>
                <a:gd name="connsiteX139" fmla="*/ 6760 w 9892"/>
                <a:gd name="connsiteY139" fmla="*/ 5219 h 10000"/>
                <a:gd name="connsiteX140" fmla="*/ 6760 w 9892"/>
                <a:gd name="connsiteY140" fmla="*/ 5256 h 10000"/>
                <a:gd name="connsiteX141" fmla="*/ 6619 w 9892"/>
                <a:gd name="connsiteY141" fmla="*/ 5408 h 10000"/>
                <a:gd name="connsiteX142" fmla="*/ 6468 w 9892"/>
                <a:gd name="connsiteY142" fmla="*/ 5498 h 10000"/>
                <a:gd name="connsiteX143" fmla="*/ 5992 w 9892"/>
                <a:gd name="connsiteY143" fmla="*/ 5651 h 10000"/>
                <a:gd name="connsiteX144" fmla="*/ 5827 w 9892"/>
                <a:gd name="connsiteY144" fmla="*/ 5646 h 10000"/>
                <a:gd name="connsiteX145" fmla="*/ 5598 w 9892"/>
                <a:gd name="connsiteY145" fmla="*/ 5669 h 10000"/>
                <a:gd name="connsiteX146" fmla="*/ 5470 w 9892"/>
                <a:gd name="connsiteY146" fmla="*/ 5646 h 10000"/>
                <a:gd name="connsiteX147" fmla="*/ 5638 w 9892"/>
                <a:gd name="connsiteY147" fmla="*/ 5604 h 10000"/>
                <a:gd name="connsiteX148" fmla="*/ 5857 w 9892"/>
                <a:gd name="connsiteY148" fmla="*/ 5584 h 10000"/>
                <a:gd name="connsiteX149" fmla="*/ 6035 w 9892"/>
                <a:gd name="connsiteY149" fmla="*/ 5513 h 10000"/>
                <a:gd name="connsiteX150" fmla="*/ 6212 w 9892"/>
                <a:gd name="connsiteY150" fmla="*/ 5480 h 10000"/>
                <a:gd name="connsiteX151" fmla="*/ 6543 w 9892"/>
                <a:gd name="connsiteY151" fmla="*/ 5355 h 10000"/>
                <a:gd name="connsiteX152" fmla="*/ 6604 w 9892"/>
                <a:gd name="connsiteY152" fmla="*/ 5274 h 10000"/>
                <a:gd name="connsiteX153" fmla="*/ 6610 w 9892"/>
                <a:gd name="connsiteY153" fmla="*/ 5168 h 10000"/>
                <a:gd name="connsiteX154" fmla="*/ 6458 w 9892"/>
                <a:gd name="connsiteY154" fmla="*/ 5150 h 10000"/>
                <a:gd name="connsiteX155" fmla="*/ 6524 w 9892"/>
                <a:gd name="connsiteY155" fmla="*/ 5086 h 10000"/>
                <a:gd name="connsiteX156" fmla="*/ 6547 w 9892"/>
                <a:gd name="connsiteY156" fmla="*/ 5005 h 10000"/>
                <a:gd name="connsiteX157" fmla="*/ 6482 w 9892"/>
                <a:gd name="connsiteY157" fmla="*/ 4928 h 10000"/>
                <a:gd name="connsiteX158" fmla="*/ 9870 w 9892"/>
                <a:gd name="connsiteY158" fmla="*/ 2263 h 10000"/>
                <a:gd name="connsiteX159" fmla="*/ 7948 w 9892"/>
                <a:gd name="connsiteY159" fmla="*/ 923 h 10000"/>
                <a:gd name="connsiteX160" fmla="*/ 7974 w 9892"/>
                <a:gd name="connsiteY160" fmla="*/ 649 h 10000"/>
                <a:gd name="connsiteX161" fmla="*/ 7433 w 9892"/>
                <a:gd name="connsiteY161" fmla="*/ 590 h 10000"/>
                <a:gd name="connsiteX162" fmla="*/ 6799 w 9892"/>
                <a:gd name="connsiteY162" fmla="*/ 332 h 10000"/>
                <a:gd name="connsiteX163" fmla="*/ 5404 w 9892"/>
                <a:gd name="connsiteY163" fmla="*/ 0 h 10000"/>
                <a:gd name="connsiteX164" fmla="*/ 5128 w 9892"/>
                <a:gd name="connsiteY164" fmla="*/ 82 h 10000"/>
                <a:gd name="connsiteX165" fmla="*/ 4952 w 9892"/>
                <a:gd name="connsiteY165" fmla="*/ 78 h 10000"/>
                <a:gd name="connsiteX166" fmla="*/ 4846 w 9892"/>
                <a:gd name="connsiteY166" fmla="*/ 107 h 10000"/>
                <a:gd name="connsiteX167" fmla="*/ 4557 w 9892"/>
                <a:gd name="connsiteY167" fmla="*/ 913 h 10000"/>
                <a:gd name="connsiteX168" fmla="*/ 3888 w 9892"/>
                <a:gd name="connsiteY168" fmla="*/ 1383 h 10000"/>
                <a:gd name="connsiteX169" fmla="*/ 3893 w 9892"/>
                <a:gd name="connsiteY169" fmla="*/ 1457 h 10000"/>
                <a:gd name="connsiteX170" fmla="*/ 4190 w 9892"/>
                <a:gd name="connsiteY170" fmla="*/ 1668 h 10000"/>
                <a:gd name="connsiteX171" fmla="*/ 4094 w 9892"/>
                <a:gd name="connsiteY171" fmla="*/ 1896 h 10000"/>
                <a:gd name="connsiteX172" fmla="*/ 3920 w 9892"/>
                <a:gd name="connsiteY172" fmla="*/ 1979 h 10000"/>
                <a:gd name="connsiteX173" fmla="*/ 3400 w 9892"/>
                <a:gd name="connsiteY173" fmla="*/ 1924 h 10000"/>
                <a:gd name="connsiteX174" fmla="*/ 3044 w 9892"/>
                <a:gd name="connsiteY174" fmla="*/ 1955 h 10000"/>
                <a:gd name="connsiteX175" fmla="*/ 2757 w 9892"/>
                <a:gd name="connsiteY175" fmla="*/ 2023 h 10000"/>
                <a:gd name="connsiteX176" fmla="*/ 2293 w 9892"/>
                <a:gd name="connsiteY176" fmla="*/ 2233 h 10000"/>
                <a:gd name="connsiteX177" fmla="*/ 2047 w 9892"/>
                <a:gd name="connsiteY177" fmla="*/ 2487 h 10000"/>
                <a:gd name="connsiteX178" fmla="*/ 2068 w 9892"/>
                <a:gd name="connsiteY178" fmla="*/ 2629 h 10000"/>
                <a:gd name="connsiteX179" fmla="*/ 2154 w 9892"/>
                <a:gd name="connsiteY179" fmla="*/ 2738 h 10000"/>
                <a:gd name="connsiteX180" fmla="*/ 2219 w 9892"/>
                <a:gd name="connsiteY180" fmla="*/ 2782 h 10000"/>
                <a:gd name="connsiteX181" fmla="*/ 2098 w 9892"/>
                <a:gd name="connsiteY181" fmla="*/ 2852 h 10000"/>
                <a:gd name="connsiteX182" fmla="*/ 1835 w 9892"/>
                <a:gd name="connsiteY182" fmla="*/ 3330 h 10000"/>
                <a:gd name="connsiteX183" fmla="*/ 1886 w 9892"/>
                <a:gd name="connsiteY183" fmla="*/ 3358 h 10000"/>
                <a:gd name="connsiteX184" fmla="*/ 1923 w 9892"/>
                <a:gd name="connsiteY184" fmla="*/ 3479 h 10000"/>
                <a:gd name="connsiteX185" fmla="*/ 1802 w 9892"/>
                <a:gd name="connsiteY185" fmla="*/ 3982 h 10000"/>
                <a:gd name="connsiteX186" fmla="*/ 1923 w 9892"/>
                <a:gd name="connsiteY186" fmla="*/ 4110 h 10000"/>
                <a:gd name="connsiteX187" fmla="*/ 2259 w 9892"/>
                <a:gd name="connsiteY187" fmla="*/ 4251 h 10000"/>
                <a:gd name="connsiteX188" fmla="*/ 2273 w 9892"/>
                <a:gd name="connsiteY188" fmla="*/ 4423 h 10000"/>
                <a:gd name="connsiteX189" fmla="*/ 2131 w 9892"/>
                <a:gd name="connsiteY189" fmla="*/ 4566 h 10000"/>
                <a:gd name="connsiteX190" fmla="*/ 1923 w 9892"/>
                <a:gd name="connsiteY190" fmla="*/ 4652 h 10000"/>
                <a:gd name="connsiteX191" fmla="*/ 1651 w 9892"/>
                <a:gd name="connsiteY191" fmla="*/ 4687 h 10000"/>
                <a:gd name="connsiteX192" fmla="*/ 1579 w 9892"/>
                <a:gd name="connsiteY192" fmla="*/ 4737 h 10000"/>
                <a:gd name="connsiteX193" fmla="*/ 1739 w 9892"/>
                <a:gd name="connsiteY193" fmla="*/ 4855 h 10000"/>
                <a:gd name="connsiteX194" fmla="*/ 1830 w 9892"/>
                <a:gd name="connsiteY194" fmla="*/ 5136 h 10000"/>
                <a:gd name="connsiteX195" fmla="*/ 1623 w 9892"/>
                <a:gd name="connsiteY195" fmla="*/ 5376 h 10000"/>
                <a:gd name="connsiteX196" fmla="*/ 1695 w 9892"/>
                <a:gd name="connsiteY196" fmla="*/ 5451 h 10000"/>
                <a:gd name="connsiteX197" fmla="*/ 1629 w 9892"/>
                <a:gd name="connsiteY197" fmla="*/ 5577 h 10000"/>
                <a:gd name="connsiteX198" fmla="*/ 1498 w 9892"/>
                <a:gd name="connsiteY198" fmla="*/ 5663 h 10000"/>
                <a:gd name="connsiteX199" fmla="*/ 970 w 9892"/>
                <a:gd name="connsiteY199" fmla="*/ 5730 h 10000"/>
                <a:gd name="connsiteX200" fmla="*/ 938 w 9892"/>
                <a:gd name="connsiteY200" fmla="*/ 5846 h 10000"/>
                <a:gd name="connsiteX201" fmla="*/ 654 w 9892"/>
                <a:gd name="connsiteY201" fmla="*/ 6019 h 10000"/>
                <a:gd name="connsiteX202" fmla="*/ 691 w 9892"/>
                <a:gd name="connsiteY202" fmla="*/ 6268 h 10000"/>
                <a:gd name="connsiteX203" fmla="*/ 453 w 9892"/>
                <a:gd name="connsiteY203" fmla="*/ 6587 h 10000"/>
                <a:gd name="connsiteX204" fmla="*/ 290 w 9892"/>
                <a:gd name="connsiteY204" fmla="*/ 6624 h 10000"/>
                <a:gd name="connsiteX205" fmla="*/ 223 w 9892"/>
                <a:gd name="connsiteY205" fmla="*/ 6548 h 10000"/>
                <a:gd name="connsiteX206" fmla="*/ 140 w 9892"/>
                <a:gd name="connsiteY206" fmla="*/ 6663 h 10000"/>
                <a:gd name="connsiteX207" fmla="*/ 194 w 9892"/>
                <a:gd name="connsiteY207" fmla="*/ 6465 h 10000"/>
                <a:gd name="connsiteX208" fmla="*/ 159 w 9892"/>
                <a:gd name="connsiteY208" fmla="*/ 6427 h 10000"/>
                <a:gd name="connsiteX0" fmla="*/ 161 w 8184"/>
                <a:gd name="connsiteY0" fmla="*/ 6427 h 10000"/>
                <a:gd name="connsiteX1" fmla="*/ 0 w 8184"/>
                <a:gd name="connsiteY1" fmla="*/ 6530 h 10000"/>
                <a:gd name="connsiteX2" fmla="*/ 0 w 8184"/>
                <a:gd name="connsiteY2" fmla="*/ 7039 h 10000"/>
                <a:gd name="connsiteX3" fmla="*/ 89 w 8184"/>
                <a:gd name="connsiteY3" fmla="*/ 7053 h 10000"/>
                <a:gd name="connsiteX4" fmla="*/ 110 w 8184"/>
                <a:gd name="connsiteY4" fmla="*/ 7092 h 10000"/>
                <a:gd name="connsiteX5" fmla="*/ 106 w 8184"/>
                <a:gd name="connsiteY5" fmla="*/ 7161 h 10000"/>
                <a:gd name="connsiteX6" fmla="*/ 73 w 8184"/>
                <a:gd name="connsiteY6" fmla="*/ 7192 h 10000"/>
                <a:gd name="connsiteX7" fmla="*/ 209 w 8184"/>
                <a:gd name="connsiteY7" fmla="*/ 7133 h 10000"/>
                <a:gd name="connsiteX8" fmla="*/ 266 w 8184"/>
                <a:gd name="connsiteY8" fmla="*/ 7075 h 10000"/>
                <a:gd name="connsiteX9" fmla="*/ 338 w 8184"/>
                <a:gd name="connsiteY9" fmla="*/ 7115 h 10000"/>
                <a:gd name="connsiteX10" fmla="*/ 259 w 8184"/>
                <a:gd name="connsiteY10" fmla="*/ 7198 h 10000"/>
                <a:gd name="connsiteX11" fmla="*/ 343 w 8184"/>
                <a:gd name="connsiteY11" fmla="*/ 7200 h 10000"/>
                <a:gd name="connsiteX12" fmla="*/ 384 w 8184"/>
                <a:gd name="connsiteY12" fmla="*/ 7221 h 10000"/>
                <a:gd name="connsiteX13" fmla="*/ 276 w 8184"/>
                <a:gd name="connsiteY13" fmla="*/ 7248 h 10000"/>
                <a:gd name="connsiteX14" fmla="*/ 106 w 8184"/>
                <a:gd name="connsiteY14" fmla="*/ 7333 h 10000"/>
                <a:gd name="connsiteX15" fmla="*/ 407 w 8184"/>
                <a:gd name="connsiteY15" fmla="*/ 7400 h 10000"/>
                <a:gd name="connsiteX16" fmla="*/ 446 w 8184"/>
                <a:gd name="connsiteY16" fmla="*/ 7496 h 10000"/>
                <a:gd name="connsiteX17" fmla="*/ 343 w 8184"/>
                <a:gd name="connsiteY17" fmla="*/ 7636 h 10000"/>
                <a:gd name="connsiteX18" fmla="*/ 563 w 8184"/>
                <a:gd name="connsiteY18" fmla="*/ 7627 h 10000"/>
                <a:gd name="connsiteX19" fmla="*/ 580 w 8184"/>
                <a:gd name="connsiteY19" fmla="*/ 7733 h 10000"/>
                <a:gd name="connsiteX20" fmla="*/ 434 w 8184"/>
                <a:gd name="connsiteY20" fmla="*/ 7805 h 10000"/>
                <a:gd name="connsiteX21" fmla="*/ 458 w 8184"/>
                <a:gd name="connsiteY21" fmla="*/ 7945 h 10000"/>
                <a:gd name="connsiteX22" fmla="*/ 400 w 8184"/>
                <a:gd name="connsiteY22" fmla="*/ 8053 h 10000"/>
                <a:gd name="connsiteX23" fmla="*/ 575 w 8184"/>
                <a:gd name="connsiteY23" fmla="*/ 8063 h 10000"/>
                <a:gd name="connsiteX24" fmla="*/ 744 w 8184"/>
                <a:gd name="connsiteY24" fmla="*/ 8478 h 10000"/>
                <a:gd name="connsiteX25" fmla="*/ 941 w 8184"/>
                <a:gd name="connsiteY25" fmla="*/ 8583 h 10000"/>
                <a:gd name="connsiteX26" fmla="*/ 1027 w 8184"/>
                <a:gd name="connsiteY26" fmla="*/ 8695 h 10000"/>
                <a:gd name="connsiteX27" fmla="*/ 1239 w 8184"/>
                <a:gd name="connsiteY27" fmla="*/ 8776 h 10000"/>
                <a:gd name="connsiteX28" fmla="*/ 1378 w 8184"/>
                <a:gd name="connsiteY28" fmla="*/ 8881 h 10000"/>
                <a:gd name="connsiteX29" fmla="*/ 1359 w 8184"/>
                <a:gd name="connsiteY29" fmla="*/ 8955 h 10000"/>
                <a:gd name="connsiteX30" fmla="*/ 1224 w 8184"/>
                <a:gd name="connsiteY30" fmla="*/ 8983 h 10000"/>
                <a:gd name="connsiteX31" fmla="*/ 1077 w 8184"/>
                <a:gd name="connsiteY31" fmla="*/ 8965 h 10000"/>
                <a:gd name="connsiteX32" fmla="*/ 1031 w 8184"/>
                <a:gd name="connsiteY32" fmla="*/ 8996 h 10000"/>
                <a:gd name="connsiteX33" fmla="*/ 1143 w 8184"/>
                <a:gd name="connsiteY33" fmla="*/ 9158 h 10000"/>
                <a:gd name="connsiteX34" fmla="*/ 986 w 8184"/>
                <a:gd name="connsiteY34" fmla="*/ 9144 h 10000"/>
                <a:gd name="connsiteX35" fmla="*/ 851 w 8184"/>
                <a:gd name="connsiteY35" fmla="*/ 9105 h 10000"/>
                <a:gd name="connsiteX36" fmla="*/ 828 w 8184"/>
                <a:gd name="connsiteY36" fmla="*/ 9165 h 10000"/>
                <a:gd name="connsiteX37" fmla="*/ 1274 w 8184"/>
                <a:gd name="connsiteY37" fmla="*/ 9718 h 10000"/>
                <a:gd name="connsiteX38" fmla="*/ 1202 w 8184"/>
                <a:gd name="connsiteY38" fmla="*/ 9770 h 10000"/>
                <a:gd name="connsiteX39" fmla="*/ 1152 w 8184"/>
                <a:gd name="connsiteY39" fmla="*/ 9876 h 10000"/>
                <a:gd name="connsiteX40" fmla="*/ 1088 w 8184"/>
                <a:gd name="connsiteY40" fmla="*/ 9885 h 10000"/>
                <a:gd name="connsiteX41" fmla="*/ 1048 w 8184"/>
                <a:gd name="connsiteY41" fmla="*/ 9931 h 10000"/>
                <a:gd name="connsiteX42" fmla="*/ 1317 w 8184"/>
                <a:gd name="connsiteY42" fmla="*/ 9936 h 10000"/>
                <a:gd name="connsiteX43" fmla="*/ 1555 w 8184"/>
                <a:gd name="connsiteY43" fmla="*/ 9982 h 10000"/>
                <a:gd name="connsiteX44" fmla="*/ 1950 w 8184"/>
                <a:gd name="connsiteY44" fmla="*/ 9933 h 10000"/>
                <a:gd name="connsiteX45" fmla="*/ 2305 w 8184"/>
                <a:gd name="connsiteY45" fmla="*/ 9941 h 10000"/>
                <a:gd name="connsiteX46" fmla="*/ 2514 w 8184"/>
                <a:gd name="connsiteY46" fmla="*/ 10000 h 10000"/>
                <a:gd name="connsiteX47" fmla="*/ 2629 w 8184"/>
                <a:gd name="connsiteY47" fmla="*/ 9961 h 10000"/>
                <a:gd name="connsiteX48" fmla="*/ 2740 w 8184"/>
                <a:gd name="connsiteY48" fmla="*/ 9834 h 10000"/>
                <a:gd name="connsiteX49" fmla="*/ 2711 w 8184"/>
                <a:gd name="connsiteY49" fmla="*/ 9625 h 10000"/>
                <a:gd name="connsiteX50" fmla="*/ 2981 w 8184"/>
                <a:gd name="connsiteY50" fmla="*/ 9392 h 10000"/>
                <a:gd name="connsiteX51" fmla="*/ 3178 w 8184"/>
                <a:gd name="connsiteY51" fmla="*/ 9428 h 10000"/>
                <a:gd name="connsiteX52" fmla="*/ 3294 w 8184"/>
                <a:gd name="connsiteY52" fmla="*/ 9335 h 10000"/>
                <a:gd name="connsiteX53" fmla="*/ 3514 w 8184"/>
                <a:gd name="connsiteY53" fmla="*/ 9282 h 10000"/>
                <a:gd name="connsiteX54" fmla="*/ 3812 w 8184"/>
                <a:gd name="connsiteY54" fmla="*/ 9295 h 10000"/>
                <a:gd name="connsiteX55" fmla="*/ 3992 w 8184"/>
                <a:gd name="connsiteY55" fmla="*/ 9332 h 10000"/>
                <a:gd name="connsiteX56" fmla="*/ 4231 w 8184"/>
                <a:gd name="connsiteY56" fmla="*/ 9315 h 10000"/>
                <a:gd name="connsiteX57" fmla="*/ 4472 w 8184"/>
                <a:gd name="connsiteY57" fmla="*/ 9356 h 10000"/>
                <a:gd name="connsiteX58" fmla="*/ 4713 w 8184"/>
                <a:gd name="connsiteY58" fmla="*/ 9361 h 10000"/>
                <a:gd name="connsiteX59" fmla="*/ 5253 w 8184"/>
                <a:gd name="connsiteY59" fmla="*/ 8817 h 10000"/>
                <a:gd name="connsiteX60" fmla="*/ 5390 w 8184"/>
                <a:gd name="connsiteY60" fmla="*/ 8375 h 10000"/>
                <a:gd name="connsiteX61" fmla="*/ 5610 w 8184"/>
                <a:gd name="connsiteY61" fmla="*/ 8177 h 10000"/>
                <a:gd name="connsiteX62" fmla="*/ 5610 w 8184"/>
                <a:gd name="connsiteY62" fmla="*/ 8073 h 10000"/>
                <a:gd name="connsiteX63" fmla="*/ 5530 w 8184"/>
                <a:gd name="connsiteY63" fmla="*/ 8015 h 10000"/>
                <a:gd name="connsiteX64" fmla="*/ 5659 w 8184"/>
                <a:gd name="connsiteY64" fmla="*/ 7922 h 10000"/>
                <a:gd name="connsiteX65" fmla="*/ 5636 w 8184"/>
                <a:gd name="connsiteY65" fmla="*/ 7844 h 10000"/>
                <a:gd name="connsiteX66" fmla="*/ 5548 w 8184"/>
                <a:gd name="connsiteY66" fmla="*/ 7776 h 10000"/>
                <a:gd name="connsiteX67" fmla="*/ 5530 w 8184"/>
                <a:gd name="connsiteY67" fmla="*/ 7728 h 10000"/>
                <a:gd name="connsiteX68" fmla="*/ 5553 w 8184"/>
                <a:gd name="connsiteY68" fmla="*/ 7691 h 10000"/>
                <a:gd name="connsiteX69" fmla="*/ 5672 w 8184"/>
                <a:gd name="connsiteY69" fmla="*/ 7721 h 10000"/>
                <a:gd name="connsiteX70" fmla="*/ 5766 w 8184"/>
                <a:gd name="connsiteY70" fmla="*/ 7719 h 10000"/>
                <a:gd name="connsiteX71" fmla="*/ 5715 w 8184"/>
                <a:gd name="connsiteY71" fmla="*/ 7655 h 10000"/>
                <a:gd name="connsiteX72" fmla="*/ 5731 w 8184"/>
                <a:gd name="connsiteY72" fmla="*/ 7619 h 10000"/>
                <a:gd name="connsiteX73" fmla="*/ 5802 w 8184"/>
                <a:gd name="connsiteY73" fmla="*/ 7565 h 10000"/>
                <a:gd name="connsiteX74" fmla="*/ 5789 w 8184"/>
                <a:gd name="connsiteY74" fmla="*/ 7521 h 10000"/>
                <a:gd name="connsiteX75" fmla="*/ 5853 w 8184"/>
                <a:gd name="connsiteY75" fmla="*/ 7373 h 10000"/>
                <a:gd name="connsiteX76" fmla="*/ 5835 w 8184"/>
                <a:gd name="connsiteY76" fmla="*/ 7327 h 10000"/>
                <a:gd name="connsiteX77" fmla="*/ 5507 w 8184"/>
                <a:gd name="connsiteY77" fmla="*/ 7216 h 10000"/>
                <a:gd name="connsiteX78" fmla="*/ 5553 w 8184"/>
                <a:gd name="connsiteY78" fmla="*/ 7211 h 10000"/>
                <a:gd name="connsiteX79" fmla="*/ 5727 w 8184"/>
                <a:gd name="connsiteY79" fmla="*/ 7241 h 10000"/>
                <a:gd name="connsiteX80" fmla="*/ 5917 w 8184"/>
                <a:gd name="connsiteY80" fmla="*/ 7230 h 10000"/>
                <a:gd name="connsiteX81" fmla="*/ 5970 w 8184"/>
                <a:gd name="connsiteY81" fmla="*/ 7189 h 10000"/>
                <a:gd name="connsiteX82" fmla="*/ 5789 w 8184"/>
                <a:gd name="connsiteY82" fmla="*/ 7113 h 10000"/>
                <a:gd name="connsiteX83" fmla="*/ 5249 w 8184"/>
                <a:gd name="connsiteY83" fmla="*/ 7062 h 10000"/>
                <a:gd name="connsiteX84" fmla="*/ 5285 w 8184"/>
                <a:gd name="connsiteY84" fmla="*/ 7039 h 10000"/>
                <a:gd name="connsiteX85" fmla="*/ 5727 w 8184"/>
                <a:gd name="connsiteY85" fmla="*/ 7023 h 10000"/>
                <a:gd name="connsiteX86" fmla="*/ 5970 w 8184"/>
                <a:gd name="connsiteY86" fmla="*/ 7069 h 10000"/>
                <a:gd name="connsiteX87" fmla="*/ 6110 w 8184"/>
                <a:gd name="connsiteY87" fmla="*/ 7039 h 10000"/>
                <a:gd name="connsiteX88" fmla="*/ 6162 w 8184"/>
                <a:gd name="connsiteY88" fmla="*/ 6959 h 10000"/>
                <a:gd name="connsiteX89" fmla="*/ 6416 w 8184"/>
                <a:gd name="connsiteY89" fmla="*/ 6959 h 10000"/>
                <a:gd name="connsiteX90" fmla="*/ 6761 w 8184"/>
                <a:gd name="connsiteY90" fmla="*/ 6799 h 10000"/>
                <a:gd name="connsiteX91" fmla="*/ 6772 w 8184"/>
                <a:gd name="connsiteY91" fmla="*/ 6693 h 10000"/>
                <a:gd name="connsiteX92" fmla="*/ 6918 w 8184"/>
                <a:gd name="connsiteY92" fmla="*/ 6718 h 10000"/>
                <a:gd name="connsiteX93" fmla="*/ 6912 w 8184"/>
                <a:gd name="connsiteY93" fmla="*/ 6824 h 10000"/>
                <a:gd name="connsiteX94" fmla="*/ 7142 w 8184"/>
                <a:gd name="connsiteY94" fmla="*/ 6817 h 10000"/>
                <a:gd name="connsiteX95" fmla="*/ 7294 w 8184"/>
                <a:gd name="connsiteY95" fmla="*/ 6707 h 10000"/>
                <a:gd name="connsiteX96" fmla="*/ 7577 w 8184"/>
                <a:gd name="connsiteY96" fmla="*/ 6607 h 10000"/>
                <a:gd name="connsiteX97" fmla="*/ 7532 w 8184"/>
                <a:gd name="connsiteY97" fmla="*/ 6493 h 10000"/>
                <a:gd name="connsiteX98" fmla="*/ 7616 w 8184"/>
                <a:gd name="connsiteY98" fmla="*/ 6538 h 10000"/>
                <a:gd name="connsiteX99" fmla="*/ 7745 w 8184"/>
                <a:gd name="connsiteY99" fmla="*/ 6538 h 10000"/>
                <a:gd name="connsiteX100" fmla="*/ 7745 w 8184"/>
                <a:gd name="connsiteY100" fmla="*/ 6486 h 10000"/>
                <a:gd name="connsiteX101" fmla="*/ 7866 w 8184"/>
                <a:gd name="connsiteY101" fmla="*/ 6446 h 10000"/>
                <a:gd name="connsiteX102" fmla="*/ 7850 w 8184"/>
                <a:gd name="connsiteY102" fmla="*/ 6405 h 10000"/>
                <a:gd name="connsiteX103" fmla="*/ 6834 w 8184"/>
                <a:gd name="connsiteY103" fmla="*/ 6488 h 10000"/>
                <a:gd name="connsiteX104" fmla="*/ 6595 w 8184"/>
                <a:gd name="connsiteY104" fmla="*/ 6463 h 10000"/>
                <a:gd name="connsiteX105" fmla="*/ 6500 w 8184"/>
                <a:gd name="connsiteY105" fmla="*/ 6493 h 10000"/>
                <a:gd name="connsiteX106" fmla="*/ 6468 w 8184"/>
                <a:gd name="connsiteY106" fmla="*/ 6436 h 10000"/>
                <a:gd name="connsiteX107" fmla="*/ 6355 w 8184"/>
                <a:gd name="connsiteY107" fmla="*/ 6384 h 10000"/>
                <a:gd name="connsiteX108" fmla="*/ 5903 w 8184"/>
                <a:gd name="connsiteY108" fmla="*/ 6282 h 10000"/>
                <a:gd name="connsiteX109" fmla="*/ 5636 w 8184"/>
                <a:gd name="connsiteY109" fmla="*/ 6298 h 10000"/>
                <a:gd name="connsiteX110" fmla="*/ 5530 w 8184"/>
                <a:gd name="connsiteY110" fmla="*/ 6270 h 10000"/>
                <a:gd name="connsiteX111" fmla="*/ 5642 w 8184"/>
                <a:gd name="connsiteY111" fmla="*/ 6245 h 10000"/>
                <a:gd name="connsiteX112" fmla="*/ 5727 w 8184"/>
                <a:gd name="connsiteY112" fmla="*/ 6190 h 10000"/>
                <a:gd name="connsiteX113" fmla="*/ 5853 w 8184"/>
                <a:gd name="connsiteY113" fmla="*/ 6208 h 10000"/>
                <a:gd name="connsiteX114" fmla="*/ 6003 w 8184"/>
                <a:gd name="connsiteY114" fmla="*/ 6193 h 10000"/>
                <a:gd name="connsiteX115" fmla="*/ 6229 w 8184"/>
                <a:gd name="connsiteY115" fmla="*/ 6211 h 10000"/>
                <a:gd name="connsiteX116" fmla="*/ 6257 w 8184"/>
                <a:gd name="connsiteY116" fmla="*/ 6204 h 10000"/>
                <a:gd name="connsiteX117" fmla="*/ 6432 w 8184"/>
                <a:gd name="connsiteY117" fmla="*/ 6287 h 10000"/>
                <a:gd name="connsiteX118" fmla="*/ 6561 w 8184"/>
                <a:gd name="connsiteY118" fmla="*/ 6257 h 10000"/>
                <a:gd name="connsiteX119" fmla="*/ 6573 w 8184"/>
                <a:gd name="connsiteY119" fmla="*/ 6229 h 10000"/>
                <a:gd name="connsiteX120" fmla="*/ 6691 w 8184"/>
                <a:gd name="connsiteY120" fmla="*/ 6278 h 10000"/>
                <a:gd name="connsiteX121" fmla="*/ 6849 w 8184"/>
                <a:gd name="connsiteY121" fmla="*/ 6304 h 10000"/>
                <a:gd name="connsiteX122" fmla="*/ 6912 w 8184"/>
                <a:gd name="connsiteY122" fmla="*/ 6255 h 10000"/>
                <a:gd name="connsiteX123" fmla="*/ 6962 w 8184"/>
                <a:gd name="connsiteY123" fmla="*/ 6282 h 10000"/>
                <a:gd name="connsiteX124" fmla="*/ 7035 w 8184"/>
                <a:gd name="connsiteY124" fmla="*/ 6377 h 10000"/>
                <a:gd name="connsiteX125" fmla="*/ 7187 w 8184"/>
                <a:gd name="connsiteY125" fmla="*/ 6399 h 10000"/>
                <a:gd name="connsiteX126" fmla="*/ 7809 w 8184"/>
                <a:gd name="connsiteY126" fmla="*/ 6259 h 10000"/>
                <a:gd name="connsiteX127" fmla="*/ 8114 w 8184"/>
                <a:gd name="connsiteY127" fmla="*/ 6064 h 10000"/>
                <a:gd name="connsiteX128" fmla="*/ 8184 w 8184"/>
                <a:gd name="connsiteY128" fmla="*/ 5921 h 10000"/>
                <a:gd name="connsiteX129" fmla="*/ 8074 w 8184"/>
                <a:gd name="connsiteY129" fmla="*/ 5792 h 10000"/>
                <a:gd name="connsiteX130" fmla="*/ 7842 w 8184"/>
                <a:gd name="connsiteY130" fmla="*/ 5715 h 10000"/>
                <a:gd name="connsiteX131" fmla="*/ 7678 w 8184"/>
                <a:gd name="connsiteY131" fmla="*/ 5589 h 10000"/>
                <a:gd name="connsiteX132" fmla="*/ 7831 w 8184"/>
                <a:gd name="connsiteY132" fmla="*/ 5584 h 10000"/>
                <a:gd name="connsiteX133" fmla="*/ 7820 w 8184"/>
                <a:gd name="connsiteY133" fmla="*/ 5554 h 10000"/>
                <a:gd name="connsiteX134" fmla="*/ 7421 w 8184"/>
                <a:gd name="connsiteY134" fmla="*/ 5465 h 10000"/>
                <a:gd name="connsiteX135" fmla="*/ 7404 w 8184"/>
                <a:gd name="connsiteY135" fmla="*/ 5383 h 10000"/>
                <a:gd name="connsiteX136" fmla="*/ 7327 w 8184"/>
                <a:gd name="connsiteY136" fmla="*/ 5299 h 10000"/>
                <a:gd name="connsiteX137" fmla="*/ 7013 w 8184"/>
                <a:gd name="connsiteY137" fmla="*/ 5314 h 10000"/>
                <a:gd name="connsiteX138" fmla="*/ 6900 w 8184"/>
                <a:gd name="connsiteY138" fmla="*/ 5224 h 10000"/>
                <a:gd name="connsiteX139" fmla="*/ 6834 w 8184"/>
                <a:gd name="connsiteY139" fmla="*/ 5219 h 10000"/>
                <a:gd name="connsiteX140" fmla="*/ 6834 w 8184"/>
                <a:gd name="connsiteY140" fmla="*/ 5256 h 10000"/>
                <a:gd name="connsiteX141" fmla="*/ 6691 w 8184"/>
                <a:gd name="connsiteY141" fmla="*/ 5408 h 10000"/>
                <a:gd name="connsiteX142" fmla="*/ 6539 w 8184"/>
                <a:gd name="connsiteY142" fmla="*/ 5498 h 10000"/>
                <a:gd name="connsiteX143" fmla="*/ 6057 w 8184"/>
                <a:gd name="connsiteY143" fmla="*/ 5651 h 10000"/>
                <a:gd name="connsiteX144" fmla="*/ 5891 w 8184"/>
                <a:gd name="connsiteY144" fmla="*/ 5646 h 10000"/>
                <a:gd name="connsiteX145" fmla="*/ 5659 w 8184"/>
                <a:gd name="connsiteY145" fmla="*/ 5669 h 10000"/>
                <a:gd name="connsiteX146" fmla="*/ 5530 w 8184"/>
                <a:gd name="connsiteY146" fmla="*/ 5646 h 10000"/>
                <a:gd name="connsiteX147" fmla="*/ 5700 w 8184"/>
                <a:gd name="connsiteY147" fmla="*/ 5604 h 10000"/>
                <a:gd name="connsiteX148" fmla="*/ 5921 w 8184"/>
                <a:gd name="connsiteY148" fmla="*/ 5584 h 10000"/>
                <a:gd name="connsiteX149" fmla="*/ 6101 w 8184"/>
                <a:gd name="connsiteY149" fmla="*/ 5513 h 10000"/>
                <a:gd name="connsiteX150" fmla="*/ 6280 w 8184"/>
                <a:gd name="connsiteY150" fmla="*/ 5480 h 10000"/>
                <a:gd name="connsiteX151" fmla="*/ 6614 w 8184"/>
                <a:gd name="connsiteY151" fmla="*/ 5355 h 10000"/>
                <a:gd name="connsiteX152" fmla="*/ 6676 w 8184"/>
                <a:gd name="connsiteY152" fmla="*/ 5274 h 10000"/>
                <a:gd name="connsiteX153" fmla="*/ 6682 w 8184"/>
                <a:gd name="connsiteY153" fmla="*/ 5168 h 10000"/>
                <a:gd name="connsiteX154" fmla="*/ 6529 w 8184"/>
                <a:gd name="connsiteY154" fmla="*/ 5150 h 10000"/>
                <a:gd name="connsiteX155" fmla="*/ 6595 w 8184"/>
                <a:gd name="connsiteY155" fmla="*/ 5086 h 10000"/>
                <a:gd name="connsiteX156" fmla="*/ 6618 w 8184"/>
                <a:gd name="connsiteY156" fmla="*/ 5005 h 10000"/>
                <a:gd name="connsiteX157" fmla="*/ 6553 w 8184"/>
                <a:gd name="connsiteY157" fmla="*/ 4928 h 10000"/>
                <a:gd name="connsiteX158" fmla="*/ 8035 w 8184"/>
                <a:gd name="connsiteY158" fmla="*/ 923 h 10000"/>
                <a:gd name="connsiteX159" fmla="*/ 8061 w 8184"/>
                <a:gd name="connsiteY159" fmla="*/ 649 h 10000"/>
                <a:gd name="connsiteX160" fmla="*/ 7514 w 8184"/>
                <a:gd name="connsiteY160" fmla="*/ 590 h 10000"/>
                <a:gd name="connsiteX161" fmla="*/ 6873 w 8184"/>
                <a:gd name="connsiteY161" fmla="*/ 332 h 10000"/>
                <a:gd name="connsiteX162" fmla="*/ 5463 w 8184"/>
                <a:gd name="connsiteY162" fmla="*/ 0 h 10000"/>
                <a:gd name="connsiteX163" fmla="*/ 5184 w 8184"/>
                <a:gd name="connsiteY163" fmla="*/ 82 h 10000"/>
                <a:gd name="connsiteX164" fmla="*/ 5006 w 8184"/>
                <a:gd name="connsiteY164" fmla="*/ 78 h 10000"/>
                <a:gd name="connsiteX165" fmla="*/ 4899 w 8184"/>
                <a:gd name="connsiteY165" fmla="*/ 107 h 10000"/>
                <a:gd name="connsiteX166" fmla="*/ 4607 w 8184"/>
                <a:gd name="connsiteY166" fmla="*/ 913 h 10000"/>
                <a:gd name="connsiteX167" fmla="*/ 3930 w 8184"/>
                <a:gd name="connsiteY167" fmla="*/ 1383 h 10000"/>
                <a:gd name="connsiteX168" fmla="*/ 3936 w 8184"/>
                <a:gd name="connsiteY168" fmla="*/ 1457 h 10000"/>
                <a:gd name="connsiteX169" fmla="*/ 4236 w 8184"/>
                <a:gd name="connsiteY169" fmla="*/ 1668 h 10000"/>
                <a:gd name="connsiteX170" fmla="*/ 4139 w 8184"/>
                <a:gd name="connsiteY170" fmla="*/ 1896 h 10000"/>
                <a:gd name="connsiteX171" fmla="*/ 3963 w 8184"/>
                <a:gd name="connsiteY171" fmla="*/ 1979 h 10000"/>
                <a:gd name="connsiteX172" fmla="*/ 3437 w 8184"/>
                <a:gd name="connsiteY172" fmla="*/ 1924 h 10000"/>
                <a:gd name="connsiteX173" fmla="*/ 3077 w 8184"/>
                <a:gd name="connsiteY173" fmla="*/ 1955 h 10000"/>
                <a:gd name="connsiteX174" fmla="*/ 2787 w 8184"/>
                <a:gd name="connsiteY174" fmla="*/ 2023 h 10000"/>
                <a:gd name="connsiteX175" fmla="*/ 2318 w 8184"/>
                <a:gd name="connsiteY175" fmla="*/ 2233 h 10000"/>
                <a:gd name="connsiteX176" fmla="*/ 2069 w 8184"/>
                <a:gd name="connsiteY176" fmla="*/ 2487 h 10000"/>
                <a:gd name="connsiteX177" fmla="*/ 2091 w 8184"/>
                <a:gd name="connsiteY177" fmla="*/ 2629 h 10000"/>
                <a:gd name="connsiteX178" fmla="*/ 2178 w 8184"/>
                <a:gd name="connsiteY178" fmla="*/ 2738 h 10000"/>
                <a:gd name="connsiteX179" fmla="*/ 2243 w 8184"/>
                <a:gd name="connsiteY179" fmla="*/ 2782 h 10000"/>
                <a:gd name="connsiteX180" fmla="*/ 2121 w 8184"/>
                <a:gd name="connsiteY180" fmla="*/ 2852 h 10000"/>
                <a:gd name="connsiteX181" fmla="*/ 1855 w 8184"/>
                <a:gd name="connsiteY181" fmla="*/ 3330 h 10000"/>
                <a:gd name="connsiteX182" fmla="*/ 1907 w 8184"/>
                <a:gd name="connsiteY182" fmla="*/ 3358 h 10000"/>
                <a:gd name="connsiteX183" fmla="*/ 1944 w 8184"/>
                <a:gd name="connsiteY183" fmla="*/ 3479 h 10000"/>
                <a:gd name="connsiteX184" fmla="*/ 1822 w 8184"/>
                <a:gd name="connsiteY184" fmla="*/ 3982 h 10000"/>
                <a:gd name="connsiteX185" fmla="*/ 1944 w 8184"/>
                <a:gd name="connsiteY185" fmla="*/ 4110 h 10000"/>
                <a:gd name="connsiteX186" fmla="*/ 2284 w 8184"/>
                <a:gd name="connsiteY186" fmla="*/ 4251 h 10000"/>
                <a:gd name="connsiteX187" fmla="*/ 2298 w 8184"/>
                <a:gd name="connsiteY187" fmla="*/ 4423 h 10000"/>
                <a:gd name="connsiteX188" fmla="*/ 2154 w 8184"/>
                <a:gd name="connsiteY188" fmla="*/ 4566 h 10000"/>
                <a:gd name="connsiteX189" fmla="*/ 1944 w 8184"/>
                <a:gd name="connsiteY189" fmla="*/ 4652 h 10000"/>
                <a:gd name="connsiteX190" fmla="*/ 1669 w 8184"/>
                <a:gd name="connsiteY190" fmla="*/ 4687 h 10000"/>
                <a:gd name="connsiteX191" fmla="*/ 1596 w 8184"/>
                <a:gd name="connsiteY191" fmla="*/ 4737 h 10000"/>
                <a:gd name="connsiteX192" fmla="*/ 1758 w 8184"/>
                <a:gd name="connsiteY192" fmla="*/ 4855 h 10000"/>
                <a:gd name="connsiteX193" fmla="*/ 1850 w 8184"/>
                <a:gd name="connsiteY193" fmla="*/ 5136 h 10000"/>
                <a:gd name="connsiteX194" fmla="*/ 1641 w 8184"/>
                <a:gd name="connsiteY194" fmla="*/ 5376 h 10000"/>
                <a:gd name="connsiteX195" fmla="*/ 1714 w 8184"/>
                <a:gd name="connsiteY195" fmla="*/ 5451 h 10000"/>
                <a:gd name="connsiteX196" fmla="*/ 1647 w 8184"/>
                <a:gd name="connsiteY196" fmla="*/ 5577 h 10000"/>
                <a:gd name="connsiteX197" fmla="*/ 1514 w 8184"/>
                <a:gd name="connsiteY197" fmla="*/ 5663 h 10000"/>
                <a:gd name="connsiteX198" fmla="*/ 981 w 8184"/>
                <a:gd name="connsiteY198" fmla="*/ 5730 h 10000"/>
                <a:gd name="connsiteX199" fmla="*/ 948 w 8184"/>
                <a:gd name="connsiteY199" fmla="*/ 5846 h 10000"/>
                <a:gd name="connsiteX200" fmla="*/ 661 w 8184"/>
                <a:gd name="connsiteY200" fmla="*/ 6019 h 10000"/>
                <a:gd name="connsiteX201" fmla="*/ 699 w 8184"/>
                <a:gd name="connsiteY201" fmla="*/ 6268 h 10000"/>
                <a:gd name="connsiteX202" fmla="*/ 458 w 8184"/>
                <a:gd name="connsiteY202" fmla="*/ 6587 h 10000"/>
                <a:gd name="connsiteX203" fmla="*/ 293 w 8184"/>
                <a:gd name="connsiteY203" fmla="*/ 6624 h 10000"/>
                <a:gd name="connsiteX204" fmla="*/ 225 w 8184"/>
                <a:gd name="connsiteY204" fmla="*/ 6548 h 10000"/>
                <a:gd name="connsiteX205" fmla="*/ 142 w 8184"/>
                <a:gd name="connsiteY205" fmla="*/ 6663 h 10000"/>
                <a:gd name="connsiteX206" fmla="*/ 196 w 8184"/>
                <a:gd name="connsiteY206" fmla="*/ 6465 h 10000"/>
                <a:gd name="connsiteX207" fmla="*/ 161 w 8184"/>
                <a:gd name="connsiteY207" fmla="*/ 6427 h 10000"/>
                <a:gd name="connsiteX0" fmla="*/ 197 w 10000"/>
                <a:gd name="connsiteY0" fmla="*/ 6427 h 10000"/>
                <a:gd name="connsiteX1" fmla="*/ 0 w 10000"/>
                <a:gd name="connsiteY1" fmla="*/ 6530 h 10000"/>
                <a:gd name="connsiteX2" fmla="*/ 0 w 10000"/>
                <a:gd name="connsiteY2" fmla="*/ 7039 h 10000"/>
                <a:gd name="connsiteX3" fmla="*/ 109 w 10000"/>
                <a:gd name="connsiteY3" fmla="*/ 7053 h 10000"/>
                <a:gd name="connsiteX4" fmla="*/ 134 w 10000"/>
                <a:gd name="connsiteY4" fmla="*/ 7092 h 10000"/>
                <a:gd name="connsiteX5" fmla="*/ 130 w 10000"/>
                <a:gd name="connsiteY5" fmla="*/ 7161 h 10000"/>
                <a:gd name="connsiteX6" fmla="*/ 89 w 10000"/>
                <a:gd name="connsiteY6" fmla="*/ 7192 h 10000"/>
                <a:gd name="connsiteX7" fmla="*/ 255 w 10000"/>
                <a:gd name="connsiteY7" fmla="*/ 7133 h 10000"/>
                <a:gd name="connsiteX8" fmla="*/ 325 w 10000"/>
                <a:gd name="connsiteY8" fmla="*/ 7075 h 10000"/>
                <a:gd name="connsiteX9" fmla="*/ 413 w 10000"/>
                <a:gd name="connsiteY9" fmla="*/ 7115 h 10000"/>
                <a:gd name="connsiteX10" fmla="*/ 316 w 10000"/>
                <a:gd name="connsiteY10" fmla="*/ 7198 h 10000"/>
                <a:gd name="connsiteX11" fmla="*/ 419 w 10000"/>
                <a:gd name="connsiteY11" fmla="*/ 7200 h 10000"/>
                <a:gd name="connsiteX12" fmla="*/ 469 w 10000"/>
                <a:gd name="connsiteY12" fmla="*/ 7221 h 10000"/>
                <a:gd name="connsiteX13" fmla="*/ 337 w 10000"/>
                <a:gd name="connsiteY13" fmla="*/ 7248 h 10000"/>
                <a:gd name="connsiteX14" fmla="*/ 130 w 10000"/>
                <a:gd name="connsiteY14" fmla="*/ 7333 h 10000"/>
                <a:gd name="connsiteX15" fmla="*/ 497 w 10000"/>
                <a:gd name="connsiteY15" fmla="*/ 7400 h 10000"/>
                <a:gd name="connsiteX16" fmla="*/ 545 w 10000"/>
                <a:gd name="connsiteY16" fmla="*/ 7496 h 10000"/>
                <a:gd name="connsiteX17" fmla="*/ 419 w 10000"/>
                <a:gd name="connsiteY17" fmla="*/ 7636 h 10000"/>
                <a:gd name="connsiteX18" fmla="*/ 688 w 10000"/>
                <a:gd name="connsiteY18" fmla="*/ 7627 h 10000"/>
                <a:gd name="connsiteX19" fmla="*/ 709 w 10000"/>
                <a:gd name="connsiteY19" fmla="*/ 7733 h 10000"/>
                <a:gd name="connsiteX20" fmla="*/ 530 w 10000"/>
                <a:gd name="connsiteY20" fmla="*/ 7805 h 10000"/>
                <a:gd name="connsiteX21" fmla="*/ 560 w 10000"/>
                <a:gd name="connsiteY21" fmla="*/ 7945 h 10000"/>
                <a:gd name="connsiteX22" fmla="*/ 489 w 10000"/>
                <a:gd name="connsiteY22" fmla="*/ 8053 h 10000"/>
                <a:gd name="connsiteX23" fmla="*/ 703 w 10000"/>
                <a:gd name="connsiteY23" fmla="*/ 8063 h 10000"/>
                <a:gd name="connsiteX24" fmla="*/ 909 w 10000"/>
                <a:gd name="connsiteY24" fmla="*/ 8478 h 10000"/>
                <a:gd name="connsiteX25" fmla="*/ 1150 w 10000"/>
                <a:gd name="connsiteY25" fmla="*/ 8583 h 10000"/>
                <a:gd name="connsiteX26" fmla="*/ 1255 w 10000"/>
                <a:gd name="connsiteY26" fmla="*/ 8695 h 10000"/>
                <a:gd name="connsiteX27" fmla="*/ 1514 w 10000"/>
                <a:gd name="connsiteY27" fmla="*/ 8776 h 10000"/>
                <a:gd name="connsiteX28" fmla="*/ 1684 w 10000"/>
                <a:gd name="connsiteY28" fmla="*/ 8881 h 10000"/>
                <a:gd name="connsiteX29" fmla="*/ 1661 w 10000"/>
                <a:gd name="connsiteY29" fmla="*/ 8955 h 10000"/>
                <a:gd name="connsiteX30" fmla="*/ 1496 w 10000"/>
                <a:gd name="connsiteY30" fmla="*/ 8983 h 10000"/>
                <a:gd name="connsiteX31" fmla="*/ 1316 w 10000"/>
                <a:gd name="connsiteY31" fmla="*/ 8965 h 10000"/>
                <a:gd name="connsiteX32" fmla="*/ 1260 w 10000"/>
                <a:gd name="connsiteY32" fmla="*/ 8996 h 10000"/>
                <a:gd name="connsiteX33" fmla="*/ 1397 w 10000"/>
                <a:gd name="connsiteY33" fmla="*/ 9158 h 10000"/>
                <a:gd name="connsiteX34" fmla="*/ 1205 w 10000"/>
                <a:gd name="connsiteY34" fmla="*/ 9144 h 10000"/>
                <a:gd name="connsiteX35" fmla="*/ 1040 w 10000"/>
                <a:gd name="connsiteY35" fmla="*/ 9105 h 10000"/>
                <a:gd name="connsiteX36" fmla="*/ 1012 w 10000"/>
                <a:gd name="connsiteY36" fmla="*/ 9165 h 10000"/>
                <a:gd name="connsiteX37" fmla="*/ 1557 w 10000"/>
                <a:gd name="connsiteY37" fmla="*/ 9718 h 10000"/>
                <a:gd name="connsiteX38" fmla="*/ 1469 w 10000"/>
                <a:gd name="connsiteY38" fmla="*/ 9770 h 10000"/>
                <a:gd name="connsiteX39" fmla="*/ 1408 w 10000"/>
                <a:gd name="connsiteY39" fmla="*/ 9876 h 10000"/>
                <a:gd name="connsiteX40" fmla="*/ 1329 w 10000"/>
                <a:gd name="connsiteY40" fmla="*/ 9885 h 10000"/>
                <a:gd name="connsiteX41" fmla="*/ 1281 w 10000"/>
                <a:gd name="connsiteY41" fmla="*/ 9931 h 10000"/>
                <a:gd name="connsiteX42" fmla="*/ 1609 w 10000"/>
                <a:gd name="connsiteY42" fmla="*/ 9936 h 10000"/>
                <a:gd name="connsiteX43" fmla="*/ 1900 w 10000"/>
                <a:gd name="connsiteY43" fmla="*/ 9982 h 10000"/>
                <a:gd name="connsiteX44" fmla="*/ 2383 w 10000"/>
                <a:gd name="connsiteY44" fmla="*/ 9933 h 10000"/>
                <a:gd name="connsiteX45" fmla="*/ 2816 w 10000"/>
                <a:gd name="connsiteY45" fmla="*/ 9941 h 10000"/>
                <a:gd name="connsiteX46" fmla="*/ 3072 w 10000"/>
                <a:gd name="connsiteY46" fmla="*/ 10000 h 10000"/>
                <a:gd name="connsiteX47" fmla="*/ 3212 w 10000"/>
                <a:gd name="connsiteY47" fmla="*/ 9961 h 10000"/>
                <a:gd name="connsiteX48" fmla="*/ 3348 w 10000"/>
                <a:gd name="connsiteY48" fmla="*/ 9834 h 10000"/>
                <a:gd name="connsiteX49" fmla="*/ 3313 w 10000"/>
                <a:gd name="connsiteY49" fmla="*/ 9625 h 10000"/>
                <a:gd name="connsiteX50" fmla="*/ 3642 w 10000"/>
                <a:gd name="connsiteY50" fmla="*/ 9392 h 10000"/>
                <a:gd name="connsiteX51" fmla="*/ 3883 w 10000"/>
                <a:gd name="connsiteY51" fmla="*/ 9428 h 10000"/>
                <a:gd name="connsiteX52" fmla="*/ 4025 w 10000"/>
                <a:gd name="connsiteY52" fmla="*/ 9335 h 10000"/>
                <a:gd name="connsiteX53" fmla="*/ 4294 w 10000"/>
                <a:gd name="connsiteY53" fmla="*/ 9282 h 10000"/>
                <a:gd name="connsiteX54" fmla="*/ 4658 w 10000"/>
                <a:gd name="connsiteY54" fmla="*/ 9295 h 10000"/>
                <a:gd name="connsiteX55" fmla="*/ 4878 w 10000"/>
                <a:gd name="connsiteY55" fmla="*/ 9332 h 10000"/>
                <a:gd name="connsiteX56" fmla="*/ 5170 w 10000"/>
                <a:gd name="connsiteY56" fmla="*/ 9315 h 10000"/>
                <a:gd name="connsiteX57" fmla="*/ 5464 w 10000"/>
                <a:gd name="connsiteY57" fmla="*/ 9356 h 10000"/>
                <a:gd name="connsiteX58" fmla="*/ 5759 w 10000"/>
                <a:gd name="connsiteY58" fmla="*/ 9361 h 10000"/>
                <a:gd name="connsiteX59" fmla="*/ 6419 w 10000"/>
                <a:gd name="connsiteY59" fmla="*/ 8817 h 10000"/>
                <a:gd name="connsiteX60" fmla="*/ 6586 w 10000"/>
                <a:gd name="connsiteY60" fmla="*/ 8375 h 10000"/>
                <a:gd name="connsiteX61" fmla="*/ 6855 w 10000"/>
                <a:gd name="connsiteY61" fmla="*/ 8177 h 10000"/>
                <a:gd name="connsiteX62" fmla="*/ 6855 w 10000"/>
                <a:gd name="connsiteY62" fmla="*/ 8073 h 10000"/>
                <a:gd name="connsiteX63" fmla="*/ 6757 w 10000"/>
                <a:gd name="connsiteY63" fmla="*/ 8015 h 10000"/>
                <a:gd name="connsiteX64" fmla="*/ 6915 w 10000"/>
                <a:gd name="connsiteY64" fmla="*/ 7922 h 10000"/>
                <a:gd name="connsiteX65" fmla="*/ 6887 w 10000"/>
                <a:gd name="connsiteY65" fmla="*/ 7844 h 10000"/>
                <a:gd name="connsiteX66" fmla="*/ 6779 w 10000"/>
                <a:gd name="connsiteY66" fmla="*/ 7776 h 10000"/>
                <a:gd name="connsiteX67" fmla="*/ 6757 w 10000"/>
                <a:gd name="connsiteY67" fmla="*/ 7728 h 10000"/>
                <a:gd name="connsiteX68" fmla="*/ 6785 w 10000"/>
                <a:gd name="connsiteY68" fmla="*/ 7691 h 10000"/>
                <a:gd name="connsiteX69" fmla="*/ 6931 w 10000"/>
                <a:gd name="connsiteY69" fmla="*/ 7721 h 10000"/>
                <a:gd name="connsiteX70" fmla="*/ 7045 w 10000"/>
                <a:gd name="connsiteY70" fmla="*/ 7719 h 10000"/>
                <a:gd name="connsiteX71" fmla="*/ 6983 w 10000"/>
                <a:gd name="connsiteY71" fmla="*/ 7655 h 10000"/>
                <a:gd name="connsiteX72" fmla="*/ 7003 w 10000"/>
                <a:gd name="connsiteY72" fmla="*/ 7619 h 10000"/>
                <a:gd name="connsiteX73" fmla="*/ 7089 w 10000"/>
                <a:gd name="connsiteY73" fmla="*/ 7565 h 10000"/>
                <a:gd name="connsiteX74" fmla="*/ 7074 w 10000"/>
                <a:gd name="connsiteY74" fmla="*/ 7521 h 10000"/>
                <a:gd name="connsiteX75" fmla="*/ 7152 w 10000"/>
                <a:gd name="connsiteY75" fmla="*/ 7373 h 10000"/>
                <a:gd name="connsiteX76" fmla="*/ 7130 w 10000"/>
                <a:gd name="connsiteY76" fmla="*/ 7327 h 10000"/>
                <a:gd name="connsiteX77" fmla="*/ 6729 w 10000"/>
                <a:gd name="connsiteY77" fmla="*/ 7216 h 10000"/>
                <a:gd name="connsiteX78" fmla="*/ 6785 w 10000"/>
                <a:gd name="connsiteY78" fmla="*/ 7211 h 10000"/>
                <a:gd name="connsiteX79" fmla="*/ 6998 w 10000"/>
                <a:gd name="connsiteY79" fmla="*/ 7241 h 10000"/>
                <a:gd name="connsiteX80" fmla="*/ 7230 w 10000"/>
                <a:gd name="connsiteY80" fmla="*/ 7230 h 10000"/>
                <a:gd name="connsiteX81" fmla="*/ 7295 w 10000"/>
                <a:gd name="connsiteY81" fmla="*/ 7189 h 10000"/>
                <a:gd name="connsiteX82" fmla="*/ 7074 w 10000"/>
                <a:gd name="connsiteY82" fmla="*/ 7113 h 10000"/>
                <a:gd name="connsiteX83" fmla="*/ 6414 w 10000"/>
                <a:gd name="connsiteY83" fmla="*/ 7062 h 10000"/>
                <a:gd name="connsiteX84" fmla="*/ 6458 w 10000"/>
                <a:gd name="connsiteY84" fmla="*/ 7039 h 10000"/>
                <a:gd name="connsiteX85" fmla="*/ 6998 w 10000"/>
                <a:gd name="connsiteY85" fmla="*/ 7023 h 10000"/>
                <a:gd name="connsiteX86" fmla="*/ 7295 w 10000"/>
                <a:gd name="connsiteY86" fmla="*/ 7069 h 10000"/>
                <a:gd name="connsiteX87" fmla="*/ 7466 w 10000"/>
                <a:gd name="connsiteY87" fmla="*/ 7039 h 10000"/>
                <a:gd name="connsiteX88" fmla="*/ 7529 w 10000"/>
                <a:gd name="connsiteY88" fmla="*/ 6959 h 10000"/>
                <a:gd name="connsiteX89" fmla="*/ 7840 w 10000"/>
                <a:gd name="connsiteY89" fmla="*/ 6959 h 10000"/>
                <a:gd name="connsiteX90" fmla="*/ 8261 w 10000"/>
                <a:gd name="connsiteY90" fmla="*/ 6799 h 10000"/>
                <a:gd name="connsiteX91" fmla="*/ 8275 w 10000"/>
                <a:gd name="connsiteY91" fmla="*/ 6693 h 10000"/>
                <a:gd name="connsiteX92" fmla="*/ 8453 w 10000"/>
                <a:gd name="connsiteY92" fmla="*/ 6718 h 10000"/>
                <a:gd name="connsiteX93" fmla="*/ 8446 w 10000"/>
                <a:gd name="connsiteY93" fmla="*/ 6824 h 10000"/>
                <a:gd name="connsiteX94" fmla="*/ 8727 w 10000"/>
                <a:gd name="connsiteY94" fmla="*/ 6817 h 10000"/>
                <a:gd name="connsiteX95" fmla="*/ 8913 w 10000"/>
                <a:gd name="connsiteY95" fmla="*/ 6707 h 10000"/>
                <a:gd name="connsiteX96" fmla="*/ 9258 w 10000"/>
                <a:gd name="connsiteY96" fmla="*/ 6607 h 10000"/>
                <a:gd name="connsiteX97" fmla="*/ 9203 w 10000"/>
                <a:gd name="connsiteY97" fmla="*/ 6493 h 10000"/>
                <a:gd name="connsiteX98" fmla="*/ 9306 w 10000"/>
                <a:gd name="connsiteY98" fmla="*/ 6538 h 10000"/>
                <a:gd name="connsiteX99" fmla="*/ 9464 w 10000"/>
                <a:gd name="connsiteY99" fmla="*/ 6538 h 10000"/>
                <a:gd name="connsiteX100" fmla="*/ 9464 w 10000"/>
                <a:gd name="connsiteY100" fmla="*/ 6486 h 10000"/>
                <a:gd name="connsiteX101" fmla="*/ 9611 w 10000"/>
                <a:gd name="connsiteY101" fmla="*/ 6446 h 10000"/>
                <a:gd name="connsiteX102" fmla="*/ 9592 w 10000"/>
                <a:gd name="connsiteY102" fmla="*/ 6405 h 10000"/>
                <a:gd name="connsiteX103" fmla="*/ 8350 w 10000"/>
                <a:gd name="connsiteY103" fmla="*/ 6488 h 10000"/>
                <a:gd name="connsiteX104" fmla="*/ 8058 w 10000"/>
                <a:gd name="connsiteY104" fmla="*/ 6463 h 10000"/>
                <a:gd name="connsiteX105" fmla="*/ 7942 w 10000"/>
                <a:gd name="connsiteY105" fmla="*/ 6493 h 10000"/>
                <a:gd name="connsiteX106" fmla="*/ 7903 w 10000"/>
                <a:gd name="connsiteY106" fmla="*/ 6436 h 10000"/>
                <a:gd name="connsiteX107" fmla="*/ 7765 w 10000"/>
                <a:gd name="connsiteY107" fmla="*/ 6384 h 10000"/>
                <a:gd name="connsiteX108" fmla="*/ 7213 w 10000"/>
                <a:gd name="connsiteY108" fmla="*/ 6282 h 10000"/>
                <a:gd name="connsiteX109" fmla="*/ 6887 w 10000"/>
                <a:gd name="connsiteY109" fmla="*/ 6298 h 10000"/>
                <a:gd name="connsiteX110" fmla="*/ 6757 w 10000"/>
                <a:gd name="connsiteY110" fmla="*/ 6270 h 10000"/>
                <a:gd name="connsiteX111" fmla="*/ 6894 w 10000"/>
                <a:gd name="connsiteY111" fmla="*/ 6245 h 10000"/>
                <a:gd name="connsiteX112" fmla="*/ 6998 w 10000"/>
                <a:gd name="connsiteY112" fmla="*/ 6190 h 10000"/>
                <a:gd name="connsiteX113" fmla="*/ 7152 w 10000"/>
                <a:gd name="connsiteY113" fmla="*/ 6208 h 10000"/>
                <a:gd name="connsiteX114" fmla="*/ 7335 w 10000"/>
                <a:gd name="connsiteY114" fmla="*/ 6193 h 10000"/>
                <a:gd name="connsiteX115" fmla="*/ 7611 w 10000"/>
                <a:gd name="connsiteY115" fmla="*/ 6211 h 10000"/>
                <a:gd name="connsiteX116" fmla="*/ 7645 w 10000"/>
                <a:gd name="connsiteY116" fmla="*/ 6204 h 10000"/>
                <a:gd name="connsiteX117" fmla="*/ 7859 w 10000"/>
                <a:gd name="connsiteY117" fmla="*/ 6287 h 10000"/>
                <a:gd name="connsiteX118" fmla="*/ 8017 w 10000"/>
                <a:gd name="connsiteY118" fmla="*/ 6257 h 10000"/>
                <a:gd name="connsiteX119" fmla="*/ 8032 w 10000"/>
                <a:gd name="connsiteY119" fmla="*/ 6229 h 10000"/>
                <a:gd name="connsiteX120" fmla="*/ 8176 w 10000"/>
                <a:gd name="connsiteY120" fmla="*/ 6278 h 10000"/>
                <a:gd name="connsiteX121" fmla="*/ 8369 w 10000"/>
                <a:gd name="connsiteY121" fmla="*/ 6304 h 10000"/>
                <a:gd name="connsiteX122" fmla="*/ 8446 w 10000"/>
                <a:gd name="connsiteY122" fmla="*/ 6255 h 10000"/>
                <a:gd name="connsiteX123" fmla="*/ 8507 w 10000"/>
                <a:gd name="connsiteY123" fmla="*/ 6282 h 10000"/>
                <a:gd name="connsiteX124" fmla="*/ 8596 w 10000"/>
                <a:gd name="connsiteY124" fmla="*/ 6377 h 10000"/>
                <a:gd name="connsiteX125" fmla="*/ 8782 w 10000"/>
                <a:gd name="connsiteY125" fmla="*/ 6399 h 10000"/>
                <a:gd name="connsiteX126" fmla="*/ 9542 w 10000"/>
                <a:gd name="connsiteY126" fmla="*/ 6259 h 10000"/>
                <a:gd name="connsiteX127" fmla="*/ 9914 w 10000"/>
                <a:gd name="connsiteY127" fmla="*/ 6064 h 10000"/>
                <a:gd name="connsiteX128" fmla="*/ 10000 w 10000"/>
                <a:gd name="connsiteY128" fmla="*/ 5921 h 10000"/>
                <a:gd name="connsiteX129" fmla="*/ 9866 w 10000"/>
                <a:gd name="connsiteY129" fmla="*/ 5792 h 10000"/>
                <a:gd name="connsiteX130" fmla="*/ 9582 w 10000"/>
                <a:gd name="connsiteY130" fmla="*/ 5715 h 10000"/>
                <a:gd name="connsiteX131" fmla="*/ 9382 w 10000"/>
                <a:gd name="connsiteY131" fmla="*/ 5589 h 10000"/>
                <a:gd name="connsiteX132" fmla="*/ 9569 w 10000"/>
                <a:gd name="connsiteY132" fmla="*/ 5584 h 10000"/>
                <a:gd name="connsiteX133" fmla="*/ 9555 w 10000"/>
                <a:gd name="connsiteY133" fmla="*/ 5554 h 10000"/>
                <a:gd name="connsiteX134" fmla="*/ 9068 w 10000"/>
                <a:gd name="connsiteY134" fmla="*/ 5465 h 10000"/>
                <a:gd name="connsiteX135" fmla="*/ 9047 w 10000"/>
                <a:gd name="connsiteY135" fmla="*/ 5383 h 10000"/>
                <a:gd name="connsiteX136" fmla="*/ 8953 w 10000"/>
                <a:gd name="connsiteY136" fmla="*/ 5299 h 10000"/>
                <a:gd name="connsiteX137" fmla="*/ 8569 w 10000"/>
                <a:gd name="connsiteY137" fmla="*/ 5314 h 10000"/>
                <a:gd name="connsiteX138" fmla="*/ 8431 w 10000"/>
                <a:gd name="connsiteY138" fmla="*/ 5224 h 10000"/>
                <a:gd name="connsiteX139" fmla="*/ 8350 w 10000"/>
                <a:gd name="connsiteY139" fmla="*/ 5219 h 10000"/>
                <a:gd name="connsiteX140" fmla="*/ 8350 w 10000"/>
                <a:gd name="connsiteY140" fmla="*/ 5256 h 10000"/>
                <a:gd name="connsiteX141" fmla="*/ 8176 w 10000"/>
                <a:gd name="connsiteY141" fmla="*/ 5408 h 10000"/>
                <a:gd name="connsiteX142" fmla="*/ 7990 w 10000"/>
                <a:gd name="connsiteY142" fmla="*/ 5498 h 10000"/>
                <a:gd name="connsiteX143" fmla="*/ 7401 w 10000"/>
                <a:gd name="connsiteY143" fmla="*/ 5651 h 10000"/>
                <a:gd name="connsiteX144" fmla="*/ 7198 w 10000"/>
                <a:gd name="connsiteY144" fmla="*/ 5646 h 10000"/>
                <a:gd name="connsiteX145" fmla="*/ 6915 w 10000"/>
                <a:gd name="connsiteY145" fmla="*/ 5669 h 10000"/>
                <a:gd name="connsiteX146" fmla="*/ 6757 w 10000"/>
                <a:gd name="connsiteY146" fmla="*/ 5646 h 10000"/>
                <a:gd name="connsiteX147" fmla="*/ 6965 w 10000"/>
                <a:gd name="connsiteY147" fmla="*/ 5604 h 10000"/>
                <a:gd name="connsiteX148" fmla="*/ 7235 w 10000"/>
                <a:gd name="connsiteY148" fmla="*/ 5584 h 10000"/>
                <a:gd name="connsiteX149" fmla="*/ 7455 w 10000"/>
                <a:gd name="connsiteY149" fmla="*/ 5513 h 10000"/>
                <a:gd name="connsiteX150" fmla="*/ 7674 w 10000"/>
                <a:gd name="connsiteY150" fmla="*/ 5480 h 10000"/>
                <a:gd name="connsiteX151" fmla="*/ 8082 w 10000"/>
                <a:gd name="connsiteY151" fmla="*/ 5355 h 10000"/>
                <a:gd name="connsiteX152" fmla="*/ 8157 w 10000"/>
                <a:gd name="connsiteY152" fmla="*/ 5274 h 10000"/>
                <a:gd name="connsiteX153" fmla="*/ 8165 w 10000"/>
                <a:gd name="connsiteY153" fmla="*/ 5168 h 10000"/>
                <a:gd name="connsiteX154" fmla="*/ 7978 w 10000"/>
                <a:gd name="connsiteY154" fmla="*/ 5150 h 10000"/>
                <a:gd name="connsiteX155" fmla="*/ 8058 w 10000"/>
                <a:gd name="connsiteY155" fmla="*/ 5086 h 10000"/>
                <a:gd name="connsiteX156" fmla="*/ 8087 w 10000"/>
                <a:gd name="connsiteY156" fmla="*/ 5005 h 10000"/>
                <a:gd name="connsiteX157" fmla="*/ 8007 w 10000"/>
                <a:gd name="connsiteY157" fmla="*/ 4928 h 10000"/>
                <a:gd name="connsiteX158" fmla="*/ 9850 w 10000"/>
                <a:gd name="connsiteY158" fmla="*/ 649 h 10000"/>
                <a:gd name="connsiteX159" fmla="*/ 9181 w 10000"/>
                <a:gd name="connsiteY159" fmla="*/ 590 h 10000"/>
                <a:gd name="connsiteX160" fmla="*/ 8398 w 10000"/>
                <a:gd name="connsiteY160" fmla="*/ 332 h 10000"/>
                <a:gd name="connsiteX161" fmla="*/ 6675 w 10000"/>
                <a:gd name="connsiteY161" fmla="*/ 0 h 10000"/>
                <a:gd name="connsiteX162" fmla="*/ 6334 w 10000"/>
                <a:gd name="connsiteY162" fmla="*/ 82 h 10000"/>
                <a:gd name="connsiteX163" fmla="*/ 6117 w 10000"/>
                <a:gd name="connsiteY163" fmla="*/ 78 h 10000"/>
                <a:gd name="connsiteX164" fmla="*/ 5986 w 10000"/>
                <a:gd name="connsiteY164" fmla="*/ 107 h 10000"/>
                <a:gd name="connsiteX165" fmla="*/ 5629 w 10000"/>
                <a:gd name="connsiteY165" fmla="*/ 913 h 10000"/>
                <a:gd name="connsiteX166" fmla="*/ 4802 w 10000"/>
                <a:gd name="connsiteY166" fmla="*/ 1383 h 10000"/>
                <a:gd name="connsiteX167" fmla="*/ 4809 w 10000"/>
                <a:gd name="connsiteY167" fmla="*/ 1457 h 10000"/>
                <a:gd name="connsiteX168" fmla="*/ 5176 w 10000"/>
                <a:gd name="connsiteY168" fmla="*/ 1668 h 10000"/>
                <a:gd name="connsiteX169" fmla="*/ 5057 w 10000"/>
                <a:gd name="connsiteY169" fmla="*/ 1896 h 10000"/>
                <a:gd name="connsiteX170" fmla="*/ 4842 w 10000"/>
                <a:gd name="connsiteY170" fmla="*/ 1979 h 10000"/>
                <a:gd name="connsiteX171" fmla="*/ 4200 w 10000"/>
                <a:gd name="connsiteY171" fmla="*/ 1924 h 10000"/>
                <a:gd name="connsiteX172" fmla="*/ 3760 w 10000"/>
                <a:gd name="connsiteY172" fmla="*/ 1955 h 10000"/>
                <a:gd name="connsiteX173" fmla="*/ 3405 w 10000"/>
                <a:gd name="connsiteY173" fmla="*/ 2023 h 10000"/>
                <a:gd name="connsiteX174" fmla="*/ 2832 w 10000"/>
                <a:gd name="connsiteY174" fmla="*/ 2233 h 10000"/>
                <a:gd name="connsiteX175" fmla="*/ 2528 w 10000"/>
                <a:gd name="connsiteY175" fmla="*/ 2487 h 10000"/>
                <a:gd name="connsiteX176" fmla="*/ 2555 w 10000"/>
                <a:gd name="connsiteY176" fmla="*/ 2629 h 10000"/>
                <a:gd name="connsiteX177" fmla="*/ 2661 w 10000"/>
                <a:gd name="connsiteY177" fmla="*/ 2738 h 10000"/>
                <a:gd name="connsiteX178" fmla="*/ 2741 w 10000"/>
                <a:gd name="connsiteY178" fmla="*/ 2782 h 10000"/>
                <a:gd name="connsiteX179" fmla="*/ 2592 w 10000"/>
                <a:gd name="connsiteY179" fmla="*/ 2852 h 10000"/>
                <a:gd name="connsiteX180" fmla="*/ 2267 w 10000"/>
                <a:gd name="connsiteY180" fmla="*/ 3330 h 10000"/>
                <a:gd name="connsiteX181" fmla="*/ 2330 w 10000"/>
                <a:gd name="connsiteY181" fmla="*/ 3358 h 10000"/>
                <a:gd name="connsiteX182" fmla="*/ 2375 w 10000"/>
                <a:gd name="connsiteY182" fmla="*/ 3479 h 10000"/>
                <a:gd name="connsiteX183" fmla="*/ 2226 w 10000"/>
                <a:gd name="connsiteY183" fmla="*/ 3982 h 10000"/>
                <a:gd name="connsiteX184" fmla="*/ 2375 w 10000"/>
                <a:gd name="connsiteY184" fmla="*/ 4110 h 10000"/>
                <a:gd name="connsiteX185" fmla="*/ 2791 w 10000"/>
                <a:gd name="connsiteY185" fmla="*/ 4251 h 10000"/>
                <a:gd name="connsiteX186" fmla="*/ 2808 w 10000"/>
                <a:gd name="connsiteY186" fmla="*/ 4423 h 10000"/>
                <a:gd name="connsiteX187" fmla="*/ 2632 w 10000"/>
                <a:gd name="connsiteY187" fmla="*/ 4566 h 10000"/>
                <a:gd name="connsiteX188" fmla="*/ 2375 w 10000"/>
                <a:gd name="connsiteY188" fmla="*/ 4652 h 10000"/>
                <a:gd name="connsiteX189" fmla="*/ 2039 w 10000"/>
                <a:gd name="connsiteY189" fmla="*/ 4687 h 10000"/>
                <a:gd name="connsiteX190" fmla="*/ 1950 w 10000"/>
                <a:gd name="connsiteY190" fmla="*/ 4737 h 10000"/>
                <a:gd name="connsiteX191" fmla="*/ 2148 w 10000"/>
                <a:gd name="connsiteY191" fmla="*/ 4855 h 10000"/>
                <a:gd name="connsiteX192" fmla="*/ 2261 w 10000"/>
                <a:gd name="connsiteY192" fmla="*/ 5136 h 10000"/>
                <a:gd name="connsiteX193" fmla="*/ 2005 w 10000"/>
                <a:gd name="connsiteY193" fmla="*/ 5376 h 10000"/>
                <a:gd name="connsiteX194" fmla="*/ 2094 w 10000"/>
                <a:gd name="connsiteY194" fmla="*/ 5451 h 10000"/>
                <a:gd name="connsiteX195" fmla="*/ 2012 w 10000"/>
                <a:gd name="connsiteY195" fmla="*/ 5577 h 10000"/>
                <a:gd name="connsiteX196" fmla="*/ 1850 w 10000"/>
                <a:gd name="connsiteY196" fmla="*/ 5663 h 10000"/>
                <a:gd name="connsiteX197" fmla="*/ 1199 w 10000"/>
                <a:gd name="connsiteY197" fmla="*/ 5730 h 10000"/>
                <a:gd name="connsiteX198" fmla="*/ 1158 w 10000"/>
                <a:gd name="connsiteY198" fmla="*/ 5846 h 10000"/>
                <a:gd name="connsiteX199" fmla="*/ 808 w 10000"/>
                <a:gd name="connsiteY199" fmla="*/ 6019 h 10000"/>
                <a:gd name="connsiteX200" fmla="*/ 854 w 10000"/>
                <a:gd name="connsiteY200" fmla="*/ 6268 h 10000"/>
                <a:gd name="connsiteX201" fmla="*/ 560 w 10000"/>
                <a:gd name="connsiteY201" fmla="*/ 6587 h 10000"/>
                <a:gd name="connsiteX202" fmla="*/ 358 w 10000"/>
                <a:gd name="connsiteY202" fmla="*/ 6624 h 10000"/>
                <a:gd name="connsiteX203" fmla="*/ 275 w 10000"/>
                <a:gd name="connsiteY203" fmla="*/ 6548 h 10000"/>
                <a:gd name="connsiteX204" fmla="*/ 174 w 10000"/>
                <a:gd name="connsiteY204" fmla="*/ 6663 h 10000"/>
                <a:gd name="connsiteX205" fmla="*/ 239 w 10000"/>
                <a:gd name="connsiteY205" fmla="*/ 6465 h 10000"/>
                <a:gd name="connsiteX206" fmla="*/ 197 w 10000"/>
                <a:gd name="connsiteY206" fmla="*/ 6427 h 10000"/>
                <a:gd name="connsiteX0" fmla="*/ 197 w 10000"/>
                <a:gd name="connsiteY0" fmla="*/ 6427 h 10000"/>
                <a:gd name="connsiteX1" fmla="*/ 0 w 10000"/>
                <a:gd name="connsiteY1" fmla="*/ 6530 h 10000"/>
                <a:gd name="connsiteX2" fmla="*/ 0 w 10000"/>
                <a:gd name="connsiteY2" fmla="*/ 7039 h 10000"/>
                <a:gd name="connsiteX3" fmla="*/ 109 w 10000"/>
                <a:gd name="connsiteY3" fmla="*/ 7053 h 10000"/>
                <a:gd name="connsiteX4" fmla="*/ 134 w 10000"/>
                <a:gd name="connsiteY4" fmla="*/ 7092 h 10000"/>
                <a:gd name="connsiteX5" fmla="*/ 130 w 10000"/>
                <a:gd name="connsiteY5" fmla="*/ 7161 h 10000"/>
                <a:gd name="connsiteX6" fmla="*/ 89 w 10000"/>
                <a:gd name="connsiteY6" fmla="*/ 7192 h 10000"/>
                <a:gd name="connsiteX7" fmla="*/ 255 w 10000"/>
                <a:gd name="connsiteY7" fmla="*/ 7133 h 10000"/>
                <a:gd name="connsiteX8" fmla="*/ 325 w 10000"/>
                <a:gd name="connsiteY8" fmla="*/ 7075 h 10000"/>
                <a:gd name="connsiteX9" fmla="*/ 413 w 10000"/>
                <a:gd name="connsiteY9" fmla="*/ 7115 h 10000"/>
                <a:gd name="connsiteX10" fmla="*/ 316 w 10000"/>
                <a:gd name="connsiteY10" fmla="*/ 7198 h 10000"/>
                <a:gd name="connsiteX11" fmla="*/ 419 w 10000"/>
                <a:gd name="connsiteY11" fmla="*/ 7200 h 10000"/>
                <a:gd name="connsiteX12" fmla="*/ 469 w 10000"/>
                <a:gd name="connsiteY12" fmla="*/ 7221 h 10000"/>
                <a:gd name="connsiteX13" fmla="*/ 337 w 10000"/>
                <a:gd name="connsiteY13" fmla="*/ 7248 h 10000"/>
                <a:gd name="connsiteX14" fmla="*/ 130 w 10000"/>
                <a:gd name="connsiteY14" fmla="*/ 7333 h 10000"/>
                <a:gd name="connsiteX15" fmla="*/ 497 w 10000"/>
                <a:gd name="connsiteY15" fmla="*/ 7400 h 10000"/>
                <a:gd name="connsiteX16" fmla="*/ 545 w 10000"/>
                <a:gd name="connsiteY16" fmla="*/ 7496 h 10000"/>
                <a:gd name="connsiteX17" fmla="*/ 419 w 10000"/>
                <a:gd name="connsiteY17" fmla="*/ 7636 h 10000"/>
                <a:gd name="connsiteX18" fmla="*/ 688 w 10000"/>
                <a:gd name="connsiteY18" fmla="*/ 7627 h 10000"/>
                <a:gd name="connsiteX19" fmla="*/ 709 w 10000"/>
                <a:gd name="connsiteY19" fmla="*/ 7733 h 10000"/>
                <a:gd name="connsiteX20" fmla="*/ 530 w 10000"/>
                <a:gd name="connsiteY20" fmla="*/ 7805 h 10000"/>
                <a:gd name="connsiteX21" fmla="*/ 560 w 10000"/>
                <a:gd name="connsiteY21" fmla="*/ 7945 h 10000"/>
                <a:gd name="connsiteX22" fmla="*/ 489 w 10000"/>
                <a:gd name="connsiteY22" fmla="*/ 8053 h 10000"/>
                <a:gd name="connsiteX23" fmla="*/ 703 w 10000"/>
                <a:gd name="connsiteY23" fmla="*/ 8063 h 10000"/>
                <a:gd name="connsiteX24" fmla="*/ 909 w 10000"/>
                <a:gd name="connsiteY24" fmla="*/ 8478 h 10000"/>
                <a:gd name="connsiteX25" fmla="*/ 1150 w 10000"/>
                <a:gd name="connsiteY25" fmla="*/ 8583 h 10000"/>
                <a:gd name="connsiteX26" fmla="*/ 1255 w 10000"/>
                <a:gd name="connsiteY26" fmla="*/ 8695 h 10000"/>
                <a:gd name="connsiteX27" fmla="*/ 1514 w 10000"/>
                <a:gd name="connsiteY27" fmla="*/ 8776 h 10000"/>
                <a:gd name="connsiteX28" fmla="*/ 1684 w 10000"/>
                <a:gd name="connsiteY28" fmla="*/ 8881 h 10000"/>
                <a:gd name="connsiteX29" fmla="*/ 1661 w 10000"/>
                <a:gd name="connsiteY29" fmla="*/ 8955 h 10000"/>
                <a:gd name="connsiteX30" fmla="*/ 1496 w 10000"/>
                <a:gd name="connsiteY30" fmla="*/ 8983 h 10000"/>
                <a:gd name="connsiteX31" fmla="*/ 1316 w 10000"/>
                <a:gd name="connsiteY31" fmla="*/ 8965 h 10000"/>
                <a:gd name="connsiteX32" fmla="*/ 1260 w 10000"/>
                <a:gd name="connsiteY32" fmla="*/ 8996 h 10000"/>
                <a:gd name="connsiteX33" fmla="*/ 1397 w 10000"/>
                <a:gd name="connsiteY33" fmla="*/ 9158 h 10000"/>
                <a:gd name="connsiteX34" fmla="*/ 1205 w 10000"/>
                <a:gd name="connsiteY34" fmla="*/ 9144 h 10000"/>
                <a:gd name="connsiteX35" fmla="*/ 1040 w 10000"/>
                <a:gd name="connsiteY35" fmla="*/ 9105 h 10000"/>
                <a:gd name="connsiteX36" fmla="*/ 1012 w 10000"/>
                <a:gd name="connsiteY36" fmla="*/ 9165 h 10000"/>
                <a:gd name="connsiteX37" fmla="*/ 1557 w 10000"/>
                <a:gd name="connsiteY37" fmla="*/ 9718 h 10000"/>
                <a:gd name="connsiteX38" fmla="*/ 1469 w 10000"/>
                <a:gd name="connsiteY38" fmla="*/ 9770 h 10000"/>
                <a:gd name="connsiteX39" fmla="*/ 1408 w 10000"/>
                <a:gd name="connsiteY39" fmla="*/ 9876 h 10000"/>
                <a:gd name="connsiteX40" fmla="*/ 1329 w 10000"/>
                <a:gd name="connsiteY40" fmla="*/ 9885 h 10000"/>
                <a:gd name="connsiteX41" fmla="*/ 1281 w 10000"/>
                <a:gd name="connsiteY41" fmla="*/ 9931 h 10000"/>
                <a:gd name="connsiteX42" fmla="*/ 1609 w 10000"/>
                <a:gd name="connsiteY42" fmla="*/ 9936 h 10000"/>
                <a:gd name="connsiteX43" fmla="*/ 1900 w 10000"/>
                <a:gd name="connsiteY43" fmla="*/ 9982 h 10000"/>
                <a:gd name="connsiteX44" fmla="*/ 2383 w 10000"/>
                <a:gd name="connsiteY44" fmla="*/ 9933 h 10000"/>
                <a:gd name="connsiteX45" fmla="*/ 2816 w 10000"/>
                <a:gd name="connsiteY45" fmla="*/ 9941 h 10000"/>
                <a:gd name="connsiteX46" fmla="*/ 3072 w 10000"/>
                <a:gd name="connsiteY46" fmla="*/ 10000 h 10000"/>
                <a:gd name="connsiteX47" fmla="*/ 3212 w 10000"/>
                <a:gd name="connsiteY47" fmla="*/ 9961 h 10000"/>
                <a:gd name="connsiteX48" fmla="*/ 3348 w 10000"/>
                <a:gd name="connsiteY48" fmla="*/ 9834 h 10000"/>
                <a:gd name="connsiteX49" fmla="*/ 3313 w 10000"/>
                <a:gd name="connsiteY49" fmla="*/ 9625 h 10000"/>
                <a:gd name="connsiteX50" fmla="*/ 3642 w 10000"/>
                <a:gd name="connsiteY50" fmla="*/ 9392 h 10000"/>
                <a:gd name="connsiteX51" fmla="*/ 3883 w 10000"/>
                <a:gd name="connsiteY51" fmla="*/ 9428 h 10000"/>
                <a:gd name="connsiteX52" fmla="*/ 4025 w 10000"/>
                <a:gd name="connsiteY52" fmla="*/ 9335 h 10000"/>
                <a:gd name="connsiteX53" fmla="*/ 4294 w 10000"/>
                <a:gd name="connsiteY53" fmla="*/ 9282 h 10000"/>
                <a:gd name="connsiteX54" fmla="*/ 4658 w 10000"/>
                <a:gd name="connsiteY54" fmla="*/ 9295 h 10000"/>
                <a:gd name="connsiteX55" fmla="*/ 4878 w 10000"/>
                <a:gd name="connsiteY55" fmla="*/ 9332 h 10000"/>
                <a:gd name="connsiteX56" fmla="*/ 5170 w 10000"/>
                <a:gd name="connsiteY56" fmla="*/ 9315 h 10000"/>
                <a:gd name="connsiteX57" fmla="*/ 5464 w 10000"/>
                <a:gd name="connsiteY57" fmla="*/ 9356 h 10000"/>
                <a:gd name="connsiteX58" fmla="*/ 5759 w 10000"/>
                <a:gd name="connsiteY58" fmla="*/ 9361 h 10000"/>
                <a:gd name="connsiteX59" fmla="*/ 6419 w 10000"/>
                <a:gd name="connsiteY59" fmla="*/ 8817 h 10000"/>
                <a:gd name="connsiteX60" fmla="*/ 6586 w 10000"/>
                <a:gd name="connsiteY60" fmla="*/ 8375 h 10000"/>
                <a:gd name="connsiteX61" fmla="*/ 6855 w 10000"/>
                <a:gd name="connsiteY61" fmla="*/ 8177 h 10000"/>
                <a:gd name="connsiteX62" fmla="*/ 6855 w 10000"/>
                <a:gd name="connsiteY62" fmla="*/ 8073 h 10000"/>
                <a:gd name="connsiteX63" fmla="*/ 6757 w 10000"/>
                <a:gd name="connsiteY63" fmla="*/ 8015 h 10000"/>
                <a:gd name="connsiteX64" fmla="*/ 6915 w 10000"/>
                <a:gd name="connsiteY64" fmla="*/ 7922 h 10000"/>
                <a:gd name="connsiteX65" fmla="*/ 6887 w 10000"/>
                <a:gd name="connsiteY65" fmla="*/ 7844 h 10000"/>
                <a:gd name="connsiteX66" fmla="*/ 6779 w 10000"/>
                <a:gd name="connsiteY66" fmla="*/ 7776 h 10000"/>
                <a:gd name="connsiteX67" fmla="*/ 6757 w 10000"/>
                <a:gd name="connsiteY67" fmla="*/ 7728 h 10000"/>
                <a:gd name="connsiteX68" fmla="*/ 6785 w 10000"/>
                <a:gd name="connsiteY68" fmla="*/ 7691 h 10000"/>
                <a:gd name="connsiteX69" fmla="*/ 6931 w 10000"/>
                <a:gd name="connsiteY69" fmla="*/ 7721 h 10000"/>
                <a:gd name="connsiteX70" fmla="*/ 7045 w 10000"/>
                <a:gd name="connsiteY70" fmla="*/ 7719 h 10000"/>
                <a:gd name="connsiteX71" fmla="*/ 6983 w 10000"/>
                <a:gd name="connsiteY71" fmla="*/ 7655 h 10000"/>
                <a:gd name="connsiteX72" fmla="*/ 7003 w 10000"/>
                <a:gd name="connsiteY72" fmla="*/ 7619 h 10000"/>
                <a:gd name="connsiteX73" fmla="*/ 7089 w 10000"/>
                <a:gd name="connsiteY73" fmla="*/ 7565 h 10000"/>
                <a:gd name="connsiteX74" fmla="*/ 7074 w 10000"/>
                <a:gd name="connsiteY74" fmla="*/ 7521 h 10000"/>
                <a:gd name="connsiteX75" fmla="*/ 7152 w 10000"/>
                <a:gd name="connsiteY75" fmla="*/ 7373 h 10000"/>
                <a:gd name="connsiteX76" fmla="*/ 7130 w 10000"/>
                <a:gd name="connsiteY76" fmla="*/ 7327 h 10000"/>
                <a:gd name="connsiteX77" fmla="*/ 6729 w 10000"/>
                <a:gd name="connsiteY77" fmla="*/ 7216 h 10000"/>
                <a:gd name="connsiteX78" fmla="*/ 6785 w 10000"/>
                <a:gd name="connsiteY78" fmla="*/ 7211 h 10000"/>
                <a:gd name="connsiteX79" fmla="*/ 6998 w 10000"/>
                <a:gd name="connsiteY79" fmla="*/ 7241 h 10000"/>
                <a:gd name="connsiteX80" fmla="*/ 7230 w 10000"/>
                <a:gd name="connsiteY80" fmla="*/ 7230 h 10000"/>
                <a:gd name="connsiteX81" fmla="*/ 7295 w 10000"/>
                <a:gd name="connsiteY81" fmla="*/ 7189 h 10000"/>
                <a:gd name="connsiteX82" fmla="*/ 7074 w 10000"/>
                <a:gd name="connsiteY82" fmla="*/ 7113 h 10000"/>
                <a:gd name="connsiteX83" fmla="*/ 6414 w 10000"/>
                <a:gd name="connsiteY83" fmla="*/ 7062 h 10000"/>
                <a:gd name="connsiteX84" fmla="*/ 6458 w 10000"/>
                <a:gd name="connsiteY84" fmla="*/ 7039 h 10000"/>
                <a:gd name="connsiteX85" fmla="*/ 6998 w 10000"/>
                <a:gd name="connsiteY85" fmla="*/ 7023 h 10000"/>
                <a:gd name="connsiteX86" fmla="*/ 7295 w 10000"/>
                <a:gd name="connsiteY86" fmla="*/ 7069 h 10000"/>
                <a:gd name="connsiteX87" fmla="*/ 7466 w 10000"/>
                <a:gd name="connsiteY87" fmla="*/ 7039 h 10000"/>
                <a:gd name="connsiteX88" fmla="*/ 7529 w 10000"/>
                <a:gd name="connsiteY88" fmla="*/ 6959 h 10000"/>
                <a:gd name="connsiteX89" fmla="*/ 7840 w 10000"/>
                <a:gd name="connsiteY89" fmla="*/ 6959 h 10000"/>
                <a:gd name="connsiteX90" fmla="*/ 8261 w 10000"/>
                <a:gd name="connsiteY90" fmla="*/ 6799 h 10000"/>
                <a:gd name="connsiteX91" fmla="*/ 8275 w 10000"/>
                <a:gd name="connsiteY91" fmla="*/ 6693 h 10000"/>
                <a:gd name="connsiteX92" fmla="*/ 8453 w 10000"/>
                <a:gd name="connsiteY92" fmla="*/ 6718 h 10000"/>
                <a:gd name="connsiteX93" fmla="*/ 8446 w 10000"/>
                <a:gd name="connsiteY93" fmla="*/ 6824 h 10000"/>
                <a:gd name="connsiteX94" fmla="*/ 8727 w 10000"/>
                <a:gd name="connsiteY94" fmla="*/ 6817 h 10000"/>
                <a:gd name="connsiteX95" fmla="*/ 8913 w 10000"/>
                <a:gd name="connsiteY95" fmla="*/ 6707 h 10000"/>
                <a:gd name="connsiteX96" fmla="*/ 9258 w 10000"/>
                <a:gd name="connsiteY96" fmla="*/ 6607 h 10000"/>
                <a:gd name="connsiteX97" fmla="*/ 9203 w 10000"/>
                <a:gd name="connsiteY97" fmla="*/ 6493 h 10000"/>
                <a:gd name="connsiteX98" fmla="*/ 9306 w 10000"/>
                <a:gd name="connsiteY98" fmla="*/ 6538 h 10000"/>
                <a:gd name="connsiteX99" fmla="*/ 9464 w 10000"/>
                <a:gd name="connsiteY99" fmla="*/ 6538 h 10000"/>
                <a:gd name="connsiteX100" fmla="*/ 9464 w 10000"/>
                <a:gd name="connsiteY100" fmla="*/ 6486 h 10000"/>
                <a:gd name="connsiteX101" fmla="*/ 9611 w 10000"/>
                <a:gd name="connsiteY101" fmla="*/ 6446 h 10000"/>
                <a:gd name="connsiteX102" fmla="*/ 9592 w 10000"/>
                <a:gd name="connsiteY102" fmla="*/ 6405 h 10000"/>
                <a:gd name="connsiteX103" fmla="*/ 8350 w 10000"/>
                <a:gd name="connsiteY103" fmla="*/ 6488 h 10000"/>
                <a:gd name="connsiteX104" fmla="*/ 8058 w 10000"/>
                <a:gd name="connsiteY104" fmla="*/ 6463 h 10000"/>
                <a:gd name="connsiteX105" fmla="*/ 7942 w 10000"/>
                <a:gd name="connsiteY105" fmla="*/ 6493 h 10000"/>
                <a:gd name="connsiteX106" fmla="*/ 7903 w 10000"/>
                <a:gd name="connsiteY106" fmla="*/ 6436 h 10000"/>
                <a:gd name="connsiteX107" fmla="*/ 7765 w 10000"/>
                <a:gd name="connsiteY107" fmla="*/ 6384 h 10000"/>
                <a:gd name="connsiteX108" fmla="*/ 7213 w 10000"/>
                <a:gd name="connsiteY108" fmla="*/ 6282 h 10000"/>
                <a:gd name="connsiteX109" fmla="*/ 6887 w 10000"/>
                <a:gd name="connsiteY109" fmla="*/ 6298 h 10000"/>
                <a:gd name="connsiteX110" fmla="*/ 6757 w 10000"/>
                <a:gd name="connsiteY110" fmla="*/ 6270 h 10000"/>
                <a:gd name="connsiteX111" fmla="*/ 6894 w 10000"/>
                <a:gd name="connsiteY111" fmla="*/ 6245 h 10000"/>
                <a:gd name="connsiteX112" fmla="*/ 6998 w 10000"/>
                <a:gd name="connsiteY112" fmla="*/ 6190 h 10000"/>
                <a:gd name="connsiteX113" fmla="*/ 7152 w 10000"/>
                <a:gd name="connsiteY113" fmla="*/ 6208 h 10000"/>
                <a:gd name="connsiteX114" fmla="*/ 7335 w 10000"/>
                <a:gd name="connsiteY114" fmla="*/ 6193 h 10000"/>
                <a:gd name="connsiteX115" fmla="*/ 7611 w 10000"/>
                <a:gd name="connsiteY115" fmla="*/ 6211 h 10000"/>
                <a:gd name="connsiteX116" fmla="*/ 7645 w 10000"/>
                <a:gd name="connsiteY116" fmla="*/ 6204 h 10000"/>
                <a:gd name="connsiteX117" fmla="*/ 7859 w 10000"/>
                <a:gd name="connsiteY117" fmla="*/ 6287 h 10000"/>
                <a:gd name="connsiteX118" fmla="*/ 8017 w 10000"/>
                <a:gd name="connsiteY118" fmla="*/ 6257 h 10000"/>
                <a:gd name="connsiteX119" fmla="*/ 8032 w 10000"/>
                <a:gd name="connsiteY119" fmla="*/ 6229 h 10000"/>
                <a:gd name="connsiteX120" fmla="*/ 8176 w 10000"/>
                <a:gd name="connsiteY120" fmla="*/ 6278 h 10000"/>
                <a:gd name="connsiteX121" fmla="*/ 8369 w 10000"/>
                <a:gd name="connsiteY121" fmla="*/ 6304 h 10000"/>
                <a:gd name="connsiteX122" fmla="*/ 8446 w 10000"/>
                <a:gd name="connsiteY122" fmla="*/ 6255 h 10000"/>
                <a:gd name="connsiteX123" fmla="*/ 8507 w 10000"/>
                <a:gd name="connsiteY123" fmla="*/ 6282 h 10000"/>
                <a:gd name="connsiteX124" fmla="*/ 8596 w 10000"/>
                <a:gd name="connsiteY124" fmla="*/ 6377 h 10000"/>
                <a:gd name="connsiteX125" fmla="*/ 8782 w 10000"/>
                <a:gd name="connsiteY125" fmla="*/ 6399 h 10000"/>
                <a:gd name="connsiteX126" fmla="*/ 9542 w 10000"/>
                <a:gd name="connsiteY126" fmla="*/ 6259 h 10000"/>
                <a:gd name="connsiteX127" fmla="*/ 9914 w 10000"/>
                <a:gd name="connsiteY127" fmla="*/ 6064 h 10000"/>
                <a:gd name="connsiteX128" fmla="*/ 10000 w 10000"/>
                <a:gd name="connsiteY128" fmla="*/ 5921 h 10000"/>
                <a:gd name="connsiteX129" fmla="*/ 9866 w 10000"/>
                <a:gd name="connsiteY129" fmla="*/ 5792 h 10000"/>
                <a:gd name="connsiteX130" fmla="*/ 9582 w 10000"/>
                <a:gd name="connsiteY130" fmla="*/ 5715 h 10000"/>
                <a:gd name="connsiteX131" fmla="*/ 9382 w 10000"/>
                <a:gd name="connsiteY131" fmla="*/ 5589 h 10000"/>
                <a:gd name="connsiteX132" fmla="*/ 9569 w 10000"/>
                <a:gd name="connsiteY132" fmla="*/ 5584 h 10000"/>
                <a:gd name="connsiteX133" fmla="*/ 9555 w 10000"/>
                <a:gd name="connsiteY133" fmla="*/ 5554 h 10000"/>
                <a:gd name="connsiteX134" fmla="*/ 9068 w 10000"/>
                <a:gd name="connsiteY134" fmla="*/ 5465 h 10000"/>
                <a:gd name="connsiteX135" fmla="*/ 9047 w 10000"/>
                <a:gd name="connsiteY135" fmla="*/ 5383 h 10000"/>
                <a:gd name="connsiteX136" fmla="*/ 8953 w 10000"/>
                <a:gd name="connsiteY136" fmla="*/ 5299 h 10000"/>
                <a:gd name="connsiteX137" fmla="*/ 8569 w 10000"/>
                <a:gd name="connsiteY137" fmla="*/ 5314 h 10000"/>
                <a:gd name="connsiteX138" fmla="*/ 8431 w 10000"/>
                <a:gd name="connsiteY138" fmla="*/ 5224 h 10000"/>
                <a:gd name="connsiteX139" fmla="*/ 8350 w 10000"/>
                <a:gd name="connsiteY139" fmla="*/ 5219 h 10000"/>
                <a:gd name="connsiteX140" fmla="*/ 8350 w 10000"/>
                <a:gd name="connsiteY140" fmla="*/ 5256 h 10000"/>
                <a:gd name="connsiteX141" fmla="*/ 8176 w 10000"/>
                <a:gd name="connsiteY141" fmla="*/ 5408 h 10000"/>
                <a:gd name="connsiteX142" fmla="*/ 7990 w 10000"/>
                <a:gd name="connsiteY142" fmla="*/ 5498 h 10000"/>
                <a:gd name="connsiteX143" fmla="*/ 7401 w 10000"/>
                <a:gd name="connsiteY143" fmla="*/ 5651 h 10000"/>
                <a:gd name="connsiteX144" fmla="*/ 7198 w 10000"/>
                <a:gd name="connsiteY144" fmla="*/ 5646 h 10000"/>
                <a:gd name="connsiteX145" fmla="*/ 6915 w 10000"/>
                <a:gd name="connsiteY145" fmla="*/ 5669 h 10000"/>
                <a:gd name="connsiteX146" fmla="*/ 6757 w 10000"/>
                <a:gd name="connsiteY146" fmla="*/ 5646 h 10000"/>
                <a:gd name="connsiteX147" fmla="*/ 6965 w 10000"/>
                <a:gd name="connsiteY147" fmla="*/ 5604 h 10000"/>
                <a:gd name="connsiteX148" fmla="*/ 7235 w 10000"/>
                <a:gd name="connsiteY148" fmla="*/ 5584 h 10000"/>
                <a:gd name="connsiteX149" fmla="*/ 7455 w 10000"/>
                <a:gd name="connsiteY149" fmla="*/ 5513 h 10000"/>
                <a:gd name="connsiteX150" fmla="*/ 7674 w 10000"/>
                <a:gd name="connsiteY150" fmla="*/ 5480 h 10000"/>
                <a:gd name="connsiteX151" fmla="*/ 8082 w 10000"/>
                <a:gd name="connsiteY151" fmla="*/ 5355 h 10000"/>
                <a:gd name="connsiteX152" fmla="*/ 8157 w 10000"/>
                <a:gd name="connsiteY152" fmla="*/ 5274 h 10000"/>
                <a:gd name="connsiteX153" fmla="*/ 8165 w 10000"/>
                <a:gd name="connsiteY153" fmla="*/ 5168 h 10000"/>
                <a:gd name="connsiteX154" fmla="*/ 7978 w 10000"/>
                <a:gd name="connsiteY154" fmla="*/ 5150 h 10000"/>
                <a:gd name="connsiteX155" fmla="*/ 8058 w 10000"/>
                <a:gd name="connsiteY155" fmla="*/ 5086 h 10000"/>
                <a:gd name="connsiteX156" fmla="*/ 8087 w 10000"/>
                <a:gd name="connsiteY156" fmla="*/ 5005 h 10000"/>
                <a:gd name="connsiteX157" fmla="*/ 8007 w 10000"/>
                <a:gd name="connsiteY157" fmla="*/ 4928 h 10000"/>
                <a:gd name="connsiteX158" fmla="*/ 9181 w 10000"/>
                <a:gd name="connsiteY158" fmla="*/ 590 h 10000"/>
                <a:gd name="connsiteX159" fmla="*/ 8398 w 10000"/>
                <a:gd name="connsiteY159" fmla="*/ 332 h 10000"/>
                <a:gd name="connsiteX160" fmla="*/ 6675 w 10000"/>
                <a:gd name="connsiteY160" fmla="*/ 0 h 10000"/>
                <a:gd name="connsiteX161" fmla="*/ 6334 w 10000"/>
                <a:gd name="connsiteY161" fmla="*/ 82 h 10000"/>
                <a:gd name="connsiteX162" fmla="*/ 6117 w 10000"/>
                <a:gd name="connsiteY162" fmla="*/ 78 h 10000"/>
                <a:gd name="connsiteX163" fmla="*/ 5986 w 10000"/>
                <a:gd name="connsiteY163" fmla="*/ 107 h 10000"/>
                <a:gd name="connsiteX164" fmla="*/ 5629 w 10000"/>
                <a:gd name="connsiteY164" fmla="*/ 913 h 10000"/>
                <a:gd name="connsiteX165" fmla="*/ 4802 w 10000"/>
                <a:gd name="connsiteY165" fmla="*/ 1383 h 10000"/>
                <a:gd name="connsiteX166" fmla="*/ 4809 w 10000"/>
                <a:gd name="connsiteY166" fmla="*/ 1457 h 10000"/>
                <a:gd name="connsiteX167" fmla="*/ 5176 w 10000"/>
                <a:gd name="connsiteY167" fmla="*/ 1668 h 10000"/>
                <a:gd name="connsiteX168" fmla="*/ 5057 w 10000"/>
                <a:gd name="connsiteY168" fmla="*/ 1896 h 10000"/>
                <a:gd name="connsiteX169" fmla="*/ 4842 w 10000"/>
                <a:gd name="connsiteY169" fmla="*/ 1979 h 10000"/>
                <a:gd name="connsiteX170" fmla="*/ 4200 w 10000"/>
                <a:gd name="connsiteY170" fmla="*/ 1924 h 10000"/>
                <a:gd name="connsiteX171" fmla="*/ 3760 w 10000"/>
                <a:gd name="connsiteY171" fmla="*/ 1955 h 10000"/>
                <a:gd name="connsiteX172" fmla="*/ 3405 w 10000"/>
                <a:gd name="connsiteY172" fmla="*/ 2023 h 10000"/>
                <a:gd name="connsiteX173" fmla="*/ 2832 w 10000"/>
                <a:gd name="connsiteY173" fmla="*/ 2233 h 10000"/>
                <a:gd name="connsiteX174" fmla="*/ 2528 w 10000"/>
                <a:gd name="connsiteY174" fmla="*/ 2487 h 10000"/>
                <a:gd name="connsiteX175" fmla="*/ 2555 w 10000"/>
                <a:gd name="connsiteY175" fmla="*/ 2629 h 10000"/>
                <a:gd name="connsiteX176" fmla="*/ 2661 w 10000"/>
                <a:gd name="connsiteY176" fmla="*/ 2738 h 10000"/>
                <a:gd name="connsiteX177" fmla="*/ 2741 w 10000"/>
                <a:gd name="connsiteY177" fmla="*/ 2782 h 10000"/>
                <a:gd name="connsiteX178" fmla="*/ 2592 w 10000"/>
                <a:gd name="connsiteY178" fmla="*/ 2852 h 10000"/>
                <a:gd name="connsiteX179" fmla="*/ 2267 w 10000"/>
                <a:gd name="connsiteY179" fmla="*/ 3330 h 10000"/>
                <a:gd name="connsiteX180" fmla="*/ 2330 w 10000"/>
                <a:gd name="connsiteY180" fmla="*/ 3358 h 10000"/>
                <a:gd name="connsiteX181" fmla="*/ 2375 w 10000"/>
                <a:gd name="connsiteY181" fmla="*/ 3479 h 10000"/>
                <a:gd name="connsiteX182" fmla="*/ 2226 w 10000"/>
                <a:gd name="connsiteY182" fmla="*/ 3982 h 10000"/>
                <a:gd name="connsiteX183" fmla="*/ 2375 w 10000"/>
                <a:gd name="connsiteY183" fmla="*/ 4110 h 10000"/>
                <a:gd name="connsiteX184" fmla="*/ 2791 w 10000"/>
                <a:gd name="connsiteY184" fmla="*/ 4251 h 10000"/>
                <a:gd name="connsiteX185" fmla="*/ 2808 w 10000"/>
                <a:gd name="connsiteY185" fmla="*/ 4423 h 10000"/>
                <a:gd name="connsiteX186" fmla="*/ 2632 w 10000"/>
                <a:gd name="connsiteY186" fmla="*/ 4566 h 10000"/>
                <a:gd name="connsiteX187" fmla="*/ 2375 w 10000"/>
                <a:gd name="connsiteY187" fmla="*/ 4652 h 10000"/>
                <a:gd name="connsiteX188" fmla="*/ 2039 w 10000"/>
                <a:gd name="connsiteY188" fmla="*/ 4687 h 10000"/>
                <a:gd name="connsiteX189" fmla="*/ 1950 w 10000"/>
                <a:gd name="connsiteY189" fmla="*/ 4737 h 10000"/>
                <a:gd name="connsiteX190" fmla="*/ 2148 w 10000"/>
                <a:gd name="connsiteY190" fmla="*/ 4855 h 10000"/>
                <a:gd name="connsiteX191" fmla="*/ 2261 w 10000"/>
                <a:gd name="connsiteY191" fmla="*/ 5136 h 10000"/>
                <a:gd name="connsiteX192" fmla="*/ 2005 w 10000"/>
                <a:gd name="connsiteY192" fmla="*/ 5376 h 10000"/>
                <a:gd name="connsiteX193" fmla="*/ 2094 w 10000"/>
                <a:gd name="connsiteY193" fmla="*/ 5451 h 10000"/>
                <a:gd name="connsiteX194" fmla="*/ 2012 w 10000"/>
                <a:gd name="connsiteY194" fmla="*/ 5577 h 10000"/>
                <a:gd name="connsiteX195" fmla="*/ 1850 w 10000"/>
                <a:gd name="connsiteY195" fmla="*/ 5663 h 10000"/>
                <a:gd name="connsiteX196" fmla="*/ 1199 w 10000"/>
                <a:gd name="connsiteY196" fmla="*/ 5730 h 10000"/>
                <a:gd name="connsiteX197" fmla="*/ 1158 w 10000"/>
                <a:gd name="connsiteY197" fmla="*/ 5846 h 10000"/>
                <a:gd name="connsiteX198" fmla="*/ 808 w 10000"/>
                <a:gd name="connsiteY198" fmla="*/ 6019 h 10000"/>
                <a:gd name="connsiteX199" fmla="*/ 854 w 10000"/>
                <a:gd name="connsiteY199" fmla="*/ 6268 h 10000"/>
                <a:gd name="connsiteX200" fmla="*/ 560 w 10000"/>
                <a:gd name="connsiteY200" fmla="*/ 6587 h 10000"/>
                <a:gd name="connsiteX201" fmla="*/ 358 w 10000"/>
                <a:gd name="connsiteY201" fmla="*/ 6624 h 10000"/>
                <a:gd name="connsiteX202" fmla="*/ 275 w 10000"/>
                <a:gd name="connsiteY202" fmla="*/ 6548 h 10000"/>
                <a:gd name="connsiteX203" fmla="*/ 174 w 10000"/>
                <a:gd name="connsiteY203" fmla="*/ 6663 h 10000"/>
                <a:gd name="connsiteX204" fmla="*/ 239 w 10000"/>
                <a:gd name="connsiteY204" fmla="*/ 6465 h 10000"/>
                <a:gd name="connsiteX205" fmla="*/ 197 w 10000"/>
                <a:gd name="connsiteY205" fmla="*/ 6427 h 10000"/>
                <a:gd name="connsiteX0" fmla="*/ 197 w 10000"/>
                <a:gd name="connsiteY0" fmla="*/ 6427 h 10000"/>
                <a:gd name="connsiteX1" fmla="*/ 0 w 10000"/>
                <a:gd name="connsiteY1" fmla="*/ 6530 h 10000"/>
                <a:gd name="connsiteX2" fmla="*/ 0 w 10000"/>
                <a:gd name="connsiteY2" fmla="*/ 7039 h 10000"/>
                <a:gd name="connsiteX3" fmla="*/ 109 w 10000"/>
                <a:gd name="connsiteY3" fmla="*/ 7053 h 10000"/>
                <a:gd name="connsiteX4" fmla="*/ 134 w 10000"/>
                <a:gd name="connsiteY4" fmla="*/ 7092 h 10000"/>
                <a:gd name="connsiteX5" fmla="*/ 130 w 10000"/>
                <a:gd name="connsiteY5" fmla="*/ 7161 h 10000"/>
                <a:gd name="connsiteX6" fmla="*/ 89 w 10000"/>
                <a:gd name="connsiteY6" fmla="*/ 7192 h 10000"/>
                <a:gd name="connsiteX7" fmla="*/ 255 w 10000"/>
                <a:gd name="connsiteY7" fmla="*/ 7133 h 10000"/>
                <a:gd name="connsiteX8" fmla="*/ 325 w 10000"/>
                <a:gd name="connsiteY8" fmla="*/ 7075 h 10000"/>
                <a:gd name="connsiteX9" fmla="*/ 413 w 10000"/>
                <a:gd name="connsiteY9" fmla="*/ 7115 h 10000"/>
                <a:gd name="connsiteX10" fmla="*/ 316 w 10000"/>
                <a:gd name="connsiteY10" fmla="*/ 7198 h 10000"/>
                <a:gd name="connsiteX11" fmla="*/ 419 w 10000"/>
                <a:gd name="connsiteY11" fmla="*/ 7200 h 10000"/>
                <a:gd name="connsiteX12" fmla="*/ 469 w 10000"/>
                <a:gd name="connsiteY12" fmla="*/ 7221 h 10000"/>
                <a:gd name="connsiteX13" fmla="*/ 337 w 10000"/>
                <a:gd name="connsiteY13" fmla="*/ 7248 h 10000"/>
                <a:gd name="connsiteX14" fmla="*/ 130 w 10000"/>
                <a:gd name="connsiteY14" fmla="*/ 7333 h 10000"/>
                <a:gd name="connsiteX15" fmla="*/ 497 w 10000"/>
                <a:gd name="connsiteY15" fmla="*/ 7400 h 10000"/>
                <a:gd name="connsiteX16" fmla="*/ 545 w 10000"/>
                <a:gd name="connsiteY16" fmla="*/ 7496 h 10000"/>
                <a:gd name="connsiteX17" fmla="*/ 419 w 10000"/>
                <a:gd name="connsiteY17" fmla="*/ 7636 h 10000"/>
                <a:gd name="connsiteX18" fmla="*/ 688 w 10000"/>
                <a:gd name="connsiteY18" fmla="*/ 7627 h 10000"/>
                <a:gd name="connsiteX19" fmla="*/ 709 w 10000"/>
                <a:gd name="connsiteY19" fmla="*/ 7733 h 10000"/>
                <a:gd name="connsiteX20" fmla="*/ 530 w 10000"/>
                <a:gd name="connsiteY20" fmla="*/ 7805 h 10000"/>
                <a:gd name="connsiteX21" fmla="*/ 560 w 10000"/>
                <a:gd name="connsiteY21" fmla="*/ 7945 h 10000"/>
                <a:gd name="connsiteX22" fmla="*/ 489 w 10000"/>
                <a:gd name="connsiteY22" fmla="*/ 8053 h 10000"/>
                <a:gd name="connsiteX23" fmla="*/ 703 w 10000"/>
                <a:gd name="connsiteY23" fmla="*/ 8063 h 10000"/>
                <a:gd name="connsiteX24" fmla="*/ 909 w 10000"/>
                <a:gd name="connsiteY24" fmla="*/ 8478 h 10000"/>
                <a:gd name="connsiteX25" fmla="*/ 1150 w 10000"/>
                <a:gd name="connsiteY25" fmla="*/ 8583 h 10000"/>
                <a:gd name="connsiteX26" fmla="*/ 1255 w 10000"/>
                <a:gd name="connsiteY26" fmla="*/ 8695 h 10000"/>
                <a:gd name="connsiteX27" fmla="*/ 1514 w 10000"/>
                <a:gd name="connsiteY27" fmla="*/ 8776 h 10000"/>
                <a:gd name="connsiteX28" fmla="*/ 1684 w 10000"/>
                <a:gd name="connsiteY28" fmla="*/ 8881 h 10000"/>
                <a:gd name="connsiteX29" fmla="*/ 1661 w 10000"/>
                <a:gd name="connsiteY29" fmla="*/ 8955 h 10000"/>
                <a:gd name="connsiteX30" fmla="*/ 1496 w 10000"/>
                <a:gd name="connsiteY30" fmla="*/ 8983 h 10000"/>
                <a:gd name="connsiteX31" fmla="*/ 1316 w 10000"/>
                <a:gd name="connsiteY31" fmla="*/ 8965 h 10000"/>
                <a:gd name="connsiteX32" fmla="*/ 1260 w 10000"/>
                <a:gd name="connsiteY32" fmla="*/ 8996 h 10000"/>
                <a:gd name="connsiteX33" fmla="*/ 1397 w 10000"/>
                <a:gd name="connsiteY33" fmla="*/ 9158 h 10000"/>
                <a:gd name="connsiteX34" fmla="*/ 1205 w 10000"/>
                <a:gd name="connsiteY34" fmla="*/ 9144 h 10000"/>
                <a:gd name="connsiteX35" fmla="*/ 1040 w 10000"/>
                <a:gd name="connsiteY35" fmla="*/ 9105 h 10000"/>
                <a:gd name="connsiteX36" fmla="*/ 1012 w 10000"/>
                <a:gd name="connsiteY36" fmla="*/ 9165 h 10000"/>
                <a:gd name="connsiteX37" fmla="*/ 1557 w 10000"/>
                <a:gd name="connsiteY37" fmla="*/ 9718 h 10000"/>
                <a:gd name="connsiteX38" fmla="*/ 1469 w 10000"/>
                <a:gd name="connsiteY38" fmla="*/ 9770 h 10000"/>
                <a:gd name="connsiteX39" fmla="*/ 1408 w 10000"/>
                <a:gd name="connsiteY39" fmla="*/ 9876 h 10000"/>
                <a:gd name="connsiteX40" fmla="*/ 1329 w 10000"/>
                <a:gd name="connsiteY40" fmla="*/ 9885 h 10000"/>
                <a:gd name="connsiteX41" fmla="*/ 1281 w 10000"/>
                <a:gd name="connsiteY41" fmla="*/ 9931 h 10000"/>
                <a:gd name="connsiteX42" fmla="*/ 1609 w 10000"/>
                <a:gd name="connsiteY42" fmla="*/ 9936 h 10000"/>
                <a:gd name="connsiteX43" fmla="*/ 1900 w 10000"/>
                <a:gd name="connsiteY43" fmla="*/ 9982 h 10000"/>
                <a:gd name="connsiteX44" fmla="*/ 2383 w 10000"/>
                <a:gd name="connsiteY44" fmla="*/ 9933 h 10000"/>
                <a:gd name="connsiteX45" fmla="*/ 2816 w 10000"/>
                <a:gd name="connsiteY45" fmla="*/ 9941 h 10000"/>
                <a:gd name="connsiteX46" fmla="*/ 3072 w 10000"/>
                <a:gd name="connsiteY46" fmla="*/ 10000 h 10000"/>
                <a:gd name="connsiteX47" fmla="*/ 3212 w 10000"/>
                <a:gd name="connsiteY47" fmla="*/ 9961 h 10000"/>
                <a:gd name="connsiteX48" fmla="*/ 3348 w 10000"/>
                <a:gd name="connsiteY48" fmla="*/ 9834 h 10000"/>
                <a:gd name="connsiteX49" fmla="*/ 3313 w 10000"/>
                <a:gd name="connsiteY49" fmla="*/ 9625 h 10000"/>
                <a:gd name="connsiteX50" fmla="*/ 3642 w 10000"/>
                <a:gd name="connsiteY50" fmla="*/ 9392 h 10000"/>
                <a:gd name="connsiteX51" fmla="*/ 3883 w 10000"/>
                <a:gd name="connsiteY51" fmla="*/ 9428 h 10000"/>
                <a:gd name="connsiteX52" fmla="*/ 4025 w 10000"/>
                <a:gd name="connsiteY52" fmla="*/ 9335 h 10000"/>
                <a:gd name="connsiteX53" fmla="*/ 4294 w 10000"/>
                <a:gd name="connsiteY53" fmla="*/ 9282 h 10000"/>
                <a:gd name="connsiteX54" fmla="*/ 4658 w 10000"/>
                <a:gd name="connsiteY54" fmla="*/ 9295 h 10000"/>
                <a:gd name="connsiteX55" fmla="*/ 4878 w 10000"/>
                <a:gd name="connsiteY55" fmla="*/ 9332 h 10000"/>
                <a:gd name="connsiteX56" fmla="*/ 5170 w 10000"/>
                <a:gd name="connsiteY56" fmla="*/ 9315 h 10000"/>
                <a:gd name="connsiteX57" fmla="*/ 5464 w 10000"/>
                <a:gd name="connsiteY57" fmla="*/ 9356 h 10000"/>
                <a:gd name="connsiteX58" fmla="*/ 5759 w 10000"/>
                <a:gd name="connsiteY58" fmla="*/ 9361 h 10000"/>
                <a:gd name="connsiteX59" fmla="*/ 6419 w 10000"/>
                <a:gd name="connsiteY59" fmla="*/ 8817 h 10000"/>
                <a:gd name="connsiteX60" fmla="*/ 6586 w 10000"/>
                <a:gd name="connsiteY60" fmla="*/ 8375 h 10000"/>
                <a:gd name="connsiteX61" fmla="*/ 6855 w 10000"/>
                <a:gd name="connsiteY61" fmla="*/ 8177 h 10000"/>
                <a:gd name="connsiteX62" fmla="*/ 6855 w 10000"/>
                <a:gd name="connsiteY62" fmla="*/ 8073 h 10000"/>
                <a:gd name="connsiteX63" fmla="*/ 6757 w 10000"/>
                <a:gd name="connsiteY63" fmla="*/ 8015 h 10000"/>
                <a:gd name="connsiteX64" fmla="*/ 6915 w 10000"/>
                <a:gd name="connsiteY64" fmla="*/ 7922 h 10000"/>
                <a:gd name="connsiteX65" fmla="*/ 6887 w 10000"/>
                <a:gd name="connsiteY65" fmla="*/ 7844 h 10000"/>
                <a:gd name="connsiteX66" fmla="*/ 6779 w 10000"/>
                <a:gd name="connsiteY66" fmla="*/ 7776 h 10000"/>
                <a:gd name="connsiteX67" fmla="*/ 6757 w 10000"/>
                <a:gd name="connsiteY67" fmla="*/ 7728 h 10000"/>
                <a:gd name="connsiteX68" fmla="*/ 6785 w 10000"/>
                <a:gd name="connsiteY68" fmla="*/ 7691 h 10000"/>
                <a:gd name="connsiteX69" fmla="*/ 6931 w 10000"/>
                <a:gd name="connsiteY69" fmla="*/ 7721 h 10000"/>
                <a:gd name="connsiteX70" fmla="*/ 7045 w 10000"/>
                <a:gd name="connsiteY70" fmla="*/ 7719 h 10000"/>
                <a:gd name="connsiteX71" fmla="*/ 6983 w 10000"/>
                <a:gd name="connsiteY71" fmla="*/ 7655 h 10000"/>
                <a:gd name="connsiteX72" fmla="*/ 7003 w 10000"/>
                <a:gd name="connsiteY72" fmla="*/ 7619 h 10000"/>
                <a:gd name="connsiteX73" fmla="*/ 7089 w 10000"/>
                <a:gd name="connsiteY73" fmla="*/ 7565 h 10000"/>
                <a:gd name="connsiteX74" fmla="*/ 7074 w 10000"/>
                <a:gd name="connsiteY74" fmla="*/ 7521 h 10000"/>
                <a:gd name="connsiteX75" fmla="*/ 7152 w 10000"/>
                <a:gd name="connsiteY75" fmla="*/ 7373 h 10000"/>
                <a:gd name="connsiteX76" fmla="*/ 7130 w 10000"/>
                <a:gd name="connsiteY76" fmla="*/ 7327 h 10000"/>
                <a:gd name="connsiteX77" fmla="*/ 6729 w 10000"/>
                <a:gd name="connsiteY77" fmla="*/ 7216 h 10000"/>
                <a:gd name="connsiteX78" fmla="*/ 6785 w 10000"/>
                <a:gd name="connsiteY78" fmla="*/ 7211 h 10000"/>
                <a:gd name="connsiteX79" fmla="*/ 6998 w 10000"/>
                <a:gd name="connsiteY79" fmla="*/ 7241 h 10000"/>
                <a:gd name="connsiteX80" fmla="*/ 7230 w 10000"/>
                <a:gd name="connsiteY80" fmla="*/ 7230 h 10000"/>
                <a:gd name="connsiteX81" fmla="*/ 7295 w 10000"/>
                <a:gd name="connsiteY81" fmla="*/ 7189 h 10000"/>
                <a:gd name="connsiteX82" fmla="*/ 7074 w 10000"/>
                <a:gd name="connsiteY82" fmla="*/ 7113 h 10000"/>
                <a:gd name="connsiteX83" fmla="*/ 6414 w 10000"/>
                <a:gd name="connsiteY83" fmla="*/ 7062 h 10000"/>
                <a:gd name="connsiteX84" fmla="*/ 6458 w 10000"/>
                <a:gd name="connsiteY84" fmla="*/ 7039 h 10000"/>
                <a:gd name="connsiteX85" fmla="*/ 6998 w 10000"/>
                <a:gd name="connsiteY85" fmla="*/ 7023 h 10000"/>
                <a:gd name="connsiteX86" fmla="*/ 7295 w 10000"/>
                <a:gd name="connsiteY86" fmla="*/ 7069 h 10000"/>
                <a:gd name="connsiteX87" fmla="*/ 7466 w 10000"/>
                <a:gd name="connsiteY87" fmla="*/ 7039 h 10000"/>
                <a:gd name="connsiteX88" fmla="*/ 7529 w 10000"/>
                <a:gd name="connsiteY88" fmla="*/ 6959 h 10000"/>
                <a:gd name="connsiteX89" fmla="*/ 7840 w 10000"/>
                <a:gd name="connsiteY89" fmla="*/ 6959 h 10000"/>
                <a:gd name="connsiteX90" fmla="*/ 8261 w 10000"/>
                <a:gd name="connsiteY90" fmla="*/ 6799 h 10000"/>
                <a:gd name="connsiteX91" fmla="*/ 8275 w 10000"/>
                <a:gd name="connsiteY91" fmla="*/ 6693 h 10000"/>
                <a:gd name="connsiteX92" fmla="*/ 8453 w 10000"/>
                <a:gd name="connsiteY92" fmla="*/ 6718 h 10000"/>
                <a:gd name="connsiteX93" fmla="*/ 8446 w 10000"/>
                <a:gd name="connsiteY93" fmla="*/ 6824 h 10000"/>
                <a:gd name="connsiteX94" fmla="*/ 8727 w 10000"/>
                <a:gd name="connsiteY94" fmla="*/ 6817 h 10000"/>
                <a:gd name="connsiteX95" fmla="*/ 8913 w 10000"/>
                <a:gd name="connsiteY95" fmla="*/ 6707 h 10000"/>
                <a:gd name="connsiteX96" fmla="*/ 9258 w 10000"/>
                <a:gd name="connsiteY96" fmla="*/ 6607 h 10000"/>
                <a:gd name="connsiteX97" fmla="*/ 9203 w 10000"/>
                <a:gd name="connsiteY97" fmla="*/ 6493 h 10000"/>
                <a:gd name="connsiteX98" fmla="*/ 9306 w 10000"/>
                <a:gd name="connsiteY98" fmla="*/ 6538 h 10000"/>
                <a:gd name="connsiteX99" fmla="*/ 9464 w 10000"/>
                <a:gd name="connsiteY99" fmla="*/ 6538 h 10000"/>
                <a:gd name="connsiteX100" fmla="*/ 9464 w 10000"/>
                <a:gd name="connsiteY100" fmla="*/ 6486 h 10000"/>
                <a:gd name="connsiteX101" fmla="*/ 9611 w 10000"/>
                <a:gd name="connsiteY101" fmla="*/ 6446 h 10000"/>
                <a:gd name="connsiteX102" fmla="*/ 9592 w 10000"/>
                <a:gd name="connsiteY102" fmla="*/ 6405 h 10000"/>
                <a:gd name="connsiteX103" fmla="*/ 8350 w 10000"/>
                <a:gd name="connsiteY103" fmla="*/ 6488 h 10000"/>
                <a:gd name="connsiteX104" fmla="*/ 8058 w 10000"/>
                <a:gd name="connsiteY104" fmla="*/ 6463 h 10000"/>
                <a:gd name="connsiteX105" fmla="*/ 7942 w 10000"/>
                <a:gd name="connsiteY105" fmla="*/ 6493 h 10000"/>
                <a:gd name="connsiteX106" fmla="*/ 7903 w 10000"/>
                <a:gd name="connsiteY106" fmla="*/ 6436 h 10000"/>
                <a:gd name="connsiteX107" fmla="*/ 7765 w 10000"/>
                <a:gd name="connsiteY107" fmla="*/ 6384 h 10000"/>
                <a:gd name="connsiteX108" fmla="*/ 7213 w 10000"/>
                <a:gd name="connsiteY108" fmla="*/ 6282 h 10000"/>
                <a:gd name="connsiteX109" fmla="*/ 6887 w 10000"/>
                <a:gd name="connsiteY109" fmla="*/ 6298 h 10000"/>
                <a:gd name="connsiteX110" fmla="*/ 6757 w 10000"/>
                <a:gd name="connsiteY110" fmla="*/ 6270 h 10000"/>
                <a:gd name="connsiteX111" fmla="*/ 6894 w 10000"/>
                <a:gd name="connsiteY111" fmla="*/ 6245 h 10000"/>
                <a:gd name="connsiteX112" fmla="*/ 6998 w 10000"/>
                <a:gd name="connsiteY112" fmla="*/ 6190 h 10000"/>
                <a:gd name="connsiteX113" fmla="*/ 7152 w 10000"/>
                <a:gd name="connsiteY113" fmla="*/ 6208 h 10000"/>
                <a:gd name="connsiteX114" fmla="*/ 7335 w 10000"/>
                <a:gd name="connsiteY114" fmla="*/ 6193 h 10000"/>
                <a:gd name="connsiteX115" fmla="*/ 7611 w 10000"/>
                <a:gd name="connsiteY115" fmla="*/ 6211 h 10000"/>
                <a:gd name="connsiteX116" fmla="*/ 7645 w 10000"/>
                <a:gd name="connsiteY116" fmla="*/ 6204 h 10000"/>
                <a:gd name="connsiteX117" fmla="*/ 7859 w 10000"/>
                <a:gd name="connsiteY117" fmla="*/ 6287 h 10000"/>
                <a:gd name="connsiteX118" fmla="*/ 8017 w 10000"/>
                <a:gd name="connsiteY118" fmla="*/ 6257 h 10000"/>
                <a:gd name="connsiteX119" fmla="*/ 8032 w 10000"/>
                <a:gd name="connsiteY119" fmla="*/ 6229 h 10000"/>
                <a:gd name="connsiteX120" fmla="*/ 8176 w 10000"/>
                <a:gd name="connsiteY120" fmla="*/ 6278 h 10000"/>
                <a:gd name="connsiteX121" fmla="*/ 8369 w 10000"/>
                <a:gd name="connsiteY121" fmla="*/ 6304 h 10000"/>
                <a:gd name="connsiteX122" fmla="*/ 8446 w 10000"/>
                <a:gd name="connsiteY122" fmla="*/ 6255 h 10000"/>
                <a:gd name="connsiteX123" fmla="*/ 8507 w 10000"/>
                <a:gd name="connsiteY123" fmla="*/ 6282 h 10000"/>
                <a:gd name="connsiteX124" fmla="*/ 8596 w 10000"/>
                <a:gd name="connsiteY124" fmla="*/ 6377 h 10000"/>
                <a:gd name="connsiteX125" fmla="*/ 8782 w 10000"/>
                <a:gd name="connsiteY125" fmla="*/ 6399 h 10000"/>
                <a:gd name="connsiteX126" fmla="*/ 9542 w 10000"/>
                <a:gd name="connsiteY126" fmla="*/ 6259 h 10000"/>
                <a:gd name="connsiteX127" fmla="*/ 9914 w 10000"/>
                <a:gd name="connsiteY127" fmla="*/ 6064 h 10000"/>
                <a:gd name="connsiteX128" fmla="*/ 10000 w 10000"/>
                <a:gd name="connsiteY128" fmla="*/ 5921 h 10000"/>
                <a:gd name="connsiteX129" fmla="*/ 9866 w 10000"/>
                <a:gd name="connsiteY129" fmla="*/ 5792 h 10000"/>
                <a:gd name="connsiteX130" fmla="*/ 9582 w 10000"/>
                <a:gd name="connsiteY130" fmla="*/ 5715 h 10000"/>
                <a:gd name="connsiteX131" fmla="*/ 9382 w 10000"/>
                <a:gd name="connsiteY131" fmla="*/ 5589 h 10000"/>
                <a:gd name="connsiteX132" fmla="*/ 9569 w 10000"/>
                <a:gd name="connsiteY132" fmla="*/ 5584 h 10000"/>
                <a:gd name="connsiteX133" fmla="*/ 9555 w 10000"/>
                <a:gd name="connsiteY133" fmla="*/ 5554 h 10000"/>
                <a:gd name="connsiteX134" fmla="*/ 9068 w 10000"/>
                <a:gd name="connsiteY134" fmla="*/ 5465 h 10000"/>
                <a:gd name="connsiteX135" fmla="*/ 9047 w 10000"/>
                <a:gd name="connsiteY135" fmla="*/ 5383 h 10000"/>
                <a:gd name="connsiteX136" fmla="*/ 8953 w 10000"/>
                <a:gd name="connsiteY136" fmla="*/ 5299 h 10000"/>
                <a:gd name="connsiteX137" fmla="*/ 8569 w 10000"/>
                <a:gd name="connsiteY137" fmla="*/ 5314 h 10000"/>
                <a:gd name="connsiteX138" fmla="*/ 8431 w 10000"/>
                <a:gd name="connsiteY138" fmla="*/ 5224 h 10000"/>
                <a:gd name="connsiteX139" fmla="*/ 8350 w 10000"/>
                <a:gd name="connsiteY139" fmla="*/ 5219 h 10000"/>
                <a:gd name="connsiteX140" fmla="*/ 8350 w 10000"/>
                <a:gd name="connsiteY140" fmla="*/ 5256 h 10000"/>
                <a:gd name="connsiteX141" fmla="*/ 8176 w 10000"/>
                <a:gd name="connsiteY141" fmla="*/ 5408 h 10000"/>
                <a:gd name="connsiteX142" fmla="*/ 7990 w 10000"/>
                <a:gd name="connsiteY142" fmla="*/ 5498 h 10000"/>
                <a:gd name="connsiteX143" fmla="*/ 7401 w 10000"/>
                <a:gd name="connsiteY143" fmla="*/ 5651 h 10000"/>
                <a:gd name="connsiteX144" fmla="*/ 7198 w 10000"/>
                <a:gd name="connsiteY144" fmla="*/ 5646 h 10000"/>
                <a:gd name="connsiteX145" fmla="*/ 6915 w 10000"/>
                <a:gd name="connsiteY145" fmla="*/ 5669 h 10000"/>
                <a:gd name="connsiteX146" fmla="*/ 6757 w 10000"/>
                <a:gd name="connsiteY146" fmla="*/ 5646 h 10000"/>
                <a:gd name="connsiteX147" fmla="*/ 6965 w 10000"/>
                <a:gd name="connsiteY147" fmla="*/ 5604 h 10000"/>
                <a:gd name="connsiteX148" fmla="*/ 7235 w 10000"/>
                <a:gd name="connsiteY148" fmla="*/ 5584 h 10000"/>
                <a:gd name="connsiteX149" fmla="*/ 7455 w 10000"/>
                <a:gd name="connsiteY149" fmla="*/ 5513 h 10000"/>
                <a:gd name="connsiteX150" fmla="*/ 7674 w 10000"/>
                <a:gd name="connsiteY150" fmla="*/ 5480 h 10000"/>
                <a:gd name="connsiteX151" fmla="*/ 8082 w 10000"/>
                <a:gd name="connsiteY151" fmla="*/ 5355 h 10000"/>
                <a:gd name="connsiteX152" fmla="*/ 8157 w 10000"/>
                <a:gd name="connsiteY152" fmla="*/ 5274 h 10000"/>
                <a:gd name="connsiteX153" fmla="*/ 8165 w 10000"/>
                <a:gd name="connsiteY153" fmla="*/ 5168 h 10000"/>
                <a:gd name="connsiteX154" fmla="*/ 7978 w 10000"/>
                <a:gd name="connsiteY154" fmla="*/ 5150 h 10000"/>
                <a:gd name="connsiteX155" fmla="*/ 8058 w 10000"/>
                <a:gd name="connsiteY155" fmla="*/ 5086 h 10000"/>
                <a:gd name="connsiteX156" fmla="*/ 8087 w 10000"/>
                <a:gd name="connsiteY156" fmla="*/ 5005 h 10000"/>
                <a:gd name="connsiteX157" fmla="*/ 8007 w 10000"/>
                <a:gd name="connsiteY157" fmla="*/ 4928 h 10000"/>
                <a:gd name="connsiteX158" fmla="*/ 8398 w 10000"/>
                <a:gd name="connsiteY158" fmla="*/ 332 h 10000"/>
                <a:gd name="connsiteX159" fmla="*/ 6675 w 10000"/>
                <a:gd name="connsiteY159" fmla="*/ 0 h 10000"/>
                <a:gd name="connsiteX160" fmla="*/ 6334 w 10000"/>
                <a:gd name="connsiteY160" fmla="*/ 82 h 10000"/>
                <a:gd name="connsiteX161" fmla="*/ 6117 w 10000"/>
                <a:gd name="connsiteY161" fmla="*/ 78 h 10000"/>
                <a:gd name="connsiteX162" fmla="*/ 5986 w 10000"/>
                <a:gd name="connsiteY162" fmla="*/ 107 h 10000"/>
                <a:gd name="connsiteX163" fmla="*/ 5629 w 10000"/>
                <a:gd name="connsiteY163" fmla="*/ 913 h 10000"/>
                <a:gd name="connsiteX164" fmla="*/ 4802 w 10000"/>
                <a:gd name="connsiteY164" fmla="*/ 1383 h 10000"/>
                <a:gd name="connsiteX165" fmla="*/ 4809 w 10000"/>
                <a:gd name="connsiteY165" fmla="*/ 1457 h 10000"/>
                <a:gd name="connsiteX166" fmla="*/ 5176 w 10000"/>
                <a:gd name="connsiteY166" fmla="*/ 1668 h 10000"/>
                <a:gd name="connsiteX167" fmla="*/ 5057 w 10000"/>
                <a:gd name="connsiteY167" fmla="*/ 1896 h 10000"/>
                <a:gd name="connsiteX168" fmla="*/ 4842 w 10000"/>
                <a:gd name="connsiteY168" fmla="*/ 1979 h 10000"/>
                <a:gd name="connsiteX169" fmla="*/ 4200 w 10000"/>
                <a:gd name="connsiteY169" fmla="*/ 1924 h 10000"/>
                <a:gd name="connsiteX170" fmla="*/ 3760 w 10000"/>
                <a:gd name="connsiteY170" fmla="*/ 1955 h 10000"/>
                <a:gd name="connsiteX171" fmla="*/ 3405 w 10000"/>
                <a:gd name="connsiteY171" fmla="*/ 2023 h 10000"/>
                <a:gd name="connsiteX172" fmla="*/ 2832 w 10000"/>
                <a:gd name="connsiteY172" fmla="*/ 2233 h 10000"/>
                <a:gd name="connsiteX173" fmla="*/ 2528 w 10000"/>
                <a:gd name="connsiteY173" fmla="*/ 2487 h 10000"/>
                <a:gd name="connsiteX174" fmla="*/ 2555 w 10000"/>
                <a:gd name="connsiteY174" fmla="*/ 2629 h 10000"/>
                <a:gd name="connsiteX175" fmla="*/ 2661 w 10000"/>
                <a:gd name="connsiteY175" fmla="*/ 2738 h 10000"/>
                <a:gd name="connsiteX176" fmla="*/ 2741 w 10000"/>
                <a:gd name="connsiteY176" fmla="*/ 2782 h 10000"/>
                <a:gd name="connsiteX177" fmla="*/ 2592 w 10000"/>
                <a:gd name="connsiteY177" fmla="*/ 2852 h 10000"/>
                <a:gd name="connsiteX178" fmla="*/ 2267 w 10000"/>
                <a:gd name="connsiteY178" fmla="*/ 3330 h 10000"/>
                <a:gd name="connsiteX179" fmla="*/ 2330 w 10000"/>
                <a:gd name="connsiteY179" fmla="*/ 3358 h 10000"/>
                <a:gd name="connsiteX180" fmla="*/ 2375 w 10000"/>
                <a:gd name="connsiteY180" fmla="*/ 3479 h 10000"/>
                <a:gd name="connsiteX181" fmla="*/ 2226 w 10000"/>
                <a:gd name="connsiteY181" fmla="*/ 3982 h 10000"/>
                <a:gd name="connsiteX182" fmla="*/ 2375 w 10000"/>
                <a:gd name="connsiteY182" fmla="*/ 4110 h 10000"/>
                <a:gd name="connsiteX183" fmla="*/ 2791 w 10000"/>
                <a:gd name="connsiteY183" fmla="*/ 4251 h 10000"/>
                <a:gd name="connsiteX184" fmla="*/ 2808 w 10000"/>
                <a:gd name="connsiteY184" fmla="*/ 4423 h 10000"/>
                <a:gd name="connsiteX185" fmla="*/ 2632 w 10000"/>
                <a:gd name="connsiteY185" fmla="*/ 4566 h 10000"/>
                <a:gd name="connsiteX186" fmla="*/ 2375 w 10000"/>
                <a:gd name="connsiteY186" fmla="*/ 4652 h 10000"/>
                <a:gd name="connsiteX187" fmla="*/ 2039 w 10000"/>
                <a:gd name="connsiteY187" fmla="*/ 4687 h 10000"/>
                <a:gd name="connsiteX188" fmla="*/ 1950 w 10000"/>
                <a:gd name="connsiteY188" fmla="*/ 4737 h 10000"/>
                <a:gd name="connsiteX189" fmla="*/ 2148 w 10000"/>
                <a:gd name="connsiteY189" fmla="*/ 4855 h 10000"/>
                <a:gd name="connsiteX190" fmla="*/ 2261 w 10000"/>
                <a:gd name="connsiteY190" fmla="*/ 5136 h 10000"/>
                <a:gd name="connsiteX191" fmla="*/ 2005 w 10000"/>
                <a:gd name="connsiteY191" fmla="*/ 5376 h 10000"/>
                <a:gd name="connsiteX192" fmla="*/ 2094 w 10000"/>
                <a:gd name="connsiteY192" fmla="*/ 5451 h 10000"/>
                <a:gd name="connsiteX193" fmla="*/ 2012 w 10000"/>
                <a:gd name="connsiteY193" fmla="*/ 5577 h 10000"/>
                <a:gd name="connsiteX194" fmla="*/ 1850 w 10000"/>
                <a:gd name="connsiteY194" fmla="*/ 5663 h 10000"/>
                <a:gd name="connsiteX195" fmla="*/ 1199 w 10000"/>
                <a:gd name="connsiteY195" fmla="*/ 5730 h 10000"/>
                <a:gd name="connsiteX196" fmla="*/ 1158 w 10000"/>
                <a:gd name="connsiteY196" fmla="*/ 5846 h 10000"/>
                <a:gd name="connsiteX197" fmla="*/ 808 w 10000"/>
                <a:gd name="connsiteY197" fmla="*/ 6019 h 10000"/>
                <a:gd name="connsiteX198" fmla="*/ 854 w 10000"/>
                <a:gd name="connsiteY198" fmla="*/ 6268 h 10000"/>
                <a:gd name="connsiteX199" fmla="*/ 560 w 10000"/>
                <a:gd name="connsiteY199" fmla="*/ 6587 h 10000"/>
                <a:gd name="connsiteX200" fmla="*/ 358 w 10000"/>
                <a:gd name="connsiteY200" fmla="*/ 6624 h 10000"/>
                <a:gd name="connsiteX201" fmla="*/ 275 w 10000"/>
                <a:gd name="connsiteY201" fmla="*/ 6548 h 10000"/>
                <a:gd name="connsiteX202" fmla="*/ 174 w 10000"/>
                <a:gd name="connsiteY202" fmla="*/ 6663 h 10000"/>
                <a:gd name="connsiteX203" fmla="*/ 239 w 10000"/>
                <a:gd name="connsiteY203" fmla="*/ 6465 h 10000"/>
                <a:gd name="connsiteX204" fmla="*/ 197 w 10000"/>
                <a:gd name="connsiteY204" fmla="*/ 6427 h 10000"/>
                <a:gd name="connsiteX0" fmla="*/ 197 w 10000"/>
                <a:gd name="connsiteY0" fmla="*/ 6427 h 10000"/>
                <a:gd name="connsiteX1" fmla="*/ 0 w 10000"/>
                <a:gd name="connsiteY1" fmla="*/ 6530 h 10000"/>
                <a:gd name="connsiteX2" fmla="*/ 0 w 10000"/>
                <a:gd name="connsiteY2" fmla="*/ 7039 h 10000"/>
                <a:gd name="connsiteX3" fmla="*/ 109 w 10000"/>
                <a:gd name="connsiteY3" fmla="*/ 7053 h 10000"/>
                <a:gd name="connsiteX4" fmla="*/ 134 w 10000"/>
                <a:gd name="connsiteY4" fmla="*/ 7092 h 10000"/>
                <a:gd name="connsiteX5" fmla="*/ 130 w 10000"/>
                <a:gd name="connsiteY5" fmla="*/ 7161 h 10000"/>
                <a:gd name="connsiteX6" fmla="*/ 89 w 10000"/>
                <a:gd name="connsiteY6" fmla="*/ 7192 h 10000"/>
                <a:gd name="connsiteX7" fmla="*/ 255 w 10000"/>
                <a:gd name="connsiteY7" fmla="*/ 7133 h 10000"/>
                <a:gd name="connsiteX8" fmla="*/ 325 w 10000"/>
                <a:gd name="connsiteY8" fmla="*/ 7075 h 10000"/>
                <a:gd name="connsiteX9" fmla="*/ 413 w 10000"/>
                <a:gd name="connsiteY9" fmla="*/ 7115 h 10000"/>
                <a:gd name="connsiteX10" fmla="*/ 316 w 10000"/>
                <a:gd name="connsiteY10" fmla="*/ 7198 h 10000"/>
                <a:gd name="connsiteX11" fmla="*/ 419 w 10000"/>
                <a:gd name="connsiteY11" fmla="*/ 7200 h 10000"/>
                <a:gd name="connsiteX12" fmla="*/ 469 w 10000"/>
                <a:gd name="connsiteY12" fmla="*/ 7221 h 10000"/>
                <a:gd name="connsiteX13" fmla="*/ 337 w 10000"/>
                <a:gd name="connsiteY13" fmla="*/ 7248 h 10000"/>
                <a:gd name="connsiteX14" fmla="*/ 130 w 10000"/>
                <a:gd name="connsiteY14" fmla="*/ 7333 h 10000"/>
                <a:gd name="connsiteX15" fmla="*/ 497 w 10000"/>
                <a:gd name="connsiteY15" fmla="*/ 7400 h 10000"/>
                <a:gd name="connsiteX16" fmla="*/ 545 w 10000"/>
                <a:gd name="connsiteY16" fmla="*/ 7496 h 10000"/>
                <a:gd name="connsiteX17" fmla="*/ 419 w 10000"/>
                <a:gd name="connsiteY17" fmla="*/ 7636 h 10000"/>
                <a:gd name="connsiteX18" fmla="*/ 688 w 10000"/>
                <a:gd name="connsiteY18" fmla="*/ 7627 h 10000"/>
                <a:gd name="connsiteX19" fmla="*/ 709 w 10000"/>
                <a:gd name="connsiteY19" fmla="*/ 7733 h 10000"/>
                <a:gd name="connsiteX20" fmla="*/ 530 w 10000"/>
                <a:gd name="connsiteY20" fmla="*/ 7805 h 10000"/>
                <a:gd name="connsiteX21" fmla="*/ 560 w 10000"/>
                <a:gd name="connsiteY21" fmla="*/ 7945 h 10000"/>
                <a:gd name="connsiteX22" fmla="*/ 489 w 10000"/>
                <a:gd name="connsiteY22" fmla="*/ 8053 h 10000"/>
                <a:gd name="connsiteX23" fmla="*/ 703 w 10000"/>
                <a:gd name="connsiteY23" fmla="*/ 8063 h 10000"/>
                <a:gd name="connsiteX24" fmla="*/ 909 w 10000"/>
                <a:gd name="connsiteY24" fmla="*/ 8478 h 10000"/>
                <a:gd name="connsiteX25" fmla="*/ 1150 w 10000"/>
                <a:gd name="connsiteY25" fmla="*/ 8583 h 10000"/>
                <a:gd name="connsiteX26" fmla="*/ 1255 w 10000"/>
                <a:gd name="connsiteY26" fmla="*/ 8695 h 10000"/>
                <a:gd name="connsiteX27" fmla="*/ 1514 w 10000"/>
                <a:gd name="connsiteY27" fmla="*/ 8776 h 10000"/>
                <a:gd name="connsiteX28" fmla="*/ 1684 w 10000"/>
                <a:gd name="connsiteY28" fmla="*/ 8881 h 10000"/>
                <a:gd name="connsiteX29" fmla="*/ 1661 w 10000"/>
                <a:gd name="connsiteY29" fmla="*/ 8955 h 10000"/>
                <a:gd name="connsiteX30" fmla="*/ 1496 w 10000"/>
                <a:gd name="connsiteY30" fmla="*/ 8983 h 10000"/>
                <a:gd name="connsiteX31" fmla="*/ 1316 w 10000"/>
                <a:gd name="connsiteY31" fmla="*/ 8965 h 10000"/>
                <a:gd name="connsiteX32" fmla="*/ 1260 w 10000"/>
                <a:gd name="connsiteY32" fmla="*/ 8996 h 10000"/>
                <a:gd name="connsiteX33" fmla="*/ 1397 w 10000"/>
                <a:gd name="connsiteY33" fmla="*/ 9158 h 10000"/>
                <a:gd name="connsiteX34" fmla="*/ 1205 w 10000"/>
                <a:gd name="connsiteY34" fmla="*/ 9144 h 10000"/>
                <a:gd name="connsiteX35" fmla="*/ 1040 w 10000"/>
                <a:gd name="connsiteY35" fmla="*/ 9105 h 10000"/>
                <a:gd name="connsiteX36" fmla="*/ 1012 w 10000"/>
                <a:gd name="connsiteY36" fmla="*/ 9165 h 10000"/>
                <a:gd name="connsiteX37" fmla="*/ 1557 w 10000"/>
                <a:gd name="connsiteY37" fmla="*/ 9718 h 10000"/>
                <a:gd name="connsiteX38" fmla="*/ 1469 w 10000"/>
                <a:gd name="connsiteY38" fmla="*/ 9770 h 10000"/>
                <a:gd name="connsiteX39" fmla="*/ 1408 w 10000"/>
                <a:gd name="connsiteY39" fmla="*/ 9876 h 10000"/>
                <a:gd name="connsiteX40" fmla="*/ 1329 w 10000"/>
                <a:gd name="connsiteY40" fmla="*/ 9885 h 10000"/>
                <a:gd name="connsiteX41" fmla="*/ 1281 w 10000"/>
                <a:gd name="connsiteY41" fmla="*/ 9931 h 10000"/>
                <a:gd name="connsiteX42" fmla="*/ 1609 w 10000"/>
                <a:gd name="connsiteY42" fmla="*/ 9936 h 10000"/>
                <a:gd name="connsiteX43" fmla="*/ 1900 w 10000"/>
                <a:gd name="connsiteY43" fmla="*/ 9982 h 10000"/>
                <a:gd name="connsiteX44" fmla="*/ 2383 w 10000"/>
                <a:gd name="connsiteY44" fmla="*/ 9933 h 10000"/>
                <a:gd name="connsiteX45" fmla="*/ 2816 w 10000"/>
                <a:gd name="connsiteY45" fmla="*/ 9941 h 10000"/>
                <a:gd name="connsiteX46" fmla="*/ 3072 w 10000"/>
                <a:gd name="connsiteY46" fmla="*/ 10000 h 10000"/>
                <a:gd name="connsiteX47" fmla="*/ 3212 w 10000"/>
                <a:gd name="connsiteY47" fmla="*/ 9961 h 10000"/>
                <a:gd name="connsiteX48" fmla="*/ 3348 w 10000"/>
                <a:gd name="connsiteY48" fmla="*/ 9834 h 10000"/>
                <a:gd name="connsiteX49" fmla="*/ 3313 w 10000"/>
                <a:gd name="connsiteY49" fmla="*/ 9625 h 10000"/>
                <a:gd name="connsiteX50" fmla="*/ 3642 w 10000"/>
                <a:gd name="connsiteY50" fmla="*/ 9392 h 10000"/>
                <a:gd name="connsiteX51" fmla="*/ 3883 w 10000"/>
                <a:gd name="connsiteY51" fmla="*/ 9428 h 10000"/>
                <a:gd name="connsiteX52" fmla="*/ 4025 w 10000"/>
                <a:gd name="connsiteY52" fmla="*/ 9335 h 10000"/>
                <a:gd name="connsiteX53" fmla="*/ 4294 w 10000"/>
                <a:gd name="connsiteY53" fmla="*/ 9282 h 10000"/>
                <a:gd name="connsiteX54" fmla="*/ 4658 w 10000"/>
                <a:gd name="connsiteY54" fmla="*/ 9295 h 10000"/>
                <a:gd name="connsiteX55" fmla="*/ 4878 w 10000"/>
                <a:gd name="connsiteY55" fmla="*/ 9332 h 10000"/>
                <a:gd name="connsiteX56" fmla="*/ 5170 w 10000"/>
                <a:gd name="connsiteY56" fmla="*/ 9315 h 10000"/>
                <a:gd name="connsiteX57" fmla="*/ 5464 w 10000"/>
                <a:gd name="connsiteY57" fmla="*/ 9356 h 10000"/>
                <a:gd name="connsiteX58" fmla="*/ 5759 w 10000"/>
                <a:gd name="connsiteY58" fmla="*/ 9361 h 10000"/>
                <a:gd name="connsiteX59" fmla="*/ 6419 w 10000"/>
                <a:gd name="connsiteY59" fmla="*/ 8817 h 10000"/>
                <a:gd name="connsiteX60" fmla="*/ 6586 w 10000"/>
                <a:gd name="connsiteY60" fmla="*/ 8375 h 10000"/>
                <a:gd name="connsiteX61" fmla="*/ 6855 w 10000"/>
                <a:gd name="connsiteY61" fmla="*/ 8177 h 10000"/>
                <a:gd name="connsiteX62" fmla="*/ 6855 w 10000"/>
                <a:gd name="connsiteY62" fmla="*/ 8073 h 10000"/>
                <a:gd name="connsiteX63" fmla="*/ 6757 w 10000"/>
                <a:gd name="connsiteY63" fmla="*/ 8015 h 10000"/>
                <a:gd name="connsiteX64" fmla="*/ 6915 w 10000"/>
                <a:gd name="connsiteY64" fmla="*/ 7922 h 10000"/>
                <a:gd name="connsiteX65" fmla="*/ 6887 w 10000"/>
                <a:gd name="connsiteY65" fmla="*/ 7844 h 10000"/>
                <a:gd name="connsiteX66" fmla="*/ 6779 w 10000"/>
                <a:gd name="connsiteY66" fmla="*/ 7776 h 10000"/>
                <a:gd name="connsiteX67" fmla="*/ 6757 w 10000"/>
                <a:gd name="connsiteY67" fmla="*/ 7728 h 10000"/>
                <a:gd name="connsiteX68" fmla="*/ 6785 w 10000"/>
                <a:gd name="connsiteY68" fmla="*/ 7691 h 10000"/>
                <a:gd name="connsiteX69" fmla="*/ 6931 w 10000"/>
                <a:gd name="connsiteY69" fmla="*/ 7721 h 10000"/>
                <a:gd name="connsiteX70" fmla="*/ 7045 w 10000"/>
                <a:gd name="connsiteY70" fmla="*/ 7719 h 10000"/>
                <a:gd name="connsiteX71" fmla="*/ 6983 w 10000"/>
                <a:gd name="connsiteY71" fmla="*/ 7655 h 10000"/>
                <a:gd name="connsiteX72" fmla="*/ 7003 w 10000"/>
                <a:gd name="connsiteY72" fmla="*/ 7619 h 10000"/>
                <a:gd name="connsiteX73" fmla="*/ 7089 w 10000"/>
                <a:gd name="connsiteY73" fmla="*/ 7565 h 10000"/>
                <a:gd name="connsiteX74" fmla="*/ 7074 w 10000"/>
                <a:gd name="connsiteY74" fmla="*/ 7521 h 10000"/>
                <a:gd name="connsiteX75" fmla="*/ 7152 w 10000"/>
                <a:gd name="connsiteY75" fmla="*/ 7373 h 10000"/>
                <a:gd name="connsiteX76" fmla="*/ 7130 w 10000"/>
                <a:gd name="connsiteY76" fmla="*/ 7327 h 10000"/>
                <a:gd name="connsiteX77" fmla="*/ 6729 w 10000"/>
                <a:gd name="connsiteY77" fmla="*/ 7216 h 10000"/>
                <a:gd name="connsiteX78" fmla="*/ 6785 w 10000"/>
                <a:gd name="connsiteY78" fmla="*/ 7211 h 10000"/>
                <a:gd name="connsiteX79" fmla="*/ 6998 w 10000"/>
                <a:gd name="connsiteY79" fmla="*/ 7241 h 10000"/>
                <a:gd name="connsiteX80" fmla="*/ 7230 w 10000"/>
                <a:gd name="connsiteY80" fmla="*/ 7230 h 10000"/>
                <a:gd name="connsiteX81" fmla="*/ 7295 w 10000"/>
                <a:gd name="connsiteY81" fmla="*/ 7189 h 10000"/>
                <a:gd name="connsiteX82" fmla="*/ 7074 w 10000"/>
                <a:gd name="connsiteY82" fmla="*/ 7113 h 10000"/>
                <a:gd name="connsiteX83" fmla="*/ 6414 w 10000"/>
                <a:gd name="connsiteY83" fmla="*/ 7062 h 10000"/>
                <a:gd name="connsiteX84" fmla="*/ 6458 w 10000"/>
                <a:gd name="connsiteY84" fmla="*/ 7039 h 10000"/>
                <a:gd name="connsiteX85" fmla="*/ 6998 w 10000"/>
                <a:gd name="connsiteY85" fmla="*/ 7023 h 10000"/>
                <a:gd name="connsiteX86" fmla="*/ 7295 w 10000"/>
                <a:gd name="connsiteY86" fmla="*/ 7069 h 10000"/>
                <a:gd name="connsiteX87" fmla="*/ 7466 w 10000"/>
                <a:gd name="connsiteY87" fmla="*/ 7039 h 10000"/>
                <a:gd name="connsiteX88" fmla="*/ 7529 w 10000"/>
                <a:gd name="connsiteY88" fmla="*/ 6959 h 10000"/>
                <a:gd name="connsiteX89" fmla="*/ 7840 w 10000"/>
                <a:gd name="connsiteY89" fmla="*/ 6959 h 10000"/>
                <a:gd name="connsiteX90" fmla="*/ 8261 w 10000"/>
                <a:gd name="connsiteY90" fmla="*/ 6799 h 10000"/>
                <a:gd name="connsiteX91" fmla="*/ 8275 w 10000"/>
                <a:gd name="connsiteY91" fmla="*/ 6693 h 10000"/>
                <a:gd name="connsiteX92" fmla="*/ 8453 w 10000"/>
                <a:gd name="connsiteY92" fmla="*/ 6718 h 10000"/>
                <a:gd name="connsiteX93" fmla="*/ 8446 w 10000"/>
                <a:gd name="connsiteY93" fmla="*/ 6824 h 10000"/>
                <a:gd name="connsiteX94" fmla="*/ 8727 w 10000"/>
                <a:gd name="connsiteY94" fmla="*/ 6817 h 10000"/>
                <a:gd name="connsiteX95" fmla="*/ 8913 w 10000"/>
                <a:gd name="connsiteY95" fmla="*/ 6707 h 10000"/>
                <a:gd name="connsiteX96" fmla="*/ 9258 w 10000"/>
                <a:gd name="connsiteY96" fmla="*/ 6607 h 10000"/>
                <a:gd name="connsiteX97" fmla="*/ 9203 w 10000"/>
                <a:gd name="connsiteY97" fmla="*/ 6493 h 10000"/>
                <a:gd name="connsiteX98" fmla="*/ 9306 w 10000"/>
                <a:gd name="connsiteY98" fmla="*/ 6538 h 10000"/>
                <a:gd name="connsiteX99" fmla="*/ 9464 w 10000"/>
                <a:gd name="connsiteY99" fmla="*/ 6538 h 10000"/>
                <a:gd name="connsiteX100" fmla="*/ 9464 w 10000"/>
                <a:gd name="connsiteY100" fmla="*/ 6486 h 10000"/>
                <a:gd name="connsiteX101" fmla="*/ 9611 w 10000"/>
                <a:gd name="connsiteY101" fmla="*/ 6446 h 10000"/>
                <a:gd name="connsiteX102" fmla="*/ 9592 w 10000"/>
                <a:gd name="connsiteY102" fmla="*/ 6405 h 10000"/>
                <a:gd name="connsiteX103" fmla="*/ 8350 w 10000"/>
                <a:gd name="connsiteY103" fmla="*/ 6488 h 10000"/>
                <a:gd name="connsiteX104" fmla="*/ 8058 w 10000"/>
                <a:gd name="connsiteY104" fmla="*/ 6463 h 10000"/>
                <a:gd name="connsiteX105" fmla="*/ 7942 w 10000"/>
                <a:gd name="connsiteY105" fmla="*/ 6493 h 10000"/>
                <a:gd name="connsiteX106" fmla="*/ 7903 w 10000"/>
                <a:gd name="connsiteY106" fmla="*/ 6436 h 10000"/>
                <a:gd name="connsiteX107" fmla="*/ 7765 w 10000"/>
                <a:gd name="connsiteY107" fmla="*/ 6384 h 10000"/>
                <a:gd name="connsiteX108" fmla="*/ 7213 w 10000"/>
                <a:gd name="connsiteY108" fmla="*/ 6282 h 10000"/>
                <a:gd name="connsiteX109" fmla="*/ 6887 w 10000"/>
                <a:gd name="connsiteY109" fmla="*/ 6298 h 10000"/>
                <a:gd name="connsiteX110" fmla="*/ 6757 w 10000"/>
                <a:gd name="connsiteY110" fmla="*/ 6270 h 10000"/>
                <a:gd name="connsiteX111" fmla="*/ 6894 w 10000"/>
                <a:gd name="connsiteY111" fmla="*/ 6245 h 10000"/>
                <a:gd name="connsiteX112" fmla="*/ 6998 w 10000"/>
                <a:gd name="connsiteY112" fmla="*/ 6190 h 10000"/>
                <a:gd name="connsiteX113" fmla="*/ 7152 w 10000"/>
                <a:gd name="connsiteY113" fmla="*/ 6208 h 10000"/>
                <a:gd name="connsiteX114" fmla="*/ 7335 w 10000"/>
                <a:gd name="connsiteY114" fmla="*/ 6193 h 10000"/>
                <a:gd name="connsiteX115" fmla="*/ 7611 w 10000"/>
                <a:gd name="connsiteY115" fmla="*/ 6211 h 10000"/>
                <a:gd name="connsiteX116" fmla="*/ 7645 w 10000"/>
                <a:gd name="connsiteY116" fmla="*/ 6204 h 10000"/>
                <a:gd name="connsiteX117" fmla="*/ 7859 w 10000"/>
                <a:gd name="connsiteY117" fmla="*/ 6287 h 10000"/>
                <a:gd name="connsiteX118" fmla="*/ 8017 w 10000"/>
                <a:gd name="connsiteY118" fmla="*/ 6257 h 10000"/>
                <a:gd name="connsiteX119" fmla="*/ 8032 w 10000"/>
                <a:gd name="connsiteY119" fmla="*/ 6229 h 10000"/>
                <a:gd name="connsiteX120" fmla="*/ 8176 w 10000"/>
                <a:gd name="connsiteY120" fmla="*/ 6278 h 10000"/>
                <a:gd name="connsiteX121" fmla="*/ 8369 w 10000"/>
                <a:gd name="connsiteY121" fmla="*/ 6304 h 10000"/>
                <a:gd name="connsiteX122" fmla="*/ 8446 w 10000"/>
                <a:gd name="connsiteY122" fmla="*/ 6255 h 10000"/>
                <a:gd name="connsiteX123" fmla="*/ 8507 w 10000"/>
                <a:gd name="connsiteY123" fmla="*/ 6282 h 10000"/>
                <a:gd name="connsiteX124" fmla="*/ 8596 w 10000"/>
                <a:gd name="connsiteY124" fmla="*/ 6377 h 10000"/>
                <a:gd name="connsiteX125" fmla="*/ 8782 w 10000"/>
                <a:gd name="connsiteY125" fmla="*/ 6399 h 10000"/>
                <a:gd name="connsiteX126" fmla="*/ 9542 w 10000"/>
                <a:gd name="connsiteY126" fmla="*/ 6259 h 10000"/>
                <a:gd name="connsiteX127" fmla="*/ 9914 w 10000"/>
                <a:gd name="connsiteY127" fmla="*/ 6064 h 10000"/>
                <a:gd name="connsiteX128" fmla="*/ 10000 w 10000"/>
                <a:gd name="connsiteY128" fmla="*/ 5921 h 10000"/>
                <a:gd name="connsiteX129" fmla="*/ 9866 w 10000"/>
                <a:gd name="connsiteY129" fmla="*/ 5792 h 10000"/>
                <a:gd name="connsiteX130" fmla="*/ 9582 w 10000"/>
                <a:gd name="connsiteY130" fmla="*/ 5715 h 10000"/>
                <a:gd name="connsiteX131" fmla="*/ 9382 w 10000"/>
                <a:gd name="connsiteY131" fmla="*/ 5589 h 10000"/>
                <a:gd name="connsiteX132" fmla="*/ 9569 w 10000"/>
                <a:gd name="connsiteY132" fmla="*/ 5584 h 10000"/>
                <a:gd name="connsiteX133" fmla="*/ 9555 w 10000"/>
                <a:gd name="connsiteY133" fmla="*/ 5554 h 10000"/>
                <a:gd name="connsiteX134" fmla="*/ 9068 w 10000"/>
                <a:gd name="connsiteY134" fmla="*/ 5465 h 10000"/>
                <a:gd name="connsiteX135" fmla="*/ 9047 w 10000"/>
                <a:gd name="connsiteY135" fmla="*/ 5383 h 10000"/>
                <a:gd name="connsiteX136" fmla="*/ 8953 w 10000"/>
                <a:gd name="connsiteY136" fmla="*/ 5299 h 10000"/>
                <a:gd name="connsiteX137" fmla="*/ 8569 w 10000"/>
                <a:gd name="connsiteY137" fmla="*/ 5314 h 10000"/>
                <a:gd name="connsiteX138" fmla="*/ 8431 w 10000"/>
                <a:gd name="connsiteY138" fmla="*/ 5224 h 10000"/>
                <a:gd name="connsiteX139" fmla="*/ 8350 w 10000"/>
                <a:gd name="connsiteY139" fmla="*/ 5219 h 10000"/>
                <a:gd name="connsiteX140" fmla="*/ 8350 w 10000"/>
                <a:gd name="connsiteY140" fmla="*/ 5256 h 10000"/>
                <a:gd name="connsiteX141" fmla="*/ 8176 w 10000"/>
                <a:gd name="connsiteY141" fmla="*/ 5408 h 10000"/>
                <a:gd name="connsiteX142" fmla="*/ 7990 w 10000"/>
                <a:gd name="connsiteY142" fmla="*/ 5498 h 10000"/>
                <a:gd name="connsiteX143" fmla="*/ 7401 w 10000"/>
                <a:gd name="connsiteY143" fmla="*/ 5651 h 10000"/>
                <a:gd name="connsiteX144" fmla="*/ 7198 w 10000"/>
                <a:gd name="connsiteY144" fmla="*/ 5646 h 10000"/>
                <a:gd name="connsiteX145" fmla="*/ 6915 w 10000"/>
                <a:gd name="connsiteY145" fmla="*/ 5669 h 10000"/>
                <a:gd name="connsiteX146" fmla="*/ 6757 w 10000"/>
                <a:gd name="connsiteY146" fmla="*/ 5646 h 10000"/>
                <a:gd name="connsiteX147" fmla="*/ 6965 w 10000"/>
                <a:gd name="connsiteY147" fmla="*/ 5604 h 10000"/>
                <a:gd name="connsiteX148" fmla="*/ 7235 w 10000"/>
                <a:gd name="connsiteY148" fmla="*/ 5584 h 10000"/>
                <a:gd name="connsiteX149" fmla="*/ 7455 w 10000"/>
                <a:gd name="connsiteY149" fmla="*/ 5513 h 10000"/>
                <a:gd name="connsiteX150" fmla="*/ 7674 w 10000"/>
                <a:gd name="connsiteY150" fmla="*/ 5480 h 10000"/>
                <a:gd name="connsiteX151" fmla="*/ 8082 w 10000"/>
                <a:gd name="connsiteY151" fmla="*/ 5355 h 10000"/>
                <a:gd name="connsiteX152" fmla="*/ 8157 w 10000"/>
                <a:gd name="connsiteY152" fmla="*/ 5274 h 10000"/>
                <a:gd name="connsiteX153" fmla="*/ 8165 w 10000"/>
                <a:gd name="connsiteY153" fmla="*/ 5168 h 10000"/>
                <a:gd name="connsiteX154" fmla="*/ 7978 w 10000"/>
                <a:gd name="connsiteY154" fmla="*/ 5150 h 10000"/>
                <a:gd name="connsiteX155" fmla="*/ 8058 w 10000"/>
                <a:gd name="connsiteY155" fmla="*/ 5086 h 10000"/>
                <a:gd name="connsiteX156" fmla="*/ 8087 w 10000"/>
                <a:gd name="connsiteY156" fmla="*/ 5005 h 10000"/>
                <a:gd name="connsiteX157" fmla="*/ 8007 w 10000"/>
                <a:gd name="connsiteY157" fmla="*/ 4928 h 10000"/>
                <a:gd name="connsiteX158" fmla="*/ 6675 w 10000"/>
                <a:gd name="connsiteY158" fmla="*/ 0 h 10000"/>
                <a:gd name="connsiteX159" fmla="*/ 6334 w 10000"/>
                <a:gd name="connsiteY159" fmla="*/ 82 h 10000"/>
                <a:gd name="connsiteX160" fmla="*/ 6117 w 10000"/>
                <a:gd name="connsiteY160" fmla="*/ 78 h 10000"/>
                <a:gd name="connsiteX161" fmla="*/ 5986 w 10000"/>
                <a:gd name="connsiteY161" fmla="*/ 107 h 10000"/>
                <a:gd name="connsiteX162" fmla="*/ 5629 w 10000"/>
                <a:gd name="connsiteY162" fmla="*/ 913 h 10000"/>
                <a:gd name="connsiteX163" fmla="*/ 4802 w 10000"/>
                <a:gd name="connsiteY163" fmla="*/ 1383 h 10000"/>
                <a:gd name="connsiteX164" fmla="*/ 4809 w 10000"/>
                <a:gd name="connsiteY164" fmla="*/ 1457 h 10000"/>
                <a:gd name="connsiteX165" fmla="*/ 5176 w 10000"/>
                <a:gd name="connsiteY165" fmla="*/ 1668 h 10000"/>
                <a:gd name="connsiteX166" fmla="*/ 5057 w 10000"/>
                <a:gd name="connsiteY166" fmla="*/ 1896 h 10000"/>
                <a:gd name="connsiteX167" fmla="*/ 4842 w 10000"/>
                <a:gd name="connsiteY167" fmla="*/ 1979 h 10000"/>
                <a:gd name="connsiteX168" fmla="*/ 4200 w 10000"/>
                <a:gd name="connsiteY168" fmla="*/ 1924 h 10000"/>
                <a:gd name="connsiteX169" fmla="*/ 3760 w 10000"/>
                <a:gd name="connsiteY169" fmla="*/ 1955 h 10000"/>
                <a:gd name="connsiteX170" fmla="*/ 3405 w 10000"/>
                <a:gd name="connsiteY170" fmla="*/ 2023 h 10000"/>
                <a:gd name="connsiteX171" fmla="*/ 2832 w 10000"/>
                <a:gd name="connsiteY171" fmla="*/ 2233 h 10000"/>
                <a:gd name="connsiteX172" fmla="*/ 2528 w 10000"/>
                <a:gd name="connsiteY172" fmla="*/ 2487 h 10000"/>
                <a:gd name="connsiteX173" fmla="*/ 2555 w 10000"/>
                <a:gd name="connsiteY173" fmla="*/ 2629 h 10000"/>
                <a:gd name="connsiteX174" fmla="*/ 2661 w 10000"/>
                <a:gd name="connsiteY174" fmla="*/ 2738 h 10000"/>
                <a:gd name="connsiteX175" fmla="*/ 2741 w 10000"/>
                <a:gd name="connsiteY175" fmla="*/ 2782 h 10000"/>
                <a:gd name="connsiteX176" fmla="*/ 2592 w 10000"/>
                <a:gd name="connsiteY176" fmla="*/ 2852 h 10000"/>
                <a:gd name="connsiteX177" fmla="*/ 2267 w 10000"/>
                <a:gd name="connsiteY177" fmla="*/ 3330 h 10000"/>
                <a:gd name="connsiteX178" fmla="*/ 2330 w 10000"/>
                <a:gd name="connsiteY178" fmla="*/ 3358 h 10000"/>
                <a:gd name="connsiteX179" fmla="*/ 2375 w 10000"/>
                <a:gd name="connsiteY179" fmla="*/ 3479 h 10000"/>
                <a:gd name="connsiteX180" fmla="*/ 2226 w 10000"/>
                <a:gd name="connsiteY180" fmla="*/ 3982 h 10000"/>
                <a:gd name="connsiteX181" fmla="*/ 2375 w 10000"/>
                <a:gd name="connsiteY181" fmla="*/ 4110 h 10000"/>
                <a:gd name="connsiteX182" fmla="*/ 2791 w 10000"/>
                <a:gd name="connsiteY182" fmla="*/ 4251 h 10000"/>
                <a:gd name="connsiteX183" fmla="*/ 2808 w 10000"/>
                <a:gd name="connsiteY183" fmla="*/ 4423 h 10000"/>
                <a:gd name="connsiteX184" fmla="*/ 2632 w 10000"/>
                <a:gd name="connsiteY184" fmla="*/ 4566 h 10000"/>
                <a:gd name="connsiteX185" fmla="*/ 2375 w 10000"/>
                <a:gd name="connsiteY185" fmla="*/ 4652 h 10000"/>
                <a:gd name="connsiteX186" fmla="*/ 2039 w 10000"/>
                <a:gd name="connsiteY186" fmla="*/ 4687 h 10000"/>
                <a:gd name="connsiteX187" fmla="*/ 1950 w 10000"/>
                <a:gd name="connsiteY187" fmla="*/ 4737 h 10000"/>
                <a:gd name="connsiteX188" fmla="*/ 2148 w 10000"/>
                <a:gd name="connsiteY188" fmla="*/ 4855 h 10000"/>
                <a:gd name="connsiteX189" fmla="*/ 2261 w 10000"/>
                <a:gd name="connsiteY189" fmla="*/ 5136 h 10000"/>
                <a:gd name="connsiteX190" fmla="*/ 2005 w 10000"/>
                <a:gd name="connsiteY190" fmla="*/ 5376 h 10000"/>
                <a:gd name="connsiteX191" fmla="*/ 2094 w 10000"/>
                <a:gd name="connsiteY191" fmla="*/ 5451 h 10000"/>
                <a:gd name="connsiteX192" fmla="*/ 2012 w 10000"/>
                <a:gd name="connsiteY192" fmla="*/ 5577 h 10000"/>
                <a:gd name="connsiteX193" fmla="*/ 1850 w 10000"/>
                <a:gd name="connsiteY193" fmla="*/ 5663 h 10000"/>
                <a:gd name="connsiteX194" fmla="*/ 1199 w 10000"/>
                <a:gd name="connsiteY194" fmla="*/ 5730 h 10000"/>
                <a:gd name="connsiteX195" fmla="*/ 1158 w 10000"/>
                <a:gd name="connsiteY195" fmla="*/ 5846 h 10000"/>
                <a:gd name="connsiteX196" fmla="*/ 808 w 10000"/>
                <a:gd name="connsiteY196" fmla="*/ 6019 h 10000"/>
                <a:gd name="connsiteX197" fmla="*/ 854 w 10000"/>
                <a:gd name="connsiteY197" fmla="*/ 6268 h 10000"/>
                <a:gd name="connsiteX198" fmla="*/ 560 w 10000"/>
                <a:gd name="connsiteY198" fmla="*/ 6587 h 10000"/>
                <a:gd name="connsiteX199" fmla="*/ 358 w 10000"/>
                <a:gd name="connsiteY199" fmla="*/ 6624 h 10000"/>
                <a:gd name="connsiteX200" fmla="*/ 275 w 10000"/>
                <a:gd name="connsiteY200" fmla="*/ 6548 h 10000"/>
                <a:gd name="connsiteX201" fmla="*/ 174 w 10000"/>
                <a:gd name="connsiteY201" fmla="*/ 6663 h 10000"/>
                <a:gd name="connsiteX202" fmla="*/ 239 w 10000"/>
                <a:gd name="connsiteY202" fmla="*/ 6465 h 10000"/>
                <a:gd name="connsiteX203" fmla="*/ 197 w 10000"/>
                <a:gd name="connsiteY203" fmla="*/ 6427 h 10000"/>
                <a:gd name="connsiteX0" fmla="*/ 197 w 10000"/>
                <a:gd name="connsiteY0" fmla="*/ 6349 h 9922"/>
                <a:gd name="connsiteX1" fmla="*/ 0 w 10000"/>
                <a:gd name="connsiteY1" fmla="*/ 6452 h 9922"/>
                <a:gd name="connsiteX2" fmla="*/ 0 w 10000"/>
                <a:gd name="connsiteY2" fmla="*/ 6961 h 9922"/>
                <a:gd name="connsiteX3" fmla="*/ 109 w 10000"/>
                <a:gd name="connsiteY3" fmla="*/ 6975 h 9922"/>
                <a:gd name="connsiteX4" fmla="*/ 134 w 10000"/>
                <a:gd name="connsiteY4" fmla="*/ 7014 h 9922"/>
                <a:gd name="connsiteX5" fmla="*/ 130 w 10000"/>
                <a:gd name="connsiteY5" fmla="*/ 7083 h 9922"/>
                <a:gd name="connsiteX6" fmla="*/ 89 w 10000"/>
                <a:gd name="connsiteY6" fmla="*/ 7114 h 9922"/>
                <a:gd name="connsiteX7" fmla="*/ 255 w 10000"/>
                <a:gd name="connsiteY7" fmla="*/ 7055 h 9922"/>
                <a:gd name="connsiteX8" fmla="*/ 325 w 10000"/>
                <a:gd name="connsiteY8" fmla="*/ 6997 h 9922"/>
                <a:gd name="connsiteX9" fmla="*/ 413 w 10000"/>
                <a:gd name="connsiteY9" fmla="*/ 7037 h 9922"/>
                <a:gd name="connsiteX10" fmla="*/ 316 w 10000"/>
                <a:gd name="connsiteY10" fmla="*/ 7120 h 9922"/>
                <a:gd name="connsiteX11" fmla="*/ 419 w 10000"/>
                <a:gd name="connsiteY11" fmla="*/ 7122 h 9922"/>
                <a:gd name="connsiteX12" fmla="*/ 469 w 10000"/>
                <a:gd name="connsiteY12" fmla="*/ 7143 h 9922"/>
                <a:gd name="connsiteX13" fmla="*/ 337 w 10000"/>
                <a:gd name="connsiteY13" fmla="*/ 7170 h 9922"/>
                <a:gd name="connsiteX14" fmla="*/ 130 w 10000"/>
                <a:gd name="connsiteY14" fmla="*/ 7255 h 9922"/>
                <a:gd name="connsiteX15" fmla="*/ 497 w 10000"/>
                <a:gd name="connsiteY15" fmla="*/ 7322 h 9922"/>
                <a:gd name="connsiteX16" fmla="*/ 545 w 10000"/>
                <a:gd name="connsiteY16" fmla="*/ 7418 h 9922"/>
                <a:gd name="connsiteX17" fmla="*/ 419 w 10000"/>
                <a:gd name="connsiteY17" fmla="*/ 7558 h 9922"/>
                <a:gd name="connsiteX18" fmla="*/ 688 w 10000"/>
                <a:gd name="connsiteY18" fmla="*/ 7549 h 9922"/>
                <a:gd name="connsiteX19" fmla="*/ 709 w 10000"/>
                <a:gd name="connsiteY19" fmla="*/ 7655 h 9922"/>
                <a:gd name="connsiteX20" fmla="*/ 530 w 10000"/>
                <a:gd name="connsiteY20" fmla="*/ 7727 h 9922"/>
                <a:gd name="connsiteX21" fmla="*/ 560 w 10000"/>
                <a:gd name="connsiteY21" fmla="*/ 7867 h 9922"/>
                <a:gd name="connsiteX22" fmla="*/ 489 w 10000"/>
                <a:gd name="connsiteY22" fmla="*/ 7975 h 9922"/>
                <a:gd name="connsiteX23" fmla="*/ 703 w 10000"/>
                <a:gd name="connsiteY23" fmla="*/ 7985 h 9922"/>
                <a:gd name="connsiteX24" fmla="*/ 909 w 10000"/>
                <a:gd name="connsiteY24" fmla="*/ 8400 h 9922"/>
                <a:gd name="connsiteX25" fmla="*/ 1150 w 10000"/>
                <a:gd name="connsiteY25" fmla="*/ 8505 h 9922"/>
                <a:gd name="connsiteX26" fmla="*/ 1255 w 10000"/>
                <a:gd name="connsiteY26" fmla="*/ 8617 h 9922"/>
                <a:gd name="connsiteX27" fmla="*/ 1514 w 10000"/>
                <a:gd name="connsiteY27" fmla="*/ 8698 h 9922"/>
                <a:gd name="connsiteX28" fmla="*/ 1684 w 10000"/>
                <a:gd name="connsiteY28" fmla="*/ 8803 h 9922"/>
                <a:gd name="connsiteX29" fmla="*/ 1661 w 10000"/>
                <a:gd name="connsiteY29" fmla="*/ 8877 h 9922"/>
                <a:gd name="connsiteX30" fmla="*/ 1496 w 10000"/>
                <a:gd name="connsiteY30" fmla="*/ 8905 h 9922"/>
                <a:gd name="connsiteX31" fmla="*/ 1316 w 10000"/>
                <a:gd name="connsiteY31" fmla="*/ 8887 h 9922"/>
                <a:gd name="connsiteX32" fmla="*/ 1260 w 10000"/>
                <a:gd name="connsiteY32" fmla="*/ 8918 h 9922"/>
                <a:gd name="connsiteX33" fmla="*/ 1397 w 10000"/>
                <a:gd name="connsiteY33" fmla="*/ 9080 h 9922"/>
                <a:gd name="connsiteX34" fmla="*/ 1205 w 10000"/>
                <a:gd name="connsiteY34" fmla="*/ 9066 h 9922"/>
                <a:gd name="connsiteX35" fmla="*/ 1040 w 10000"/>
                <a:gd name="connsiteY35" fmla="*/ 9027 h 9922"/>
                <a:gd name="connsiteX36" fmla="*/ 1012 w 10000"/>
                <a:gd name="connsiteY36" fmla="*/ 9087 h 9922"/>
                <a:gd name="connsiteX37" fmla="*/ 1557 w 10000"/>
                <a:gd name="connsiteY37" fmla="*/ 9640 h 9922"/>
                <a:gd name="connsiteX38" fmla="*/ 1469 w 10000"/>
                <a:gd name="connsiteY38" fmla="*/ 9692 h 9922"/>
                <a:gd name="connsiteX39" fmla="*/ 1408 w 10000"/>
                <a:gd name="connsiteY39" fmla="*/ 9798 h 9922"/>
                <a:gd name="connsiteX40" fmla="*/ 1329 w 10000"/>
                <a:gd name="connsiteY40" fmla="*/ 9807 h 9922"/>
                <a:gd name="connsiteX41" fmla="*/ 1281 w 10000"/>
                <a:gd name="connsiteY41" fmla="*/ 9853 h 9922"/>
                <a:gd name="connsiteX42" fmla="*/ 1609 w 10000"/>
                <a:gd name="connsiteY42" fmla="*/ 9858 h 9922"/>
                <a:gd name="connsiteX43" fmla="*/ 1900 w 10000"/>
                <a:gd name="connsiteY43" fmla="*/ 9904 h 9922"/>
                <a:gd name="connsiteX44" fmla="*/ 2383 w 10000"/>
                <a:gd name="connsiteY44" fmla="*/ 9855 h 9922"/>
                <a:gd name="connsiteX45" fmla="*/ 2816 w 10000"/>
                <a:gd name="connsiteY45" fmla="*/ 9863 h 9922"/>
                <a:gd name="connsiteX46" fmla="*/ 3072 w 10000"/>
                <a:gd name="connsiteY46" fmla="*/ 9922 h 9922"/>
                <a:gd name="connsiteX47" fmla="*/ 3212 w 10000"/>
                <a:gd name="connsiteY47" fmla="*/ 9883 h 9922"/>
                <a:gd name="connsiteX48" fmla="*/ 3348 w 10000"/>
                <a:gd name="connsiteY48" fmla="*/ 9756 h 9922"/>
                <a:gd name="connsiteX49" fmla="*/ 3313 w 10000"/>
                <a:gd name="connsiteY49" fmla="*/ 9547 h 9922"/>
                <a:gd name="connsiteX50" fmla="*/ 3642 w 10000"/>
                <a:gd name="connsiteY50" fmla="*/ 9314 h 9922"/>
                <a:gd name="connsiteX51" fmla="*/ 3883 w 10000"/>
                <a:gd name="connsiteY51" fmla="*/ 9350 h 9922"/>
                <a:gd name="connsiteX52" fmla="*/ 4025 w 10000"/>
                <a:gd name="connsiteY52" fmla="*/ 9257 h 9922"/>
                <a:gd name="connsiteX53" fmla="*/ 4294 w 10000"/>
                <a:gd name="connsiteY53" fmla="*/ 9204 h 9922"/>
                <a:gd name="connsiteX54" fmla="*/ 4658 w 10000"/>
                <a:gd name="connsiteY54" fmla="*/ 9217 h 9922"/>
                <a:gd name="connsiteX55" fmla="*/ 4878 w 10000"/>
                <a:gd name="connsiteY55" fmla="*/ 9254 h 9922"/>
                <a:gd name="connsiteX56" fmla="*/ 5170 w 10000"/>
                <a:gd name="connsiteY56" fmla="*/ 9237 h 9922"/>
                <a:gd name="connsiteX57" fmla="*/ 5464 w 10000"/>
                <a:gd name="connsiteY57" fmla="*/ 9278 h 9922"/>
                <a:gd name="connsiteX58" fmla="*/ 5759 w 10000"/>
                <a:gd name="connsiteY58" fmla="*/ 9283 h 9922"/>
                <a:gd name="connsiteX59" fmla="*/ 6419 w 10000"/>
                <a:gd name="connsiteY59" fmla="*/ 8739 h 9922"/>
                <a:gd name="connsiteX60" fmla="*/ 6586 w 10000"/>
                <a:gd name="connsiteY60" fmla="*/ 8297 h 9922"/>
                <a:gd name="connsiteX61" fmla="*/ 6855 w 10000"/>
                <a:gd name="connsiteY61" fmla="*/ 8099 h 9922"/>
                <a:gd name="connsiteX62" fmla="*/ 6855 w 10000"/>
                <a:gd name="connsiteY62" fmla="*/ 7995 h 9922"/>
                <a:gd name="connsiteX63" fmla="*/ 6757 w 10000"/>
                <a:gd name="connsiteY63" fmla="*/ 7937 h 9922"/>
                <a:gd name="connsiteX64" fmla="*/ 6915 w 10000"/>
                <a:gd name="connsiteY64" fmla="*/ 7844 h 9922"/>
                <a:gd name="connsiteX65" fmla="*/ 6887 w 10000"/>
                <a:gd name="connsiteY65" fmla="*/ 7766 h 9922"/>
                <a:gd name="connsiteX66" fmla="*/ 6779 w 10000"/>
                <a:gd name="connsiteY66" fmla="*/ 7698 h 9922"/>
                <a:gd name="connsiteX67" fmla="*/ 6757 w 10000"/>
                <a:gd name="connsiteY67" fmla="*/ 7650 h 9922"/>
                <a:gd name="connsiteX68" fmla="*/ 6785 w 10000"/>
                <a:gd name="connsiteY68" fmla="*/ 7613 h 9922"/>
                <a:gd name="connsiteX69" fmla="*/ 6931 w 10000"/>
                <a:gd name="connsiteY69" fmla="*/ 7643 h 9922"/>
                <a:gd name="connsiteX70" fmla="*/ 7045 w 10000"/>
                <a:gd name="connsiteY70" fmla="*/ 7641 h 9922"/>
                <a:gd name="connsiteX71" fmla="*/ 6983 w 10000"/>
                <a:gd name="connsiteY71" fmla="*/ 7577 h 9922"/>
                <a:gd name="connsiteX72" fmla="*/ 7003 w 10000"/>
                <a:gd name="connsiteY72" fmla="*/ 7541 h 9922"/>
                <a:gd name="connsiteX73" fmla="*/ 7089 w 10000"/>
                <a:gd name="connsiteY73" fmla="*/ 7487 h 9922"/>
                <a:gd name="connsiteX74" fmla="*/ 7074 w 10000"/>
                <a:gd name="connsiteY74" fmla="*/ 7443 h 9922"/>
                <a:gd name="connsiteX75" fmla="*/ 7152 w 10000"/>
                <a:gd name="connsiteY75" fmla="*/ 7295 h 9922"/>
                <a:gd name="connsiteX76" fmla="*/ 7130 w 10000"/>
                <a:gd name="connsiteY76" fmla="*/ 7249 h 9922"/>
                <a:gd name="connsiteX77" fmla="*/ 6729 w 10000"/>
                <a:gd name="connsiteY77" fmla="*/ 7138 h 9922"/>
                <a:gd name="connsiteX78" fmla="*/ 6785 w 10000"/>
                <a:gd name="connsiteY78" fmla="*/ 7133 h 9922"/>
                <a:gd name="connsiteX79" fmla="*/ 6998 w 10000"/>
                <a:gd name="connsiteY79" fmla="*/ 7163 h 9922"/>
                <a:gd name="connsiteX80" fmla="*/ 7230 w 10000"/>
                <a:gd name="connsiteY80" fmla="*/ 7152 h 9922"/>
                <a:gd name="connsiteX81" fmla="*/ 7295 w 10000"/>
                <a:gd name="connsiteY81" fmla="*/ 7111 h 9922"/>
                <a:gd name="connsiteX82" fmla="*/ 7074 w 10000"/>
                <a:gd name="connsiteY82" fmla="*/ 7035 h 9922"/>
                <a:gd name="connsiteX83" fmla="*/ 6414 w 10000"/>
                <a:gd name="connsiteY83" fmla="*/ 6984 h 9922"/>
                <a:gd name="connsiteX84" fmla="*/ 6458 w 10000"/>
                <a:gd name="connsiteY84" fmla="*/ 6961 h 9922"/>
                <a:gd name="connsiteX85" fmla="*/ 6998 w 10000"/>
                <a:gd name="connsiteY85" fmla="*/ 6945 h 9922"/>
                <a:gd name="connsiteX86" fmla="*/ 7295 w 10000"/>
                <a:gd name="connsiteY86" fmla="*/ 6991 h 9922"/>
                <a:gd name="connsiteX87" fmla="*/ 7466 w 10000"/>
                <a:gd name="connsiteY87" fmla="*/ 6961 h 9922"/>
                <a:gd name="connsiteX88" fmla="*/ 7529 w 10000"/>
                <a:gd name="connsiteY88" fmla="*/ 6881 h 9922"/>
                <a:gd name="connsiteX89" fmla="*/ 7840 w 10000"/>
                <a:gd name="connsiteY89" fmla="*/ 6881 h 9922"/>
                <a:gd name="connsiteX90" fmla="*/ 8261 w 10000"/>
                <a:gd name="connsiteY90" fmla="*/ 6721 h 9922"/>
                <a:gd name="connsiteX91" fmla="*/ 8275 w 10000"/>
                <a:gd name="connsiteY91" fmla="*/ 6615 h 9922"/>
                <a:gd name="connsiteX92" fmla="*/ 8453 w 10000"/>
                <a:gd name="connsiteY92" fmla="*/ 6640 h 9922"/>
                <a:gd name="connsiteX93" fmla="*/ 8446 w 10000"/>
                <a:gd name="connsiteY93" fmla="*/ 6746 h 9922"/>
                <a:gd name="connsiteX94" fmla="*/ 8727 w 10000"/>
                <a:gd name="connsiteY94" fmla="*/ 6739 h 9922"/>
                <a:gd name="connsiteX95" fmla="*/ 8913 w 10000"/>
                <a:gd name="connsiteY95" fmla="*/ 6629 h 9922"/>
                <a:gd name="connsiteX96" fmla="*/ 9258 w 10000"/>
                <a:gd name="connsiteY96" fmla="*/ 6529 h 9922"/>
                <a:gd name="connsiteX97" fmla="*/ 9203 w 10000"/>
                <a:gd name="connsiteY97" fmla="*/ 6415 h 9922"/>
                <a:gd name="connsiteX98" fmla="*/ 9306 w 10000"/>
                <a:gd name="connsiteY98" fmla="*/ 6460 h 9922"/>
                <a:gd name="connsiteX99" fmla="*/ 9464 w 10000"/>
                <a:gd name="connsiteY99" fmla="*/ 6460 h 9922"/>
                <a:gd name="connsiteX100" fmla="*/ 9464 w 10000"/>
                <a:gd name="connsiteY100" fmla="*/ 6408 h 9922"/>
                <a:gd name="connsiteX101" fmla="*/ 9611 w 10000"/>
                <a:gd name="connsiteY101" fmla="*/ 6368 h 9922"/>
                <a:gd name="connsiteX102" fmla="*/ 9592 w 10000"/>
                <a:gd name="connsiteY102" fmla="*/ 6327 h 9922"/>
                <a:gd name="connsiteX103" fmla="*/ 8350 w 10000"/>
                <a:gd name="connsiteY103" fmla="*/ 6410 h 9922"/>
                <a:gd name="connsiteX104" fmla="*/ 8058 w 10000"/>
                <a:gd name="connsiteY104" fmla="*/ 6385 h 9922"/>
                <a:gd name="connsiteX105" fmla="*/ 7942 w 10000"/>
                <a:gd name="connsiteY105" fmla="*/ 6415 h 9922"/>
                <a:gd name="connsiteX106" fmla="*/ 7903 w 10000"/>
                <a:gd name="connsiteY106" fmla="*/ 6358 h 9922"/>
                <a:gd name="connsiteX107" fmla="*/ 7765 w 10000"/>
                <a:gd name="connsiteY107" fmla="*/ 6306 h 9922"/>
                <a:gd name="connsiteX108" fmla="*/ 7213 w 10000"/>
                <a:gd name="connsiteY108" fmla="*/ 6204 h 9922"/>
                <a:gd name="connsiteX109" fmla="*/ 6887 w 10000"/>
                <a:gd name="connsiteY109" fmla="*/ 6220 h 9922"/>
                <a:gd name="connsiteX110" fmla="*/ 6757 w 10000"/>
                <a:gd name="connsiteY110" fmla="*/ 6192 h 9922"/>
                <a:gd name="connsiteX111" fmla="*/ 6894 w 10000"/>
                <a:gd name="connsiteY111" fmla="*/ 6167 h 9922"/>
                <a:gd name="connsiteX112" fmla="*/ 6998 w 10000"/>
                <a:gd name="connsiteY112" fmla="*/ 6112 h 9922"/>
                <a:gd name="connsiteX113" fmla="*/ 7152 w 10000"/>
                <a:gd name="connsiteY113" fmla="*/ 6130 h 9922"/>
                <a:gd name="connsiteX114" fmla="*/ 7335 w 10000"/>
                <a:gd name="connsiteY114" fmla="*/ 6115 h 9922"/>
                <a:gd name="connsiteX115" fmla="*/ 7611 w 10000"/>
                <a:gd name="connsiteY115" fmla="*/ 6133 h 9922"/>
                <a:gd name="connsiteX116" fmla="*/ 7645 w 10000"/>
                <a:gd name="connsiteY116" fmla="*/ 6126 h 9922"/>
                <a:gd name="connsiteX117" fmla="*/ 7859 w 10000"/>
                <a:gd name="connsiteY117" fmla="*/ 6209 h 9922"/>
                <a:gd name="connsiteX118" fmla="*/ 8017 w 10000"/>
                <a:gd name="connsiteY118" fmla="*/ 6179 h 9922"/>
                <a:gd name="connsiteX119" fmla="*/ 8032 w 10000"/>
                <a:gd name="connsiteY119" fmla="*/ 6151 h 9922"/>
                <a:gd name="connsiteX120" fmla="*/ 8176 w 10000"/>
                <a:gd name="connsiteY120" fmla="*/ 6200 h 9922"/>
                <a:gd name="connsiteX121" fmla="*/ 8369 w 10000"/>
                <a:gd name="connsiteY121" fmla="*/ 6226 h 9922"/>
                <a:gd name="connsiteX122" fmla="*/ 8446 w 10000"/>
                <a:gd name="connsiteY122" fmla="*/ 6177 h 9922"/>
                <a:gd name="connsiteX123" fmla="*/ 8507 w 10000"/>
                <a:gd name="connsiteY123" fmla="*/ 6204 h 9922"/>
                <a:gd name="connsiteX124" fmla="*/ 8596 w 10000"/>
                <a:gd name="connsiteY124" fmla="*/ 6299 h 9922"/>
                <a:gd name="connsiteX125" fmla="*/ 8782 w 10000"/>
                <a:gd name="connsiteY125" fmla="*/ 6321 h 9922"/>
                <a:gd name="connsiteX126" fmla="*/ 9542 w 10000"/>
                <a:gd name="connsiteY126" fmla="*/ 6181 h 9922"/>
                <a:gd name="connsiteX127" fmla="*/ 9914 w 10000"/>
                <a:gd name="connsiteY127" fmla="*/ 5986 h 9922"/>
                <a:gd name="connsiteX128" fmla="*/ 10000 w 10000"/>
                <a:gd name="connsiteY128" fmla="*/ 5843 h 9922"/>
                <a:gd name="connsiteX129" fmla="*/ 9866 w 10000"/>
                <a:gd name="connsiteY129" fmla="*/ 5714 h 9922"/>
                <a:gd name="connsiteX130" fmla="*/ 9582 w 10000"/>
                <a:gd name="connsiteY130" fmla="*/ 5637 h 9922"/>
                <a:gd name="connsiteX131" fmla="*/ 9382 w 10000"/>
                <a:gd name="connsiteY131" fmla="*/ 5511 h 9922"/>
                <a:gd name="connsiteX132" fmla="*/ 9569 w 10000"/>
                <a:gd name="connsiteY132" fmla="*/ 5506 h 9922"/>
                <a:gd name="connsiteX133" fmla="*/ 9555 w 10000"/>
                <a:gd name="connsiteY133" fmla="*/ 5476 h 9922"/>
                <a:gd name="connsiteX134" fmla="*/ 9068 w 10000"/>
                <a:gd name="connsiteY134" fmla="*/ 5387 h 9922"/>
                <a:gd name="connsiteX135" fmla="*/ 9047 w 10000"/>
                <a:gd name="connsiteY135" fmla="*/ 5305 h 9922"/>
                <a:gd name="connsiteX136" fmla="*/ 8953 w 10000"/>
                <a:gd name="connsiteY136" fmla="*/ 5221 h 9922"/>
                <a:gd name="connsiteX137" fmla="*/ 8569 w 10000"/>
                <a:gd name="connsiteY137" fmla="*/ 5236 h 9922"/>
                <a:gd name="connsiteX138" fmla="*/ 8431 w 10000"/>
                <a:gd name="connsiteY138" fmla="*/ 5146 h 9922"/>
                <a:gd name="connsiteX139" fmla="*/ 8350 w 10000"/>
                <a:gd name="connsiteY139" fmla="*/ 5141 h 9922"/>
                <a:gd name="connsiteX140" fmla="*/ 8350 w 10000"/>
                <a:gd name="connsiteY140" fmla="*/ 5178 h 9922"/>
                <a:gd name="connsiteX141" fmla="*/ 8176 w 10000"/>
                <a:gd name="connsiteY141" fmla="*/ 5330 h 9922"/>
                <a:gd name="connsiteX142" fmla="*/ 7990 w 10000"/>
                <a:gd name="connsiteY142" fmla="*/ 5420 h 9922"/>
                <a:gd name="connsiteX143" fmla="*/ 7401 w 10000"/>
                <a:gd name="connsiteY143" fmla="*/ 5573 h 9922"/>
                <a:gd name="connsiteX144" fmla="*/ 7198 w 10000"/>
                <a:gd name="connsiteY144" fmla="*/ 5568 h 9922"/>
                <a:gd name="connsiteX145" fmla="*/ 6915 w 10000"/>
                <a:gd name="connsiteY145" fmla="*/ 5591 h 9922"/>
                <a:gd name="connsiteX146" fmla="*/ 6757 w 10000"/>
                <a:gd name="connsiteY146" fmla="*/ 5568 h 9922"/>
                <a:gd name="connsiteX147" fmla="*/ 6965 w 10000"/>
                <a:gd name="connsiteY147" fmla="*/ 5526 h 9922"/>
                <a:gd name="connsiteX148" fmla="*/ 7235 w 10000"/>
                <a:gd name="connsiteY148" fmla="*/ 5506 h 9922"/>
                <a:gd name="connsiteX149" fmla="*/ 7455 w 10000"/>
                <a:gd name="connsiteY149" fmla="*/ 5435 h 9922"/>
                <a:gd name="connsiteX150" fmla="*/ 7674 w 10000"/>
                <a:gd name="connsiteY150" fmla="*/ 5402 h 9922"/>
                <a:gd name="connsiteX151" fmla="*/ 8082 w 10000"/>
                <a:gd name="connsiteY151" fmla="*/ 5277 h 9922"/>
                <a:gd name="connsiteX152" fmla="*/ 8157 w 10000"/>
                <a:gd name="connsiteY152" fmla="*/ 5196 h 9922"/>
                <a:gd name="connsiteX153" fmla="*/ 8165 w 10000"/>
                <a:gd name="connsiteY153" fmla="*/ 5090 h 9922"/>
                <a:gd name="connsiteX154" fmla="*/ 7978 w 10000"/>
                <a:gd name="connsiteY154" fmla="*/ 5072 h 9922"/>
                <a:gd name="connsiteX155" fmla="*/ 8058 w 10000"/>
                <a:gd name="connsiteY155" fmla="*/ 5008 h 9922"/>
                <a:gd name="connsiteX156" fmla="*/ 8087 w 10000"/>
                <a:gd name="connsiteY156" fmla="*/ 4927 h 9922"/>
                <a:gd name="connsiteX157" fmla="*/ 8007 w 10000"/>
                <a:gd name="connsiteY157" fmla="*/ 4850 h 9922"/>
                <a:gd name="connsiteX158" fmla="*/ 6334 w 10000"/>
                <a:gd name="connsiteY158" fmla="*/ 4 h 9922"/>
                <a:gd name="connsiteX159" fmla="*/ 6117 w 10000"/>
                <a:gd name="connsiteY159" fmla="*/ 0 h 9922"/>
                <a:gd name="connsiteX160" fmla="*/ 5986 w 10000"/>
                <a:gd name="connsiteY160" fmla="*/ 29 h 9922"/>
                <a:gd name="connsiteX161" fmla="*/ 5629 w 10000"/>
                <a:gd name="connsiteY161" fmla="*/ 835 h 9922"/>
                <a:gd name="connsiteX162" fmla="*/ 4802 w 10000"/>
                <a:gd name="connsiteY162" fmla="*/ 1305 h 9922"/>
                <a:gd name="connsiteX163" fmla="*/ 4809 w 10000"/>
                <a:gd name="connsiteY163" fmla="*/ 1379 h 9922"/>
                <a:gd name="connsiteX164" fmla="*/ 5176 w 10000"/>
                <a:gd name="connsiteY164" fmla="*/ 1590 h 9922"/>
                <a:gd name="connsiteX165" fmla="*/ 5057 w 10000"/>
                <a:gd name="connsiteY165" fmla="*/ 1818 h 9922"/>
                <a:gd name="connsiteX166" fmla="*/ 4842 w 10000"/>
                <a:gd name="connsiteY166" fmla="*/ 1901 h 9922"/>
                <a:gd name="connsiteX167" fmla="*/ 4200 w 10000"/>
                <a:gd name="connsiteY167" fmla="*/ 1846 h 9922"/>
                <a:gd name="connsiteX168" fmla="*/ 3760 w 10000"/>
                <a:gd name="connsiteY168" fmla="*/ 1877 h 9922"/>
                <a:gd name="connsiteX169" fmla="*/ 3405 w 10000"/>
                <a:gd name="connsiteY169" fmla="*/ 1945 h 9922"/>
                <a:gd name="connsiteX170" fmla="*/ 2832 w 10000"/>
                <a:gd name="connsiteY170" fmla="*/ 2155 h 9922"/>
                <a:gd name="connsiteX171" fmla="*/ 2528 w 10000"/>
                <a:gd name="connsiteY171" fmla="*/ 2409 h 9922"/>
                <a:gd name="connsiteX172" fmla="*/ 2555 w 10000"/>
                <a:gd name="connsiteY172" fmla="*/ 2551 h 9922"/>
                <a:gd name="connsiteX173" fmla="*/ 2661 w 10000"/>
                <a:gd name="connsiteY173" fmla="*/ 2660 h 9922"/>
                <a:gd name="connsiteX174" fmla="*/ 2741 w 10000"/>
                <a:gd name="connsiteY174" fmla="*/ 2704 h 9922"/>
                <a:gd name="connsiteX175" fmla="*/ 2592 w 10000"/>
                <a:gd name="connsiteY175" fmla="*/ 2774 h 9922"/>
                <a:gd name="connsiteX176" fmla="*/ 2267 w 10000"/>
                <a:gd name="connsiteY176" fmla="*/ 3252 h 9922"/>
                <a:gd name="connsiteX177" fmla="*/ 2330 w 10000"/>
                <a:gd name="connsiteY177" fmla="*/ 3280 h 9922"/>
                <a:gd name="connsiteX178" fmla="*/ 2375 w 10000"/>
                <a:gd name="connsiteY178" fmla="*/ 3401 h 9922"/>
                <a:gd name="connsiteX179" fmla="*/ 2226 w 10000"/>
                <a:gd name="connsiteY179" fmla="*/ 3904 h 9922"/>
                <a:gd name="connsiteX180" fmla="*/ 2375 w 10000"/>
                <a:gd name="connsiteY180" fmla="*/ 4032 h 9922"/>
                <a:gd name="connsiteX181" fmla="*/ 2791 w 10000"/>
                <a:gd name="connsiteY181" fmla="*/ 4173 h 9922"/>
                <a:gd name="connsiteX182" fmla="*/ 2808 w 10000"/>
                <a:gd name="connsiteY182" fmla="*/ 4345 h 9922"/>
                <a:gd name="connsiteX183" fmla="*/ 2632 w 10000"/>
                <a:gd name="connsiteY183" fmla="*/ 4488 h 9922"/>
                <a:gd name="connsiteX184" fmla="*/ 2375 w 10000"/>
                <a:gd name="connsiteY184" fmla="*/ 4574 h 9922"/>
                <a:gd name="connsiteX185" fmla="*/ 2039 w 10000"/>
                <a:gd name="connsiteY185" fmla="*/ 4609 h 9922"/>
                <a:gd name="connsiteX186" fmla="*/ 1950 w 10000"/>
                <a:gd name="connsiteY186" fmla="*/ 4659 h 9922"/>
                <a:gd name="connsiteX187" fmla="*/ 2148 w 10000"/>
                <a:gd name="connsiteY187" fmla="*/ 4777 h 9922"/>
                <a:gd name="connsiteX188" fmla="*/ 2261 w 10000"/>
                <a:gd name="connsiteY188" fmla="*/ 5058 h 9922"/>
                <a:gd name="connsiteX189" fmla="*/ 2005 w 10000"/>
                <a:gd name="connsiteY189" fmla="*/ 5298 h 9922"/>
                <a:gd name="connsiteX190" fmla="*/ 2094 w 10000"/>
                <a:gd name="connsiteY190" fmla="*/ 5373 h 9922"/>
                <a:gd name="connsiteX191" fmla="*/ 2012 w 10000"/>
                <a:gd name="connsiteY191" fmla="*/ 5499 h 9922"/>
                <a:gd name="connsiteX192" fmla="*/ 1850 w 10000"/>
                <a:gd name="connsiteY192" fmla="*/ 5585 h 9922"/>
                <a:gd name="connsiteX193" fmla="*/ 1199 w 10000"/>
                <a:gd name="connsiteY193" fmla="*/ 5652 h 9922"/>
                <a:gd name="connsiteX194" fmla="*/ 1158 w 10000"/>
                <a:gd name="connsiteY194" fmla="*/ 5768 h 9922"/>
                <a:gd name="connsiteX195" fmla="*/ 808 w 10000"/>
                <a:gd name="connsiteY195" fmla="*/ 5941 h 9922"/>
                <a:gd name="connsiteX196" fmla="*/ 854 w 10000"/>
                <a:gd name="connsiteY196" fmla="*/ 6190 h 9922"/>
                <a:gd name="connsiteX197" fmla="*/ 560 w 10000"/>
                <a:gd name="connsiteY197" fmla="*/ 6509 h 9922"/>
                <a:gd name="connsiteX198" fmla="*/ 358 w 10000"/>
                <a:gd name="connsiteY198" fmla="*/ 6546 h 9922"/>
                <a:gd name="connsiteX199" fmla="*/ 275 w 10000"/>
                <a:gd name="connsiteY199" fmla="*/ 6470 h 9922"/>
                <a:gd name="connsiteX200" fmla="*/ 174 w 10000"/>
                <a:gd name="connsiteY200" fmla="*/ 6585 h 9922"/>
                <a:gd name="connsiteX201" fmla="*/ 239 w 10000"/>
                <a:gd name="connsiteY201" fmla="*/ 6387 h 9922"/>
                <a:gd name="connsiteX202" fmla="*/ 197 w 10000"/>
                <a:gd name="connsiteY202" fmla="*/ 6349 h 9922"/>
                <a:gd name="connsiteX0" fmla="*/ 197 w 10000"/>
                <a:gd name="connsiteY0" fmla="*/ 6395 h 9996"/>
                <a:gd name="connsiteX1" fmla="*/ 0 w 10000"/>
                <a:gd name="connsiteY1" fmla="*/ 6499 h 9996"/>
                <a:gd name="connsiteX2" fmla="*/ 0 w 10000"/>
                <a:gd name="connsiteY2" fmla="*/ 7012 h 9996"/>
                <a:gd name="connsiteX3" fmla="*/ 109 w 10000"/>
                <a:gd name="connsiteY3" fmla="*/ 7026 h 9996"/>
                <a:gd name="connsiteX4" fmla="*/ 134 w 10000"/>
                <a:gd name="connsiteY4" fmla="*/ 7065 h 9996"/>
                <a:gd name="connsiteX5" fmla="*/ 130 w 10000"/>
                <a:gd name="connsiteY5" fmla="*/ 7135 h 9996"/>
                <a:gd name="connsiteX6" fmla="*/ 89 w 10000"/>
                <a:gd name="connsiteY6" fmla="*/ 7166 h 9996"/>
                <a:gd name="connsiteX7" fmla="*/ 255 w 10000"/>
                <a:gd name="connsiteY7" fmla="*/ 7106 h 9996"/>
                <a:gd name="connsiteX8" fmla="*/ 325 w 10000"/>
                <a:gd name="connsiteY8" fmla="*/ 7048 h 9996"/>
                <a:gd name="connsiteX9" fmla="*/ 413 w 10000"/>
                <a:gd name="connsiteY9" fmla="*/ 7088 h 9996"/>
                <a:gd name="connsiteX10" fmla="*/ 316 w 10000"/>
                <a:gd name="connsiteY10" fmla="*/ 7172 h 9996"/>
                <a:gd name="connsiteX11" fmla="*/ 419 w 10000"/>
                <a:gd name="connsiteY11" fmla="*/ 7174 h 9996"/>
                <a:gd name="connsiteX12" fmla="*/ 469 w 10000"/>
                <a:gd name="connsiteY12" fmla="*/ 7195 h 9996"/>
                <a:gd name="connsiteX13" fmla="*/ 337 w 10000"/>
                <a:gd name="connsiteY13" fmla="*/ 7222 h 9996"/>
                <a:gd name="connsiteX14" fmla="*/ 130 w 10000"/>
                <a:gd name="connsiteY14" fmla="*/ 7308 h 9996"/>
                <a:gd name="connsiteX15" fmla="*/ 497 w 10000"/>
                <a:gd name="connsiteY15" fmla="*/ 7376 h 9996"/>
                <a:gd name="connsiteX16" fmla="*/ 545 w 10000"/>
                <a:gd name="connsiteY16" fmla="*/ 7472 h 9996"/>
                <a:gd name="connsiteX17" fmla="*/ 419 w 10000"/>
                <a:gd name="connsiteY17" fmla="*/ 7613 h 9996"/>
                <a:gd name="connsiteX18" fmla="*/ 688 w 10000"/>
                <a:gd name="connsiteY18" fmla="*/ 7604 h 9996"/>
                <a:gd name="connsiteX19" fmla="*/ 709 w 10000"/>
                <a:gd name="connsiteY19" fmla="*/ 7711 h 9996"/>
                <a:gd name="connsiteX20" fmla="*/ 530 w 10000"/>
                <a:gd name="connsiteY20" fmla="*/ 7784 h 9996"/>
                <a:gd name="connsiteX21" fmla="*/ 560 w 10000"/>
                <a:gd name="connsiteY21" fmla="*/ 7925 h 9996"/>
                <a:gd name="connsiteX22" fmla="*/ 489 w 10000"/>
                <a:gd name="connsiteY22" fmla="*/ 8034 h 9996"/>
                <a:gd name="connsiteX23" fmla="*/ 703 w 10000"/>
                <a:gd name="connsiteY23" fmla="*/ 8044 h 9996"/>
                <a:gd name="connsiteX24" fmla="*/ 909 w 10000"/>
                <a:gd name="connsiteY24" fmla="*/ 8462 h 9996"/>
                <a:gd name="connsiteX25" fmla="*/ 1150 w 10000"/>
                <a:gd name="connsiteY25" fmla="*/ 8568 h 9996"/>
                <a:gd name="connsiteX26" fmla="*/ 1255 w 10000"/>
                <a:gd name="connsiteY26" fmla="*/ 8681 h 9996"/>
                <a:gd name="connsiteX27" fmla="*/ 1514 w 10000"/>
                <a:gd name="connsiteY27" fmla="*/ 8762 h 9996"/>
                <a:gd name="connsiteX28" fmla="*/ 1684 w 10000"/>
                <a:gd name="connsiteY28" fmla="*/ 8868 h 9996"/>
                <a:gd name="connsiteX29" fmla="*/ 1661 w 10000"/>
                <a:gd name="connsiteY29" fmla="*/ 8943 h 9996"/>
                <a:gd name="connsiteX30" fmla="*/ 1496 w 10000"/>
                <a:gd name="connsiteY30" fmla="*/ 8971 h 9996"/>
                <a:gd name="connsiteX31" fmla="*/ 1316 w 10000"/>
                <a:gd name="connsiteY31" fmla="*/ 8953 h 9996"/>
                <a:gd name="connsiteX32" fmla="*/ 1260 w 10000"/>
                <a:gd name="connsiteY32" fmla="*/ 8984 h 9996"/>
                <a:gd name="connsiteX33" fmla="*/ 1397 w 10000"/>
                <a:gd name="connsiteY33" fmla="*/ 9147 h 9996"/>
                <a:gd name="connsiteX34" fmla="*/ 1205 w 10000"/>
                <a:gd name="connsiteY34" fmla="*/ 9133 h 9996"/>
                <a:gd name="connsiteX35" fmla="*/ 1040 w 10000"/>
                <a:gd name="connsiteY35" fmla="*/ 9094 h 9996"/>
                <a:gd name="connsiteX36" fmla="*/ 1012 w 10000"/>
                <a:gd name="connsiteY36" fmla="*/ 9154 h 9996"/>
                <a:gd name="connsiteX37" fmla="*/ 1557 w 10000"/>
                <a:gd name="connsiteY37" fmla="*/ 9712 h 9996"/>
                <a:gd name="connsiteX38" fmla="*/ 1469 w 10000"/>
                <a:gd name="connsiteY38" fmla="*/ 9764 h 9996"/>
                <a:gd name="connsiteX39" fmla="*/ 1408 w 10000"/>
                <a:gd name="connsiteY39" fmla="*/ 9871 h 9996"/>
                <a:gd name="connsiteX40" fmla="*/ 1329 w 10000"/>
                <a:gd name="connsiteY40" fmla="*/ 9880 h 9996"/>
                <a:gd name="connsiteX41" fmla="*/ 1281 w 10000"/>
                <a:gd name="connsiteY41" fmla="*/ 9926 h 9996"/>
                <a:gd name="connsiteX42" fmla="*/ 1609 w 10000"/>
                <a:gd name="connsiteY42" fmla="*/ 9931 h 9996"/>
                <a:gd name="connsiteX43" fmla="*/ 1900 w 10000"/>
                <a:gd name="connsiteY43" fmla="*/ 9978 h 9996"/>
                <a:gd name="connsiteX44" fmla="*/ 2383 w 10000"/>
                <a:gd name="connsiteY44" fmla="*/ 9928 h 9996"/>
                <a:gd name="connsiteX45" fmla="*/ 2816 w 10000"/>
                <a:gd name="connsiteY45" fmla="*/ 9937 h 9996"/>
                <a:gd name="connsiteX46" fmla="*/ 3072 w 10000"/>
                <a:gd name="connsiteY46" fmla="*/ 9996 h 9996"/>
                <a:gd name="connsiteX47" fmla="*/ 3212 w 10000"/>
                <a:gd name="connsiteY47" fmla="*/ 9957 h 9996"/>
                <a:gd name="connsiteX48" fmla="*/ 3348 w 10000"/>
                <a:gd name="connsiteY48" fmla="*/ 9829 h 9996"/>
                <a:gd name="connsiteX49" fmla="*/ 3313 w 10000"/>
                <a:gd name="connsiteY49" fmla="*/ 9618 h 9996"/>
                <a:gd name="connsiteX50" fmla="*/ 3642 w 10000"/>
                <a:gd name="connsiteY50" fmla="*/ 9383 h 9996"/>
                <a:gd name="connsiteX51" fmla="*/ 3883 w 10000"/>
                <a:gd name="connsiteY51" fmla="*/ 9420 h 9996"/>
                <a:gd name="connsiteX52" fmla="*/ 4025 w 10000"/>
                <a:gd name="connsiteY52" fmla="*/ 9326 h 9996"/>
                <a:gd name="connsiteX53" fmla="*/ 4294 w 10000"/>
                <a:gd name="connsiteY53" fmla="*/ 9272 h 9996"/>
                <a:gd name="connsiteX54" fmla="*/ 4658 w 10000"/>
                <a:gd name="connsiteY54" fmla="*/ 9285 h 9996"/>
                <a:gd name="connsiteX55" fmla="*/ 4878 w 10000"/>
                <a:gd name="connsiteY55" fmla="*/ 9323 h 9996"/>
                <a:gd name="connsiteX56" fmla="*/ 5170 w 10000"/>
                <a:gd name="connsiteY56" fmla="*/ 9306 h 9996"/>
                <a:gd name="connsiteX57" fmla="*/ 5464 w 10000"/>
                <a:gd name="connsiteY57" fmla="*/ 9347 h 9996"/>
                <a:gd name="connsiteX58" fmla="*/ 5759 w 10000"/>
                <a:gd name="connsiteY58" fmla="*/ 9352 h 9996"/>
                <a:gd name="connsiteX59" fmla="*/ 6419 w 10000"/>
                <a:gd name="connsiteY59" fmla="*/ 8804 h 9996"/>
                <a:gd name="connsiteX60" fmla="*/ 6586 w 10000"/>
                <a:gd name="connsiteY60" fmla="*/ 8358 h 9996"/>
                <a:gd name="connsiteX61" fmla="*/ 6855 w 10000"/>
                <a:gd name="connsiteY61" fmla="*/ 8159 h 9996"/>
                <a:gd name="connsiteX62" fmla="*/ 6855 w 10000"/>
                <a:gd name="connsiteY62" fmla="*/ 8054 h 9996"/>
                <a:gd name="connsiteX63" fmla="*/ 6757 w 10000"/>
                <a:gd name="connsiteY63" fmla="*/ 7995 h 9996"/>
                <a:gd name="connsiteX64" fmla="*/ 6915 w 10000"/>
                <a:gd name="connsiteY64" fmla="*/ 7902 h 9996"/>
                <a:gd name="connsiteX65" fmla="*/ 6887 w 10000"/>
                <a:gd name="connsiteY65" fmla="*/ 7823 h 9996"/>
                <a:gd name="connsiteX66" fmla="*/ 6779 w 10000"/>
                <a:gd name="connsiteY66" fmla="*/ 7755 h 9996"/>
                <a:gd name="connsiteX67" fmla="*/ 6757 w 10000"/>
                <a:gd name="connsiteY67" fmla="*/ 7706 h 9996"/>
                <a:gd name="connsiteX68" fmla="*/ 6785 w 10000"/>
                <a:gd name="connsiteY68" fmla="*/ 7669 h 9996"/>
                <a:gd name="connsiteX69" fmla="*/ 6931 w 10000"/>
                <a:gd name="connsiteY69" fmla="*/ 7699 h 9996"/>
                <a:gd name="connsiteX70" fmla="*/ 7045 w 10000"/>
                <a:gd name="connsiteY70" fmla="*/ 7697 h 9996"/>
                <a:gd name="connsiteX71" fmla="*/ 6983 w 10000"/>
                <a:gd name="connsiteY71" fmla="*/ 7633 h 9996"/>
                <a:gd name="connsiteX72" fmla="*/ 7003 w 10000"/>
                <a:gd name="connsiteY72" fmla="*/ 7596 h 9996"/>
                <a:gd name="connsiteX73" fmla="*/ 7089 w 10000"/>
                <a:gd name="connsiteY73" fmla="*/ 7542 h 9996"/>
                <a:gd name="connsiteX74" fmla="*/ 7074 w 10000"/>
                <a:gd name="connsiteY74" fmla="*/ 7498 h 9996"/>
                <a:gd name="connsiteX75" fmla="*/ 7152 w 10000"/>
                <a:gd name="connsiteY75" fmla="*/ 7348 h 9996"/>
                <a:gd name="connsiteX76" fmla="*/ 7130 w 10000"/>
                <a:gd name="connsiteY76" fmla="*/ 7302 h 9996"/>
                <a:gd name="connsiteX77" fmla="*/ 6729 w 10000"/>
                <a:gd name="connsiteY77" fmla="*/ 7190 h 9996"/>
                <a:gd name="connsiteX78" fmla="*/ 6785 w 10000"/>
                <a:gd name="connsiteY78" fmla="*/ 7185 h 9996"/>
                <a:gd name="connsiteX79" fmla="*/ 6998 w 10000"/>
                <a:gd name="connsiteY79" fmla="*/ 7215 h 9996"/>
                <a:gd name="connsiteX80" fmla="*/ 7230 w 10000"/>
                <a:gd name="connsiteY80" fmla="*/ 7204 h 9996"/>
                <a:gd name="connsiteX81" fmla="*/ 7295 w 10000"/>
                <a:gd name="connsiteY81" fmla="*/ 7163 h 9996"/>
                <a:gd name="connsiteX82" fmla="*/ 7074 w 10000"/>
                <a:gd name="connsiteY82" fmla="*/ 7086 h 9996"/>
                <a:gd name="connsiteX83" fmla="*/ 6414 w 10000"/>
                <a:gd name="connsiteY83" fmla="*/ 7035 h 9996"/>
                <a:gd name="connsiteX84" fmla="*/ 6458 w 10000"/>
                <a:gd name="connsiteY84" fmla="*/ 7012 h 9996"/>
                <a:gd name="connsiteX85" fmla="*/ 6998 w 10000"/>
                <a:gd name="connsiteY85" fmla="*/ 6996 h 9996"/>
                <a:gd name="connsiteX86" fmla="*/ 7295 w 10000"/>
                <a:gd name="connsiteY86" fmla="*/ 7042 h 9996"/>
                <a:gd name="connsiteX87" fmla="*/ 7466 w 10000"/>
                <a:gd name="connsiteY87" fmla="*/ 7012 h 9996"/>
                <a:gd name="connsiteX88" fmla="*/ 7529 w 10000"/>
                <a:gd name="connsiteY88" fmla="*/ 6931 h 9996"/>
                <a:gd name="connsiteX89" fmla="*/ 7840 w 10000"/>
                <a:gd name="connsiteY89" fmla="*/ 6931 h 9996"/>
                <a:gd name="connsiteX90" fmla="*/ 8261 w 10000"/>
                <a:gd name="connsiteY90" fmla="*/ 6770 h 9996"/>
                <a:gd name="connsiteX91" fmla="*/ 8275 w 10000"/>
                <a:gd name="connsiteY91" fmla="*/ 6663 h 9996"/>
                <a:gd name="connsiteX92" fmla="*/ 8453 w 10000"/>
                <a:gd name="connsiteY92" fmla="*/ 6688 h 9996"/>
                <a:gd name="connsiteX93" fmla="*/ 8446 w 10000"/>
                <a:gd name="connsiteY93" fmla="*/ 6795 h 9996"/>
                <a:gd name="connsiteX94" fmla="*/ 8727 w 10000"/>
                <a:gd name="connsiteY94" fmla="*/ 6788 h 9996"/>
                <a:gd name="connsiteX95" fmla="*/ 8913 w 10000"/>
                <a:gd name="connsiteY95" fmla="*/ 6677 h 9996"/>
                <a:gd name="connsiteX96" fmla="*/ 9258 w 10000"/>
                <a:gd name="connsiteY96" fmla="*/ 6576 h 9996"/>
                <a:gd name="connsiteX97" fmla="*/ 9203 w 10000"/>
                <a:gd name="connsiteY97" fmla="*/ 6461 h 9996"/>
                <a:gd name="connsiteX98" fmla="*/ 9306 w 10000"/>
                <a:gd name="connsiteY98" fmla="*/ 6507 h 9996"/>
                <a:gd name="connsiteX99" fmla="*/ 9464 w 10000"/>
                <a:gd name="connsiteY99" fmla="*/ 6507 h 9996"/>
                <a:gd name="connsiteX100" fmla="*/ 9464 w 10000"/>
                <a:gd name="connsiteY100" fmla="*/ 6454 h 9996"/>
                <a:gd name="connsiteX101" fmla="*/ 9611 w 10000"/>
                <a:gd name="connsiteY101" fmla="*/ 6414 h 9996"/>
                <a:gd name="connsiteX102" fmla="*/ 9592 w 10000"/>
                <a:gd name="connsiteY102" fmla="*/ 6373 h 9996"/>
                <a:gd name="connsiteX103" fmla="*/ 8350 w 10000"/>
                <a:gd name="connsiteY103" fmla="*/ 6456 h 9996"/>
                <a:gd name="connsiteX104" fmla="*/ 8058 w 10000"/>
                <a:gd name="connsiteY104" fmla="*/ 6431 h 9996"/>
                <a:gd name="connsiteX105" fmla="*/ 7942 w 10000"/>
                <a:gd name="connsiteY105" fmla="*/ 6461 h 9996"/>
                <a:gd name="connsiteX106" fmla="*/ 7903 w 10000"/>
                <a:gd name="connsiteY106" fmla="*/ 6404 h 9996"/>
                <a:gd name="connsiteX107" fmla="*/ 7765 w 10000"/>
                <a:gd name="connsiteY107" fmla="*/ 6352 h 9996"/>
                <a:gd name="connsiteX108" fmla="*/ 7213 w 10000"/>
                <a:gd name="connsiteY108" fmla="*/ 6249 h 9996"/>
                <a:gd name="connsiteX109" fmla="*/ 6887 w 10000"/>
                <a:gd name="connsiteY109" fmla="*/ 6265 h 9996"/>
                <a:gd name="connsiteX110" fmla="*/ 6757 w 10000"/>
                <a:gd name="connsiteY110" fmla="*/ 6237 h 9996"/>
                <a:gd name="connsiteX111" fmla="*/ 6894 w 10000"/>
                <a:gd name="connsiteY111" fmla="*/ 6211 h 9996"/>
                <a:gd name="connsiteX112" fmla="*/ 6998 w 10000"/>
                <a:gd name="connsiteY112" fmla="*/ 6156 h 9996"/>
                <a:gd name="connsiteX113" fmla="*/ 7152 w 10000"/>
                <a:gd name="connsiteY113" fmla="*/ 6174 h 9996"/>
                <a:gd name="connsiteX114" fmla="*/ 7335 w 10000"/>
                <a:gd name="connsiteY114" fmla="*/ 6159 h 9996"/>
                <a:gd name="connsiteX115" fmla="*/ 7611 w 10000"/>
                <a:gd name="connsiteY115" fmla="*/ 6177 h 9996"/>
                <a:gd name="connsiteX116" fmla="*/ 7645 w 10000"/>
                <a:gd name="connsiteY116" fmla="*/ 6170 h 9996"/>
                <a:gd name="connsiteX117" fmla="*/ 7859 w 10000"/>
                <a:gd name="connsiteY117" fmla="*/ 6254 h 9996"/>
                <a:gd name="connsiteX118" fmla="*/ 8017 w 10000"/>
                <a:gd name="connsiteY118" fmla="*/ 6224 h 9996"/>
                <a:gd name="connsiteX119" fmla="*/ 8032 w 10000"/>
                <a:gd name="connsiteY119" fmla="*/ 6195 h 9996"/>
                <a:gd name="connsiteX120" fmla="*/ 8176 w 10000"/>
                <a:gd name="connsiteY120" fmla="*/ 6245 h 9996"/>
                <a:gd name="connsiteX121" fmla="*/ 8369 w 10000"/>
                <a:gd name="connsiteY121" fmla="*/ 6271 h 9996"/>
                <a:gd name="connsiteX122" fmla="*/ 8446 w 10000"/>
                <a:gd name="connsiteY122" fmla="*/ 6222 h 9996"/>
                <a:gd name="connsiteX123" fmla="*/ 8507 w 10000"/>
                <a:gd name="connsiteY123" fmla="*/ 6249 h 9996"/>
                <a:gd name="connsiteX124" fmla="*/ 8596 w 10000"/>
                <a:gd name="connsiteY124" fmla="*/ 6345 h 9996"/>
                <a:gd name="connsiteX125" fmla="*/ 8782 w 10000"/>
                <a:gd name="connsiteY125" fmla="*/ 6367 h 9996"/>
                <a:gd name="connsiteX126" fmla="*/ 9542 w 10000"/>
                <a:gd name="connsiteY126" fmla="*/ 6226 h 9996"/>
                <a:gd name="connsiteX127" fmla="*/ 9914 w 10000"/>
                <a:gd name="connsiteY127" fmla="*/ 6029 h 9996"/>
                <a:gd name="connsiteX128" fmla="*/ 10000 w 10000"/>
                <a:gd name="connsiteY128" fmla="*/ 5885 h 9996"/>
                <a:gd name="connsiteX129" fmla="*/ 9866 w 10000"/>
                <a:gd name="connsiteY129" fmla="*/ 5755 h 9996"/>
                <a:gd name="connsiteX130" fmla="*/ 9582 w 10000"/>
                <a:gd name="connsiteY130" fmla="*/ 5677 h 9996"/>
                <a:gd name="connsiteX131" fmla="*/ 9382 w 10000"/>
                <a:gd name="connsiteY131" fmla="*/ 5550 h 9996"/>
                <a:gd name="connsiteX132" fmla="*/ 9569 w 10000"/>
                <a:gd name="connsiteY132" fmla="*/ 5545 h 9996"/>
                <a:gd name="connsiteX133" fmla="*/ 9555 w 10000"/>
                <a:gd name="connsiteY133" fmla="*/ 5515 h 9996"/>
                <a:gd name="connsiteX134" fmla="*/ 9068 w 10000"/>
                <a:gd name="connsiteY134" fmla="*/ 5425 h 9996"/>
                <a:gd name="connsiteX135" fmla="*/ 9047 w 10000"/>
                <a:gd name="connsiteY135" fmla="*/ 5343 h 9996"/>
                <a:gd name="connsiteX136" fmla="*/ 8953 w 10000"/>
                <a:gd name="connsiteY136" fmla="*/ 5258 h 9996"/>
                <a:gd name="connsiteX137" fmla="*/ 8569 w 10000"/>
                <a:gd name="connsiteY137" fmla="*/ 5273 h 9996"/>
                <a:gd name="connsiteX138" fmla="*/ 8431 w 10000"/>
                <a:gd name="connsiteY138" fmla="*/ 5182 h 9996"/>
                <a:gd name="connsiteX139" fmla="*/ 8350 w 10000"/>
                <a:gd name="connsiteY139" fmla="*/ 5177 h 9996"/>
                <a:gd name="connsiteX140" fmla="*/ 8350 w 10000"/>
                <a:gd name="connsiteY140" fmla="*/ 5215 h 9996"/>
                <a:gd name="connsiteX141" fmla="*/ 8176 w 10000"/>
                <a:gd name="connsiteY141" fmla="*/ 5368 h 9996"/>
                <a:gd name="connsiteX142" fmla="*/ 7990 w 10000"/>
                <a:gd name="connsiteY142" fmla="*/ 5459 h 9996"/>
                <a:gd name="connsiteX143" fmla="*/ 7401 w 10000"/>
                <a:gd name="connsiteY143" fmla="*/ 5613 h 9996"/>
                <a:gd name="connsiteX144" fmla="*/ 7198 w 10000"/>
                <a:gd name="connsiteY144" fmla="*/ 5608 h 9996"/>
                <a:gd name="connsiteX145" fmla="*/ 6915 w 10000"/>
                <a:gd name="connsiteY145" fmla="*/ 5631 h 9996"/>
                <a:gd name="connsiteX146" fmla="*/ 6757 w 10000"/>
                <a:gd name="connsiteY146" fmla="*/ 5608 h 9996"/>
                <a:gd name="connsiteX147" fmla="*/ 6965 w 10000"/>
                <a:gd name="connsiteY147" fmla="*/ 5565 h 9996"/>
                <a:gd name="connsiteX148" fmla="*/ 7235 w 10000"/>
                <a:gd name="connsiteY148" fmla="*/ 5545 h 9996"/>
                <a:gd name="connsiteX149" fmla="*/ 7455 w 10000"/>
                <a:gd name="connsiteY149" fmla="*/ 5474 h 9996"/>
                <a:gd name="connsiteX150" fmla="*/ 7674 w 10000"/>
                <a:gd name="connsiteY150" fmla="*/ 5440 h 9996"/>
                <a:gd name="connsiteX151" fmla="*/ 8082 w 10000"/>
                <a:gd name="connsiteY151" fmla="*/ 5314 h 9996"/>
                <a:gd name="connsiteX152" fmla="*/ 8157 w 10000"/>
                <a:gd name="connsiteY152" fmla="*/ 5233 h 9996"/>
                <a:gd name="connsiteX153" fmla="*/ 8165 w 10000"/>
                <a:gd name="connsiteY153" fmla="*/ 5126 h 9996"/>
                <a:gd name="connsiteX154" fmla="*/ 7978 w 10000"/>
                <a:gd name="connsiteY154" fmla="*/ 5108 h 9996"/>
                <a:gd name="connsiteX155" fmla="*/ 8058 w 10000"/>
                <a:gd name="connsiteY155" fmla="*/ 5043 h 9996"/>
                <a:gd name="connsiteX156" fmla="*/ 8087 w 10000"/>
                <a:gd name="connsiteY156" fmla="*/ 4962 h 9996"/>
                <a:gd name="connsiteX157" fmla="*/ 8007 w 10000"/>
                <a:gd name="connsiteY157" fmla="*/ 4884 h 9996"/>
                <a:gd name="connsiteX158" fmla="*/ 6334 w 10000"/>
                <a:gd name="connsiteY158" fmla="*/ 0 h 9996"/>
                <a:gd name="connsiteX159" fmla="*/ 5986 w 10000"/>
                <a:gd name="connsiteY159" fmla="*/ 25 h 9996"/>
                <a:gd name="connsiteX160" fmla="*/ 5629 w 10000"/>
                <a:gd name="connsiteY160" fmla="*/ 838 h 9996"/>
                <a:gd name="connsiteX161" fmla="*/ 4802 w 10000"/>
                <a:gd name="connsiteY161" fmla="*/ 1311 h 9996"/>
                <a:gd name="connsiteX162" fmla="*/ 4809 w 10000"/>
                <a:gd name="connsiteY162" fmla="*/ 1386 h 9996"/>
                <a:gd name="connsiteX163" fmla="*/ 5176 w 10000"/>
                <a:gd name="connsiteY163" fmla="*/ 1598 h 9996"/>
                <a:gd name="connsiteX164" fmla="*/ 5057 w 10000"/>
                <a:gd name="connsiteY164" fmla="*/ 1828 h 9996"/>
                <a:gd name="connsiteX165" fmla="*/ 4842 w 10000"/>
                <a:gd name="connsiteY165" fmla="*/ 1912 h 9996"/>
                <a:gd name="connsiteX166" fmla="*/ 4200 w 10000"/>
                <a:gd name="connsiteY166" fmla="*/ 1857 h 9996"/>
                <a:gd name="connsiteX167" fmla="*/ 3760 w 10000"/>
                <a:gd name="connsiteY167" fmla="*/ 1888 h 9996"/>
                <a:gd name="connsiteX168" fmla="*/ 3405 w 10000"/>
                <a:gd name="connsiteY168" fmla="*/ 1956 h 9996"/>
                <a:gd name="connsiteX169" fmla="*/ 2832 w 10000"/>
                <a:gd name="connsiteY169" fmla="*/ 2168 h 9996"/>
                <a:gd name="connsiteX170" fmla="*/ 2528 w 10000"/>
                <a:gd name="connsiteY170" fmla="*/ 2424 h 9996"/>
                <a:gd name="connsiteX171" fmla="*/ 2555 w 10000"/>
                <a:gd name="connsiteY171" fmla="*/ 2567 h 9996"/>
                <a:gd name="connsiteX172" fmla="*/ 2661 w 10000"/>
                <a:gd name="connsiteY172" fmla="*/ 2677 h 9996"/>
                <a:gd name="connsiteX173" fmla="*/ 2741 w 10000"/>
                <a:gd name="connsiteY173" fmla="*/ 2721 h 9996"/>
                <a:gd name="connsiteX174" fmla="*/ 2592 w 10000"/>
                <a:gd name="connsiteY174" fmla="*/ 2792 h 9996"/>
                <a:gd name="connsiteX175" fmla="*/ 2267 w 10000"/>
                <a:gd name="connsiteY175" fmla="*/ 3274 h 9996"/>
                <a:gd name="connsiteX176" fmla="*/ 2330 w 10000"/>
                <a:gd name="connsiteY176" fmla="*/ 3302 h 9996"/>
                <a:gd name="connsiteX177" fmla="*/ 2375 w 10000"/>
                <a:gd name="connsiteY177" fmla="*/ 3424 h 9996"/>
                <a:gd name="connsiteX178" fmla="*/ 2226 w 10000"/>
                <a:gd name="connsiteY178" fmla="*/ 3931 h 9996"/>
                <a:gd name="connsiteX179" fmla="*/ 2375 w 10000"/>
                <a:gd name="connsiteY179" fmla="*/ 4060 h 9996"/>
                <a:gd name="connsiteX180" fmla="*/ 2791 w 10000"/>
                <a:gd name="connsiteY180" fmla="*/ 4202 h 9996"/>
                <a:gd name="connsiteX181" fmla="*/ 2808 w 10000"/>
                <a:gd name="connsiteY181" fmla="*/ 4375 h 9996"/>
                <a:gd name="connsiteX182" fmla="*/ 2632 w 10000"/>
                <a:gd name="connsiteY182" fmla="*/ 4519 h 9996"/>
                <a:gd name="connsiteX183" fmla="*/ 2375 w 10000"/>
                <a:gd name="connsiteY183" fmla="*/ 4606 h 9996"/>
                <a:gd name="connsiteX184" fmla="*/ 2039 w 10000"/>
                <a:gd name="connsiteY184" fmla="*/ 4641 h 9996"/>
                <a:gd name="connsiteX185" fmla="*/ 1950 w 10000"/>
                <a:gd name="connsiteY185" fmla="*/ 4692 h 9996"/>
                <a:gd name="connsiteX186" fmla="*/ 2148 w 10000"/>
                <a:gd name="connsiteY186" fmla="*/ 4811 h 9996"/>
                <a:gd name="connsiteX187" fmla="*/ 2261 w 10000"/>
                <a:gd name="connsiteY187" fmla="*/ 5094 h 9996"/>
                <a:gd name="connsiteX188" fmla="*/ 2005 w 10000"/>
                <a:gd name="connsiteY188" fmla="*/ 5336 h 9996"/>
                <a:gd name="connsiteX189" fmla="*/ 2094 w 10000"/>
                <a:gd name="connsiteY189" fmla="*/ 5411 h 9996"/>
                <a:gd name="connsiteX190" fmla="*/ 2012 w 10000"/>
                <a:gd name="connsiteY190" fmla="*/ 5538 h 9996"/>
                <a:gd name="connsiteX191" fmla="*/ 1850 w 10000"/>
                <a:gd name="connsiteY191" fmla="*/ 5625 h 9996"/>
                <a:gd name="connsiteX192" fmla="*/ 1199 w 10000"/>
                <a:gd name="connsiteY192" fmla="*/ 5692 h 9996"/>
                <a:gd name="connsiteX193" fmla="*/ 1158 w 10000"/>
                <a:gd name="connsiteY193" fmla="*/ 5809 h 9996"/>
                <a:gd name="connsiteX194" fmla="*/ 808 w 10000"/>
                <a:gd name="connsiteY194" fmla="*/ 5984 h 9996"/>
                <a:gd name="connsiteX195" fmla="*/ 854 w 10000"/>
                <a:gd name="connsiteY195" fmla="*/ 6235 h 9996"/>
                <a:gd name="connsiteX196" fmla="*/ 560 w 10000"/>
                <a:gd name="connsiteY196" fmla="*/ 6556 h 9996"/>
                <a:gd name="connsiteX197" fmla="*/ 358 w 10000"/>
                <a:gd name="connsiteY197" fmla="*/ 6593 h 9996"/>
                <a:gd name="connsiteX198" fmla="*/ 275 w 10000"/>
                <a:gd name="connsiteY198" fmla="*/ 6517 h 9996"/>
                <a:gd name="connsiteX199" fmla="*/ 174 w 10000"/>
                <a:gd name="connsiteY199" fmla="*/ 6633 h 9996"/>
                <a:gd name="connsiteX200" fmla="*/ 239 w 10000"/>
                <a:gd name="connsiteY200" fmla="*/ 6433 h 9996"/>
                <a:gd name="connsiteX201" fmla="*/ 197 w 10000"/>
                <a:gd name="connsiteY201" fmla="*/ 6395 h 9996"/>
                <a:gd name="connsiteX0" fmla="*/ 197 w 10000"/>
                <a:gd name="connsiteY0" fmla="*/ 6398 h 10000"/>
                <a:gd name="connsiteX1" fmla="*/ 0 w 10000"/>
                <a:gd name="connsiteY1" fmla="*/ 6502 h 10000"/>
                <a:gd name="connsiteX2" fmla="*/ 0 w 10000"/>
                <a:gd name="connsiteY2" fmla="*/ 7015 h 10000"/>
                <a:gd name="connsiteX3" fmla="*/ 109 w 10000"/>
                <a:gd name="connsiteY3" fmla="*/ 7029 h 10000"/>
                <a:gd name="connsiteX4" fmla="*/ 134 w 10000"/>
                <a:gd name="connsiteY4" fmla="*/ 7068 h 10000"/>
                <a:gd name="connsiteX5" fmla="*/ 130 w 10000"/>
                <a:gd name="connsiteY5" fmla="*/ 7138 h 10000"/>
                <a:gd name="connsiteX6" fmla="*/ 89 w 10000"/>
                <a:gd name="connsiteY6" fmla="*/ 7169 h 10000"/>
                <a:gd name="connsiteX7" fmla="*/ 255 w 10000"/>
                <a:gd name="connsiteY7" fmla="*/ 7109 h 10000"/>
                <a:gd name="connsiteX8" fmla="*/ 325 w 10000"/>
                <a:gd name="connsiteY8" fmla="*/ 7051 h 10000"/>
                <a:gd name="connsiteX9" fmla="*/ 413 w 10000"/>
                <a:gd name="connsiteY9" fmla="*/ 7091 h 10000"/>
                <a:gd name="connsiteX10" fmla="*/ 316 w 10000"/>
                <a:gd name="connsiteY10" fmla="*/ 7175 h 10000"/>
                <a:gd name="connsiteX11" fmla="*/ 419 w 10000"/>
                <a:gd name="connsiteY11" fmla="*/ 7177 h 10000"/>
                <a:gd name="connsiteX12" fmla="*/ 469 w 10000"/>
                <a:gd name="connsiteY12" fmla="*/ 7198 h 10000"/>
                <a:gd name="connsiteX13" fmla="*/ 337 w 10000"/>
                <a:gd name="connsiteY13" fmla="*/ 7225 h 10000"/>
                <a:gd name="connsiteX14" fmla="*/ 130 w 10000"/>
                <a:gd name="connsiteY14" fmla="*/ 7311 h 10000"/>
                <a:gd name="connsiteX15" fmla="*/ 497 w 10000"/>
                <a:gd name="connsiteY15" fmla="*/ 7379 h 10000"/>
                <a:gd name="connsiteX16" fmla="*/ 545 w 10000"/>
                <a:gd name="connsiteY16" fmla="*/ 7475 h 10000"/>
                <a:gd name="connsiteX17" fmla="*/ 419 w 10000"/>
                <a:gd name="connsiteY17" fmla="*/ 7616 h 10000"/>
                <a:gd name="connsiteX18" fmla="*/ 688 w 10000"/>
                <a:gd name="connsiteY18" fmla="*/ 7607 h 10000"/>
                <a:gd name="connsiteX19" fmla="*/ 709 w 10000"/>
                <a:gd name="connsiteY19" fmla="*/ 7714 h 10000"/>
                <a:gd name="connsiteX20" fmla="*/ 530 w 10000"/>
                <a:gd name="connsiteY20" fmla="*/ 7787 h 10000"/>
                <a:gd name="connsiteX21" fmla="*/ 560 w 10000"/>
                <a:gd name="connsiteY21" fmla="*/ 7928 h 10000"/>
                <a:gd name="connsiteX22" fmla="*/ 489 w 10000"/>
                <a:gd name="connsiteY22" fmla="*/ 8037 h 10000"/>
                <a:gd name="connsiteX23" fmla="*/ 703 w 10000"/>
                <a:gd name="connsiteY23" fmla="*/ 8047 h 10000"/>
                <a:gd name="connsiteX24" fmla="*/ 909 w 10000"/>
                <a:gd name="connsiteY24" fmla="*/ 8465 h 10000"/>
                <a:gd name="connsiteX25" fmla="*/ 1150 w 10000"/>
                <a:gd name="connsiteY25" fmla="*/ 8571 h 10000"/>
                <a:gd name="connsiteX26" fmla="*/ 1255 w 10000"/>
                <a:gd name="connsiteY26" fmla="*/ 8684 h 10000"/>
                <a:gd name="connsiteX27" fmla="*/ 1514 w 10000"/>
                <a:gd name="connsiteY27" fmla="*/ 8766 h 10000"/>
                <a:gd name="connsiteX28" fmla="*/ 1684 w 10000"/>
                <a:gd name="connsiteY28" fmla="*/ 8872 h 10000"/>
                <a:gd name="connsiteX29" fmla="*/ 1661 w 10000"/>
                <a:gd name="connsiteY29" fmla="*/ 8947 h 10000"/>
                <a:gd name="connsiteX30" fmla="*/ 1496 w 10000"/>
                <a:gd name="connsiteY30" fmla="*/ 8975 h 10000"/>
                <a:gd name="connsiteX31" fmla="*/ 1316 w 10000"/>
                <a:gd name="connsiteY31" fmla="*/ 8957 h 10000"/>
                <a:gd name="connsiteX32" fmla="*/ 1260 w 10000"/>
                <a:gd name="connsiteY32" fmla="*/ 8988 h 10000"/>
                <a:gd name="connsiteX33" fmla="*/ 1397 w 10000"/>
                <a:gd name="connsiteY33" fmla="*/ 9151 h 10000"/>
                <a:gd name="connsiteX34" fmla="*/ 1205 w 10000"/>
                <a:gd name="connsiteY34" fmla="*/ 9137 h 10000"/>
                <a:gd name="connsiteX35" fmla="*/ 1040 w 10000"/>
                <a:gd name="connsiteY35" fmla="*/ 9098 h 10000"/>
                <a:gd name="connsiteX36" fmla="*/ 1012 w 10000"/>
                <a:gd name="connsiteY36" fmla="*/ 9158 h 10000"/>
                <a:gd name="connsiteX37" fmla="*/ 1557 w 10000"/>
                <a:gd name="connsiteY37" fmla="*/ 9716 h 10000"/>
                <a:gd name="connsiteX38" fmla="*/ 1469 w 10000"/>
                <a:gd name="connsiteY38" fmla="*/ 9768 h 10000"/>
                <a:gd name="connsiteX39" fmla="*/ 1408 w 10000"/>
                <a:gd name="connsiteY39" fmla="*/ 9875 h 10000"/>
                <a:gd name="connsiteX40" fmla="*/ 1329 w 10000"/>
                <a:gd name="connsiteY40" fmla="*/ 9884 h 10000"/>
                <a:gd name="connsiteX41" fmla="*/ 1281 w 10000"/>
                <a:gd name="connsiteY41" fmla="*/ 9930 h 10000"/>
                <a:gd name="connsiteX42" fmla="*/ 1609 w 10000"/>
                <a:gd name="connsiteY42" fmla="*/ 9935 h 10000"/>
                <a:gd name="connsiteX43" fmla="*/ 1900 w 10000"/>
                <a:gd name="connsiteY43" fmla="*/ 9982 h 10000"/>
                <a:gd name="connsiteX44" fmla="*/ 2383 w 10000"/>
                <a:gd name="connsiteY44" fmla="*/ 9932 h 10000"/>
                <a:gd name="connsiteX45" fmla="*/ 2816 w 10000"/>
                <a:gd name="connsiteY45" fmla="*/ 9941 h 10000"/>
                <a:gd name="connsiteX46" fmla="*/ 3072 w 10000"/>
                <a:gd name="connsiteY46" fmla="*/ 10000 h 10000"/>
                <a:gd name="connsiteX47" fmla="*/ 3212 w 10000"/>
                <a:gd name="connsiteY47" fmla="*/ 9961 h 10000"/>
                <a:gd name="connsiteX48" fmla="*/ 3348 w 10000"/>
                <a:gd name="connsiteY48" fmla="*/ 9833 h 10000"/>
                <a:gd name="connsiteX49" fmla="*/ 3313 w 10000"/>
                <a:gd name="connsiteY49" fmla="*/ 9622 h 10000"/>
                <a:gd name="connsiteX50" fmla="*/ 3642 w 10000"/>
                <a:gd name="connsiteY50" fmla="*/ 9387 h 10000"/>
                <a:gd name="connsiteX51" fmla="*/ 3883 w 10000"/>
                <a:gd name="connsiteY51" fmla="*/ 9424 h 10000"/>
                <a:gd name="connsiteX52" fmla="*/ 4025 w 10000"/>
                <a:gd name="connsiteY52" fmla="*/ 9330 h 10000"/>
                <a:gd name="connsiteX53" fmla="*/ 4294 w 10000"/>
                <a:gd name="connsiteY53" fmla="*/ 9276 h 10000"/>
                <a:gd name="connsiteX54" fmla="*/ 4658 w 10000"/>
                <a:gd name="connsiteY54" fmla="*/ 9289 h 10000"/>
                <a:gd name="connsiteX55" fmla="*/ 4878 w 10000"/>
                <a:gd name="connsiteY55" fmla="*/ 9327 h 10000"/>
                <a:gd name="connsiteX56" fmla="*/ 5170 w 10000"/>
                <a:gd name="connsiteY56" fmla="*/ 9310 h 10000"/>
                <a:gd name="connsiteX57" fmla="*/ 5464 w 10000"/>
                <a:gd name="connsiteY57" fmla="*/ 9351 h 10000"/>
                <a:gd name="connsiteX58" fmla="*/ 5759 w 10000"/>
                <a:gd name="connsiteY58" fmla="*/ 9356 h 10000"/>
                <a:gd name="connsiteX59" fmla="*/ 6419 w 10000"/>
                <a:gd name="connsiteY59" fmla="*/ 8808 h 10000"/>
                <a:gd name="connsiteX60" fmla="*/ 6586 w 10000"/>
                <a:gd name="connsiteY60" fmla="*/ 8361 h 10000"/>
                <a:gd name="connsiteX61" fmla="*/ 6855 w 10000"/>
                <a:gd name="connsiteY61" fmla="*/ 8162 h 10000"/>
                <a:gd name="connsiteX62" fmla="*/ 6855 w 10000"/>
                <a:gd name="connsiteY62" fmla="*/ 8057 h 10000"/>
                <a:gd name="connsiteX63" fmla="*/ 6757 w 10000"/>
                <a:gd name="connsiteY63" fmla="*/ 7998 h 10000"/>
                <a:gd name="connsiteX64" fmla="*/ 6915 w 10000"/>
                <a:gd name="connsiteY64" fmla="*/ 7905 h 10000"/>
                <a:gd name="connsiteX65" fmla="*/ 6887 w 10000"/>
                <a:gd name="connsiteY65" fmla="*/ 7826 h 10000"/>
                <a:gd name="connsiteX66" fmla="*/ 6779 w 10000"/>
                <a:gd name="connsiteY66" fmla="*/ 7758 h 10000"/>
                <a:gd name="connsiteX67" fmla="*/ 6757 w 10000"/>
                <a:gd name="connsiteY67" fmla="*/ 7709 h 10000"/>
                <a:gd name="connsiteX68" fmla="*/ 6785 w 10000"/>
                <a:gd name="connsiteY68" fmla="*/ 7672 h 10000"/>
                <a:gd name="connsiteX69" fmla="*/ 6931 w 10000"/>
                <a:gd name="connsiteY69" fmla="*/ 7702 h 10000"/>
                <a:gd name="connsiteX70" fmla="*/ 7045 w 10000"/>
                <a:gd name="connsiteY70" fmla="*/ 7700 h 10000"/>
                <a:gd name="connsiteX71" fmla="*/ 6983 w 10000"/>
                <a:gd name="connsiteY71" fmla="*/ 7636 h 10000"/>
                <a:gd name="connsiteX72" fmla="*/ 7003 w 10000"/>
                <a:gd name="connsiteY72" fmla="*/ 7599 h 10000"/>
                <a:gd name="connsiteX73" fmla="*/ 7089 w 10000"/>
                <a:gd name="connsiteY73" fmla="*/ 7545 h 10000"/>
                <a:gd name="connsiteX74" fmla="*/ 7074 w 10000"/>
                <a:gd name="connsiteY74" fmla="*/ 7501 h 10000"/>
                <a:gd name="connsiteX75" fmla="*/ 7152 w 10000"/>
                <a:gd name="connsiteY75" fmla="*/ 7351 h 10000"/>
                <a:gd name="connsiteX76" fmla="*/ 7130 w 10000"/>
                <a:gd name="connsiteY76" fmla="*/ 7305 h 10000"/>
                <a:gd name="connsiteX77" fmla="*/ 6729 w 10000"/>
                <a:gd name="connsiteY77" fmla="*/ 7193 h 10000"/>
                <a:gd name="connsiteX78" fmla="*/ 6785 w 10000"/>
                <a:gd name="connsiteY78" fmla="*/ 7188 h 10000"/>
                <a:gd name="connsiteX79" fmla="*/ 6998 w 10000"/>
                <a:gd name="connsiteY79" fmla="*/ 7218 h 10000"/>
                <a:gd name="connsiteX80" fmla="*/ 7230 w 10000"/>
                <a:gd name="connsiteY80" fmla="*/ 7207 h 10000"/>
                <a:gd name="connsiteX81" fmla="*/ 7295 w 10000"/>
                <a:gd name="connsiteY81" fmla="*/ 7166 h 10000"/>
                <a:gd name="connsiteX82" fmla="*/ 7074 w 10000"/>
                <a:gd name="connsiteY82" fmla="*/ 7089 h 10000"/>
                <a:gd name="connsiteX83" fmla="*/ 6414 w 10000"/>
                <a:gd name="connsiteY83" fmla="*/ 7038 h 10000"/>
                <a:gd name="connsiteX84" fmla="*/ 6458 w 10000"/>
                <a:gd name="connsiteY84" fmla="*/ 7015 h 10000"/>
                <a:gd name="connsiteX85" fmla="*/ 6998 w 10000"/>
                <a:gd name="connsiteY85" fmla="*/ 6999 h 10000"/>
                <a:gd name="connsiteX86" fmla="*/ 7295 w 10000"/>
                <a:gd name="connsiteY86" fmla="*/ 7045 h 10000"/>
                <a:gd name="connsiteX87" fmla="*/ 7466 w 10000"/>
                <a:gd name="connsiteY87" fmla="*/ 7015 h 10000"/>
                <a:gd name="connsiteX88" fmla="*/ 7529 w 10000"/>
                <a:gd name="connsiteY88" fmla="*/ 6934 h 10000"/>
                <a:gd name="connsiteX89" fmla="*/ 7840 w 10000"/>
                <a:gd name="connsiteY89" fmla="*/ 6934 h 10000"/>
                <a:gd name="connsiteX90" fmla="*/ 8261 w 10000"/>
                <a:gd name="connsiteY90" fmla="*/ 6773 h 10000"/>
                <a:gd name="connsiteX91" fmla="*/ 8275 w 10000"/>
                <a:gd name="connsiteY91" fmla="*/ 6666 h 10000"/>
                <a:gd name="connsiteX92" fmla="*/ 8453 w 10000"/>
                <a:gd name="connsiteY92" fmla="*/ 6691 h 10000"/>
                <a:gd name="connsiteX93" fmla="*/ 8446 w 10000"/>
                <a:gd name="connsiteY93" fmla="*/ 6798 h 10000"/>
                <a:gd name="connsiteX94" fmla="*/ 8727 w 10000"/>
                <a:gd name="connsiteY94" fmla="*/ 6791 h 10000"/>
                <a:gd name="connsiteX95" fmla="*/ 8913 w 10000"/>
                <a:gd name="connsiteY95" fmla="*/ 6680 h 10000"/>
                <a:gd name="connsiteX96" fmla="*/ 9258 w 10000"/>
                <a:gd name="connsiteY96" fmla="*/ 6579 h 10000"/>
                <a:gd name="connsiteX97" fmla="*/ 9203 w 10000"/>
                <a:gd name="connsiteY97" fmla="*/ 6464 h 10000"/>
                <a:gd name="connsiteX98" fmla="*/ 9306 w 10000"/>
                <a:gd name="connsiteY98" fmla="*/ 6510 h 10000"/>
                <a:gd name="connsiteX99" fmla="*/ 9464 w 10000"/>
                <a:gd name="connsiteY99" fmla="*/ 6510 h 10000"/>
                <a:gd name="connsiteX100" fmla="*/ 9464 w 10000"/>
                <a:gd name="connsiteY100" fmla="*/ 6457 h 10000"/>
                <a:gd name="connsiteX101" fmla="*/ 9611 w 10000"/>
                <a:gd name="connsiteY101" fmla="*/ 6417 h 10000"/>
                <a:gd name="connsiteX102" fmla="*/ 9592 w 10000"/>
                <a:gd name="connsiteY102" fmla="*/ 6376 h 10000"/>
                <a:gd name="connsiteX103" fmla="*/ 8350 w 10000"/>
                <a:gd name="connsiteY103" fmla="*/ 6459 h 10000"/>
                <a:gd name="connsiteX104" fmla="*/ 8058 w 10000"/>
                <a:gd name="connsiteY104" fmla="*/ 6434 h 10000"/>
                <a:gd name="connsiteX105" fmla="*/ 7942 w 10000"/>
                <a:gd name="connsiteY105" fmla="*/ 6464 h 10000"/>
                <a:gd name="connsiteX106" fmla="*/ 7903 w 10000"/>
                <a:gd name="connsiteY106" fmla="*/ 6407 h 10000"/>
                <a:gd name="connsiteX107" fmla="*/ 7765 w 10000"/>
                <a:gd name="connsiteY107" fmla="*/ 6355 h 10000"/>
                <a:gd name="connsiteX108" fmla="*/ 7213 w 10000"/>
                <a:gd name="connsiteY108" fmla="*/ 6252 h 10000"/>
                <a:gd name="connsiteX109" fmla="*/ 6887 w 10000"/>
                <a:gd name="connsiteY109" fmla="*/ 6268 h 10000"/>
                <a:gd name="connsiteX110" fmla="*/ 6757 w 10000"/>
                <a:gd name="connsiteY110" fmla="*/ 6239 h 10000"/>
                <a:gd name="connsiteX111" fmla="*/ 6894 w 10000"/>
                <a:gd name="connsiteY111" fmla="*/ 6213 h 10000"/>
                <a:gd name="connsiteX112" fmla="*/ 6998 w 10000"/>
                <a:gd name="connsiteY112" fmla="*/ 6158 h 10000"/>
                <a:gd name="connsiteX113" fmla="*/ 7152 w 10000"/>
                <a:gd name="connsiteY113" fmla="*/ 6176 h 10000"/>
                <a:gd name="connsiteX114" fmla="*/ 7335 w 10000"/>
                <a:gd name="connsiteY114" fmla="*/ 6161 h 10000"/>
                <a:gd name="connsiteX115" fmla="*/ 7611 w 10000"/>
                <a:gd name="connsiteY115" fmla="*/ 6179 h 10000"/>
                <a:gd name="connsiteX116" fmla="*/ 7645 w 10000"/>
                <a:gd name="connsiteY116" fmla="*/ 6172 h 10000"/>
                <a:gd name="connsiteX117" fmla="*/ 7859 w 10000"/>
                <a:gd name="connsiteY117" fmla="*/ 6257 h 10000"/>
                <a:gd name="connsiteX118" fmla="*/ 8017 w 10000"/>
                <a:gd name="connsiteY118" fmla="*/ 6226 h 10000"/>
                <a:gd name="connsiteX119" fmla="*/ 8032 w 10000"/>
                <a:gd name="connsiteY119" fmla="*/ 6197 h 10000"/>
                <a:gd name="connsiteX120" fmla="*/ 8176 w 10000"/>
                <a:gd name="connsiteY120" fmla="*/ 6247 h 10000"/>
                <a:gd name="connsiteX121" fmla="*/ 8369 w 10000"/>
                <a:gd name="connsiteY121" fmla="*/ 6274 h 10000"/>
                <a:gd name="connsiteX122" fmla="*/ 8446 w 10000"/>
                <a:gd name="connsiteY122" fmla="*/ 6224 h 10000"/>
                <a:gd name="connsiteX123" fmla="*/ 8507 w 10000"/>
                <a:gd name="connsiteY123" fmla="*/ 6252 h 10000"/>
                <a:gd name="connsiteX124" fmla="*/ 8596 w 10000"/>
                <a:gd name="connsiteY124" fmla="*/ 6348 h 10000"/>
                <a:gd name="connsiteX125" fmla="*/ 8782 w 10000"/>
                <a:gd name="connsiteY125" fmla="*/ 6370 h 10000"/>
                <a:gd name="connsiteX126" fmla="*/ 9542 w 10000"/>
                <a:gd name="connsiteY126" fmla="*/ 6228 h 10000"/>
                <a:gd name="connsiteX127" fmla="*/ 9914 w 10000"/>
                <a:gd name="connsiteY127" fmla="*/ 6031 h 10000"/>
                <a:gd name="connsiteX128" fmla="*/ 10000 w 10000"/>
                <a:gd name="connsiteY128" fmla="*/ 5887 h 10000"/>
                <a:gd name="connsiteX129" fmla="*/ 9866 w 10000"/>
                <a:gd name="connsiteY129" fmla="*/ 5757 h 10000"/>
                <a:gd name="connsiteX130" fmla="*/ 9582 w 10000"/>
                <a:gd name="connsiteY130" fmla="*/ 5679 h 10000"/>
                <a:gd name="connsiteX131" fmla="*/ 9382 w 10000"/>
                <a:gd name="connsiteY131" fmla="*/ 5552 h 10000"/>
                <a:gd name="connsiteX132" fmla="*/ 9569 w 10000"/>
                <a:gd name="connsiteY132" fmla="*/ 5547 h 10000"/>
                <a:gd name="connsiteX133" fmla="*/ 9555 w 10000"/>
                <a:gd name="connsiteY133" fmla="*/ 5517 h 10000"/>
                <a:gd name="connsiteX134" fmla="*/ 9068 w 10000"/>
                <a:gd name="connsiteY134" fmla="*/ 5427 h 10000"/>
                <a:gd name="connsiteX135" fmla="*/ 9047 w 10000"/>
                <a:gd name="connsiteY135" fmla="*/ 5345 h 10000"/>
                <a:gd name="connsiteX136" fmla="*/ 8953 w 10000"/>
                <a:gd name="connsiteY136" fmla="*/ 5260 h 10000"/>
                <a:gd name="connsiteX137" fmla="*/ 8569 w 10000"/>
                <a:gd name="connsiteY137" fmla="*/ 5275 h 10000"/>
                <a:gd name="connsiteX138" fmla="*/ 8431 w 10000"/>
                <a:gd name="connsiteY138" fmla="*/ 5184 h 10000"/>
                <a:gd name="connsiteX139" fmla="*/ 8350 w 10000"/>
                <a:gd name="connsiteY139" fmla="*/ 5179 h 10000"/>
                <a:gd name="connsiteX140" fmla="*/ 8350 w 10000"/>
                <a:gd name="connsiteY140" fmla="*/ 5217 h 10000"/>
                <a:gd name="connsiteX141" fmla="*/ 8176 w 10000"/>
                <a:gd name="connsiteY141" fmla="*/ 5370 h 10000"/>
                <a:gd name="connsiteX142" fmla="*/ 7990 w 10000"/>
                <a:gd name="connsiteY142" fmla="*/ 5461 h 10000"/>
                <a:gd name="connsiteX143" fmla="*/ 7401 w 10000"/>
                <a:gd name="connsiteY143" fmla="*/ 5615 h 10000"/>
                <a:gd name="connsiteX144" fmla="*/ 7198 w 10000"/>
                <a:gd name="connsiteY144" fmla="*/ 5610 h 10000"/>
                <a:gd name="connsiteX145" fmla="*/ 6915 w 10000"/>
                <a:gd name="connsiteY145" fmla="*/ 5633 h 10000"/>
                <a:gd name="connsiteX146" fmla="*/ 6757 w 10000"/>
                <a:gd name="connsiteY146" fmla="*/ 5610 h 10000"/>
                <a:gd name="connsiteX147" fmla="*/ 6965 w 10000"/>
                <a:gd name="connsiteY147" fmla="*/ 5567 h 10000"/>
                <a:gd name="connsiteX148" fmla="*/ 7235 w 10000"/>
                <a:gd name="connsiteY148" fmla="*/ 5547 h 10000"/>
                <a:gd name="connsiteX149" fmla="*/ 7455 w 10000"/>
                <a:gd name="connsiteY149" fmla="*/ 5476 h 10000"/>
                <a:gd name="connsiteX150" fmla="*/ 7674 w 10000"/>
                <a:gd name="connsiteY150" fmla="*/ 5442 h 10000"/>
                <a:gd name="connsiteX151" fmla="*/ 8082 w 10000"/>
                <a:gd name="connsiteY151" fmla="*/ 5316 h 10000"/>
                <a:gd name="connsiteX152" fmla="*/ 8157 w 10000"/>
                <a:gd name="connsiteY152" fmla="*/ 5235 h 10000"/>
                <a:gd name="connsiteX153" fmla="*/ 8165 w 10000"/>
                <a:gd name="connsiteY153" fmla="*/ 5128 h 10000"/>
                <a:gd name="connsiteX154" fmla="*/ 7978 w 10000"/>
                <a:gd name="connsiteY154" fmla="*/ 5110 h 10000"/>
                <a:gd name="connsiteX155" fmla="*/ 8058 w 10000"/>
                <a:gd name="connsiteY155" fmla="*/ 5045 h 10000"/>
                <a:gd name="connsiteX156" fmla="*/ 8087 w 10000"/>
                <a:gd name="connsiteY156" fmla="*/ 4964 h 10000"/>
                <a:gd name="connsiteX157" fmla="*/ 8007 w 10000"/>
                <a:gd name="connsiteY157" fmla="*/ 4886 h 10000"/>
                <a:gd name="connsiteX158" fmla="*/ 6334 w 10000"/>
                <a:gd name="connsiteY158" fmla="*/ 0 h 10000"/>
                <a:gd name="connsiteX159" fmla="*/ 5629 w 10000"/>
                <a:gd name="connsiteY159" fmla="*/ 838 h 10000"/>
                <a:gd name="connsiteX160" fmla="*/ 4802 w 10000"/>
                <a:gd name="connsiteY160" fmla="*/ 1312 h 10000"/>
                <a:gd name="connsiteX161" fmla="*/ 4809 w 10000"/>
                <a:gd name="connsiteY161" fmla="*/ 1387 h 10000"/>
                <a:gd name="connsiteX162" fmla="*/ 5176 w 10000"/>
                <a:gd name="connsiteY162" fmla="*/ 1599 h 10000"/>
                <a:gd name="connsiteX163" fmla="*/ 5057 w 10000"/>
                <a:gd name="connsiteY163" fmla="*/ 1829 h 10000"/>
                <a:gd name="connsiteX164" fmla="*/ 4842 w 10000"/>
                <a:gd name="connsiteY164" fmla="*/ 1913 h 10000"/>
                <a:gd name="connsiteX165" fmla="*/ 4200 w 10000"/>
                <a:gd name="connsiteY165" fmla="*/ 1858 h 10000"/>
                <a:gd name="connsiteX166" fmla="*/ 3760 w 10000"/>
                <a:gd name="connsiteY166" fmla="*/ 1889 h 10000"/>
                <a:gd name="connsiteX167" fmla="*/ 3405 w 10000"/>
                <a:gd name="connsiteY167" fmla="*/ 1957 h 10000"/>
                <a:gd name="connsiteX168" fmla="*/ 2832 w 10000"/>
                <a:gd name="connsiteY168" fmla="*/ 2169 h 10000"/>
                <a:gd name="connsiteX169" fmla="*/ 2528 w 10000"/>
                <a:gd name="connsiteY169" fmla="*/ 2425 h 10000"/>
                <a:gd name="connsiteX170" fmla="*/ 2555 w 10000"/>
                <a:gd name="connsiteY170" fmla="*/ 2568 h 10000"/>
                <a:gd name="connsiteX171" fmla="*/ 2661 w 10000"/>
                <a:gd name="connsiteY171" fmla="*/ 2678 h 10000"/>
                <a:gd name="connsiteX172" fmla="*/ 2741 w 10000"/>
                <a:gd name="connsiteY172" fmla="*/ 2722 h 10000"/>
                <a:gd name="connsiteX173" fmla="*/ 2592 w 10000"/>
                <a:gd name="connsiteY173" fmla="*/ 2793 h 10000"/>
                <a:gd name="connsiteX174" fmla="*/ 2267 w 10000"/>
                <a:gd name="connsiteY174" fmla="*/ 3275 h 10000"/>
                <a:gd name="connsiteX175" fmla="*/ 2330 w 10000"/>
                <a:gd name="connsiteY175" fmla="*/ 3303 h 10000"/>
                <a:gd name="connsiteX176" fmla="*/ 2375 w 10000"/>
                <a:gd name="connsiteY176" fmla="*/ 3425 h 10000"/>
                <a:gd name="connsiteX177" fmla="*/ 2226 w 10000"/>
                <a:gd name="connsiteY177" fmla="*/ 3933 h 10000"/>
                <a:gd name="connsiteX178" fmla="*/ 2375 w 10000"/>
                <a:gd name="connsiteY178" fmla="*/ 4062 h 10000"/>
                <a:gd name="connsiteX179" fmla="*/ 2791 w 10000"/>
                <a:gd name="connsiteY179" fmla="*/ 4204 h 10000"/>
                <a:gd name="connsiteX180" fmla="*/ 2808 w 10000"/>
                <a:gd name="connsiteY180" fmla="*/ 4377 h 10000"/>
                <a:gd name="connsiteX181" fmla="*/ 2632 w 10000"/>
                <a:gd name="connsiteY181" fmla="*/ 4521 h 10000"/>
                <a:gd name="connsiteX182" fmla="*/ 2375 w 10000"/>
                <a:gd name="connsiteY182" fmla="*/ 4608 h 10000"/>
                <a:gd name="connsiteX183" fmla="*/ 2039 w 10000"/>
                <a:gd name="connsiteY183" fmla="*/ 4643 h 10000"/>
                <a:gd name="connsiteX184" fmla="*/ 1950 w 10000"/>
                <a:gd name="connsiteY184" fmla="*/ 4694 h 10000"/>
                <a:gd name="connsiteX185" fmla="*/ 2148 w 10000"/>
                <a:gd name="connsiteY185" fmla="*/ 4813 h 10000"/>
                <a:gd name="connsiteX186" fmla="*/ 2261 w 10000"/>
                <a:gd name="connsiteY186" fmla="*/ 5096 h 10000"/>
                <a:gd name="connsiteX187" fmla="*/ 2005 w 10000"/>
                <a:gd name="connsiteY187" fmla="*/ 5338 h 10000"/>
                <a:gd name="connsiteX188" fmla="*/ 2094 w 10000"/>
                <a:gd name="connsiteY188" fmla="*/ 5413 h 10000"/>
                <a:gd name="connsiteX189" fmla="*/ 2012 w 10000"/>
                <a:gd name="connsiteY189" fmla="*/ 5540 h 10000"/>
                <a:gd name="connsiteX190" fmla="*/ 1850 w 10000"/>
                <a:gd name="connsiteY190" fmla="*/ 5627 h 10000"/>
                <a:gd name="connsiteX191" fmla="*/ 1199 w 10000"/>
                <a:gd name="connsiteY191" fmla="*/ 5694 h 10000"/>
                <a:gd name="connsiteX192" fmla="*/ 1158 w 10000"/>
                <a:gd name="connsiteY192" fmla="*/ 5811 h 10000"/>
                <a:gd name="connsiteX193" fmla="*/ 808 w 10000"/>
                <a:gd name="connsiteY193" fmla="*/ 5986 h 10000"/>
                <a:gd name="connsiteX194" fmla="*/ 854 w 10000"/>
                <a:gd name="connsiteY194" fmla="*/ 6237 h 10000"/>
                <a:gd name="connsiteX195" fmla="*/ 560 w 10000"/>
                <a:gd name="connsiteY195" fmla="*/ 6559 h 10000"/>
                <a:gd name="connsiteX196" fmla="*/ 358 w 10000"/>
                <a:gd name="connsiteY196" fmla="*/ 6596 h 10000"/>
                <a:gd name="connsiteX197" fmla="*/ 275 w 10000"/>
                <a:gd name="connsiteY197" fmla="*/ 6520 h 10000"/>
                <a:gd name="connsiteX198" fmla="*/ 174 w 10000"/>
                <a:gd name="connsiteY198" fmla="*/ 6636 h 10000"/>
                <a:gd name="connsiteX199" fmla="*/ 239 w 10000"/>
                <a:gd name="connsiteY199" fmla="*/ 6436 h 10000"/>
                <a:gd name="connsiteX200" fmla="*/ 197 w 10000"/>
                <a:gd name="connsiteY200" fmla="*/ 6398 h 10000"/>
                <a:gd name="connsiteX0" fmla="*/ 197 w 10000"/>
                <a:gd name="connsiteY0" fmla="*/ 5560 h 9162"/>
                <a:gd name="connsiteX1" fmla="*/ 0 w 10000"/>
                <a:gd name="connsiteY1" fmla="*/ 5664 h 9162"/>
                <a:gd name="connsiteX2" fmla="*/ 0 w 10000"/>
                <a:gd name="connsiteY2" fmla="*/ 6177 h 9162"/>
                <a:gd name="connsiteX3" fmla="*/ 109 w 10000"/>
                <a:gd name="connsiteY3" fmla="*/ 6191 h 9162"/>
                <a:gd name="connsiteX4" fmla="*/ 134 w 10000"/>
                <a:gd name="connsiteY4" fmla="*/ 6230 h 9162"/>
                <a:gd name="connsiteX5" fmla="*/ 130 w 10000"/>
                <a:gd name="connsiteY5" fmla="*/ 6300 h 9162"/>
                <a:gd name="connsiteX6" fmla="*/ 89 w 10000"/>
                <a:gd name="connsiteY6" fmla="*/ 6331 h 9162"/>
                <a:gd name="connsiteX7" fmla="*/ 255 w 10000"/>
                <a:gd name="connsiteY7" fmla="*/ 6271 h 9162"/>
                <a:gd name="connsiteX8" fmla="*/ 325 w 10000"/>
                <a:gd name="connsiteY8" fmla="*/ 6213 h 9162"/>
                <a:gd name="connsiteX9" fmla="*/ 413 w 10000"/>
                <a:gd name="connsiteY9" fmla="*/ 6253 h 9162"/>
                <a:gd name="connsiteX10" fmla="*/ 316 w 10000"/>
                <a:gd name="connsiteY10" fmla="*/ 6337 h 9162"/>
                <a:gd name="connsiteX11" fmla="*/ 419 w 10000"/>
                <a:gd name="connsiteY11" fmla="*/ 6339 h 9162"/>
                <a:gd name="connsiteX12" fmla="*/ 469 w 10000"/>
                <a:gd name="connsiteY12" fmla="*/ 6360 h 9162"/>
                <a:gd name="connsiteX13" fmla="*/ 337 w 10000"/>
                <a:gd name="connsiteY13" fmla="*/ 6387 h 9162"/>
                <a:gd name="connsiteX14" fmla="*/ 130 w 10000"/>
                <a:gd name="connsiteY14" fmla="*/ 6473 h 9162"/>
                <a:gd name="connsiteX15" fmla="*/ 497 w 10000"/>
                <a:gd name="connsiteY15" fmla="*/ 6541 h 9162"/>
                <a:gd name="connsiteX16" fmla="*/ 545 w 10000"/>
                <a:gd name="connsiteY16" fmla="*/ 6637 h 9162"/>
                <a:gd name="connsiteX17" fmla="*/ 419 w 10000"/>
                <a:gd name="connsiteY17" fmla="*/ 6778 h 9162"/>
                <a:gd name="connsiteX18" fmla="*/ 688 w 10000"/>
                <a:gd name="connsiteY18" fmla="*/ 6769 h 9162"/>
                <a:gd name="connsiteX19" fmla="*/ 709 w 10000"/>
                <a:gd name="connsiteY19" fmla="*/ 6876 h 9162"/>
                <a:gd name="connsiteX20" fmla="*/ 530 w 10000"/>
                <a:gd name="connsiteY20" fmla="*/ 6949 h 9162"/>
                <a:gd name="connsiteX21" fmla="*/ 560 w 10000"/>
                <a:gd name="connsiteY21" fmla="*/ 7090 h 9162"/>
                <a:gd name="connsiteX22" fmla="*/ 489 w 10000"/>
                <a:gd name="connsiteY22" fmla="*/ 7199 h 9162"/>
                <a:gd name="connsiteX23" fmla="*/ 703 w 10000"/>
                <a:gd name="connsiteY23" fmla="*/ 7209 h 9162"/>
                <a:gd name="connsiteX24" fmla="*/ 909 w 10000"/>
                <a:gd name="connsiteY24" fmla="*/ 7627 h 9162"/>
                <a:gd name="connsiteX25" fmla="*/ 1150 w 10000"/>
                <a:gd name="connsiteY25" fmla="*/ 7733 h 9162"/>
                <a:gd name="connsiteX26" fmla="*/ 1255 w 10000"/>
                <a:gd name="connsiteY26" fmla="*/ 7846 h 9162"/>
                <a:gd name="connsiteX27" fmla="*/ 1514 w 10000"/>
                <a:gd name="connsiteY27" fmla="*/ 7928 h 9162"/>
                <a:gd name="connsiteX28" fmla="*/ 1684 w 10000"/>
                <a:gd name="connsiteY28" fmla="*/ 8034 h 9162"/>
                <a:gd name="connsiteX29" fmla="*/ 1661 w 10000"/>
                <a:gd name="connsiteY29" fmla="*/ 8109 h 9162"/>
                <a:gd name="connsiteX30" fmla="*/ 1496 w 10000"/>
                <a:gd name="connsiteY30" fmla="*/ 8137 h 9162"/>
                <a:gd name="connsiteX31" fmla="*/ 1316 w 10000"/>
                <a:gd name="connsiteY31" fmla="*/ 8119 h 9162"/>
                <a:gd name="connsiteX32" fmla="*/ 1260 w 10000"/>
                <a:gd name="connsiteY32" fmla="*/ 8150 h 9162"/>
                <a:gd name="connsiteX33" fmla="*/ 1397 w 10000"/>
                <a:gd name="connsiteY33" fmla="*/ 8313 h 9162"/>
                <a:gd name="connsiteX34" fmla="*/ 1205 w 10000"/>
                <a:gd name="connsiteY34" fmla="*/ 8299 h 9162"/>
                <a:gd name="connsiteX35" fmla="*/ 1040 w 10000"/>
                <a:gd name="connsiteY35" fmla="*/ 8260 h 9162"/>
                <a:gd name="connsiteX36" fmla="*/ 1012 w 10000"/>
                <a:gd name="connsiteY36" fmla="*/ 8320 h 9162"/>
                <a:gd name="connsiteX37" fmla="*/ 1557 w 10000"/>
                <a:gd name="connsiteY37" fmla="*/ 8878 h 9162"/>
                <a:gd name="connsiteX38" fmla="*/ 1469 w 10000"/>
                <a:gd name="connsiteY38" fmla="*/ 8930 h 9162"/>
                <a:gd name="connsiteX39" fmla="*/ 1408 w 10000"/>
                <a:gd name="connsiteY39" fmla="*/ 9037 h 9162"/>
                <a:gd name="connsiteX40" fmla="*/ 1329 w 10000"/>
                <a:gd name="connsiteY40" fmla="*/ 9046 h 9162"/>
                <a:gd name="connsiteX41" fmla="*/ 1281 w 10000"/>
                <a:gd name="connsiteY41" fmla="*/ 9092 h 9162"/>
                <a:gd name="connsiteX42" fmla="*/ 1609 w 10000"/>
                <a:gd name="connsiteY42" fmla="*/ 9097 h 9162"/>
                <a:gd name="connsiteX43" fmla="*/ 1900 w 10000"/>
                <a:gd name="connsiteY43" fmla="*/ 9144 h 9162"/>
                <a:gd name="connsiteX44" fmla="*/ 2383 w 10000"/>
                <a:gd name="connsiteY44" fmla="*/ 9094 h 9162"/>
                <a:gd name="connsiteX45" fmla="*/ 2816 w 10000"/>
                <a:gd name="connsiteY45" fmla="*/ 9103 h 9162"/>
                <a:gd name="connsiteX46" fmla="*/ 3072 w 10000"/>
                <a:gd name="connsiteY46" fmla="*/ 9162 h 9162"/>
                <a:gd name="connsiteX47" fmla="*/ 3212 w 10000"/>
                <a:gd name="connsiteY47" fmla="*/ 9123 h 9162"/>
                <a:gd name="connsiteX48" fmla="*/ 3348 w 10000"/>
                <a:gd name="connsiteY48" fmla="*/ 8995 h 9162"/>
                <a:gd name="connsiteX49" fmla="*/ 3313 w 10000"/>
                <a:gd name="connsiteY49" fmla="*/ 8784 h 9162"/>
                <a:gd name="connsiteX50" fmla="*/ 3642 w 10000"/>
                <a:gd name="connsiteY50" fmla="*/ 8549 h 9162"/>
                <a:gd name="connsiteX51" fmla="*/ 3883 w 10000"/>
                <a:gd name="connsiteY51" fmla="*/ 8586 h 9162"/>
                <a:gd name="connsiteX52" fmla="*/ 4025 w 10000"/>
                <a:gd name="connsiteY52" fmla="*/ 8492 h 9162"/>
                <a:gd name="connsiteX53" fmla="*/ 4294 w 10000"/>
                <a:gd name="connsiteY53" fmla="*/ 8438 h 9162"/>
                <a:gd name="connsiteX54" fmla="*/ 4658 w 10000"/>
                <a:gd name="connsiteY54" fmla="*/ 8451 h 9162"/>
                <a:gd name="connsiteX55" fmla="*/ 4878 w 10000"/>
                <a:gd name="connsiteY55" fmla="*/ 8489 h 9162"/>
                <a:gd name="connsiteX56" fmla="*/ 5170 w 10000"/>
                <a:gd name="connsiteY56" fmla="*/ 8472 h 9162"/>
                <a:gd name="connsiteX57" fmla="*/ 5464 w 10000"/>
                <a:gd name="connsiteY57" fmla="*/ 8513 h 9162"/>
                <a:gd name="connsiteX58" fmla="*/ 5759 w 10000"/>
                <a:gd name="connsiteY58" fmla="*/ 8518 h 9162"/>
                <a:gd name="connsiteX59" fmla="*/ 6419 w 10000"/>
                <a:gd name="connsiteY59" fmla="*/ 7970 h 9162"/>
                <a:gd name="connsiteX60" fmla="*/ 6586 w 10000"/>
                <a:gd name="connsiteY60" fmla="*/ 7523 h 9162"/>
                <a:gd name="connsiteX61" fmla="*/ 6855 w 10000"/>
                <a:gd name="connsiteY61" fmla="*/ 7324 h 9162"/>
                <a:gd name="connsiteX62" fmla="*/ 6855 w 10000"/>
                <a:gd name="connsiteY62" fmla="*/ 7219 h 9162"/>
                <a:gd name="connsiteX63" fmla="*/ 6757 w 10000"/>
                <a:gd name="connsiteY63" fmla="*/ 7160 h 9162"/>
                <a:gd name="connsiteX64" fmla="*/ 6915 w 10000"/>
                <a:gd name="connsiteY64" fmla="*/ 7067 h 9162"/>
                <a:gd name="connsiteX65" fmla="*/ 6887 w 10000"/>
                <a:gd name="connsiteY65" fmla="*/ 6988 h 9162"/>
                <a:gd name="connsiteX66" fmla="*/ 6779 w 10000"/>
                <a:gd name="connsiteY66" fmla="*/ 6920 h 9162"/>
                <a:gd name="connsiteX67" fmla="*/ 6757 w 10000"/>
                <a:gd name="connsiteY67" fmla="*/ 6871 h 9162"/>
                <a:gd name="connsiteX68" fmla="*/ 6785 w 10000"/>
                <a:gd name="connsiteY68" fmla="*/ 6834 h 9162"/>
                <a:gd name="connsiteX69" fmla="*/ 6931 w 10000"/>
                <a:gd name="connsiteY69" fmla="*/ 6864 h 9162"/>
                <a:gd name="connsiteX70" fmla="*/ 7045 w 10000"/>
                <a:gd name="connsiteY70" fmla="*/ 6862 h 9162"/>
                <a:gd name="connsiteX71" fmla="*/ 6983 w 10000"/>
                <a:gd name="connsiteY71" fmla="*/ 6798 h 9162"/>
                <a:gd name="connsiteX72" fmla="*/ 7003 w 10000"/>
                <a:gd name="connsiteY72" fmla="*/ 6761 h 9162"/>
                <a:gd name="connsiteX73" fmla="*/ 7089 w 10000"/>
                <a:gd name="connsiteY73" fmla="*/ 6707 h 9162"/>
                <a:gd name="connsiteX74" fmla="*/ 7074 w 10000"/>
                <a:gd name="connsiteY74" fmla="*/ 6663 h 9162"/>
                <a:gd name="connsiteX75" fmla="*/ 7152 w 10000"/>
                <a:gd name="connsiteY75" fmla="*/ 6513 h 9162"/>
                <a:gd name="connsiteX76" fmla="*/ 7130 w 10000"/>
                <a:gd name="connsiteY76" fmla="*/ 6467 h 9162"/>
                <a:gd name="connsiteX77" fmla="*/ 6729 w 10000"/>
                <a:gd name="connsiteY77" fmla="*/ 6355 h 9162"/>
                <a:gd name="connsiteX78" fmla="*/ 6785 w 10000"/>
                <a:gd name="connsiteY78" fmla="*/ 6350 h 9162"/>
                <a:gd name="connsiteX79" fmla="*/ 6998 w 10000"/>
                <a:gd name="connsiteY79" fmla="*/ 6380 h 9162"/>
                <a:gd name="connsiteX80" fmla="*/ 7230 w 10000"/>
                <a:gd name="connsiteY80" fmla="*/ 6369 h 9162"/>
                <a:gd name="connsiteX81" fmla="*/ 7295 w 10000"/>
                <a:gd name="connsiteY81" fmla="*/ 6328 h 9162"/>
                <a:gd name="connsiteX82" fmla="*/ 7074 w 10000"/>
                <a:gd name="connsiteY82" fmla="*/ 6251 h 9162"/>
                <a:gd name="connsiteX83" fmla="*/ 6414 w 10000"/>
                <a:gd name="connsiteY83" fmla="*/ 6200 h 9162"/>
                <a:gd name="connsiteX84" fmla="*/ 6458 w 10000"/>
                <a:gd name="connsiteY84" fmla="*/ 6177 h 9162"/>
                <a:gd name="connsiteX85" fmla="*/ 6998 w 10000"/>
                <a:gd name="connsiteY85" fmla="*/ 6161 h 9162"/>
                <a:gd name="connsiteX86" fmla="*/ 7295 w 10000"/>
                <a:gd name="connsiteY86" fmla="*/ 6207 h 9162"/>
                <a:gd name="connsiteX87" fmla="*/ 7466 w 10000"/>
                <a:gd name="connsiteY87" fmla="*/ 6177 h 9162"/>
                <a:gd name="connsiteX88" fmla="*/ 7529 w 10000"/>
                <a:gd name="connsiteY88" fmla="*/ 6096 h 9162"/>
                <a:gd name="connsiteX89" fmla="*/ 7840 w 10000"/>
                <a:gd name="connsiteY89" fmla="*/ 6096 h 9162"/>
                <a:gd name="connsiteX90" fmla="*/ 8261 w 10000"/>
                <a:gd name="connsiteY90" fmla="*/ 5935 h 9162"/>
                <a:gd name="connsiteX91" fmla="*/ 8275 w 10000"/>
                <a:gd name="connsiteY91" fmla="*/ 5828 h 9162"/>
                <a:gd name="connsiteX92" fmla="*/ 8453 w 10000"/>
                <a:gd name="connsiteY92" fmla="*/ 5853 h 9162"/>
                <a:gd name="connsiteX93" fmla="*/ 8446 w 10000"/>
                <a:gd name="connsiteY93" fmla="*/ 5960 h 9162"/>
                <a:gd name="connsiteX94" fmla="*/ 8727 w 10000"/>
                <a:gd name="connsiteY94" fmla="*/ 5953 h 9162"/>
                <a:gd name="connsiteX95" fmla="*/ 8913 w 10000"/>
                <a:gd name="connsiteY95" fmla="*/ 5842 h 9162"/>
                <a:gd name="connsiteX96" fmla="*/ 9258 w 10000"/>
                <a:gd name="connsiteY96" fmla="*/ 5741 h 9162"/>
                <a:gd name="connsiteX97" fmla="*/ 9203 w 10000"/>
                <a:gd name="connsiteY97" fmla="*/ 5626 h 9162"/>
                <a:gd name="connsiteX98" fmla="*/ 9306 w 10000"/>
                <a:gd name="connsiteY98" fmla="*/ 5672 h 9162"/>
                <a:gd name="connsiteX99" fmla="*/ 9464 w 10000"/>
                <a:gd name="connsiteY99" fmla="*/ 5672 h 9162"/>
                <a:gd name="connsiteX100" fmla="*/ 9464 w 10000"/>
                <a:gd name="connsiteY100" fmla="*/ 5619 h 9162"/>
                <a:gd name="connsiteX101" fmla="*/ 9611 w 10000"/>
                <a:gd name="connsiteY101" fmla="*/ 5579 h 9162"/>
                <a:gd name="connsiteX102" fmla="*/ 9592 w 10000"/>
                <a:gd name="connsiteY102" fmla="*/ 5538 h 9162"/>
                <a:gd name="connsiteX103" fmla="*/ 8350 w 10000"/>
                <a:gd name="connsiteY103" fmla="*/ 5621 h 9162"/>
                <a:gd name="connsiteX104" fmla="*/ 8058 w 10000"/>
                <a:gd name="connsiteY104" fmla="*/ 5596 h 9162"/>
                <a:gd name="connsiteX105" fmla="*/ 7942 w 10000"/>
                <a:gd name="connsiteY105" fmla="*/ 5626 h 9162"/>
                <a:gd name="connsiteX106" fmla="*/ 7903 w 10000"/>
                <a:gd name="connsiteY106" fmla="*/ 5569 h 9162"/>
                <a:gd name="connsiteX107" fmla="*/ 7765 w 10000"/>
                <a:gd name="connsiteY107" fmla="*/ 5517 h 9162"/>
                <a:gd name="connsiteX108" fmla="*/ 7213 w 10000"/>
                <a:gd name="connsiteY108" fmla="*/ 5414 h 9162"/>
                <a:gd name="connsiteX109" fmla="*/ 6887 w 10000"/>
                <a:gd name="connsiteY109" fmla="*/ 5430 h 9162"/>
                <a:gd name="connsiteX110" fmla="*/ 6757 w 10000"/>
                <a:gd name="connsiteY110" fmla="*/ 5401 h 9162"/>
                <a:gd name="connsiteX111" fmla="*/ 6894 w 10000"/>
                <a:gd name="connsiteY111" fmla="*/ 5375 h 9162"/>
                <a:gd name="connsiteX112" fmla="*/ 6998 w 10000"/>
                <a:gd name="connsiteY112" fmla="*/ 5320 h 9162"/>
                <a:gd name="connsiteX113" fmla="*/ 7152 w 10000"/>
                <a:gd name="connsiteY113" fmla="*/ 5338 h 9162"/>
                <a:gd name="connsiteX114" fmla="*/ 7335 w 10000"/>
                <a:gd name="connsiteY114" fmla="*/ 5323 h 9162"/>
                <a:gd name="connsiteX115" fmla="*/ 7611 w 10000"/>
                <a:gd name="connsiteY115" fmla="*/ 5341 h 9162"/>
                <a:gd name="connsiteX116" fmla="*/ 7645 w 10000"/>
                <a:gd name="connsiteY116" fmla="*/ 5334 h 9162"/>
                <a:gd name="connsiteX117" fmla="*/ 7859 w 10000"/>
                <a:gd name="connsiteY117" fmla="*/ 5419 h 9162"/>
                <a:gd name="connsiteX118" fmla="*/ 8017 w 10000"/>
                <a:gd name="connsiteY118" fmla="*/ 5388 h 9162"/>
                <a:gd name="connsiteX119" fmla="*/ 8032 w 10000"/>
                <a:gd name="connsiteY119" fmla="*/ 5359 h 9162"/>
                <a:gd name="connsiteX120" fmla="*/ 8176 w 10000"/>
                <a:gd name="connsiteY120" fmla="*/ 5409 h 9162"/>
                <a:gd name="connsiteX121" fmla="*/ 8369 w 10000"/>
                <a:gd name="connsiteY121" fmla="*/ 5436 h 9162"/>
                <a:gd name="connsiteX122" fmla="*/ 8446 w 10000"/>
                <a:gd name="connsiteY122" fmla="*/ 5386 h 9162"/>
                <a:gd name="connsiteX123" fmla="*/ 8507 w 10000"/>
                <a:gd name="connsiteY123" fmla="*/ 5414 h 9162"/>
                <a:gd name="connsiteX124" fmla="*/ 8596 w 10000"/>
                <a:gd name="connsiteY124" fmla="*/ 5510 h 9162"/>
                <a:gd name="connsiteX125" fmla="*/ 8782 w 10000"/>
                <a:gd name="connsiteY125" fmla="*/ 5532 h 9162"/>
                <a:gd name="connsiteX126" fmla="*/ 9542 w 10000"/>
                <a:gd name="connsiteY126" fmla="*/ 5390 h 9162"/>
                <a:gd name="connsiteX127" fmla="*/ 9914 w 10000"/>
                <a:gd name="connsiteY127" fmla="*/ 5193 h 9162"/>
                <a:gd name="connsiteX128" fmla="*/ 10000 w 10000"/>
                <a:gd name="connsiteY128" fmla="*/ 5049 h 9162"/>
                <a:gd name="connsiteX129" fmla="*/ 9866 w 10000"/>
                <a:gd name="connsiteY129" fmla="*/ 4919 h 9162"/>
                <a:gd name="connsiteX130" fmla="*/ 9582 w 10000"/>
                <a:gd name="connsiteY130" fmla="*/ 4841 h 9162"/>
                <a:gd name="connsiteX131" fmla="*/ 9382 w 10000"/>
                <a:gd name="connsiteY131" fmla="*/ 4714 h 9162"/>
                <a:gd name="connsiteX132" fmla="*/ 9569 w 10000"/>
                <a:gd name="connsiteY132" fmla="*/ 4709 h 9162"/>
                <a:gd name="connsiteX133" fmla="*/ 9555 w 10000"/>
                <a:gd name="connsiteY133" fmla="*/ 4679 h 9162"/>
                <a:gd name="connsiteX134" fmla="*/ 9068 w 10000"/>
                <a:gd name="connsiteY134" fmla="*/ 4589 h 9162"/>
                <a:gd name="connsiteX135" fmla="*/ 9047 w 10000"/>
                <a:gd name="connsiteY135" fmla="*/ 4507 h 9162"/>
                <a:gd name="connsiteX136" fmla="*/ 8953 w 10000"/>
                <a:gd name="connsiteY136" fmla="*/ 4422 h 9162"/>
                <a:gd name="connsiteX137" fmla="*/ 8569 w 10000"/>
                <a:gd name="connsiteY137" fmla="*/ 4437 h 9162"/>
                <a:gd name="connsiteX138" fmla="*/ 8431 w 10000"/>
                <a:gd name="connsiteY138" fmla="*/ 4346 h 9162"/>
                <a:gd name="connsiteX139" fmla="*/ 8350 w 10000"/>
                <a:gd name="connsiteY139" fmla="*/ 4341 h 9162"/>
                <a:gd name="connsiteX140" fmla="*/ 8350 w 10000"/>
                <a:gd name="connsiteY140" fmla="*/ 4379 h 9162"/>
                <a:gd name="connsiteX141" fmla="*/ 8176 w 10000"/>
                <a:gd name="connsiteY141" fmla="*/ 4532 h 9162"/>
                <a:gd name="connsiteX142" fmla="*/ 7990 w 10000"/>
                <a:gd name="connsiteY142" fmla="*/ 4623 h 9162"/>
                <a:gd name="connsiteX143" fmla="*/ 7401 w 10000"/>
                <a:gd name="connsiteY143" fmla="*/ 4777 h 9162"/>
                <a:gd name="connsiteX144" fmla="*/ 7198 w 10000"/>
                <a:gd name="connsiteY144" fmla="*/ 4772 h 9162"/>
                <a:gd name="connsiteX145" fmla="*/ 6915 w 10000"/>
                <a:gd name="connsiteY145" fmla="*/ 4795 h 9162"/>
                <a:gd name="connsiteX146" fmla="*/ 6757 w 10000"/>
                <a:gd name="connsiteY146" fmla="*/ 4772 h 9162"/>
                <a:gd name="connsiteX147" fmla="*/ 6965 w 10000"/>
                <a:gd name="connsiteY147" fmla="*/ 4729 h 9162"/>
                <a:gd name="connsiteX148" fmla="*/ 7235 w 10000"/>
                <a:gd name="connsiteY148" fmla="*/ 4709 h 9162"/>
                <a:gd name="connsiteX149" fmla="*/ 7455 w 10000"/>
                <a:gd name="connsiteY149" fmla="*/ 4638 h 9162"/>
                <a:gd name="connsiteX150" fmla="*/ 7674 w 10000"/>
                <a:gd name="connsiteY150" fmla="*/ 4604 h 9162"/>
                <a:gd name="connsiteX151" fmla="*/ 8082 w 10000"/>
                <a:gd name="connsiteY151" fmla="*/ 4478 h 9162"/>
                <a:gd name="connsiteX152" fmla="*/ 8157 w 10000"/>
                <a:gd name="connsiteY152" fmla="*/ 4397 h 9162"/>
                <a:gd name="connsiteX153" fmla="*/ 8165 w 10000"/>
                <a:gd name="connsiteY153" fmla="*/ 4290 h 9162"/>
                <a:gd name="connsiteX154" fmla="*/ 7978 w 10000"/>
                <a:gd name="connsiteY154" fmla="*/ 4272 h 9162"/>
                <a:gd name="connsiteX155" fmla="*/ 8058 w 10000"/>
                <a:gd name="connsiteY155" fmla="*/ 4207 h 9162"/>
                <a:gd name="connsiteX156" fmla="*/ 8087 w 10000"/>
                <a:gd name="connsiteY156" fmla="*/ 4126 h 9162"/>
                <a:gd name="connsiteX157" fmla="*/ 8007 w 10000"/>
                <a:gd name="connsiteY157" fmla="*/ 4048 h 9162"/>
                <a:gd name="connsiteX158" fmla="*/ 5629 w 10000"/>
                <a:gd name="connsiteY158" fmla="*/ 0 h 9162"/>
                <a:gd name="connsiteX159" fmla="*/ 4802 w 10000"/>
                <a:gd name="connsiteY159" fmla="*/ 474 h 9162"/>
                <a:gd name="connsiteX160" fmla="*/ 4809 w 10000"/>
                <a:gd name="connsiteY160" fmla="*/ 549 h 9162"/>
                <a:gd name="connsiteX161" fmla="*/ 5176 w 10000"/>
                <a:gd name="connsiteY161" fmla="*/ 761 h 9162"/>
                <a:gd name="connsiteX162" fmla="*/ 5057 w 10000"/>
                <a:gd name="connsiteY162" fmla="*/ 991 h 9162"/>
                <a:gd name="connsiteX163" fmla="*/ 4842 w 10000"/>
                <a:gd name="connsiteY163" fmla="*/ 1075 h 9162"/>
                <a:gd name="connsiteX164" fmla="*/ 4200 w 10000"/>
                <a:gd name="connsiteY164" fmla="*/ 1020 h 9162"/>
                <a:gd name="connsiteX165" fmla="*/ 3760 w 10000"/>
                <a:gd name="connsiteY165" fmla="*/ 1051 h 9162"/>
                <a:gd name="connsiteX166" fmla="*/ 3405 w 10000"/>
                <a:gd name="connsiteY166" fmla="*/ 1119 h 9162"/>
                <a:gd name="connsiteX167" fmla="*/ 2832 w 10000"/>
                <a:gd name="connsiteY167" fmla="*/ 1331 h 9162"/>
                <a:gd name="connsiteX168" fmla="*/ 2528 w 10000"/>
                <a:gd name="connsiteY168" fmla="*/ 1587 h 9162"/>
                <a:gd name="connsiteX169" fmla="*/ 2555 w 10000"/>
                <a:gd name="connsiteY169" fmla="*/ 1730 h 9162"/>
                <a:gd name="connsiteX170" fmla="*/ 2661 w 10000"/>
                <a:gd name="connsiteY170" fmla="*/ 1840 h 9162"/>
                <a:gd name="connsiteX171" fmla="*/ 2741 w 10000"/>
                <a:gd name="connsiteY171" fmla="*/ 1884 h 9162"/>
                <a:gd name="connsiteX172" fmla="*/ 2592 w 10000"/>
                <a:gd name="connsiteY172" fmla="*/ 1955 h 9162"/>
                <a:gd name="connsiteX173" fmla="*/ 2267 w 10000"/>
                <a:gd name="connsiteY173" fmla="*/ 2437 h 9162"/>
                <a:gd name="connsiteX174" fmla="*/ 2330 w 10000"/>
                <a:gd name="connsiteY174" fmla="*/ 2465 h 9162"/>
                <a:gd name="connsiteX175" fmla="*/ 2375 w 10000"/>
                <a:gd name="connsiteY175" fmla="*/ 2587 h 9162"/>
                <a:gd name="connsiteX176" fmla="*/ 2226 w 10000"/>
                <a:gd name="connsiteY176" fmla="*/ 3095 h 9162"/>
                <a:gd name="connsiteX177" fmla="*/ 2375 w 10000"/>
                <a:gd name="connsiteY177" fmla="*/ 3224 h 9162"/>
                <a:gd name="connsiteX178" fmla="*/ 2791 w 10000"/>
                <a:gd name="connsiteY178" fmla="*/ 3366 h 9162"/>
                <a:gd name="connsiteX179" fmla="*/ 2808 w 10000"/>
                <a:gd name="connsiteY179" fmla="*/ 3539 h 9162"/>
                <a:gd name="connsiteX180" fmla="*/ 2632 w 10000"/>
                <a:gd name="connsiteY180" fmla="*/ 3683 h 9162"/>
                <a:gd name="connsiteX181" fmla="*/ 2375 w 10000"/>
                <a:gd name="connsiteY181" fmla="*/ 3770 h 9162"/>
                <a:gd name="connsiteX182" fmla="*/ 2039 w 10000"/>
                <a:gd name="connsiteY182" fmla="*/ 3805 h 9162"/>
                <a:gd name="connsiteX183" fmla="*/ 1950 w 10000"/>
                <a:gd name="connsiteY183" fmla="*/ 3856 h 9162"/>
                <a:gd name="connsiteX184" fmla="*/ 2148 w 10000"/>
                <a:gd name="connsiteY184" fmla="*/ 3975 h 9162"/>
                <a:gd name="connsiteX185" fmla="*/ 2261 w 10000"/>
                <a:gd name="connsiteY185" fmla="*/ 4258 h 9162"/>
                <a:gd name="connsiteX186" fmla="*/ 2005 w 10000"/>
                <a:gd name="connsiteY186" fmla="*/ 4500 h 9162"/>
                <a:gd name="connsiteX187" fmla="*/ 2094 w 10000"/>
                <a:gd name="connsiteY187" fmla="*/ 4575 h 9162"/>
                <a:gd name="connsiteX188" fmla="*/ 2012 w 10000"/>
                <a:gd name="connsiteY188" fmla="*/ 4702 h 9162"/>
                <a:gd name="connsiteX189" fmla="*/ 1850 w 10000"/>
                <a:gd name="connsiteY189" fmla="*/ 4789 h 9162"/>
                <a:gd name="connsiteX190" fmla="*/ 1199 w 10000"/>
                <a:gd name="connsiteY190" fmla="*/ 4856 h 9162"/>
                <a:gd name="connsiteX191" fmla="*/ 1158 w 10000"/>
                <a:gd name="connsiteY191" fmla="*/ 4973 h 9162"/>
                <a:gd name="connsiteX192" fmla="*/ 808 w 10000"/>
                <a:gd name="connsiteY192" fmla="*/ 5148 h 9162"/>
                <a:gd name="connsiteX193" fmla="*/ 854 w 10000"/>
                <a:gd name="connsiteY193" fmla="*/ 5399 h 9162"/>
                <a:gd name="connsiteX194" fmla="*/ 560 w 10000"/>
                <a:gd name="connsiteY194" fmla="*/ 5721 h 9162"/>
                <a:gd name="connsiteX195" fmla="*/ 358 w 10000"/>
                <a:gd name="connsiteY195" fmla="*/ 5758 h 9162"/>
                <a:gd name="connsiteX196" fmla="*/ 275 w 10000"/>
                <a:gd name="connsiteY196" fmla="*/ 5682 h 9162"/>
                <a:gd name="connsiteX197" fmla="*/ 174 w 10000"/>
                <a:gd name="connsiteY197" fmla="*/ 5798 h 9162"/>
                <a:gd name="connsiteX198" fmla="*/ 239 w 10000"/>
                <a:gd name="connsiteY198" fmla="*/ 5598 h 9162"/>
                <a:gd name="connsiteX199" fmla="*/ 197 w 10000"/>
                <a:gd name="connsiteY199" fmla="*/ 5560 h 9162"/>
                <a:gd name="connsiteX0" fmla="*/ 197 w 10000"/>
                <a:gd name="connsiteY0" fmla="*/ 5552 h 9483"/>
                <a:gd name="connsiteX1" fmla="*/ 0 w 10000"/>
                <a:gd name="connsiteY1" fmla="*/ 5665 h 9483"/>
                <a:gd name="connsiteX2" fmla="*/ 0 w 10000"/>
                <a:gd name="connsiteY2" fmla="*/ 6225 h 9483"/>
                <a:gd name="connsiteX3" fmla="*/ 109 w 10000"/>
                <a:gd name="connsiteY3" fmla="*/ 6240 h 9483"/>
                <a:gd name="connsiteX4" fmla="*/ 134 w 10000"/>
                <a:gd name="connsiteY4" fmla="*/ 6283 h 9483"/>
                <a:gd name="connsiteX5" fmla="*/ 130 w 10000"/>
                <a:gd name="connsiteY5" fmla="*/ 6359 h 9483"/>
                <a:gd name="connsiteX6" fmla="*/ 89 w 10000"/>
                <a:gd name="connsiteY6" fmla="*/ 6393 h 9483"/>
                <a:gd name="connsiteX7" fmla="*/ 255 w 10000"/>
                <a:gd name="connsiteY7" fmla="*/ 6328 h 9483"/>
                <a:gd name="connsiteX8" fmla="*/ 325 w 10000"/>
                <a:gd name="connsiteY8" fmla="*/ 6264 h 9483"/>
                <a:gd name="connsiteX9" fmla="*/ 413 w 10000"/>
                <a:gd name="connsiteY9" fmla="*/ 6308 h 9483"/>
                <a:gd name="connsiteX10" fmla="*/ 316 w 10000"/>
                <a:gd name="connsiteY10" fmla="*/ 6400 h 9483"/>
                <a:gd name="connsiteX11" fmla="*/ 419 w 10000"/>
                <a:gd name="connsiteY11" fmla="*/ 6402 h 9483"/>
                <a:gd name="connsiteX12" fmla="*/ 469 w 10000"/>
                <a:gd name="connsiteY12" fmla="*/ 6425 h 9483"/>
                <a:gd name="connsiteX13" fmla="*/ 337 w 10000"/>
                <a:gd name="connsiteY13" fmla="*/ 6454 h 9483"/>
                <a:gd name="connsiteX14" fmla="*/ 130 w 10000"/>
                <a:gd name="connsiteY14" fmla="*/ 6548 h 9483"/>
                <a:gd name="connsiteX15" fmla="*/ 497 w 10000"/>
                <a:gd name="connsiteY15" fmla="*/ 6622 h 9483"/>
                <a:gd name="connsiteX16" fmla="*/ 545 w 10000"/>
                <a:gd name="connsiteY16" fmla="*/ 6727 h 9483"/>
                <a:gd name="connsiteX17" fmla="*/ 419 w 10000"/>
                <a:gd name="connsiteY17" fmla="*/ 6881 h 9483"/>
                <a:gd name="connsiteX18" fmla="*/ 688 w 10000"/>
                <a:gd name="connsiteY18" fmla="*/ 6871 h 9483"/>
                <a:gd name="connsiteX19" fmla="*/ 709 w 10000"/>
                <a:gd name="connsiteY19" fmla="*/ 6988 h 9483"/>
                <a:gd name="connsiteX20" fmla="*/ 530 w 10000"/>
                <a:gd name="connsiteY20" fmla="*/ 7068 h 9483"/>
                <a:gd name="connsiteX21" fmla="*/ 560 w 10000"/>
                <a:gd name="connsiteY21" fmla="*/ 7221 h 9483"/>
                <a:gd name="connsiteX22" fmla="*/ 489 w 10000"/>
                <a:gd name="connsiteY22" fmla="*/ 7340 h 9483"/>
                <a:gd name="connsiteX23" fmla="*/ 703 w 10000"/>
                <a:gd name="connsiteY23" fmla="*/ 7351 h 9483"/>
                <a:gd name="connsiteX24" fmla="*/ 909 w 10000"/>
                <a:gd name="connsiteY24" fmla="*/ 7808 h 9483"/>
                <a:gd name="connsiteX25" fmla="*/ 1150 w 10000"/>
                <a:gd name="connsiteY25" fmla="*/ 7923 h 9483"/>
                <a:gd name="connsiteX26" fmla="*/ 1255 w 10000"/>
                <a:gd name="connsiteY26" fmla="*/ 8047 h 9483"/>
                <a:gd name="connsiteX27" fmla="*/ 1514 w 10000"/>
                <a:gd name="connsiteY27" fmla="*/ 8136 h 9483"/>
                <a:gd name="connsiteX28" fmla="*/ 1684 w 10000"/>
                <a:gd name="connsiteY28" fmla="*/ 8252 h 9483"/>
                <a:gd name="connsiteX29" fmla="*/ 1661 w 10000"/>
                <a:gd name="connsiteY29" fmla="*/ 8334 h 9483"/>
                <a:gd name="connsiteX30" fmla="*/ 1496 w 10000"/>
                <a:gd name="connsiteY30" fmla="*/ 8364 h 9483"/>
                <a:gd name="connsiteX31" fmla="*/ 1316 w 10000"/>
                <a:gd name="connsiteY31" fmla="*/ 8345 h 9483"/>
                <a:gd name="connsiteX32" fmla="*/ 1260 w 10000"/>
                <a:gd name="connsiteY32" fmla="*/ 8378 h 9483"/>
                <a:gd name="connsiteX33" fmla="*/ 1397 w 10000"/>
                <a:gd name="connsiteY33" fmla="*/ 8556 h 9483"/>
                <a:gd name="connsiteX34" fmla="*/ 1205 w 10000"/>
                <a:gd name="connsiteY34" fmla="*/ 8541 h 9483"/>
                <a:gd name="connsiteX35" fmla="*/ 1040 w 10000"/>
                <a:gd name="connsiteY35" fmla="*/ 8498 h 9483"/>
                <a:gd name="connsiteX36" fmla="*/ 1012 w 10000"/>
                <a:gd name="connsiteY36" fmla="*/ 8564 h 9483"/>
                <a:gd name="connsiteX37" fmla="*/ 1557 w 10000"/>
                <a:gd name="connsiteY37" fmla="*/ 9173 h 9483"/>
                <a:gd name="connsiteX38" fmla="*/ 1469 w 10000"/>
                <a:gd name="connsiteY38" fmla="*/ 9230 h 9483"/>
                <a:gd name="connsiteX39" fmla="*/ 1408 w 10000"/>
                <a:gd name="connsiteY39" fmla="*/ 9347 h 9483"/>
                <a:gd name="connsiteX40" fmla="*/ 1329 w 10000"/>
                <a:gd name="connsiteY40" fmla="*/ 9356 h 9483"/>
                <a:gd name="connsiteX41" fmla="*/ 1281 w 10000"/>
                <a:gd name="connsiteY41" fmla="*/ 9407 h 9483"/>
                <a:gd name="connsiteX42" fmla="*/ 1609 w 10000"/>
                <a:gd name="connsiteY42" fmla="*/ 9412 h 9483"/>
                <a:gd name="connsiteX43" fmla="*/ 1900 w 10000"/>
                <a:gd name="connsiteY43" fmla="*/ 9463 h 9483"/>
                <a:gd name="connsiteX44" fmla="*/ 2383 w 10000"/>
                <a:gd name="connsiteY44" fmla="*/ 9409 h 9483"/>
                <a:gd name="connsiteX45" fmla="*/ 2816 w 10000"/>
                <a:gd name="connsiteY45" fmla="*/ 9419 h 9483"/>
                <a:gd name="connsiteX46" fmla="*/ 3072 w 10000"/>
                <a:gd name="connsiteY46" fmla="*/ 9483 h 9483"/>
                <a:gd name="connsiteX47" fmla="*/ 3212 w 10000"/>
                <a:gd name="connsiteY47" fmla="*/ 9440 h 9483"/>
                <a:gd name="connsiteX48" fmla="*/ 3348 w 10000"/>
                <a:gd name="connsiteY48" fmla="*/ 9301 h 9483"/>
                <a:gd name="connsiteX49" fmla="*/ 3313 w 10000"/>
                <a:gd name="connsiteY49" fmla="*/ 9070 h 9483"/>
                <a:gd name="connsiteX50" fmla="*/ 3642 w 10000"/>
                <a:gd name="connsiteY50" fmla="*/ 8814 h 9483"/>
                <a:gd name="connsiteX51" fmla="*/ 3883 w 10000"/>
                <a:gd name="connsiteY51" fmla="*/ 8854 h 9483"/>
                <a:gd name="connsiteX52" fmla="*/ 4025 w 10000"/>
                <a:gd name="connsiteY52" fmla="*/ 8752 h 9483"/>
                <a:gd name="connsiteX53" fmla="*/ 4294 w 10000"/>
                <a:gd name="connsiteY53" fmla="*/ 8693 h 9483"/>
                <a:gd name="connsiteX54" fmla="*/ 4658 w 10000"/>
                <a:gd name="connsiteY54" fmla="*/ 8707 h 9483"/>
                <a:gd name="connsiteX55" fmla="*/ 4878 w 10000"/>
                <a:gd name="connsiteY55" fmla="*/ 8748 h 9483"/>
                <a:gd name="connsiteX56" fmla="*/ 5170 w 10000"/>
                <a:gd name="connsiteY56" fmla="*/ 8730 h 9483"/>
                <a:gd name="connsiteX57" fmla="*/ 5464 w 10000"/>
                <a:gd name="connsiteY57" fmla="*/ 8775 h 9483"/>
                <a:gd name="connsiteX58" fmla="*/ 5759 w 10000"/>
                <a:gd name="connsiteY58" fmla="*/ 8780 h 9483"/>
                <a:gd name="connsiteX59" fmla="*/ 6419 w 10000"/>
                <a:gd name="connsiteY59" fmla="*/ 8182 h 9483"/>
                <a:gd name="connsiteX60" fmla="*/ 6586 w 10000"/>
                <a:gd name="connsiteY60" fmla="*/ 7694 h 9483"/>
                <a:gd name="connsiteX61" fmla="*/ 6855 w 10000"/>
                <a:gd name="connsiteY61" fmla="*/ 7477 h 9483"/>
                <a:gd name="connsiteX62" fmla="*/ 6855 w 10000"/>
                <a:gd name="connsiteY62" fmla="*/ 7362 h 9483"/>
                <a:gd name="connsiteX63" fmla="*/ 6757 w 10000"/>
                <a:gd name="connsiteY63" fmla="*/ 7298 h 9483"/>
                <a:gd name="connsiteX64" fmla="*/ 6915 w 10000"/>
                <a:gd name="connsiteY64" fmla="*/ 7196 h 9483"/>
                <a:gd name="connsiteX65" fmla="*/ 6887 w 10000"/>
                <a:gd name="connsiteY65" fmla="*/ 7110 h 9483"/>
                <a:gd name="connsiteX66" fmla="*/ 6779 w 10000"/>
                <a:gd name="connsiteY66" fmla="*/ 7036 h 9483"/>
                <a:gd name="connsiteX67" fmla="*/ 6757 w 10000"/>
                <a:gd name="connsiteY67" fmla="*/ 6982 h 9483"/>
                <a:gd name="connsiteX68" fmla="*/ 6785 w 10000"/>
                <a:gd name="connsiteY68" fmla="*/ 6942 h 9483"/>
                <a:gd name="connsiteX69" fmla="*/ 6931 w 10000"/>
                <a:gd name="connsiteY69" fmla="*/ 6975 h 9483"/>
                <a:gd name="connsiteX70" fmla="*/ 7045 w 10000"/>
                <a:gd name="connsiteY70" fmla="*/ 6973 h 9483"/>
                <a:gd name="connsiteX71" fmla="*/ 6983 w 10000"/>
                <a:gd name="connsiteY71" fmla="*/ 6903 h 9483"/>
                <a:gd name="connsiteX72" fmla="*/ 7003 w 10000"/>
                <a:gd name="connsiteY72" fmla="*/ 6862 h 9483"/>
                <a:gd name="connsiteX73" fmla="*/ 7089 w 10000"/>
                <a:gd name="connsiteY73" fmla="*/ 6803 h 9483"/>
                <a:gd name="connsiteX74" fmla="*/ 7074 w 10000"/>
                <a:gd name="connsiteY74" fmla="*/ 6755 h 9483"/>
                <a:gd name="connsiteX75" fmla="*/ 7152 w 10000"/>
                <a:gd name="connsiteY75" fmla="*/ 6592 h 9483"/>
                <a:gd name="connsiteX76" fmla="*/ 7130 w 10000"/>
                <a:gd name="connsiteY76" fmla="*/ 6542 h 9483"/>
                <a:gd name="connsiteX77" fmla="*/ 6729 w 10000"/>
                <a:gd name="connsiteY77" fmla="*/ 6419 h 9483"/>
                <a:gd name="connsiteX78" fmla="*/ 6785 w 10000"/>
                <a:gd name="connsiteY78" fmla="*/ 6414 h 9483"/>
                <a:gd name="connsiteX79" fmla="*/ 6998 w 10000"/>
                <a:gd name="connsiteY79" fmla="*/ 6447 h 9483"/>
                <a:gd name="connsiteX80" fmla="*/ 7230 w 10000"/>
                <a:gd name="connsiteY80" fmla="*/ 6435 h 9483"/>
                <a:gd name="connsiteX81" fmla="*/ 7295 w 10000"/>
                <a:gd name="connsiteY81" fmla="*/ 6390 h 9483"/>
                <a:gd name="connsiteX82" fmla="*/ 7074 w 10000"/>
                <a:gd name="connsiteY82" fmla="*/ 6306 h 9483"/>
                <a:gd name="connsiteX83" fmla="*/ 6414 w 10000"/>
                <a:gd name="connsiteY83" fmla="*/ 6250 h 9483"/>
                <a:gd name="connsiteX84" fmla="*/ 6458 w 10000"/>
                <a:gd name="connsiteY84" fmla="*/ 6225 h 9483"/>
                <a:gd name="connsiteX85" fmla="*/ 6998 w 10000"/>
                <a:gd name="connsiteY85" fmla="*/ 6208 h 9483"/>
                <a:gd name="connsiteX86" fmla="*/ 7295 w 10000"/>
                <a:gd name="connsiteY86" fmla="*/ 6258 h 9483"/>
                <a:gd name="connsiteX87" fmla="*/ 7466 w 10000"/>
                <a:gd name="connsiteY87" fmla="*/ 6225 h 9483"/>
                <a:gd name="connsiteX88" fmla="*/ 7529 w 10000"/>
                <a:gd name="connsiteY88" fmla="*/ 6137 h 9483"/>
                <a:gd name="connsiteX89" fmla="*/ 7840 w 10000"/>
                <a:gd name="connsiteY89" fmla="*/ 6137 h 9483"/>
                <a:gd name="connsiteX90" fmla="*/ 8261 w 10000"/>
                <a:gd name="connsiteY90" fmla="*/ 5961 h 9483"/>
                <a:gd name="connsiteX91" fmla="*/ 8275 w 10000"/>
                <a:gd name="connsiteY91" fmla="*/ 5844 h 9483"/>
                <a:gd name="connsiteX92" fmla="*/ 8453 w 10000"/>
                <a:gd name="connsiteY92" fmla="*/ 5871 h 9483"/>
                <a:gd name="connsiteX93" fmla="*/ 8446 w 10000"/>
                <a:gd name="connsiteY93" fmla="*/ 5988 h 9483"/>
                <a:gd name="connsiteX94" fmla="*/ 8727 w 10000"/>
                <a:gd name="connsiteY94" fmla="*/ 5980 h 9483"/>
                <a:gd name="connsiteX95" fmla="*/ 8913 w 10000"/>
                <a:gd name="connsiteY95" fmla="*/ 5859 h 9483"/>
                <a:gd name="connsiteX96" fmla="*/ 9258 w 10000"/>
                <a:gd name="connsiteY96" fmla="*/ 5749 h 9483"/>
                <a:gd name="connsiteX97" fmla="*/ 9203 w 10000"/>
                <a:gd name="connsiteY97" fmla="*/ 5624 h 9483"/>
                <a:gd name="connsiteX98" fmla="*/ 9306 w 10000"/>
                <a:gd name="connsiteY98" fmla="*/ 5674 h 9483"/>
                <a:gd name="connsiteX99" fmla="*/ 9464 w 10000"/>
                <a:gd name="connsiteY99" fmla="*/ 5674 h 9483"/>
                <a:gd name="connsiteX100" fmla="*/ 9464 w 10000"/>
                <a:gd name="connsiteY100" fmla="*/ 5616 h 9483"/>
                <a:gd name="connsiteX101" fmla="*/ 9611 w 10000"/>
                <a:gd name="connsiteY101" fmla="*/ 5572 h 9483"/>
                <a:gd name="connsiteX102" fmla="*/ 9592 w 10000"/>
                <a:gd name="connsiteY102" fmla="*/ 5528 h 9483"/>
                <a:gd name="connsiteX103" fmla="*/ 8350 w 10000"/>
                <a:gd name="connsiteY103" fmla="*/ 5618 h 9483"/>
                <a:gd name="connsiteX104" fmla="*/ 8058 w 10000"/>
                <a:gd name="connsiteY104" fmla="*/ 5591 h 9483"/>
                <a:gd name="connsiteX105" fmla="*/ 7942 w 10000"/>
                <a:gd name="connsiteY105" fmla="*/ 5624 h 9483"/>
                <a:gd name="connsiteX106" fmla="*/ 7903 w 10000"/>
                <a:gd name="connsiteY106" fmla="*/ 5561 h 9483"/>
                <a:gd name="connsiteX107" fmla="*/ 7765 w 10000"/>
                <a:gd name="connsiteY107" fmla="*/ 5505 h 9483"/>
                <a:gd name="connsiteX108" fmla="*/ 7213 w 10000"/>
                <a:gd name="connsiteY108" fmla="*/ 5392 h 9483"/>
                <a:gd name="connsiteX109" fmla="*/ 6887 w 10000"/>
                <a:gd name="connsiteY109" fmla="*/ 5410 h 9483"/>
                <a:gd name="connsiteX110" fmla="*/ 6757 w 10000"/>
                <a:gd name="connsiteY110" fmla="*/ 5378 h 9483"/>
                <a:gd name="connsiteX111" fmla="*/ 6894 w 10000"/>
                <a:gd name="connsiteY111" fmla="*/ 5350 h 9483"/>
                <a:gd name="connsiteX112" fmla="*/ 6998 w 10000"/>
                <a:gd name="connsiteY112" fmla="*/ 5290 h 9483"/>
                <a:gd name="connsiteX113" fmla="*/ 7152 w 10000"/>
                <a:gd name="connsiteY113" fmla="*/ 5309 h 9483"/>
                <a:gd name="connsiteX114" fmla="*/ 7335 w 10000"/>
                <a:gd name="connsiteY114" fmla="*/ 5293 h 9483"/>
                <a:gd name="connsiteX115" fmla="*/ 7611 w 10000"/>
                <a:gd name="connsiteY115" fmla="*/ 5313 h 9483"/>
                <a:gd name="connsiteX116" fmla="*/ 7645 w 10000"/>
                <a:gd name="connsiteY116" fmla="*/ 5305 h 9483"/>
                <a:gd name="connsiteX117" fmla="*/ 7859 w 10000"/>
                <a:gd name="connsiteY117" fmla="*/ 5398 h 9483"/>
                <a:gd name="connsiteX118" fmla="*/ 8017 w 10000"/>
                <a:gd name="connsiteY118" fmla="*/ 5364 h 9483"/>
                <a:gd name="connsiteX119" fmla="*/ 8032 w 10000"/>
                <a:gd name="connsiteY119" fmla="*/ 5332 h 9483"/>
                <a:gd name="connsiteX120" fmla="*/ 8176 w 10000"/>
                <a:gd name="connsiteY120" fmla="*/ 5387 h 9483"/>
                <a:gd name="connsiteX121" fmla="*/ 8369 w 10000"/>
                <a:gd name="connsiteY121" fmla="*/ 5416 h 9483"/>
                <a:gd name="connsiteX122" fmla="*/ 8446 w 10000"/>
                <a:gd name="connsiteY122" fmla="*/ 5362 h 9483"/>
                <a:gd name="connsiteX123" fmla="*/ 8507 w 10000"/>
                <a:gd name="connsiteY123" fmla="*/ 5392 h 9483"/>
                <a:gd name="connsiteX124" fmla="*/ 8596 w 10000"/>
                <a:gd name="connsiteY124" fmla="*/ 5497 h 9483"/>
                <a:gd name="connsiteX125" fmla="*/ 8782 w 10000"/>
                <a:gd name="connsiteY125" fmla="*/ 5521 h 9483"/>
                <a:gd name="connsiteX126" fmla="*/ 9542 w 10000"/>
                <a:gd name="connsiteY126" fmla="*/ 5366 h 9483"/>
                <a:gd name="connsiteX127" fmla="*/ 9914 w 10000"/>
                <a:gd name="connsiteY127" fmla="*/ 5151 h 9483"/>
                <a:gd name="connsiteX128" fmla="*/ 10000 w 10000"/>
                <a:gd name="connsiteY128" fmla="*/ 4994 h 9483"/>
                <a:gd name="connsiteX129" fmla="*/ 9866 w 10000"/>
                <a:gd name="connsiteY129" fmla="*/ 4852 h 9483"/>
                <a:gd name="connsiteX130" fmla="*/ 9582 w 10000"/>
                <a:gd name="connsiteY130" fmla="*/ 4767 h 9483"/>
                <a:gd name="connsiteX131" fmla="*/ 9382 w 10000"/>
                <a:gd name="connsiteY131" fmla="*/ 4628 h 9483"/>
                <a:gd name="connsiteX132" fmla="*/ 9569 w 10000"/>
                <a:gd name="connsiteY132" fmla="*/ 4623 h 9483"/>
                <a:gd name="connsiteX133" fmla="*/ 9555 w 10000"/>
                <a:gd name="connsiteY133" fmla="*/ 4590 h 9483"/>
                <a:gd name="connsiteX134" fmla="*/ 9068 w 10000"/>
                <a:gd name="connsiteY134" fmla="*/ 4492 h 9483"/>
                <a:gd name="connsiteX135" fmla="*/ 9047 w 10000"/>
                <a:gd name="connsiteY135" fmla="*/ 4402 h 9483"/>
                <a:gd name="connsiteX136" fmla="*/ 8953 w 10000"/>
                <a:gd name="connsiteY136" fmla="*/ 4309 h 9483"/>
                <a:gd name="connsiteX137" fmla="*/ 8569 w 10000"/>
                <a:gd name="connsiteY137" fmla="*/ 4326 h 9483"/>
                <a:gd name="connsiteX138" fmla="*/ 8431 w 10000"/>
                <a:gd name="connsiteY138" fmla="*/ 4227 h 9483"/>
                <a:gd name="connsiteX139" fmla="*/ 8350 w 10000"/>
                <a:gd name="connsiteY139" fmla="*/ 4221 h 9483"/>
                <a:gd name="connsiteX140" fmla="*/ 8350 w 10000"/>
                <a:gd name="connsiteY140" fmla="*/ 4263 h 9483"/>
                <a:gd name="connsiteX141" fmla="*/ 8176 w 10000"/>
                <a:gd name="connsiteY141" fmla="*/ 4430 h 9483"/>
                <a:gd name="connsiteX142" fmla="*/ 7990 w 10000"/>
                <a:gd name="connsiteY142" fmla="*/ 4529 h 9483"/>
                <a:gd name="connsiteX143" fmla="*/ 7401 w 10000"/>
                <a:gd name="connsiteY143" fmla="*/ 4697 h 9483"/>
                <a:gd name="connsiteX144" fmla="*/ 7198 w 10000"/>
                <a:gd name="connsiteY144" fmla="*/ 4691 h 9483"/>
                <a:gd name="connsiteX145" fmla="*/ 6915 w 10000"/>
                <a:gd name="connsiteY145" fmla="*/ 4717 h 9483"/>
                <a:gd name="connsiteX146" fmla="*/ 6757 w 10000"/>
                <a:gd name="connsiteY146" fmla="*/ 4691 h 9483"/>
                <a:gd name="connsiteX147" fmla="*/ 6965 w 10000"/>
                <a:gd name="connsiteY147" fmla="*/ 4645 h 9483"/>
                <a:gd name="connsiteX148" fmla="*/ 7235 w 10000"/>
                <a:gd name="connsiteY148" fmla="*/ 4623 h 9483"/>
                <a:gd name="connsiteX149" fmla="*/ 7455 w 10000"/>
                <a:gd name="connsiteY149" fmla="*/ 4545 h 9483"/>
                <a:gd name="connsiteX150" fmla="*/ 7674 w 10000"/>
                <a:gd name="connsiteY150" fmla="*/ 4508 h 9483"/>
                <a:gd name="connsiteX151" fmla="*/ 8082 w 10000"/>
                <a:gd name="connsiteY151" fmla="*/ 4371 h 9483"/>
                <a:gd name="connsiteX152" fmla="*/ 8157 w 10000"/>
                <a:gd name="connsiteY152" fmla="*/ 4282 h 9483"/>
                <a:gd name="connsiteX153" fmla="*/ 8165 w 10000"/>
                <a:gd name="connsiteY153" fmla="*/ 4165 h 9483"/>
                <a:gd name="connsiteX154" fmla="*/ 7978 w 10000"/>
                <a:gd name="connsiteY154" fmla="*/ 4146 h 9483"/>
                <a:gd name="connsiteX155" fmla="*/ 8058 w 10000"/>
                <a:gd name="connsiteY155" fmla="*/ 4075 h 9483"/>
                <a:gd name="connsiteX156" fmla="*/ 8087 w 10000"/>
                <a:gd name="connsiteY156" fmla="*/ 3986 h 9483"/>
                <a:gd name="connsiteX157" fmla="*/ 8007 w 10000"/>
                <a:gd name="connsiteY157" fmla="*/ 3901 h 9483"/>
                <a:gd name="connsiteX158" fmla="*/ 4802 w 10000"/>
                <a:gd name="connsiteY158" fmla="*/ 0 h 9483"/>
                <a:gd name="connsiteX159" fmla="*/ 4809 w 10000"/>
                <a:gd name="connsiteY159" fmla="*/ 82 h 9483"/>
                <a:gd name="connsiteX160" fmla="*/ 5176 w 10000"/>
                <a:gd name="connsiteY160" fmla="*/ 314 h 9483"/>
                <a:gd name="connsiteX161" fmla="*/ 5057 w 10000"/>
                <a:gd name="connsiteY161" fmla="*/ 565 h 9483"/>
                <a:gd name="connsiteX162" fmla="*/ 4842 w 10000"/>
                <a:gd name="connsiteY162" fmla="*/ 656 h 9483"/>
                <a:gd name="connsiteX163" fmla="*/ 4200 w 10000"/>
                <a:gd name="connsiteY163" fmla="*/ 596 h 9483"/>
                <a:gd name="connsiteX164" fmla="*/ 3760 w 10000"/>
                <a:gd name="connsiteY164" fmla="*/ 630 h 9483"/>
                <a:gd name="connsiteX165" fmla="*/ 3405 w 10000"/>
                <a:gd name="connsiteY165" fmla="*/ 704 h 9483"/>
                <a:gd name="connsiteX166" fmla="*/ 2832 w 10000"/>
                <a:gd name="connsiteY166" fmla="*/ 936 h 9483"/>
                <a:gd name="connsiteX167" fmla="*/ 2528 w 10000"/>
                <a:gd name="connsiteY167" fmla="*/ 1215 h 9483"/>
                <a:gd name="connsiteX168" fmla="*/ 2555 w 10000"/>
                <a:gd name="connsiteY168" fmla="*/ 1371 h 9483"/>
                <a:gd name="connsiteX169" fmla="*/ 2661 w 10000"/>
                <a:gd name="connsiteY169" fmla="*/ 1491 h 9483"/>
                <a:gd name="connsiteX170" fmla="*/ 2741 w 10000"/>
                <a:gd name="connsiteY170" fmla="*/ 1539 h 9483"/>
                <a:gd name="connsiteX171" fmla="*/ 2592 w 10000"/>
                <a:gd name="connsiteY171" fmla="*/ 1617 h 9483"/>
                <a:gd name="connsiteX172" fmla="*/ 2267 w 10000"/>
                <a:gd name="connsiteY172" fmla="*/ 2143 h 9483"/>
                <a:gd name="connsiteX173" fmla="*/ 2330 w 10000"/>
                <a:gd name="connsiteY173" fmla="*/ 2173 h 9483"/>
                <a:gd name="connsiteX174" fmla="*/ 2375 w 10000"/>
                <a:gd name="connsiteY174" fmla="*/ 2307 h 9483"/>
                <a:gd name="connsiteX175" fmla="*/ 2226 w 10000"/>
                <a:gd name="connsiteY175" fmla="*/ 2861 h 9483"/>
                <a:gd name="connsiteX176" fmla="*/ 2375 w 10000"/>
                <a:gd name="connsiteY176" fmla="*/ 3002 h 9483"/>
                <a:gd name="connsiteX177" fmla="*/ 2791 w 10000"/>
                <a:gd name="connsiteY177" fmla="*/ 3157 h 9483"/>
                <a:gd name="connsiteX178" fmla="*/ 2808 w 10000"/>
                <a:gd name="connsiteY178" fmla="*/ 3346 h 9483"/>
                <a:gd name="connsiteX179" fmla="*/ 2632 w 10000"/>
                <a:gd name="connsiteY179" fmla="*/ 3503 h 9483"/>
                <a:gd name="connsiteX180" fmla="*/ 2375 w 10000"/>
                <a:gd name="connsiteY180" fmla="*/ 3598 h 9483"/>
                <a:gd name="connsiteX181" fmla="*/ 2039 w 10000"/>
                <a:gd name="connsiteY181" fmla="*/ 3636 h 9483"/>
                <a:gd name="connsiteX182" fmla="*/ 1950 w 10000"/>
                <a:gd name="connsiteY182" fmla="*/ 3692 h 9483"/>
                <a:gd name="connsiteX183" fmla="*/ 2148 w 10000"/>
                <a:gd name="connsiteY183" fmla="*/ 3822 h 9483"/>
                <a:gd name="connsiteX184" fmla="*/ 2261 w 10000"/>
                <a:gd name="connsiteY184" fmla="*/ 4130 h 9483"/>
                <a:gd name="connsiteX185" fmla="*/ 2005 w 10000"/>
                <a:gd name="connsiteY185" fmla="*/ 4395 h 9483"/>
                <a:gd name="connsiteX186" fmla="*/ 2094 w 10000"/>
                <a:gd name="connsiteY186" fmla="*/ 4476 h 9483"/>
                <a:gd name="connsiteX187" fmla="*/ 2012 w 10000"/>
                <a:gd name="connsiteY187" fmla="*/ 4615 h 9483"/>
                <a:gd name="connsiteX188" fmla="*/ 1850 w 10000"/>
                <a:gd name="connsiteY188" fmla="*/ 4710 h 9483"/>
                <a:gd name="connsiteX189" fmla="*/ 1199 w 10000"/>
                <a:gd name="connsiteY189" fmla="*/ 4783 h 9483"/>
                <a:gd name="connsiteX190" fmla="*/ 1158 w 10000"/>
                <a:gd name="connsiteY190" fmla="*/ 4911 h 9483"/>
                <a:gd name="connsiteX191" fmla="*/ 808 w 10000"/>
                <a:gd name="connsiteY191" fmla="*/ 5102 h 9483"/>
                <a:gd name="connsiteX192" fmla="*/ 854 w 10000"/>
                <a:gd name="connsiteY192" fmla="*/ 5376 h 9483"/>
                <a:gd name="connsiteX193" fmla="*/ 560 w 10000"/>
                <a:gd name="connsiteY193" fmla="*/ 5727 h 9483"/>
                <a:gd name="connsiteX194" fmla="*/ 358 w 10000"/>
                <a:gd name="connsiteY194" fmla="*/ 5768 h 9483"/>
                <a:gd name="connsiteX195" fmla="*/ 275 w 10000"/>
                <a:gd name="connsiteY195" fmla="*/ 5685 h 9483"/>
                <a:gd name="connsiteX196" fmla="*/ 174 w 10000"/>
                <a:gd name="connsiteY196" fmla="*/ 5811 h 9483"/>
                <a:gd name="connsiteX197" fmla="*/ 239 w 10000"/>
                <a:gd name="connsiteY197" fmla="*/ 5593 h 9483"/>
                <a:gd name="connsiteX198" fmla="*/ 197 w 10000"/>
                <a:gd name="connsiteY198" fmla="*/ 5552 h 9483"/>
                <a:gd name="connsiteX0" fmla="*/ 197 w 10000"/>
                <a:gd name="connsiteY0" fmla="*/ 6083 h 10228"/>
                <a:gd name="connsiteX1" fmla="*/ 0 w 10000"/>
                <a:gd name="connsiteY1" fmla="*/ 6202 h 10228"/>
                <a:gd name="connsiteX2" fmla="*/ 0 w 10000"/>
                <a:gd name="connsiteY2" fmla="*/ 6792 h 10228"/>
                <a:gd name="connsiteX3" fmla="*/ 109 w 10000"/>
                <a:gd name="connsiteY3" fmla="*/ 6808 h 10228"/>
                <a:gd name="connsiteX4" fmla="*/ 134 w 10000"/>
                <a:gd name="connsiteY4" fmla="*/ 6854 h 10228"/>
                <a:gd name="connsiteX5" fmla="*/ 130 w 10000"/>
                <a:gd name="connsiteY5" fmla="*/ 6934 h 10228"/>
                <a:gd name="connsiteX6" fmla="*/ 89 w 10000"/>
                <a:gd name="connsiteY6" fmla="*/ 6970 h 10228"/>
                <a:gd name="connsiteX7" fmla="*/ 255 w 10000"/>
                <a:gd name="connsiteY7" fmla="*/ 6901 h 10228"/>
                <a:gd name="connsiteX8" fmla="*/ 325 w 10000"/>
                <a:gd name="connsiteY8" fmla="*/ 6834 h 10228"/>
                <a:gd name="connsiteX9" fmla="*/ 413 w 10000"/>
                <a:gd name="connsiteY9" fmla="*/ 6880 h 10228"/>
                <a:gd name="connsiteX10" fmla="*/ 316 w 10000"/>
                <a:gd name="connsiteY10" fmla="*/ 6977 h 10228"/>
                <a:gd name="connsiteX11" fmla="*/ 419 w 10000"/>
                <a:gd name="connsiteY11" fmla="*/ 6979 h 10228"/>
                <a:gd name="connsiteX12" fmla="*/ 469 w 10000"/>
                <a:gd name="connsiteY12" fmla="*/ 7003 h 10228"/>
                <a:gd name="connsiteX13" fmla="*/ 337 w 10000"/>
                <a:gd name="connsiteY13" fmla="*/ 7034 h 10228"/>
                <a:gd name="connsiteX14" fmla="*/ 130 w 10000"/>
                <a:gd name="connsiteY14" fmla="*/ 7133 h 10228"/>
                <a:gd name="connsiteX15" fmla="*/ 497 w 10000"/>
                <a:gd name="connsiteY15" fmla="*/ 7211 h 10228"/>
                <a:gd name="connsiteX16" fmla="*/ 545 w 10000"/>
                <a:gd name="connsiteY16" fmla="*/ 7322 h 10228"/>
                <a:gd name="connsiteX17" fmla="*/ 419 w 10000"/>
                <a:gd name="connsiteY17" fmla="*/ 7484 h 10228"/>
                <a:gd name="connsiteX18" fmla="*/ 688 w 10000"/>
                <a:gd name="connsiteY18" fmla="*/ 7474 h 10228"/>
                <a:gd name="connsiteX19" fmla="*/ 709 w 10000"/>
                <a:gd name="connsiteY19" fmla="*/ 7597 h 10228"/>
                <a:gd name="connsiteX20" fmla="*/ 530 w 10000"/>
                <a:gd name="connsiteY20" fmla="*/ 7681 h 10228"/>
                <a:gd name="connsiteX21" fmla="*/ 560 w 10000"/>
                <a:gd name="connsiteY21" fmla="*/ 7843 h 10228"/>
                <a:gd name="connsiteX22" fmla="*/ 489 w 10000"/>
                <a:gd name="connsiteY22" fmla="*/ 7968 h 10228"/>
                <a:gd name="connsiteX23" fmla="*/ 703 w 10000"/>
                <a:gd name="connsiteY23" fmla="*/ 7980 h 10228"/>
                <a:gd name="connsiteX24" fmla="*/ 909 w 10000"/>
                <a:gd name="connsiteY24" fmla="*/ 8462 h 10228"/>
                <a:gd name="connsiteX25" fmla="*/ 1150 w 10000"/>
                <a:gd name="connsiteY25" fmla="*/ 8583 h 10228"/>
                <a:gd name="connsiteX26" fmla="*/ 1255 w 10000"/>
                <a:gd name="connsiteY26" fmla="*/ 8714 h 10228"/>
                <a:gd name="connsiteX27" fmla="*/ 1514 w 10000"/>
                <a:gd name="connsiteY27" fmla="*/ 8808 h 10228"/>
                <a:gd name="connsiteX28" fmla="*/ 1684 w 10000"/>
                <a:gd name="connsiteY28" fmla="*/ 8930 h 10228"/>
                <a:gd name="connsiteX29" fmla="*/ 1661 w 10000"/>
                <a:gd name="connsiteY29" fmla="*/ 9016 h 10228"/>
                <a:gd name="connsiteX30" fmla="*/ 1496 w 10000"/>
                <a:gd name="connsiteY30" fmla="*/ 9048 h 10228"/>
                <a:gd name="connsiteX31" fmla="*/ 1316 w 10000"/>
                <a:gd name="connsiteY31" fmla="*/ 9028 h 10228"/>
                <a:gd name="connsiteX32" fmla="*/ 1260 w 10000"/>
                <a:gd name="connsiteY32" fmla="*/ 9063 h 10228"/>
                <a:gd name="connsiteX33" fmla="*/ 1397 w 10000"/>
                <a:gd name="connsiteY33" fmla="*/ 9250 h 10228"/>
                <a:gd name="connsiteX34" fmla="*/ 1205 w 10000"/>
                <a:gd name="connsiteY34" fmla="*/ 9235 h 10228"/>
                <a:gd name="connsiteX35" fmla="*/ 1040 w 10000"/>
                <a:gd name="connsiteY35" fmla="*/ 9189 h 10228"/>
                <a:gd name="connsiteX36" fmla="*/ 1012 w 10000"/>
                <a:gd name="connsiteY36" fmla="*/ 9259 h 10228"/>
                <a:gd name="connsiteX37" fmla="*/ 1557 w 10000"/>
                <a:gd name="connsiteY37" fmla="*/ 9901 h 10228"/>
                <a:gd name="connsiteX38" fmla="*/ 1469 w 10000"/>
                <a:gd name="connsiteY38" fmla="*/ 9961 h 10228"/>
                <a:gd name="connsiteX39" fmla="*/ 1408 w 10000"/>
                <a:gd name="connsiteY39" fmla="*/ 10085 h 10228"/>
                <a:gd name="connsiteX40" fmla="*/ 1329 w 10000"/>
                <a:gd name="connsiteY40" fmla="*/ 10094 h 10228"/>
                <a:gd name="connsiteX41" fmla="*/ 1281 w 10000"/>
                <a:gd name="connsiteY41" fmla="*/ 10148 h 10228"/>
                <a:gd name="connsiteX42" fmla="*/ 1609 w 10000"/>
                <a:gd name="connsiteY42" fmla="*/ 10153 h 10228"/>
                <a:gd name="connsiteX43" fmla="*/ 1900 w 10000"/>
                <a:gd name="connsiteY43" fmla="*/ 10207 h 10228"/>
                <a:gd name="connsiteX44" fmla="*/ 2383 w 10000"/>
                <a:gd name="connsiteY44" fmla="*/ 10150 h 10228"/>
                <a:gd name="connsiteX45" fmla="*/ 2816 w 10000"/>
                <a:gd name="connsiteY45" fmla="*/ 10161 h 10228"/>
                <a:gd name="connsiteX46" fmla="*/ 3072 w 10000"/>
                <a:gd name="connsiteY46" fmla="*/ 10228 h 10228"/>
                <a:gd name="connsiteX47" fmla="*/ 3212 w 10000"/>
                <a:gd name="connsiteY47" fmla="*/ 10183 h 10228"/>
                <a:gd name="connsiteX48" fmla="*/ 3348 w 10000"/>
                <a:gd name="connsiteY48" fmla="*/ 10036 h 10228"/>
                <a:gd name="connsiteX49" fmla="*/ 3313 w 10000"/>
                <a:gd name="connsiteY49" fmla="*/ 9792 h 10228"/>
                <a:gd name="connsiteX50" fmla="*/ 3642 w 10000"/>
                <a:gd name="connsiteY50" fmla="*/ 9523 h 10228"/>
                <a:gd name="connsiteX51" fmla="*/ 3883 w 10000"/>
                <a:gd name="connsiteY51" fmla="*/ 9565 h 10228"/>
                <a:gd name="connsiteX52" fmla="*/ 4025 w 10000"/>
                <a:gd name="connsiteY52" fmla="*/ 9457 h 10228"/>
                <a:gd name="connsiteX53" fmla="*/ 4294 w 10000"/>
                <a:gd name="connsiteY53" fmla="*/ 9395 h 10228"/>
                <a:gd name="connsiteX54" fmla="*/ 4658 w 10000"/>
                <a:gd name="connsiteY54" fmla="*/ 9410 h 10228"/>
                <a:gd name="connsiteX55" fmla="*/ 4878 w 10000"/>
                <a:gd name="connsiteY55" fmla="*/ 9453 h 10228"/>
                <a:gd name="connsiteX56" fmla="*/ 5170 w 10000"/>
                <a:gd name="connsiteY56" fmla="*/ 9434 h 10228"/>
                <a:gd name="connsiteX57" fmla="*/ 5464 w 10000"/>
                <a:gd name="connsiteY57" fmla="*/ 9481 h 10228"/>
                <a:gd name="connsiteX58" fmla="*/ 5759 w 10000"/>
                <a:gd name="connsiteY58" fmla="*/ 9487 h 10228"/>
                <a:gd name="connsiteX59" fmla="*/ 6419 w 10000"/>
                <a:gd name="connsiteY59" fmla="*/ 8856 h 10228"/>
                <a:gd name="connsiteX60" fmla="*/ 6586 w 10000"/>
                <a:gd name="connsiteY60" fmla="*/ 8341 h 10228"/>
                <a:gd name="connsiteX61" fmla="*/ 6855 w 10000"/>
                <a:gd name="connsiteY61" fmla="*/ 8113 h 10228"/>
                <a:gd name="connsiteX62" fmla="*/ 6855 w 10000"/>
                <a:gd name="connsiteY62" fmla="*/ 7991 h 10228"/>
                <a:gd name="connsiteX63" fmla="*/ 6757 w 10000"/>
                <a:gd name="connsiteY63" fmla="*/ 7924 h 10228"/>
                <a:gd name="connsiteX64" fmla="*/ 6915 w 10000"/>
                <a:gd name="connsiteY64" fmla="*/ 7816 h 10228"/>
                <a:gd name="connsiteX65" fmla="*/ 6887 w 10000"/>
                <a:gd name="connsiteY65" fmla="*/ 7726 h 10228"/>
                <a:gd name="connsiteX66" fmla="*/ 6779 w 10000"/>
                <a:gd name="connsiteY66" fmla="*/ 7648 h 10228"/>
                <a:gd name="connsiteX67" fmla="*/ 6757 w 10000"/>
                <a:gd name="connsiteY67" fmla="*/ 7591 h 10228"/>
                <a:gd name="connsiteX68" fmla="*/ 6785 w 10000"/>
                <a:gd name="connsiteY68" fmla="*/ 7548 h 10228"/>
                <a:gd name="connsiteX69" fmla="*/ 6931 w 10000"/>
                <a:gd name="connsiteY69" fmla="*/ 7583 h 10228"/>
                <a:gd name="connsiteX70" fmla="*/ 7045 w 10000"/>
                <a:gd name="connsiteY70" fmla="*/ 7581 h 10228"/>
                <a:gd name="connsiteX71" fmla="*/ 6983 w 10000"/>
                <a:gd name="connsiteY71" fmla="*/ 7507 h 10228"/>
                <a:gd name="connsiteX72" fmla="*/ 7003 w 10000"/>
                <a:gd name="connsiteY72" fmla="*/ 7464 h 10228"/>
                <a:gd name="connsiteX73" fmla="*/ 7089 w 10000"/>
                <a:gd name="connsiteY73" fmla="*/ 7402 h 10228"/>
                <a:gd name="connsiteX74" fmla="*/ 7074 w 10000"/>
                <a:gd name="connsiteY74" fmla="*/ 7351 h 10228"/>
                <a:gd name="connsiteX75" fmla="*/ 7152 w 10000"/>
                <a:gd name="connsiteY75" fmla="*/ 7179 h 10228"/>
                <a:gd name="connsiteX76" fmla="*/ 7130 w 10000"/>
                <a:gd name="connsiteY76" fmla="*/ 7127 h 10228"/>
                <a:gd name="connsiteX77" fmla="*/ 6729 w 10000"/>
                <a:gd name="connsiteY77" fmla="*/ 6997 h 10228"/>
                <a:gd name="connsiteX78" fmla="*/ 6785 w 10000"/>
                <a:gd name="connsiteY78" fmla="*/ 6992 h 10228"/>
                <a:gd name="connsiteX79" fmla="*/ 6998 w 10000"/>
                <a:gd name="connsiteY79" fmla="*/ 7026 h 10228"/>
                <a:gd name="connsiteX80" fmla="*/ 7230 w 10000"/>
                <a:gd name="connsiteY80" fmla="*/ 7014 h 10228"/>
                <a:gd name="connsiteX81" fmla="*/ 7295 w 10000"/>
                <a:gd name="connsiteY81" fmla="*/ 6966 h 10228"/>
                <a:gd name="connsiteX82" fmla="*/ 7074 w 10000"/>
                <a:gd name="connsiteY82" fmla="*/ 6878 h 10228"/>
                <a:gd name="connsiteX83" fmla="*/ 6414 w 10000"/>
                <a:gd name="connsiteY83" fmla="*/ 6819 h 10228"/>
                <a:gd name="connsiteX84" fmla="*/ 6458 w 10000"/>
                <a:gd name="connsiteY84" fmla="*/ 6792 h 10228"/>
                <a:gd name="connsiteX85" fmla="*/ 6998 w 10000"/>
                <a:gd name="connsiteY85" fmla="*/ 6774 h 10228"/>
                <a:gd name="connsiteX86" fmla="*/ 7295 w 10000"/>
                <a:gd name="connsiteY86" fmla="*/ 6827 h 10228"/>
                <a:gd name="connsiteX87" fmla="*/ 7466 w 10000"/>
                <a:gd name="connsiteY87" fmla="*/ 6792 h 10228"/>
                <a:gd name="connsiteX88" fmla="*/ 7529 w 10000"/>
                <a:gd name="connsiteY88" fmla="*/ 6700 h 10228"/>
                <a:gd name="connsiteX89" fmla="*/ 7840 w 10000"/>
                <a:gd name="connsiteY89" fmla="*/ 6700 h 10228"/>
                <a:gd name="connsiteX90" fmla="*/ 8261 w 10000"/>
                <a:gd name="connsiteY90" fmla="*/ 6514 h 10228"/>
                <a:gd name="connsiteX91" fmla="*/ 8275 w 10000"/>
                <a:gd name="connsiteY91" fmla="*/ 6391 h 10228"/>
                <a:gd name="connsiteX92" fmla="*/ 8453 w 10000"/>
                <a:gd name="connsiteY92" fmla="*/ 6419 h 10228"/>
                <a:gd name="connsiteX93" fmla="*/ 8446 w 10000"/>
                <a:gd name="connsiteY93" fmla="*/ 6542 h 10228"/>
                <a:gd name="connsiteX94" fmla="*/ 8727 w 10000"/>
                <a:gd name="connsiteY94" fmla="*/ 6534 h 10228"/>
                <a:gd name="connsiteX95" fmla="*/ 8913 w 10000"/>
                <a:gd name="connsiteY95" fmla="*/ 6406 h 10228"/>
                <a:gd name="connsiteX96" fmla="*/ 9258 w 10000"/>
                <a:gd name="connsiteY96" fmla="*/ 6290 h 10228"/>
                <a:gd name="connsiteX97" fmla="*/ 9203 w 10000"/>
                <a:gd name="connsiteY97" fmla="*/ 6159 h 10228"/>
                <a:gd name="connsiteX98" fmla="*/ 9306 w 10000"/>
                <a:gd name="connsiteY98" fmla="*/ 6211 h 10228"/>
                <a:gd name="connsiteX99" fmla="*/ 9464 w 10000"/>
                <a:gd name="connsiteY99" fmla="*/ 6211 h 10228"/>
                <a:gd name="connsiteX100" fmla="*/ 9464 w 10000"/>
                <a:gd name="connsiteY100" fmla="*/ 6150 h 10228"/>
                <a:gd name="connsiteX101" fmla="*/ 9611 w 10000"/>
                <a:gd name="connsiteY101" fmla="*/ 6104 h 10228"/>
                <a:gd name="connsiteX102" fmla="*/ 9592 w 10000"/>
                <a:gd name="connsiteY102" fmla="*/ 6057 h 10228"/>
                <a:gd name="connsiteX103" fmla="*/ 8350 w 10000"/>
                <a:gd name="connsiteY103" fmla="*/ 6152 h 10228"/>
                <a:gd name="connsiteX104" fmla="*/ 8058 w 10000"/>
                <a:gd name="connsiteY104" fmla="*/ 6124 h 10228"/>
                <a:gd name="connsiteX105" fmla="*/ 7942 w 10000"/>
                <a:gd name="connsiteY105" fmla="*/ 6159 h 10228"/>
                <a:gd name="connsiteX106" fmla="*/ 7903 w 10000"/>
                <a:gd name="connsiteY106" fmla="*/ 6092 h 10228"/>
                <a:gd name="connsiteX107" fmla="*/ 7765 w 10000"/>
                <a:gd name="connsiteY107" fmla="*/ 6033 h 10228"/>
                <a:gd name="connsiteX108" fmla="*/ 7213 w 10000"/>
                <a:gd name="connsiteY108" fmla="*/ 5914 h 10228"/>
                <a:gd name="connsiteX109" fmla="*/ 6887 w 10000"/>
                <a:gd name="connsiteY109" fmla="*/ 5933 h 10228"/>
                <a:gd name="connsiteX110" fmla="*/ 6757 w 10000"/>
                <a:gd name="connsiteY110" fmla="*/ 5899 h 10228"/>
                <a:gd name="connsiteX111" fmla="*/ 6894 w 10000"/>
                <a:gd name="connsiteY111" fmla="*/ 5870 h 10228"/>
                <a:gd name="connsiteX112" fmla="*/ 6998 w 10000"/>
                <a:gd name="connsiteY112" fmla="*/ 5806 h 10228"/>
                <a:gd name="connsiteX113" fmla="*/ 7152 w 10000"/>
                <a:gd name="connsiteY113" fmla="*/ 5826 h 10228"/>
                <a:gd name="connsiteX114" fmla="*/ 7335 w 10000"/>
                <a:gd name="connsiteY114" fmla="*/ 5810 h 10228"/>
                <a:gd name="connsiteX115" fmla="*/ 7611 w 10000"/>
                <a:gd name="connsiteY115" fmla="*/ 5831 h 10228"/>
                <a:gd name="connsiteX116" fmla="*/ 7645 w 10000"/>
                <a:gd name="connsiteY116" fmla="*/ 5822 h 10228"/>
                <a:gd name="connsiteX117" fmla="*/ 7859 w 10000"/>
                <a:gd name="connsiteY117" fmla="*/ 5920 h 10228"/>
                <a:gd name="connsiteX118" fmla="*/ 8017 w 10000"/>
                <a:gd name="connsiteY118" fmla="*/ 5884 h 10228"/>
                <a:gd name="connsiteX119" fmla="*/ 8032 w 10000"/>
                <a:gd name="connsiteY119" fmla="*/ 5851 h 10228"/>
                <a:gd name="connsiteX120" fmla="*/ 8176 w 10000"/>
                <a:gd name="connsiteY120" fmla="*/ 5909 h 10228"/>
                <a:gd name="connsiteX121" fmla="*/ 8369 w 10000"/>
                <a:gd name="connsiteY121" fmla="*/ 5939 h 10228"/>
                <a:gd name="connsiteX122" fmla="*/ 8446 w 10000"/>
                <a:gd name="connsiteY122" fmla="*/ 5882 h 10228"/>
                <a:gd name="connsiteX123" fmla="*/ 8507 w 10000"/>
                <a:gd name="connsiteY123" fmla="*/ 5914 h 10228"/>
                <a:gd name="connsiteX124" fmla="*/ 8596 w 10000"/>
                <a:gd name="connsiteY124" fmla="*/ 6025 h 10228"/>
                <a:gd name="connsiteX125" fmla="*/ 8782 w 10000"/>
                <a:gd name="connsiteY125" fmla="*/ 6050 h 10228"/>
                <a:gd name="connsiteX126" fmla="*/ 9542 w 10000"/>
                <a:gd name="connsiteY126" fmla="*/ 5887 h 10228"/>
                <a:gd name="connsiteX127" fmla="*/ 9914 w 10000"/>
                <a:gd name="connsiteY127" fmla="*/ 5660 h 10228"/>
                <a:gd name="connsiteX128" fmla="*/ 10000 w 10000"/>
                <a:gd name="connsiteY128" fmla="*/ 5494 h 10228"/>
                <a:gd name="connsiteX129" fmla="*/ 9866 w 10000"/>
                <a:gd name="connsiteY129" fmla="*/ 5345 h 10228"/>
                <a:gd name="connsiteX130" fmla="*/ 9582 w 10000"/>
                <a:gd name="connsiteY130" fmla="*/ 5255 h 10228"/>
                <a:gd name="connsiteX131" fmla="*/ 9382 w 10000"/>
                <a:gd name="connsiteY131" fmla="*/ 5108 h 10228"/>
                <a:gd name="connsiteX132" fmla="*/ 9569 w 10000"/>
                <a:gd name="connsiteY132" fmla="*/ 5103 h 10228"/>
                <a:gd name="connsiteX133" fmla="*/ 9555 w 10000"/>
                <a:gd name="connsiteY133" fmla="*/ 5068 h 10228"/>
                <a:gd name="connsiteX134" fmla="*/ 9068 w 10000"/>
                <a:gd name="connsiteY134" fmla="*/ 4965 h 10228"/>
                <a:gd name="connsiteX135" fmla="*/ 9047 w 10000"/>
                <a:gd name="connsiteY135" fmla="*/ 4870 h 10228"/>
                <a:gd name="connsiteX136" fmla="*/ 8953 w 10000"/>
                <a:gd name="connsiteY136" fmla="*/ 4772 h 10228"/>
                <a:gd name="connsiteX137" fmla="*/ 8569 w 10000"/>
                <a:gd name="connsiteY137" fmla="*/ 4790 h 10228"/>
                <a:gd name="connsiteX138" fmla="*/ 8431 w 10000"/>
                <a:gd name="connsiteY138" fmla="*/ 4685 h 10228"/>
                <a:gd name="connsiteX139" fmla="*/ 8350 w 10000"/>
                <a:gd name="connsiteY139" fmla="*/ 4679 h 10228"/>
                <a:gd name="connsiteX140" fmla="*/ 8350 w 10000"/>
                <a:gd name="connsiteY140" fmla="*/ 4723 h 10228"/>
                <a:gd name="connsiteX141" fmla="*/ 8176 w 10000"/>
                <a:gd name="connsiteY141" fmla="*/ 4900 h 10228"/>
                <a:gd name="connsiteX142" fmla="*/ 7990 w 10000"/>
                <a:gd name="connsiteY142" fmla="*/ 5004 h 10228"/>
                <a:gd name="connsiteX143" fmla="*/ 7401 w 10000"/>
                <a:gd name="connsiteY143" fmla="*/ 5181 h 10228"/>
                <a:gd name="connsiteX144" fmla="*/ 7198 w 10000"/>
                <a:gd name="connsiteY144" fmla="*/ 5175 h 10228"/>
                <a:gd name="connsiteX145" fmla="*/ 6915 w 10000"/>
                <a:gd name="connsiteY145" fmla="*/ 5202 h 10228"/>
                <a:gd name="connsiteX146" fmla="*/ 6757 w 10000"/>
                <a:gd name="connsiteY146" fmla="*/ 5175 h 10228"/>
                <a:gd name="connsiteX147" fmla="*/ 6965 w 10000"/>
                <a:gd name="connsiteY147" fmla="*/ 5126 h 10228"/>
                <a:gd name="connsiteX148" fmla="*/ 7235 w 10000"/>
                <a:gd name="connsiteY148" fmla="*/ 5103 h 10228"/>
                <a:gd name="connsiteX149" fmla="*/ 7455 w 10000"/>
                <a:gd name="connsiteY149" fmla="*/ 5021 h 10228"/>
                <a:gd name="connsiteX150" fmla="*/ 7674 w 10000"/>
                <a:gd name="connsiteY150" fmla="*/ 4982 h 10228"/>
                <a:gd name="connsiteX151" fmla="*/ 8082 w 10000"/>
                <a:gd name="connsiteY151" fmla="*/ 4837 h 10228"/>
                <a:gd name="connsiteX152" fmla="*/ 8157 w 10000"/>
                <a:gd name="connsiteY152" fmla="*/ 4743 h 10228"/>
                <a:gd name="connsiteX153" fmla="*/ 8165 w 10000"/>
                <a:gd name="connsiteY153" fmla="*/ 4620 h 10228"/>
                <a:gd name="connsiteX154" fmla="*/ 7978 w 10000"/>
                <a:gd name="connsiteY154" fmla="*/ 4600 h 10228"/>
                <a:gd name="connsiteX155" fmla="*/ 8058 w 10000"/>
                <a:gd name="connsiteY155" fmla="*/ 4525 h 10228"/>
                <a:gd name="connsiteX156" fmla="*/ 8087 w 10000"/>
                <a:gd name="connsiteY156" fmla="*/ 4431 h 10228"/>
                <a:gd name="connsiteX157" fmla="*/ 8007 w 10000"/>
                <a:gd name="connsiteY157" fmla="*/ 4342 h 10228"/>
                <a:gd name="connsiteX158" fmla="*/ 4802 w 10000"/>
                <a:gd name="connsiteY158" fmla="*/ 228 h 10228"/>
                <a:gd name="connsiteX159" fmla="*/ 5176 w 10000"/>
                <a:gd name="connsiteY159" fmla="*/ 559 h 10228"/>
                <a:gd name="connsiteX160" fmla="*/ 5057 w 10000"/>
                <a:gd name="connsiteY160" fmla="*/ 824 h 10228"/>
                <a:gd name="connsiteX161" fmla="*/ 4842 w 10000"/>
                <a:gd name="connsiteY161" fmla="*/ 920 h 10228"/>
                <a:gd name="connsiteX162" fmla="*/ 4200 w 10000"/>
                <a:gd name="connsiteY162" fmla="*/ 856 h 10228"/>
                <a:gd name="connsiteX163" fmla="*/ 3760 w 10000"/>
                <a:gd name="connsiteY163" fmla="*/ 892 h 10228"/>
                <a:gd name="connsiteX164" fmla="*/ 3405 w 10000"/>
                <a:gd name="connsiteY164" fmla="*/ 970 h 10228"/>
                <a:gd name="connsiteX165" fmla="*/ 2832 w 10000"/>
                <a:gd name="connsiteY165" fmla="*/ 1215 h 10228"/>
                <a:gd name="connsiteX166" fmla="*/ 2528 w 10000"/>
                <a:gd name="connsiteY166" fmla="*/ 1509 h 10228"/>
                <a:gd name="connsiteX167" fmla="*/ 2555 w 10000"/>
                <a:gd name="connsiteY167" fmla="*/ 1674 h 10228"/>
                <a:gd name="connsiteX168" fmla="*/ 2661 w 10000"/>
                <a:gd name="connsiteY168" fmla="*/ 1800 h 10228"/>
                <a:gd name="connsiteX169" fmla="*/ 2741 w 10000"/>
                <a:gd name="connsiteY169" fmla="*/ 1851 h 10228"/>
                <a:gd name="connsiteX170" fmla="*/ 2592 w 10000"/>
                <a:gd name="connsiteY170" fmla="*/ 1933 h 10228"/>
                <a:gd name="connsiteX171" fmla="*/ 2267 w 10000"/>
                <a:gd name="connsiteY171" fmla="*/ 2488 h 10228"/>
                <a:gd name="connsiteX172" fmla="*/ 2330 w 10000"/>
                <a:gd name="connsiteY172" fmla="*/ 2519 h 10228"/>
                <a:gd name="connsiteX173" fmla="*/ 2375 w 10000"/>
                <a:gd name="connsiteY173" fmla="*/ 2661 h 10228"/>
                <a:gd name="connsiteX174" fmla="*/ 2226 w 10000"/>
                <a:gd name="connsiteY174" fmla="*/ 3245 h 10228"/>
                <a:gd name="connsiteX175" fmla="*/ 2375 w 10000"/>
                <a:gd name="connsiteY175" fmla="*/ 3394 h 10228"/>
                <a:gd name="connsiteX176" fmla="*/ 2791 w 10000"/>
                <a:gd name="connsiteY176" fmla="*/ 3557 h 10228"/>
                <a:gd name="connsiteX177" fmla="*/ 2808 w 10000"/>
                <a:gd name="connsiteY177" fmla="*/ 3756 h 10228"/>
                <a:gd name="connsiteX178" fmla="*/ 2632 w 10000"/>
                <a:gd name="connsiteY178" fmla="*/ 3922 h 10228"/>
                <a:gd name="connsiteX179" fmla="*/ 2375 w 10000"/>
                <a:gd name="connsiteY179" fmla="*/ 4022 h 10228"/>
                <a:gd name="connsiteX180" fmla="*/ 2039 w 10000"/>
                <a:gd name="connsiteY180" fmla="*/ 4062 h 10228"/>
                <a:gd name="connsiteX181" fmla="*/ 1950 w 10000"/>
                <a:gd name="connsiteY181" fmla="*/ 4121 h 10228"/>
                <a:gd name="connsiteX182" fmla="*/ 2148 w 10000"/>
                <a:gd name="connsiteY182" fmla="*/ 4258 h 10228"/>
                <a:gd name="connsiteX183" fmla="*/ 2261 w 10000"/>
                <a:gd name="connsiteY183" fmla="*/ 4583 h 10228"/>
                <a:gd name="connsiteX184" fmla="*/ 2005 w 10000"/>
                <a:gd name="connsiteY184" fmla="*/ 4863 h 10228"/>
                <a:gd name="connsiteX185" fmla="*/ 2094 w 10000"/>
                <a:gd name="connsiteY185" fmla="*/ 4948 h 10228"/>
                <a:gd name="connsiteX186" fmla="*/ 2012 w 10000"/>
                <a:gd name="connsiteY186" fmla="*/ 5095 h 10228"/>
                <a:gd name="connsiteX187" fmla="*/ 1850 w 10000"/>
                <a:gd name="connsiteY187" fmla="*/ 5195 h 10228"/>
                <a:gd name="connsiteX188" fmla="*/ 1199 w 10000"/>
                <a:gd name="connsiteY188" fmla="*/ 5272 h 10228"/>
                <a:gd name="connsiteX189" fmla="*/ 1158 w 10000"/>
                <a:gd name="connsiteY189" fmla="*/ 5407 h 10228"/>
                <a:gd name="connsiteX190" fmla="*/ 808 w 10000"/>
                <a:gd name="connsiteY190" fmla="*/ 5608 h 10228"/>
                <a:gd name="connsiteX191" fmla="*/ 854 w 10000"/>
                <a:gd name="connsiteY191" fmla="*/ 5897 h 10228"/>
                <a:gd name="connsiteX192" fmla="*/ 560 w 10000"/>
                <a:gd name="connsiteY192" fmla="*/ 6267 h 10228"/>
                <a:gd name="connsiteX193" fmla="*/ 358 w 10000"/>
                <a:gd name="connsiteY193" fmla="*/ 6310 h 10228"/>
                <a:gd name="connsiteX194" fmla="*/ 275 w 10000"/>
                <a:gd name="connsiteY194" fmla="*/ 6223 h 10228"/>
                <a:gd name="connsiteX195" fmla="*/ 174 w 10000"/>
                <a:gd name="connsiteY195" fmla="*/ 6356 h 10228"/>
                <a:gd name="connsiteX196" fmla="*/ 239 w 10000"/>
                <a:gd name="connsiteY196" fmla="*/ 6126 h 10228"/>
                <a:gd name="connsiteX197" fmla="*/ 197 w 10000"/>
                <a:gd name="connsiteY197" fmla="*/ 6083 h 10228"/>
                <a:gd name="connsiteX0" fmla="*/ 197 w 10000"/>
                <a:gd name="connsiteY0" fmla="*/ 6083 h 10228"/>
                <a:gd name="connsiteX1" fmla="*/ 0 w 10000"/>
                <a:gd name="connsiteY1" fmla="*/ 6202 h 10228"/>
                <a:gd name="connsiteX2" fmla="*/ 0 w 10000"/>
                <a:gd name="connsiteY2" fmla="*/ 6792 h 10228"/>
                <a:gd name="connsiteX3" fmla="*/ 109 w 10000"/>
                <a:gd name="connsiteY3" fmla="*/ 6808 h 10228"/>
                <a:gd name="connsiteX4" fmla="*/ 134 w 10000"/>
                <a:gd name="connsiteY4" fmla="*/ 6854 h 10228"/>
                <a:gd name="connsiteX5" fmla="*/ 130 w 10000"/>
                <a:gd name="connsiteY5" fmla="*/ 6934 h 10228"/>
                <a:gd name="connsiteX6" fmla="*/ 89 w 10000"/>
                <a:gd name="connsiteY6" fmla="*/ 6970 h 10228"/>
                <a:gd name="connsiteX7" fmla="*/ 255 w 10000"/>
                <a:gd name="connsiteY7" fmla="*/ 6901 h 10228"/>
                <a:gd name="connsiteX8" fmla="*/ 325 w 10000"/>
                <a:gd name="connsiteY8" fmla="*/ 6834 h 10228"/>
                <a:gd name="connsiteX9" fmla="*/ 413 w 10000"/>
                <a:gd name="connsiteY9" fmla="*/ 6880 h 10228"/>
                <a:gd name="connsiteX10" fmla="*/ 316 w 10000"/>
                <a:gd name="connsiteY10" fmla="*/ 6977 h 10228"/>
                <a:gd name="connsiteX11" fmla="*/ 419 w 10000"/>
                <a:gd name="connsiteY11" fmla="*/ 6979 h 10228"/>
                <a:gd name="connsiteX12" fmla="*/ 469 w 10000"/>
                <a:gd name="connsiteY12" fmla="*/ 7003 h 10228"/>
                <a:gd name="connsiteX13" fmla="*/ 337 w 10000"/>
                <a:gd name="connsiteY13" fmla="*/ 7034 h 10228"/>
                <a:gd name="connsiteX14" fmla="*/ 130 w 10000"/>
                <a:gd name="connsiteY14" fmla="*/ 7133 h 10228"/>
                <a:gd name="connsiteX15" fmla="*/ 497 w 10000"/>
                <a:gd name="connsiteY15" fmla="*/ 7211 h 10228"/>
                <a:gd name="connsiteX16" fmla="*/ 545 w 10000"/>
                <a:gd name="connsiteY16" fmla="*/ 7322 h 10228"/>
                <a:gd name="connsiteX17" fmla="*/ 419 w 10000"/>
                <a:gd name="connsiteY17" fmla="*/ 7484 h 10228"/>
                <a:gd name="connsiteX18" fmla="*/ 688 w 10000"/>
                <a:gd name="connsiteY18" fmla="*/ 7474 h 10228"/>
                <a:gd name="connsiteX19" fmla="*/ 709 w 10000"/>
                <a:gd name="connsiteY19" fmla="*/ 7597 h 10228"/>
                <a:gd name="connsiteX20" fmla="*/ 530 w 10000"/>
                <a:gd name="connsiteY20" fmla="*/ 7681 h 10228"/>
                <a:gd name="connsiteX21" fmla="*/ 560 w 10000"/>
                <a:gd name="connsiteY21" fmla="*/ 7843 h 10228"/>
                <a:gd name="connsiteX22" fmla="*/ 489 w 10000"/>
                <a:gd name="connsiteY22" fmla="*/ 7968 h 10228"/>
                <a:gd name="connsiteX23" fmla="*/ 703 w 10000"/>
                <a:gd name="connsiteY23" fmla="*/ 7980 h 10228"/>
                <a:gd name="connsiteX24" fmla="*/ 909 w 10000"/>
                <a:gd name="connsiteY24" fmla="*/ 8462 h 10228"/>
                <a:gd name="connsiteX25" fmla="*/ 1150 w 10000"/>
                <a:gd name="connsiteY25" fmla="*/ 8583 h 10228"/>
                <a:gd name="connsiteX26" fmla="*/ 1255 w 10000"/>
                <a:gd name="connsiteY26" fmla="*/ 8714 h 10228"/>
                <a:gd name="connsiteX27" fmla="*/ 1514 w 10000"/>
                <a:gd name="connsiteY27" fmla="*/ 8808 h 10228"/>
                <a:gd name="connsiteX28" fmla="*/ 1684 w 10000"/>
                <a:gd name="connsiteY28" fmla="*/ 8930 h 10228"/>
                <a:gd name="connsiteX29" fmla="*/ 1661 w 10000"/>
                <a:gd name="connsiteY29" fmla="*/ 9016 h 10228"/>
                <a:gd name="connsiteX30" fmla="*/ 1496 w 10000"/>
                <a:gd name="connsiteY30" fmla="*/ 9048 h 10228"/>
                <a:gd name="connsiteX31" fmla="*/ 1316 w 10000"/>
                <a:gd name="connsiteY31" fmla="*/ 9028 h 10228"/>
                <a:gd name="connsiteX32" fmla="*/ 1260 w 10000"/>
                <a:gd name="connsiteY32" fmla="*/ 9063 h 10228"/>
                <a:gd name="connsiteX33" fmla="*/ 1397 w 10000"/>
                <a:gd name="connsiteY33" fmla="*/ 9250 h 10228"/>
                <a:gd name="connsiteX34" fmla="*/ 1205 w 10000"/>
                <a:gd name="connsiteY34" fmla="*/ 9235 h 10228"/>
                <a:gd name="connsiteX35" fmla="*/ 1040 w 10000"/>
                <a:gd name="connsiteY35" fmla="*/ 9189 h 10228"/>
                <a:gd name="connsiteX36" fmla="*/ 1012 w 10000"/>
                <a:gd name="connsiteY36" fmla="*/ 9259 h 10228"/>
                <a:gd name="connsiteX37" fmla="*/ 1557 w 10000"/>
                <a:gd name="connsiteY37" fmla="*/ 9901 h 10228"/>
                <a:gd name="connsiteX38" fmla="*/ 1469 w 10000"/>
                <a:gd name="connsiteY38" fmla="*/ 9961 h 10228"/>
                <a:gd name="connsiteX39" fmla="*/ 1408 w 10000"/>
                <a:gd name="connsiteY39" fmla="*/ 10085 h 10228"/>
                <a:gd name="connsiteX40" fmla="*/ 1329 w 10000"/>
                <a:gd name="connsiteY40" fmla="*/ 10094 h 10228"/>
                <a:gd name="connsiteX41" fmla="*/ 1281 w 10000"/>
                <a:gd name="connsiteY41" fmla="*/ 10148 h 10228"/>
                <a:gd name="connsiteX42" fmla="*/ 1609 w 10000"/>
                <a:gd name="connsiteY42" fmla="*/ 10153 h 10228"/>
                <a:gd name="connsiteX43" fmla="*/ 1900 w 10000"/>
                <a:gd name="connsiteY43" fmla="*/ 10207 h 10228"/>
                <a:gd name="connsiteX44" fmla="*/ 2383 w 10000"/>
                <a:gd name="connsiteY44" fmla="*/ 10150 h 10228"/>
                <a:gd name="connsiteX45" fmla="*/ 2816 w 10000"/>
                <a:gd name="connsiteY45" fmla="*/ 10161 h 10228"/>
                <a:gd name="connsiteX46" fmla="*/ 3072 w 10000"/>
                <a:gd name="connsiteY46" fmla="*/ 10228 h 10228"/>
                <a:gd name="connsiteX47" fmla="*/ 3212 w 10000"/>
                <a:gd name="connsiteY47" fmla="*/ 10183 h 10228"/>
                <a:gd name="connsiteX48" fmla="*/ 3348 w 10000"/>
                <a:gd name="connsiteY48" fmla="*/ 10036 h 10228"/>
                <a:gd name="connsiteX49" fmla="*/ 3313 w 10000"/>
                <a:gd name="connsiteY49" fmla="*/ 9792 h 10228"/>
                <a:gd name="connsiteX50" fmla="*/ 3642 w 10000"/>
                <a:gd name="connsiteY50" fmla="*/ 9523 h 10228"/>
                <a:gd name="connsiteX51" fmla="*/ 3883 w 10000"/>
                <a:gd name="connsiteY51" fmla="*/ 9565 h 10228"/>
                <a:gd name="connsiteX52" fmla="*/ 4025 w 10000"/>
                <a:gd name="connsiteY52" fmla="*/ 9457 h 10228"/>
                <a:gd name="connsiteX53" fmla="*/ 4294 w 10000"/>
                <a:gd name="connsiteY53" fmla="*/ 9395 h 10228"/>
                <a:gd name="connsiteX54" fmla="*/ 4658 w 10000"/>
                <a:gd name="connsiteY54" fmla="*/ 9410 h 10228"/>
                <a:gd name="connsiteX55" fmla="*/ 4878 w 10000"/>
                <a:gd name="connsiteY55" fmla="*/ 9453 h 10228"/>
                <a:gd name="connsiteX56" fmla="*/ 5170 w 10000"/>
                <a:gd name="connsiteY56" fmla="*/ 9434 h 10228"/>
                <a:gd name="connsiteX57" fmla="*/ 5464 w 10000"/>
                <a:gd name="connsiteY57" fmla="*/ 9481 h 10228"/>
                <a:gd name="connsiteX58" fmla="*/ 5759 w 10000"/>
                <a:gd name="connsiteY58" fmla="*/ 9487 h 10228"/>
                <a:gd name="connsiteX59" fmla="*/ 6419 w 10000"/>
                <a:gd name="connsiteY59" fmla="*/ 8856 h 10228"/>
                <a:gd name="connsiteX60" fmla="*/ 6586 w 10000"/>
                <a:gd name="connsiteY60" fmla="*/ 8341 h 10228"/>
                <a:gd name="connsiteX61" fmla="*/ 6855 w 10000"/>
                <a:gd name="connsiteY61" fmla="*/ 8113 h 10228"/>
                <a:gd name="connsiteX62" fmla="*/ 6855 w 10000"/>
                <a:gd name="connsiteY62" fmla="*/ 7991 h 10228"/>
                <a:gd name="connsiteX63" fmla="*/ 6757 w 10000"/>
                <a:gd name="connsiteY63" fmla="*/ 7924 h 10228"/>
                <a:gd name="connsiteX64" fmla="*/ 6915 w 10000"/>
                <a:gd name="connsiteY64" fmla="*/ 7816 h 10228"/>
                <a:gd name="connsiteX65" fmla="*/ 6887 w 10000"/>
                <a:gd name="connsiteY65" fmla="*/ 7726 h 10228"/>
                <a:gd name="connsiteX66" fmla="*/ 6779 w 10000"/>
                <a:gd name="connsiteY66" fmla="*/ 7648 h 10228"/>
                <a:gd name="connsiteX67" fmla="*/ 6757 w 10000"/>
                <a:gd name="connsiteY67" fmla="*/ 7591 h 10228"/>
                <a:gd name="connsiteX68" fmla="*/ 6785 w 10000"/>
                <a:gd name="connsiteY68" fmla="*/ 7548 h 10228"/>
                <a:gd name="connsiteX69" fmla="*/ 6931 w 10000"/>
                <a:gd name="connsiteY69" fmla="*/ 7583 h 10228"/>
                <a:gd name="connsiteX70" fmla="*/ 7045 w 10000"/>
                <a:gd name="connsiteY70" fmla="*/ 7581 h 10228"/>
                <a:gd name="connsiteX71" fmla="*/ 6983 w 10000"/>
                <a:gd name="connsiteY71" fmla="*/ 7507 h 10228"/>
                <a:gd name="connsiteX72" fmla="*/ 7003 w 10000"/>
                <a:gd name="connsiteY72" fmla="*/ 7464 h 10228"/>
                <a:gd name="connsiteX73" fmla="*/ 7089 w 10000"/>
                <a:gd name="connsiteY73" fmla="*/ 7402 h 10228"/>
                <a:gd name="connsiteX74" fmla="*/ 7074 w 10000"/>
                <a:gd name="connsiteY74" fmla="*/ 7351 h 10228"/>
                <a:gd name="connsiteX75" fmla="*/ 7152 w 10000"/>
                <a:gd name="connsiteY75" fmla="*/ 7179 h 10228"/>
                <a:gd name="connsiteX76" fmla="*/ 7130 w 10000"/>
                <a:gd name="connsiteY76" fmla="*/ 7127 h 10228"/>
                <a:gd name="connsiteX77" fmla="*/ 6729 w 10000"/>
                <a:gd name="connsiteY77" fmla="*/ 6997 h 10228"/>
                <a:gd name="connsiteX78" fmla="*/ 6785 w 10000"/>
                <a:gd name="connsiteY78" fmla="*/ 6992 h 10228"/>
                <a:gd name="connsiteX79" fmla="*/ 6998 w 10000"/>
                <a:gd name="connsiteY79" fmla="*/ 7026 h 10228"/>
                <a:gd name="connsiteX80" fmla="*/ 7230 w 10000"/>
                <a:gd name="connsiteY80" fmla="*/ 7014 h 10228"/>
                <a:gd name="connsiteX81" fmla="*/ 7295 w 10000"/>
                <a:gd name="connsiteY81" fmla="*/ 6966 h 10228"/>
                <a:gd name="connsiteX82" fmla="*/ 7074 w 10000"/>
                <a:gd name="connsiteY82" fmla="*/ 6878 h 10228"/>
                <a:gd name="connsiteX83" fmla="*/ 6414 w 10000"/>
                <a:gd name="connsiteY83" fmla="*/ 6819 h 10228"/>
                <a:gd name="connsiteX84" fmla="*/ 6458 w 10000"/>
                <a:gd name="connsiteY84" fmla="*/ 6792 h 10228"/>
                <a:gd name="connsiteX85" fmla="*/ 6998 w 10000"/>
                <a:gd name="connsiteY85" fmla="*/ 6774 h 10228"/>
                <a:gd name="connsiteX86" fmla="*/ 7295 w 10000"/>
                <a:gd name="connsiteY86" fmla="*/ 6827 h 10228"/>
                <a:gd name="connsiteX87" fmla="*/ 7466 w 10000"/>
                <a:gd name="connsiteY87" fmla="*/ 6792 h 10228"/>
                <a:gd name="connsiteX88" fmla="*/ 7529 w 10000"/>
                <a:gd name="connsiteY88" fmla="*/ 6700 h 10228"/>
                <a:gd name="connsiteX89" fmla="*/ 7840 w 10000"/>
                <a:gd name="connsiteY89" fmla="*/ 6700 h 10228"/>
                <a:gd name="connsiteX90" fmla="*/ 8261 w 10000"/>
                <a:gd name="connsiteY90" fmla="*/ 6514 h 10228"/>
                <a:gd name="connsiteX91" fmla="*/ 8275 w 10000"/>
                <a:gd name="connsiteY91" fmla="*/ 6391 h 10228"/>
                <a:gd name="connsiteX92" fmla="*/ 8453 w 10000"/>
                <a:gd name="connsiteY92" fmla="*/ 6419 h 10228"/>
                <a:gd name="connsiteX93" fmla="*/ 8446 w 10000"/>
                <a:gd name="connsiteY93" fmla="*/ 6542 h 10228"/>
                <a:gd name="connsiteX94" fmla="*/ 8727 w 10000"/>
                <a:gd name="connsiteY94" fmla="*/ 6534 h 10228"/>
                <a:gd name="connsiteX95" fmla="*/ 8913 w 10000"/>
                <a:gd name="connsiteY95" fmla="*/ 6406 h 10228"/>
                <a:gd name="connsiteX96" fmla="*/ 9258 w 10000"/>
                <a:gd name="connsiteY96" fmla="*/ 6290 h 10228"/>
                <a:gd name="connsiteX97" fmla="*/ 9203 w 10000"/>
                <a:gd name="connsiteY97" fmla="*/ 6159 h 10228"/>
                <a:gd name="connsiteX98" fmla="*/ 9306 w 10000"/>
                <a:gd name="connsiteY98" fmla="*/ 6211 h 10228"/>
                <a:gd name="connsiteX99" fmla="*/ 9464 w 10000"/>
                <a:gd name="connsiteY99" fmla="*/ 6211 h 10228"/>
                <a:gd name="connsiteX100" fmla="*/ 9464 w 10000"/>
                <a:gd name="connsiteY100" fmla="*/ 6150 h 10228"/>
                <a:gd name="connsiteX101" fmla="*/ 9611 w 10000"/>
                <a:gd name="connsiteY101" fmla="*/ 6104 h 10228"/>
                <a:gd name="connsiteX102" fmla="*/ 9592 w 10000"/>
                <a:gd name="connsiteY102" fmla="*/ 6057 h 10228"/>
                <a:gd name="connsiteX103" fmla="*/ 8350 w 10000"/>
                <a:gd name="connsiteY103" fmla="*/ 6152 h 10228"/>
                <a:gd name="connsiteX104" fmla="*/ 8058 w 10000"/>
                <a:gd name="connsiteY104" fmla="*/ 6124 h 10228"/>
                <a:gd name="connsiteX105" fmla="*/ 7942 w 10000"/>
                <a:gd name="connsiteY105" fmla="*/ 6159 h 10228"/>
                <a:gd name="connsiteX106" fmla="*/ 7903 w 10000"/>
                <a:gd name="connsiteY106" fmla="*/ 6092 h 10228"/>
                <a:gd name="connsiteX107" fmla="*/ 7765 w 10000"/>
                <a:gd name="connsiteY107" fmla="*/ 6033 h 10228"/>
                <a:gd name="connsiteX108" fmla="*/ 7213 w 10000"/>
                <a:gd name="connsiteY108" fmla="*/ 5914 h 10228"/>
                <a:gd name="connsiteX109" fmla="*/ 6887 w 10000"/>
                <a:gd name="connsiteY109" fmla="*/ 5933 h 10228"/>
                <a:gd name="connsiteX110" fmla="*/ 6757 w 10000"/>
                <a:gd name="connsiteY110" fmla="*/ 5899 h 10228"/>
                <a:gd name="connsiteX111" fmla="*/ 6894 w 10000"/>
                <a:gd name="connsiteY111" fmla="*/ 5870 h 10228"/>
                <a:gd name="connsiteX112" fmla="*/ 6998 w 10000"/>
                <a:gd name="connsiteY112" fmla="*/ 5806 h 10228"/>
                <a:gd name="connsiteX113" fmla="*/ 7152 w 10000"/>
                <a:gd name="connsiteY113" fmla="*/ 5826 h 10228"/>
                <a:gd name="connsiteX114" fmla="*/ 7335 w 10000"/>
                <a:gd name="connsiteY114" fmla="*/ 5810 h 10228"/>
                <a:gd name="connsiteX115" fmla="*/ 7611 w 10000"/>
                <a:gd name="connsiteY115" fmla="*/ 5831 h 10228"/>
                <a:gd name="connsiteX116" fmla="*/ 7645 w 10000"/>
                <a:gd name="connsiteY116" fmla="*/ 5822 h 10228"/>
                <a:gd name="connsiteX117" fmla="*/ 7859 w 10000"/>
                <a:gd name="connsiteY117" fmla="*/ 5920 h 10228"/>
                <a:gd name="connsiteX118" fmla="*/ 8017 w 10000"/>
                <a:gd name="connsiteY118" fmla="*/ 5884 h 10228"/>
                <a:gd name="connsiteX119" fmla="*/ 8032 w 10000"/>
                <a:gd name="connsiteY119" fmla="*/ 5851 h 10228"/>
                <a:gd name="connsiteX120" fmla="*/ 8176 w 10000"/>
                <a:gd name="connsiteY120" fmla="*/ 5909 h 10228"/>
                <a:gd name="connsiteX121" fmla="*/ 8369 w 10000"/>
                <a:gd name="connsiteY121" fmla="*/ 5939 h 10228"/>
                <a:gd name="connsiteX122" fmla="*/ 8446 w 10000"/>
                <a:gd name="connsiteY122" fmla="*/ 5882 h 10228"/>
                <a:gd name="connsiteX123" fmla="*/ 8507 w 10000"/>
                <a:gd name="connsiteY123" fmla="*/ 5914 h 10228"/>
                <a:gd name="connsiteX124" fmla="*/ 8596 w 10000"/>
                <a:gd name="connsiteY124" fmla="*/ 6025 h 10228"/>
                <a:gd name="connsiteX125" fmla="*/ 8782 w 10000"/>
                <a:gd name="connsiteY125" fmla="*/ 6050 h 10228"/>
                <a:gd name="connsiteX126" fmla="*/ 9542 w 10000"/>
                <a:gd name="connsiteY126" fmla="*/ 5887 h 10228"/>
                <a:gd name="connsiteX127" fmla="*/ 9914 w 10000"/>
                <a:gd name="connsiteY127" fmla="*/ 5660 h 10228"/>
                <a:gd name="connsiteX128" fmla="*/ 10000 w 10000"/>
                <a:gd name="connsiteY128" fmla="*/ 5494 h 10228"/>
                <a:gd name="connsiteX129" fmla="*/ 9866 w 10000"/>
                <a:gd name="connsiteY129" fmla="*/ 5345 h 10228"/>
                <a:gd name="connsiteX130" fmla="*/ 9582 w 10000"/>
                <a:gd name="connsiteY130" fmla="*/ 5255 h 10228"/>
                <a:gd name="connsiteX131" fmla="*/ 9382 w 10000"/>
                <a:gd name="connsiteY131" fmla="*/ 5108 h 10228"/>
                <a:gd name="connsiteX132" fmla="*/ 9569 w 10000"/>
                <a:gd name="connsiteY132" fmla="*/ 5103 h 10228"/>
                <a:gd name="connsiteX133" fmla="*/ 9555 w 10000"/>
                <a:gd name="connsiteY133" fmla="*/ 5068 h 10228"/>
                <a:gd name="connsiteX134" fmla="*/ 9068 w 10000"/>
                <a:gd name="connsiteY134" fmla="*/ 4965 h 10228"/>
                <a:gd name="connsiteX135" fmla="*/ 9047 w 10000"/>
                <a:gd name="connsiteY135" fmla="*/ 4870 h 10228"/>
                <a:gd name="connsiteX136" fmla="*/ 8953 w 10000"/>
                <a:gd name="connsiteY136" fmla="*/ 4772 h 10228"/>
                <a:gd name="connsiteX137" fmla="*/ 8569 w 10000"/>
                <a:gd name="connsiteY137" fmla="*/ 4790 h 10228"/>
                <a:gd name="connsiteX138" fmla="*/ 8431 w 10000"/>
                <a:gd name="connsiteY138" fmla="*/ 4685 h 10228"/>
                <a:gd name="connsiteX139" fmla="*/ 8350 w 10000"/>
                <a:gd name="connsiteY139" fmla="*/ 4679 h 10228"/>
                <a:gd name="connsiteX140" fmla="*/ 8350 w 10000"/>
                <a:gd name="connsiteY140" fmla="*/ 4723 h 10228"/>
                <a:gd name="connsiteX141" fmla="*/ 8176 w 10000"/>
                <a:gd name="connsiteY141" fmla="*/ 4900 h 10228"/>
                <a:gd name="connsiteX142" fmla="*/ 7990 w 10000"/>
                <a:gd name="connsiteY142" fmla="*/ 5004 h 10228"/>
                <a:gd name="connsiteX143" fmla="*/ 7401 w 10000"/>
                <a:gd name="connsiteY143" fmla="*/ 5181 h 10228"/>
                <a:gd name="connsiteX144" fmla="*/ 7198 w 10000"/>
                <a:gd name="connsiteY144" fmla="*/ 5175 h 10228"/>
                <a:gd name="connsiteX145" fmla="*/ 6915 w 10000"/>
                <a:gd name="connsiteY145" fmla="*/ 5202 h 10228"/>
                <a:gd name="connsiteX146" fmla="*/ 6757 w 10000"/>
                <a:gd name="connsiteY146" fmla="*/ 5175 h 10228"/>
                <a:gd name="connsiteX147" fmla="*/ 6965 w 10000"/>
                <a:gd name="connsiteY147" fmla="*/ 5126 h 10228"/>
                <a:gd name="connsiteX148" fmla="*/ 7235 w 10000"/>
                <a:gd name="connsiteY148" fmla="*/ 5103 h 10228"/>
                <a:gd name="connsiteX149" fmla="*/ 7455 w 10000"/>
                <a:gd name="connsiteY149" fmla="*/ 5021 h 10228"/>
                <a:gd name="connsiteX150" fmla="*/ 7674 w 10000"/>
                <a:gd name="connsiteY150" fmla="*/ 4982 h 10228"/>
                <a:gd name="connsiteX151" fmla="*/ 8082 w 10000"/>
                <a:gd name="connsiteY151" fmla="*/ 4837 h 10228"/>
                <a:gd name="connsiteX152" fmla="*/ 8157 w 10000"/>
                <a:gd name="connsiteY152" fmla="*/ 4743 h 10228"/>
                <a:gd name="connsiteX153" fmla="*/ 8165 w 10000"/>
                <a:gd name="connsiteY153" fmla="*/ 4620 h 10228"/>
                <a:gd name="connsiteX154" fmla="*/ 7978 w 10000"/>
                <a:gd name="connsiteY154" fmla="*/ 4600 h 10228"/>
                <a:gd name="connsiteX155" fmla="*/ 8058 w 10000"/>
                <a:gd name="connsiteY155" fmla="*/ 4525 h 10228"/>
                <a:gd name="connsiteX156" fmla="*/ 8087 w 10000"/>
                <a:gd name="connsiteY156" fmla="*/ 4431 h 10228"/>
                <a:gd name="connsiteX157" fmla="*/ 8007 w 10000"/>
                <a:gd name="connsiteY157" fmla="*/ 4342 h 10228"/>
                <a:gd name="connsiteX158" fmla="*/ 4815 w 10000"/>
                <a:gd name="connsiteY158" fmla="*/ 363 h 10228"/>
                <a:gd name="connsiteX159" fmla="*/ 4802 w 10000"/>
                <a:gd name="connsiteY159" fmla="*/ 228 h 10228"/>
                <a:gd name="connsiteX160" fmla="*/ 5176 w 10000"/>
                <a:gd name="connsiteY160" fmla="*/ 559 h 10228"/>
                <a:gd name="connsiteX161" fmla="*/ 5057 w 10000"/>
                <a:gd name="connsiteY161" fmla="*/ 824 h 10228"/>
                <a:gd name="connsiteX162" fmla="*/ 4842 w 10000"/>
                <a:gd name="connsiteY162" fmla="*/ 920 h 10228"/>
                <a:gd name="connsiteX163" fmla="*/ 4200 w 10000"/>
                <a:gd name="connsiteY163" fmla="*/ 856 h 10228"/>
                <a:gd name="connsiteX164" fmla="*/ 3760 w 10000"/>
                <a:gd name="connsiteY164" fmla="*/ 892 h 10228"/>
                <a:gd name="connsiteX165" fmla="*/ 3405 w 10000"/>
                <a:gd name="connsiteY165" fmla="*/ 970 h 10228"/>
                <a:gd name="connsiteX166" fmla="*/ 2832 w 10000"/>
                <a:gd name="connsiteY166" fmla="*/ 1215 h 10228"/>
                <a:gd name="connsiteX167" fmla="*/ 2528 w 10000"/>
                <a:gd name="connsiteY167" fmla="*/ 1509 h 10228"/>
                <a:gd name="connsiteX168" fmla="*/ 2555 w 10000"/>
                <a:gd name="connsiteY168" fmla="*/ 1674 h 10228"/>
                <a:gd name="connsiteX169" fmla="*/ 2661 w 10000"/>
                <a:gd name="connsiteY169" fmla="*/ 1800 h 10228"/>
                <a:gd name="connsiteX170" fmla="*/ 2741 w 10000"/>
                <a:gd name="connsiteY170" fmla="*/ 1851 h 10228"/>
                <a:gd name="connsiteX171" fmla="*/ 2592 w 10000"/>
                <a:gd name="connsiteY171" fmla="*/ 1933 h 10228"/>
                <a:gd name="connsiteX172" fmla="*/ 2267 w 10000"/>
                <a:gd name="connsiteY172" fmla="*/ 2488 h 10228"/>
                <a:gd name="connsiteX173" fmla="*/ 2330 w 10000"/>
                <a:gd name="connsiteY173" fmla="*/ 2519 h 10228"/>
                <a:gd name="connsiteX174" fmla="*/ 2375 w 10000"/>
                <a:gd name="connsiteY174" fmla="*/ 2661 h 10228"/>
                <a:gd name="connsiteX175" fmla="*/ 2226 w 10000"/>
                <a:gd name="connsiteY175" fmla="*/ 3245 h 10228"/>
                <a:gd name="connsiteX176" fmla="*/ 2375 w 10000"/>
                <a:gd name="connsiteY176" fmla="*/ 3394 h 10228"/>
                <a:gd name="connsiteX177" fmla="*/ 2791 w 10000"/>
                <a:gd name="connsiteY177" fmla="*/ 3557 h 10228"/>
                <a:gd name="connsiteX178" fmla="*/ 2808 w 10000"/>
                <a:gd name="connsiteY178" fmla="*/ 3756 h 10228"/>
                <a:gd name="connsiteX179" fmla="*/ 2632 w 10000"/>
                <a:gd name="connsiteY179" fmla="*/ 3922 h 10228"/>
                <a:gd name="connsiteX180" fmla="*/ 2375 w 10000"/>
                <a:gd name="connsiteY180" fmla="*/ 4022 h 10228"/>
                <a:gd name="connsiteX181" fmla="*/ 2039 w 10000"/>
                <a:gd name="connsiteY181" fmla="*/ 4062 h 10228"/>
                <a:gd name="connsiteX182" fmla="*/ 1950 w 10000"/>
                <a:gd name="connsiteY182" fmla="*/ 4121 h 10228"/>
                <a:gd name="connsiteX183" fmla="*/ 2148 w 10000"/>
                <a:gd name="connsiteY183" fmla="*/ 4258 h 10228"/>
                <a:gd name="connsiteX184" fmla="*/ 2261 w 10000"/>
                <a:gd name="connsiteY184" fmla="*/ 4583 h 10228"/>
                <a:gd name="connsiteX185" fmla="*/ 2005 w 10000"/>
                <a:gd name="connsiteY185" fmla="*/ 4863 h 10228"/>
                <a:gd name="connsiteX186" fmla="*/ 2094 w 10000"/>
                <a:gd name="connsiteY186" fmla="*/ 4948 h 10228"/>
                <a:gd name="connsiteX187" fmla="*/ 2012 w 10000"/>
                <a:gd name="connsiteY187" fmla="*/ 5095 h 10228"/>
                <a:gd name="connsiteX188" fmla="*/ 1850 w 10000"/>
                <a:gd name="connsiteY188" fmla="*/ 5195 h 10228"/>
                <a:gd name="connsiteX189" fmla="*/ 1199 w 10000"/>
                <a:gd name="connsiteY189" fmla="*/ 5272 h 10228"/>
                <a:gd name="connsiteX190" fmla="*/ 1158 w 10000"/>
                <a:gd name="connsiteY190" fmla="*/ 5407 h 10228"/>
                <a:gd name="connsiteX191" fmla="*/ 808 w 10000"/>
                <a:gd name="connsiteY191" fmla="*/ 5608 h 10228"/>
                <a:gd name="connsiteX192" fmla="*/ 854 w 10000"/>
                <a:gd name="connsiteY192" fmla="*/ 5897 h 10228"/>
                <a:gd name="connsiteX193" fmla="*/ 560 w 10000"/>
                <a:gd name="connsiteY193" fmla="*/ 6267 h 10228"/>
                <a:gd name="connsiteX194" fmla="*/ 358 w 10000"/>
                <a:gd name="connsiteY194" fmla="*/ 6310 h 10228"/>
                <a:gd name="connsiteX195" fmla="*/ 275 w 10000"/>
                <a:gd name="connsiteY195" fmla="*/ 6223 h 10228"/>
                <a:gd name="connsiteX196" fmla="*/ 174 w 10000"/>
                <a:gd name="connsiteY196" fmla="*/ 6356 h 10228"/>
                <a:gd name="connsiteX197" fmla="*/ 239 w 10000"/>
                <a:gd name="connsiteY197" fmla="*/ 6126 h 10228"/>
                <a:gd name="connsiteX198" fmla="*/ 197 w 10000"/>
                <a:gd name="connsiteY198" fmla="*/ 6083 h 10228"/>
                <a:gd name="connsiteX0" fmla="*/ 197 w 10000"/>
                <a:gd name="connsiteY0" fmla="*/ 5971 h 10116"/>
                <a:gd name="connsiteX1" fmla="*/ 0 w 10000"/>
                <a:gd name="connsiteY1" fmla="*/ 6090 h 10116"/>
                <a:gd name="connsiteX2" fmla="*/ 0 w 10000"/>
                <a:gd name="connsiteY2" fmla="*/ 6680 h 10116"/>
                <a:gd name="connsiteX3" fmla="*/ 109 w 10000"/>
                <a:gd name="connsiteY3" fmla="*/ 6696 h 10116"/>
                <a:gd name="connsiteX4" fmla="*/ 134 w 10000"/>
                <a:gd name="connsiteY4" fmla="*/ 6742 h 10116"/>
                <a:gd name="connsiteX5" fmla="*/ 130 w 10000"/>
                <a:gd name="connsiteY5" fmla="*/ 6822 h 10116"/>
                <a:gd name="connsiteX6" fmla="*/ 89 w 10000"/>
                <a:gd name="connsiteY6" fmla="*/ 6858 h 10116"/>
                <a:gd name="connsiteX7" fmla="*/ 255 w 10000"/>
                <a:gd name="connsiteY7" fmla="*/ 6789 h 10116"/>
                <a:gd name="connsiteX8" fmla="*/ 325 w 10000"/>
                <a:gd name="connsiteY8" fmla="*/ 6722 h 10116"/>
                <a:gd name="connsiteX9" fmla="*/ 413 w 10000"/>
                <a:gd name="connsiteY9" fmla="*/ 6768 h 10116"/>
                <a:gd name="connsiteX10" fmla="*/ 316 w 10000"/>
                <a:gd name="connsiteY10" fmla="*/ 6865 h 10116"/>
                <a:gd name="connsiteX11" fmla="*/ 419 w 10000"/>
                <a:gd name="connsiteY11" fmla="*/ 6867 h 10116"/>
                <a:gd name="connsiteX12" fmla="*/ 469 w 10000"/>
                <a:gd name="connsiteY12" fmla="*/ 6891 h 10116"/>
                <a:gd name="connsiteX13" fmla="*/ 337 w 10000"/>
                <a:gd name="connsiteY13" fmla="*/ 6922 h 10116"/>
                <a:gd name="connsiteX14" fmla="*/ 130 w 10000"/>
                <a:gd name="connsiteY14" fmla="*/ 7021 h 10116"/>
                <a:gd name="connsiteX15" fmla="*/ 497 w 10000"/>
                <a:gd name="connsiteY15" fmla="*/ 7099 h 10116"/>
                <a:gd name="connsiteX16" fmla="*/ 545 w 10000"/>
                <a:gd name="connsiteY16" fmla="*/ 7210 h 10116"/>
                <a:gd name="connsiteX17" fmla="*/ 419 w 10000"/>
                <a:gd name="connsiteY17" fmla="*/ 7372 h 10116"/>
                <a:gd name="connsiteX18" fmla="*/ 688 w 10000"/>
                <a:gd name="connsiteY18" fmla="*/ 7362 h 10116"/>
                <a:gd name="connsiteX19" fmla="*/ 709 w 10000"/>
                <a:gd name="connsiteY19" fmla="*/ 7485 h 10116"/>
                <a:gd name="connsiteX20" fmla="*/ 530 w 10000"/>
                <a:gd name="connsiteY20" fmla="*/ 7569 h 10116"/>
                <a:gd name="connsiteX21" fmla="*/ 560 w 10000"/>
                <a:gd name="connsiteY21" fmla="*/ 7731 h 10116"/>
                <a:gd name="connsiteX22" fmla="*/ 489 w 10000"/>
                <a:gd name="connsiteY22" fmla="*/ 7856 h 10116"/>
                <a:gd name="connsiteX23" fmla="*/ 703 w 10000"/>
                <a:gd name="connsiteY23" fmla="*/ 7868 h 10116"/>
                <a:gd name="connsiteX24" fmla="*/ 909 w 10000"/>
                <a:gd name="connsiteY24" fmla="*/ 8350 h 10116"/>
                <a:gd name="connsiteX25" fmla="*/ 1150 w 10000"/>
                <a:gd name="connsiteY25" fmla="*/ 8471 h 10116"/>
                <a:gd name="connsiteX26" fmla="*/ 1255 w 10000"/>
                <a:gd name="connsiteY26" fmla="*/ 8602 h 10116"/>
                <a:gd name="connsiteX27" fmla="*/ 1514 w 10000"/>
                <a:gd name="connsiteY27" fmla="*/ 8696 h 10116"/>
                <a:gd name="connsiteX28" fmla="*/ 1684 w 10000"/>
                <a:gd name="connsiteY28" fmla="*/ 8818 h 10116"/>
                <a:gd name="connsiteX29" fmla="*/ 1661 w 10000"/>
                <a:gd name="connsiteY29" fmla="*/ 8904 h 10116"/>
                <a:gd name="connsiteX30" fmla="*/ 1496 w 10000"/>
                <a:gd name="connsiteY30" fmla="*/ 8936 h 10116"/>
                <a:gd name="connsiteX31" fmla="*/ 1316 w 10000"/>
                <a:gd name="connsiteY31" fmla="*/ 8916 h 10116"/>
                <a:gd name="connsiteX32" fmla="*/ 1260 w 10000"/>
                <a:gd name="connsiteY32" fmla="*/ 8951 h 10116"/>
                <a:gd name="connsiteX33" fmla="*/ 1397 w 10000"/>
                <a:gd name="connsiteY33" fmla="*/ 9138 h 10116"/>
                <a:gd name="connsiteX34" fmla="*/ 1205 w 10000"/>
                <a:gd name="connsiteY34" fmla="*/ 9123 h 10116"/>
                <a:gd name="connsiteX35" fmla="*/ 1040 w 10000"/>
                <a:gd name="connsiteY35" fmla="*/ 9077 h 10116"/>
                <a:gd name="connsiteX36" fmla="*/ 1012 w 10000"/>
                <a:gd name="connsiteY36" fmla="*/ 9147 h 10116"/>
                <a:gd name="connsiteX37" fmla="*/ 1557 w 10000"/>
                <a:gd name="connsiteY37" fmla="*/ 9789 h 10116"/>
                <a:gd name="connsiteX38" fmla="*/ 1469 w 10000"/>
                <a:gd name="connsiteY38" fmla="*/ 9849 h 10116"/>
                <a:gd name="connsiteX39" fmla="*/ 1408 w 10000"/>
                <a:gd name="connsiteY39" fmla="*/ 9973 h 10116"/>
                <a:gd name="connsiteX40" fmla="*/ 1329 w 10000"/>
                <a:gd name="connsiteY40" fmla="*/ 9982 h 10116"/>
                <a:gd name="connsiteX41" fmla="*/ 1281 w 10000"/>
                <a:gd name="connsiteY41" fmla="*/ 10036 h 10116"/>
                <a:gd name="connsiteX42" fmla="*/ 1609 w 10000"/>
                <a:gd name="connsiteY42" fmla="*/ 10041 h 10116"/>
                <a:gd name="connsiteX43" fmla="*/ 1900 w 10000"/>
                <a:gd name="connsiteY43" fmla="*/ 10095 h 10116"/>
                <a:gd name="connsiteX44" fmla="*/ 2383 w 10000"/>
                <a:gd name="connsiteY44" fmla="*/ 10038 h 10116"/>
                <a:gd name="connsiteX45" fmla="*/ 2816 w 10000"/>
                <a:gd name="connsiteY45" fmla="*/ 10049 h 10116"/>
                <a:gd name="connsiteX46" fmla="*/ 3072 w 10000"/>
                <a:gd name="connsiteY46" fmla="*/ 10116 h 10116"/>
                <a:gd name="connsiteX47" fmla="*/ 3212 w 10000"/>
                <a:gd name="connsiteY47" fmla="*/ 10071 h 10116"/>
                <a:gd name="connsiteX48" fmla="*/ 3348 w 10000"/>
                <a:gd name="connsiteY48" fmla="*/ 9924 h 10116"/>
                <a:gd name="connsiteX49" fmla="*/ 3313 w 10000"/>
                <a:gd name="connsiteY49" fmla="*/ 9680 h 10116"/>
                <a:gd name="connsiteX50" fmla="*/ 3642 w 10000"/>
                <a:gd name="connsiteY50" fmla="*/ 9411 h 10116"/>
                <a:gd name="connsiteX51" fmla="*/ 3883 w 10000"/>
                <a:gd name="connsiteY51" fmla="*/ 9453 h 10116"/>
                <a:gd name="connsiteX52" fmla="*/ 4025 w 10000"/>
                <a:gd name="connsiteY52" fmla="*/ 9345 h 10116"/>
                <a:gd name="connsiteX53" fmla="*/ 4294 w 10000"/>
                <a:gd name="connsiteY53" fmla="*/ 9283 h 10116"/>
                <a:gd name="connsiteX54" fmla="*/ 4658 w 10000"/>
                <a:gd name="connsiteY54" fmla="*/ 9298 h 10116"/>
                <a:gd name="connsiteX55" fmla="*/ 4878 w 10000"/>
                <a:gd name="connsiteY55" fmla="*/ 9341 h 10116"/>
                <a:gd name="connsiteX56" fmla="*/ 5170 w 10000"/>
                <a:gd name="connsiteY56" fmla="*/ 9322 h 10116"/>
                <a:gd name="connsiteX57" fmla="*/ 5464 w 10000"/>
                <a:gd name="connsiteY57" fmla="*/ 9369 h 10116"/>
                <a:gd name="connsiteX58" fmla="*/ 5759 w 10000"/>
                <a:gd name="connsiteY58" fmla="*/ 9375 h 10116"/>
                <a:gd name="connsiteX59" fmla="*/ 6419 w 10000"/>
                <a:gd name="connsiteY59" fmla="*/ 8744 h 10116"/>
                <a:gd name="connsiteX60" fmla="*/ 6586 w 10000"/>
                <a:gd name="connsiteY60" fmla="*/ 8229 h 10116"/>
                <a:gd name="connsiteX61" fmla="*/ 6855 w 10000"/>
                <a:gd name="connsiteY61" fmla="*/ 8001 h 10116"/>
                <a:gd name="connsiteX62" fmla="*/ 6855 w 10000"/>
                <a:gd name="connsiteY62" fmla="*/ 7879 h 10116"/>
                <a:gd name="connsiteX63" fmla="*/ 6757 w 10000"/>
                <a:gd name="connsiteY63" fmla="*/ 7812 h 10116"/>
                <a:gd name="connsiteX64" fmla="*/ 6915 w 10000"/>
                <a:gd name="connsiteY64" fmla="*/ 7704 h 10116"/>
                <a:gd name="connsiteX65" fmla="*/ 6887 w 10000"/>
                <a:gd name="connsiteY65" fmla="*/ 7614 h 10116"/>
                <a:gd name="connsiteX66" fmla="*/ 6779 w 10000"/>
                <a:gd name="connsiteY66" fmla="*/ 7536 h 10116"/>
                <a:gd name="connsiteX67" fmla="*/ 6757 w 10000"/>
                <a:gd name="connsiteY67" fmla="*/ 7479 h 10116"/>
                <a:gd name="connsiteX68" fmla="*/ 6785 w 10000"/>
                <a:gd name="connsiteY68" fmla="*/ 7436 h 10116"/>
                <a:gd name="connsiteX69" fmla="*/ 6931 w 10000"/>
                <a:gd name="connsiteY69" fmla="*/ 7471 h 10116"/>
                <a:gd name="connsiteX70" fmla="*/ 7045 w 10000"/>
                <a:gd name="connsiteY70" fmla="*/ 7469 h 10116"/>
                <a:gd name="connsiteX71" fmla="*/ 6983 w 10000"/>
                <a:gd name="connsiteY71" fmla="*/ 7395 h 10116"/>
                <a:gd name="connsiteX72" fmla="*/ 7003 w 10000"/>
                <a:gd name="connsiteY72" fmla="*/ 7352 h 10116"/>
                <a:gd name="connsiteX73" fmla="*/ 7089 w 10000"/>
                <a:gd name="connsiteY73" fmla="*/ 7290 h 10116"/>
                <a:gd name="connsiteX74" fmla="*/ 7074 w 10000"/>
                <a:gd name="connsiteY74" fmla="*/ 7239 h 10116"/>
                <a:gd name="connsiteX75" fmla="*/ 7152 w 10000"/>
                <a:gd name="connsiteY75" fmla="*/ 7067 h 10116"/>
                <a:gd name="connsiteX76" fmla="*/ 7130 w 10000"/>
                <a:gd name="connsiteY76" fmla="*/ 7015 h 10116"/>
                <a:gd name="connsiteX77" fmla="*/ 6729 w 10000"/>
                <a:gd name="connsiteY77" fmla="*/ 6885 h 10116"/>
                <a:gd name="connsiteX78" fmla="*/ 6785 w 10000"/>
                <a:gd name="connsiteY78" fmla="*/ 6880 h 10116"/>
                <a:gd name="connsiteX79" fmla="*/ 6998 w 10000"/>
                <a:gd name="connsiteY79" fmla="*/ 6914 h 10116"/>
                <a:gd name="connsiteX80" fmla="*/ 7230 w 10000"/>
                <a:gd name="connsiteY80" fmla="*/ 6902 h 10116"/>
                <a:gd name="connsiteX81" fmla="*/ 7295 w 10000"/>
                <a:gd name="connsiteY81" fmla="*/ 6854 h 10116"/>
                <a:gd name="connsiteX82" fmla="*/ 7074 w 10000"/>
                <a:gd name="connsiteY82" fmla="*/ 6766 h 10116"/>
                <a:gd name="connsiteX83" fmla="*/ 6414 w 10000"/>
                <a:gd name="connsiteY83" fmla="*/ 6707 h 10116"/>
                <a:gd name="connsiteX84" fmla="*/ 6458 w 10000"/>
                <a:gd name="connsiteY84" fmla="*/ 6680 h 10116"/>
                <a:gd name="connsiteX85" fmla="*/ 6998 w 10000"/>
                <a:gd name="connsiteY85" fmla="*/ 6662 h 10116"/>
                <a:gd name="connsiteX86" fmla="*/ 7295 w 10000"/>
                <a:gd name="connsiteY86" fmla="*/ 6715 h 10116"/>
                <a:gd name="connsiteX87" fmla="*/ 7466 w 10000"/>
                <a:gd name="connsiteY87" fmla="*/ 6680 h 10116"/>
                <a:gd name="connsiteX88" fmla="*/ 7529 w 10000"/>
                <a:gd name="connsiteY88" fmla="*/ 6588 h 10116"/>
                <a:gd name="connsiteX89" fmla="*/ 7840 w 10000"/>
                <a:gd name="connsiteY89" fmla="*/ 6588 h 10116"/>
                <a:gd name="connsiteX90" fmla="*/ 8261 w 10000"/>
                <a:gd name="connsiteY90" fmla="*/ 6402 h 10116"/>
                <a:gd name="connsiteX91" fmla="*/ 8275 w 10000"/>
                <a:gd name="connsiteY91" fmla="*/ 6279 h 10116"/>
                <a:gd name="connsiteX92" fmla="*/ 8453 w 10000"/>
                <a:gd name="connsiteY92" fmla="*/ 6307 h 10116"/>
                <a:gd name="connsiteX93" fmla="*/ 8446 w 10000"/>
                <a:gd name="connsiteY93" fmla="*/ 6430 h 10116"/>
                <a:gd name="connsiteX94" fmla="*/ 8727 w 10000"/>
                <a:gd name="connsiteY94" fmla="*/ 6422 h 10116"/>
                <a:gd name="connsiteX95" fmla="*/ 8913 w 10000"/>
                <a:gd name="connsiteY95" fmla="*/ 6294 h 10116"/>
                <a:gd name="connsiteX96" fmla="*/ 9258 w 10000"/>
                <a:gd name="connsiteY96" fmla="*/ 6178 h 10116"/>
                <a:gd name="connsiteX97" fmla="*/ 9203 w 10000"/>
                <a:gd name="connsiteY97" fmla="*/ 6047 h 10116"/>
                <a:gd name="connsiteX98" fmla="*/ 9306 w 10000"/>
                <a:gd name="connsiteY98" fmla="*/ 6099 h 10116"/>
                <a:gd name="connsiteX99" fmla="*/ 9464 w 10000"/>
                <a:gd name="connsiteY99" fmla="*/ 6099 h 10116"/>
                <a:gd name="connsiteX100" fmla="*/ 9464 w 10000"/>
                <a:gd name="connsiteY100" fmla="*/ 6038 h 10116"/>
                <a:gd name="connsiteX101" fmla="*/ 9611 w 10000"/>
                <a:gd name="connsiteY101" fmla="*/ 5992 h 10116"/>
                <a:gd name="connsiteX102" fmla="*/ 9592 w 10000"/>
                <a:gd name="connsiteY102" fmla="*/ 5945 h 10116"/>
                <a:gd name="connsiteX103" fmla="*/ 8350 w 10000"/>
                <a:gd name="connsiteY103" fmla="*/ 6040 h 10116"/>
                <a:gd name="connsiteX104" fmla="*/ 8058 w 10000"/>
                <a:gd name="connsiteY104" fmla="*/ 6012 h 10116"/>
                <a:gd name="connsiteX105" fmla="*/ 7942 w 10000"/>
                <a:gd name="connsiteY105" fmla="*/ 6047 h 10116"/>
                <a:gd name="connsiteX106" fmla="*/ 7903 w 10000"/>
                <a:gd name="connsiteY106" fmla="*/ 5980 h 10116"/>
                <a:gd name="connsiteX107" fmla="*/ 7765 w 10000"/>
                <a:gd name="connsiteY107" fmla="*/ 5921 h 10116"/>
                <a:gd name="connsiteX108" fmla="*/ 7213 w 10000"/>
                <a:gd name="connsiteY108" fmla="*/ 5802 h 10116"/>
                <a:gd name="connsiteX109" fmla="*/ 6887 w 10000"/>
                <a:gd name="connsiteY109" fmla="*/ 5821 h 10116"/>
                <a:gd name="connsiteX110" fmla="*/ 6757 w 10000"/>
                <a:gd name="connsiteY110" fmla="*/ 5787 h 10116"/>
                <a:gd name="connsiteX111" fmla="*/ 6894 w 10000"/>
                <a:gd name="connsiteY111" fmla="*/ 5758 h 10116"/>
                <a:gd name="connsiteX112" fmla="*/ 6998 w 10000"/>
                <a:gd name="connsiteY112" fmla="*/ 5694 h 10116"/>
                <a:gd name="connsiteX113" fmla="*/ 7152 w 10000"/>
                <a:gd name="connsiteY113" fmla="*/ 5714 h 10116"/>
                <a:gd name="connsiteX114" fmla="*/ 7335 w 10000"/>
                <a:gd name="connsiteY114" fmla="*/ 5698 h 10116"/>
                <a:gd name="connsiteX115" fmla="*/ 7611 w 10000"/>
                <a:gd name="connsiteY115" fmla="*/ 5719 h 10116"/>
                <a:gd name="connsiteX116" fmla="*/ 7645 w 10000"/>
                <a:gd name="connsiteY116" fmla="*/ 5710 h 10116"/>
                <a:gd name="connsiteX117" fmla="*/ 7859 w 10000"/>
                <a:gd name="connsiteY117" fmla="*/ 5808 h 10116"/>
                <a:gd name="connsiteX118" fmla="*/ 8017 w 10000"/>
                <a:gd name="connsiteY118" fmla="*/ 5772 h 10116"/>
                <a:gd name="connsiteX119" fmla="*/ 8032 w 10000"/>
                <a:gd name="connsiteY119" fmla="*/ 5739 h 10116"/>
                <a:gd name="connsiteX120" fmla="*/ 8176 w 10000"/>
                <a:gd name="connsiteY120" fmla="*/ 5797 h 10116"/>
                <a:gd name="connsiteX121" fmla="*/ 8369 w 10000"/>
                <a:gd name="connsiteY121" fmla="*/ 5827 h 10116"/>
                <a:gd name="connsiteX122" fmla="*/ 8446 w 10000"/>
                <a:gd name="connsiteY122" fmla="*/ 5770 h 10116"/>
                <a:gd name="connsiteX123" fmla="*/ 8507 w 10000"/>
                <a:gd name="connsiteY123" fmla="*/ 5802 h 10116"/>
                <a:gd name="connsiteX124" fmla="*/ 8596 w 10000"/>
                <a:gd name="connsiteY124" fmla="*/ 5913 h 10116"/>
                <a:gd name="connsiteX125" fmla="*/ 8782 w 10000"/>
                <a:gd name="connsiteY125" fmla="*/ 5938 h 10116"/>
                <a:gd name="connsiteX126" fmla="*/ 9542 w 10000"/>
                <a:gd name="connsiteY126" fmla="*/ 5775 h 10116"/>
                <a:gd name="connsiteX127" fmla="*/ 9914 w 10000"/>
                <a:gd name="connsiteY127" fmla="*/ 5548 h 10116"/>
                <a:gd name="connsiteX128" fmla="*/ 10000 w 10000"/>
                <a:gd name="connsiteY128" fmla="*/ 5382 h 10116"/>
                <a:gd name="connsiteX129" fmla="*/ 9866 w 10000"/>
                <a:gd name="connsiteY129" fmla="*/ 5233 h 10116"/>
                <a:gd name="connsiteX130" fmla="*/ 9582 w 10000"/>
                <a:gd name="connsiteY130" fmla="*/ 5143 h 10116"/>
                <a:gd name="connsiteX131" fmla="*/ 9382 w 10000"/>
                <a:gd name="connsiteY131" fmla="*/ 4996 h 10116"/>
                <a:gd name="connsiteX132" fmla="*/ 9569 w 10000"/>
                <a:gd name="connsiteY132" fmla="*/ 4991 h 10116"/>
                <a:gd name="connsiteX133" fmla="*/ 9555 w 10000"/>
                <a:gd name="connsiteY133" fmla="*/ 4956 h 10116"/>
                <a:gd name="connsiteX134" fmla="*/ 9068 w 10000"/>
                <a:gd name="connsiteY134" fmla="*/ 4853 h 10116"/>
                <a:gd name="connsiteX135" fmla="*/ 9047 w 10000"/>
                <a:gd name="connsiteY135" fmla="*/ 4758 h 10116"/>
                <a:gd name="connsiteX136" fmla="*/ 8953 w 10000"/>
                <a:gd name="connsiteY136" fmla="*/ 4660 h 10116"/>
                <a:gd name="connsiteX137" fmla="*/ 8569 w 10000"/>
                <a:gd name="connsiteY137" fmla="*/ 4678 h 10116"/>
                <a:gd name="connsiteX138" fmla="*/ 8431 w 10000"/>
                <a:gd name="connsiteY138" fmla="*/ 4573 h 10116"/>
                <a:gd name="connsiteX139" fmla="*/ 8350 w 10000"/>
                <a:gd name="connsiteY139" fmla="*/ 4567 h 10116"/>
                <a:gd name="connsiteX140" fmla="*/ 8350 w 10000"/>
                <a:gd name="connsiteY140" fmla="*/ 4611 h 10116"/>
                <a:gd name="connsiteX141" fmla="*/ 8176 w 10000"/>
                <a:gd name="connsiteY141" fmla="*/ 4788 h 10116"/>
                <a:gd name="connsiteX142" fmla="*/ 7990 w 10000"/>
                <a:gd name="connsiteY142" fmla="*/ 4892 h 10116"/>
                <a:gd name="connsiteX143" fmla="*/ 7401 w 10000"/>
                <a:gd name="connsiteY143" fmla="*/ 5069 h 10116"/>
                <a:gd name="connsiteX144" fmla="*/ 7198 w 10000"/>
                <a:gd name="connsiteY144" fmla="*/ 5063 h 10116"/>
                <a:gd name="connsiteX145" fmla="*/ 6915 w 10000"/>
                <a:gd name="connsiteY145" fmla="*/ 5090 h 10116"/>
                <a:gd name="connsiteX146" fmla="*/ 6757 w 10000"/>
                <a:gd name="connsiteY146" fmla="*/ 5063 h 10116"/>
                <a:gd name="connsiteX147" fmla="*/ 6965 w 10000"/>
                <a:gd name="connsiteY147" fmla="*/ 5014 h 10116"/>
                <a:gd name="connsiteX148" fmla="*/ 7235 w 10000"/>
                <a:gd name="connsiteY148" fmla="*/ 4991 h 10116"/>
                <a:gd name="connsiteX149" fmla="*/ 7455 w 10000"/>
                <a:gd name="connsiteY149" fmla="*/ 4909 h 10116"/>
                <a:gd name="connsiteX150" fmla="*/ 7674 w 10000"/>
                <a:gd name="connsiteY150" fmla="*/ 4870 h 10116"/>
                <a:gd name="connsiteX151" fmla="*/ 8082 w 10000"/>
                <a:gd name="connsiteY151" fmla="*/ 4725 h 10116"/>
                <a:gd name="connsiteX152" fmla="*/ 8157 w 10000"/>
                <a:gd name="connsiteY152" fmla="*/ 4631 h 10116"/>
                <a:gd name="connsiteX153" fmla="*/ 8165 w 10000"/>
                <a:gd name="connsiteY153" fmla="*/ 4508 h 10116"/>
                <a:gd name="connsiteX154" fmla="*/ 7978 w 10000"/>
                <a:gd name="connsiteY154" fmla="*/ 4488 h 10116"/>
                <a:gd name="connsiteX155" fmla="*/ 8058 w 10000"/>
                <a:gd name="connsiteY155" fmla="*/ 4413 h 10116"/>
                <a:gd name="connsiteX156" fmla="*/ 8087 w 10000"/>
                <a:gd name="connsiteY156" fmla="*/ 4319 h 10116"/>
                <a:gd name="connsiteX157" fmla="*/ 8007 w 10000"/>
                <a:gd name="connsiteY157" fmla="*/ 4230 h 10116"/>
                <a:gd name="connsiteX158" fmla="*/ 4815 w 10000"/>
                <a:gd name="connsiteY158" fmla="*/ 251 h 10116"/>
                <a:gd name="connsiteX159" fmla="*/ 5176 w 10000"/>
                <a:gd name="connsiteY159" fmla="*/ 447 h 10116"/>
                <a:gd name="connsiteX160" fmla="*/ 5057 w 10000"/>
                <a:gd name="connsiteY160" fmla="*/ 712 h 10116"/>
                <a:gd name="connsiteX161" fmla="*/ 4842 w 10000"/>
                <a:gd name="connsiteY161" fmla="*/ 808 h 10116"/>
                <a:gd name="connsiteX162" fmla="*/ 4200 w 10000"/>
                <a:gd name="connsiteY162" fmla="*/ 744 h 10116"/>
                <a:gd name="connsiteX163" fmla="*/ 3760 w 10000"/>
                <a:gd name="connsiteY163" fmla="*/ 780 h 10116"/>
                <a:gd name="connsiteX164" fmla="*/ 3405 w 10000"/>
                <a:gd name="connsiteY164" fmla="*/ 858 h 10116"/>
                <a:gd name="connsiteX165" fmla="*/ 2832 w 10000"/>
                <a:gd name="connsiteY165" fmla="*/ 1103 h 10116"/>
                <a:gd name="connsiteX166" fmla="*/ 2528 w 10000"/>
                <a:gd name="connsiteY166" fmla="*/ 1397 h 10116"/>
                <a:gd name="connsiteX167" fmla="*/ 2555 w 10000"/>
                <a:gd name="connsiteY167" fmla="*/ 1562 h 10116"/>
                <a:gd name="connsiteX168" fmla="*/ 2661 w 10000"/>
                <a:gd name="connsiteY168" fmla="*/ 1688 h 10116"/>
                <a:gd name="connsiteX169" fmla="*/ 2741 w 10000"/>
                <a:gd name="connsiteY169" fmla="*/ 1739 h 10116"/>
                <a:gd name="connsiteX170" fmla="*/ 2592 w 10000"/>
                <a:gd name="connsiteY170" fmla="*/ 1821 h 10116"/>
                <a:gd name="connsiteX171" fmla="*/ 2267 w 10000"/>
                <a:gd name="connsiteY171" fmla="*/ 2376 h 10116"/>
                <a:gd name="connsiteX172" fmla="*/ 2330 w 10000"/>
                <a:gd name="connsiteY172" fmla="*/ 2407 h 10116"/>
                <a:gd name="connsiteX173" fmla="*/ 2375 w 10000"/>
                <a:gd name="connsiteY173" fmla="*/ 2549 h 10116"/>
                <a:gd name="connsiteX174" fmla="*/ 2226 w 10000"/>
                <a:gd name="connsiteY174" fmla="*/ 3133 h 10116"/>
                <a:gd name="connsiteX175" fmla="*/ 2375 w 10000"/>
                <a:gd name="connsiteY175" fmla="*/ 3282 h 10116"/>
                <a:gd name="connsiteX176" fmla="*/ 2791 w 10000"/>
                <a:gd name="connsiteY176" fmla="*/ 3445 h 10116"/>
                <a:gd name="connsiteX177" fmla="*/ 2808 w 10000"/>
                <a:gd name="connsiteY177" fmla="*/ 3644 h 10116"/>
                <a:gd name="connsiteX178" fmla="*/ 2632 w 10000"/>
                <a:gd name="connsiteY178" fmla="*/ 3810 h 10116"/>
                <a:gd name="connsiteX179" fmla="*/ 2375 w 10000"/>
                <a:gd name="connsiteY179" fmla="*/ 3910 h 10116"/>
                <a:gd name="connsiteX180" fmla="*/ 2039 w 10000"/>
                <a:gd name="connsiteY180" fmla="*/ 3950 h 10116"/>
                <a:gd name="connsiteX181" fmla="*/ 1950 w 10000"/>
                <a:gd name="connsiteY181" fmla="*/ 4009 h 10116"/>
                <a:gd name="connsiteX182" fmla="*/ 2148 w 10000"/>
                <a:gd name="connsiteY182" fmla="*/ 4146 h 10116"/>
                <a:gd name="connsiteX183" fmla="*/ 2261 w 10000"/>
                <a:gd name="connsiteY183" fmla="*/ 4471 h 10116"/>
                <a:gd name="connsiteX184" fmla="*/ 2005 w 10000"/>
                <a:gd name="connsiteY184" fmla="*/ 4751 h 10116"/>
                <a:gd name="connsiteX185" fmla="*/ 2094 w 10000"/>
                <a:gd name="connsiteY185" fmla="*/ 4836 h 10116"/>
                <a:gd name="connsiteX186" fmla="*/ 2012 w 10000"/>
                <a:gd name="connsiteY186" fmla="*/ 4983 h 10116"/>
                <a:gd name="connsiteX187" fmla="*/ 1850 w 10000"/>
                <a:gd name="connsiteY187" fmla="*/ 5083 h 10116"/>
                <a:gd name="connsiteX188" fmla="*/ 1199 w 10000"/>
                <a:gd name="connsiteY188" fmla="*/ 5160 h 10116"/>
                <a:gd name="connsiteX189" fmla="*/ 1158 w 10000"/>
                <a:gd name="connsiteY189" fmla="*/ 5295 h 10116"/>
                <a:gd name="connsiteX190" fmla="*/ 808 w 10000"/>
                <a:gd name="connsiteY190" fmla="*/ 5496 h 10116"/>
                <a:gd name="connsiteX191" fmla="*/ 854 w 10000"/>
                <a:gd name="connsiteY191" fmla="*/ 5785 h 10116"/>
                <a:gd name="connsiteX192" fmla="*/ 560 w 10000"/>
                <a:gd name="connsiteY192" fmla="*/ 6155 h 10116"/>
                <a:gd name="connsiteX193" fmla="*/ 358 w 10000"/>
                <a:gd name="connsiteY193" fmla="*/ 6198 h 10116"/>
                <a:gd name="connsiteX194" fmla="*/ 275 w 10000"/>
                <a:gd name="connsiteY194" fmla="*/ 6111 h 10116"/>
                <a:gd name="connsiteX195" fmla="*/ 174 w 10000"/>
                <a:gd name="connsiteY195" fmla="*/ 6244 h 10116"/>
                <a:gd name="connsiteX196" fmla="*/ 239 w 10000"/>
                <a:gd name="connsiteY196" fmla="*/ 6014 h 10116"/>
                <a:gd name="connsiteX197" fmla="*/ 197 w 10000"/>
                <a:gd name="connsiteY197" fmla="*/ 5971 h 10116"/>
                <a:gd name="connsiteX0" fmla="*/ 197 w 10000"/>
                <a:gd name="connsiteY0" fmla="*/ 5524 h 9669"/>
                <a:gd name="connsiteX1" fmla="*/ 0 w 10000"/>
                <a:gd name="connsiteY1" fmla="*/ 5643 h 9669"/>
                <a:gd name="connsiteX2" fmla="*/ 0 w 10000"/>
                <a:gd name="connsiteY2" fmla="*/ 6233 h 9669"/>
                <a:gd name="connsiteX3" fmla="*/ 109 w 10000"/>
                <a:gd name="connsiteY3" fmla="*/ 6249 h 9669"/>
                <a:gd name="connsiteX4" fmla="*/ 134 w 10000"/>
                <a:gd name="connsiteY4" fmla="*/ 6295 h 9669"/>
                <a:gd name="connsiteX5" fmla="*/ 130 w 10000"/>
                <a:gd name="connsiteY5" fmla="*/ 6375 h 9669"/>
                <a:gd name="connsiteX6" fmla="*/ 89 w 10000"/>
                <a:gd name="connsiteY6" fmla="*/ 6411 h 9669"/>
                <a:gd name="connsiteX7" fmla="*/ 255 w 10000"/>
                <a:gd name="connsiteY7" fmla="*/ 6342 h 9669"/>
                <a:gd name="connsiteX8" fmla="*/ 325 w 10000"/>
                <a:gd name="connsiteY8" fmla="*/ 6275 h 9669"/>
                <a:gd name="connsiteX9" fmla="*/ 413 w 10000"/>
                <a:gd name="connsiteY9" fmla="*/ 6321 h 9669"/>
                <a:gd name="connsiteX10" fmla="*/ 316 w 10000"/>
                <a:gd name="connsiteY10" fmla="*/ 6418 h 9669"/>
                <a:gd name="connsiteX11" fmla="*/ 419 w 10000"/>
                <a:gd name="connsiteY11" fmla="*/ 6420 h 9669"/>
                <a:gd name="connsiteX12" fmla="*/ 469 w 10000"/>
                <a:gd name="connsiteY12" fmla="*/ 6444 h 9669"/>
                <a:gd name="connsiteX13" fmla="*/ 337 w 10000"/>
                <a:gd name="connsiteY13" fmla="*/ 6475 h 9669"/>
                <a:gd name="connsiteX14" fmla="*/ 130 w 10000"/>
                <a:gd name="connsiteY14" fmla="*/ 6574 h 9669"/>
                <a:gd name="connsiteX15" fmla="*/ 497 w 10000"/>
                <a:gd name="connsiteY15" fmla="*/ 6652 h 9669"/>
                <a:gd name="connsiteX16" fmla="*/ 545 w 10000"/>
                <a:gd name="connsiteY16" fmla="*/ 6763 h 9669"/>
                <a:gd name="connsiteX17" fmla="*/ 419 w 10000"/>
                <a:gd name="connsiteY17" fmla="*/ 6925 h 9669"/>
                <a:gd name="connsiteX18" fmla="*/ 688 w 10000"/>
                <a:gd name="connsiteY18" fmla="*/ 6915 h 9669"/>
                <a:gd name="connsiteX19" fmla="*/ 709 w 10000"/>
                <a:gd name="connsiteY19" fmla="*/ 7038 h 9669"/>
                <a:gd name="connsiteX20" fmla="*/ 530 w 10000"/>
                <a:gd name="connsiteY20" fmla="*/ 7122 h 9669"/>
                <a:gd name="connsiteX21" fmla="*/ 560 w 10000"/>
                <a:gd name="connsiteY21" fmla="*/ 7284 h 9669"/>
                <a:gd name="connsiteX22" fmla="*/ 489 w 10000"/>
                <a:gd name="connsiteY22" fmla="*/ 7409 h 9669"/>
                <a:gd name="connsiteX23" fmla="*/ 703 w 10000"/>
                <a:gd name="connsiteY23" fmla="*/ 7421 h 9669"/>
                <a:gd name="connsiteX24" fmla="*/ 909 w 10000"/>
                <a:gd name="connsiteY24" fmla="*/ 7903 h 9669"/>
                <a:gd name="connsiteX25" fmla="*/ 1150 w 10000"/>
                <a:gd name="connsiteY25" fmla="*/ 8024 h 9669"/>
                <a:gd name="connsiteX26" fmla="*/ 1255 w 10000"/>
                <a:gd name="connsiteY26" fmla="*/ 8155 h 9669"/>
                <a:gd name="connsiteX27" fmla="*/ 1514 w 10000"/>
                <a:gd name="connsiteY27" fmla="*/ 8249 h 9669"/>
                <a:gd name="connsiteX28" fmla="*/ 1684 w 10000"/>
                <a:gd name="connsiteY28" fmla="*/ 8371 h 9669"/>
                <a:gd name="connsiteX29" fmla="*/ 1661 w 10000"/>
                <a:gd name="connsiteY29" fmla="*/ 8457 h 9669"/>
                <a:gd name="connsiteX30" fmla="*/ 1496 w 10000"/>
                <a:gd name="connsiteY30" fmla="*/ 8489 h 9669"/>
                <a:gd name="connsiteX31" fmla="*/ 1316 w 10000"/>
                <a:gd name="connsiteY31" fmla="*/ 8469 h 9669"/>
                <a:gd name="connsiteX32" fmla="*/ 1260 w 10000"/>
                <a:gd name="connsiteY32" fmla="*/ 8504 h 9669"/>
                <a:gd name="connsiteX33" fmla="*/ 1397 w 10000"/>
                <a:gd name="connsiteY33" fmla="*/ 8691 h 9669"/>
                <a:gd name="connsiteX34" fmla="*/ 1205 w 10000"/>
                <a:gd name="connsiteY34" fmla="*/ 8676 h 9669"/>
                <a:gd name="connsiteX35" fmla="*/ 1040 w 10000"/>
                <a:gd name="connsiteY35" fmla="*/ 8630 h 9669"/>
                <a:gd name="connsiteX36" fmla="*/ 1012 w 10000"/>
                <a:gd name="connsiteY36" fmla="*/ 8700 h 9669"/>
                <a:gd name="connsiteX37" fmla="*/ 1557 w 10000"/>
                <a:gd name="connsiteY37" fmla="*/ 9342 h 9669"/>
                <a:gd name="connsiteX38" fmla="*/ 1469 w 10000"/>
                <a:gd name="connsiteY38" fmla="*/ 9402 h 9669"/>
                <a:gd name="connsiteX39" fmla="*/ 1408 w 10000"/>
                <a:gd name="connsiteY39" fmla="*/ 9526 h 9669"/>
                <a:gd name="connsiteX40" fmla="*/ 1329 w 10000"/>
                <a:gd name="connsiteY40" fmla="*/ 9535 h 9669"/>
                <a:gd name="connsiteX41" fmla="*/ 1281 w 10000"/>
                <a:gd name="connsiteY41" fmla="*/ 9589 h 9669"/>
                <a:gd name="connsiteX42" fmla="*/ 1609 w 10000"/>
                <a:gd name="connsiteY42" fmla="*/ 9594 h 9669"/>
                <a:gd name="connsiteX43" fmla="*/ 1900 w 10000"/>
                <a:gd name="connsiteY43" fmla="*/ 9648 h 9669"/>
                <a:gd name="connsiteX44" fmla="*/ 2383 w 10000"/>
                <a:gd name="connsiteY44" fmla="*/ 9591 h 9669"/>
                <a:gd name="connsiteX45" fmla="*/ 2816 w 10000"/>
                <a:gd name="connsiteY45" fmla="*/ 9602 h 9669"/>
                <a:gd name="connsiteX46" fmla="*/ 3072 w 10000"/>
                <a:gd name="connsiteY46" fmla="*/ 9669 h 9669"/>
                <a:gd name="connsiteX47" fmla="*/ 3212 w 10000"/>
                <a:gd name="connsiteY47" fmla="*/ 9624 h 9669"/>
                <a:gd name="connsiteX48" fmla="*/ 3348 w 10000"/>
                <a:gd name="connsiteY48" fmla="*/ 9477 h 9669"/>
                <a:gd name="connsiteX49" fmla="*/ 3313 w 10000"/>
                <a:gd name="connsiteY49" fmla="*/ 9233 h 9669"/>
                <a:gd name="connsiteX50" fmla="*/ 3642 w 10000"/>
                <a:gd name="connsiteY50" fmla="*/ 8964 h 9669"/>
                <a:gd name="connsiteX51" fmla="*/ 3883 w 10000"/>
                <a:gd name="connsiteY51" fmla="*/ 9006 h 9669"/>
                <a:gd name="connsiteX52" fmla="*/ 4025 w 10000"/>
                <a:gd name="connsiteY52" fmla="*/ 8898 h 9669"/>
                <a:gd name="connsiteX53" fmla="*/ 4294 w 10000"/>
                <a:gd name="connsiteY53" fmla="*/ 8836 h 9669"/>
                <a:gd name="connsiteX54" fmla="*/ 4658 w 10000"/>
                <a:gd name="connsiteY54" fmla="*/ 8851 h 9669"/>
                <a:gd name="connsiteX55" fmla="*/ 4878 w 10000"/>
                <a:gd name="connsiteY55" fmla="*/ 8894 h 9669"/>
                <a:gd name="connsiteX56" fmla="*/ 5170 w 10000"/>
                <a:gd name="connsiteY56" fmla="*/ 8875 h 9669"/>
                <a:gd name="connsiteX57" fmla="*/ 5464 w 10000"/>
                <a:gd name="connsiteY57" fmla="*/ 8922 h 9669"/>
                <a:gd name="connsiteX58" fmla="*/ 5759 w 10000"/>
                <a:gd name="connsiteY58" fmla="*/ 8928 h 9669"/>
                <a:gd name="connsiteX59" fmla="*/ 6419 w 10000"/>
                <a:gd name="connsiteY59" fmla="*/ 8297 h 9669"/>
                <a:gd name="connsiteX60" fmla="*/ 6586 w 10000"/>
                <a:gd name="connsiteY60" fmla="*/ 7782 h 9669"/>
                <a:gd name="connsiteX61" fmla="*/ 6855 w 10000"/>
                <a:gd name="connsiteY61" fmla="*/ 7554 h 9669"/>
                <a:gd name="connsiteX62" fmla="*/ 6855 w 10000"/>
                <a:gd name="connsiteY62" fmla="*/ 7432 h 9669"/>
                <a:gd name="connsiteX63" fmla="*/ 6757 w 10000"/>
                <a:gd name="connsiteY63" fmla="*/ 7365 h 9669"/>
                <a:gd name="connsiteX64" fmla="*/ 6915 w 10000"/>
                <a:gd name="connsiteY64" fmla="*/ 7257 h 9669"/>
                <a:gd name="connsiteX65" fmla="*/ 6887 w 10000"/>
                <a:gd name="connsiteY65" fmla="*/ 7167 h 9669"/>
                <a:gd name="connsiteX66" fmla="*/ 6779 w 10000"/>
                <a:gd name="connsiteY66" fmla="*/ 7089 h 9669"/>
                <a:gd name="connsiteX67" fmla="*/ 6757 w 10000"/>
                <a:gd name="connsiteY67" fmla="*/ 7032 h 9669"/>
                <a:gd name="connsiteX68" fmla="*/ 6785 w 10000"/>
                <a:gd name="connsiteY68" fmla="*/ 6989 h 9669"/>
                <a:gd name="connsiteX69" fmla="*/ 6931 w 10000"/>
                <a:gd name="connsiteY69" fmla="*/ 7024 h 9669"/>
                <a:gd name="connsiteX70" fmla="*/ 7045 w 10000"/>
                <a:gd name="connsiteY70" fmla="*/ 7022 h 9669"/>
                <a:gd name="connsiteX71" fmla="*/ 6983 w 10000"/>
                <a:gd name="connsiteY71" fmla="*/ 6948 h 9669"/>
                <a:gd name="connsiteX72" fmla="*/ 7003 w 10000"/>
                <a:gd name="connsiteY72" fmla="*/ 6905 h 9669"/>
                <a:gd name="connsiteX73" fmla="*/ 7089 w 10000"/>
                <a:gd name="connsiteY73" fmla="*/ 6843 h 9669"/>
                <a:gd name="connsiteX74" fmla="*/ 7074 w 10000"/>
                <a:gd name="connsiteY74" fmla="*/ 6792 h 9669"/>
                <a:gd name="connsiteX75" fmla="*/ 7152 w 10000"/>
                <a:gd name="connsiteY75" fmla="*/ 6620 h 9669"/>
                <a:gd name="connsiteX76" fmla="*/ 7130 w 10000"/>
                <a:gd name="connsiteY76" fmla="*/ 6568 h 9669"/>
                <a:gd name="connsiteX77" fmla="*/ 6729 w 10000"/>
                <a:gd name="connsiteY77" fmla="*/ 6438 h 9669"/>
                <a:gd name="connsiteX78" fmla="*/ 6785 w 10000"/>
                <a:gd name="connsiteY78" fmla="*/ 6433 h 9669"/>
                <a:gd name="connsiteX79" fmla="*/ 6998 w 10000"/>
                <a:gd name="connsiteY79" fmla="*/ 6467 h 9669"/>
                <a:gd name="connsiteX80" fmla="*/ 7230 w 10000"/>
                <a:gd name="connsiteY80" fmla="*/ 6455 h 9669"/>
                <a:gd name="connsiteX81" fmla="*/ 7295 w 10000"/>
                <a:gd name="connsiteY81" fmla="*/ 6407 h 9669"/>
                <a:gd name="connsiteX82" fmla="*/ 7074 w 10000"/>
                <a:gd name="connsiteY82" fmla="*/ 6319 h 9669"/>
                <a:gd name="connsiteX83" fmla="*/ 6414 w 10000"/>
                <a:gd name="connsiteY83" fmla="*/ 6260 h 9669"/>
                <a:gd name="connsiteX84" fmla="*/ 6458 w 10000"/>
                <a:gd name="connsiteY84" fmla="*/ 6233 h 9669"/>
                <a:gd name="connsiteX85" fmla="*/ 6998 w 10000"/>
                <a:gd name="connsiteY85" fmla="*/ 6215 h 9669"/>
                <a:gd name="connsiteX86" fmla="*/ 7295 w 10000"/>
                <a:gd name="connsiteY86" fmla="*/ 6268 h 9669"/>
                <a:gd name="connsiteX87" fmla="*/ 7466 w 10000"/>
                <a:gd name="connsiteY87" fmla="*/ 6233 h 9669"/>
                <a:gd name="connsiteX88" fmla="*/ 7529 w 10000"/>
                <a:gd name="connsiteY88" fmla="*/ 6141 h 9669"/>
                <a:gd name="connsiteX89" fmla="*/ 7840 w 10000"/>
                <a:gd name="connsiteY89" fmla="*/ 6141 h 9669"/>
                <a:gd name="connsiteX90" fmla="*/ 8261 w 10000"/>
                <a:gd name="connsiteY90" fmla="*/ 5955 h 9669"/>
                <a:gd name="connsiteX91" fmla="*/ 8275 w 10000"/>
                <a:gd name="connsiteY91" fmla="*/ 5832 h 9669"/>
                <a:gd name="connsiteX92" fmla="*/ 8453 w 10000"/>
                <a:gd name="connsiteY92" fmla="*/ 5860 h 9669"/>
                <a:gd name="connsiteX93" fmla="*/ 8446 w 10000"/>
                <a:gd name="connsiteY93" fmla="*/ 5983 h 9669"/>
                <a:gd name="connsiteX94" fmla="*/ 8727 w 10000"/>
                <a:gd name="connsiteY94" fmla="*/ 5975 h 9669"/>
                <a:gd name="connsiteX95" fmla="*/ 8913 w 10000"/>
                <a:gd name="connsiteY95" fmla="*/ 5847 h 9669"/>
                <a:gd name="connsiteX96" fmla="*/ 9258 w 10000"/>
                <a:gd name="connsiteY96" fmla="*/ 5731 h 9669"/>
                <a:gd name="connsiteX97" fmla="*/ 9203 w 10000"/>
                <a:gd name="connsiteY97" fmla="*/ 5600 h 9669"/>
                <a:gd name="connsiteX98" fmla="*/ 9306 w 10000"/>
                <a:gd name="connsiteY98" fmla="*/ 5652 h 9669"/>
                <a:gd name="connsiteX99" fmla="*/ 9464 w 10000"/>
                <a:gd name="connsiteY99" fmla="*/ 5652 h 9669"/>
                <a:gd name="connsiteX100" fmla="*/ 9464 w 10000"/>
                <a:gd name="connsiteY100" fmla="*/ 5591 h 9669"/>
                <a:gd name="connsiteX101" fmla="*/ 9611 w 10000"/>
                <a:gd name="connsiteY101" fmla="*/ 5545 h 9669"/>
                <a:gd name="connsiteX102" fmla="*/ 9592 w 10000"/>
                <a:gd name="connsiteY102" fmla="*/ 5498 h 9669"/>
                <a:gd name="connsiteX103" fmla="*/ 8350 w 10000"/>
                <a:gd name="connsiteY103" fmla="*/ 5593 h 9669"/>
                <a:gd name="connsiteX104" fmla="*/ 8058 w 10000"/>
                <a:gd name="connsiteY104" fmla="*/ 5565 h 9669"/>
                <a:gd name="connsiteX105" fmla="*/ 7942 w 10000"/>
                <a:gd name="connsiteY105" fmla="*/ 5600 h 9669"/>
                <a:gd name="connsiteX106" fmla="*/ 7903 w 10000"/>
                <a:gd name="connsiteY106" fmla="*/ 5533 h 9669"/>
                <a:gd name="connsiteX107" fmla="*/ 7765 w 10000"/>
                <a:gd name="connsiteY107" fmla="*/ 5474 h 9669"/>
                <a:gd name="connsiteX108" fmla="*/ 7213 w 10000"/>
                <a:gd name="connsiteY108" fmla="*/ 5355 h 9669"/>
                <a:gd name="connsiteX109" fmla="*/ 6887 w 10000"/>
                <a:gd name="connsiteY109" fmla="*/ 5374 h 9669"/>
                <a:gd name="connsiteX110" fmla="*/ 6757 w 10000"/>
                <a:gd name="connsiteY110" fmla="*/ 5340 h 9669"/>
                <a:gd name="connsiteX111" fmla="*/ 6894 w 10000"/>
                <a:gd name="connsiteY111" fmla="*/ 5311 h 9669"/>
                <a:gd name="connsiteX112" fmla="*/ 6998 w 10000"/>
                <a:gd name="connsiteY112" fmla="*/ 5247 h 9669"/>
                <a:gd name="connsiteX113" fmla="*/ 7152 w 10000"/>
                <a:gd name="connsiteY113" fmla="*/ 5267 h 9669"/>
                <a:gd name="connsiteX114" fmla="*/ 7335 w 10000"/>
                <a:gd name="connsiteY114" fmla="*/ 5251 h 9669"/>
                <a:gd name="connsiteX115" fmla="*/ 7611 w 10000"/>
                <a:gd name="connsiteY115" fmla="*/ 5272 h 9669"/>
                <a:gd name="connsiteX116" fmla="*/ 7645 w 10000"/>
                <a:gd name="connsiteY116" fmla="*/ 5263 h 9669"/>
                <a:gd name="connsiteX117" fmla="*/ 7859 w 10000"/>
                <a:gd name="connsiteY117" fmla="*/ 5361 h 9669"/>
                <a:gd name="connsiteX118" fmla="*/ 8017 w 10000"/>
                <a:gd name="connsiteY118" fmla="*/ 5325 h 9669"/>
                <a:gd name="connsiteX119" fmla="*/ 8032 w 10000"/>
                <a:gd name="connsiteY119" fmla="*/ 5292 h 9669"/>
                <a:gd name="connsiteX120" fmla="*/ 8176 w 10000"/>
                <a:gd name="connsiteY120" fmla="*/ 5350 h 9669"/>
                <a:gd name="connsiteX121" fmla="*/ 8369 w 10000"/>
                <a:gd name="connsiteY121" fmla="*/ 5380 h 9669"/>
                <a:gd name="connsiteX122" fmla="*/ 8446 w 10000"/>
                <a:gd name="connsiteY122" fmla="*/ 5323 h 9669"/>
                <a:gd name="connsiteX123" fmla="*/ 8507 w 10000"/>
                <a:gd name="connsiteY123" fmla="*/ 5355 h 9669"/>
                <a:gd name="connsiteX124" fmla="*/ 8596 w 10000"/>
                <a:gd name="connsiteY124" fmla="*/ 5466 h 9669"/>
                <a:gd name="connsiteX125" fmla="*/ 8782 w 10000"/>
                <a:gd name="connsiteY125" fmla="*/ 5491 h 9669"/>
                <a:gd name="connsiteX126" fmla="*/ 9542 w 10000"/>
                <a:gd name="connsiteY126" fmla="*/ 5328 h 9669"/>
                <a:gd name="connsiteX127" fmla="*/ 9914 w 10000"/>
                <a:gd name="connsiteY127" fmla="*/ 5101 h 9669"/>
                <a:gd name="connsiteX128" fmla="*/ 10000 w 10000"/>
                <a:gd name="connsiteY128" fmla="*/ 4935 h 9669"/>
                <a:gd name="connsiteX129" fmla="*/ 9866 w 10000"/>
                <a:gd name="connsiteY129" fmla="*/ 4786 h 9669"/>
                <a:gd name="connsiteX130" fmla="*/ 9582 w 10000"/>
                <a:gd name="connsiteY130" fmla="*/ 4696 h 9669"/>
                <a:gd name="connsiteX131" fmla="*/ 9382 w 10000"/>
                <a:gd name="connsiteY131" fmla="*/ 4549 h 9669"/>
                <a:gd name="connsiteX132" fmla="*/ 9569 w 10000"/>
                <a:gd name="connsiteY132" fmla="*/ 4544 h 9669"/>
                <a:gd name="connsiteX133" fmla="*/ 9555 w 10000"/>
                <a:gd name="connsiteY133" fmla="*/ 4509 h 9669"/>
                <a:gd name="connsiteX134" fmla="*/ 9068 w 10000"/>
                <a:gd name="connsiteY134" fmla="*/ 4406 h 9669"/>
                <a:gd name="connsiteX135" fmla="*/ 9047 w 10000"/>
                <a:gd name="connsiteY135" fmla="*/ 4311 h 9669"/>
                <a:gd name="connsiteX136" fmla="*/ 8953 w 10000"/>
                <a:gd name="connsiteY136" fmla="*/ 4213 h 9669"/>
                <a:gd name="connsiteX137" fmla="*/ 8569 w 10000"/>
                <a:gd name="connsiteY137" fmla="*/ 4231 h 9669"/>
                <a:gd name="connsiteX138" fmla="*/ 8431 w 10000"/>
                <a:gd name="connsiteY138" fmla="*/ 4126 h 9669"/>
                <a:gd name="connsiteX139" fmla="*/ 8350 w 10000"/>
                <a:gd name="connsiteY139" fmla="*/ 4120 h 9669"/>
                <a:gd name="connsiteX140" fmla="*/ 8350 w 10000"/>
                <a:gd name="connsiteY140" fmla="*/ 4164 h 9669"/>
                <a:gd name="connsiteX141" fmla="*/ 8176 w 10000"/>
                <a:gd name="connsiteY141" fmla="*/ 4341 h 9669"/>
                <a:gd name="connsiteX142" fmla="*/ 7990 w 10000"/>
                <a:gd name="connsiteY142" fmla="*/ 4445 h 9669"/>
                <a:gd name="connsiteX143" fmla="*/ 7401 w 10000"/>
                <a:gd name="connsiteY143" fmla="*/ 4622 h 9669"/>
                <a:gd name="connsiteX144" fmla="*/ 7198 w 10000"/>
                <a:gd name="connsiteY144" fmla="*/ 4616 h 9669"/>
                <a:gd name="connsiteX145" fmla="*/ 6915 w 10000"/>
                <a:gd name="connsiteY145" fmla="*/ 4643 h 9669"/>
                <a:gd name="connsiteX146" fmla="*/ 6757 w 10000"/>
                <a:gd name="connsiteY146" fmla="*/ 4616 h 9669"/>
                <a:gd name="connsiteX147" fmla="*/ 6965 w 10000"/>
                <a:gd name="connsiteY147" fmla="*/ 4567 h 9669"/>
                <a:gd name="connsiteX148" fmla="*/ 7235 w 10000"/>
                <a:gd name="connsiteY148" fmla="*/ 4544 h 9669"/>
                <a:gd name="connsiteX149" fmla="*/ 7455 w 10000"/>
                <a:gd name="connsiteY149" fmla="*/ 4462 h 9669"/>
                <a:gd name="connsiteX150" fmla="*/ 7674 w 10000"/>
                <a:gd name="connsiteY150" fmla="*/ 4423 h 9669"/>
                <a:gd name="connsiteX151" fmla="*/ 8082 w 10000"/>
                <a:gd name="connsiteY151" fmla="*/ 4278 h 9669"/>
                <a:gd name="connsiteX152" fmla="*/ 8157 w 10000"/>
                <a:gd name="connsiteY152" fmla="*/ 4184 h 9669"/>
                <a:gd name="connsiteX153" fmla="*/ 8165 w 10000"/>
                <a:gd name="connsiteY153" fmla="*/ 4061 h 9669"/>
                <a:gd name="connsiteX154" fmla="*/ 7978 w 10000"/>
                <a:gd name="connsiteY154" fmla="*/ 4041 h 9669"/>
                <a:gd name="connsiteX155" fmla="*/ 8058 w 10000"/>
                <a:gd name="connsiteY155" fmla="*/ 3966 h 9669"/>
                <a:gd name="connsiteX156" fmla="*/ 8087 w 10000"/>
                <a:gd name="connsiteY156" fmla="*/ 3872 h 9669"/>
                <a:gd name="connsiteX157" fmla="*/ 8007 w 10000"/>
                <a:gd name="connsiteY157" fmla="*/ 3783 h 9669"/>
                <a:gd name="connsiteX158" fmla="*/ 5176 w 10000"/>
                <a:gd name="connsiteY158" fmla="*/ 0 h 9669"/>
                <a:gd name="connsiteX159" fmla="*/ 5057 w 10000"/>
                <a:gd name="connsiteY159" fmla="*/ 265 h 9669"/>
                <a:gd name="connsiteX160" fmla="*/ 4842 w 10000"/>
                <a:gd name="connsiteY160" fmla="*/ 361 h 9669"/>
                <a:gd name="connsiteX161" fmla="*/ 4200 w 10000"/>
                <a:gd name="connsiteY161" fmla="*/ 297 h 9669"/>
                <a:gd name="connsiteX162" fmla="*/ 3760 w 10000"/>
                <a:gd name="connsiteY162" fmla="*/ 333 h 9669"/>
                <a:gd name="connsiteX163" fmla="*/ 3405 w 10000"/>
                <a:gd name="connsiteY163" fmla="*/ 411 h 9669"/>
                <a:gd name="connsiteX164" fmla="*/ 2832 w 10000"/>
                <a:gd name="connsiteY164" fmla="*/ 656 h 9669"/>
                <a:gd name="connsiteX165" fmla="*/ 2528 w 10000"/>
                <a:gd name="connsiteY165" fmla="*/ 950 h 9669"/>
                <a:gd name="connsiteX166" fmla="*/ 2555 w 10000"/>
                <a:gd name="connsiteY166" fmla="*/ 1115 h 9669"/>
                <a:gd name="connsiteX167" fmla="*/ 2661 w 10000"/>
                <a:gd name="connsiteY167" fmla="*/ 1241 h 9669"/>
                <a:gd name="connsiteX168" fmla="*/ 2741 w 10000"/>
                <a:gd name="connsiteY168" fmla="*/ 1292 h 9669"/>
                <a:gd name="connsiteX169" fmla="*/ 2592 w 10000"/>
                <a:gd name="connsiteY169" fmla="*/ 1374 h 9669"/>
                <a:gd name="connsiteX170" fmla="*/ 2267 w 10000"/>
                <a:gd name="connsiteY170" fmla="*/ 1929 h 9669"/>
                <a:gd name="connsiteX171" fmla="*/ 2330 w 10000"/>
                <a:gd name="connsiteY171" fmla="*/ 1960 h 9669"/>
                <a:gd name="connsiteX172" fmla="*/ 2375 w 10000"/>
                <a:gd name="connsiteY172" fmla="*/ 2102 h 9669"/>
                <a:gd name="connsiteX173" fmla="*/ 2226 w 10000"/>
                <a:gd name="connsiteY173" fmla="*/ 2686 h 9669"/>
                <a:gd name="connsiteX174" fmla="*/ 2375 w 10000"/>
                <a:gd name="connsiteY174" fmla="*/ 2835 h 9669"/>
                <a:gd name="connsiteX175" fmla="*/ 2791 w 10000"/>
                <a:gd name="connsiteY175" fmla="*/ 2998 h 9669"/>
                <a:gd name="connsiteX176" fmla="*/ 2808 w 10000"/>
                <a:gd name="connsiteY176" fmla="*/ 3197 h 9669"/>
                <a:gd name="connsiteX177" fmla="*/ 2632 w 10000"/>
                <a:gd name="connsiteY177" fmla="*/ 3363 h 9669"/>
                <a:gd name="connsiteX178" fmla="*/ 2375 w 10000"/>
                <a:gd name="connsiteY178" fmla="*/ 3463 h 9669"/>
                <a:gd name="connsiteX179" fmla="*/ 2039 w 10000"/>
                <a:gd name="connsiteY179" fmla="*/ 3503 h 9669"/>
                <a:gd name="connsiteX180" fmla="*/ 1950 w 10000"/>
                <a:gd name="connsiteY180" fmla="*/ 3562 h 9669"/>
                <a:gd name="connsiteX181" fmla="*/ 2148 w 10000"/>
                <a:gd name="connsiteY181" fmla="*/ 3699 h 9669"/>
                <a:gd name="connsiteX182" fmla="*/ 2261 w 10000"/>
                <a:gd name="connsiteY182" fmla="*/ 4024 h 9669"/>
                <a:gd name="connsiteX183" fmla="*/ 2005 w 10000"/>
                <a:gd name="connsiteY183" fmla="*/ 4304 h 9669"/>
                <a:gd name="connsiteX184" fmla="*/ 2094 w 10000"/>
                <a:gd name="connsiteY184" fmla="*/ 4389 h 9669"/>
                <a:gd name="connsiteX185" fmla="*/ 2012 w 10000"/>
                <a:gd name="connsiteY185" fmla="*/ 4536 h 9669"/>
                <a:gd name="connsiteX186" fmla="*/ 1850 w 10000"/>
                <a:gd name="connsiteY186" fmla="*/ 4636 h 9669"/>
                <a:gd name="connsiteX187" fmla="*/ 1199 w 10000"/>
                <a:gd name="connsiteY187" fmla="*/ 4713 h 9669"/>
                <a:gd name="connsiteX188" fmla="*/ 1158 w 10000"/>
                <a:gd name="connsiteY188" fmla="*/ 4848 h 9669"/>
                <a:gd name="connsiteX189" fmla="*/ 808 w 10000"/>
                <a:gd name="connsiteY189" fmla="*/ 5049 h 9669"/>
                <a:gd name="connsiteX190" fmla="*/ 854 w 10000"/>
                <a:gd name="connsiteY190" fmla="*/ 5338 h 9669"/>
                <a:gd name="connsiteX191" fmla="*/ 560 w 10000"/>
                <a:gd name="connsiteY191" fmla="*/ 5708 h 9669"/>
                <a:gd name="connsiteX192" fmla="*/ 358 w 10000"/>
                <a:gd name="connsiteY192" fmla="*/ 5751 h 9669"/>
                <a:gd name="connsiteX193" fmla="*/ 275 w 10000"/>
                <a:gd name="connsiteY193" fmla="*/ 5664 h 9669"/>
                <a:gd name="connsiteX194" fmla="*/ 174 w 10000"/>
                <a:gd name="connsiteY194" fmla="*/ 5797 h 9669"/>
                <a:gd name="connsiteX195" fmla="*/ 239 w 10000"/>
                <a:gd name="connsiteY195" fmla="*/ 5567 h 9669"/>
                <a:gd name="connsiteX196" fmla="*/ 197 w 10000"/>
                <a:gd name="connsiteY196" fmla="*/ 5524 h 9669"/>
                <a:gd name="connsiteX0" fmla="*/ 197 w 10000"/>
                <a:gd name="connsiteY0" fmla="*/ 5439 h 9726"/>
                <a:gd name="connsiteX1" fmla="*/ 0 w 10000"/>
                <a:gd name="connsiteY1" fmla="*/ 5562 h 9726"/>
                <a:gd name="connsiteX2" fmla="*/ 0 w 10000"/>
                <a:gd name="connsiteY2" fmla="*/ 6172 h 9726"/>
                <a:gd name="connsiteX3" fmla="*/ 109 w 10000"/>
                <a:gd name="connsiteY3" fmla="*/ 6189 h 9726"/>
                <a:gd name="connsiteX4" fmla="*/ 134 w 10000"/>
                <a:gd name="connsiteY4" fmla="*/ 6236 h 9726"/>
                <a:gd name="connsiteX5" fmla="*/ 130 w 10000"/>
                <a:gd name="connsiteY5" fmla="*/ 6319 h 9726"/>
                <a:gd name="connsiteX6" fmla="*/ 89 w 10000"/>
                <a:gd name="connsiteY6" fmla="*/ 6356 h 9726"/>
                <a:gd name="connsiteX7" fmla="*/ 255 w 10000"/>
                <a:gd name="connsiteY7" fmla="*/ 6285 h 9726"/>
                <a:gd name="connsiteX8" fmla="*/ 325 w 10000"/>
                <a:gd name="connsiteY8" fmla="*/ 6216 h 9726"/>
                <a:gd name="connsiteX9" fmla="*/ 413 w 10000"/>
                <a:gd name="connsiteY9" fmla="*/ 6263 h 9726"/>
                <a:gd name="connsiteX10" fmla="*/ 316 w 10000"/>
                <a:gd name="connsiteY10" fmla="*/ 6364 h 9726"/>
                <a:gd name="connsiteX11" fmla="*/ 419 w 10000"/>
                <a:gd name="connsiteY11" fmla="*/ 6366 h 9726"/>
                <a:gd name="connsiteX12" fmla="*/ 469 w 10000"/>
                <a:gd name="connsiteY12" fmla="*/ 6391 h 9726"/>
                <a:gd name="connsiteX13" fmla="*/ 337 w 10000"/>
                <a:gd name="connsiteY13" fmla="*/ 6423 h 9726"/>
                <a:gd name="connsiteX14" fmla="*/ 130 w 10000"/>
                <a:gd name="connsiteY14" fmla="*/ 6525 h 9726"/>
                <a:gd name="connsiteX15" fmla="*/ 497 w 10000"/>
                <a:gd name="connsiteY15" fmla="*/ 6606 h 9726"/>
                <a:gd name="connsiteX16" fmla="*/ 545 w 10000"/>
                <a:gd name="connsiteY16" fmla="*/ 6721 h 9726"/>
                <a:gd name="connsiteX17" fmla="*/ 419 w 10000"/>
                <a:gd name="connsiteY17" fmla="*/ 6888 h 9726"/>
                <a:gd name="connsiteX18" fmla="*/ 688 w 10000"/>
                <a:gd name="connsiteY18" fmla="*/ 6878 h 9726"/>
                <a:gd name="connsiteX19" fmla="*/ 709 w 10000"/>
                <a:gd name="connsiteY19" fmla="*/ 7005 h 9726"/>
                <a:gd name="connsiteX20" fmla="*/ 530 w 10000"/>
                <a:gd name="connsiteY20" fmla="*/ 7092 h 9726"/>
                <a:gd name="connsiteX21" fmla="*/ 560 w 10000"/>
                <a:gd name="connsiteY21" fmla="*/ 7259 h 9726"/>
                <a:gd name="connsiteX22" fmla="*/ 489 w 10000"/>
                <a:gd name="connsiteY22" fmla="*/ 7389 h 9726"/>
                <a:gd name="connsiteX23" fmla="*/ 703 w 10000"/>
                <a:gd name="connsiteY23" fmla="*/ 7401 h 9726"/>
                <a:gd name="connsiteX24" fmla="*/ 909 w 10000"/>
                <a:gd name="connsiteY24" fmla="*/ 7900 h 9726"/>
                <a:gd name="connsiteX25" fmla="*/ 1150 w 10000"/>
                <a:gd name="connsiteY25" fmla="*/ 8025 h 9726"/>
                <a:gd name="connsiteX26" fmla="*/ 1255 w 10000"/>
                <a:gd name="connsiteY26" fmla="*/ 8160 h 9726"/>
                <a:gd name="connsiteX27" fmla="*/ 1514 w 10000"/>
                <a:gd name="connsiteY27" fmla="*/ 8257 h 9726"/>
                <a:gd name="connsiteX28" fmla="*/ 1684 w 10000"/>
                <a:gd name="connsiteY28" fmla="*/ 8384 h 9726"/>
                <a:gd name="connsiteX29" fmla="*/ 1661 w 10000"/>
                <a:gd name="connsiteY29" fmla="*/ 8473 h 9726"/>
                <a:gd name="connsiteX30" fmla="*/ 1496 w 10000"/>
                <a:gd name="connsiteY30" fmla="*/ 8506 h 9726"/>
                <a:gd name="connsiteX31" fmla="*/ 1316 w 10000"/>
                <a:gd name="connsiteY31" fmla="*/ 8485 h 9726"/>
                <a:gd name="connsiteX32" fmla="*/ 1260 w 10000"/>
                <a:gd name="connsiteY32" fmla="*/ 8521 h 9726"/>
                <a:gd name="connsiteX33" fmla="*/ 1397 w 10000"/>
                <a:gd name="connsiteY33" fmla="*/ 8715 h 9726"/>
                <a:gd name="connsiteX34" fmla="*/ 1205 w 10000"/>
                <a:gd name="connsiteY34" fmla="*/ 8699 h 9726"/>
                <a:gd name="connsiteX35" fmla="*/ 1040 w 10000"/>
                <a:gd name="connsiteY35" fmla="*/ 8651 h 9726"/>
                <a:gd name="connsiteX36" fmla="*/ 1012 w 10000"/>
                <a:gd name="connsiteY36" fmla="*/ 8724 h 9726"/>
                <a:gd name="connsiteX37" fmla="*/ 1557 w 10000"/>
                <a:gd name="connsiteY37" fmla="*/ 9388 h 9726"/>
                <a:gd name="connsiteX38" fmla="*/ 1469 w 10000"/>
                <a:gd name="connsiteY38" fmla="*/ 9450 h 9726"/>
                <a:gd name="connsiteX39" fmla="*/ 1408 w 10000"/>
                <a:gd name="connsiteY39" fmla="*/ 9578 h 9726"/>
                <a:gd name="connsiteX40" fmla="*/ 1329 w 10000"/>
                <a:gd name="connsiteY40" fmla="*/ 9587 h 9726"/>
                <a:gd name="connsiteX41" fmla="*/ 1281 w 10000"/>
                <a:gd name="connsiteY41" fmla="*/ 9643 h 9726"/>
                <a:gd name="connsiteX42" fmla="*/ 1609 w 10000"/>
                <a:gd name="connsiteY42" fmla="*/ 9648 h 9726"/>
                <a:gd name="connsiteX43" fmla="*/ 1900 w 10000"/>
                <a:gd name="connsiteY43" fmla="*/ 9704 h 9726"/>
                <a:gd name="connsiteX44" fmla="*/ 2383 w 10000"/>
                <a:gd name="connsiteY44" fmla="*/ 9645 h 9726"/>
                <a:gd name="connsiteX45" fmla="*/ 2816 w 10000"/>
                <a:gd name="connsiteY45" fmla="*/ 9657 h 9726"/>
                <a:gd name="connsiteX46" fmla="*/ 3072 w 10000"/>
                <a:gd name="connsiteY46" fmla="*/ 9726 h 9726"/>
                <a:gd name="connsiteX47" fmla="*/ 3212 w 10000"/>
                <a:gd name="connsiteY47" fmla="*/ 9679 h 9726"/>
                <a:gd name="connsiteX48" fmla="*/ 3348 w 10000"/>
                <a:gd name="connsiteY48" fmla="*/ 9527 h 9726"/>
                <a:gd name="connsiteX49" fmla="*/ 3313 w 10000"/>
                <a:gd name="connsiteY49" fmla="*/ 9275 h 9726"/>
                <a:gd name="connsiteX50" fmla="*/ 3642 w 10000"/>
                <a:gd name="connsiteY50" fmla="*/ 8997 h 9726"/>
                <a:gd name="connsiteX51" fmla="*/ 3883 w 10000"/>
                <a:gd name="connsiteY51" fmla="*/ 9040 h 9726"/>
                <a:gd name="connsiteX52" fmla="*/ 4025 w 10000"/>
                <a:gd name="connsiteY52" fmla="*/ 8929 h 9726"/>
                <a:gd name="connsiteX53" fmla="*/ 4294 w 10000"/>
                <a:gd name="connsiteY53" fmla="*/ 8864 h 9726"/>
                <a:gd name="connsiteX54" fmla="*/ 4658 w 10000"/>
                <a:gd name="connsiteY54" fmla="*/ 8880 h 9726"/>
                <a:gd name="connsiteX55" fmla="*/ 4878 w 10000"/>
                <a:gd name="connsiteY55" fmla="*/ 8924 h 9726"/>
                <a:gd name="connsiteX56" fmla="*/ 5170 w 10000"/>
                <a:gd name="connsiteY56" fmla="*/ 8905 h 9726"/>
                <a:gd name="connsiteX57" fmla="*/ 5464 w 10000"/>
                <a:gd name="connsiteY57" fmla="*/ 8953 h 9726"/>
                <a:gd name="connsiteX58" fmla="*/ 5759 w 10000"/>
                <a:gd name="connsiteY58" fmla="*/ 8960 h 9726"/>
                <a:gd name="connsiteX59" fmla="*/ 6419 w 10000"/>
                <a:gd name="connsiteY59" fmla="*/ 8307 h 9726"/>
                <a:gd name="connsiteX60" fmla="*/ 6586 w 10000"/>
                <a:gd name="connsiteY60" fmla="*/ 7774 h 9726"/>
                <a:gd name="connsiteX61" fmla="*/ 6855 w 10000"/>
                <a:gd name="connsiteY61" fmla="*/ 7539 h 9726"/>
                <a:gd name="connsiteX62" fmla="*/ 6855 w 10000"/>
                <a:gd name="connsiteY62" fmla="*/ 7412 h 9726"/>
                <a:gd name="connsiteX63" fmla="*/ 6757 w 10000"/>
                <a:gd name="connsiteY63" fmla="*/ 7343 h 9726"/>
                <a:gd name="connsiteX64" fmla="*/ 6915 w 10000"/>
                <a:gd name="connsiteY64" fmla="*/ 7231 h 9726"/>
                <a:gd name="connsiteX65" fmla="*/ 6887 w 10000"/>
                <a:gd name="connsiteY65" fmla="*/ 7138 h 9726"/>
                <a:gd name="connsiteX66" fmla="*/ 6779 w 10000"/>
                <a:gd name="connsiteY66" fmla="*/ 7058 h 9726"/>
                <a:gd name="connsiteX67" fmla="*/ 6757 w 10000"/>
                <a:gd name="connsiteY67" fmla="*/ 6999 h 9726"/>
                <a:gd name="connsiteX68" fmla="*/ 6785 w 10000"/>
                <a:gd name="connsiteY68" fmla="*/ 6954 h 9726"/>
                <a:gd name="connsiteX69" fmla="*/ 6931 w 10000"/>
                <a:gd name="connsiteY69" fmla="*/ 6990 h 9726"/>
                <a:gd name="connsiteX70" fmla="*/ 7045 w 10000"/>
                <a:gd name="connsiteY70" fmla="*/ 6988 h 9726"/>
                <a:gd name="connsiteX71" fmla="*/ 6983 w 10000"/>
                <a:gd name="connsiteY71" fmla="*/ 6912 h 9726"/>
                <a:gd name="connsiteX72" fmla="*/ 7003 w 10000"/>
                <a:gd name="connsiteY72" fmla="*/ 6867 h 9726"/>
                <a:gd name="connsiteX73" fmla="*/ 7089 w 10000"/>
                <a:gd name="connsiteY73" fmla="*/ 6803 h 9726"/>
                <a:gd name="connsiteX74" fmla="*/ 7074 w 10000"/>
                <a:gd name="connsiteY74" fmla="*/ 6751 h 9726"/>
                <a:gd name="connsiteX75" fmla="*/ 7152 w 10000"/>
                <a:gd name="connsiteY75" fmla="*/ 6573 h 9726"/>
                <a:gd name="connsiteX76" fmla="*/ 7130 w 10000"/>
                <a:gd name="connsiteY76" fmla="*/ 6519 h 9726"/>
                <a:gd name="connsiteX77" fmla="*/ 6729 w 10000"/>
                <a:gd name="connsiteY77" fmla="*/ 6384 h 9726"/>
                <a:gd name="connsiteX78" fmla="*/ 6785 w 10000"/>
                <a:gd name="connsiteY78" fmla="*/ 6379 h 9726"/>
                <a:gd name="connsiteX79" fmla="*/ 6998 w 10000"/>
                <a:gd name="connsiteY79" fmla="*/ 6414 h 9726"/>
                <a:gd name="connsiteX80" fmla="*/ 7230 w 10000"/>
                <a:gd name="connsiteY80" fmla="*/ 6402 h 9726"/>
                <a:gd name="connsiteX81" fmla="*/ 7295 w 10000"/>
                <a:gd name="connsiteY81" fmla="*/ 6352 h 9726"/>
                <a:gd name="connsiteX82" fmla="*/ 7074 w 10000"/>
                <a:gd name="connsiteY82" fmla="*/ 6261 h 9726"/>
                <a:gd name="connsiteX83" fmla="*/ 6414 w 10000"/>
                <a:gd name="connsiteY83" fmla="*/ 6200 h 9726"/>
                <a:gd name="connsiteX84" fmla="*/ 6458 w 10000"/>
                <a:gd name="connsiteY84" fmla="*/ 6172 h 9726"/>
                <a:gd name="connsiteX85" fmla="*/ 6998 w 10000"/>
                <a:gd name="connsiteY85" fmla="*/ 6154 h 9726"/>
                <a:gd name="connsiteX86" fmla="*/ 7295 w 10000"/>
                <a:gd name="connsiteY86" fmla="*/ 6209 h 9726"/>
                <a:gd name="connsiteX87" fmla="*/ 7466 w 10000"/>
                <a:gd name="connsiteY87" fmla="*/ 6172 h 9726"/>
                <a:gd name="connsiteX88" fmla="*/ 7529 w 10000"/>
                <a:gd name="connsiteY88" fmla="*/ 6077 h 9726"/>
                <a:gd name="connsiteX89" fmla="*/ 7840 w 10000"/>
                <a:gd name="connsiteY89" fmla="*/ 6077 h 9726"/>
                <a:gd name="connsiteX90" fmla="*/ 8261 w 10000"/>
                <a:gd name="connsiteY90" fmla="*/ 5885 h 9726"/>
                <a:gd name="connsiteX91" fmla="*/ 8275 w 10000"/>
                <a:gd name="connsiteY91" fmla="*/ 5758 h 9726"/>
                <a:gd name="connsiteX92" fmla="*/ 8453 w 10000"/>
                <a:gd name="connsiteY92" fmla="*/ 5787 h 9726"/>
                <a:gd name="connsiteX93" fmla="*/ 8446 w 10000"/>
                <a:gd name="connsiteY93" fmla="*/ 5914 h 9726"/>
                <a:gd name="connsiteX94" fmla="*/ 8727 w 10000"/>
                <a:gd name="connsiteY94" fmla="*/ 5906 h 9726"/>
                <a:gd name="connsiteX95" fmla="*/ 8913 w 10000"/>
                <a:gd name="connsiteY95" fmla="*/ 5773 h 9726"/>
                <a:gd name="connsiteX96" fmla="*/ 9258 w 10000"/>
                <a:gd name="connsiteY96" fmla="*/ 5653 h 9726"/>
                <a:gd name="connsiteX97" fmla="*/ 9203 w 10000"/>
                <a:gd name="connsiteY97" fmla="*/ 5518 h 9726"/>
                <a:gd name="connsiteX98" fmla="*/ 9306 w 10000"/>
                <a:gd name="connsiteY98" fmla="*/ 5571 h 9726"/>
                <a:gd name="connsiteX99" fmla="*/ 9464 w 10000"/>
                <a:gd name="connsiteY99" fmla="*/ 5571 h 9726"/>
                <a:gd name="connsiteX100" fmla="*/ 9464 w 10000"/>
                <a:gd name="connsiteY100" fmla="*/ 5508 h 9726"/>
                <a:gd name="connsiteX101" fmla="*/ 9611 w 10000"/>
                <a:gd name="connsiteY101" fmla="*/ 5461 h 9726"/>
                <a:gd name="connsiteX102" fmla="*/ 9592 w 10000"/>
                <a:gd name="connsiteY102" fmla="*/ 5412 h 9726"/>
                <a:gd name="connsiteX103" fmla="*/ 8350 w 10000"/>
                <a:gd name="connsiteY103" fmla="*/ 5510 h 9726"/>
                <a:gd name="connsiteX104" fmla="*/ 8058 w 10000"/>
                <a:gd name="connsiteY104" fmla="*/ 5482 h 9726"/>
                <a:gd name="connsiteX105" fmla="*/ 7942 w 10000"/>
                <a:gd name="connsiteY105" fmla="*/ 5518 h 9726"/>
                <a:gd name="connsiteX106" fmla="*/ 7903 w 10000"/>
                <a:gd name="connsiteY106" fmla="*/ 5448 h 9726"/>
                <a:gd name="connsiteX107" fmla="*/ 7765 w 10000"/>
                <a:gd name="connsiteY107" fmla="*/ 5387 h 9726"/>
                <a:gd name="connsiteX108" fmla="*/ 7213 w 10000"/>
                <a:gd name="connsiteY108" fmla="*/ 5264 h 9726"/>
                <a:gd name="connsiteX109" fmla="*/ 6887 w 10000"/>
                <a:gd name="connsiteY109" fmla="*/ 5284 h 9726"/>
                <a:gd name="connsiteX110" fmla="*/ 6757 w 10000"/>
                <a:gd name="connsiteY110" fmla="*/ 5249 h 9726"/>
                <a:gd name="connsiteX111" fmla="*/ 6894 w 10000"/>
                <a:gd name="connsiteY111" fmla="*/ 5219 h 9726"/>
                <a:gd name="connsiteX112" fmla="*/ 6998 w 10000"/>
                <a:gd name="connsiteY112" fmla="*/ 5153 h 9726"/>
                <a:gd name="connsiteX113" fmla="*/ 7152 w 10000"/>
                <a:gd name="connsiteY113" fmla="*/ 5173 h 9726"/>
                <a:gd name="connsiteX114" fmla="*/ 7335 w 10000"/>
                <a:gd name="connsiteY114" fmla="*/ 5157 h 9726"/>
                <a:gd name="connsiteX115" fmla="*/ 7611 w 10000"/>
                <a:gd name="connsiteY115" fmla="*/ 5178 h 9726"/>
                <a:gd name="connsiteX116" fmla="*/ 7645 w 10000"/>
                <a:gd name="connsiteY116" fmla="*/ 5169 h 9726"/>
                <a:gd name="connsiteX117" fmla="*/ 7859 w 10000"/>
                <a:gd name="connsiteY117" fmla="*/ 5271 h 9726"/>
                <a:gd name="connsiteX118" fmla="*/ 8017 w 10000"/>
                <a:gd name="connsiteY118" fmla="*/ 5233 h 9726"/>
                <a:gd name="connsiteX119" fmla="*/ 8032 w 10000"/>
                <a:gd name="connsiteY119" fmla="*/ 5199 h 9726"/>
                <a:gd name="connsiteX120" fmla="*/ 8176 w 10000"/>
                <a:gd name="connsiteY120" fmla="*/ 5259 h 9726"/>
                <a:gd name="connsiteX121" fmla="*/ 8369 w 10000"/>
                <a:gd name="connsiteY121" fmla="*/ 5290 h 9726"/>
                <a:gd name="connsiteX122" fmla="*/ 8446 w 10000"/>
                <a:gd name="connsiteY122" fmla="*/ 5231 h 9726"/>
                <a:gd name="connsiteX123" fmla="*/ 8507 w 10000"/>
                <a:gd name="connsiteY123" fmla="*/ 5264 h 9726"/>
                <a:gd name="connsiteX124" fmla="*/ 8596 w 10000"/>
                <a:gd name="connsiteY124" fmla="*/ 5379 h 9726"/>
                <a:gd name="connsiteX125" fmla="*/ 8782 w 10000"/>
                <a:gd name="connsiteY125" fmla="*/ 5405 h 9726"/>
                <a:gd name="connsiteX126" fmla="*/ 9542 w 10000"/>
                <a:gd name="connsiteY126" fmla="*/ 5236 h 9726"/>
                <a:gd name="connsiteX127" fmla="*/ 9914 w 10000"/>
                <a:gd name="connsiteY127" fmla="*/ 5002 h 9726"/>
                <a:gd name="connsiteX128" fmla="*/ 10000 w 10000"/>
                <a:gd name="connsiteY128" fmla="*/ 4830 h 9726"/>
                <a:gd name="connsiteX129" fmla="*/ 9866 w 10000"/>
                <a:gd name="connsiteY129" fmla="*/ 4676 h 9726"/>
                <a:gd name="connsiteX130" fmla="*/ 9582 w 10000"/>
                <a:gd name="connsiteY130" fmla="*/ 4583 h 9726"/>
                <a:gd name="connsiteX131" fmla="*/ 9382 w 10000"/>
                <a:gd name="connsiteY131" fmla="*/ 4431 h 9726"/>
                <a:gd name="connsiteX132" fmla="*/ 9569 w 10000"/>
                <a:gd name="connsiteY132" fmla="*/ 4426 h 9726"/>
                <a:gd name="connsiteX133" fmla="*/ 9555 w 10000"/>
                <a:gd name="connsiteY133" fmla="*/ 4389 h 9726"/>
                <a:gd name="connsiteX134" fmla="*/ 9068 w 10000"/>
                <a:gd name="connsiteY134" fmla="*/ 4283 h 9726"/>
                <a:gd name="connsiteX135" fmla="*/ 9047 w 10000"/>
                <a:gd name="connsiteY135" fmla="*/ 4185 h 9726"/>
                <a:gd name="connsiteX136" fmla="*/ 8953 w 10000"/>
                <a:gd name="connsiteY136" fmla="*/ 4083 h 9726"/>
                <a:gd name="connsiteX137" fmla="*/ 8569 w 10000"/>
                <a:gd name="connsiteY137" fmla="*/ 4102 h 9726"/>
                <a:gd name="connsiteX138" fmla="*/ 8431 w 10000"/>
                <a:gd name="connsiteY138" fmla="*/ 3993 h 9726"/>
                <a:gd name="connsiteX139" fmla="*/ 8350 w 10000"/>
                <a:gd name="connsiteY139" fmla="*/ 3987 h 9726"/>
                <a:gd name="connsiteX140" fmla="*/ 8350 w 10000"/>
                <a:gd name="connsiteY140" fmla="*/ 4033 h 9726"/>
                <a:gd name="connsiteX141" fmla="*/ 8176 w 10000"/>
                <a:gd name="connsiteY141" fmla="*/ 4216 h 9726"/>
                <a:gd name="connsiteX142" fmla="*/ 7990 w 10000"/>
                <a:gd name="connsiteY142" fmla="*/ 4323 h 9726"/>
                <a:gd name="connsiteX143" fmla="*/ 7401 w 10000"/>
                <a:gd name="connsiteY143" fmla="*/ 4506 h 9726"/>
                <a:gd name="connsiteX144" fmla="*/ 7198 w 10000"/>
                <a:gd name="connsiteY144" fmla="*/ 4500 h 9726"/>
                <a:gd name="connsiteX145" fmla="*/ 6915 w 10000"/>
                <a:gd name="connsiteY145" fmla="*/ 4528 h 9726"/>
                <a:gd name="connsiteX146" fmla="*/ 6757 w 10000"/>
                <a:gd name="connsiteY146" fmla="*/ 4500 h 9726"/>
                <a:gd name="connsiteX147" fmla="*/ 6965 w 10000"/>
                <a:gd name="connsiteY147" fmla="*/ 4449 h 9726"/>
                <a:gd name="connsiteX148" fmla="*/ 7235 w 10000"/>
                <a:gd name="connsiteY148" fmla="*/ 4426 h 9726"/>
                <a:gd name="connsiteX149" fmla="*/ 7455 w 10000"/>
                <a:gd name="connsiteY149" fmla="*/ 4341 h 9726"/>
                <a:gd name="connsiteX150" fmla="*/ 7674 w 10000"/>
                <a:gd name="connsiteY150" fmla="*/ 4300 h 9726"/>
                <a:gd name="connsiteX151" fmla="*/ 8082 w 10000"/>
                <a:gd name="connsiteY151" fmla="*/ 4150 h 9726"/>
                <a:gd name="connsiteX152" fmla="*/ 8157 w 10000"/>
                <a:gd name="connsiteY152" fmla="*/ 4053 h 9726"/>
                <a:gd name="connsiteX153" fmla="*/ 8165 w 10000"/>
                <a:gd name="connsiteY153" fmla="*/ 3926 h 9726"/>
                <a:gd name="connsiteX154" fmla="*/ 7978 w 10000"/>
                <a:gd name="connsiteY154" fmla="*/ 3905 h 9726"/>
                <a:gd name="connsiteX155" fmla="*/ 8058 w 10000"/>
                <a:gd name="connsiteY155" fmla="*/ 3828 h 9726"/>
                <a:gd name="connsiteX156" fmla="*/ 8087 w 10000"/>
                <a:gd name="connsiteY156" fmla="*/ 3731 h 9726"/>
                <a:gd name="connsiteX157" fmla="*/ 8007 w 10000"/>
                <a:gd name="connsiteY157" fmla="*/ 3639 h 9726"/>
                <a:gd name="connsiteX158" fmla="*/ 5057 w 10000"/>
                <a:gd name="connsiteY158" fmla="*/ 0 h 9726"/>
                <a:gd name="connsiteX159" fmla="*/ 4842 w 10000"/>
                <a:gd name="connsiteY159" fmla="*/ 99 h 9726"/>
                <a:gd name="connsiteX160" fmla="*/ 4200 w 10000"/>
                <a:gd name="connsiteY160" fmla="*/ 33 h 9726"/>
                <a:gd name="connsiteX161" fmla="*/ 3760 w 10000"/>
                <a:gd name="connsiteY161" fmla="*/ 70 h 9726"/>
                <a:gd name="connsiteX162" fmla="*/ 3405 w 10000"/>
                <a:gd name="connsiteY162" fmla="*/ 151 h 9726"/>
                <a:gd name="connsiteX163" fmla="*/ 2832 w 10000"/>
                <a:gd name="connsiteY163" fmla="*/ 404 h 9726"/>
                <a:gd name="connsiteX164" fmla="*/ 2528 w 10000"/>
                <a:gd name="connsiteY164" fmla="*/ 709 h 9726"/>
                <a:gd name="connsiteX165" fmla="*/ 2555 w 10000"/>
                <a:gd name="connsiteY165" fmla="*/ 879 h 9726"/>
                <a:gd name="connsiteX166" fmla="*/ 2661 w 10000"/>
                <a:gd name="connsiteY166" fmla="*/ 1009 h 9726"/>
                <a:gd name="connsiteX167" fmla="*/ 2741 w 10000"/>
                <a:gd name="connsiteY167" fmla="*/ 1062 h 9726"/>
                <a:gd name="connsiteX168" fmla="*/ 2592 w 10000"/>
                <a:gd name="connsiteY168" fmla="*/ 1147 h 9726"/>
                <a:gd name="connsiteX169" fmla="*/ 2267 w 10000"/>
                <a:gd name="connsiteY169" fmla="*/ 1721 h 9726"/>
                <a:gd name="connsiteX170" fmla="*/ 2330 w 10000"/>
                <a:gd name="connsiteY170" fmla="*/ 1753 h 9726"/>
                <a:gd name="connsiteX171" fmla="*/ 2375 w 10000"/>
                <a:gd name="connsiteY171" fmla="*/ 1900 h 9726"/>
                <a:gd name="connsiteX172" fmla="*/ 2226 w 10000"/>
                <a:gd name="connsiteY172" fmla="*/ 2504 h 9726"/>
                <a:gd name="connsiteX173" fmla="*/ 2375 w 10000"/>
                <a:gd name="connsiteY173" fmla="*/ 2658 h 9726"/>
                <a:gd name="connsiteX174" fmla="*/ 2791 w 10000"/>
                <a:gd name="connsiteY174" fmla="*/ 2827 h 9726"/>
                <a:gd name="connsiteX175" fmla="*/ 2808 w 10000"/>
                <a:gd name="connsiteY175" fmla="*/ 3032 h 9726"/>
                <a:gd name="connsiteX176" fmla="*/ 2632 w 10000"/>
                <a:gd name="connsiteY176" fmla="*/ 3204 h 9726"/>
                <a:gd name="connsiteX177" fmla="*/ 2375 w 10000"/>
                <a:gd name="connsiteY177" fmla="*/ 3308 h 9726"/>
                <a:gd name="connsiteX178" fmla="*/ 2039 w 10000"/>
                <a:gd name="connsiteY178" fmla="*/ 3349 h 9726"/>
                <a:gd name="connsiteX179" fmla="*/ 1950 w 10000"/>
                <a:gd name="connsiteY179" fmla="*/ 3410 h 9726"/>
                <a:gd name="connsiteX180" fmla="*/ 2148 w 10000"/>
                <a:gd name="connsiteY180" fmla="*/ 3552 h 9726"/>
                <a:gd name="connsiteX181" fmla="*/ 2261 w 10000"/>
                <a:gd name="connsiteY181" fmla="*/ 3888 h 9726"/>
                <a:gd name="connsiteX182" fmla="*/ 2005 w 10000"/>
                <a:gd name="connsiteY182" fmla="*/ 4177 h 9726"/>
                <a:gd name="connsiteX183" fmla="*/ 2094 w 10000"/>
                <a:gd name="connsiteY183" fmla="*/ 4265 h 9726"/>
                <a:gd name="connsiteX184" fmla="*/ 2012 w 10000"/>
                <a:gd name="connsiteY184" fmla="*/ 4417 h 9726"/>
                <a:gd name="connsiteX185" fmla="*/ 1850 w 10000"/>
                <a:gd name="connsiteY185" fmla="*/ 4521 h 9726"/>
                <a:gd name="connsiteX186" fmla="*/ 1199 w 10000"/>
                <a:gd name="connsiteY186" fmla="*/ 4600 h 9726"/>
                <a:gd name="connsiteX187" fmla="*/ 1158 w 10000"/>
                <a:gd name="connsiteY187" fmla="*/ 4740 h 9726"/>
                <a:gd name="connsiteX188" fmla="*/ 808 w 10000"/>
                <a:gd name="connsiteY188" fmla="*/ 4948 h 9726"/>
                <a:gd name="connsiteX189" fmla="*/ 854 w 10000"/>
                <a:gd name="connsiteY189" fmla="*/ 5247 h 9726"/>
                <a:gd name="connsiteX190" fmla="*/ 560 w 10000"/>
                <a:gd name="connsiteY190" fmla="*/ 5629 h 9726"/>
                <a:gd name="connsiteX191" fmla="*/ 358 w 10000"/>
                <a:gd name="connsiteY191" fmla="*/ 5674 h 9726"/>
                <a:gd name="connsiteX192" fmla="*/ 275 w 10000"/>
                <a:gd name="connsiteY192" fmla="*/ 5584 h 9726"/>
                <a:gd name="connsiteX193" fmla="*/ 174 w 10000"/>
                <a:gd name="connsiteY193" fmla="*/ 5721 h 9726"/>
                <a:gd name="connsiteX194" fmla="*/ 239 w 10000"/>
                <a:gd name="connsiteY194" fmla="*/ 5484 h 9726"/>
                <a:gd name="connsiteX195" fmla="*/ 197 w 10000"/>
                <a:gd name="connsiteY195" fmla="*/ 5439 h 9726"/>
                <a:gd name="connsiteX0" fmla="*/ 197 w 10000"/>
                <a:gd name="connsiteY0" fmla="*/ 5558 h 9966"/>
                <a:gd name="connsiteX1" fmla="*/ 0 w 10000"/>
                <a:gd name="connsiteY1" fmla="*/ 5685 h 9966"/>
                <a:gd name="connsiteX2" fmla="*/ 0 w 10000"/>
                <a:gd name="connsiteY2" fmla="*/ 6312 h 9966"/>
                <a:gd name="connsiteX3" fmla="*/ 109 w 10000"/>
                <a:gd name="connsiteY3" fmla="*/ 6329 h 9966"/>
                <a:gd name="connsiteX4" fmla="*/ 134 w 10000"/>
                <a:gd name="connsiteY4" fmla="*/ 6378 h 9966"/>
                <a:gd name="connsiteX5" fmla="*/ 130 w 10000"/>
                <a:gd name="connsiteY5" fmla="*/ 6463 h 9966"/>
                <a:gd name="connsiteX6" fmla="*/ 89 w 10000"/>
                <a:gd name="connsiteY6" fmla="*/ 6501 h 9966"/>
                <a:gd name="connsiteX7" fmla="*/ 255 w 10000"/>
                <a:gd name="connsiteY7" fmla="*/ 6428 h 9966"/>
                <a:gd name="connsiteX8" fmla="*/ 325 w 10000"/>
                <a:gd name="connsiteY8" fmla="*/ 6357 h 9966"/>
                <a:gd name="connsiteX9" fmla="*/ 413 w 10000"/>
                <a:gd name="connsiteY9" fmla="*/ 6405 h 9966"/>
                <a:gd name="connsiteX10" fmla="*/ 316 w 10000"/>
                <a:gd name="connsiteY10" fmla="*/ 6509 h 9966"/>
                <a:gd name="connsiteX11" fmla="*/ 419 w 10000"/>
                <a:gd name="connsiteY11" fmla="*/ 6511 h 9966"/>
                <a:gd name="connsiteX12" fmla="*/ 469 w 10000"/>
                <a:gd name="connsiteY12" fmla="*/ 6537 h 9966"/>
                <a:gd name="connsiteX13" fmla="*/ 337 w 10000"/>
                <a:gd name="connsiteY13" fmla="*/ 6570 h 9966"/>
                <a:gd name="connsiteX14" fmla="*/ 130 w 10000"/>
                <a:gd name="connsiteY14" fmla="*/ 6675 h 9966"/>
                <a:gd name="connsiteX15" fmla="*/ 497 w 10000"/>
                <a:gd name="connsiteY15" fmla="*/ 6758 h 9966"/>
                <a:gd name="connsiteX16" fmla="*/ 545 w 10000"/>
                <a:gd name="connsiteY16" fmla="*/ 6876 h 9966"/>
                <a:gd name="connsiteX17" fmla="*/ 419 w 10000"/>
                <a:gd name="connsiteY17" fmla="*/ 7048 h 9966"/>
                <a:gd name="connsiteX18" fmla="*/ 688 w 10000"/>
                <a:gd name="connsiteY18" fmla="*/ 7038 h 9966"/>
                <a:gd name="connsiteX19" fmla="*/ 709 w 10000"/>
                <a:gd name="connsiteY19" fmla="*/ 7168 h 9966"/>
                <a:gd name="connsiteX20" fmla="*/ 530 w 10000"/>
                <a:gd name="connsiteY20" fmla="*/ 7258 h 9966"/>
                <a:gd name="connsiteX21" fmla="*/ 560 w 10000"/>
                <a:gd name="connsiteY21" fmla="*/ 7429 h 9966"/>
                <a:gd name="connsiteX22" fmla="*/ 489 w 10000"/>
                <a:gd name="connsiteY22" fmla="*/ 7563 h 9966"/>
                <a:gd name="connsiteX23" fmla="*/ 703 w 10000"/>
                <a:gd name="connsiteY23" fmla="*/ 7576 h 9966"/>
                <a:gd name="connsiteX24" fmla="*/ 909 w 10000"/>
                <a:gd name="connsiteY24" fmla="*/ 8089 h 9966"/>
                <a:gd name="connsiteX25" fmla="*/ 1150 w 10000"/>
                <a:gd name="connsiteY25" fmla="*/ 8217 h 9966"/>
                <a:gd name="connsiteX26" fmla="*/ 1255 w 10000"/>
                <a:gd name="connsiteY26" fmla="*/ 8356 h 9966"/>
                <a:gd name="connsiteX27" fmla="*/ 1514 w 10000"/>
                <a:gd name="connsiteY27" fmla="*/ 8456 h 9966"/>
                <a:gd name="connsiteX28" fmla="*/ 1684 w 10000"/>
                <a:gd name="connsiteY28" fmla="*/ 8586 h 9966"/>
                <a:gd name="connsiteX29" fmla="*/ 1661 w 10000"/>
                <a:gd name="connsiteY29" fmla="*/ 8678 h 9966"/>
                <a:gd name="connsiteX30" fmla="*/ 1496 w 10000"/>
                <a:gd name="connsiteY30" fmla="*/ 8712 h 9966"/>
                <a:gd name="connsiteX31" fmla="*/ 1316 w 10000"/>
                <a:gd name="connsiteY31" fmla="*/ 8690 h 9966"/>
                <a:gd name="connsiteX32" fmla="*/ 1260 w 10000"/>
                <a:gd name="connsiteY32" fmla="*/ 8727 h 9966"/>
                <a:gd name="connsiteX33" fmla="*/ 1397 w 10000"/>
                <a:gd name="connsiteY33" fmla="*/ 8927 h 9966"/>
                <a:gd name="connsiteX34" fmla="*/ 1205 w 10000"/>
                <a:gd name="connsiteY34" fmla="*/ 8910 h 9966"/>
                <a:gd name="connsiteX35" fmla="*/ 1040 w 10000"/>
                <a:gd name="connsiteY35" fmla="*/ 8861 h 9966"/>
                <a:gd name="connsiteX36" fmla="*/ 1012 w 10000"/>
                <a:gd name="connsiteY36" fmla="*/ 8936 h 9966"/>
                <a:gd name="connsiteX37" fmla="*/ 1557 w 10000"/>
                <a:gd name="connsiteY37" fmla="*/ 9618 h 9966"/>
                <a:gd name="connsiteX38" fmla="*/ 1469 w 10000"/>
                <a:gd name="connsiteY38" fmla="*/ 9682 h 9966"/>
                <a:gd name="connsiteX39" fmla="*/ 1408 w 10000"/>
                <a:gd name="connsiteY39" fmla="*/ 9814 h 9966"/>
                <a:gd name="connsiteX40" fmla="*/ 1329 w 10000"/>
                <a:gd name="connsiteY40" fmla="*/ 9823 h 9966"/>
                <a:gd name="connsiteX41" fmla="*/ 1281 w 10000"/>
                <a:gd name="connsiteY41" fmla="*/ 9881 h 9966"/>
                <a:gd name="connsiteX42" fmla="*/ 1609 w 10000"/>
                <a:gd name="connsiteY42" fmla="*/ 9886 h 9966"/>
                <a:gd name="connsiteX43" fmla="*/ 1900 w 10000"/>
                <a:gd name="connsiteY43" fmla="*/ 9943 h 9966"/>
                <a:gd name="connsiteX44" fmla="*/ 2383 w 10000"/>
                <a:gd name="connsiteY44" fmla="*/ 9883 h 9966"/>
                <a:gd name="connsiteX45" fmla="*/ 2816 w 10000"/>
                <a:gd name="connsiteY45" fmla="*/ 9895 h 9966"/>
                <a:gd name="connsiteX46" fmla="*/ 3072 w 10000"/>
                <a:gd name="connsiteY46" fmla="*/ 9966 h 9966"/>
                <a:gd name="connsiteX47" fmla="*/ 3212 w 10000"/>
                <a:gd name="connsiteY47" fmla="*/ 9918 h 9966"/>
                <a:gd name="connsiteX48" fmla="*/ 3348 w 10000"/>
                <a:gd name="connsiteY48" fmla="*/ 9761 h 9966"/>
                <a:gd name="connsiteX49" fmla="*/ 3313 w 10000"/>
                <a:gd name="connsiteY49" fmla="*/ 9502 h 9966"/>
                <a:gd name="connsiteX50" fmla="*/ 3642 w 10000"/>
                <a:gd name="connsiteY50" fmla="*/ 9216 h 9966"/>
                <a:gd name="connsiteX51" fmla="*/ 3883 w 10000"/>
                <a:gd name="connsiteY51" fmla="*/ 9261 h 9966"/>
                <a:gd name="connsiteX52" fmla="*/ 4025 w 10000"/>
                <a:gd name="connsiteY52" fmla="*/ 9147 h 9966"/>
                <a:gd name="connsiteX53" fmla="*/ 4294 w 10000"/>
                <a:gd name="connsiteY53" fmla="*/ 9080 h 9966"/>
                <a:gd name="connsiteX54" fmla="*/ 4658 w 10000"/>
                <a:gd name="connsiteY54" fmla="*/ 9096 h 9966"/>
                <a:gd name="connsiteX55" fmla="*/ 4878 w 10000"/>
                <a:gd name="connsiteY55" fmla="*/ 9141 h 9966"/>
                <a:gd name="connsiteX56" fmla="*/ 5170 w 10000"/>
                <a:gd name="connsiteY56" fmla="*/ 9122 h 9966"/>
                <a:gd name="connsiteX57" fmla="*/ 5464 w 10000"/>
                <a:gd name="connsiteY57" fmla="*/ 9171 h 9966"/>
                <a:gd name="connsiteX58" fmla="*/ 5759 w 10000"/>
                <a:gd name="connsiteY58" fmla="*/ 9178 h 9966"/>
                <a:gd name="connsiteX59" fmla="*/ 6419 w 10000"/>
                <a:gd name="connsiteY59" fmla="*/ 8507 h 9966"/>
                <a:gd name="connsiteX60" fmla="*/ 6586 w 10000"/>
                <a:gd name="connsiteY60" fmla="*/ 7959 h 9966"/>
                <a:gd name="connsiteX61" fmla="*/ 6855 w 10000"/>
                <a:gd name="connsiteY61" fmla="*/ 7717 h 9966"/>
                <a:gd name="connsiteX62" fmla="*/ 6855 w 10000"/>
                <a:gd name="connsiteY62" fmla="*/ 7587 h 9966"/>
                <a:gd name="connsiteX63" fmla="*/ 6757 w 10000"/>
                <a:gd name="connsiteY63" fmla="*/ 7516 h 9966"/>
                <a:gd name="connsiteX64" fmla="*/ 6915 w 10000"/>
                <a:gd name="connsiteY64" fmla="*/ 7401 h 9966"/>
                <a:gd name="connsiteX65" fmla="*/ 6887 w 10000"/>
                <a:gd name="connsiteY65" fmla="*/ 7305 h 9966"/>
                <a:gd name="connsiteX66" fmla="*/ 6779 w 10000"/>
                <a:gd name="connsiteY66" fmla="*/ 7223 h 9966"/>
                <a:gd name="connsiteX67" fmla="*/ 6757 w 10000"/>
                <a:gd name="connsiteY67" fmla="*/ 7162 h 9966"/>
                <a:gd name="connsiteX68" fmla="*/ 6785 w 10000"/>
                <a:gd name="connsiteY68" fmla="*/ 7116 h 9966"/>
                <a:gd name="connsiteX69" fmla="*/ 6931 w 10000"/>
                <a:gd name="connsiteY69" fmla="*/ 7153 h 9966"/>
                <a:gd name="connsiteX70" fmla="*/ 7045 w 10000"/>
                <a:gd name="connsiteY70" fmla="*/ 7151 h 9966"/>
                <a:gd name="connsiteX71" fmla="*/ 6983 w 10000"/>
                <a:gd name="connsiteY71" fmla="*/ 7073 h 9966"/>
                <a:gd name="connsiteX72" fmla="*/ 7003 w 10000"/>
                <a:gd name="connsiteY72" fmla="*/ 7026 h 9966"/>
                <a:gd name="connsiteX73" fmla="*/ 7089 w 10000"/>
                <a:gd name="connsiteY73" fmla="*/ 6961 h 9966"/>
                <a:gd name="connsiteX74" fmla="*/ 7074 w 10000"/>
                <a:gd name="connsiteY74" fmla="*/ 6907 h 9966"/>
                <a:gd name="connsiteX75" fmla="*/ 7152 w 10000"/>
                <a:gd name="connsiteY75" fmla="*/ 6724 h 9966"/>
                <a:gd name="connsiteX76" fmla="*/ 7130 w 10000"/>
                <a:gd name="connsiteY76" fmla="*/ 6669 h 9966"/>
                <a:gd name="connsiteX77" fmla="*/ 6729 w 10000"/>
                <a:gd name="connsiteY77" fmla="*/ 6530 h 9966"/>
                <a:gd name="connsiteX78" fmla="*/ 6785 w 10000"/>
                <a:gd name="connsiteY78" fmla="*/ 6525 h 9966"/>
                <a:gd name="connsiteX79" fmla="*/ 6998 w 10000"/>
                <a:gd name="connsiteY79" fmla="*/ 6561 h 9966"/>
                <a:gd name="connsiteX80" fmla="*/ 7230 w 10000"/>
                <a:gd name="connsiteY80" fmla="*/ 6548 h 9966"/>
                <a:gd name="connsiteX81" fmla="*/ 7295 w 10000"/>
                <a:gd name="connsiteY81" fmla="*/ 6497 h 9966"/>
                <a:gd name="connsiteX82" fmla="*/ 7074 w 10000"/>
                <a:gd name="connsiteY82" fmla="*/ 6403 h 9966"/>
                <a:gd name="connsiteX83" fmla="*/ 6414 w 10000"/>
                <a:gd name="connsiteY83" fmla="*/ 6341 h 9966"/>
                <a:gd name="connsiteX84" fmla="*/ 6458 w 10000"/>
                <a:gd name="connsiteY84" fmla="*/ 6312 h 9966"/>
                <a:gd name="connsiteX85" fmla="*/ 6998 w 10000"/>
                <a:gd name="connsiteY85" fmla="*/ 6293 h 9966"/>
                <a:gd name="connsiteX86" fmla="*/ 7295 w 10000"/>
                <a:gd name="connsiteY86" fmla="*/ 6350 h 9966"/>
                <a:gd name="connsiteX87" fmla="*/ 7466 w 10000"/>
                <a:gd name="connsiteY87" fmla="*/ 6312 h 9966"/>
                <a:gd name="connsiteX88" fmla="*/ 7529 w 10000"/>
                <a:gd name="connsiteY88" fmla="*/ 6214 h 9966"/>
                <a:gd name="connsiteX89" fmla="*/ 7840 w 10000"/>
                <a:gd name="connsiteY89" fmla="*/ 6214 h 9966"/>
                <a:gd name="connsiteX90" fmla="*/ 8261 w 10000"/>
                <a:gd name="connsiteY90" fmla="*/ 6017 h 9966"/>
                <a:gd name="connsiteX91" fmla="*/ 8275 w 10000"/>
                <a:gd name="connsiteY91" fmla="*/ 5886 h 9966"/>
                <a:gd name="connsiteX92" fmla="*/ 8453 w 10000"/>
                <a:gd name="connsiteY92" fmla="*/ 5916 h 9966"/>
                <a:gd name="connsiteX93" fmla="*/ 8446 w 10000"/>
                <a:gd name="connsiteY93" fmla="*/ 6047 h 9966"/>
                <a:gd name="connsiteX94" fmla="*/ 8727 w 10000"/>
                <a:gd name="connsiteY94" fmla="*/ 6038 h 9966"/>
                <a:gd name="connsiteX95" fmla="*/ 8913 w 10000"/>
                <a:gd name="connsiteY95" fmla="*/ 5902 h 9966"/>
                <a:gd name="connsiteX96" fmla="*/ 9258 w 10000"/>
                <a:gd name="connsiteY96" fmla="*/ 5778 h 9966"/>
                <a:gd name="connsiteX97" fmla="*/ 9203 w 10000"/>
                <a:gd name="connsiteY97" fmla="*/ 5639 h 9966"/>
                <a:gd name="connsiteX98" fmla="*/ 9306 w 10000"/>
                <a:gd name="connsiteY98" fmla="*/ 5694 h 9966"/>
                <a:gd name="connsiteX99" fmla="*/ 9464 w 10000"/>
                <a:gd name="connsiteY99" fmla="*/ 5694 h 9966"/>
                <a:gd name="connsiteX100" fmla="*/ 9464 w 10000"/>
                <a:gd name="connsiteY100" fmla="*/ 5629 h 9966"/>
                <a:gd name="connsiteX101" fmla="*/ 9611 w 10000"/>
                <a:gd name="connsiteY101" fmla="*/ 5581 h 9966"/>
                <a:gd name="connsiteX102" fmla="*/ 9592 w 10000"/>
                <a:gd name="connsiteY102" fmla="*/ 5530 h 9966"/>
                <a:gd name="connsiteX103" fmla="*/ 8350 w 10000"/>
                <a:gd name="connsiteY103" fmla="*/ 5631 h 9966"/>
                <a:gd name="connsiteX104" fmla="*/ 8058 w 10000"/>
                <a:gd name="connsiteY104" fmla="*/ 5602 h 9966"/>
                <a:gd name="connsiteX105" fmla="*/ 7942 w 10000"/>
                <a:gd name="connsiteY105" fmla="*/ 5639 h 9966"/>
                <a:gd name="connsiteX106" fmla="*/ 7903 w 10000"/>
                <a:gd name="connsiteY106" fmla="*/ 5567 h 9966"/>
                <a:gd name="connsiteX107" fmla="*/ 7765 w 10000"/>
                <a:gd name="connsiteY107" fmla="*/ 5505 h 9966"/>
                <a:gd name="connsiteX108" fmla="*/ 7213 w 10000"/>
                <a:gd name="connsiteY108" fmla="*/ 5378 h 9966"/>
                <a:gd name="connsiteX109" fmla="*/ 6887 w 10000"/>
                <a:gd name="connsiteY109" fmla="*/ 5399 h 9966"/>
                <a:gd name="connsiteX110" fmla="*/ 6757 w 10000"/>
                <a:gd name="connsiteY110" fmla="*/ 5363 h 9966"/>
                <a:gd name="connsiteX111" fmla="*/ 6894 w 10000"/>
                <a:gd name="connsiteY111" fmla="*/ 5332 h 9966"/>
                <a:gd name="connsiteX112" fmla="*/ 6998 w 10000"/>
                <a:gd name="connsiteY112" fmla="*/ 5264 h 9966"/>
                <a:gd name="connsiteX113" fmla="*/ 7152 w 10000"/>
                <a:gd name="connsiteY113" fmla="*/ 5285 h 9966"/>
                <a:gd name="connsiteX114" fmla="*/ 7335 w 10000"/>
                <a:gd name="connsiteY114" fmla="*/ 5268 h 9966"/>
                <a:gd name="connsiteX115" fmla="*/ 7611 w 10000"/>
                <a:gd name="connsiteY115" fmla="*/ 5290 h 9966"/>
                <a:gd name="connsiteX116" fmla="*/ 7645 w 10000"/>
                <a:gd name="connsiteY116" fmla="*/ 5281 h 9966"/>
                <a:gd name="connsiteX117" fmla="*/ 7859 w 10000"/>
                <a:gd name="connsiteY117" fmla="*/ 5385 h 9966"/>
                <a:gd name="connsiteX118" fmla="*/ 8017 w 10000"/>
                <a:gd name="connsiteY118" fmla="*/ 5346 h 9966"/>
                <a:gd name="connsiteX119" fmla="*/ 8032 w 10000"/>
                <a:gd name="connsiteY119" fmla="*/ 5311 h 9966"/>
                <a:gd name="connsiteX120" fmla="*/ 8176 w 10000"/>
                <a:gd name="connsiteY120" fmla="*/ 5373 h 9966"/>
                <a:gd name="connsiteX121" fmla="*/ 8369 w 10000"/>
                <a:gd name="connsiteY121" fmla="*/ 5405 h 9966"/>
                <a:gd name="connsiteX122" fmla="*/ 8446 w 10000"/>
                <a:gd name="connsiteY122" fmla="*/ 5344 h 9966"/>
                <a:gd name="connsiteX123" fmla="*/ 8507 w 10000"/>
                <a:gd name="connsiteY123" fmla="*/ 5378 h 9966"/>
                <a:gd name="connsiteX124" fmla="*/ 8596 w 10000"/>
                <a:gd name="connsiteY124" fmla="*/ 5497 h 9966"/>
                <a:gd name="connsiteX125" fmla="*/ 8782 w 10000"/>
                <a:gd name="connsiteY125" fmla="*/ 5523 h 9966"/>
                <a:gd name="connsiteX126" fmla="*/ 9542 w 10000"/>
                <a:gd name="connsiteY126" fmla="*/ 5350 h 9966"/>
                <a:gd name="connsiteX127" fmla="*/ 9914 w 10000"/>
                <a:gd name="connsiteY127" fmla="*/ 5109 h 9966"/>
                <a:gd name="connsiteX128" fmla="*/ 10000 w 10000"/>
                <a:gd name="connsiteY128" fmla="*/ 4932 h 9966"/>
                <a:gd name="connsiteX129" fmla="*/ 9866 w 10000"/>
                <a:gd name="connsiteY129" fmla="*/ 4774 h 9966"/>
                <a:gd name="connsiteX130" fmla="*/ 9582 w 10000"/>
                <a:gd name="connsiteY130" fmla="*/ 4678 h 9966"/>
                <a:gd name="connsiteX131" fmla="*/ 9382 w 10000"/>
                <a:gd name="connsiteY131" fmla="*/ 4522 h 9966"/>
                <a:gd name="connsiteX132" fmla="*/ 9569 w 10000"/>
                <a:gd name="connsiteY132" fmla="*/ 4517 h 9966"/>
                <a:gd name="connsiteX133" fmla="*/ 9555 w 10000"/>
                <a:gd name="connsiteY133" fmla="*/ 4479 h 9966"/>
                <a:gd name="connsiteX134" fmla="*/ 9068 w 10000"/>
                <a:gd name="connsiteY134" fmla="*/ 4370 h 9966"/>
                <a:gd name="connsiteX135" fmla="*/ 9047 w 10000"/>
                <a:gd name="connsiteY135" fmla="*/ 4269 h 9966"/>
                <a:gd name="connsiteX136" fmla="*/ 8953 w 10000"/>
                <a:gd name="connsiteY136" fmla="*/ 4164 h 9966"/>
                <a:gd name="connsiteX137" fmla="*/ 8569 w 10000"/>
                <a:gd name="connsiteY137" fmla="*/ 4184 h 9966"/>
                <a:gd name="connsiteX138" fmla="*/ 8431 w 10000"/>
                <a:gd name="connsiteY138" fmla="*/ 4071 h 9966"/>
                <a:gd name="connsiteX139" fmla="*/ 8350 w 10000"/>
                <a:gd name="connsiteY139" fmla="*/ 4065 h 9966"/>
                <a:gd name="connsiteX140" fmla="*/ 8350 w 10000"/>
                <a:gd name="connsiteY140" fmla="*/ 4113 h 9966"/>
                <a:gd name="connsiteX141" fmla="*/ 8176 w 10000"/>
                <a:gd name="connsiteY141" fmla="*/ 4301 h 9966"/>
                <a:gd name="connsiteX142" fmla="*/ 7990 w 10000"/>
                <a:gd name="connsiteY142" fmla="*/ 4411 h 9966"/>
                <a:gd name="connsiteX143" fmla="*/ 7401 w 10000"/>
                <a:gd name="connsiteY143" fmla="*/ 4599 h 9966"/>
                <a:gd name="connsiteX144" fmla="*/ 7198 w 10000"/>
                <a:gd name="connsiteY144" fmla="*/ 4593 h 9966"/>
                <a:gd name="connsiteX145" fmla="*/ 6915 w 10000"/>
                <a:gd name="connsiteY145" fmla="*/ 4622 h 9966"/>
                <a:gd name="connsiteX146" fmla="*/ 6757 w 10000"/>
                <a:gd name="connsiteY146" fmla="*/ 4593 h 9966"/>
                <a:gd name="connsiteX147" fmla="*/ 6965 w 10000"/>
                <a:gd name="connsiteY147" fmla="*/ 4540 h 9966"/>
                <a:gd name="connsiteX148" fmla="*/ 7235 w 10000"/>
                <a:gd name="connsiteY148" fmla="*/ 4517 h 9966"/>
                <a:gd name="connsiteX149" fmla="*/ 7455 w 10000"/>
                <a:gd name="connsiteY149" fmla="*/ 4429 h 9966"/>
                <a:gd name="connsiteX150" fmla="*/ 7674 w 10000"/>
                <a:gd name="connsiteY150" fmla="*/ 4387 h 9966"/>
                <a:gd name="connsiteX151" fmla="*/ 8082 w 10000"/>
                <a:gd name="connsiteY151" fmla="*/ 4233 h 9966"/>
                <a:gd name="connsiteX152" fmla="*/ 8157 w 10000"/>
                <a:gd name="connsiteY152" fmla="*/ 4133 h 9966"/>
                <a:gd name="connsiteX153" fmla="*/ 8165 w 10000"/>
                <a:gd name="connsiteY153" fmla="*/ 4003 h 9966"/>
                <a:gd name="connsiteX154" fmla="*/ 7978 w 10000"/>
                <a:gd name="connsiteY154" fmla="*/ 3981 h 9966"/>
                <a:gd name="connsiteX155" fmla="*/ 8058 w 10000"/>
                <a:gd name="connsiteY155" fmla="*/ 3902 h 9966"/>
                <a:gd name="connsiteX156" fmla="*/ 8087 w 10000"/>
                <a:gd name="connsiteY156" fmla="*/ 3802 h 9966"/>
                <a:gd name="connsiteX157" fmla="*/ 8007 w 10000"/>
                <a:gd name="connsiteY157" fmla="*/ 3708 h 9966"/>
                <a:gd name="connsiteX158" fmla="*/ 4842 w 10000"/>
                <a:gd name="connsiteY158" fmla="*/ 68 h 9966"/>
                <a:gd name="connsiteX159" fmla="*/ 4200 w 10000"/>
                <a:gd name="connsiteY159" fmla="*/ 0 h 9966"/>
                <a:gd name="connsiteX160" fmla="*/ 3760 w 10000"/>
                <a:gd name="connsiteY160" fmla="*/ 38 h 9966"/>
                <a:gd name="connsiteX161" fmla="*/ 3405 w 10000"/>
                <a:gd name="connsiteY161" fmla="*/ 121 h 9966"/>
                <a:gd name="connsiteX162" fmla="*/ 2832 w 10000"/>
                <a:gd name="connsiteY162" fmla="*/ 381 h 9966"/>
                <a:gd name="connsiteX163" fmla="*/ 2528 w 10000"/>
                <a:gd name="connsiteY163" fmla="*/ 695 h 9966"/>
                <a:gd name="connsiteX164" fmla="*/ 2555 w 10000"/>
                <a:gd name="connsiteY164" fmla="*/ 870 h 9966"/>
                <a:gd name="connsiteX165" fmla="*/ 2661 w 10000"/>
                <a:gd name="connsiteY165" fmla="*/ 1003 h 9966"/>
                <a:gd name="connsiteX166" fmla="*/ 2741 w 10000"/>
                <a:gd name="connsiteY166" fmla="*/ 1058 h 9966"/>
                <a:gd name="connsiteX167" fmla="*/ 2592 w 10000"/>
                <a:gd name="connsiteY167" fmla="*/ 1145 h 9966"/>
                <a:gd name="connsiteX168" fmla="*/ 2267 w 10000"/>
                <a:gd name="connsiteY168" fmla="*/ 1735 h 9966"/>
                <a:gd name="connsiteX169" fmla="*/ 2330 w 10000"/>
                <a:gd name="connsiteY169" fmla="*/ 1768 h 9966"/>
                <a:gd name="connsiteX170" fmla="*/ 2375 w 10000"/>
                <a:gd name="connsiteY170" fmla="*/ 1920 h 9966"/>
                <a:gd name="connsiteX171" fmla="*/ 2226 w 10000"/>
                <a:gd name="connsiteY171" fmla="*/ 2541 h 9966"/>
                <a:gd name="connsiteX172" fmla="*/ 2375 w 10000"/>
                <a:gd name="connsiteY172" fmla="*/ 2699 h 9966"/>
                <a:gd name="connsiteX173" fmla="*/ 2791 w 10000"/>
                <a:gd name="connsiteY173" fmla="*/ 2873 h 9966"/>
                <a:gd name="connsiteX174" fmla="*/ 2808 w 10000"/>
                <a:gd name="connsiteY174" fmla="*/ 3083 h 9966"/>
                <a:gd name="connsiteX175" fmla="*/ 2632 w 10000"/>
                <a:gd name="connsiteY175" fmla="*/ 3260 h 9966"/>
                <a:gd name="connsiteX176" fmla="*/ 2375 w 10000"/>
                <a:gd name="connsiteY176" fmla="*/ 3367 h 9966"/>
                <a:gd name="connsiteX177" fmla="*/ 2039 w 10000"/>
                <a:gd name="connsiteY177" fmla="*/ 3409 h 9966"/>
                <a:gd name="connsiteX178" fmla="*/ 1950 w 10000"/>
                <a:gd name="connsiteY178" fmla="*/ 3472 h 9966"/>
                <a:gd name="connsiteX179" fmla="*/ 2148 w 10000"/>
                <a:gd name="connsiteY179" fmla="*/ 3618 h 9966"/>
                <a:gd name="connsiteX180" fmla="*/ 2261 w 10000"/>
                <a:gd name="connsiteY180" fmla="*/ 3964 h 9966"/>
                <a:gd name="connsiteX181" fmla="*/ 2005 w 10000"/>
                <a:gd name="connsiteY181" fmla="*/ 4261 h 9966"/>
                <a:gd name="connsiteX182" fmla="*/ 2094 w 10000"/>
                <a:gd name="connsiteY182" fmla="*/ 4351 h 9966"/>
                <a:gd name="connsiteX183" fmla="*/ 2012 w 10000"/>
                <a:gd name="connsiteY183" fmla="*/ 4507 h 9966"/>
                <a:gd name="connsiteX184" fmla="*/ 1850 w 10000"/>
                <a:gd name="connsiteY184" fmla="*/ 4614 h 9966"/>
                <a:gd name="connsiteX185" fmla="*/ 1199 w 10000"/>
                <a:gd name="connsiteY185" fmla="*/ 4696 h 9966"/>
                <a:gd name="connsiteX186" fmla="*/ 1158 w 10000"/>
                <a:gd name="connsiteY186" fmla="*/ 4840 h 9966"/>
                <a:gd name="connsiteX187" fmla="*/ 808 w 10000"/>
                <a:gd name="connsiteY187" fmla="*/ 5053 h 9966"/>
                <a:gd name="connsiteX188" fmla="*/ 854 w 10000"/>
                <a:gd name="connsiteY188" fmla="*/ 5361 h 9966"/>
                <a:gd name="connsiteX189" fmla="*/ 560 w 10000"/>
                <a:gd name="connsiteY189" fmla="*/ 5754 h 9966"/>
                <a:gd name="connsiteX190" fmla="*/ 358 w 10000"/>
                <a:gd name="connsiteY190" fmla="*/ 5800 h 9966"/>
                <a:gd name="connsiteX191" fmla="*/ 275 w 10000"/>
                <a:gd name="connsiteY191" fmla="*/ 5707 h 9966"/>
                <a:gd name="connsiteX192" fmla="*/ 174 w 10000"/>
                <a:gd name="connsiteY192" fmla="*/ 5848 h 9966"/>
                <a:gd name="connsiteX193" fmla="*/ 239 w 10000"/>
                <a:gd name="connsiteY193" fmla="*/ 5604 h 9966"/>
                <a:gd name="connsiteX194" fmla="*/ 197 w 10000"/>
                <a:gd name="connsiteY194" fmla="*/ 5558 h 9966"/>
                <a:gd name="connsiteX0" fmla="*/ 197 w 10000"/>
                <a:gd name="connsiteY0" fmla="*/ 5577 h 10000"/>
                <a:gd name="connsiteX1" fmla="*/ 0 w 10000"/>
                <a:gd name="connsiteY1" fmla="*/ 5704 h 10000"/>
                <a:gd name="connsiteX2" fmla="*/ 0 w 10000"/>
                <a:gd name="connsiteY2" fmla="*/ 6334 h 10000"/>
                <a:gd name="connsiteX3" fmla="*/ 109 w 10000"/>
                <a:gd name="connsiteY3" fmla="*/ 6351 h 10000"/>
                <a:gd name="connsiteX4" fmla="*/ 134 w 10000"/>
                <a:gd name="connsiteY4" fmla="*/ 6400 h 10000"/>
                <a:gd name="connsiteX5" fmla="*/ 130 w 10000"/>
                <a:gd name="connsiteY5" fmla="*/ 6485 h 10000"/>
                <a:gd name="connsiteX6" fmla="*/ 89 w 10000"/>
                <a:gd name="connsiteY6" fmla="*/ 6523 h 10000"/>
                <a:gd name="connsiteX7" fmla="*/ 255 w 10000"/>
                <a:gd name="connsiteY7" fmla="*/ 6450 h 10000"/>
                <a:gd name="connsiteX8" fmla="*/ 325 w 10000"/>
                <a:gd name="connsiteY8" fmla="*/ 6379 h 10000"/>
                <a:gd name="connsiteX9" fmla="*/ 413 w 10000"/>
                <a:gd name="connsiteY9" fmla="*/ 6427 h 10000"/>
                <a:gd name="connsiteX10" fmla="*/ 316 w 10000"/>
                <a:gd name="connsiteY10" fmla="*/ 6531 h 10000"/>
                <a:gd name="connsiteX11" fmla="*/ 419 w 10000"/>
                <a:gd name="connsiteY11" fmla="*/ 6533 h 10000"/>
                <a:gd name="connsiteX12" fmla="*/ 469 w 10000"/>
                <a:gd name="connsiteY12" fmla="*/ 6559 h 10000"/>
                <a:gd name="connsiteX13" fmla="*/ 337 w 10000"/>
                <a:gd name="connsiteY13" fmla="*/ 6592 h 10000"/>
                <a:gd name="connsiteX14" fmla="*/ 130 w 10000"/>
                <a:gd name="connsiteY14" fmla="*/ 6698 h 10000"/>
                <a:gd name="connsiteX15" fmla="*/ 497 w 10000"/>
                <a:gd name="connsiteY15" fmla="*/ 6781 h 10000"/>
                <a:gd name="connsiteX16" fmla="*/ 545 w 10000"/>
                <a:gd name="connsiteY16" fmla="*/ 6899 h 10000"/>
                <a:gd name="connsiteX17" fmla="*/ 419 w 10000"/>
                <a:gd name="connsiteY17" fmla="*/ 7072 h 10000"/>
                <a:gd name="connsiteX18" fmla="*/ 688 w 10000"/>
                <a:gd name="connsiteY18" fmla="*/ 7062 h 10000"/>
                <a:gd name="connsiteX19" fmla="*/ 709 w 10000"/>
                <a:gd name="connsiteY19" fmla="*/ 7192 h 10000"/>
                <a:gd name="connsiteX20" fmla="*/ 530 w 10000"/>
                <a:gd name="connsiteY20" fmla="*/ 7283 h 10000"/>
                <a:gd name="connsiteX21" fmla="*/ 560 w 10000"/>
                <a:gd name="connsiteY21" fmla="*/ 7454 h 10000"/>
                <a:gd name="connsiteX22" fmla="*/ 489 w 10000"/>
                <a:gd name="connsiteY22" fmla="*/ 7589 h 10000"/>
                <a:gd name="connsiteX23" fmla="*/ 703 w 10000"/>
                <a:gd name="connsiteY23" fmla="*/ 7602 h 10000"/>
                <a:gd name="connsiteX24" fmla="*/ 909 w 10000"/>
                <a:gd name="connsiteY24" fmla="*/ 8117 h 10000"/>
                <a:gd name="connsiteX25" fmla="*/ 1150 w 10000"/>
                <a:gd name="connsiteY25" fmla="*/ 8245 h 10000"/>
                <a:gd name="connsiteX26" fmla="*/ 1255 w 10000"/>
                <a:gd name="connsiteY26" fmla="*/ 8385 h 10000"/>
                <a:gd name="connsiteX27" fmla="*/ 1514 w 10000"/>
                <a:gd name="connsiteY27" fmla="*/ 8485 h 10000"/>
                <a:gd name="connsiteX28" fmla="*/ 1684 w 10000"/>
                <a:gd name="connsiteY28" fmla="*/ 8615 h 10000"/>
                <a:gd name="connsiteX29" fmla="*/ 1661 w 10000"/>
                <a:gd name="connsiteY29" fmla="*/ 8708 h 10000"/>
                <a:gd name="connsiteX30" fmla="*/ 1496 w 10000"/>
                <a:gd name="connsiteY30" fmla="*/ 8742 h 10000"/>
                <a:gd name="connsiteX31" fmla="*/ 1316 w 10000"/>
                <a:gd name="connsiteY31" fmla="*/ 8720 h 10000"/>
                <a:gd name="connsiteX32" fmla="*/ 1260 w 10000"/>
                <a:gd name="connsiteY32" fmla="*/ 8757 h 10000"/>
                <a:gd name="connsiteX33" fmla="*/ 1397 w 10000"/>
                <a:gd name="connsiteY33" fmla="*/ 8957 h 10000"/>
                <a:gd name="connsiteX34" fmla="*/ 1205 w 10000"/>
                <a:gd name="connsiteY34" fmla="*/ 8940 h 10000"/>
                <a:gd name="connsiteX35" fmla="*/ 1040 w 10000"/>
                <a:gd name="connsiteY35" fmla="*/ 8891 h 10000"/>
                <a:gd name="connsiteX36" fmla="*/ 1012 w 10000"/>
                <a:gd name="connsiteY36" fmla="*/ 8966 h 10000"/>
                <a:gd name="connsiteX37" fmla="*/ 1557 w 10000"/>
                <a:gd name="connsiteY37" fmla="*/ 9651 h 10000"/>
                <a:gd name="connsiteX38" fmla="*/ 1469 w 10000"/>
                <a:gd name="connsiteY38" fmla="*/ 9715 h 10000"/>
                <a:gd name="connsiteX39" fmla="*/ 1408 w 10000"/>
                <a:gd name="connsiteY39" fmla="*/ 9847 h 10000"/>
                <a:gd name="connsiteX40" fmla="*/ 1329 w 10000"/>
                <a:gd name="connsiteY40" fmla="*/ 9857 h 10000"/>
                <a:gd name="connsiteX41" fmla="*/ 1281 w 10000"/>
                <a:gd name="connsiteY41" fmla="*/ 9915 h 10000"/>
                <a:gd name="connsiteX42" fmla="*/ 1609 w 10000"/>
                <a:gd name="connsiteY42" fmla="*/ 9920 h 10000"/>
                <a:gd name="connsiteX43" fmla="*/ 1900 w 10000"/>
                <a:gd name="connsiteY43" fmla="*/ 9977 h 10000"/>
                <a:gd name="connsiteX44" fmla="*/ 2383 w 10000"/>
                <a:gd name="connsiteY44" fmla="*/ 9917 h 10000"/>
                <a:gd name="connsiteX45" fmla="*/ 2816 w 10000"/>
                <a:gd name="connsiteY45" fmla="*/ 9929 h 10000"/>
                <a:gd name="connsiteX46" fmla="*/ 3072 w 10000"/>
                <a:gd name="connsiteY46" fmla="*/ 10000 h 10000"/>
                <a:gd name="connsiteX47" fmla="*/ 3212 w 10000"/>
                <a:gd name="connsiteY47" fmla="*/ 9952 h 10000"/>
                <a:gd name="connsiteX48" fmla="*/ 3348 w 10000"/>
                <a:gd name="connsiteY48" fmla="*/ 9794 h 10000"/>
                <a:gd name="connsiteX49" fmla="*/ 3313 w 10000"/>
                <a:gd name="connsiteY49" fmla="*/ 9534 h 10000"/>
                <a:gd name="connsiteX50" fmla="*/ 3642 w 10000"/>
                <a:gd name="connsiteY50" fmla="*/ 9247 h 10000"/>
                <a:gd name="connsiteX51" fmla="*/ 3883 w 10000"/>
                <a:gd name="connsiteY51" fmla="*/ 9293 h 10000"/>
                <a:gd name="connsiteX52" fmla="*/ 4025 w 10000"/>
                <a:gd name="connsiteY52" fmla="*/ 9178 h 10000"/>
                <a:gd name="connsiteX53" fmla="*/ 4294 w 10000"/>
                <a:gd name="connsiteY53" fmla="*/ 9111 h 10000"/>
                <a:gd name="connsiteX54" fmla="*/ 4658 w 10000"/>
                <a:gd name="connsiteY54" fmla="*/ 9127 h 10000"/>
                <a:gd name="connsiteX55" fmla="*/ 4878 w 10000"/>
                <a:gd name="connsiteY55" fmla="*/ 9172 h 10000"/>
                <a:gd name="connsiteX56" fmla="*/ 5170 w 10000"/>
                <a:gd name="connsiteY56" fmla="*/ 9153 h 10000"/>
                <a:gd name="connsiteX57" fmla="*/ 5464 w 10000"/>
                <a:gd name="connsiteY57" fmla="*/ 9202 h 10000"/>
                <a:gd name="connsiteX58" fmla="*/ 5759 w 10000"/>
                <a:gd name="connsiteY58" fmla="*/ 9209 h 10000"/>
                <a:gd name="connsiteX59" fmla="*/ 6419 w 10000"/>
                <a:gd name="connsiteY59" fmla="*/ 8536 h 10000"/>
                <a:gd name="connsiteX60" fmla="*/ 6586 w 10000"/>
                <a:gd name="connsiteY60" fmla="*/ 7986 h 10000"/>
                <a:gd name="connsiteX61" fmla="*/ 6855 w 10000"/>
                <a:gd name="connsiteY61" fmla="*/ 7743 h 10000"/>
                <a:gd name="connsiteX62" fmla="*/ 6855 w 10000"/>
                <a:gd name="connsiteY62" fmla="*/ 7613 h 10000"/>
                <a:gd name="connsiteX63" fmla="*/ 6757 w 10000"/>
                <a:gd name="connsiteY63" fmla="*/ 7542 h 10000"/>
                <a:gd name="connsiteX64" fmla="*/ 6915 w 10000"/>
                <a:gd name="connsiteY64" fmla="*/ 7426 h 10000"/>
                <a:gd name="connsiteX65" fmla="*/ 6887 w 10000"/>
                <a:gd name="connsiteY65" fmla="*/ 7330 h 10000"/>
                <a:gd name="connsiteX66" fmla="*/ 6779 w 10000"/>
                <a:gd name="connsiteY66" fmla="*/ 7248 h 10000"/>
                <a:gd name="connsiteX67" fmla="*/ 6757 w 10000"/>
                <a:gd name="connsiteY67" fmla="*/ 7186 h 10000"/>
                <a:gd name="connsiteX68" fmla="*/ 6785 w 10000"/>
                <a:gd name="connsiteY68" fmla="*/ 7140 h 10000"/>
                <a:gd name="connsiteX69" fmla="*/ 6931 w 10000"/>
                <a:gd name="connsiteY69" fmla="*/ 7177 h 10000"/>
                <a:gd name="connsiteX70" fmla="*/ 7045 w 10000"/>
                <a:gd name="connsiteY70" fmla="*/ 7175 h 10000"/>
                <a:gd name="connsiteX71" fmla="*/ 6983 w 10000"/>
                <a:gd name="connsiteY71" fmla="*/ 7097 h 10000"/>
                <a:gd name="connsiteX72" fmla="*/ 7003 w 10000"/>
                <a:gd name="connsiteY72" fmla="*/ 7050 h 10000"/>
                <a:gd name="connsiteX73" fmla="*/ 7089 w 10000"/>
                <a:gd name="connsiteY73" fmla="*/ 6985 h 10000"/>
                <a:gd name="connsiteX74" fmla="*/ 7074 w 10000"/>
                <a:gd name="connsiteY74" fmla="*/ 6931 h 10000"/>
                <a:gd name="connsiteX75" fmla="*/ 7152 w 10000"/>
                <a:gd name="connsiteY75" fmla="*/ 6747 h 10000"/>
                <a:gd name="connsiteX76" fmla="*/ 7130 w 10000"/>
                <a:gd name="connsiteY76" fmla="*/ 6692 h 10000"/>
                <a:gd name="connsiteX77" fmla="*/ 6729 w 10000"/>
                <a:gd name="connsiteY77" fmla="*/ 6552 h 10000"/>
                <a:gd name="connsiteX78" fmla="*/ 6785 w 10000"/>
                <a:gd name="connsiteY78" fmla="*/ 6547 h 10000"/>
                <a:gd name="connsiteX79" fmla="*/ 6998 w 10000"/>
                <a:gd name="connsiteY79" fmla="*/ 6583 h 10000"/>
                <a:gd name="connsiteX80" fmla="*/ 7230 w 10000"/>
                <a:gd name="connsiteY80" fmla="*/ 6570 h 10000"/>
                <a:gd name="connsiteX81" fmla="*/ 7295 w 10000"/>
                <a:gd name="connsiteY81" fmla="*/ 6519 h 10000"/>
                <a:gd name="connsiteX82" fmla="*/ 7074 w 10000"/>
                <a:gd name="connsiteY82" fmla="*/ 6425 h 10000"/>
                <a:gd name="connsiteX83" fmla="*/ 6414 w 10000"/>
                <a:gd name="connsiteY83" fmla="*/ 6363 h 10000"/>
                <a:gd name="connsiteX84" fmla="*/ 6458 w 10000"/>
                <a:gd name="connsiteY84" fmla="*/ 6334 h 10000"/>
                <a:gd name="connsiteX85" fmla="*/ 6998 w 10000"/>
                <a:gd name="connsiteY85" fmla="*/ 6314 h 10000"/>
                <a:gd name="connsiteX86" fmla="*/ 7295 w 10000"/>
                <a:gd name="connsiteY86" fmla="*/ 6372 h 10000"/>
                <a:gd name="connsiteX87" fmla="*/ 7466 w 10000"/>
                <a:gd name="connsiteY87" fmla="*/ 6334 h 10000"/>
                <a:gd name="connsiteX88" fmla="*/ 7529 w 10000"/>
                <a:gd name="connsiteY88" fmla="*/ 6235 h 10000"/>
                <a:gd name="connsiteX89" fmla="*/ 7840 w 10000"/>
                <a:gd name="connsiteY89" fmla="*/ 6235 h 10000"/>
                <a:gd name="connsiteX90" fmla="*/ 8261 w 10000"/>
                <a:gd name="connsiteY90" fmla="*/ 6038 h 10000"/>
                <a:gd name="connsiteX91" fmla="*/ 8275 w 10000"/>
                <a:gd name="connsiteY91" fmla="*/ 5906 h 10000"/>
                <a:gd name="connsiteX92" fmla="*/ 8453 w 10000"/>
                <a:gd name="connsiteY92" fmla="*/ 5936 h 10000"/>
                <a:gd name="connsiteX93" fmla="*/ 8446 w 10000"/>
                <a:gd name="connsiteY93" fmla="*/ 6068 h 10000"/>
                <a:gd name="connsiteX94" fmla="*/ 8727 w 10000"/>
                <a:gd name="connsiteY94" fmla="*/ 6059 h 10000"/>
                <a:gd name="connsiteX95" fmla="*/ 8913 w 10000"/>
                <a:gd name="connsiteY95" fmla="*/ 5922 h 10000"/>
                <a:gd name="connsiteX96" fmla="*/ 9258 w 10000"/>
                <a:gd name="connsiteY96" fmla="*/ 5798 h 10000"/>
                <a:gd name="connsiteX97" fmla="*/ 9203 w 10000"/>
                <a:gd name="connsiteY97" fmla="*/ 5658 h 10000"/>
                <a:gd name="connsiteX98" fmla="*/ 9306 w 10000"/>
                <a:gd name="connsiteY98" fmla="*/ 5713 h 10000"/>
                <a:gd name="connsiteX99" fmla="*/ 9464 w 10000"/>
                <a:gd name="connsiteY99" fmla="*/ 5713 h 10000"/>
                <a:gd name="connsiteX100" fmla="*/ 9464 w 10000"/>
                <a:gd name="connsiteY100" fmla="*/ 5648 h 10000"/>
                <a:gd name="connsiteX101" fmla="*/ 9611 w 10000"/>
                <a:gd name="connsiteY101" fmla="*/ 5600 h 10000"/>
                <a:gd name="connsiteX102" fmla="*/ 9592 w 10000"/>
                <a:gd name="connsiteY102" fmla="*/ 5549 h 10000"/>
                <a:gd name="connsiteX103" fmla="*/ 8350 w 10000"/>
                <a:gd name="connsiteY103" fmla="*/ 5650 h 10000"/>
                <a:gd name="connsiteX104" fmla="*/ 8058 w 10000"/>
                <a:gd name="connsiteY104" fmla="*/ 5621 h 10000"/>
                <a:gd name="connsiteX105" fmla="*/ 7942 w 10000"/>
                <a:gd name="connsiteY105" fmla="*/ 5658 h 10000"/>
                <a:gd name="connsiteX106" fmla="*/ 7903 w 10000"/>
                <a:gd name="connsiteY106" fmla="*/ 5586 h 10000"/>
                <a:gd name="connsiteX107" fmla="*/ 7765 w 10000"/>
                <a:gd name="connsiteY107" fmla="*/ 5524 h 10000"/>
                <a:gd name="connsiteX108" fmla="*/ 7213 w 10000"/>
                <a:gd name="connsiteY108" fmla="*/ 5396 h 10000"/>
                <a:gd name="connsiteX109" fmla="*/ 6887 w 10000"/>
                <a:gd name="connsiteY109" fmla="*/ 5417 h 10000"/>
                <a:gd name="connsiteX110" fmla="*/ 6757 w 10000"/>
                <a:gd name="connsiteY110" fmla="*/ 5381 h 10000"/>
                <a:gd name="connsiteX111" fmla="*/ 6894 w 10000"/>
                <a:gd name="connsiteY111" fmla="*/ 5350 h 10000"/>
                <a:gd name="connsiteX112" fmla="*/ 6998 w 10000"/>
                <a:gd name="connsiteY112" fmla="*/ 5282 h 10000"/>
                <a:gd name="connsiteX113" fmla="*/ 7152 w 10000"/>
                <a:gd name="connsiteY113" fmla="*/ 5303 h 10000"/>
                <a:gd name="connsiteX114" fmla="*/ 7335 w 10000"/>
                <a:gd name="connsiteY114" fmla="*/ 5286 h 10000"/>
                <a:gd name="connsiteX115" fmla="*/ 7611 w 10000"/>
                <a:gd name="connsiteY115" fmla="*/ 5308 h 10000"/>
                <a:gd name="connsiteX116" fmla="*/ 7645 w 10000"/>
                <a:gd name="connsiteY116" fmla="*/ 5299 h 10000"/>
                <a:gd name="connsiteX117" fmla="*/ 7859 w 10000"/>
                <a:gd name="connsiteY117" fmla="*/ 5403 h 10000"/>
                <a:gd name="connsiteX118" fmla="*/ 8017 w 10000"/>
                <a:gd name="connsiteY118" fmla="*/ 5364 h 10000"/>
                <a:gd name="connsiteX119" fmla="*/ 8032 w 10000"/>
                <a:gd name="connsiteY119" fmla="*/ 5329 h 10000"/>
                <a:gd name="connsiteX120" fmla="*/ 8176 w 10000"/>
                <a:gd name="connsiteY120" fmla="*/ 5391 h 10000"/>
                <a:gd name="connsiteX121" fmla="*/ 8369 w 10000"/>
                <a:gd name="connsiteY121" fmla="*/ 5423 h 10000"/>
                <a:gd name="connsiteX122" fmla="*/ 8446 w 10000"/>
                <a:gd name="connsiteY122" fmla="*/ 5362 h 10000"/>
                <a:gd name="connsiteX123" fmla="*/ 8507 w 10000"/>
                <a:gd name="connsiteY123" fmla="*/ 5396 h 10000"/>
                <a:gd name="connsiteX124" fmla="*/ 8596 w 10000"/>
                <a:gd name="connsiteY124" fmla="*/ 5516 h 10000"/>
                <a:gd name="connsiteX125" fmla="*/ 8782 w 10000"/>
                <a:gd name="connsiteY125" fmla="*/ 5542 h 10000"/>
                <a:gd name="connsiteX126" fmla="*/ 9542 w 10000"/>
                <a:gd name="connsiteY126" fmla="*/ 5368 h 10000"/>
                <a:gd name="connsiteX127" fmla="*/ 9914 w 10000"/>
                <a:gd name="connsiteY127" fmla="*/ 5126 h 10000"/>
                <a:gd name="connsiteX128" fmla="*/ 10000 w 10000"/>
                <a:gd name="connsiteY128" fmla="*/ 4949 h 10000"/>
                <a:gd name="connsiteX129" fmla="*/ 9866 w 10000"/>
                <a:gd name="connsiteY129" fmla="*/ 4790 h 10000"/>
                <a:gd name="connsiteX130" fmla="*/ 9582 w 10000"/>
                <a:gd name="connsiteY130" fmla="*/ 4694 h 10000"/>
                <a:gd name="connsiteX131" fmla="*/ 9382 w 10000"/>
                <a:gd name="connsiteY131" fmla="*/ 4537 h 10000"/>
                <a:gd name="connsiteX132" fmla="*/ 9569 w 10000"/>
                <a:gd name="connsiteY132" fmla="*/ 4532 h 10000"/>
                <a:gd name="connsiteX133" fmla="*/ 9555 w 10000"/>
                <a:gd name="connsiteY133" fmla="*/ 4494 h 10000"/>
                <a:gd name="connsiteX134" fmla="*/ 9068 w 10000"/>
                <a:gd name="connsiteY134" fmla="*/ 4385 h 10000"/>
                <a:gd name="connsiteX135" fmla="*/ 9047 w 10000"/>
                <a:gd name="connsiteY135" fmla="*/ 4284 h 10000"/>
                <a:gd name="connsiteX136" fmla="*/ 8953 w 10000"/>
                <a:gd name="connsiteY136" fmla="*/ 4178 h 10000"/>
                <a:gd name="connsiteX137" fmla="*/ 8569 w 10000"/>
                <a:gd name="connsiteY137" fmla="*/ 4198 h 10000"/>
                <a:gd name="connsiteX138" fmla="*/ 8431 w 10000"/>
                <a:gd name="connsiteY138" fmla="*/ 4085 h 10000"/>
                <a:gd name="connsiteX139" fmla="*/ 8350 w 10000"/>
                <a:gd name="connsiteY139" fmla="*/ 4079 h 10000"/>
                <a:gd name="connsiteX140" fmla="*/ 8350 w 10000"/>
                <a:gd name="connsiteY140" fmla="*/ 4127 h 10000"/>
                <a:gd name="connsiteX141" fmla="*/ 8176 w 10000"/>
                <a:gd name="connsiteY141" fmla="*/ 4316 h 10000"/>
                <a:gd name="connsiteX142" fmla="*/ 7990 w 10000"/>
                <a:gd name="connsiteY142" fmla="*/ 4426 h 10000"/>
                <a:gd name="connsiteX143" fmla="*/ 7401 w 10000"/>
                <a:gd name="connsiteY143" fmla="*/ 4615 h 10000"/>
                <a:gd name="connsiteX144" fmla="*/ 7198 w 10000"/>
                <a:gd name="connsiteY144" fmla="*/ 4609 h 10000"/>
                <a:gd name="connsiteX145" fmla="*/ 6915 w 10000"/>
                <a:gd name="connsiteY145" fmla="*/ 4638 h 10000"/>
                <a:gd name="connsiteX146" fmla="*/ 6757 w 10000"/>
                <a:gd name="connsiteY146" fmla="*/ 4609 h 10000"/>
                <a:gd name="connsiteX147" fmla="*/ 6965 w 10000"/>
                <a:gd name="connsiteY147" fmla="*/ 4555 h 10000"/>
                <a:gd name="connsiteX148" fmla="*/ 7235 w 10000"/>
                <a:gd name="connsiteY148" fmla="*/ 4532 h 10000"/>
                <a:gd name="connsiteX149" fmla="*/ 7455 w 10000"/>
                <a:gd name="connsiteY149" fmla="*/ 4444 h 10000"/>
                <a:gd name="connsiteX150" fmla="*/ 7674 w 10000"/>
                <a:gd name="connsiteY150" fmla="*/ 4402 h 10000"/>
                <a:gd name="connsiteX151" fmla="*/ 8082 w 10000"/>
                <a:gd name="connsiteY151" fmla="*/ 4247 h 10000"/>
                <a:gd name="connsiteX152" fmla="*/ 8157 w 10000"/>
                <a:gd name="connsiteY152" fmla="*/ 4147 h 10000"/>
                <a:gd name="connsiteX153" fmla="*/ 8165 w 10000"/>
                <a:gd name="connsiteY153" fmla="*/ 4017 h 10000"/>
                <a:gd name="connsiteX154" fmla="*/ 7978 w 10000"/>
                <a:gd name="connsiteY154" fmla="*/ 3995 h 10000"/>
                <a:gd name="connsiteX155" fmla="*/ 8058 w 10000"/>
                <a:gd name="connsiteY155" fmla="*/ 3915 h 10000"/>
                <a:gd name="connsiteX156" fmla="*/ 8087 w 10000"/>
                <a:gd name="connsiteY156" fmla="*/ 3815 h 10000"/>
                <a:gd name="connsiteX157" fmla="*/ 8007 w 10000"/>
                <a:gd name="connsiteY157" fmla="*/ 3721 h 10000"/>
                <a:gd name="connsiteX158" fmla="*/ 4200 w 10000"/>
                <a:gd name="connsiteY158" fmla="*/ 0 h 10000"/>
                <a:gd name="connsiteX159" fmla="*/ 3760 w 10000"/>
                <a:gd name="connsiteY159" fmla="*/ 38 h 10000"/>
                <a:gd name="connsiteX160" fmla="*/ 3405 w 10000"/>
                <a:gd name="connsiteY160" fmla="*/ 121 h 10000"/>
                <a:gd name="connsiteX161" fmla="*/ 2832 w 10000"/>
                <a:gd name="connsiteY161" fmla="*/ 382 h 10000"/>
                <a:gd name="connsiteX162" fmla="*/ 2528 w 10000"/>
                <a:gd name="connsiteY162" fmla="*/ 697 h 10000"/>
                <a:gd name="connsiteX163" fmla="*/ 2555 w 10000"/>
                <a:gd name="connsiteY163" fmla="*/ 873 h 10000"/>
                <a:gd name="connsiteX164" fmla="*/ 2661 w 10000"/>
                <a:gd name="connsiteY164" fmla="*/ 1006 h 10000"/>
                <a:gd name="connsiteX165" fmla="*/ 2741 w 10000"/>
                <a:gd name="connsiteY165" fmla="*/ 1062 h 10000"/>
                <a:gd name="connsiteX166" fmla="*/ 2592 w 10000"/>
                <a:gd name="connsiteY166" fmla="*/ 1149 h 10000"/>
                <a:gd name="connsiteX167" fmla="*/ 2267 w 10000"/>
                <a:gd name="connsiteY167" fmla="*/ 1741 h 10000"/>
                <a:gd name="connsiteX168" fmla="*/ 2330 w 10000"/>
                <a:gd name="connsiteY168" fmla="*/ 1774 h 10000"/>
                <a:gd name="connsiteX169" fmla="*/ 2375 w 10000"/>
                <a:gd name="connsiteY169" fmla="*/ 1927 h 10000"/>
                <a:gd name="connsiteX170" fmla="*/ 2226 w 10000"/>
                <a:gd name="connsiteY170" fmla="*/ 2550 h 10000"/>
                <a:gd name="connsiteX171" fmla="*/ 2375 w 10000"/>
                <a:gd name="connsiteY171" fmla="*/ 2708 h 10000"/>
                <a:gd name="connsiteX172" fmla="*/ 2791 w 10000"/>
                <a:gd name="connsiteY172" fmla="*/ 2883 h 10000"/>
                <a:gd name="connsiteX173" fmla="*/ 2808 w 10000"/>
                <a:gd name="connsiteY173" fmla="*/ 3094 h 10000"/>
                <a:gd name="connsiteX174" fmla="*/ 2632 w 10000"/>
                <a:gd name="connsiteY174" fmla="*/ 3271 h 10000"/>
                <a:gd name="connsiteX175" fmla="*/ 2375 w 10000"/>
                <a:gd name="connsiteY175" fmla="*/ 3378 h 10000"/>
                <a:gd name="connsiteX176" fmla="*/ 2039 w 10000"/>
                <a:gd name="connsiteY176" fmla="*/ 3421 h 10000"/>
                <a:gd name="connsiteX177" fmla="*/ 1950 w 10000"/>
                <a:gd name="connsiteY177" fmla="*/ 3484 h 10000"/>
                <a:gd name="connsiteX178" fmla="*/ 2148 w 10000"/>
                <a:gd name="connsiteY178" fmla="*/ 3630 h 10000"/>
                <a:gd name="connsiteX179" fmla="*/ 2261 w 10000"/>
                <a:gd name="connsiteY179" fmla="*/ 3978 h 10000"/>
                <a:gd name="connsiteX180" fmla="*/ 2005 w 10000"/>
                <a:gd name="connsiteY180" fmla="*/ 4276 h 10000"/>
                <a:gd name="connsiteX181" fmla="*/ 2094 w 10000"/>
                <a:gd name="connsiteY181" fmla="*/ 4366 h 10000"/>
                <a:gd name="connsiteX182" fmla="*/ 2012 w 10000"/>
                <a:gd name="connsiteY182" fmla="*/ 4522 h 10000"/>
                <a:gd name="connsiteX183" fmla="*/ 1850 w 10000"/>
                <a:gd name="connsiteY183" fmla="*/ 4630 h 10000"/>
                <a:gd name="connsiteX184" fmla="*/ 1199 w 10000"/>
                <a:gd name="connsiteY184" fmla="*/ 4712 h 10000"/>
                <a:gd name="connsiteX185" fmla="*/ 1158 w 10000"/>
                <a:gd name="connsiteY185" fmla="*/ 4857 h 10000"/>
                <a:gd name="connsiteX186" fmla="*/ 808 w 10000"/>
                <a:gd name="connsiteY186" fmla="*/ 5070 h 10000"/>
                <a:gd name="connsiteX187" fmla="*/ 854 w 10000"/>
                <a:gd name="connsiteY187" fmla="*/ 5379 h 10000"/>
                <a:gd name="connsiteX188" fmla="*/ 560 w 10000"/>
                <a:gd name="connsiteY188" fmla="*/ 5774 h 10000"/>
                <a:gd name="connsiteX189" fmla="*/ 358 w 10000"/>
                <a:gd name="connsiteY189" fmla="*/ 5820 h 10000"/>
                <a:gd name="connsiteX190" fmla="*/ 275 w 10000"/>
                <a:gd name="connsiteY190" fmla="*/ 5726 h 10000"/>
                <a:gd name="connsiteX191" fmla="*/ 174 w 10000"/>
                <a:gd name="connsiteY191" fmla="*/ 5868 h 10000"/>
                <a:gd name="connsiteX192" fmla="*/ 239 w 10000"/>
                <a:gd name="connsiteY192" fmla="*/ 5623 h 10000"/>
                <a:gd name="connsiteX193" fmla="*/ 197 w 10000"/>
                <a:gd name="connsiteY193" fmla="*/ 5577 h 10000"/>
                <a:gd name="connsiteX0" fmla="*/ 197 w 10000"/>
                <a:gd name="connsiteY0" fmla="*/ 5539 h 9962"/>
                <a:gd name="connsiteX1" fmla="*/ 0 w 10000"/>
                <a:gd name="connsiteY1" fmla="*/ 5666 h 9962"/>
                <a:gd name="connsiteX2" fmla="*/ 0 w 10000"/>
                <a:gd name="connsiteY2" fmla="*/ 6296 h 9962"/>
                <a:gd name="connsiteX3" fmla="*/ 109 w 10000"/>
                <a:gd name="connsiteY3" fmla="*/ 6313 h 9962"/>
                <a:gd name="connsiteX4" fmla="*/ 134 w 10000"/>
                <a:gd name="connsiteY4" fmla="*/ 6362 h 9962"/>
                <a:gd name="connsiteX5" fmla="*/ 130 w 10000"/>
                <a:gd name="connsiteY5" fmla="*/ 6447 h 9962"/>
                <a:gd name="connsiteX6" fmla="*/ 89 w 10000"/>
                <a:gd name="connsiteY6" fmla="*/ 6485 h 9962"/>
                <a:gd name="connsiteX7" fmla="*/ 255 w 10000"/>
                <a:gd name="connsiteY7" fmla="*/ 6412 h 9962"/>
                <a:gd name="connsiteX8" fmla="*/ 325 w 10000"/>
                <a:gd name="connsiteY8" fmla="*/ 6341 h 9962"/>
                <a:gd name="connsiteX9" fmla="*/ 413 w 10000"/>
                <a:gd name="connsiteY9" fmla="*/ 6389 h 9962"/>
                <a:gd name="connsiteX10" fmla="*/ 316 w 10000"/>
                <a:gd name="connsiteY10" fmla="*/ 6493 h 9962"/>
                <a:gd name="connsiteX11" fmla="*/ 419 w 10000"/>
                <a:gd name="connsiteY11" fmla="*/ 6495 h 9962"/>
                <a:gd name="connsiteX12" fmla="*/ 469 w 10000"/>
                <a:gd name="connsiteY12" fmla="*/ 6521 h 9962"/>
                <a:gd name="connsiteX13" fmla="*/ 337 w 10000"/>
                <a:gd name="connsiteY13" fmla="*/ 6554 h 9962"/>
                <a:gd name="connsiteX14" fmla="*/ 130 w 10000"/>
                <a:gd name="connsiteY14" fmla="*/ 6660 h 9962"/>
                <a:gd name="connsiteX15" fmla="*/ 497 w 10000"/>
                <a:gd name="connsiteY15" fmla="*/ 6743 h 9962"/>
                <a:gd name="connsiteX16" fmla="*/ 545 w 10000"/>
                <a:gd name="connsiteY16" fmla="*/ 6861 h 9962"/>
                <a:gd name="connsiteX17" fmla="*/ 419 w 10000"/>
                <a:gd name="connsiteY17" fmla="*/ 7034 h 9962"/>
                <a:gd name="connsiteX18" fmla="*/ 688 w 10000"/>
                <a:gd name="connsiteY18" fmla="*/ 7024 h 9962"/>
                <a:gd name="connsiteX19" fmla="*/ 709 w 10000"/>
                <a:gd name="connsiteY19" fmla="*/ 7154 h 9962"/>
                <a:gd name="connsiteX20" fmla="*/ 530 w 10000"/>
                <a:gd name="connsiteY20" fmla="*/ 7245 h 9962"/>
                <a:gd name="connsiteX21" fmla="*/ 560 w 10000"/>
                <a:gd name="connsiteY21" fmla="*/ 7416 h 9962"/>
                <a:gd name="connsiteX22" fmla="*/ 489 w 10000"/>
                <a:gd name="connsiteY22" fmla="*/ 7551 h 9962"/>
                <a:gd name="connsiteX23" fmla="*/ 703 w 10000"/>
                <a:gd name="connsiteY23" fmla="*/ 7564 h 9962"/>
                <a:gd name="connsiteX24" fmla="*/ 909 w 10000"/>
                <a:gd name="connsiteY24" fmla="*/ 8079 h 9962"/>
                <a:gd name="connsiteX25" fmla="*/ 1150 w 10000"/>
                <a:gd name="connsiteY25" fmla="*/ 8207 h 9962"/>
                <a:gd name="connsiteX26" fmla="*/ 1255 w 10000"/>
                <a:gd name="connsiteY26" fmla="*/ 8347 h 9962"/>
                <a:gd name="connsiteX27" fmla="*/ 1514 w 10000"/>
                <a:gd name="connsiteY27" fmla="*/ 8447 h 9962"/>
                <a:gd name="connsiteX28" fmla="*/ 1684 w 10000"/>
                <a:gd name="connsiteY28" fmla="*/ 8577 h 9962"/>
                <a:gd name="connsiteX29" fmla="*/ 1661 w 10000"/>
                <a:gd name="connsiteY29" fmla="*/ 8670 h 9962"/>
                <a:gd name="connsiteX30" fmla="*/ 1496 w 10000"/>
                <a:gd name="connsiteY30" fmla="*/ 8704 h 9962"/>
                <a:gd name="connsiteX31" fmla="*/ 1316 w 10000"/>
                <a:gd name="connsiteY31" fmla="*/ 8682 h 9962"/>
                <a:gd name="connsiteX32" fmla="*/ 1260 w 10000"/>
                <a:gd name="connsiteY32" fmla="*/ 8719 h 9962"/>
                <a:gd name="connsiteX33" fmla="*/ 1397 w 10000"/>
                <a:gd name="connsiteY33" fmla="*/ 8919 h 9962"/>
                <a:gd name="connsiteX34" fmla="*/ 1205 w 10000"/>
                <a:gd name="connsiteY34" fmla="*/ 8902 h 9962"/>
                <a:gd name="connsiteX35" fmla="*/ 1040 w 10000"/>
                <a:gd name="connsiteY35" fmla="*/ 8853 h 9962"/>
                <a:gd name="connsiteX36" fmla="*/ 1012 w 10000"/>
                <a:gd name="connsiteY36" fmla="*/ 8928 h 9962"/>
                <a:gd name="connsiteX37" fmla="*/ 1557 w 10000"/>
                <a:gd name="connsiteY37" fmla="*/ 9613 h 9962"/>
                <a:gd name="connsiteX38" fmla="*/ 1469 w 10000"/>
                <a:gd name="connsiteY38" fmla="*/ 9677 h 9962"/>
                <a:gd name="connsiteX39" fmla="*/ 1408 w 10000"/>
                <a:gd name="connsiteY39" fmla="*/ 9809 h 9962"/>
                <a:gd name="connsiteX40" fmla="*/ 1329 w 10000"/>
                <a:gd name="connsiteY40" fmla="*/ 9819 h 9962"/>
                <a:gd name="connsiteX41" fmla="*/ 1281 w 10000"/>
                <a:gd name="connsiteY41" fmla="*/ 9877 h 9962"/>
                <a:gd name="connsiteX42" fmla="*/ 1609 w 10000"/>
                <a:gd name="connsiteY42" fmla="*/ 9882 h 9962"/>
                <a:gd name="connsiteX43" fmla="*/ 1900 w 10000"/>
                <a:gd name="connsiteY43" fmla="*/ 9939 h 9962"/>
                <a:gd name="connsiteX44" fmla="*/ 2383 w 10000"/>
                <a:gd name="connsiteY44" fmla="*/ 9879 h 9962"/>
                <a:gd name="connsiteX45" fmla="*/ 2816 w 10000"/>
                <a:gd name="connsiteY45" fmla="*/ 9891 h 9962"/>
                <a:gd name="connsiteX46" fmla="*/ 3072 w 10000"/>
                <a:gd name="connsiteY46" fmla="*/ 9962 h 9962"/>
                <a:gd name="connsiteX47" fmla="*/ 3212 w 10000"/>
                <a:gd name="connsiteY47" fmla="*/ 9914 h 9962"/>
                <a:gd name="connsiteX48" fmla="*/ 3348 w 10000"/>
                <a:gd name="connsiteY48" fmla="*/ 9756 h 9962"/>
                <a:gd name="connsiteX49" fmla="*/ 3313 w 10000"/>
                <a:gd name="connsiteY49" fmla="*/ 9496 h 9962"/>
                <a:gd name="connsiteX50" fmla="*/ 3642 w 10000"/>
                <a:gd name="connsiteY50" fmla="*/ 9209 h 9962"/>
                <a:gd name="connsiteX51" fmla="*/ 3883 w 10000"/>
                <a:gd name="connsiteY51" fmla="*/ 9255 h 9962"/>
                <a:gd name="connsiteX52" fmla="*/ 4025 w 10000"/>
                <a:gd name="connsiteY52" fmla="*/ 9140 h 9962"/>
                <a:gd name="connsiteX53" fmla="*/ 4294 w 10000"/>
                <a:gd name="connsiteY53" fmla="*/ 9073 h 9962"/>
                <a:gd name="connsiteX54" fmla="*/ 4658 w 10000"/>
                <a:gd name="connsiteY54" fmla="*/ 9089 h 9962"/>
                <a:gd name="connsiteX55" fmla="*/ 4878 w 10000"/>
                <a:gd name="connsiteY55" fmla="*/ 9134 h 9962"/>
                <a:gd name="connsiteX56" fmla="*/ 5170 w 10000"/>
                <a:gd name="connsiteY56" fmla="*/ 9115 h 9962"/>
                <a:gd name="connsiteX57" fmla="*/ 5464 w 10000"/>
                <a:gd name="connsiteY57" fmla="*/ 9164 h 9962"/>
                <a:gd name="connsiteX58" fmla="*/ 5759 w 10000"/>
                <a:gd name="connsiteY58" fmla="*/ 9171 h 9962"/>
                <a:gd name="connsiteX59" fmla="*/ 6419 w 10000"/>
                <a:gd name="connsiteY59" fmla="*/ 8498 h 9962"/>
                <a:gd name="connsiteX60" fmla="*/ 6586 w 10000"/>
                <a:gd name="connsiteY60" fmla="*/ 7948 h 9962"/>
                <a:gd name="connsiteX61" fmla="*/ 6855 w 10000"/>
                <a:gd name="connsiteY61" fmla="*/ 7705 h 9962"/>
                <a:gd name="connsiteX62" fmla="*/ 6855 w 10000"/>
                <a:gd name="connsiteY62" fmla="*/ 7575 h 9962"/>
                <a:gd name="connsiteX63" fmla="*/ 6757 w 10000"/>
                <a:gd name="connsiteY63" fmla="*/ 7504 h 9962"/>
                <a:gd name="connsiteX64" fmla="*/ 6915 w 10000"/>
                <a:gd name="connsiteY64" fmla="*/ 7388 h 9962"/>
                <a:gd name="connsiteX65" fmla="*/ 6887 w 10000"/>
                <a:gd name="connsiteY65" fmla="*/ 7292 h 9962"/>
                <a:gd name="connsiteX66" fmla="*/ 6779 w 10000"/>
                <a:gd name="connsiteY66" fmla="*/ 7210 h 9962"/>
                <a:gd name="connsiteX67" fmla="*/ 6757 w 10000"/>
                <a:gd name="connsiteY67" fmla="*/ 7148 h 9962"/>
                <a:gd name="connsiteX68" fmla="*/ 6785 w 10000"/>
                <a:gd name="connsiteY68" fmla="*/ 7102 h 9962"/>
                <a:gd name="connsiteX69" fmla="*/ 6931 w 10000"/>
                <a:gd name="connsiteY69" fmla="*/ 7139 h 9962"/>
                <a:gd name="connsiteX70" fmla="*/ 7045 w 10000"/>
                <a:gd name="connsiteY70" fmla="*/ 7137 h 9962"/>
                <a:gd name="connsiteX71" fmla="*/ 6983 w 10000"/>
                <a:gd name="connsiteY71" fmla="*/ 7059 h 9962"/>
                <a:gd name="connsiteX72" fmla="*/ 7003 w 10000"/>
                <a:gd name="connsiteY72" fmla="*/ 7012 h 9962"/>
                <a:gd name="connsiteX73" fmla="*/ 7089 w 10000"/>
                <a:gd name="connsiteY73" fmla="*/ 6947 h 9962"/>
                <a:gd name="connsiteX74" fmla="*/ 7074 w 10000"/>
                <a:gd name="connsiteY74" fmla="*/ 6893 h 9962"/>
                <a:gd name="connsiteX75" fmla="*/ 7152 w 10000"/>
                <a:gd name="connsiteY75" fmla="*/ 6709 h 9962"/>
                <a:gd name="connsiteX76" fmla="*/ 7130 w 10000"/>
                <a:gd name="connsiteY76" fmla="*/ 6654 h 9962"/>
                <a:gd name="connsiteX77" fmla="*/ 6729 w 10000"/>
                <a:gd name="connsiteY77" fmla="*/ 6514 h 9962"/>
                <a:gd name="connsiteX78" fmla="*/ 6785 w 10000"/>
                <a:gd name="connsiteY78" fmla="*/ 6509 h 9962"/>
                <a:gd name="connsiteX79" fmla="*/ 6998 w 10000"/>
                <a:gd name="connsiteY79" fmla="*/ 6545 h 9962"/>
                <a:gd name="connsiteX80" fmla="*/ 7230 w 10000"/>
                <a:gd name="connsiteY80" fmla="*/ 6532 h 9962"/>
                <a:gd name="connsiteX81" fmla="*/ 7295 w 10000"/>
                <a:gd name="connsiteY81" fmla="*/ 6481 h 9962"/>
                <a:gd name="connsiteX82" fmla="*/ 7074 w 10000"/>
                <a:gd name="connsiteY82" fmla="*/ 6387 h 9962"/>
                <a:gd name="connsiteX83" fmla="*/ 6414 w 10000"/>
                <a:gd name="connsiteY83" fmla="*/ 6325 h 9962"/>
                <a:gd name="connsiteX84" fmla="*/ 6458 w 10000"/>
                <a:gd name="connsiteY84" fmla="*/ 6296 h 9962"/>
                <a:gd name="connsiteX85" fmla="*/ 6998 w 10000"/>
                <a:gd name="connsiteY85" fmla="*/ 6276 h 9962"/>
                <a:gd name="connsiteX86" fmla="*/ 7295 w 10000"/>
                <a:gd name="connsiteY86" fmla="*/ 6334 h 9962"/>
                <a:gd name="connsiteX87" fmla="*/ 7466 w 10000"/>
                <a:gd name="connsiteY87" fmla="*/ 6296 h 9962"/>
                <a:gd name="connsiteX88" fmla="*/ 7529 w 10000"/>
                <a:gd name="connsiteY88" fmla="*/ 6197 h 9962"/>
                <a:gd name="connsiteX89" fmla="*/ 7840 w 10000"/>
                <a:gd name="connsiteY89" fmla="*/ 6197 h 9962"/>
                <a:gd name="connsiteX90" fmla="*/ 8261 w 10000"/>
                <a:gd name="connsiteY90" fmla="*/ 6000 h 9962"/>
                <a:gd name="connsiteX91" fmla="*/ 8275 w 10000"/>
                <a:gd name="connsiteY91" fmla="*/ 5868 h 9962"/>
                <a:gd name="connsiteX92" fmla="*/ 8453 w 10000"/>
                <a:gd name="connsiteY92" fmla="*/ 5898 h 9962"/>
                <a:gd name="connsiteX93" fmla="*/ 8446 w 10000"/>
                <a:gd name="connsiteY93" fmla="*/ 6030 h 9962"/>
                <a:gd name="connsiteX94" fmla="*/ 8727 w 10000"/>
                <a:gd name="connsiteY94" fmla="*/ 6021 h 9962"/>
                <a:gd name="connsiteX95" fmla="*/ 8913 w 10000"/>
                <a:gd name="connsiteY95" fmla="*/ 5884 h 9962"/>
                <a:gd name="connsiteX96" fmla="*/ 9258 w 10000"/>
                <a:gd name="connsiteY96" fmla="*/ 5760 h 9962"/>
                <a:gd name="connsiteX97" fmla="*/ 9203 w 10000"/>
                <a:gd name="connsiteY97" fmla="*/ 5620 h 9962"/>
                <a:gd name="connsiteX98" fmla="*/ 9306 w 10000"/>
                <a:gd name="connsiteY98" fmla="*/ 5675 h 9962"/>
                <a:gd name="connsiteX99" fmla="*/ 9464 w 10000"/>
                <a:gd name="connsiteY99" fmla="*/ 5675 h 9962"/>
                <a:gd name="connsiteX100" fmla="*/ 9464 w 10000"/>
                <a:gd name="connsiteY100" fmla="*/ 5610 h 9962"/>
                <a:gd name="connsiteX101" fmla="*/ 9611 w 10000"/>
                <a:gd name="connsiteY101" fmla="*/ 5562 h 9962"/>
                <a:gd name="connsiteX102" fmla="*/ 9592 w 10000"/>
                <a:gd name="connsiteY102" fmla="*/ 5511 h 9962"/>
                <a:gd name="connsiteX103" fmla="*/ 8350 w 10000"/>
                <a:gd name="connsiteY103" fmla="*/ 5612 h 9962"/>
                <a:gd name="connsiteX104" fmla="*/ 8058 w 10000"/>
                <a:gd name="connsiteY104" fmla="*/ 5583 h 9962"/>
                <a:gd name="connsiteX105" fmla="*/ 7942 w 10000"/>
                <a:gd name="connsiteY105" fmla="*/ 5620 h 9962"/>
                <a:gd name="connsiteX106" fmla="*/ 7903 w 10000"/>
                <a:gd name="connsiteY106" fmla="*/ 5548 h 9962"/>
                <a:gd name="connsiteX107" fmla="*/ 7765 w 10000"/>
                <a:gd name="connsiteY107" fmla="*/ 5486 h 9962"/>
                <a:gd name="connsiteX108" fmla="*/ 7213 w 10000"/>
                <a:gd name="connsiteY108" fmla="*/ 5358 h 9962"/>
                <a:gd name="connsiteX109" fmla="*/ 6887 w 10000"/>
                <a:gd name="connsiteY109" fmla="*/ 5379 h 9962"/>
                <a:gd name="connsiteX110" fmla="*/ 6757 w 10000"/>
                <a:gd name="connsiteY110" fmla="*/ 5343 h 9962"/>
                <a:gd name="connsiteX111" fmla="*/ 6894 w 10000"/>
                <a:gd name="connsiteY111" fmla="*/ 5312 h 9962"/>
                <a:gd name="connsiteX112" fmla="*/ 6998 w 10000"/>
                <a:gd name="connsiteY112" fmla="*/ 5244 h 9962"/>
                <a:gd name="connsiteX113" fmla="*/ 7152 w 10000"/>
                <a:gd name="connsiteY113" fmla="*/ 5265 h 9962"/>
                <a:gd name="connsiteX114" fmla="*/ 7335 w 10000"/>
                <a:gd name="connsiteY114" fmla="*/ 5248 h 9962"/>
                <a:gd name="connsiteX115" fmla="*/ 7611 w 10000"/>
                <a:gd name="connsiteY115" fmla="*/ 5270 h 9962"/>
                <a:gd name="connsiteX116" fmla="*/ 7645 w 10000"/>
                <a:gd name="connsiteY116" fmla="*/ 5261 h 9962"/>
                <a:gd name="connsiteX117" fmla="*/ 7859 w 10000"/>
                <a:gd name="connsiteY117" fmla="*/ 5365 h 9962"/>
                <a:gd name="connsiteX118" fmla="*/ 8017 w 10000"/>
                <a:gd name="connsiteY118" fmla="*/ 5326 h 9962"/>
                <a:gd name="connsiteX119" fmla="*/ 8032 w 10000"/>
                <a:gd name="connsiteY119" fmla="*/ 5291 h 9962"/>
                <a:gd name="connsiteX120" fmla="*/ 8176 w 10000"/>
                <a:gd name="connsiteY120" fmla="*/ 5353 h 9962"/>
                <a:gd name="connsiteX121" fmla="*/ 8369 w 10000"/>
                <a:gd name="connsiteY121" fmla="*/ 5385 h 9962"/>
                <a:gd name="connsiteX122" fmla="*/ 8446 w 10000"/>
                <a:gd name="connsiteY122" fmla="*/ 5324 h 9962"/>
                <a:gd name="connsiteX123" fmla="*/ 8507 w 10000"/>
                <a:gd name="connsiteY123" fmla="*/ 5358 h 9962"/>
                <a:gd name="connsiteX124" fmla="*/ 8596 w 10000"/>
                <a:gd name="connsiteY124" fmla="*/ 5478 h 9962"/>
                <a:gd name="connsiteX125" fmla="*/ 8782 w 10000"/>
                <a:gd name="connsiteY125" fmla="*/ 5504 h 9962"/>
                <a:gd name="connsiteX126" fmla="*/ 9542 w 10000"/>
                <a:gd name="connsiteY126" fmla="*/ 5330 h 9962"/>
                <a:gd name="connsiteX127" fmla="*/ 9914 w 10000"/>
                <a:gd name="connsiteY127" fmla="*/ 5088 h 9962"/>
                <a:gd name="connsiteX128" fmla="*/ 10000 w 10000"/>
                <a:gd name="connsiteY128" fmla="*/ 4911 h 9962"/>
                <a:gd name="connsiteX129" fmla="*/ 9866 w 10000"/>
                <a:gd name="connsiteY129" fmla="*/ 4752 h 9962"/>
                <a:gd name="connsiteX130" fmla="*/ 9582 w 10000"/>
                <a:gd name="connsiteY130" fmla="*/ 4656 h 9962"/>
                <a:gd name="connsiteX131" fmla="*/ 9382 w 10000"/>
                <a:gd name="connsiteY131" fmla="*/ 4499 h 9962"/>
                <a:gd name="connsiteX132" fmla="*/ 9569 w 10000"/>
                <a:gd name="connsiteY132" fmla="*/ 4494 h 9962"/>
                <a:gd name="connsiteX133" fmla="*/ 9555 w 10000"/>
                <a:gd name="connsiteY133" fmla="*/ 4456 h 9962"/>
                <a:gd name="connsiteX134" fmla="*/ 9068 w 10000"/>
                <a:gd name="connsiteY134" fmla="*/ 4347 h 9962"/>
                <a:gd name="connsiteX135" fmla="*/ 9047 w 10000"/>
                <a:gd name="connsiteY135" fmla="*/ 4246 h 9962"/>
                <a:gd name="connsiteX136" fmla="*/ 8953 w 10000"/>
                <a:gd name="connsiteY136" fmla="*/ 4140 h 9962"/>
                <a:gd name="connsiteX137" fmla="*/ 8569 w 10000"/>
                <a:gd name="connsiteY137" fmla="*/ 4160 h 9962"/>
                <a:gd name="connsiteX138" fmla="*/ 8431 w 10000"/>
                <a:gd name="connsiteY138" fmla="*/ 4047 h 9962"/>
                <a:gd name="connsiteX139" fmla="*/ 8350 w 10000"/>
                <a:gd name="connsiteY139" fmla="*/ 4041 h 9962"/>
                <a:gd name="connsiteX140" fmla="*/ 8350 w 10000"/>
                <a:gd name="connsiteY140" fmla="*/ 4089 h 9962"/>
                <a:gd name="connsiteX141" fmla="*/ 8176 w 10000"/>
                <a:gd name="connsiteY141" fmla="*/ 4278 h 9962"/>
                <a:gd name="connsiteX142" fmla="*/ 7990 w 10000"/>
                <a:gd name="connsiteY142" fmla="*/ 4388 h 9962"/>
                <a:gd name="connsiteX143" fmla="*/ 7401 w 10000"/>
                <a:gd name="connsiteY143" fmla="*/ 4577 h 9962"/>
                <a:gd name="connsiteX144" fmla="*/ 7198 w 10000"/>
                <a:gd name="connsiteY144" fmla="*/ 4571 h 9962"/>
                <a:gd name="connsiteX145" fmla="*/ 6915 w 10000"/>
                <a:gd name="connsiteY145" fmla="*/ 4600 h 9962"/>
                <a:gd name="connsiteX146" fmla="*/ 6757 w 10000"/>
                <a:gd name="connsiteY146" fmla="*/ 4571 h 9962"/>
                <a:gd name="connsiteX147" fmla="*/ 6965 w 10000"/>
                <a:gd name="connsiteY147" fmla="*/ 4517 h 9962"/>
                <a:gd name="connsiteX148" fmla="*/ 7235 w 10000"/>
                <a:gd name="connsiteY148" fmla="*/ 4494 h 9962"/>
                <a:gd name="connsiteX149" fmla="*/ 7455 w 10000"/>
                <a:gd name="connsiteY149" fmla="*/ 4406 h 9962"/>
                <a:gd name="connsiteX150" fmla="*/ 7674 w 10000"/>
                <a:gd name="connsiteY150" fmla="*/ 4364 h 9962"/>
                <a:gd name="connsiteX151" fmla="*/ 8082 w 10000"/>
                <a:gd name="connsiteY151" fmla="*/ 4209 h 9962"/>
                <a:gd name="connsiteX152" fmla="*/ 8157 w 10000"/>
                <a:gd name="connsiteY152" fmla="*/ 4109 h 9962"/>
                <a:gd name="connsiteX153" fmla="*/ 8165 w 10000"/>
                <a:gd name="connsiteY153" fmla="*/ 3979 h 9962"/>
                <a:gd name="connsiteX154" fmla="*/ 7978 w 10000"/>
                <a:gd name="connsiteY154" fmla="*/ 3957 h 9962"/>
                <a:gd name="connsiteX155" fmla="*/ 8058 w 10000"/>
                <a:gd name="connsiteY155" fmla="*/ 3877 h 9962"/>
                <a:gd name="connsiteX156" fmla="*/ 8087 w 10000"/>
                <a:gd name="connsiteY156" fmla="*/ 3777 h 9962"/>
                <a:gd name="connsiteX157" fmla="*/ 8007 w 10000"/>
                <a:gd name="connsiteY157" fmla="*/ 3683 h 9962"/>
                <a:gd name="connsiteX158" fmla="*/ 3760 w 10000"/>
                <a:gd name="connsiteY158" fmla="*/ 0 h 9962"/>
                <a:gd name="connsiteX159" fmla="*/ 3405 w 10000"/>
                <a:gd name="connsiteY159" fmla="*/ 83 h 9962"/>
                <a:gd name="connsiteX160" fmla="*/ 2832 w 10000"/>
                <a:gd name="connsiteY160" fmla="*/ 344 h 9962"/>
                <a:gd name="connsiteX161" fmla="*/ 2528 w 10000"/>
                <a:gd name="connsiteY161" fmla="*/ 659 h 9962"/>
                <a:gd name="connsiteX162" fmla="*/ 2555 w 10000"/>
                <a:gd name="connsiteY162" fmla="*/ 835 h 9962"/>
                <a:gd name="connsiteX163" fmla="*/ 2661 w 10000"/>
                <a:gd name="connsiteY163" fmla="*/ 968 h 9962"/>
                <a:gd name="connsiteX164" fmla="*/ 2741 w 10000"/>
                <a:gd name="connsiteY164" fmla="*/ 1024 h 9962"/>
                <a:gd name="connsiteX165" fmla="*/ 2592 w 10000"/>
                <a:gd name="connsiteY165" fmla="*/ 1111 h 9962"/>
                <a:gd name="connsiteX166" fmla="*/ 2267 w 10000"/>
                <a:gd name="connsiteY166" fmla="*/ 1703 h 9962"/>
                <a:gd name="connsiteX167" fmla="*/ 2330 w 10000"/>
                <a:gd name="connsiteY167" fmla="*/ 1736 h 9962"/>
                <a:gd name="connsiteX168" fmla="*/ 2375 w 10000"/>
                <a:gd name="connsiteY168" fmla="*/ 1889 h 9962"/>
                <a:gd name="connsiteX169" fmla="*/ 2226 w 10000"/>
                <a:gd name="connsiteY169" fmla="*/ 2512 h 9962"/>
                <a:gd name="connsiteX170" fmla="*/ 2375 w 10000"/>
                <a:gd name="connsiteY170" fmla="*/ 2670 h 9962"/>
                <a:gd name="connsiteX171" fmla="*/ 2791 w 10000"/>
                <a:gd name="connsiteY171" fmla="*/ 2845 h 9962"/>
                <a:gd name="connsiteX172" fmla="*/ 2808 w 10000"/>
                <a:gd name="connsiteY172" fmla="*/ 3056 h 9962"/>
                <a:gd name="connsiteX173" fmla="*/ 2632 w 10000"/>
                <a:gd name="connsiteY173" fmla="*/ 3233 h 9962"/>
                <a:gd name="connsiteX174" fmla="*/ 2375 w 10000"/>
                <a:gd name="connsiteY174" fmla="*/ 3340 h 9962"/>
                <a:gd name="connsiteX175" fmla="*/ 2039 w 10000"/>
                <a:gd name="connsiteY175" fmla="*/ 3383 h 9962"/>
                <a:gd name="connsiteX176" fmla="*/ 1950 w 10000"/>
                <a:gd name="connsiteY176" fmla="*/ 3446 h 9962"/>
                <a:gd name="connsiteX177" fmla="*/ 2148 w 10000"/>
                <a:gd name="connsiteY177" fmla="*/ 3592 h 9962"/>
                <a:gd name="connsiteX178" fmla="*/ 2261 w 10000"/>
                <a:gd name="connsiteY178" fmla="*/ 3940 h 9962"/>
                <a:gd name="connsiteX179" fmla="*/ 2005 w 10000"/>
                <a:gd name="connsiteY179" fmla="*/ 4238 h 9962"/>
                <a:gd name="connsiteX180" fmla="*/ 2094 w 10000"/>
                <a:gd name="connsiteY180" fmla="*/ 4328 h 9962"/>
                <a:gd name="connsiteX181" fmla="*/ 2012 w 10000"/>
                <a:gd name="connsiteY181" fmla="*/ 4484 h 9962"/>
                <a:gd name="connsiteX182" fmla="*/ 1850 w 10000"/>
                <a:gd name="connsiteY182" fmla="*/ 4592 h 9962"/>
                <a:gd name="connsiteX183" fmla="*/ 1199 w 10000"/>
                <a:gd name="connsiteY183" fmla="*/ 4674 h 9962"/>
                <a:gd name="connsiteX184" fmla="*/ 1158 w 10000"/>
                <a:gd name="connsiteY184" fmla="*/ 4819 h 9962"/>
                <a:gd name="connsiteX185" fmla="*/ 808 w 10000"/>
                <a:gd name="connsiteY185" fmla="*/ 5032 h 9962"/>
                <a:gd name="connsiteX186" fmla="*/ 854 w 10000"/>
                <a:gd name="connsiteY186" fmla="*/ 5341 h 9962"/>
                <a:gd name="connsiteX187" fmla="*/ 560 w 10000"/>
                <a:gd name="connsiteY187" fmla="*/ 5736 h 9962"/>
                <a:gd name="connsiteX188" fmla="*/ 358 w 10000"/>
                <a:gd name="connsiteY188" fmla="*/ 5782 h 9962"/>
                <a:gd name="connsiteX189" fmla="*/ 275 w 10000"/>
                <a:gd name="connsiteY189" fmla="*/ 5688 h 9962"/>
                <a:gd name="connsiteX190" fmla="*/ 174 w 10000"/>
                <a:gd name="connsiteY190" fmla="*/ 5830 h 9962"/>
                <a:gd name="connsiteX191" fmla="*/ 239 w 10000"/>
                <a:gd name="connsiteY191" fmla="*/ 5585 h 9962"/>
                <a:gd name="connsiteX192" fmla="*/ 197 w 10000"/>
                <a:gd name="connsiteY192" fmla="*/ 5539 h 9962"/>
                <a:gd name="connsiteX0" fmla="*/ 197 w 10000"/>
                <a:gd name="connsiteY0" fmla="*/ 5560 h 10000"/>
                <a:gd name="connsiteX1" fmla="*/ 0 w 10000"/>
                <a:gd name="connsiteY1" fmla="*/ 5688 h 10000"/>
                <a:gd name="connsiteX2" fmla="*/ 0 w 10000"/>
                <a:gd name="connsiteY2" fmla="*/ 6320 h 10000"/>
                <a:gd name="connsiteX3" fmla="*/ 109 w 10000"/>
                <a:gd name="connsiteY3" fmla="*/ 6337 h 10000"/>
                <a:gd name="connsiteX4" fmla="*/ 134 w 10000"/>
                <a:gd name="connsiteY4" fmla="*/ 6386 h 10000"/>
                <a:gd name="connsiteX5" fmla="*/ 130 w 10000"/>
                <a:gd name="connsiteY5" fmla="*/ 6472 h 10000"/>
                <a:gd name="connsiteX6" fmla="*/ 89 w 10000"/>
                <a:gd name="connsiteY6" fmla="*/ 6510 h 10000"/>
                <a:gd name="connsiteX7" fmla="*/ 255 w 10000"/>
                <a:gd name="connsiteY7" fmla="*/ 6436 h 10000"/>
                <a:gd name="connsiteX8" fmla="*/ 325 w 10000"/>
                <a:gd name="connsiteY8" fmla="*/ 6365 h 10000"/>
                <a:gd name="connsiteX9" fmla="*/ 413 w 10000"/>
                <a:gd name="connsiteY9" fmla="*/ 6413 h 10000"/>
                <a:gd name="connsiteX10" fmla="*/ 316 w 10000"/>
                <a:gd name="connsiteY10" fmla="*/ 6518 h 10000"/>
                <a:gd name="connsiteX11" fmla="*/ 419 w 10000"/>
                <a:gd name="connsiteY11" fmla="*/ 6520 h 10000"/>
                <a:gd name="connsiteX12" fmla="*/ 469 w 10000"/>
                <a:gd name="connsiteY12" fmla="*/ 6546 h 10000"/>
                <a:gd name="connsiteX13" fmla="*/ 337 w 10000"/>
                <a:gd name="connsiteY13" fmla="*/ 6579 h 10000"/>
                <a:gd name="connsiteX14" fmla="*/ 130 w 10000"/>
                <a:gd name="connsiteY14" fmla="*/ 6685 h 10000"/>
                <a:gd name="connsiteX15" fmla="*/ 497 w 10000"/>
                <a:gd name="connsiteY15" fmla="*/ 6769 h 10000"/>
                <a:gd name="connsiteX16" fmla="*/ 545 w 10000"/>
                <a:gd name="connsiteY16" fmla="*/ 6887 h 10000"/>
                <a:gd name="connsiteX17" fmla="*/ 419 w 10000"/>
                <a:gd name="connsiteY17" fmla="*/ 7061 h 10000"/>
                <a:gd name="connsiteX18" fmla="*/ 688 w 10000"/>
                <a:gd name="connsiteY18" fmla="*/ 7051 h 10000"/>
                <a:gd name="connsiteX19" fmla="*/ 709 w 10000"/>
                <a:gd name="connsiteY19" fmla="*/ 7181 h 10000"/>
                <a:gd name="connsiteX20" fmla="*/ 530 w 10000"/>
                <a:gd name="connsiteY20" fmla="*/ 7273 h 10000"/>
                <a:gd name="connsiteX21" fmla="*/ 560 w 10000"/>
                <a:gd name="connsiteY21" fmla="*/ 7444 h 10000"/>
                <a:gd name="connsiteX22" fmla="*/ 489 w 10000"/>
                <a:gd name="connsiteY22" fmla="*/ 7580 h 10000"/>
                <a:gd name="connsiteX23" fmla="*/ 703 w 10000"/>
                <a:gd name="connsiteY23" fmla="*/ 7593 h 10000"/>
                <a:gd name="connsiteX24" fmla="*/ 909 w 10000"/>
                <a:gd name="connsiteY24" fmla="*/ 8110 h 10000"/>
                <a:gd name="connsiteX25" fmla="*/ 1150 w 10000"/>
                <a:gd name="connsiteY25" fmla="*/ 8238 h 10000"/>
                <a:gd name="connsiteX26" fmla="*/ 1255 w 10000"/>
                <a:gd name="connsiteY26" fmla="*/ 8379 h 10000"/>
                <a:gd name="connsiteX27" fmla="*/ 1514 w 10000"/>
                <a:gd name="connsiteY27" fmla="*/ 8479 h 10000"/>
                <a:gd name="connsiteX28" fmla="*/ 1684 w 10000"/>
                <a:gd name="connsiteY28" fmla="*/ 8610 h 10000"/>
                <a:gd name="connsiteX29" fmla="*/ 1661 w 10000"/>
                <a:gd name="connsiteY29" fmla="*/ 8703 h 10000"/>
                <a:gd name="connsiteX30" fmla="*/ 1496 w 10000"/>
                <a:gd name="connsiteY30" fmla="*/ 8737 h 10000"/>
                <a:gd name="connsiteX31" fmla="*/ 1316 w 10000"/>
                <a:gd name="connsiteY31" fmla="*/ 8715 h 10000"/>
                <a:gd name="connsiteX32" fmla="*/ 1260 w 10000"/>
                <a:gd name="connsiteY32" fmla="*/ 8752 h 10000"/>
                <a:gd name="connsiteX33" fmla="*/ 1397 w 10000"/>
                <a:gd name="connsiteY33" fmla="*/ 8953 h 10000"/>
                <a:gd name="connsiteX34" fmla="*/ 1205 w 10000"/>
                <a:gd name="connsiteY34" fmla="*/ 8936 h 10000"/>
                <a:gd name="connsiteX35" fmla="*/ 1040 w 10000"/>
                <a:gd name="connsiteY35" fmla="*/ 8887 h 10000"/>
                <a:gd name="connsiteX36" fmla="*/ 1012 w 10000"/>
                <a:gd name="connsiteY36" fmla="*/ 8962 h 10000"/>
                <a:gd name="connsiteX37" fmla="*/ 1557 w 10000"/>
                <a:gd name="connsiteY37" fmla="*/ 9650 h 10000"/>
                <a:gd name="connsiteX38" fmla="*/ 1469 w 10000"/>
                <a:gd name="connsiteY38" fmla="*/ 9714 h 10000"/>
                <a:gd name="connsiteX39" fmla="*/ 1408 w 10000"/>
                <a:gd name="connsiteY39" fmla="*/ 9846 h 10000"/>
                <a:gd name="connsiteX40" fmla="*/ 1329 w 10000"/>
                <a:gd name="connsiteY40" fmla="*/ 9856 h 10000"/>
                <a:gd name="connsiteX41" fmla="*/ 1281 w 10000"/>
                <a:gd name="connsiteY41" fmla="*/ 9915 h 10000"/>
                <a:gd name="connsiteX42" fmla="*/ 1609 w 10000"/>
                <a:gd name="connsiteY42" fmla="*/ 9920 h 10000"/>
                <a:gd name="connsiteX43" fmla="*/ 1900 w 10000"/>
                <a:gd name="connsiteY43" fmla="*/ 9977 h 10000"/>
                <a:gd name="connsiteX44" fmla="*/ 2383 w 10000"/>
                <a:gd name="connsiteY44" fmla="*/ 9917 h 10000"/>
                <a:gd name="connsiteX45" fmla="*/ 2816 w 10000"/>
                <a:gd name="connsiteY45" fmla="*/ 9929 h 10000"/>
                <a:gd name="connsiteX46" fmla="*/ 3072 w 10000"/>
                <a:gd name="connsiteY46" fmla="*/ 10000 h 10000"/>
                <a:gd name="connsiteX47" fmla="*/ 3212 w 10000"/>
                <a:gd name="connsiteY47" fmla="*/ 9952 h 10000"/>
                <a:gd name="connsiteX48" fmla="*/ 3348 w 10000"/>
                <a:gd name="connsiteY48" fmla="*/ 9793 h 10000"/>
                <a:gd name="connsiteX49" fmla="*/ 3313 w 10000"/>
                <a:gd name="connsiteY49" fmla="*/ 9532 h 10000"/>
                <a:gd name="connsiteX50" fmla="*/ 3642 w 10000"/>
                <a:gd name="connsiteY50" fmla="*/ 9244 h 10000"/>
                <a:gd name="connsiteX51" fmla="*/ 3883 w 10000"/>
                <a:gd name="connsiteY51" fmla="*/ 9290 h 10000"/>
                <a:gd name="connsiteX52" fmla="*/ 4025 w 10000"/>
                <a:gd name="connsiteY52" fmla="*/ 9175 h 10000"/>
                <a:gd name="connsiteX53" fmla="*/ 4294 w 10000"/>
                <a:gd name="connsiteY53" fmla="*/ 9108 h 10000"/>
                <a:gd name="connsiteX54" fmla="*/ 4658 w 10000"/>
                <a:gd name="connsiteY54" fmla="*/ 9124 h 10000"/>
                <a:gd name="connsiteX55" fmla="*/ 4878 w 10000"/>
                <a:gd name="connsiteY55" fmla="*/ 9169 h 10000"/>
                <a:gd name="connsiteX56" fmla="*/ 5170 w 10000"/>
                <a:gd name="connsiteY56" fmla="*/ 9150 h 10000"/>
                <a:gd name="connsiteX57" fmla="*/ 5464 w 10000"/>
                <a:gd name="connsiteY57" fmla="*/ 9199 h 10000"/>
                <a:gd name="connsiteX58" fmla="*/ 5759 w 10000"/>
                <a:gd name="connsiteY58" fmla="*/ 9206 h 10000"/>
                <a:gd name="connsiteX59" fmla="*/ 6419 w 10000"/>
                <a:gd name="connsiteY59" fmla="*/ 8530 h 10000"/>
                <a:gd name="connsiteX60" fmla="*/ 6586 w 10000"/>
                <a:gd name="connsiteY60" fmla="*/ 7978 h 10000"/>
                <a:gd name="connsiteX61" fmla="*/ 6855 w 10000"/>
                <a:gd name="connsiteY61" fmla="*/ 7734 h 10000"/>
                <a:gd name="connsiteX62" fmla="*/ 6855 w 10000"/>
                <a:gd name="connsiteY62" fmla="*/ 7604 h 10000"/>
                <a:gd name="connsiteX63" fmla="*/ 6757 w 10000"/>
                <a:gd name="connsiteY63" fmla="*/ 7533 h 10000"/>
                <a:gd name="connsiteX64" fmla="*/ 6915 w 10000"/>
                <a:gd name="connsiteY64" fmla="*/ 7416 h 10000"/>
                <a:gd name="connsiteX65" fmla="*/ 6887 w 10000"/>
                <a:gd name="connsiteY65" fmla="*/ 7320 h 10000"/>
                <a:gd name="connsiteX66" fmla="*/ 6779 w 10000"/>
                <a:gd name="connsiteY66" fmla="*/ 7238 h 10000"/>
                <a:gd name="connsiteX67" fmla="*/ 6757 w 10000"/>
                <a:gd name="connsiteY67" fmla="*/ 7175 h 10000"/>
                <a:gd name="connsiteX68" fmla="*/ 6785 w 10000"/>
                <a:gd name="connsiteY68" fmla="*/ 7129 h 10000"/>
                <a:gd name="connsiteX69" fmla="*/ 6931 w 10000"/>
                <a:gd name="connsiteY69" fmla="*/ 7166 h 10000"/>
                <a:gd name="connsiteX70" fmla="*/ 7045 w 10000"/>
                <a:gd name="connsiteY70" fmla="*/ 7164 h 10000"/>
                <a:gd name="connsiteX71" fmla="*/ 6983 w 10000"/>
                <a:gd name="connsiteY71" fmla="*/ 7086 h 10000"/>
                <a:gd name="connsiteX72" fmla="*/ 7003 w 10000"/>
                <a:gd name="connsiteY72" fmla="*/ 7039 h 10000"/>
                <a:gd name="connsiteX73" fmla="*/ 7089 w 10000"/>
                <a:gd name="connsiteY73" fmla="*/ 6973 h 10000"/>
                <a:gd name="connsiteX74" fmla="*/ 7074 w 10000"/>
                <a:gd name="connsiteY74" fmla="*/ 6919 h 10000"/>
                <a:gd name="connsiteX75" fmla="*/ 7152 w 10000"/>
                <a:gd name="connsiteY75" fmla="*/ 6735 h 10000"/>
                <a:gd name="connsiteX76" fmla="*/ 7130 w 10000"/>
                <a:gd name="connsiteY76" fmla="*/ 6679 h 10000"/>
                <a:gd name="connsiteX77" fmla="*/ 6729 w 10000"/>
                <a:gd name="connsiteY77" fmla="*/ 6539 h 10000"/>
                <a:gd name="connsiteX78" fmla="*/ 6785 w 10000"/>
                <a:gd name="connsiteY78" fmla="*/ 6534 h 10000"/>
                <a:gd name="connsiteX79" fmla="*/ 6998 w 10000"/>
                <a:gd name="connsiteY79" fmla="*/ 6570 h 10000"/>
                <a:gd name="connsiteX80" fmla="*/ 7230 w 10000"/>
                <a:gd name="connsiteY80" fmla="*/ 6557 h 10000"/>
                <a:gd name="connsiteX81" fmla="*/ 7295 w 10000"/>
                <a:gd name="connsiteY81" fmla="*/ 6506 h 10000"/>
                <a:gd name="connsiteX82" fmla="*/ 7074 w 10000"/>
                <a:gd name="connsiteY82" fmla="*/ 6411 h 10000"/>
                <a:gd name="connsiteX83" fmla="*/ 6414 w 10000"/>
                <a:gd name="connsiteY83" fmla="*/ 6349 h 10000"/>
                <a:gd name="connsiteX84" fmla="*/ 6458 w 10000"/>
                <a:gd name="connsiteY84" fmla="*/ 6320 h 10000"/>
                <a:gd name="connsiteX85" fmla="*/ 6998 w 10000"/>
                <a:gd name="connsiteY85" fmla="*/ 6300 h 10000"/>
                <a:gd name="connsiteX86" fmla="*/ 7295 w 10000"/>
                <a:gd name="connsiteY86" fmla="*/ 6358 h 10000"/>
                <a:gd name="connsiteX87" fmla="*/ 7466 w 10000"/>
                <a:gd name="connsiteY87" fmla="*/ 6320 h 10000"/>
                <a:gd name="connsiteX88" fmla="*/ 7529 w 10000"/>
                <a:gd name="connsiteY88" fmla="*/ 6221 h 10000"/>
                <a:gd name="connsiteX89" fmla="*/ 7840 w 10000"/>
                <a:gd name="connsiteY89" fmla="*/ 6221 h 10000"/>
                <a:gd name="connsiteX90" fmla="*/ 8261 w 10000"/>
                <a:gd name="connsiteY90" fmla="*/ 6023 h 10000"/>
                <a:gd name="connsiteX91" fmla="*/ 8275 w 10000"/>
                <a:gd name="connsiteY91" fmla="*/ 5890 h 10000"/>
                <a:gd name="connsiteX92" fmla="*/ 8453 w 10000"/>
                <a:gd name="connsiteY92" fmla="*/ 5920 h 10000"/>
                <a:gd name="connsiteX93" fmla="*/ 8446 w 10000"/>
                <a:gd name="connsiteY93" fmla="*/ 6053 h 10000"/>
                <a:gd name="connsiteX94" fmla="*/ 8727 w 10000"/>
                <a:gd name="connsiteY94" fmla="*/ 6044 h 10000"/>
                <a:gd name="connsiteX95" fmla="*/ 8913 w 10000"/>
                <a:gd name="connsiteY95" fmla="*/ 5906 h 10000"/>
                <a:gd name="connsiteX96" fmla="*/ 9258 w 10000"/>
                <a:gd name="connsiteY96" fmla="*/ 5782 h 10000"/>
                <a:gd name="connsiteX97" fmla="*/ 9203 w 10000"/>
                <a:gd name="connsiteY97" fmla="*/ 5641 h 10000"/>
                <a:gd name="connsiteX98" fmla="*/ 9306 w 10000"/>
                <a:gd name="connsiteY98" fmla="*/ 5697 h 10000"/>
                <a:gd name="connsiteX99" fmla="*/ 9464 w 10000"/>
                <a:gd name="connsiteY99" fmla="*/ 5697 h 10000"/>
                <a:gd name="connsiteX100" fmla="*/ 9464 w 10000"/>
                <a:gd name="connsiteY100" fmla="*/ 5631 h 10000"/>
                <a:gd name="connsiteX101" fmla="*/ 9611 w 10000"/>
                <a:gd name="connsiteY101" fmla="*/ 5583 h 10000"/>
                <a:gd name="connsiteX102" fmla="*/ 9592 w 10000"/>
                <a:gd name="connsiteY102" fmla="*/ 5532 h 10000"/>
                <a:gd name="connsiteX103" fmla="*/ 8350 w 10000"/>
                <a:gd name="connsiteY103" fmla="*/ 5633 h 10000"/>
                <a:gd name="connsiteX104" fmla="*/ 8058 w 10000"/>
                <a:gd name="connsiteY104" fmla="*/ 5604 h 10000"/>
                <a:gd name="connsiteX105" fmla="*/ 7942 w 10000"/>
                <a:gd name="connsiteY105" fmla="*/ 5641 h 10000"/>
                <a:gd name="connsiteX106" fmla="*/ 7903 w 10000"/>
                <a:gd name="connsiteY106" fmla="*/ 5569 h 10000"/>
                <a:gd name="connsiteX107" fmla="*/ 7765 w 10000"/>
                <a:gd name="connsiteY107" fmla="*/ 5507 h 10000"/>
                <a:gd name="connsiteX108" fmla="*/ 7213 w 10000"/>
                <a:gd name="connsiteY108" fmla="*/ 5378 h 10000"/>
                <a:gd name="connsiteX109" fmla="*/ 6887 w 10000"/>
                <a:gd name="connsiteY109" fmla="*/ 5400 h 10000"/>
                <a:gd name="connsiteX110" fmla="*/ 6757 w 10000"/>
                <a:gd name="connsiteY110" fmla="*/ 5363 h 10000"/>
                <a:gd name="connsiteX111" fmla="*/ 6894 w 10000"/>
                <a:gd name="connsiteY111" fmla="*/ 5332 h 10000"/>
                <a:gd name="connsiteX112" fmla="*/ 6998 w 10000"/>
                <a:gd name="connsiteY112" fmla="*/ 5264 h 10000"/>
                <a:gd name="connsiteX113" fmla="*/ 7152 w 10000"/>
                <a:gd name="connsiteY113" fmla="*/ 5285 h 10000"/>
                <a:gd name="connsiteX114" fmla="*/ 7335 w 10000"/>
                <a:gd name="connsiteY114" fmla="*/ 5268 h 10000"/>
                <a:gd name="connsiteX115" fmla="*/ 7611 w 10000"/>
                <a:gd name="connsiteY115" fmla="*/ 5290 h 10000"/>
                <a:gd name="connsiteX116" fmla="*/ 7645 w 10000"/>
                <a:gd name="connsiteY116" fmla="*/ 5281 h 10000"/>
                <a:gd name="connsiteX117" fmla="*/ 7859 w 10000"/>
                <a:gd name="connsiteY117" fmla="*/ 5385 h 10000"/>
                <a:gd name="connsiteX118" fmla="*/ 8017 w 10000"/>
                <a:gd name="connsiteY118" fmla="*/ 5346 h 10000"/>
                <a:gd name="connsiteX119" fmla="*/ 8032 w 10000"/>
                <a:gd name="connsiteY119" fmla="*/ 5311 h 10000"/>
                <a:gd name="connsiteX120" fmla="*/ 8176 w 10000"/>
                <a:gd name="connsiteY120" fmla="*/ 5373 h 10000"/>
                <a:gd name="connsiteX121" fmla="*/ 8369 w 10000"/>
                <a:gd name="connsiteY121" fmla="*/ 5406 h 10000"/>
                <a:gd name="connsiteX122" fmla="*/ 8446 w 10000"/>
                <a:gd name="connsiteY122" fmla="*/ 5344 h 10000"/>
                <a:gd name="connsiteX123" fmla="*/ 8507 w 10000"/>
                <a:gd name="connsiteY123" fmla="*/ 5378 h 10000"/>
                <a:gd name="connsiteX124" fmla="*/ 8596 w 10000"/>
                <a:gd name="connsiteY124" fmla="*/ 5499 h 10000"/>
                <a:gd name="connsiteX125" fmla="*/ 8782 w 10000"/>
                <a:gd name="connsiteY125" fmla="*/ 5525 h 10000"/>
                <a:gd name="connsiteX126" fmla="*/ 9542 w 10000"/>
                <a:gd name="connsiteY126" fmla="*/ 5350 h 10000"/>
                <a:gd name="connsiteX127" fmla="*/ 9914 w 10000"/>
                <a:gd name="connsiteY127" fmla="*/ 5107 h 10000"/>
                <a:gd name="connsiteX128" fmla="*/ 10000 w 10000"/>
                <a:gd name="connsiteY128" fmla="*/ 4930 h 10000"/>
                <a:gd name="connsiteX129" fmla="*/ 9866 w 10000"/>
                <a:gd name="connsiteY129" fmla="*/ 4770 h 10000"/>
                <a:gd name="connsiteX130" fmla="*/ 9582 w 10000"/>
                <a:gd name="connsiteY130" fmla="*/ 4674 h 10000"/>
                <a:gd name="connsiteX131" fmla="*/ 9382 w 10000"/>
                <a:gd name="connsiteY131" fmla="*/ 4516 h 10000"/>
                <a:gd name="connsiteX132" fmla="*/ 9569 w 10000"/>
                <a:gd name="connsiteY132" fmla="*/ 4511 h 10000"/>
                <a:gd name="connsiteX133" fmla="*/ 9555 w 10000"/>
                <a:gd name="connsiteY133" fmla="*/ 4473 h 10000"/>
                <a:gd name="connsiteX134" fmla="*/ 9068 w 10000"/>
                <a:gd name="connsiteY134" fmla="*/ 4364 h 10000"/>
                <a:gd name="connsiteX135" fmla="*/ 9047 w 10000"/>
                <a:gd name="connsiteY135" fmla="*/ 4262 h 10000"/>
                <a:gd name="connsiteX136" fmla="*/ 8953 w 10000"/>
                <a:gd name="connsiteY136" fmla="*/ 4156 h 10000"/>
                <a:gd name="connsiteX137" fmla="*/ 8569 w 10000"/>
                <a:gd name="connsiteY137" fmla="*/ 4176 h 10000"/>
                <a:gd name="connsiteX138" fmla="*/ 8431 w 10000"/>
                <a:gd name="connsiteY138" fmla="*/ 4062 h 10000"/>
                <a:gd name="connsiteX139" fmla="*/ 8350 w 10000"/>
                <a:gd name="connsiteY139" fmla="*/ 4056 h 10000"/>
                <a:gd name="connsiteX140" fmla="*/ 8350 w 10000"/>
                <a:gd name="connsiteY140" fmla="*/ 4105 h 10000"/>
                <a:gd name="connsiteX141" fmla="*/ 8176 w 10000"/>
                <a:gd name="connsiteY141" fmla="*/ 4294 h 10000"/>
                <a:gd name="connsiteX142" fmla="*/ 7990 w 10000"/>
                <a:gd name="connsiteY142" fmla="*/ 4405 h 10000"/>
                <a:gd name="connsiteX143" fmla="*/ 7401 w 10000"/>
                <a:gd name="connsiteY143" fmla="*/ 4594 h 10000"/>
                <a:gd name="connsiteX144" fmla="*/ 7198 w 10000"/>
                <a:gd name="connsiteY144" fmla="*/ 4588 h 10000"/>
                <a:gd name="connsiteX145" fmla="*/ 6915 w 10000"/>
                <a:gd name="connsiteY145" fmla="*/ 4618 h 10000"/>
                <a:gd name="connsiteX146" fmla="*/ 6757 w 10000"/>
                <a:gd name="connsiteY146" fmla="*/ 4588 h 10000"/>
                <a:gd name="connsiteX147" fmla="*/ 6965 w 10000"/>
                <a:gd name="connsiteY147" fmla="*/ 4534 h 10000"/>
                <a:gd name="connsiteX148" fmla="*/ 7235 w 10000"/>
                <a:gd name="connsiteY148" fmla="*/ 4511 h 10000"/>
                <a:gd name="connsiteX149" fmla="*/ 7455 w 10000"/>
                <a:gd name="connsiteY149" fmla="*/ 4423 h 10000"/>
                <a:gd name="connsiteX150" fmla="*/ 7674 w 10000"/>
                <a:gd name="connsiteY150" fmla="*/ 4381 h 10000"/>
                <a:gd name="connsiteX151" fmla="*/ 8082 w 10000"/>
                <a:gd name="connsiteY151" fmla="*/ 4225 h 10000"/>
                <a:gd name="connsiteX152" fmla="*/ 8157 w 10000"/>
                <a:gd name="connsiteY152" fmla="*/ 4125 h 10000"/>
                <a:gd name="connsiteX153" fmla="*/ 8165 w 10000"/>
                <a:gd name="connsiteY153" fmla="*/ 3994 h 10000"/>
                <a:gd name="connsiteX154" fmla="*/ 7978 w 10000"/>
                <a:gd name="connsiteY154" fmla="*/ 3972 h 10000"/>
                <a:gd name="connsiteX155" fmla="*/ 8058 w 10000"/>
                <a:gd name="connsiteY155" fmla="*/ 3892 h 10000"/>
                <a:gd name="connsiteX156" fmla="*/ 8087 w 10000"/>
                <a:gd name="connsiteY156" fmla="*/ 3791 h 10000"/>
                <a:gd name="connsiteX157" fmla="*/ 8007 w 10000"/>
                <a:gd name="connsiteY157" fmla="*/ 3697 h 10000"/>
                <a:gd name="connsiteX158" fmla="*/ 3760 w 10000"/>
                <a:gd name="connsiteY158" fmla="*/ 0 h 10000"/>
                <a:gd name="connsiteX159" fmla="*/ 3405 w 10000"/>
                <a:gd name="connsiteY159" fmla="*/ 83 h 10000"/>
                <a:gd name="connsiteX160" fmla="*/ 2832 w 10000"/>
                <a:gd name="connsiteY160" fmla="*/ 345 h 10000"/>
                <a:gd name="connsiteX161" fmla="*/ 2528 w 10000"/>
                <a:gd name="connsiteY161" fmla="*/ 662 h 10000"/>
                <a:gd name="connsiteX162" fmla="*/ 2555 w 10000"/>
                <a:gd name="connsiteY162" fmla="*/ 838 h 10000"/>
                <a:gd name="connsiteX163" fmla="*/ 2661 w 10000"/>
                <a:gd name="connsiteY163" fmla="*/ 972 h 10000"/>
                <a:gd name="connsiteX164" fmla="*/ 2741 w 10000"/>
                <a:gd name="connsiteY164" fmla="*/ 1028 h 10000"/>
                <a:gd name="connsiteX165" fmla="*/ 2592 w 10000"/>
                <a:gd name="connsiteY165" fmla="*/ 1115 h 10000"/>
                <a:gd name="connsiteX166" fmla="*/ 2267 w 10000"/>
                <a:gd name="connsiteY166" fmla="*/ 1709 h 10000"/>
                <a:gd name="connsiteX167" fmla="*/ 2375 w 10000"/>
                <a:gd name="connsiteY167" fmla="*/ 1896 h 10000"/>
                <a:gd name="connsiteX168" fmla="*/ 2226 w 10000"/>
                <a:gd name="connsiteY168" fmla="*/ 2522 h 10000"/>
                <a:gd name="connsiteX169" fmla="*/ 2375 w 10000"/>
                <a:gd name="connsiteY169" fmla="*/ 2680 h 10000"/>
                <a:gd name="connsiteX170" fmla="*/ 2791 w 10000"/>
                <a:gd name="connsiteY170" fmla="*/ 2856 h 10000"/>
                <a:gd name="connsiteX171" fmla="*/ 2808 w 10000"/>
                <a:gd name="connsiteY171" fmla="*/ 3068 h 10000"/>
                <a:gd name="connsiteX172" fmla="*/ 2632 w 10000"/>
                <a:gd name="connsiteY172" fmla="*/ 3245 h 10000"/>
                <a:gd name="connsiteX173" fmla="*/ 2375 w 10000"/>
                <a:gd name="connsiteY173" fmla="*/ 3353 h 10000"/>
                <a:gd name="connsiteX174" fmla="*/ 2039 w 10000"/>
                <a:gd name="connsiteY174" fmla="*/ 3396 h 10000"/>
                <a:gd name="connsiteX175" fmla="*/ 1950 w 10000"/>
                <a:gd name="connsiteY175" fmla="*/ 3459 h 10000"/>
                <a:gd name="connsiteX176" fmla="*/ 2148 w 10000"/>
                <a:gd name="connsiteY176" fmla="*/ 3606 h 10000"/>
                <a:gd name="connsiteX177" fmla="*/ 2261 w 10000"/>
                <a:gd name="connsiteY177" fmla="*/ 3955 h 10000"/>
                <a:gd name="connsiteX178" fmla="*/ 2005 w 10000"/>
                <a:gd name="connsiteY178" fmla="*/ 4254 h 10000"/>
                <a:gd name="connsiteX179" fmla="*/ 2094 w 10000"/>
                <a:gd name="connsiteY179" fmla="*/ 4345 h 10000"/>
                <a:gd name="connsiteX180" fmla="*/ 2012 w 10000"/>
                <a:gd name="connsiteY180" fmla="*/ 4501 h 10000"/>
                <a:gd name="connsiteX181" fmla="*/ 1850 w 10000"/>
                <a:gd name="connsiteY181" fmla="*/ 4610 h 10000"/>
                <a:gd name="connsiteX182" fmla="*/ 1199 w 10000"/>
                <a:gd name="connsiteY182" fmla="*/ 4692 h 10000"/>
                <a:gd name="connsiteX183" fmla="*/ 1158 w 10000"/>
                <a:gd name="connsiteY183" fmla="*/ 4837 h 10000"/>
                <a:gd name="connsiteX184" fmla="*/ 808 w 10000"/>
                <a:gd name="connsiteY184" fmla="*/ 5051 h 10000"/>
                <a:gd name="connsiteX185" fmla="*/ 854 w 10000"/>
                <a:gd name="connsiteY185" fmla="*/ 5361 h 10000"/>
                <a:gd name="connsiteX186" fmla="*/ 560 w 10000"/>
                <a:gd name="connsiteY186" fmla="*/ 5758 h 10000"/>
                <a:gd name="connsiteX187" fmla="*/ 358 w 10000"/>
                <a:gd name="connsiteY187" fmla="*/ 5804 h 10000"/>
                <a:gd name="connsiteX188" fmla="*/ 275 w 10000"/>
                <a:gd name="connsiteY188" fmla="*/ 5710 h 10000"/>
                <a:gd name="connsiteX189" fmla="*/ 174 w 10000"/>
                <a:gd name="connsiteY189" fmla="*/ 5852 h 10000"/>
                <a:gd name="connsiteX190" fmla="*/ 239 w 10000"/>
                <a:gd name="connsiteY190" fmla="*/ 5606 h 10000"/>
                <a:gd name="connsiteX191" fmla="*/ 197 w 10000"/>
                <a:gd name="connsiteY191" fmla="*/ 5560 h 10000"/>
                <a:gd name="connsiteX0" fmla="*/ 197 w 10000"/>
                <a:gd name="connsiteY0" fmla="*/ 5560 h 10000"/>
                <a:gd name="connsiteX1" fmla="*/ 0 w 10000"/>
                <a:gd name="connsiteY1" fmla="*/ 5688 h 10000"/>
                <a:gd name="connsiteX2" fmla="*/ 0 w 10000"/>
                <a:gd name="connsiteY2" fmla="*/ 6320 h 10000"/>
                <a:gd name="connsiteX3" fmla="*/ 109 w 10000"/>
                <a:gd name="connsiteY3" fmla="*/ 6337 h 10000"/>
                <a:gd name="connsiteX4" fmla="*/ 134 w 10000"/>
                <a:gd name="connsiteY4" fmla="*/ 6386 h 10000"/>
                <a:gd name="connsiteX5" fmla="*/ 130 w 10000"/>
                <a:gd name="connsiteY5" fmla="*/ 6472 h 10000"/>
                <a:gd name="connsiteX6" fmla="*/ 89 w 10000"/>
                <a:gd name="connsiteY6" fmla="*/ 6510 h 10000"/>
                <a:gd name="connsiteX7" fmla="*/ 255 w 10000"/>
                <a:gd name="connsiteY7" fmla="*/ 6436 h 10000"/>
                <a:gd name="connsiteX8" fmla="*/ 325 w 10000"/>
                <a:gd name="connsiteY8" fmla="*/ 6365 h 10000"/>
                <a:gd name="connsiteX9" fmla="*/ 413 w 10000"/>
                <a:gd name="connsiteY9" fmla="*/ 6413 h 10000"/>
                <a:gd name="connsiteX10" fmla="*/ 316 w 10000"/>
                <a:gd name="connsiteY10" fmla="*/ 6518 h 10000"/>
                <a:gd name="connsiteX11" fmla="*/ 419 w 10000"/>
                <a:gd name="connsiteY11" fmla="*/ 6520 h 10000"/>
                <a:gd name="connsiteX12" fmla="*/ 469 w 10000"/>
                <a:gd name="connsiteY12" fmla="*/ 6546 h 10000"/>
                <a:gd name="connsiteX13" fmla="*/ 337 w 10000"/>
                <a:gd name="connsiteY13" fmla="*/ 6579 h 10000"/>
                <a:gd name="connsiteX14" fmla="*/ 130 w 10000"/>
                <a:gd name="connsiteY14" fmla="*/ 6685 h 10000"/>
                <a:gd name="connsiteX15" fmla="*/ 497 w 10000"/>
                <a:gd name="connsiteY15" fmla="*/ 6769 h 10000"/>
                <a:gd name="connsiteX16" fmla="*/ 545 w 10000"/>
                <a:gd name="connsiteY16" fmla="*/ 6887 h 10000"/>
                <a:gd name="connsiteX17" fmla="*/ 419 w 10000"/>
                <a:gd name="connsiteY17" fmla="*/ 7061 h 10000"/>
                <a:gd name="connsiteX18" fmla="*/ 688 w 10000"/>
                <a:gd name="connsiteY18" fmla="*/ 7051 h 10000"/>
                <a:gd name="connsiteX19" fmla="*/ 709 w 10000"/>
                <a:gd name="connsiteY19" fmla="*/ 7181 h 10000"/>
                <a:gd name="connsiteX20" fmla="*/ 530 w 10000"/>
                <a:gd name="connsiteY20" fmla="*/ 7273 h 10000"/>
                <a:gd name="connsiteX21" fmla="*/ 560 w 10000"/>
                <a:gd name="connsiteY21" fmla="*/ 7444 h 10000"/>
                <a:gd name="connsiteX22" fmla="*/ 489 w 10000"/>
                <a:gd name="connsiteY22" fmla="*/ 7580 h 10000"/>
                <a:gd name="connsiteX23" fmla="*/ 703 w 10000"/>
                <a:gd name="connsiteY23" fmla="*/ 7593 h 10000"/>
                <a:gd name="connsiteX24" fmla="*/ 909 w 10000"/>
                <a:gd name="connsiteY24" fmla="*/ 8110 h 10000"/>
                <a:gd name="connsiteX25" fmla="*/ 1150 w 10000"/>
                <a:gd name="connsiteY25" fmla="*/ 8238 h 10000"/>
                <a:gd name="connsiteX26" fmla="*/ 1255 w 10000"/>
                <a:gd name="connsiteY26" fmla="*/ 8379 h 10000"/>
                <a:gd name="connsiteX27" fmla="*/ 1514 w 10000"/>
                <a:gd name="connsiteY27" fmla="*/ 8479 h 10000"/>
                <a:gd name="connsiteX28" fmla="*/ 1684 w 10000"/>
                <a:gd name="connsiteY28" fmla="*/ 8610 h 10000"/>
                <a:gd name="connsiteX29" fmla="*/ 1661 w 10000"/>
                <a:gd name="connsiteY29" fmla="*/ 8703 h 10000"/>
                <a:gd name="connsiteX30" fmla="*/ 1496 w 10000"/>
                <a:gd name="connsiteY30" fmla="*/ 8737 h 10000"/>
                <a:gd name="connsiteX31" fmla="*/ 1316 w 10000"/>
                <a:gd name="connsiteY31" fmla="*/ 8715 h 10000"/>
                <a:gd name="connsiteX32" fmla="*/ 1260 w 10000"/>
                <a:gd name="connsiteY32" fmla="*/ 8752 h 10000"/>
                <a:gd name="connsiteX33" fmla="*/ 1397 w 10000"/>
                <a:gd name="connsiteY33" fmla="*/ 8953 h 10000"/>
                <a:gd name="connsiteX34" fmla="*/ 1205 w 10000"/>
                <a:gd name="connsiteY34" fmla="*/ 8936 h 10000"/>
                <a:gd name="connsiteX35" fmla="*/ 1040 w 10000"/>
                <a:gd name="connsiteY35" fmla="*/ 8887 h 10000"/>
                <a:gd name="connsiteX36" fmla="*/ 1012 w 10000"/>
                <a:gd name="connsiteY36" fmla="*/ 8962 h 10000"/>
                <a:gd name="connsiteX37" fmla="*/ 1557 w 10000"/>
                <a:gd name="connsiteY37" fmla="*/ 9650 h 10000"/>
                <a:gd name="connsiteX38" fmla="*/ 1469 w 10000"/>
                <a:gd name="connsiteY38" fmla="*/ 9714 h 10000"/>
                <a:gd name="connsiteX39" fmla="*/ 1408 w 10000"/>
                <a:gd name="connsiteY39" fmla="*/ 9846 h 10000"/>
                <a:gd name="connsiteX40" fmla="*/ 1329 w 10000"/>
                <a:gd name="connsiteY40" fmla="*/ 9856 h 10000"/>
                <a:gd name="connsiteX41" fmla="*/ 1281 w 10000"/>
                <a:gd name="connsiteY41" fmla="*/ 9915 h 10000"/>
                <a:gd name="connsiteX42" fmla="*/ 1609 w 10000"/>
                <a:gd name="connsiteY42" fmla="*/ 9920 h 10000"/>
                <a:gd name="connsiteX43" fmla="*/ 1900 w 10000"/>
                <a:gd name="connsiteY43" fmla="*/ 9977 h 10000"/>
                <a:gd name="connsiteX44" fmla="*/ 2383 w 10000"/>
                <a:gd name="connsiteY44" fmla="*/ 9917 h 10000"/>
                <a:gd name="connsiteX45" fmla="*/ 2816 w 10000"/>
                <a:gd name="connsiteY45" fmla="*/ 9929 h 10000"/>
                <a:gd name="connsiteX46" fmla="*/ 3072 w 10000"/>
                <a:gd name="connsiteY46" fmla="*/ 10000 h 10000"/>
                <a:gd name="connsiteX47" fmla="*/ 3212 w 10000"/>
                <a:gd name="connsiteY47" fmla="*/ 9952 h 10000"/>
                <a:gd name="connsiteX48" fmla="*/ 3348 w 10000"/>
                <a:gd name="connsiteY48" fmla="*/ 9793 h 10000"/>
                <a:gd name="connsiteX49" fmla="*/ 3313 w 10000"/>
                <a:gd name="connsiteY49" fmla="*/ 9532 h 10000"/>
                <a:gd name="connsiteX50" fmla="*/ 3642 w 10000"/>
                <a:gd name="connsiteY50" fmla="*/ 9244 h 10000"/>
                <a:gd name="connsiteX51" fmla="*/ 3883 w 10000"/>
                <a:gd name="connsiteY51" fmla="*/ 9290 h 10000"/>
                <a:gd name="connsiteX52" fmla="*/ 4025 w 10000"/>
                <a:gd name="connsiteY52" fmla="*/ 9175 h 10000"/>
                <a:gd name="connsiteX53" fmla="*/ 4294 w 10000"/>
                <a:gd name="connsiteY53" fmla="*/ 9108 h 10000"/>
                <a:gd name="connsiteX54" fmla="*/ 4658 w 10000"/>
                <a:gd name="connsiteY54" fmla="*/ 9124 h 10000"/>
                <a:gd name="connsiteX55" fmla="*/ 4878 w 10000"/>
                <a:gd name="connsiteY55" fmla="*/ 9169 h 10000"/>
                <a:gd name="connsiteX56" fmla="*/ 5170 w 10000"/>
                <a:gd name="connsiteY56" fmla="*/ 9150 h 10000"/>
                <a:gd name="connsiteX57" fmla="*/ 5464 w 10000"/>
                <a:gd name="connsiteY57" fmla="*/ 9199 h 10000"/>
                <a:gd name="connsiteX58" fmla="*/ 5759 w 10000"/>
                <a:gd name="connsiteY58" fmla="*/ 9206 h 10000"/>
                <a:gd name="connsiteX59" fmla="*/ 6419 w 10000"/>
                <a:gd name="connsiteY59" fmla="*/ 8530 h 10000"/>
                <a:gd name="connsiteX60" fmla="*/ 6586 w 10000"/>
                <a:gd name="connsiteY60" fmla="*/ 7978 h 10000"/>
                <a:gd name="connsiteX61" fmla="*/ 6855 w 10000"/>
                <a:gd name="connsiteY61" fmla="*/ 7734 h 10000"/>
                <a:gd name="connsiteX62" fmla="*/ 6855 w 10000"/>
                <a:gd name="connsiteY62" fmla="*/ 7604 h 10000"/>
                <a:gd name="connsiteX63" fmla="*/ 6757 w 10000"/>
                <a:gd name="connsiteY63" fmla="*/ 7533 h 10000"/>
                <a:gd name="connsiteX64" fmla="*/ 6915 w 10000"/>
                <a:gd name="connsiteY64" fmla="*/ 7416 h 10000"/>
                <a:gd name="connsiteX65" fmla="*/ 6887 w 10000"/>
                <a:gd name="connsiteY65" fmla="*/ 7320 h 10000"/>
                <a:gd name="connsiteX66" fmla="*/ 6779 w 10000"/>
                <a:gd name="connsiteY66" fmla="*/ 7238 h 10000"/>
                <a:gd name="connsiteX67" fmla="*/ 6757 w 10000"/>
                <a:gd name="connsiteY67" fmla="*/ 7175 h 10000"/>
                <a:gd name="connsiteX68" fmla="*/ 6785 w 10000"/>
                <a:gd name="connsiteY68" fmla="*/ 7129 h 10000"/>
                <a:gd name="connsiteX69" fmla="*/ 6931 w 10000"/>
                <a:gd name="connsiteY69" fmla="*/ 7166 h 10000"/>
                <a:gd name="connsiteX70" fmla="*/ 7045 w 10000"/>
                <a:gd name="connsiteY70" fmla="*/ 7164 h 10000"/>
                <a:gd name="connsiteX71" fmla="*/ 6983 w 10000"/>
                <a:gd name="connsiteY71" fmla="*/ 7086 h 10000"/>
                <a:gd name="connsiteX72" fmla="*/ 7003 w 10000"/>
                <a:gd name="connsiteY72" fmla="*/ 7039 h 10000"/>
                <a:gd name="connsiteX73" fmla="*/ 7089 w 10000"/>
                <a:gd name="connsiteY73" fmla="*/ 6973 h 10000"/>
                <a:gd name="connsiteX74" fmla="*/ 7074 w 10000"/>
                <a:gd name="connsiteY74" fmla="*/ 6919 h 10000"/>
                <a:gd name="connsiteX75" fmla="*/ 7152 w 10000"/>
                <a:gd name="connsiteY75" fmla="*/ 6735 h 10000"/>
                <a:gd name="connsiteX76" fmla="*/ 7130 w 10000"/>
                <a:gd name="connsiteY76" fmla="*/ 6679 h 10000"/>
                <a:gd name="connsiteX77" fmla="*/ 6729 w 10000"/>
                <a:gd name="connsiteY77" fmla="*/ 6539 h 10000"/>
                <a:gd name="connsiteX78" fmla="*/ 6785 w 10000"/>
                <a:gd name="connsiteY78" fmla="*/ 6534 h 10000"/>
                <a:gd name="connsiteX79" fmla="*/ 6998 w 10000"/>
                <a:gd name="connsiteY79" fmla="*/ 6570 h 10000"/>
                <a:gd name="connsiteX80" fmla="*/ 7230 w 10000"/>
                <a:gd name="connsiteY80" fmla="*/ 6557 h 10000"/>
                <a:gd name="connsiteX81" fmla="*/ 7295 w 10000"/>
                <a:gd name="connsiteY81" fmla="*/ 6506 h 10000"/>
                <a:gd name="connsiteX82" fmla="*/ 7074 w 10000"/>
                <a:gd name="connsiteY82" fmla="*/ 6411 h 10000"/>
                <a:gd name="connsiteX83" fmla="*/ 6414 w 10000"/>
                <a:gd name="connsiteY83" fmla="*/ 6349 h 10000"/>
                <a:gd name="connsiteX84" fmla="*/ 6458 w 10000"/>
                <a:gd name="connsiteY84" fmla="*/ 6320 h 10000"/>
                <a:gd name="connsiteX85" fmla="*/ 6998 w 10000"/>
                <a:gd name="connsiteY85" fmla="*/ 6300 h 10000"/>
                <a:gd name="connsiteX86" fmla="*/ 7295 w 10000"/>
                <a:gd name="connsiteY86" fmla="*/ 6358 h 10000"/>
                <a:gd name="connsiteX87" fmla="*/ 7466 w 10000"/>
                <a:gd name="connsiteY87" fmla="*/ 6320 h 10000"/>
                <a:gd name="connsiteX88" fmla="*/ 7529 w 10000"/>
                <a:gd name="connsiteY88" fmla="*/ 6221 h 10000"/>
                <a:gd name="connsiteX89" fmla="*/ 7840 w 10000"/>
                <a:gd name="connsiteY89" fmla="*/ 6221 h 10000"/>
                <a:gd name="connsiteX90" fmla="*/ 8261 w 10000"/>
                <a:gd name="connsiteY90" fmla="*/ 6023 h 10000"/>
                <a:gd name="connsiteX91" fmla="*/ 8275 w 10000"/>
                <a:gd name="connsiteY91" fmla="*/ 5890 h 10000"/>
                <a:gd name="connsiteX92" fmla="*/ 8453 w 10000"/>
                <a:gd name="connsiteY92" fmla="*/ 5920 h 10000"/>
                <a:gd name="connsiteX93" fmla="*/ 8446 w 10000"/>
                <a:gd name="connsiteY93" fmla="*/ 6053 h 10000"/>
                <a:gd name="connsiteX94" fmla="*/ 8727 w 10000"/>
                <a:gd name="connsiteY94" fmla="*/ 6044 h 10000"/>
                <a:gd name="connsiteX95" fmla="*/ 8913 w 10000"/>
                <a:gd name="connsiteY95" fmla="*/ 5906 h 10000"/>
                <a:gd name="connsiteX96" fmla="*/ 9258 w 10000"/>
                <a:gd name="connsiteY96" fmla="*/ 5782 h 10000"/>
                <a:gd name="connsiteX97" fmla="*/ 9203 w 10000"/>
                <a:gd name="connsiteY97" fmla="*/ 5641 h 10000"/>
                <a:gd name="connsiteX98" fmla="*/ 9306 w 10000"/>
                <a:gd name="connsiteY98" fmla="*/ 5697 h 10000"/>
                <a:gd name="connsiteX99" fmla="*/ 9464 w 10000"/>
                <a:gd name="connsiteY99" fmla="*/ 5697 h 10000"/>
                <a:gd name="connsiteX100" fmla="*/ 9464 w 10000"/>
                <a:gd name="connsiteY100" fmla="*/ 5631 h 10000"/>
                <a:gd name="connsiteX101" fmla="*/ 9611 w 10000"/>
                <a:gd name="connsiteY101" fmla="*/ 5583 h 10000"/>
                <a:gd name="connsiteX102" fmla="*/ 9592 w 10000"/>
                <a:gd name="connsiteY102" fmla="*/ 5532 h 10000"/>
                <a:gd name="connsiteX103" fmla="*/ 8350 w 10000"/>
                <a:gd name="connsiteY103" fmla="*/ 5633 h 10000"/>
                <a:gd name="connsiteX104" fmla="*/ 8058 w 10000"/>
                <a:gd name="connsiteY104" fmla="*/ 5604 h 10000"/>
                <a:gd name="connsiteX105" fmla="*/ 7942 w 10000"/>
                <a:gd name="connsiteY105" fmla="*/ 5641 h 10000"/>
                <a:gd name="connsiteX106" fmla="*/ 7903 w 10000"/>
                <a:gd name="connsiteY106" fmla="*/ 5569 h 10000"/>
                <a:gd name="connsiteX107" fmla="*/ 7765 w 10000"/>
                <a:gd name="connsiteY107" fmla="*/ 5507 h 10000"/>
                <a:gd name="connsiteX108" fmla="*/ 7213 w 10000"/>
                <a:gd name="connsiteY108" fmla="*/ 5378 h 10000"/>
                <a:gd name="connsiteX109" fmla="*/ 6887 w 10000"/>
                <a:gd name="connsiteY109" fmla="*/ 5400 h 10000"/>
                <a:gd name="connsiteX110" fmla="*/ 6757 w 10000"/>
                <a:gd name="connsiteY110" fmla="*/ 5363 h 10000"/>
                <a:gd name="connsiteX111" fmla="*/ 6894 w 10000"/>
                <a:gd name="connsiteY111" fmla="*/ 5332 h 10000"/>
                <a:gd name="connsiteX112" fmla="*/ 6998 w 10000"/>
                <a:gd name="connsiteY112" fmla="*/ 5264 h 10000"/>
                <a:gd name="connsiteX113" fmla="*/ 7152 w 10000"/>
                <a:gd name="connsiteY113" fmla="*/ 5285 h 10000"/>
                <a:gd name="connsiteX114" fmla="*/ 7335 w 10000"/>
                <a:gd name="connsiteY114" fmla="*/ 5268 h 10000"/>
                <a:gd name="connsiteX115" fmla="*/ 7611 w 10000"/>
                <a:gd name="connsiteY115" fmla="*/ 5290 h 10000"/>
                <a:gd name="connsiteX116" fmla="*/ 7645 w 10000"/>
                <a:gd name="connsiteY116" fmla="*/ 5281 h 10000"/>
                <a:gd name="connsiteX117" fmla="*/ 7859 w 10000"/>
                <a:gd name="connsiteY117" fmla="*/ 5385 h 10000"/>
                <a:gd name="connsiteX118" fmla="*/ 8017 w 10000"/>
                <a:gd name="connsiteY118" fmla="*/ 5346 h 10000"/>
                <a:gd name="connsiteX119" fmla="*/ 8032 w 10000"/>
                <a:gd name="connsiteY119" fmla="*/ 5311 h 10000"/>
                <a:gd name="connsiteX120" fmla="*/ 8176 w 10000"/>
                <a:gd name="connsiteY120" fmla="*/ 5373 h 10000"/>
                <a:gd name="connsiteX121" fmla="*/ 8369 w 10000"/>
                <a:gd name="connsiteY121" fmla="*/ 5406 h 10000"/>
                <a:gd name="connsiteX122" fmla="*/ 8446 w 10000"/>
                <a:gd name="connsiteY122" fmla="*/ 5344 h 10000"/>
                <a:gd name="connsiteX123" fmla="*/ 8507 w 10000"/>
                <a:gd name="connsiteY123" fmla="*/ 5378 h 10000"/>
                <a:gd name="connsiteX124" fmla="*/ 8596 w 10000"/>
                <a:gd name="connsiteY124" fmla="*/ 5499 h 10000"/>
                <a:gd name="connsiteX125" fmla="*/ 8782 w 10000"/>
                <a:gd name="connsiteY125" fmla="*/ 5525 h 10000"/>
                <a:gd name="connsiteX126" fmla="*/ 9542 w 10000"/>
                <a:gd name="connsiteY126" fmla="*/ 5350 h 10000"/>
                <a:gd name="connsiteX127" fmla="*/ 9914 w 10000"/>
                <a:gd name="connsiteY127" fmla="*/ 5107 h 10000"/>
                <a:gd name="connsiteX128" fmla="*/ 10000 w 10000"/>
                <a:gd name="connsiteY128" fmla="*/ 4930 h 10000"/>
                <a:gd name="connsiteX129" fmla="*/ 9866 w 10000"/>
                <a:gd name="connsiteY129" fmla="*/ 4770 h 10000"/>
                <a:gd name="connsiteX130" fmla="*/ 9582 w 10000"/>
                <a:gd name="connsiteY130" fmla="*/ 4674 h 10000"/>
                <a:gd name="connsiteX131" fmla="*/ 9382 w 10000"/>
                <a:gd name="connsiteY131" fmla="*/ 4516 h 10000"/>
                <a:gd name="connsiteX132" fmla="*/ 9569 w 10000"/>
                <a:gd name="connsiteY132" fmla="*/ 4511 h 10000"/>
                <a:gd name="connsiteX133" fmla="*/ 9555 w 10000"/>
                <a:gd name="connsiteY133" fmla="*/ 4473 h 10000"/>
                <a:gd name="connsiteX134" fmla="*/ 9068 w 10000"/>
                <a:gd name="connsiteY134" fmla="*/ 4364 h 10000"/>
                <a:gd name="connsiteX135" fmla="*/ 9047 w 10000"/>
                <a:gd name="connsiteY135" fmla="*/ 4262 h 10000"/>
                <a:gd name="connsiteX136" fmla="*/ 8953 w 10000"/>
                <a:gd name="connsiteY136" fmla="*/ 4156 h 10000"/>
                <a:gd name="connsiteX137" fmla="*/ 8569 w 10000"/>
                <a:gd name="connsiteY137" fmla="*/ 4176 h 10000"/>
                <a:gd name="connsiteX138" fmla="*/ 8431 w 10000"/>
                <a:gd name="connsiteY138" fmla="*/ 4062 h 10000"/>
                <a:gd name="connsiteX139" fmla="*/ 8350 w 10000"/>
                <a:gd name="connsiteY139" fmla="*/ 4056 h 10000"/>
                <a:gd name="connsiteX140" fmla="*/ 8350 w 10000"/>
                <a:gd name="connsiteY140" fmla="*/ 4105 h 10000"/>
                <a:gd name="connsiteX141" fmla="*/ 8176 w 10000"/>
                <a:gd name="connsiteY141" fmla="*/ 4294 h 10000"/>
                <a:gd name="connsiteX142" fmla="*/ 7990 w 10000"/>
                <a:gd name="connsiteY142" fmla="*/ 4405 h 10000"/>
                <a:gd name="connsiteX143" fmla="*/ 7401 w 10000"/>
                <a:gd name="connsiteY143" fmla="*/ 4594 h 10000"/>
                <a:gd name="connsiteX144" fmla="*/ 7198 w 10000"/>
                <a:gd name="connsiteY144" fmla="*/ 4588 h 10000"/>
                <a:gd name="connsiteX145" fmla="*/ 6915 w 10000"/>
                <a:gd name="connsiteY145" fmla="*/ 4618 h 10000"/>
                <a:gd name="connsiteX146" fmla="*/ 6757 w 10000"/>
                <a:gd name="connsiteY146" fmla="*/ 4588 h 10000"/>
                <a:gd name="connsiteX147" fmla="*/ 6965 w 10000"/>
                <a:gd name="connsiteY147" fmla="*/ 4534 h 10000"/>
                <a:gd name="connsiteX148" fmla="*/ 7235 w 10000"/>
                <a:gd name="connsiteY148" fmla="*/ 4511 h 10000"/>
                <a:gd name="connsiteX149" fmla="*/ 7455 w 10000"/>
                <a:gd name="connsiteY149" fmla="*/ 4423 h 10000"/>
                <a:gd name="connsiteX150" fmla="*/ 7674 w 10000"/>
                <a:gd name="connsiteY150" fmla="*/ 4381 h 10000"/>
                <a:gd name="connsiteX151" fmla="*/ 8082 w 10000"/>
                <a:gd name="connsiteY151" fmla="*/ 4225 h 10000"/>
                <a:gd name="connsiteX152" fmla="*/ 8157 w 10000"/>
                <a:gd name="connsiteY152" fmla="*/ 4125 h 10000"/>
                <a:gd name="connsiteX153" fmla="*/ 8165 w 10000"/>
                <a:gd name="connsiteY153" fmla="*/ 3994 h 10000"/>
                <a:gd name="connsiteX154" fmla="*/ 7978 w 10000"/>
                <a:gd name="connsiteY154" fmla="*/ 3972 h 10000"/>
                <a:gd name="connsiteX155" fmla="*/ 8058 w 10000"/>
                <a:gd name="connsiteY155" fmla="*/ 3892 h 10000"/>
                <a:gd name="connsiteX156" fmla="*/ 8087 w 10000"/>
                <a:gd name="connsiteY156" fmla="*/ 3791 h 10000"/>
                <a:gd name="connsiteX157" fmla="*/ 8007 w 10000"/>
                <a:gd name="connsiteY157" fmla="*/ 3697 h 10000"/>
                <a:gd name="connsiteX158" fmla="*/ 3760 w 10000"/>
                <a:gd name="connsiteY158" fmla="*/ 0 h 10000"/>
                <a:gd name="connsiteX159" fmla="*/ 3405 w 10000"/>
                <a:gd name="connsiteY159" fmla="*/ 83 h 10000"/>
                <a:gd name="connsiteX160" fmla="*/ 2832 w 10000"/>
                <a:gd name="connsiteY160" fmla="*/ 345 h 10000"/>
                <a:gd name="connsiteX161" fmla="*/ 2528 w 10000"/>
                <a:gd name="connsiteY161" fmla="*/ 662 h 10000"/>
                <a:gd name="connsiteX162" fmla="*/ 2555 w 10000"/>
                <a:gd name="connsiteY162" fmla="*/ 838 h 10000"/>
                <a:gd name="connsiteX163" fmla="*/ 2661 w 10000"/>
                <a:gd name="connsiteY163" fmla="*/ 972 h 10000"/>
                <a:gd name="connsiteX164" fmla="*/ 2741 w 10000"/>
                <a:gd name="connsiteY164" fmla="*/ 1028 h 10000"/>
                <a:gd name="connsiteX165" fmla="*/ 2592 w 10000"/>
                <a:gd name="connsiteY165" fmla="*/ 1115 h 10000"/>
                <a:gd name="connsiteX166" fmla="*/ 2375 w 10000"/>
                <a:gd name="connsiteY166" fmla="*/ 1896 h 10000"/>
                <a:gd name="connsiteX167" fmla="*/ 2226 w 10000"/>
                <a:gd name="connsiteY167" fmla="*/ 2522 h 10000"/>
                <a:gd name="connsiteX168" fmla="*/ 2375 w 10000"/>
                <a:gd name="connsiteY168" fmla="*/ 2680 h 10000"/>
                <a:gd name="connsiteX169" fmla="*/ 2791 w 10000"/>
                <a:gd name="connsiteY169" fmla="*/ 2856 h 10000"/>
                <a:gd name="connsiteX170" fmla="*/ 2808 w 10000"/>
                <a:gd name="connsiteY170" fmla="*/ 3068 h 10000"/>
                <a:gd name="connsiteX171" fmla="*/ 2632 w 10000"/>
                <a:gd name="connsiteY171" fmla="*/ 3245 h 10000"/>
                <a:gd name="connsiteX172" fmla="*/ 2375 w 10000"/>
                <a:gd name="connsiteY172" fmla="*/ 3353 h 10000"/>
                <a:gd name="connsiteX173" fmla="*/ 2039 w 10000"/>
                <a:gd name="connsiteY173" fmla="*/ 3396 h 10000"/>
                <a:gd name="connsiteX174" fmla="*/ 1950 w 10000"/>
                <a:gd name="connsiteY174" fmla="*/ 3459 h 10000"/>
                <a:gd name="connsiteX175" fmla="*/ 2148 w 10000"/>
                <a:gd name="connsiteY175" fmla="*/ 3606 h 10000"/>
                <a:gd name="connsiteX176" fmla="*/ 2261 w 10000"/>
                <a:gd name="connsiteY176" fmla="*/ 3955 h 10000"/>
                <a:gd name="connsiteX177" fmla="*/ 2005 w 10000"/>
                <a:gd name="connsiteY177" fmla="*/ 4254 h 10000"/>
                <a:gd name="connsiteX178" fmla="*/ 2094 w 10000"/>
                <a:gd name="connsiteY178" fmla="*/ 4345 h 10000"/>
                <a:gd name="connsiteX179" fmla="*/ 2012 w 10000"/>
                <a:gd name="connsiteY179" fmla="*/ 4501 h 10000"/>
                <a:gd name="connsiteX180" fmla="*/ 1850 w 10000"/>
                <a:gd name="connsiteY180" fmla="*/ 4610 h 10000"/>
                <a:gd name="connsiteX181" fmla="*/ 1199 w 10000"/>
                <a:gd name="connsiteY181" fmla="*/ 4692 h 10000"/>
                <a:gd name="connsiteX182" fmla="*/ 1158 w 10000"/>
                <a:gd name="connsiteY182" fmla="*/ 4837 h 10000"/>
                <a:gd name="connsiteX183" fmla="*/ 808 w 10000"/>
                <a:gd name="connsiteY183" fmla="*/ 5051 h 10000"/>
                <a:gd name="connsiteX184" fmla="*/ 854 w 10000"/>
                <a:gd name="connsiteY184" fmla="*/ 5361 h 10000"/>
                <a:gd name="connsiteX185" fmla="*/ 560 w 10000"/>
                <a:gd name="connsiteY185" fmla="*/ 5758 h 10000"/>
                <a:gd name="connsiteX186" fmla="*/ 358 w 10000"/>
                <a:gd name="connsiteY186" fmla="*/ 5804 h 10000"/>
                <a:gd name="connsiteX187" fmla="*/ 275 w 10000"/>
                <a:gd name="connsiteY187" fmla="*/ 5710 h 10000"/>
                <a:gd name="connsiteX188" fmla="*/ 174 w 10000"/>
                <a:gd name="connsiteY188" fmla="*/ 5852 h 10000"/>
                <a:gd name="connsiteX189" fmla="*/ 239 w 10000"/>
                <a:gd name="connsiteY189" fmla="*/ 5606 h 10000"/>
                <a:gd name="connsiteX190" fmla="*/ 197 w 10000"/>
                <a:gd name="connsiteY190" fmla="*/ 5560 h 10000"/>
                <a:gd name="connsiteX0" fmla="*/ 197 w 10000"/>
                <a:gd name="connsiteY0" fmla="*/ 5560 h 10000"/>
                <a:gd name="connsiteX1" fmla="*/ 0 w 10000"/>
                <a:gd name="connsiteY1" fmla="*/ 5688 h 10000"/>
                <a:gd name="connsiteX2" fmla="*/ 0 w 10000"/>
                <a:gd name="connsiteY2" fmla="*/ 6320 h 10000"/>
                <a:gd name="connsiteX3" fmla="*/ 109 w 10000"/>
                <a:gd name="connsiteY3" fmla="*/ 6337 h 10000"/>
                <a:gd name="connsiteX4" fmla="*/ 134 w 10000"/>
                <a:gd name="connsiteY4" fmla="*/ 6386 h 10000"/>
                <a:gd name="connsiteX5" fmla="*/ 130 w 10000"/>
                <a:gd name="connsiteY5" fmla="*/ 6472 h 10000"/>
                <a:gd name="connsiteX6" fmla="*/ 89 w 10000"/>
                <a:gd name="connsiteY6" fmla="*/ 6510 h 10000"/>
                <a:gd name="connsiteX7" fmla="*/ 255 w 10000"/>
                <a:gd name="connsiteY7" fmla="*/ 6436 h 10000"/>
                <a:gd name="connsiteX8" fmla="*/ 325 w 10000"/>
                <a:gd name="connsiteY8" fmla="*/ 6365 h 10000"/>
                <a:gd name="connsiteX9" fmla="*/ 413 w 10000"/>
                <a:gd name="connsiteY9" fmla="*/ 6413 h 10000"/>
                <a:gd name="connsiteX10" fmla="*/ 316 w 10000"/>
                <a:gd name="connsiteY10" fmla="*/ 6518 h 10000"/>
                <a:gd name="connsiteX11" fmla="*/ 419 w 10000"/>
                <a:gd name="connsiteY11" fmla="*/ 6520 h 10000"/>
                <a:gd name="connsiteX12" fmla="*/ 469 w 10000"/>
                <a:gd name="connsiteY12" fmla="*/ 6546 h 10000"/>
                <a:gd name="connsiteX13" fmla="*/ 337 w 10000"/>
                <a:gd name="connsiteY13" fmla="*/ 6579 h 10000"/>
                <a:gd name="connsiteX14" fmla="*/ 130 w 10000"/>
                <a:gd name="connsiteY14" fmla="*/ 6685 h 10000"/>
                <a:gd name="connsiteX15" fmla="*/ 497 w 10000"/>
                <a:gd name="connsiteY15" fmla="*/ 6769 h 10000"/>
                <a:gd name="connsiteX16" fmla="*/ 545 w 10000"/>
                <a:gd name="connsiteY16" fmla="*/ 6887 h 10000"/>
                <a:gd name="connsiteX17" fmla="*/ 419 w 10000"/>
                <a:gd name="connsiteY17" fmla="*/ 7061 h 10000"/>
                <a:gd name="connsiteX18" fmla="*/ 688 w 10000"/>
                <a:gd name="connsiteY18" fmla="*/ 7051 h 10000"/>
                <a:gd name="connsiteX19" fmla="*/ 709 w 10000"/>
                <a:gd name="connsiteY19" fmla="*/ 7181 h 10000"/>
                <a:gd name="connsiteX20" fmla="*/ 530 w 10000"/>
                <a:gd name="connsiteY20" fmla="*/ 7273 h 10000"/>
                <a:gd name="connsiteX21" fmla="*/ 560 w 10000"/>
                <a:gd name="connsiteY21" fmla="*/ 7444 h 10000"/>
                <a:gd name="connsiteX22" fmla="*/ 489 w 10000"/>
                <a:gd name="connsiteY22" fmla="*/ 7580 h 10000"/>
                <a:gd name="connsiteX23" fmla="*/ 703 w 10000"/>
                <a:gd name="connsiteY23" fmla="*/ 7593 h 10000"/>
                <a:gd name="connsiteX24" fmla="*/ 909 w 10000"/>
                <a:gd name="connsiteY24" fmla="*/ 8110 h 10000"/>
                <a:gd name="connsiteX25" fmla="*/ 1150 w 10000"/>
                <a:gd name="connsiteY25" fmla="*/ 8238 h 10000"/>
                <a:gd name="connsiteX26" fmla="*/ 1255 w 10000"/>
                <a:gd name="connsiteY26" fmla="*/ 8379 h 10000"/>
                <a:gd name="connsiteX27" fmla="*/ 1514 w 10000"/>
                <a:gd name="connsiteY27" fmla="*/ 8479 h 10000"/>
                <a:gd name="connsiteX28" fmla="*/ 1684 w 10000"/>
                <a:gd name="connsiteY28" fmla="*/ 8610 h 10000"/>
                <a:gd name="connsiteX29" fmla="*/ 1661 w 10000"/>
                <a:gd name="connsiteY29" fmla="*/ 8703 h 10000"/>
                <a:gd name="connsiteX30" fmla="*/ 1496 w 10000"/>
                <a:gd name="connsiteY30" fmla="*/ 8737 h 10000"/>
                <a:gd name="connsiteX31" fmla="*/ 1316 w 10000"/>
                <a:gd name="connsiteY31" fmla="*/ 8715 h 10000"/>
                <a:gd name="connsiteX32" fmla="*/ 1260 w 10000"/>
                <a:gd name="connsiteY32" fmla="*/ 8752 h 10000"/>
                <a:gd name="connsiteX33" fmla="*/ 1397 w 10000"/>
                <a:gd name="connsiteY33" fmla="*/ 8953 h 10000"/>
                <a:gd name="connsiteX34" fmla="*/ 1205 w 10000"/>
                <a:gd name="connsiteY34" fmla="*/ 8936 h 10000"/>
                <a:gd name="connsiteX35" fmla="*/ 1040 w 10000"/>
                <a:gd name="connsiteY35" fmla="*/ 8887 h 10000"/>
                <a:gd name="connsiteX36" fmla="*/ 1012 w 10000"/>
                <a:gd name="connsiteY36" fmla="*/ 8962 h 10000"/>
                <a:gd name="connsiteX37" fmla="*/ 1557 w 10000"/>
                <a:gd name="connsiteY37" fmla="*/ 9650 h 10000"/>
                <a:gd name="connsiteX38" fmla="*/ 1469 w 10000"/>
                <a:gd name="connsiteY38" fmla="*/ 9714 h 10000"/>
                <a:gd name="connsiteX39" fmla="*/ 1408 w 10000"/>
                <a:gd name="connsiteY39" fmla="*/ 9846 h 10000"/>
                <a:gd name="connsiteX40" fmla="*/ 1329 w 10000"/>
                <a:gd name="connsiteY40" fmla="*/ 9856 h 10000"/>
                <a:gd name="connsiteX41" fmla="*/ 1281 w 10000"/>
                <a:gd name="connsiteY41" fmla="*/ 9915 h 10000"/>
                <a:gd name="connsiteX42" fmla="*/ 1609 w 10000"/>
                <a:gd name="connsiteY42" fmla="*/ 9920 h 10000"/>
                <a:gd name="connsiteX43" fmla="*/ 1900 w 10000"/>
                <a:gd name="connsiteY43" fmla="*/ 9977 h 10000"/>
                <a:gd name="connsiteX44" fmla="*/ 2383 w 10000"/>
                <a:gd name="connsiteY44" fmla="*/ 9917 h 10000"/>
                <a:gd name="connsiteX45" fmla="*/ 2816 w 10000"/>
                <a:gd name="connsiteY45" fmla="*/ 9929 h 10000"/>
                <a:gd name="connsiteX46" fmla="*/ 3072 w 10000"/>
                <a:gd name="connsiteY46" fmla="*/ 10000 h 10000"/>
                <a:gd name="connsiteX47" fmla="*/ 3212 w 10000"/>
                <a:gd name="connsiteY47" fmla="*/ 9952 h 10000"/>
                <a:gd name="connsiteX48" fmla="*/ 3348 w 10000"/>
                <a:gd name="connsiteY48" fmla="*/ 9793 h 10000"/>
                <a:gd name="connsiteX49" fmla="*/ 3313 w 10000"/>
                <a:gd name="connsiteY49" fmla="*/ 9532 h 10000"/>
                <a:gd name="connsiteX50" fmla="*/ 3642 w 10000"/>
                <a:gd name="connsiteY50" fmla="*/ 9244 h 10000"/>
                <a:gd name="connsiteX51" fmla="*/ 3883 w 10000"/>
                <a:gd name="connsiteY51" fmla="*/ 9290 h 10000"/>
                <a:gd name="connsiteX52" fmla="*/ 4025 w 10000"/>
                <a:gd name="connsiteY52" fmla="*/ 9175 h 10000"/>
                <a:gd name="connsiteX53" fmla="*/ 4294 w 10000"/>
                <a:gd name="connsiteY53" fmla="*/ 9108 h 10000"/>
                <a:gd name="connsiteX54" fmla="*/ 4658 w 10000"/>
                <a:gd name="connsiteY54" fmla="*/ 9124 h 10000"/>
                <a:gd name="connsiteX55" fmla="*/ 4878 w 10000"/>
                <a:gd name="connsiteY55" fmla="*/ 9169 h 10000"/>
                <a:gd name="connsiteX56" fmla="*/ 5170 w 10000"/>
                <a:gd name="connsiteY56" fmla="*/ 9150 h 10000"/>
                <a:gd name="connsiteX57" fmla="*/ 5464 w 10000"/>
                <a:gd name="connsiteY57" fmla="*/ 9199 h 10000"/>
                <a:gd name="connsiteX58" fmla="*/ 5759 w 10000"/>
                <a:gd name="connsiteY58" fmla="*/ 9206 h 10000"/>
                <a:gd name="connsiteX59" fmla="*/ 6419 w 10000"/>
                <a:gd name="connsiteY59" fmla="*/ 8530 h 10000"/>
                <a:gd name="connsiteX60" fmla="*/ 6586 w 10000"/>
                <a:gd name="connsiteY60" fmla="*/ 7978 h 10000"/>
                <a:gd name="connsiteX61" fmla="*/ 6855 w 10000"/>
                <a:gd name="connsiteY61" fmla="*/ 7734 h 10000"/>
                <a:gd name="connsiteX62" fmla="*/ 6855 w 10000"/>
                <a:gd name="connsiteY62" fmla="*/ 7604 h 10000"/>
                <a:gd name="connsiteX63" fmla="*/ 6757 w 10000"/>
                <a:gd name="connsiteY63" fmla="*/ 7533 h 10000"/>
                <a:gd name="connsiteX64" fmla="*/ 6915 w 10000"/>
                <a:gd name="connsiteY64" fmla="*/ 7416 h 10000"/>
                <a:gd name="connsiteX65" fmla="*/ 6887 w 10000"/>
                <a:gd name="connsiteY65" fmla="*/ 7320 h 10000"/>
                <a:gd name="connsiteX66" fmla="*/ 6779 w 10000"/>
                <a:gd name="connsiteY66" fmla="*/ 7238 h 10000"/>
                <a:gd name="connsiteX67" fmla="*/ 6757 w 10000"/>
                <a:gd name="connsiteY67" fmla="*/ 7175 h 10000"/>
                <a:gd name="connsiteX68" fmla="*/ 6785 w 10000"/>
                <a:gd name="connsiteY68" fmla="*/ 7129 h 10000"/>
                <a:gd name="connsiteX69" fmla="*/ 6931 w 10000"/>
                <a:gd name="connsiteY69" fmla="*/ 7166 h 10000"/>
                <a:gd name="connsiteX70" fmla="*/ 7045 w 10000"/>
                <a:gd name="connsiteY70" fmla="*/ 7164 h 10000"/>
                <a:gd name="connsiteX71" fmla="*/ 6983 w 10000"/>
                <a:gd name="connsiteY71" fmla="*/ 7086 h 10000"/>
                <a:gd name="connsiteX72" fmla="*/ 7003 w 10000"/>
                <a:gd name="connsiteY72" fmla="*/ 7039 h 10000"/>
                <a:gd name="connsiteX73" fmla="*/ 7089 w 10000"/>
                <a:gd name="connsiteY73" fmla="*/ 6973 h 10000"/>
                <a:gd name="connsiteX74" fmla="*/ 7074 w 10000"/>
                <a:gd name="connsiteY74" fmla="*/ 6919 h 10000"/>
                <a:gd name="connsiteX75" fmla="*/ 7152 w 10000"/>
                <a:gd name="connsiteY75" fmla="*/ 6735 h 10000"/>
                <a:gd name="connsiteX76" fmla="*/ 7130 w 10000"/>
                <a:gd name="connsiteY76" fmla="*/ 6679 h 10000"/>
                <a:gd name="connsiteX77" fmla="*/ 6729 w 10000"/>
                <a:gd name="connsiteY77" fmla="*/ 6539 h 10000"/>
                <a:gd name="connsiteX78" fmla="*/ 6785 w 10000"/>
                <a:gd name="connsiteY78" fmla="*/ 6534 h 10000"/>
                <a:gd name="connsiteX79" fmla="*/ 6998 w 10000"/>
                <a:gd name="connsiteY79" fmla="*/ 6570 h 10000"/>
                <a:gd name="connsiteX80" fmla="*/ 7230 w 10000"/>
                <a:gd name="connsiteY80" fmla="*/ 6557 h 10000"/>
                <a:gd name="connsiteX81" fmla="*/ 7295 w 10000"/>
                <a:gd name="connsiteY81" fmla="*/ 6506 h 10000"/>
                <a:gd name="connsiteX82" fmla="*/ 7074 w 10000"/>
                <a:gd name="connsiteY82" fmla="*/ 6411 h 10000"/>
                <a:gd name="connsiteX83" fmla="*/ 6414 w 10000"/>
                <a:gd name="connsiteY83" fmla="*/ 6349 h 10000"/>
                <a:gd name="connsiteX84" fmla="*/ 6458 w 10000"/>
                <a:gd name="connsiteY84" fmla="*/ 6320 h 10000"/>
                <a:gd name="connsiteX85" fmla="*/ 6998 w 10000"/>
                <a:gd name="connsiteY85" fmla="*/ 6300 h 10000"/>
                <a:gd name="connsiteX86" fmla="*/ 7295 w 10000"/>
                <a:gd name="connsiteY86" fmla="*/ 6358 h 10000"/>
                <a:gd name="connsiteX87" fmla="*/ 7466 w 10000"/>
                <a:gd name="connsiteY87" fmla="*/ 6320 h 10000"/>
                <a:gd name="connsiteX88" fmla="*/ 7529 w 10000"/>
                <a:gd name="connsiteY88" fmla="*/ 6221 h 10000"/>
                <a:gd name="connsiteX89" fmla="*/ 7840 w 10000"/>
                <a:gd name="connsiteY89" fmla="*/ 6221 h 10000"/>
                <a:gd name="connsiteX90" fmla="*/ 8261 w 10000"/>
                <a:gd name="connsiteY90" fmla="*/ 6023 h 10000"/>
                <a:gd name="connsiteX91" fmla="*/ 8275 w 10000"/>
                <a:gd name="connsiteY91" fmla="*/ 5890 h 10000"/>
                <a:gd name="connsiteX92" fmla="*/ 8453 w 10000"/>
                <a:gd name="connsiteY92" fmla="*/ 5920 h 10000"/>
                <a:gd name="connsiteX93" fmla="*/ 8446 w 10000"/>
                <a:gd name="connsiteY93" fmla="*/ 6053 h 10000"/>
                <a:gd name="connsiteX94" fmla="*/ 8727 w 10000"/>
                <a:gd name="connsiteY94" fmla="*/ 6044 h 10000"/>
                <a:gd name="connsiteX95" fmla="*/ 8913 w 10000"/>
                <a:gd name="connsiteY95" fmla="*/ 5906 h 10000"/>
                <a:gd name="connsiteX96" fmla="*/ 9258 w 10000"/>
                <a:gd name="connsiteY96" fmla="*/ 5782 h 10000"/>
                <a:gd name="connsiteX97" fmla="*/ 9203 w 10000"/>
                <a:gd name="connsiteY97" fmla="*/ 5641 h 10000"/>
                <a:gd name="connsiteX98" fmla="*/ 9306 w 10000"/>
                <a:gd name="connsiteY98" fmla="*/ 5697 h 10000"/>
                <a:gd name="connsiteX99" fmla="*/ 9464 w 10000"/>
                <a:gd name="connsiteY99" fmla="*/ 5697 h 10000"/>
                <a:gd name="connsiteX100" fmla="*/ 9464 w 10000"/>
                <a:gd name="connsiteY100" fmla="*/ 5631 h 10000"/>
                <a:gd name="connsiteX101" fmla="*/ 9611 w 10000"/>
                <a:gd name="connsiteY101" fmla="*/ 5583 h 10000"/>
                <a:gd name="connsiteX102" fmla="*/ 9592 w 10000"/>
                <a:gd name="connsiteY102" fmla="*/ 5532 h 10000"/>
                <a:gd name="connsiteX103" fmla="*/ 8350 w 10000"/>
                <a:gd name="connsiteY103" fmla="*/ 5633 h 10000"/>
                <a:gd name="connsiteX104" fmla="*/ 8058 w 10000"/>
                <a:gd name="connsiteY104" fmla="*/ 5604 h 10000"/>
                <a:gd name="connsiteX105" fmla="*/ 7942 w 10000"/>
                <a:gd name="connsiteY105" fmla="*/ 5641 h 10000"/>
                <a:gd name="connsiteX106" fmla="*/ 7903 w 10000"/>
                <a:gd name="connsiteY106" fmla="*/ 5569 h 10000"/>
                <a:gd name="connsiteX107" fmla="*/ 7765 w 10000"/>
                <a:gd name="connsiteY107" fmla="*/ 5507 h 10000"/>
                <a:gd name="connsiteX108" fmla="*/ 7213 w 10000"/>
                <a:gd name="connsiteY108" fmla="*/ 5378 h 10000"/>
                <a:gd name="connsiteX109" fmla="*/ 6887 w 10000"/>
                <a:gd name="connsiteY109" fmla="*/ 5400 h 10000"/>
                <a:gd name="connsiteX110" fmla="*/ 6757 w 10000"/>
                <a:gd name="connsiteY110" fmla="*/ 5363 h 10000"/>
                <a:gd name="connsiteX111" fmla="*/ 6894 w 10000"/>
                <a:gd name="connsiteY111" fmla="*/ 5332 h 10000"/>
                <a:gd name="connsiteX112" fmla="*/ 6998 w 10000"/>
                <a:gd name="connsiteY112" fmla="*/ 5264 h 10000"/>
                <a:gd name="connsiteX113" fmla="*/ 7152 w 10000"/>
                <a:gd name="connsiteY113" fmla="*/ 5285 h 10000"/>
                <a:gd name="connsiteX114" fmla="*/ 7335 w 10000"/>
                <a:gd name="connsiteY114" fmla="*/ 5268 h 10000"/>
                <a:gd name="connsiteX115" fmla="*/ 7611 w 10000"/>
                <a:gd name="connsiteY115" fmla="*/ 5290 h 10000"/>
                <a:gd name="connsiteX116" fmla="*/ 7645 w 10000"/>
                <a:gd name="connsiteY116" fmla="*/ 5281 h 10000"/>
                <a:gd name="connsiteX117" fmla="*/ 7859 w 10000"/>
                <a:gd name="connsiteY117" fmla="*/ 5385 h 10000"/>
                <a:gd name="connsiteX118" fmla="*/ 8017 w 10000"/>
                <a:gd name="connsiteY118" fmla="*/ 5346 h 10000"/>
                <a:gd name="connsiteX119" fmla="*/ 8032 w 10000"/>
                <a:gd name="connsiteY119" fmla="*/ 5311 h 10000"/>
                <a:gd name="connsiteX120" fmla="*/ 8176 w 10000"/>
                <a:gd name="connsiteY120" fmla="*/ 5373 h 10000"/>
                <a:gd name="connsiteX121" fmla="*/ 8369 w 10000"/>
                <a:gd name="connsiteY121" fmla="*/ 5406 h 10000"/>
                <a:gd name="connsiteX122" fmla="*/ 8446 w 10000"/>
                <a:gd name="connsiteY122" fmla="*/ 5344 h 10000"/>
                <a:gd name="connsiteX123" fmla="*/ 8507 w 10000"/>
                <a:gd name="connsiteY123" fmla="*/ 5378 h 10000"/>
                <a:gd name="connsiteX124" fmla="*/ 8596 w 10000"/>
                <a:gd name="connsiteY124" fmla="*/ 5499 h 10000"/>
                <a:gd name="connsiteX125" fmla="*/ 8782 w 10000"/>
                <a:gd name="connsiteY125" fmla="*/ 5525 h 10000"/>
                <a:gd name="connsiteX126" fmla="*/ 9542 w 10000"/>
                <a:gd name="connsiteY126" fmla="*/ 5350 h 10000"/>
                <a:gd name="connsiteX127" fmla="*/ 9914 w 10000"/>
                <a:gd name="connsiteY127" fmla="*/ 5107 h 10000"/>
                <a:gd name="connsiteX128" fmla="*/ 10000 w 10000"/>
                <a:gd name="connsiteY128" fmla="*/ 4930 h 10000"/>
                <a:gd name="connsiteX129" fmla="*/ 9866 w 10000"/>
                <a:gd name="connsiteY129" fmla="*/ 4770 h 10000"/>
                <a:gd name="connsiteX130" fmla="*/ 9582 w 10000"/>
                <a:gd name="connsiteY130" fmla="*/ 4674 h 10000"/>
                <a:gd name="connsiteX131" fmla="*/ 9382 w 10000"/>
                <a:gd name="connsiteY131" fmla="*/ 4516 h 10000"/>
                <a:gd name="connsiteX132" fmla="*/ 9569 w 10000"/>
                <a:gd name="connsiteY132" fmla="*/ 4511 h 10000"/>
                <a:gd name="connsiteX133" fmla="*/ 9555 w 10000"/>
                <a:gd name="connsiteY133" fmla="*/ 4473 h 10000"/>
                <a:gd name="connsiteX134" fmla="*/ 9068 w 10000"/>
                <a:gd name="connsiteY134" fmla="*/ 4364 h 10000"/>
                <a:gd name="connsiteX135" fmla="*/ 9047 w 10000"/>
                <a:gd name="connsiteY135" fmla="*/ 4262 h 10000"/>
                <a:gd name="connsiteX136" fmla="*/ 8953 w 10000"/>
                <a:gd name="connsiteY136" fmla="*/ 4156 h 10000"/>
                <a:gd name="connsiteX137" fmla="*/ 8569 w 10000"/>
                <a:gd name="connsiteY137" fmla="*/ 4176 h 10000"/>
                <a:gd name="connsiteX138" fmla="*/ 8431 w 10000"/>
                <a:gd name="connsiteY138" fmla="*/ 4062 h 10000"/>
                <a:gd name="connsiteX139" fmla="*/ 8350 w 10000"/>
                <a:gd name="connsiteY139" fmla="*/ 4056 h 10000"/>
                <a:gd name="connsiteX140" fmla="*/ 8350 w 10000"/>
                <a:gd name="connsiteY140" fmla="*/ 4105 h 10000"/>
                <a:gd name="connsiteX141" fmla="*/ 8176 w 10000"/>
                <a:gd name="connsiteY141" fmla="*/ 4294 h 10000"/>
                <a:gd name="connsiteX142" fmla="*/ 7990 w 10000"/>
                <a:gd name="connsiteY142" fmla="*/ 4405 h 10000"/>
                <a:gd name="connsiteX143" fmla="*/ 7401 w 10000"/>
                <a:gd name="connsiteY143" fmla="*/ 4594 h 10000"/>
                <a:gd name="connsiteX144" fmla="*/ 7198 w 10000"/>
                <a:gd name="connsiteY144" fmla="*/ 4588 h 10000"/>
                <a:gd name="connsiteX145" fmla="*/ 6915 w 10000"/>
                <a:gd name="connsiteY145" fmla="*/ 4618 h 10000"/>
                <a:gd name="connsiteX146" fmla="*/ 6757 w 10000"/>
                <a:gd name="connsiteY146" fmla="*/ 4588 h 10000"/>
                <a:gd name="connsiteX147" fmla="*/ 6965 w 10000"/>
                <a:gd name="connsiteY147" fmla="*/ 4534 h 10000"/>
                <a:gd name="connsiteX148" fmla="*/ 7235 w 10000"/>
                <a:gd name="connsiteY148" fmla="*/ 4511 h 10000"/>
                <a:gd name="connsiteX149" fmla="*/ 7455 w 10000"/>
                <a:gd name="connsiteY149" fmla="*/ 4423 h 10000"/>
                <a:gd name="connsiteX150" fmla="*/ 7674 w 10000"/>
                <a:gd name="connsiteY150" fmla="*/ 4381 h 10000"/>
                <a:gd name="connsiteX151" fmla="*/ 8082 w 10000"/>
                <a:gd name="connsiteY151" fmla="*/ 4225 h 10000"/>
                <a:gd name="connsiteX152" fmla="*/ 8157 w 10000"/>
                <a:gd name="connsiteY152" fmla="*/ 4125 h 10000"/>
                <a:gd name="connsiteX153" fmla="*/ 8165 w 10000"/>
                <a:gd name="connsiteY153" fmla="*/ 3994 h 10000"/>
                <a:gd name="connsiteX154" fmla="*/ 7978 w 10000"/>
                <a:gd name="connsiteY154" fmla="*/ 3972 h 10000"/>
                <a:gd name="connsiteX155" fmla="*/ 8058 w 10000"/>
                <a:gd name="connsiteY155" fmla="*/ 3892 h 10000"/>
                <a:gd name="connsiteX156" fmla="*/ 8087 w 10000"/>
                <a:gd name="connsiteY156" fmla="*/ 3791 h 10000"/>
                <a:gd name="connsiteX157" fmla="*/ 8007 w 10000"/>
                <a:gd name="connsiteY157" fmla="*/ 3697 h 10000"/>
                <a:gd name="connsiteX158" fmla="*/ 3760 w 10000"/>
                <a:gd name="connsiteY158" fmla="*/ 0 h 10000"/>
                <a:gd name="connsiteX159" fmla="*/ 3405 w 10000"/>
                <a:gd name="connsiteY159" fmla="*/ 83 h 10000"/>
                <a:gd name="connsiteX160" fmla="*/ 2832 w 10000"/>
                <a:gd name="connsiteY160" fmla="*/ 345 h 10000"/>
                <a:gd name="connsiteX161" fmla="*/ 2528 w 10000"/>
                <a:gd name="connsiteY161" fmla="*/ 662 h 10000"/>
                <a:gd name="connsiteX162" fmla="*/ 2555 w 10000"/>
                <a:gd name="connsiteY162" fmla="*/ 838 h 10000"/>
                <a:gd name="connsiteX163" fmla="*/ 2661 w 10000"/>
                <a:gd name="connsiteY163" fmla="*/ 972 h 10000"/>
                <a:gd name="connsiteX164" fmla="*/ 2741 w 10000"/>
                <a:gd name="connsiteY164" fmla="*/ 1028 h 10000"/>
                <a:gd name="connsiteX165" fmla="*/ 2375 w 10000"/>
                <a:gd name="connsiteY165" fmla="*/ 1896 h 10000"/>
                <a:gd name="connsiteX166" fmla="*/ 2226 w 10000"/>
                <a:gd name="connsiteY166" fmla="*/ 2522 h 10000"/>
                <a:gd name="connsiteX167" fmla="*/ 2375 w 10000"/>
                <a:gd name="connsiteY167" fmla="*/ 2680 h 10000"/>
                <a:gd name="connsiteX168" fmla="*/ 2791 w 10000"/>
                <a:gd name="connsiteY168" fmla="*/ 2856 h 10000"/>
                <a:gd name="connsiteX169" fmla="*/ 2808 w 10000"/>
                <a:gd name="connsiteY169" fmla="*/ 3068 h 10000"/>
                <a:gd name="connsiteX170" fmla="*/ 2632 w 10000"/>
                <a:gd name="connsiteY170" fmla="*/ 3245 h 10000"/>
                <a:gd name="connsiteX171" fmla="*/ 2375 w 10000"/>
                <a:gd name="connsiteY171" fmla="*/ 3353 h 10000"/>
                <a:gd name="connsiteX172" fmla="*/ 2039 w 10000"/>
                <a:gd name="connsiteY172" fmla="*/ 3396 h 10000"/>
                <a:gd name="connsiteX173" fmla="*/ 1950 w 10000"/>
                <a:gd name="connsiteY173" fmla="*/ 3459 h 10000"/>
                <a:gd name="connsiteX174" fmla="*/ 2148 w 10000"/>
                <a:gd name="connsiteY174" fmla="*/ 3606 h 10000"/>
                <a:gd name="connsiteX175" fmla="*/ 2261 w 10000"/>
                <a:gd name="connsiteY175" fmla="*/ 3955 h 10000"/>
                <a:gd name="connsiteX176" fmla="*/ 2005 w 10000"/>
                <a:gd name="connsiteY176" fmla="*/ 4254 h 10000"/>
                <a:gd name="connsiteX177" fmla="*/ 2094 w 10000"/>
                <a:gd name="connsiteY177" fmla="*/ 4345 h 10000"/>
                <a:gd name="connsiteX178" fmla="*/ 2012 w 10000"/>
                <a:gd name="connsiteY178" fmla="*/ 4501 h 10000"/>
                <a:gd name="connsiteX179" fmla="*/ 1850 w 10000"/>
                <a:gd name="connsiteY179" fmla="*/ 4610 h 10000"/>
                <a:gd name="connsiteX180" fmla="*/ 1199 w 10000"/>
                <a:gd name="connsiteY180" fmla="*/ 4692 h 10000"/>
                <a:gd name="connsiteX181" fmla="*/ 1158 w 10000"/>
                <a:gd name="connsiteY181" fmla="*/ 4837 h 10000"/>
                <a:gd name="connsiteX182" fmla="*/ 808 w 10000"/>
                <a:gd name="connsiteY182" fmla="*/ 5051 h 10000"/>
                <a:gd name="connsiteX183" fmla="*/ 854 w 10000"/>
                <a:gd name="connsiteY183" fmla="*/ 5361 h 10000"/>
                <a:gd name="connsiteX184" fmla="*/ 560 w 10000"/>
                <a:gd name="connsiteY184" fmla="*/ 5758 h 10000"/>
                <a:gd name="connsiteX185" fmla="*/ 358 w 10000"/>
                <a:gd name="connsiteY185" fmla="*/ 5804 h 10000"/>
                <a:gd name="connsiteX186" fmla="*/ 275 w 10000"/>
                <a:gd name="connsiteY186" fmla="*/ 5710 h 10000"/>
                <a:gd name="connsiteX187" fmla="*/ 174 w 10000"/>
                <a:gd name="connsiteY187" fmla="*/ 5852 h 10000"/>
                <a:gd name="connsiteX188" fmla="*/ 239 w 10000"/>
                <a:gd name="connsiteY188" fmla="*/ 5606 h 10000"/>
                <a:gd name="connsiteX189" fmla="*/ 197 w 10000"/>
                <a:gd name="connsiteY189" fmla="*/ 5560 h 10000"/>
                <a:gd name="connsiteX0" fmla="*/ 197 w 10000"/>
                <a:gd name="connsiteY0" fmla="*/ 5560 h 10000"/>
                <a:gd name="connsiteX1" fmla="*/ 0 w 10000"/>
                <a:gd name="connsiteY1" fmla="*/ 5688 h 10000"/>
                <a:gd name="connsiteX2" fmla="*/ 0 w 10000"/>
                <a:gd name="connsiteY2" fmla="*/ 6320 h 10000"/>
                <a:gd name="connsiteX3" fmla="*/ 109 w 10000"/>
                <a:gd name="connsiteY3" fmla="*/ 6337 h 10000"/>
                <a:gd name="connsiteX4" fmla="*/ 134 w 10000"/>
                <a:gd name="connsiteY4" fmla="*/ 6386 h 10000"/>
                <a:gd name="connsiteX5" fmla="*/ 130 w 10000"/>
                <a:gd name="connsiteY5" fmla="*/ 6472 h 10000"/>
                <a:gd name="connsiteX6" fmla="*/ 89 w 10000"/>
                <a:gd name="connsiteY6" fmla="*/ 6510 h 10000"/>
                <a:gd name="connsiteX7" fmla="*/ 255 w 10000"/>
                <a:gd name="connsiteY7" fmla="*/ 6436 h 10000"/>
                <a:gd name="connsiteX8" fmla="*/ 325 w 10000"/>
                <a:gd name="connsiteY8" fmla="*/ 6365 h 10000"/>
                <a:gd name="connsiteX9" fmla="*/ 413 w 10000"/>
                <a:gd name="connsiteY9" fmla="*/ 6413 h 10000"/>
                <a:gd name="connsiteX10" fmla="*/ 316 w 10000"/>
                <a:gd name="connsiteY10" fmla="*/ 6518 h 10000"/>
                <a:gd name="connsiteX11" fmla="*/ 419 w 10000"/>
                <a:gd name="connsiteY11" fmla="*/ 6520 h 10000"/>
                <a:gd name="connsiteX12" fmla="*/ 469 w 10000"/>
                <a:gd name="connsiteY12" fmla="*/ 6546 h 10000"/>
                <a:gd name="connsiteX13" fmla="*/ 337 w 10000"/>
                <a:gd name="connsiteY13" fmla="*/ 6579 h 10000"/>
                <a:gd name="connsiteX14" fmla="*/ 130 w 10000"/>
                <a:gd name="connsiteY14" fmla="*/ 6685 h 10000"/>
                <a:gd name="connsiteX15" fmla="*/ 497 w 10000"/>
                <a:gd name="connsiteY15" fmla="*/ 6769 h 10000"/>
                <a:gd name="connsiteX16" fmla="*/ 545 w 10000"/>
                <a:gd name="connsiteY16" fmla="*/ 6887 h 10000"/>
                <a:gd name="connsiteX17" fmla="*/ 419 w 10000"/>
                <a:gd name="connsiteY17" fmla="*/ 7061 h 10000"/>
                <a:gd name="connsiteX18" fmla="*/ 688 w 10000"/>
                <a:gd name="connsiteY18" fmla="*/ 7051 h 10000"/>
                <a:gd name="connsiteX19" fmla="*/ 709 w 10000"/>
                <a:gd name="connsiteY19" fmla="*/ 7181 h 10000"/>
                <a:gd name="connsiteX20" fmla="*/ 530 w 10000"/>
                <a:gd name="connsiteY20" fmla="*/ 7273 h 10000"/>
                <a:gd name="connsiteX21" fmla="*/ 560 w 10000"/>
                <a:gd name="connsiteY21" fmla="*/ 7444 h 10000"/>
                <a:gd name="connsiteX22" fmla="*/ 489 w 10000"/>
                <a:gd name="connsiteY22" fmla="*/ 7580 h 10000"/>
                <a:gd name="connsiteX23" fmla="*/ 703 w 10000"/>
                <a:gd name="connsiteY23" fmla="*/ 7593 h 10000"/>
                <a:gd name="connsiteX24" fmla="*/ 909 w 10000"/>
                <a:gd name="connsiteY24" fmla="*/ 8110 h 10000"/>
                <a:gd name="connsiteX25" fmla="*/ 1150 w 10000"/>
                <a:gd name="connsiteY25" fmla="*/ 8238 h 10000"/>
                <a:gd name="connsiteX26" fmla="*/ 1255 w 10000"/>
                <a:gd name="connsiteY26" fmla="*/ 8379 h 10000"/>
                <a:gd name="connsiteX27" fmla="*/ 1514 w 10000"/>
                <a:gd name="connsiteY27" fmla="*/ 8479 h 10000"/>
                <a:gd name="connsiteX28" fmla="*/ 1684 w 10000"/>
                <a:gd name="connsiteY28" fmla="*/ 8610 h 10000"/>
                <a:gd name="connsiteX29" fmla="*/ 1661 w 10000"/>
                <a:gd name="connsiteY29" fmla="*/ 8703 h 10000"/>
                <a:gd name="connsiteX30" fmla="*/ 1496 w 10000"/>
                <a:gd name="connsiteY30" fmla="*/ 8737 h 10000"/>
                <a:gd name="connsiteX31" fmla="*/ 1316 w 10000"/>
                <a:gd name="connsiteY31" fmla="*/ 8715 h 10000"/>
                <a:gd name="connsiteX32" fmla="*/ 1260 w 10000"/>
                <a:gd name="connsiteY32" fmla="*/ 8752 h 10000"/>
                <a:gd name="connsiteX33" fmla="*/ 1397 w 10000"/>
                <a:gd name="connsiteY33" fmla="*/ 8953 h 10000"/>
                <a:gd name="connsiteX34" fmla="*/ 1205 w 10000"/>
                <a:gd name="connsiteY34" fmla="*/ 8936 h 10000"/>
                <a:gd name="connsiteX35" fmla="*/ 1040 w 10000"/>
                <a:gd name="connsiteY35" fmla="*/ 8887 h 10000"/>
                <a:gd name="connsiteX36" fmla="*/ 1012 w 10000"/>
                <a:gd name="connsiteY36" fmla="*/ 8962 h 10000"/>
                <a:gd name="connsiteX37" fmla="*/ 1557 w 10000"/>
                <a:gd name="connsiteY37" fmla="*/ 9650 h 10000"/>
                <a:gd name="connsiteX38" fmla="*/ 1469 w 10000"/>
                <a:gd name="connsiteY38" fmla="*/ 9714 h 10000"/>
                <a:gd name="connsiteX39" fmla="*/ 1408 w 10000"/>
                <a:gd name="connsiteY39" fmla="*/ 9846 h 10000"/>
                <a:gd name="connsiteX40" fmla="*/ 1329 w 10000"/>
                <a:gd name="connsiteY40" fmla="*/ 9856 h 10000"/>
                <a:gd name="connsiteX41" fmla="*/ 1281 w 10000"/>
                <a:gd name="connsiteY41" fmla="*/ 9915 h 10000"/>
                <a:gd name="connsiteX42" fmla="*/ 1609 w 10000"/>
                <a:gd name="connsiteY42" fmla="*/ 9920 h 10000"/>
                <a:gd name="connsiteX43" fmla="*/ 1900 w 10000"/>
                <a:gd name="connsiteY43" fmla="*/ 9977 h 10000"/>
                <a:gd name="connsiteX44" fmla="*/ 2383 w 10000"/>
                <a:gd name="connsiteY44" fmla="*/ 9917 h 10000"/>
                <a:gd name="connsiteX45" fmla="*/ 2816 w 10000"/>
                <a:gd name="connsiteY45" fmla="*/ 9929 h 10000"/>
                <a:gd name="connsiteX46" fmla="*/ 3072 w 10000"/>
                <a:gd name="connsiteY46" fmla="*/ 10000 h 10000"/>
                <a:gd name="connsiteX47" fmla="*/ 3212 w 10000"/>
                <a:gd name="connsiteY47" fmla="*/ 9952 h 10000"/>
                <a:gd name="connsiteX48" fmla="*/ 3348 w 10000"/>
                <a:gd name="connsiteY48" fmla="*/ 9793 h 10000"/>
                <a:gd name="connsiteX49" fmla="*/ 3313 w 10000"/>
                <a:gd name="connsiteY49" fmla="*/ 9532 h 10000"/>
                <a:gd name="connsiteX50" fmla="*/ 3642 w 10000"/>
                <a:gd name="connsiteY50" fmla="*/ 9244 h 10000"/>
                <a:gd name="connsiteX51" fmla="*/ 3883 w 10000"/>
                <a:gd name="connsiteY51" fmla="*/ 9290 h 10000"/>
                <a:gd name="connsiteX52" fmla="*/ 4025 w 10000"/>
                <a:gd name="connsiteY52" fmla="*/ 9175 h 10000"/>
                <a:gd name="connsiteX53" fmla="*/ 4294 w 10000"/>
                <a:gd name="connsiteY53" fmla="*/ 9108 h 10000"/>
                <a:gd name="connsiteX54" fmla="*/ 4658 w 10000"/>
                <a:gd name="connsiteY54" fmla="*/ 9124 h 10000"/>
                <a:gd name="connsiteX55" fmla="*/ 4878 w 10000"/>
                <a:gd name="connsiteY55" fmla="*/ 9169 h 10000"/>
                <a:gd name="connsiteX56" fmla="*/ 5170 w 10000"/>
                <a:gd name="connsiteY56" fmla="*/ 9150 h 10000"/>
                <a:gd name="connsiteX57" fmla="*/ 5464 w 10000"/>
                <a:gd name="connsiteY57" fmla="*/ 9199 h 10000"/>
                <a:gd name="connsiteX58" fmla="*/ 5759 w 10000"/>
                <a:gd name="connsiteY58" fmla="*/ 9206 h 10000"/>
                <a:gd name="connsiteX59" fmla="*/ 6419 w 10000"/>
                <a:gd name="connsiteY59" fmla="*/ 8530 h 10000"/>
                <a:gd name="connsiteX60" fmla="*/ 6586 w 10000"/>
                <a:gd name="connsiteY60" fmla="*/ 7978 h 10000"/>
                <a:gd name="connsiteX61" fmla="*/ 6855 w 10000"/>
                <a:gd name="connsiteY61" fmla="*/ 7734 h 10000"/>
                <a:gd name="connsiteX62" fmla="*/ 6855 w 10000"/>
                <a:gd name="connsiteY62" fmla="*/ 7604 h 10000"/>
                <a:gd name="connsiteX63" fmla="*/ 6757 w 10000"/>
                <a:gd name="connsiteY63" fmla="*/ 7533 h 10000"/>
                <a:gd name="connsiteX64" fmla="*/ 6915 w 10000"/>
                <a:gd name="connsiteY64" fmla="*/ 7416 h 10000"/>
                <a:gd name="connsiteX65" fmla="*/ 6887 w 10000"/>
                <a:gd name="connsiteY65" fmla="*/ 7320 h 10000"/>
                <a:gd name="connsiteX66" fmla="*/ 6779 w 10000"/>
                <a:gd name="connsiteY66" fmla="*/ 7238 h 10000"/>
                <a:gd name="connsiteX67" fmla="*/ 6757 w 10000"/>
                <a:gd name="connsiteY67" fmla="*/ 7175 h 10000"/>
                <a:gd name="connsiteX68" fmla="*/ 6785 w 10000"/>
                <a:gd name="connsiteY68" fmla="*/ 7129 h 10000"/>
                <a:gd name="connsiteX69" fmla="*/ 6931 w 10000"/>
                <a:gd name="connsiteY69" fmla="*/ 7166 h 10000"/>
                <a:gd name="connsiteX70" fmla="*/ 7045 w 10000"/>
                <a:gd name="connsiteY70" fmla="*/ 7164 h 10000"/>
                <a:gd name="connsiteX71" fmla="*/ 6983 w 10000"/>
                <a:gd name="connsiteY71" fmla="*/ 7086 h 10000"/>
                <a:gd name="connsiteX72" fmla="*/ 7003 w 10000"/>
                <a:gd name="connsiteY72" fmla="*/ 7039 h 10000"/>
                <a:gd name="connsiteX73" fmla="*/ 7089 w 10000"/>
                <a:gd name="connsiteY73" fmla="*/ 6973 h 10000"/>
                <a:gd name="connsiteX74" fmla="*/ 7074 w 10000"/>
                <a:gd name="connsiteY74" fmla="*/ 6919 h 10000"/>
                <a:gd name="connsiteX75" fmla="*/ 7152 w 10000"/>
                <a:gd name="connsiteY75" fmla="*/ 6735 h 10000"/>
                <a:gd name="connsiteX76" fmla="*/ 7130 w 10000"/>
                <a:gd name="connsiteY76" fmla="*/ 6679 h 10000"/>
                <a:gd name="connsiteX77" fmla="*/ 6729 w 10000"/>
                <a:gd name="connsiteY77" fmla="*/ 6539 h 10000"/>
                <a:gd name="connsiteX78" fmla="*/ 6785 w 10000"/>
                <a:gd name="connsiteY78" fmla="*/ 6534 h 10000"/>
                <a:gd name="connsiteX79" fmla="*/ 6998 w 10000"/>
                <a:gd name="connsiteY79" fmla="*/ 6570 h 10000"/>
                <a:gd name="connsiteX80" fmla="*/ 7230 w 10000"/>
                <a:gd name="connsiteY80" fmla="*/ 6557 h 10000"/>
                <a:gd name="connsiteX81" fmla="*/ 7295 w 10000"/>
                <a:gd name="connsiteY81" fmla="*/ 6506 h 10000"/>
                <a:gd name="connsiteX82" fmla="*/ 7074 w 10000"/>
                <a:gd name="connsiteY82" fmla="*/ 6411 h 10000"/>
                <a:gd name="connsiteX83" fmla="*/ 6414 w 10000"/>
                <a:gd name="connsiteY83" fmla="*/ 6349 h 10000"/>
                <a:gd name="connsiteX84" fmla="*/ 6458 w 10000"/>
                <a:gd name="connsiteY84" fmla="*/ 6320 h 10000"/>
                <a:gd name="connsiteX85" fmla="*/ 6998 w 10000"/>
                <a:gd name="connsiteY85" fmla="*/ 6300 h 10000"/>
                <a:gd name="connsiteX86" fmla="*/ 7295 w 10000"/>
                <a:gd name="connsiteY86" fmla="*/ 6358 h 10000"/>
                <a:gd name="connsiteX87" fmla="*/ 7466 w 10000"/>
                <a:gd name="connsiteY87" fmla="*/ 6320 h 10000"/>
                <a:gd name="connsiteX88" fmla="*/ 7529 w 10000"/>
                <a:gd name="connsiteY88" fmla="*/ 6221 h 10000"/>
                <a:gd name="connsiteX89" fmla="*/ 7840 w 10000"/>
                <a:gd name="connsiteY89" fmla="*/ 6221 h 10000"/>
                <a:gd name="connsiteX90" fmla="*/ 8261 w 10000"/>
                <a:gd name="connsiteY90" fmla="*/ 6023 h 10000"/>
                <a:gd name="connsiteX91" fmla="*/ 8275 w 10000"/>
                <a:gd name="connsiteY91" fmla="*/ 5890 h 10000"/>
                <a:gd name="connsiteX92" fmla="*/ 8453 w 10000"/>
                <a:gd name="connsiteY92" fmla="*/ 5920 h 10000"/>
                <a:gd name="connsiteX93" fmla="*/ 8446 w 10000"/>
                <a:gd name="connsiteY93" fmla="*/ 6053 h 10000"/>
                <a:gd name="connsiteX94" fmla="*/ 8727 w 10000"/>
                <a:gd name="connsiteY94" fmla="*/ 6044 h 10000"/>
                <a:gd name="connsiteX95" fmla="*/ 8913 w 10000"/>
                <a:gd name="connsiteY95" fmla="*/ 5906 h 10000"/>
                <a:gd name="connsiteX96" fmla="*/ 9258 w 10000"/>
                <a:gd name="connsiteY96" fmla="*/ 5782 h 10000"/>
                <a:gd name="connsiteX97" fmla="*/ 9203 w 10000"/>
                <a:gd name="connsiteY97" fmla="*/ 5641 h 10000"/>
                <a:gd name="connsiteX98" fmla="*/ 9306 w 10000"/>
                <a:gd name="connsiteY98" fmla="*/ 5697 h 10000"/>
                <a:gd name="connsiteX99" fmla="*/ 9464 w 10000"/>
                <a:gd name="connsiteY99" fmla="*/ 5697 h 10000"/>
                <a:gd name="connsiteX100" fmla="*/ 9464 w 10000"/>
                <a:gd name="connsiteY100" fmla="*/ 5631 h 10000"/>
                <a:gd name="connsiteX101" fmla="*/ 9611 w 10000"/>
                <a:gd name="connsiteY101" fmla="*/ 5583 h 10000"/>
                <a:gd name="connsiteX102" fmla="*/ 9592 w 10000"/>
                <a:gd name="connsiteY102" fmla="*/ 5532 h 10000"/>
                <a:gd name="connsiteX103" fmla="*/ 8350 w 10000"/>
                <a:gd name="connsiteY103" fmla="*/ 5633 h 10000"/>
                <a:gd name="connsiteX104" fmla="*/ 8058 w 10000"/>
                <a:gd name="connsiteY104" fmla="*/ 5604 h 10000"/>
                <a:gd name="connsiteX105" fmla="*/ 7942 w 10000"/>
                <a:gd name="connsiteY105" fmla="*/ 5641 h 10000"/>
                <a:gd name="connsiteX106" fmla="*/ 7903 w 10000"/>
                <a:gd name="connsiteY106" fmla="*/ 5569 h 10000"/>
                <a:gd name="connsiteX107" fmla="*/ 7765 w 10000"/>
                <a:gd name="connsiteY107" fmla="*/ 5507 h 10000"/>
                <a:gd name="connsiteX108" fmla="*/ 7213 w 10000"/>
                <a:gd name="connsiteY108" fmla="*/ 5378 h 10000"/>
                <a:gd name="connsiteX109" fmla="*/ 6887 w 10000"/>
                <a:gd name="connsiteY109" fmla="*/ 5400 h 10000"/>
                <a:gd name="connsiteX110" fmla="*/ 6757 w 10000"/>
                <a:gd name="connsiteY110" fmla="*/ 5363 h 10000"/>
                <a:gd name="connsiteX111" fmla="*/ 6894 w 10000"/>
                <a:gd name="connsiteY111" fmla="*/ 5332 h 10000"/>
                <a:gd name="connsiteX112" fmla="*/ 6998 w 10000"/>
                <a:gd name="connsiteY112" fmla="*/ 5264 h 10000"/>
                <a:gd name="connsiteX113" fmla="*/ 7152 w 10000"/>
                <a:gd name="connsiteY113" fmla="*/ 5285 h 10000"/>
                <a:gd name="connsiteX114" fmla="*/ 7335 w 10000"/>
                <a:gd name="connsiteY114" fmla="*/ 5268 h 10000"/>
                <a:gd name="connsiteX115" fmla="*/ 7611 w 10000"/>
                <a:gd name="connsiteY115" fmla="*/ 5290 h 10000"/>
                <a:gd name="connsiteX116" fmla="*/ 7645 w 10000"/>
                <a:gd name="connsiteY116" fmla="*/ 5281 h 10000"/>
                <a:gd name="connsiteX117" fmla="*/ 7859 w 10000"/>
                <a:gd name="connsiteY117" fmla="*/ 5385 h 10000"/>
                <a:gd name="connsiteX118" fmla="*/ 8017 w 10000"/>
                <a:gd name="connsiteY118" fmla="*/ 5346 h 10000"/>
                <a:gd name="connsiteX119" fmla="*/ 8032 w 10000"/>
                <a:gd name="connsiteY119" fmla="*/ 5311 h 10000"/>
                <a:gd name="connsiteX120" fmla="*/ 8176 w 10000"/>
                <a:gd name="connsiteY120" fmla="*/ 5373 h 10000"/>
                <a:gd name="connsiteX121" fmla="*/ 8369 w 10000"/>
                <a:gd name="connsiteY121" fmla="*/ 5406 h 10000"/>
                <a:gd name="connsiteX122" fmla="*/ 8446 w 10000"/>
                <a:gd name="connsiteY122" fmla="*/ 5344 h 10000"/>
                <a:gd name="connsiteX123" fmla="*/ 8507 w 10000"/>
                <a:gd name="connsiteY123" fmla="*/ 5378 h 10000"/>
                <a:gd name="connsiteX124" fmla="*/ 8596 w 10000"/>
                <a:gd name="connsiteY124" fmla="*/ 5499 h 10000"/>
                <a:gd name="connsiteX125" fmla="*/ 8782 w 10000"/>
                <a:gd name="connsiteY125" fmla="*/ 5525 h 10000"/>
                <a:gd name="connsiteX126" fmla="*/ 9542 w 10000"/>
                <a:gd name="connsiteY126" fmla="*/ 5350 h 10000"/>
                <a:gd name="connsiteX127" fmla="*/ 9914 w 10000"/>
                <a:gd name="connsiteY127" fmla="*/ 5107 h 10000"/>
                <a:gd name="connsiteX128" fmla="*/ 10000 w 10000"/>
                <a:gd name="connsiteY128" fmla="*/ 4930 h 10000"/>
                <a:gd name="connsiteX129" fmla="*/ 9866 w 10000"/>
                <a:gd name="connsiteY129" fmla="*/ 4770 h 10000"/>
                <a:gd name="connsiteX130" fmla="*/ 9582 w 10000"/>
                <a:gd name="connsiteY130" fmla="*/ 4674 h 10000"/>
                <a:gd name="connsiteX131" fmla="*/ 9382 w 10000"/>
                <a:gd name="connsiteY131" fmla="*/ 4516 h 10000"/>
                <a:gd name="connsiteX132" fmla="*/ 9569 w 10000"/>
                <a:gd name="connsiteY132" fmla="*/ 4511 h 10000"/>
                <a:gd name="connsiteX133" fmla="*/ 9555 w 10000"/>
                <a:gd name="connsiteY133" fmla="*/ 4473 h 10000"/>
                <a:gd name="connsiteX134" fmla="*/ 9068 w 10000"/>
                <a:gd name="connsiteY134" fmla="*/ 4364 h 10000"/>
                <a:gd name="connsiteX135" fmla="*/ 9047 w 10000"/>
                <a:gd name="connsiteY135" fmla="*/ 4262 h 10000"/>
                <a:gd name="connsiteX136" fmla="*/ 8953 w 10000"/>
                <a:gd name="connsiteY136" fmla="*/ 4156 h 10000"/>
                <a:gd name="connsiteX137" fmla="*/ 8569 w 10000"/>
                <a:gd name="connsiteY137" fmla="*/ 4176 h 10000"/>
                <a:gd name="connsiteX138" fmla="*/ 8431 w 10000"/>
                <a:gd name="connsiteY138" fmla="*/ 4062 h 10000"/>
                <a:gd name="connsiteX139" fmla="*/ 8350 w 10000"/>
                <a:gd name="connsiteY139" fmla="*/ 4056 h 10000"/>
                <a:gd name="connsiteX140" fmla="*/ 8350 w 10000"/>
                <a:gd name="connsiteY140" fmla="*/ 4105 h 10000"/>
                <a:gd name="connsiteX141" fmla="*/ 8176 w 10000"/>
                <a:gd name="connsiteY141" fmla="*/ 4294 h 10000"/>
                <a:gd name="connsiteX142" fmla="*/ 7990 w 10000"/>
                <a:gd name="connsiteY142" fmla="*/ 4405 h 10000"/>
                <a:gd name="connsiteX143" fmla="*/ 7401 w 10000"/>
                <a:gd name="connsiteY143" fmla="*/ 4594 h 10000"/>
                <a:gd name="connsiteX144" fmla="*/ 7198 w 10000"/>
                <a:gd name="connsiteY144" fmla="*/ 4588 h 10000"/>
                <a:gd name="connsiteX145" fmla="*/ 6915 w 10000"/>
                <a:gd name="connsiteY145" fmla="*/ 4618 h 10000"/>
                <a:gd name="connsiteX146" fmla="*/ 6757 w 10000"/>
                <a:gd name="connsiteY146" fmla="*/ 4588 h 10000"/>
                <a:gd name="connsiteX147" fmla="*/ 6965 w 10000"/>
                <a:gd name="connsiteY147" fmla="*/ 4534 h 10000"/>
                <a:gd name="connsiteX148" fmla="*/ 7235 w 10000"/>
                <a:gd name="connsiteY148" fmla="*/ 4511 h 10000"/>
                <a:gd name="connsiteX149" fmla="*/ 7455 w 10000"/>
                <a:gd name="connsiteY149" fmla="*/ 4423 h 10000"/>
                <a:gd name="connsiteX150" fmla="*/ 7674 w 10000"/>
                <a:gd name="connsiteY150" fmla="*/ 4381 h 10000"/>
                <a:gd name="connsiteX151" fmla="*/ 8082 w 10000"/>
                <a:gd name="connsiteY151" fmla="*/ 4225 h 10000"/>
                <a:gd name="connsiteX152" fmla="*/ 8157 w 10000"/>
                <a:gd name="connsiteY152" fmla="*/ 4125 h 10000"/>
                <a:gd name="connsiteX153" fmla="*/ 8165 w 10000"/>
                <a:gd name="connsiteY153" fmla="*/ 3994 h 10000"/>
                <a:gd name="connsiteX154" fmla="*/ 7978 w 10000"/>
                <a:gd name="connsiteY154" fmla="*/ 3972 h 10000"/>
                <a:gd name="connsiteX155" fmla="*/ 8058 w 10000"/>
                <a:gd name="connsiteY155" fmla="*/ 3892 h 10000"/>
                <a:gd name="connsiteX156" fmla="*/ 8087 w 10000"/>
                <a:gd name="connsiteY156" fmla="*/ 3791 h 10000"/>
                <a:gd name="connsiteX157" fmla="*/ 8007 w 10000"/>
                <a:gd name="connsiteY157" fmla="*/ 3697 h 10000"/>
                <a:gd name="connsiteX158" fmla="*/ 3760 w 10000"/>
                <a:gd name="connsiteY158" fmla="*/ 0 h 10000"/>
                <a:gd name="connsiteX159" fmla="*/ 3405 w 10000"/>
                <a:gd name="connsiteY159" fmla="*/ 83 h 10000"/>
                <a:gd name="connsiteX160" fmla="*/ 2832 w 10000"/>
                <a:gd name="connsiteY160" fmla="*/ 345 h 10000"/>
                <a:gd name="connsiteX161" fmla="*/ 2528 w 10000"/>
                <a:gd name="connsiteY161" fmla="*/ 662 h 10000"/>
                <a:gd name="connsiteX162" fmla="*/ 2555 w 10000"/>
                <a:gd name="connsiteY162" fmla="*/ 838 h 10000"/>
                <a:gd name="connsiteX163" fmla="*/ 2661 w 10000"/>
                <a:gd name="connsiteY163" fmla="*/ 972 h 10000"/>
                <a:gd name="connsiteX164" fmla="*/ 2375 w 10000"/>
                <a:gd name="connsiteY164" fmla="*/ 1896 h 10000"/>
                <a:gd name="connsiteX165" fmla="*/ 2226 w 10000"/>
                <a:gd name="connsiteY165" fmla="*/ 2522 h 10000"/>
                <a:gd name="connsiteX166" fmla="*/ 2375 w 10000"/>
                <a:gd name="connsiteY166" fmla="*/ 2680 h 10000"/>
                <a:gd name="connsiteX167" fmla="*/ 2791 w 10000"/>
                <a:gd name="connsiteY167" fmla="*/ 2856 h 10000"/>
                <a:gd name="connsiteX168" fmla="*/ 2808 w 10000"/>
                <a:gd name="connsiteY168" fmla="*/ 3068 h 10000"/>
                <a:gd name="connsiteX169" fmla="*/ 2632 w 10000"/>
                <a:gd name="connsiteY169" fmla="*/ 3245 h 10000"/>
                <a:gd name="connsiteX170" fmla="*/ 2375 w 10000"/>
                <a:gd name="connsiteY170" fmla="*/ 3353 h 10000"/>
                <a:gd name="connsiteX171" fmla="*/ 2039 w 10000"/>
                <a:gd name="connsiteY171" fmla="*/ 3396 h 10000"/>
                <a:gd name="connsiteX172" fmla="*/ 1950 w 10000"/>
                <a:gd name="connsiteY172" fmla="*/ 3459 h 10000"/>
                <a:gd name="connsiteX173" fmla="*/ 2148 w 10000"/>
                <a:gd name="connsiteY173" fmla="*/ 3606 h 10000"/>
                <a:gd name="connsiteX174" fmla="*/ 2261 w 10000"/>
                <a:gd name="connsiteY174" fmla="*/ 3955 h 10000"/>
                <a:gd name="connsiteX175" fmla="*/ 2005 w 10000"/>
                <a:gd name="connsiteY175" fmla="*/ 4254 h 10000"/>
                <a:gd name="connsiteX176" fmla="*/ 2094 w 10000"/>
                <a:gd name="connsiteY176" fmla="*/ 4345 h 10000"/>
                <a:gd name="connsiteX177" fmla="*/ 2012 w 10000"/>
                <a:gd name="connsiteY177" fmla="*/ 4501 h 10000"/>
                <a:gd name="connsiteX178" fmla="*/ 1850 w 10000"/>
                <a:gd name="connsiteY178" fmla="*/ 4610 h 10000"/>
                <a:gd name="connsiteX179" fmla="*/ 1199 w 10000"/>
                <a:gd name="connsiteY179" fmla="*/ 4692 h 10000"/>
                <a:gd name="connsiteX180" fmla="*/ 1158 w 10000"/>
                <a:gd name="connsiteY180" fmla="*/ 4837 h 10000"/>
                <a:gd name="connsiteX181" fmla="*/ 808 w 10000"/>
                <a:gd name="connsiteY181" fmla="*/ 5051 h 10000"/>
                <a:gd name="connsiteX182" fmla="*/ 854 w 10000"/>
                <a:gd name="connsiteY182" fmla="*/ 5361 h 10000"/>
                <a:gd name="connsiteX183" fmla="*/ 560 w 10000"/>
                <a:gd name="connsiteY183" fmla="*/ 5758 h 10000"/>
                <a:gd name="connsiteX184" fmla="*/ 358 w 10000"/>
                <a:gd name="connsiteY184" fmla="*/ 5804 h 10000"/>
                <a:gd name="connsiteX185" fmla="*/ 275 w 10000"/>
                <a:gd name="connsiteY185" fmla="*/ 5710 h 10000"/>
                <a:gd name="connsiteX186" fmla="*/ 174 w 10000"/>
                <a:gd name="connsiteY186" fmla="*/ 5852 h 10000"/>
                <a:gd name="connsiteX187" fmla="*/ 239 w 10000"/>
                <a:gd name="connsiteY187" fmla="*/ 5606 h 10000"/>
                <a:gd name="connsiteX188" fmla="*/ 197 w 10000"/>
                <a:gd name="connsiteY188" fmla="*/ 5560 h 10000"/>
                <a:gd name="connsiteX0" fmla="*/ 197 w 10000"/>
                <a:gd name="connsiteY0" fmla="*/ 5560 h 10000"/>
                <a:gd name="connsiteX1" fmla="*/ 0 w 10000"/>
                <a:gd name="connsiteY1" fmla="*/ 5688 h 10000"/>
                <a:gd name="connsiteX2" fmla="*/ 0 w 10000"/>
                <a:gd name="connsiteY2" fmla="*/ 6320 h 10000"/>
                <a:gd name="connsiteX3" fmla="*/ 109 w 10000"/>
                <a:gd name="connsiteY3" fmla="*/ 6337 h 10000"/>
                <a:gd name="connsiteX4" fmla="*/ 134 w 10000"/>
                <a:gd name="connsiteY4" fmla="*/ 6386 h 10000"/>
                <a:gd name="connsiteX5" fmla="*/ 130 w 10000"/>
                <a:gd name="connsiteY5" fmla="*/ 6472 h 10000"/>
                <a:gd name="connsiteX6" fmla="*/ 89 w 10000"/>
                <a:gd name="connsiteY6" fmla="*/ 6510 h 10000"/>
                <a:gd name="connsiteX7" fmla="*/ 255 w 10000"/>
                <a:gd name="connsiteY7" fmla="*/ 6436 h 10000"/>
                <a:gd name="connsiteX8" fmla="*/ 325 w 10000"/>
                <a:gd name="connsiteY8" fmla="*/ 6365 h 10000"/>
                <a:gd name="connsiteX9" fmla="*/ 413 w 10000"/>
                <a:gd name="connsiteY9" fmla="*/ 6413 h 10000"/>
                <a:gd name="connsiteX10" fmla="*/ 316 w 10000"/>
                <a:gd name="connsiteY10" fmla="*/ 6518 h 10000"/>
                <a:gd name="connsiteX11" fmla="*/ 419 w 10000"/>
                <a:gd name="connsiteY11" fmla="*/ 6520 h 10000"/>
                <a:gd name="connsiteX12" fmla="*/ 469 w 10000"/>
                <a:gd name="connsiteY12" fmla="*/ 6546 h 10000"/>
                <a:gd name="connsiteX13" fmla="*/ 337 w 10000"/>
                <a:gd name="connsiteY13" fmla="*/ 6579 h 10000"/>
                <a:gd name="connsiteX14" fmla="*/ 130 w 10000"/>
                <a:gd name="connsiteY14" fmla="*/ 6685 h 10000"/>
                <a:gd name="connsiteX15" fmla="*/ 497 w 10000"/>
                <a:gd name="connsiteY15" fmla="*/ 6769 h 10000"/>
                <a:gd name="connsiteX16" fmla="*/ 545 w 10000"/>
                <a:gd name="connsiteY16" fmla="*/ 6887 h 10000"/>
                <a:gd name="connsiteX17" fmla="*/ 419 w 10000"/>
                <a:gd name="connsiteY17" fmla="*/ 7061 h 10000"/>
                <a:gd name="connsiteX18" fmla="*/ 688 w 10000"/>
                <a:gd name="connsiteY18" fmla="*/ 7051 h 10000"/>
                <a:gd name="connsiteX19" fmla="*/ 709 w 10000"/>
                <a:gd name="connsiteY19" fmla="*/ 7181 h 10000"/>
                <a:gd name="connsiteX20" fmla="*/ 530 w 10000"/>
                <a:gd name="connsiteY20" fmla="*/ 7273 h 10000"/>
                <a:gd name="connsiteX21" fmla="*/ 560 w 10000"/>
                <a:gd name="connsiteY21" fmla="*/ 7444 h 10000"/>
                <a:gd name="connsiteX22" fmla="*/ 489 w 10000"/>
                <a:gd name="connsiteY22" fmla="*/ 7580 h 10000"/>
                <a:gd name="connsiteX23" fmla="*/ 703 w 10000"/>
                <a:gd name="connsiteY23" fmla="*/ 7593 h 10000"/>
                <a:gd name="connsiteX24" fmla="*/ 909 w 10000"/>
                <a:gd name="connsiteY24" fmla="*/ 8110 h 10000"/>
                <a:gd name="connsiteX25" fmla="*/ 1150 w 10000"/>
                <a:gd name="connsiteY25" fmla="*/ 8238 h 10000"/>
                <a:gd name="connsiteX26" fmla="*/ 1255 w 10000"/>
                <a:gd name="connsiteY26" fmla="*/ 8379 h 10000"/>
                <a:gd name="connsiteX27" fmla="*/ 1514 w 10000"/>
                <a:gd name="connsiteY27" fmla="*/ 8479 h 10000"/>
                <a:gd name="connsiteX28" fmla="*/ 1684 w 10000"/>
                <a:gd name="connsiteY28" fmla="*/ 8610 h 10000"/>
                <a:gd name="connsiteX29" fmla="*/ 1661 w 10000"/>
                <a:gd name="connsiteY29" fmla="*/ 8703 h 10000"/>
                <a:gd name="connsiteX30" fmla="*/ 1496 w 10000"/>
                <a:gd name="connsiteY30" fmla="*/ 8737 h 10000"/>
                <a:gd name="connsiteX31" fmla="*/ 1316 w 10000"/>
                <a:gd name="connsiteY31" fmla="*/ 8715 h 10000"/>
                <a:gd name="connsiteX32" fmla="*/ 1260 w 10000"/>
                <a:gd name="connsiteY32" fmla="*/ 8752 h 10000"/>
                <a:gd name="connsiteX33" fmla="*/ 1397 w 10000"/>
                <a:gd name="connsiteY33" fmla="*/ 8953 h 10000"/>
                <a:gd name="connsiteX34" fmla="*/ 1205 w 10000"/>
                <a:gd name="connsiteY34" fmla="*/ 8936 h 10000"/>
                <a:gd name="connsiteX35" fmla="*/ 1040 w 10000"/>
                <a:gd name="connsiteY35" fmla="*/ 8887 h 10000"/>
                <a:gd name="connsiteX36" fmla="*/ 1012 w 10000"/>
                <a:gd name="connsiteY36" fmla="*/ 8962 h 10000"/>
                <a:gd name="connsiteX37" fmla="*/ 1557 w 10000"/>
                <a:gd name="connsiteY37" fmla="*/ 9650 h 10000"/>
                <a:gd name="connsiteX38" fmla="*/ 1469 w 10000"/>
                <a:gd name="connsiteY38" fmla="*/ 9714 h 10000"/>
                <a:gd name="connsiteX39" fmla="*/ 1408 w 10000"/>
                <a:gd name="connsiteY39" fmla="*/ 9846 h 10000"/>
                <a:gd name="connsiteX40" fmla="*/ 1329 w 10000"/>
                <a:gd name="connsiteY40" fmla="*/ 9856 h 10000"/>
                <a:gd name="connsiteX41" fmla="*/ 1281 w 10000"/>
                <a:gd name="connsiteY41" fmla="*/ 9915 h 10000"/>
                <a:gd name="connsiteX42" fmla="*/ 1609 w 10000"/>
                <a:gd name="connsiteY42" fmla="*/ 9920 h 10000"/>
                <a:gd name="connsiteX43" fmla="*/ 1900 w 10000"/>
                <a:gd name="connsiteY43" fmla="*/ 9977 h 10000"/>
                <a:gd name="connsiteX44" fmla="*/ 2383 w 10000"/>
                <a:gd name="connsiteY44" fmla="*/ 9917 h 10000"/>
                <a:gd name="connsiteX45" fmla="*/ 2816 w 10000"/>
                <a:gd name="connsiteY45" fmla="*/ 9929 h 10000"/>
                <a:gd name="connsiteX46" fmla="*/ 3072 w 10000"/>
                <a:gd name="connsiteY46" fmla="*/ 10000 h 10000"/>
                <a:gd name="connsiteX47" fmla="*/ 3212 w 10000"/>
                <a:gd name="connsiteY47" fmla="*/ 9952 h 10000"/>
                <a:gd name="connsiteX48" fmla="*/ 3348 w 10000"/>
                <a:gd name="connsiteY48" fmla="*/ 9793 h 10000"/>
                <a:gd name="connsiteX49" fmla="*/ 3313 w 10000"/>
                <a:gd name="connsiteY49" fmla="*/ 9532 h 10000"/>
                <a:gd name="connsiteX50" fmla="*/ 3642 w 10000"/>
                <a:gd name="connsiteY50" fmla="*/ 9244 h 10000"/>
                <a:gd name="connsiteX51" fmla="*/ 3883 w 10000"/>
                <a:gd name="connsiteY51" fmla="*/ 9290 h 10000"/>
                <a:gd name="connsiteX52" fmla="*/ 4025 w 10000"/>
                <a:gd name="connsiteY52" fmla="*/ 9175 h 10000"/>
                <a:gd name="connsiteX53" fmla="*/ 4294 w 10000"/>
                <a:gd name="connsiteY53" fmla="*/ 9108 h 10000"/>
                <a:gd name="connsiteX54" fmla="*/ 4658 w 10000"/>
                <a:gd name="connsiteY54" fmla="*/ 9124 h 10000"/>
                <a:gd name="connsiteX55" fmla="*/ 4878 w 10000"/>
                <a:gd name="connsiteY55" fmla="*/ 9169 h 10000"/>
                <a:gd name="connsiteX56" fmla="*/ 5170 w 10000"/>
                <a:gd name="connsiteY56" fmla="*/ 9150 h 10000"/>
                <a:gd name="connsiteX57" fmla="*/ 5464 w 10000"/>
                <a:gd name="connsiteY57" fmla="*/ 9199 h 10000"/>
                <a:gd name="connsiteX58" fmla="*/ 5759 w 10000"/>
                <a:gd name="connsiteY58" fmla="*/ 9206 h 10000"/>
                <a:gd name="connsiteX59" fmla="*/ 6419 w 10000"/>
                <a:gd name="connsiteY59" fmla="*/ 8530 h 10000"/>
                <a:gd name="connsiteX60" fmla="*/ 6586 w 10000"/>
                <a:gd name="connsiteY60" fmla="*/ 7978 h 10000"/>
                <a:gd name="connsiteX61" fmla="*/ 6855 w 10000"/>
                <a:gd name="connsiteY61" fmla="*/ 7734 h 10000"/>
                <a:gd name="connsiteX62" fmla="*/ 6855 w 10000"/>
                <a:gd name="connsiteY62" fmla="*/ 7604 h 10000"/>
                <a:gd name="connsiteX63" fmla="*/ 6757 w 10000"/>
                <a:gd name="connsiteY63" fmla="*/ 7533 h 10000"/>
                <a:gd name="connsiteX64" fmla="*/ 6915 w 10000"/>
                <a:gd name="connsiteY64" fmla="*/ 7416 h 10000"/>
                <a:gd name="connsiteX65" fmla="*/ 6887 w 10000"/>
                <a:gd name="connsiteY65" fmla="*/ 7320 h 10000"/>
                <a:gd name="connsiteX66" fmla="*/ 6779 w 10000"/>
                <a:gd name="connsiteY66" fmla="*/ 7238 h 10000"/>
                <a:gd name="connsiteX67" fmla="*/ 6757 w 10000"/>
                <a:gd name="connsiteY67" fmla="*/ 7175 h 10000"/>
                <a:gd name="connsiteX68" fmla="*/ 6785 w 10000"/>
                <a:gd name="connsiteY68" fmla="*/ 7129 h 10000"/>
                <a:gd name="connsiteX69" fmla="*/ 6931 w 10000"/>
                <a:gd name="connsiteY69" fmla="*/ 7166 h 10000"/>
                <a:gd name="connsiteX70" fmla="*/ 7045 w 10000"/>
                <a:gd name="connsiteY70" fmla="*/ 7164 h 10000"/>
                <a:gd name="connsiteX71" fmla="*/ 6983 w 10000"/>
                <a:gd name="connsiteY71" fmla="*/ 7086 h 10000"/>
                <a:gd name="connsiteX72" fmla="*/ 7003 w 10000"/>
                <a:gd name="connsiteY72" fmla="*/ 7039 h 10000"/>
                <a:gd name="connsiteX73" fmla="*/ 7089 w 10000"/>
                <a:gd name="connsiteY73" fmla="*/ 6973 h 10000"/>
                <a:gd name="connsiteX74" fmla="*/ 7074 w 10000"/>
                <a:gd name="connsiteY74" fmla="*/ 6919 h 10000"/>
                <a:gd name="connsiteX75" fmla="*/ 7152 w 10000"/>
                <a:gd name="connsiteY75" fmla="*/ 6735 h 10000"/>
                <a:gd name="connsiteX76" fmla="*/ 7130 w 10000"/>
                <a:gd name="connsiteY76" fmla="*/ 6679 h 10000"/>
                <a:gd name="connsiteX77" fmla="*/ 6729 w 10000"/>
                <a:gd name="connsiteY77" fmla="*/ 6539 h 10000"/>
                <a:gd name="connsiteX78" fmla="*/ 6785 w 10000"/>
                <a:gd name="connsiteY78" fmla="*/ 6534 h 10000"/>
                <a:gd name="connsiteX79" fmla="*/ 6998 w 10000"/>
                <a:gd name="connsiteY79" fmla="*/ 6570 h 10000"/>
                <a:gd name="connsiteX80" fmla="*/ 7230 w 10000"/>
                <a:gd name="connsiteY80" fmla="*/ 6557 h 10000"/>
                <a:gd name="connsiteX81" fmla="*/ 7295 w 10000"/>
                <a:gd name="connsiteY81" fmla="*/ 6506 h 10000"/>
                <a:gd name="connsiteX82" fmla="*/ 7074 w 10000"/>
                <a:gd name="connsiteY82" fmla="*/ 6411 h 10000"/>
                <a:gd name="connsiteX83" fmla="*/ 6414 w 10000"/>
                <a:gd name="connsiteY83" fmla="*/ 6349 h 10000"/>
                <a:gd name="connsiteX84" fmla="*/ 6458 w 10000"/>
                <a:gd name="connsiteY84" fmla="*/ 6320 h 10000"/>
                <a:gd name="connsiteX85" fmla="*/ 6998 w 10000"/>
                <a:gd name="connsiteY85" fmla="*/ 6300 h 10000"/>
                <a:gd name="connsiteX86" fmla="*/ 7295 w 10000"/>
                <a:gd name="connsiteY86" fmla="*/ 6358 h 10000"/>
                <a:gd name="connsiteX87" fmla="*/ 7466 w 10000"/>
                <a:gd name="connsiteY87" fmla="*/ 6320 h 10000"/>
                <a:gd name="connsiteX88" fmla="*/ 7529 w 10000"/>
                <a:gd name="connsiteY88" fmla="*/ 6221 h 10000"/>
                <a:gd name="connsiteX89" fmla="*/ 7840 w 10000"/>
                <a:gd name="connsiteY89" fmla="*/ 6221 h 10000"/>
                <a:gd name="connsiteX90" fmla="*/ 8261 w 10000"/>
                <a:gd name="connsiteY90" fmla="*/ 6023 h 10000"/>
                <a:gd name="connsiteX91" fmla="*/ 8275 w 10000"/>
                <a:gd name="connsiteY91" fmla="*/ 5890 h 10000"/>
                <a:gd name="connsiteX92" fmla="*/ 8453 w 10000"/>
                <a:gd name="connsiteY92" fmla="*/ 5920 h 10000"/>
                <a:gd name="connsiteX93" fmla="*/ 8446 w 10000"/>
                <a:gd name="connsiteY93" fmla="*/ 6053 h 10000"/>
                <a:gd name="connsiteX94" fmla="*/ 8727 w 10000"/>
                <a:gd name="connsiteY94" fmla="*/ 6044 h 10000"/>
                <a:gd name="connsiteX95" fmla="*/ 8913 w 10000"/>
                <a:gd name="connsiteY95" fmla="*/ 5906 h 10000"/>
                <a:gd name="connsiteX96" fmla="*/ 9258 w 10000"/>
                <a:gd name="connsiteY96" fmla="*/ 5782 h 10000"/>
                <a:gd name="connsiteX97" fmla="*/ 9203 w 10000"/>
                <a:gd name="connsiteY97" fmla="*/ 5641 h 10000"/>
                <a:gd name="connsiteX98" fmla="*/ 9306 w 10000"/>
                <a:gd name="connsiteY98" fmla="*/ 5697 h 10000"/>
                <a:gd name="connsiteX99" fmla="*/ 9464 w 10000"/>
                <a:gd name="connsiteY99" fmla="*/ 5697 h 10000"/>
                <a:gd name="connsiteX100" fmla="*/ 9464 w 10000"/>
                <a:gd name="connsiteY100" fmla="*/ 5631 h 10000"/>
                <a:gd name="connsiteX101" fmla="*/ 9611 w 10000"/>
                <a:gd name="connsiteY101" fmla="*/ 5583 h 10000"/>
                <a:gd name="connsiteX102" fmla="*/ 9592 w 10000"/>
                <a:gd name="connsiteY102" fmla="*/ 5532 h 10000"/>
                <a:gd name="connsiteX103" fmla="*/ 8350 w 10000"/>
                <a:gd name="connsiteY103" fmla="*/ 5633 h 10000"/>
                <a:gd name="connsiteX104" fmla="*/ 8058 w 10000"/>
                <a:gd name="connsiteY104" fmla="*/ 5604 h 10000"/>
                <a:gd name="connsiteX105" fmla="*/ 7942 w 10000"/>
                <a:gd name="connsiteY105" fmla="*/ 5641 h 10000"/>
                <a:gd name="connsiteX106" fmla="*/ 7903 w 10000"/>
                <a:gd name="connsiteY106" fmla="*/ 5569 h 10000"/>
                <a:gd name="connsiteX107" fmla="*/ 7765 w 10000"/>
                <a:gd name="connsiteY107" fmla="*/ 5507 h 10000"/>
                <a:gd name="connsiteX108" fmla="*/ 7213 w 10000"/>
                <a:gd name="connsiteY108" fmla="*/ 5378 h 10000"/>
                <a:gd name="connsiteX109" fmla="*/ 6887 w 10000"/>
                <a:gd name="connsiteY109" fmla="*/ 5400 h 10000"/>
                <a:gd name="connsiteX110" fmla="*/ 6757 w 10000"/>
                <a:gd name="connsiteY110" fmla="*/ 5363 h 10000"/>
                <a:gd name="connsiteX111" fmla="*/ 6894 w 10000"/>
                <a:gd name="connsiteY111" fmla="*/ 5332 h 10000"/>
                <a:gd name="connsiteX112" fmla="*/ 6998 w 10000"/>
                <a:gd name="connsiteY112" fmla="*/ 5264 h 10000"/>
                <a:gd name="connsiteX113" fmla="*/ 7152 w 10000"/>
                <a:gd name="connsiteY113" fmla="*/ 5285 h 10000"/>
                <a:gd name="connsiteX114" fmla="*/ 7335 w 10000"/>
                <a:gd name="connsiteY114" fmla="*/ 5268 h 10000"/>
                <a:gd name="connsiteX115" fmla="*/ 7611 w 10000"/>
                <a:gd name="connsiteY115" fmla="*/ 5290 h 10000"/>
                <a:gd name="connsiteX116" fmla="*/ 7645 w 10000"/>
                <a:gd name="connsiteY116" fmla="*/ 5281 h 10000"/>
                <a:gd name="connsiteX117" fmla="*/ 7859 w 10000"/>
                <a:gd name="connsiteY117" fmla="*/ 5385 h 10000"/>
                <a:gd name="connsiteX118" fmla="*/ 8017 w 10000"/>
                <a:gd name="connsiteY118" fmla="*/ 5346 h 10000"/>
                <a:gd name="connsiteX119" fmla="*/ 8032 w 10000"/>
                <a:gd name="connsiteY119" fmla="*/ 5311 h 10000"/>
                <a:gd name="connsiteX120" fmla="*/ 8176 w 10000"/>
                <a:gd name="connsiteY120" fmla="*/ 5373 h 10000"/>
                <a:gd name="connsiteX121" fmla="*/ 8369 w 10000"/>
                <a:gd name="connsiteY121" fmla="*/ 5406 h 10000"/>
                <a:gd name="connsiteX122" fmla="*/ 8446 w 10000"/>
                <a:gd name="connsiteY122" fmla="*/ 5344 h 10000"/>
                <a:gd name="connsiteX123" fmla="*/ 8507 w 10000"/>
                <a:gd name="connsiteY123" fmla="*/ 5378 h 10000"/>
                <a:gd name="connsiteX124" fmla="*/ 8596 w 10000"/>
                <a:gd name="connsiteY124" fmla="*/ 5499 h 10000"/>
                <a:gd name="connsiteX125" fmla="*/ 8782 w 10000"/>
                <a:gd name="connsiteY125" fmla="*/ 5525 h 10000"/>
                <a:gd name="connsiteX126" fmla="*/ 9542 w 10000"/>
                <a:gd name="connsiteY126" fmla="*/ 5350 h 10000"/>
                <a:gd name="connsiteX127" fmla="*/ 9914 w 10000"/>
                <a:gd name="connsiteY127" fmla="*/ 5107 h 10000"/>
                <a:gd name="connsiteX128" fmla="*/ 10000 w 10000"/>
                <a:gd name="connsiteY128" fmla="*/ 4930 h 10000"/>
                <a:gd name="connsiteX129" fmla="*/ 9866 w 10000"/>
                <a:gd name="connsiteY129" fmla="*/ 4770 h 10000"/>
                <a:gd name="connsiteX130" fmla="*/ 9582 w 10000"/>
                <a:gd name="connsiteY130" fmla="*/ 4674 h 10000"/>
                <a:gd name="connsiteX131" fmla="*/ 9382 w 10000"/>
                <a:gd name="connsiteY131" fmla="*/ 4516 h 10000"/>
                <a:gd name="connsiteX132" fmla="*/ 9569 w 10000"/>
                <a:gd name="connsiteY132" fmla="*/ 4511 h 10000"/>
                <a:gd name="connsiteX133" fmla="*/ 9555 w 10000"/>
                <a:gd name="connsiteY133" fmla="*/ 4473 h 10000"/>
                <a:gd name="connsiteX134" fmla="*/ 9068 w 10000"/>
                <a:gd name="connsiteY134" fmla="*/ 4364 h 10000"/>
                <a:gd name="connsiteX135" fmla="*/ 9047 w 10000"/>
                <a:gd name="connsiteY135" fmla="*/ 4262 h 10000"/>
                <a:gd name="connsiteX136" fmla="*/ 8953 w 10000"/>
                <a:gd name="connsiteY136" fmla="*/ 4156 h 10000"/>
                <a:gd name="connsiteX137" fmla="*/ 8569 w 10000"/>
                <a:gd name="connsiteY137" fmla="*/ 4176 h 10000"/>
                <a:gd name="connsiteX138" fmla="*/ 8431 w 10000"/>
                <a:gd name="connsiteY138" fmla="*/ 4062 h 10000"/>
                <a:gd name="connsiteX139" fmla="*/ 8350 w 10000"/>
                <a:gd name="connsiteY139" fmla="*/ 4056 h 10000"/>
                <a:gd name="connsiteX140" fmla="*/ 8350 w 10000"/>
                <a:gd name="connsiteY140" fmla="*/ 4105 h 10000"/>
                <a:gd name="connsiteX141" fmla="*/ 8176 w 10000"/>
                <a:gd name="connsiteY141" fmla="*/ 4294 h 10000"/>
                <a:gd name="connsiteX142" fmla="*/ 7990 w 10000"/>
                <a:gd name="connsiteY142" fmla="*/ 4405 h 10000"/>
                <a:gd name="connsiteX143" fmla="*/ 7401 w 10000"/>
                <a:gd name="connsiteY143" fmla="*/ 4594 h 10000"/>
                <a:gd name="connsiteX144" fmla="*/ 7198 w 10000"/>
                <a:gd name="connsiteY144" fmla="*/ 4588 h 10000"/>
                <a:gd name="connsiteX145" fmla="*/ 6915 w 10000"/>
                <a:gd name="connsiteY145" fmla="*/ 4618 h 10000"/>
                <a:gd name="connsiteX146" fmla="*/ 6757 w 10000"/>
                <a:gd name="connsiteY146" fmla="*/ 4588 h 10000"/>
                <a:gd name="connsiteX147" fmla="*/ 6965 w 10000"/>
                <a:gd name="connsiteY147" fmla="*/ 4534 h 10000"/>
                <a:gd name="connsiteX148" fmla="*/ 7235 w 10000"/>
                <a:gd name="connsiteY148" fmla="*/ 4511 h 10000"/>
                <a:gd name="connsiteX149" fmla="*/ 7455 w 10000"/>
                <a:gd name="connsiteY149" fmla="*/ 4423 h 10000"/>
                <a:gd name="connsiteX150" fmla="*/ 7674 w 10000"/>
                <a:gd name="connsiteY150" fmla="*/ 4381 h 10000"/>
                <a:gd name="connsiteX151" fmla="*/ 8082 w 10000"/>
                <a:gd name="connsiteY151" fmla="*/ 4225 h 10000"/>
                <a:gd name="connsiteX152" fmla="*/ 8157 w 10000"/>
                <a:gd name="connsiteY152" fmla="*/ 4125 h 10000"/>
                <a:gd name="connsiteX153" fmla="*/ 8165 w 10000"/>
                <a:gd name="connsiteY153" fmla="*/ 3994 h 10000"/>
                <a:gd name="connsiteX154" fmla="*/ 7978 w 10000"/>
                <a:gd name="connsiteY154" fmla="*/ 3972 h 10000"/>
                <a:gd name="connsiteX155" fmla="*/ 8058 w 10000"/>
                <a:gd name="connsiteY155" fmla="*/ 3892 h 10000"/>
                <a:gd name="connsiteX156" fmla="*/ 8087 w 10000"/>
                <a:gd name="connsiteY156" fmla="*/ 3791 h 10000"/>
                <a:gd name="connsiteX157" fmla="*/ 8007 w 10000"/>
                <a:gd name="connsiteY157" fmla="*/ 3697 h 10000"/>
                <a:gd name="connsiteX158" fmla="*/ 3760 w 10000"/>
                <a:gd name="connsiteY158" fmla="*/ 0 h 10000"/>
                <a:gd name="connsiteX159" fmla="*/ 3405 w 10000"/>
                <a:gd name="connsiteY159" fmla="*/ 83 h 10000"/>
                <a:gd name="connsiteX160" fmla="*/ 2832 w 10000"/>
                <a:gd name="connsiteY160" fmla="*/ 345 h 10000"/>
                <a:gd name="connsiteX161" fmla="*/ 2528 w 10000"/>
                <a:gd name="connsiteY161" fmla="*/ 662 h 10000"/>
                <a:gd name="connsiteX162" fmla="*/ 2555 w 10000"/>
                <a:gd name="connsiteY162" fmla="*/ 838 h 10000"/>
                <a:gd name="connsiteX163" fmla="*/ 2375 w 10000"/>
                <a:gd name="connsiteY163" fmla="*/ 1896 h 10000"/>
                <a:gd name="connsiteX164" fmla="*/ 2226 w 10000"/>
                <a:gd name="connsiteY164" fmla="*/ 2522 h 10000"/>
                <a:gd name="connsiteX165" fmla="*/ 2375 w 10000"/>
                <a:gd name="connsiteY165" fmla="*/ 2680 h 10000"/>
                <a:gd name="connsiteX166" fmla="*/ 2791 w 10000"/>
                <a:gd name="connsiteY166" fmla="*/ 2856 h 10000"/>
                <a:gd name="connsiteX167" fmla="*/ 2808 w 10000"/>
                <a:gd name="connsiteY167" fmla="*/ 3068 h 10000"/>
                <a:gd name="connsiteX168" fmla="*/ 2632 w 10000"/>
                <a:gd name="connsiteY168" fmla="*/ 3245 h 10000"/>
                <a:gd name="connsiteX169" fmla="*/ 2375 w 10000"/>
                <a:gd name="connsiteY169" fmla="*/ 3353 h 10000"/>
                <a:gd name="connsiteX170" fmla="*/ 2039 w 10000"/>
                <a:gd name="connsiteY170" fmla="*/ 3396 h 10000"/>
                <a:gd name="connsiteX171" fmla="*/ 1950 w 10000"/>
                <a:gd name="connsiteY171" fmla="*/ 3459 h 10000"/>
                <a:gd name="connsiteX172" fmla="*/ 2148 w 10000"/>
                <a:gd name="connsiteY172" fmla="*/ 3606 h 10000"/>
                <a:gd name="connsiteX173" fmla="*/ 2261 w 10000"/>
                <a:gd name="connsiteY173" fmla="*/ 3955 h 10000"/>
                <a:gd name="connsiteX174" fmla="*/ 2005 w 10000"/>
                <a:gd name="connsiteY174" fmla="*/ 4254 h 10000"/>
                <a:gd name="connsiteX175" fmla="*/ 2094 w 10000"/>
                <a:gd name="connsiteY175" fmla="*/ 4345 h 10000"/>
                <a:gd name="connsiteX176" fmla="*/ 2012 w 10000"/>
                <a:gd name="connsiteY176" fmla="*/ 4501 h 10000"/>
                <a:gd name="connsiteX177" fmla="*/ 1850 w 10000"/>
                <a:gd name="connsiteY177" fmla="*/ 4610 h 10000"/>
                <a:gd name="connsiteX178" fmla="*/ 1199 w 10000"/>
                <a:gd name="connsiteY178" fmla="*/ 4692 h 10000"/>
                <a:gd name="connsiteX179" fmla="*/ 1158 w 10000"/>
                <a:gd name="connsiteY179" fmla="*/ 4837 h 10000"/>
                <a:gd name="connsiteX180" fmla="*/ 808 w 10000"/>
                <a:gd name="connsiteY180" fmla="*/ 5051 h 10000"/>
                <a:gd name="connsiteX181" fmla="*/ 854 w 10000"/>
                <a:gd name="connsiteY181" fmla="*/ 5361 h 10000"/>
                <a:gd name="connsiteX182" fmla="*/ 560 w 10000"/>
                <a:gd name="connsiteY182" fmla="*/ 5758 h 10000"/>
                <a:gd name="connsiteX183" fmla="*/ 358 w 10000"/>
                <a:gd name="connsiteY183" fmla="*/ 5804 h 10000"/>
                <a:gd name="connsiteX184" fmla="*/ 275 w 10000"/>
                <a:gd name="connsiteY184" fmla="*/ 5710 h 10000"/>
                <a:gd name="connsiteX185" fmla="*/ 174 w 10000"/>
                <a:gd name="connsiteY185" fmla="*/ 5852 h 10000"/>
                <a:gd name="connsiteX186" fmla="*/ 239 w 10000"/>
                <a:gd name="connsiteY186" fmla="*/ 5606 h 10000"/>
                <a:gd name="connsiteX187" fmla="*/ 197 w 10000"/>
                <a:gd name="connsiteY187" fmla="*/ 5560 h 10000"/>
                <a:gd name="connsiteX0" fmla="*/ 197 w 10000"/>
                <a:gd name="connsiteY0" fmla="*/ 5560 h 10000"/>
                <a:gd name="connsiteX1" fmla="*/ 0 w 10000"/>
                <a:gd name="connsiteY1" fmla="*/ 5688 h 10000"/>
                <a:gd name="connsiteX2" fmla="*/ 0 w 10000"/>
                <a:gd name="connsiteY2" fmla="*/ 6320 h 10000"/>
                <a:gd name="connsiteX3" fmla="*/ 109 w 10000"/>
                <a:gd name="connsiteY3" fmla="*/ 6337 h 10000"/>
                <a:gd name="connsiteX4" fmla="*/ 134 w 10000"/>
                <a:gd name="connsiteY4" fmla="*/ 6386 h 10000"/>
                <a:gd name="connsiteX5" fmla="*/ 130 w 10000"/>
                <a:gd name="connsiteY5" fmla="*/ 6472 h 10000"/>
                <a:gd name="connsiteX6" fmla="*/ 89 w 10000"/>
                <a:gd name="connsiteY6" fmla="*/ 6510 h 10000"/>
                <a:gd name="connsiteX7" fmla="*/ 255 w 10000"/>
                <a:gd name="connsiteY7" fmla="*/ 6436 h 10000"/>
                <a:gd name="connsiteX8" fmla="*/ 325 w 10000"/>
                <a:gd name="connsiteY8" fmla="*/ 6365 h 10000"/>
                <a:gd name="connsiteX9" fmla="*/ 413 w 10000"/>
                <a:gd name="connsiteY9" fmla="*/ 6413 h 10000"/>
                <a:gd name="connsiteX10" fmla="*/ 316 w 10000"/>
                <a:gd name="connsiteY10" fmla="*/ 6518 h 10000"/>
                <a:gd name="connsiteX11" fmla="*/ 419 w 10000"/>
                <a:gd name="connsiteY11" fmla="*/ 6520 h 10000"/>
                <a:gd name="connsiteX12" fmla="*/ 469 w 10000"/>
                <a:gd name="connsiteY12" fmla="*/ 6546 h 10000"/>
                <a:gd name="connsiteX13" fmla="*/ 337 w 10000"/>
                <a:gd name="connsiteY13" fmla="*/ 6579 h 10000"/>
                <a:gd name="connsiteX14" fmla="*/ 130 w 10000"/>
                <a:gd name="connsiteY14" fmla="*/ 6685 h 10000"/>
                <a:gd name="connsiteX15" fmla="*/ 497 w 10000"/>
                <a:gd name="connsiteY15" fmla="*/ 6769 h 10000"/>
                <a:gd name="connsiteX16" fmla="*/ 545 w 10000"/>
                <a:gd name="connsiteY16" fmla="*/ 6887 h 10000"/>
                <a:gd name="connsiteX17" fmla="*/ 419 w 10000"/>
                <a:gd name="connsiteY17" fmla="*/ 7061 h 10000"/>
                <a:gd name="connsiteX18" fmla="*/ 688 w 10000"/>
                <a:gd name="connsiteY18" fmla="*/ 7051 h 10000"/>
                <a:gd name="connsiteX19" fmla="*/ 709 w 10000"/>
                <a:gd name="connsiteY19" fmla="*/ 7181 h 10000"/>
                <a:gd name="connsiteX20" fmla="*/ 530 w 10000"/>
                <a:gd name="connsiteY20" fmla="*/ 7273 h 10000"/>
                <a:gd name="connsiteX21" fmla="*/ 560 w 10000"/>
                <a:gd name="connsiteY21" fmla="*/ 7444 h 10000"/>
                <a:gd name="connsiteX22" fmla="*/ 489 w 10000"/>
                <a:gd name="connsiteY22" fmla="*/ 7580 h 10000"/>
                <a:gd name="connsiteX23" fmla="*/ 703 w 10000"/>
                <a:gd name="connsiteY23" fmla="*/ 7593 h 10000"/>
                <a:gd name="connsiteX24" fmla="*/ 909 w 10000"/>
                <a:gd name="connsiteY24" fmla="*/ 8110 h 10000"/>
                <a:gd name="connsiteX25" fmla="*/ 1150 w 10000"/>
                <a:gd name="connsiteY25" fmla="*/ 8238 h 10000"/>
                <a:gd name="connsiteX26" fmla="*/ 1255 w 10000"/>
                <a:gd name="connsiteY26" fmla="*/ 8379 h 10000"/>
                <a:gd name="connsiteX27" fmla="*/ 1514 w 10000"/>
                <a:gd name="connsiteY27" fmla="*/ 8479 h 10000"/>
                <a:gd name="connsiteX28" fmla="*/ 1684 w 10000"/>
                <a:gd name="connsiteY28" fmla="*/ 8610 h 10000"/>
                <a:gd name="connsiteX29" fmla="*/ 1661 w 10000"/>
                <a:gd name="connsiteY29" fmla="*/ 8703 h 10000"/>
                <a:gd name="connsiteX30" fmla="*/ 1496 w 10000"/>
                <a:gd name="connsiteY30" fmla="*/ 8737 h 10000"/>
                <a:gd name="connsiteX31" fmla="*/ 1316 w 10000"/>
                <a:gd name="connsiteY31" fmla="*/ 8715 h 10000"/>
                <a:gd name="connsiteX32" fmla="*/ 1260 w 10000"/>
                <a:gd name="connsiteY32" fmla="*/ 8752 h 10000"/>
                <a:gd name="connsiteX33" fmla="*/ 1397 w 10000"/>
                <a:gd name="connsiteY33" fmla="*/ 8953 h 10000"/>
                <a:gd name="connsiteX34" fmla="*/ 1205 w 10000"/>
                <a:gd name="connsiteY34" fmla="*/ 8936 h 10000"/>
                <a:gd name="connsiteX35" fmla="*/ 1040 w 10000"/>
                <a:gd name="connsiteY35" fmla="*/ 8887 h 10000"/>
                <a:gd name="connsiteX36" fmla="*/ 1012 w 10000"/>
                <a:gd name="connsiteY36" fmla="*/ 8962 h 10000"/>
                <a:gd name="connsiteX37" fmla="*/ 1557 w 10000"/>
                <a:gd name="connsiteY37" fmla="*/ 9650 h 10000"/>
                <a:gd name="connsiteX38" fmla="*/ 1469 w 10000"/>
                <a:gd name="connsiteY38" fmla="*/ 9714 h 10000"/>
                <a:gd name="connsiteX39" fmla="*/ 1408 w 10000"/>
                <a:gd name="connsiteY39" fmla="*/ 9846 h 10000"/>
                <a:gd name="connsiteX40" fmla="*/ 1329 w 10000"/>
                <a:gd name="connsiteY40" fmla="*/ 9856 h 10000"/>
                <a:gd name="connsiteX41" fmla="*/ 1281 w 10000"/>
                <a:gd name="connsiteY41" fmla="*/ 9915 h 10000"/>
                <a:gd name="connsiteX42" fmla="*/ 1609 w 10000"/>
                <a:gd name="connsiteY42" fmla="*/ 9920 h 10000"/>
                <a:gd name="connsiteX43" fmla="*/ 1900 w 10000"/>
                <a:gd name="connsiteY43" fmla="*/ 9977 h 10000"/>
                <a:gd name="connsiteX44" fmla="*/ 2383 w 10000"/>
                <a:gd name="connsiteY44" fmla="*/ 9917 h 10000"/>
                <a:gd name="connsiteX45" fmla="*/ 2816 w 10000"/>
                <a:gd name="connsiteY45" fmla="*/ 9929 h 10000"/>
                <a:gd name="connsiteX46" fmla="*/ 3072 w 10000"/>
                <a:gd name="connsiteY46" fmla="*/ 10000 h 10000"/>
                <a:gd name="connsiteX47" fmla="*/ 3212 w 10000"/>
                <a:gd name="connsiteY47" fmla="*/ 9952 h 10000"/>
                <a:gd name="connsiteX48" fmla="*/ 3348 w 10000"/>
                <a:gd name="connsiteY48" fmla="*/ 9793 h 10000"/>
                <a:gd name="connsiteX49" fmla="*/ 3313 w 10000"/>
                <a:gd name="connsiteY49" fmla="*/ 9532 h 10000"/>
                <a:gd name="connsiteX50" fmla="*/ 3642 w 10000"/>
                <a:gd name="connsiteY50" fmla="*/ 9244 h 10000"/>
                <a:gd name="connsiteX51" fmla="*/ 3883 w 10000"/>
                <a:gd name="connsiteY51" fmla="*/ 9290 h 10000"/>
                <a:gd name="connsiteX52" fmla="*/ 4025 w 10000"/>
                <a:gd name="connsiteY52" fmla="*/ 9175 h 10000"/>
                <a:gd name="connsiteX53" fmla="*/ 4294 w 10000"/>
                <a:gd name="connsiteY53" fmla="*/ 9108 h 10000"/>
                <a:gd name="connsiteX54" fmla="*/ 4658 w 10000"/>
                <a:gd name="connsiteY54" fmla="*/ 9124 h 10000"/>
                <a:gd name="connsiteX55" fmla="*/ 4878 w 10000"/>
                <a:gd name="connsiteY55" fmla="*/ 9169 h 10000"/>
                <a:gd name="connsiteX56" fmla="*/ 5170 w 10000"/>
                <a:gd name="connsiteY56" fmla="*/ 9150 h 10000"/>
                <a:gd name="connsiteX57" fmla="*/ 5464 w 10000"/>
                <a:gd name="connsiteY57" fmla="*/ 9199 h 10000"/>
                <a:gd name="connsiteX58" fmla="*/ 5759 w 10000"/>
                <a:gd name="connsiteY58" fmla="*/ 9206 h 10000"/>
                <a:gd name="connsiteX59" fmla="*/ 6419 w 10000"/>
                <a:gd name="connsiteY59" fmla="*/ 8530 h 10000"/>
                <a:gd name="connsiteX60" fmla="*/ 6586 w 10000"/>
                <a:gd name="connsiteY60" fmla="*/ 7978 h 10000"/>
                <a:gd name="connsiteX61" fmla="*/ 6855 w 10000"/>
                <a:gd name="connsiteY61" fmla="*/ 7734 h 10000"/>
                <a:gd name="connsiteX62" fmla="*/ 6855 w 10000"/>
                <a:gd name="connsiteY62" fmla="*/ 7604 h 10000"/>
                <a:gd name="connsiteX63" fmla="*/ 6757 w 10000"/>
                <a:gd name="connsiteY63" fmla="*/ 7533 h 10000"/>
                <a:gd name="connsiteX64" fmla="*/ 6915 w 10000"/>
                <a:gd name="connsiteY64" fmla="*/ 7416 h 10000"/>
                <a:gd name="connsiteX65" fmla="*/ 6887 w 10000"/>
                <a:gd name="connsiteY65" fmla="*/ 7320 h 10000"/>
                <a:gd name="connsiteX66" fmla="*/ 6779 w 10000"/>
                <a:gd name="connsiteY66" fmla="*/ 7238 h 10000"/>
                <a:gd name="connsiteX67" fmla="*/ 6757 w 10000"/>
                <a:gd name="connsiteY67" fmla="*/ 7175 h 10000"/>
                <a:gd name="connsiteX68" fmla="*/ 6785 w 10000"/>
                <a:gd name="connsiteY68" fmla="*/ 7129 h 10000"/>
                <a:gd name="connsiteX69" fmla="*/ 6931 w 10000"/>
                <a:gd name="connsiteY69" fmla="*/ 7166 h 10000"/>
                <a:gd name="connsiteX70" fmla="*/ 7045 w 10000"/>
                <a:gd name="connsiteY70" fmla="*/ 7164 h 10000"/>
                <a:gd name="connsiteX71" fmla="*/ 6983 w 10000"/>
                <a:gd name="connsiteY71" fmla="*/ 7086 h 10000"/>
                <a:gd name="connsiteX72" fmla="*/ 7003 w 10000"/>
                <a:gd name="connsiteY72" fmla="*/ 7039 h 10000"/>
                <a:gd name="connsiteX73" fmla="*/ 7089 w 10000"/>
                <a:gd name="connsiteY73" fmla="*/ 6973 h 10000"/>
                <a:gd name="connsiteX74" fmla="*/ 7074 w 10000"/>
                <a:gd name="connsiteY74" fmla="*/ 6919 h 10000"/>
                <a:gd name="connsiteX75" fmla="*/ 7152 w 10000"/>
                <a:gd name="connsiteY75" fmla="*/ 6735 h 10000"/>
                <a:gd name="connsiteX76" fmla="*/ 7130 w 10000"/>
                <a:gd name="connsiteY76" fmla="*/ 6679 h 10000"/>
                <a:gd name="connsiteX77" fmla="*/ 6729 w 10000"/>
                <a:gd name="connsiteY77" fmla="*/ 6539 h 10000"/>
                <a:gd name="connsiteX78" fmla="*/ 6785 w 10000"/>
                <a:gd name="connsiteY78" fmla="*/ 6534 h 10000"/>
                <a:gd name="connsiteX79" fmla="*/ 6998 w 10000"/>
                <a:gd name="connsiteY79" fmla="*/ 6570 h 10000"/>
                <a:gd name="connsiteX80" fmla="*/ 7230 w 10000"/>
                <a:gd name="connsiteY80" fmla="*/ 6557 h 10000"/>
                <a:gd name="connsiteX81" fmla="*/ 7295 w 10000"/>
                <a:gd name="connsiteY81" fmla="*/ 6506 h 10000"/>
                <a:gd name="connsiteX82" fmla="*/ 7074 w 10000"/>
                <a:gd name="connsiteY82" fmla="*/ 6411 h 10000"/>
                <a:gd name="connsiteX83" fmla="*/ 6414 w 10000"/>
                <a:gd name="connsiteY83" fmla="*/ 6349 h 10000"/>
                <a:gd name="connsiteX84" fmla="*/ 6458 w 10000"/>
                <a:gd name="connsiteY84" fmla="*/ 6320 h 10000"/>
                <a:gd name="connsiteX85" fmla="*/ 6998 w 10000"/>
                <a:gd name="connsiteY85" fmla="*/ 6300 h 10000"/>
                <a:gd name="connsiteX86" fmla="*/ 7295 w 10000"/>
                <a:gd name="connsiteY86" fmla="*/ 6358 h 10000"/>
                <a:gd name="connsiteX87" fmla="*/ 7466 w 10000"/>
                <a:gd name="connsiteY87" fmla="*/ 6320 h 10000"/>
                <a:gd name="connsiteX88" fmla="*/ 7529 w 10000"/>
                <a:gd name="connsiteY88" fmla="*/ 6221 h 10000"/>
                <a:gd name="connsiteX89" fmla="*/ 7840 w 10000"/>
                <a:gd name="connsiteY89" fmla="*/ 6221 h 10000"/>
                <a:gd name="connsiteX90" fmla="*/ 8261 w 10000"/>
                <a:gd name="connsiteY90" fmla="*/ 6023 h 10000"/>
                <a:gd name="connsiteX91" fmla="*/ 8275 w 10000"/>
                <a:gd name="connsiteY91" fmla="*/ 5890 h 10000"/>
                <a:gd name="connsiteX92" fmla="*/ 8453 w 10000"/>
                <a:gd name="connsiteY92" fmla="*/ 5920 h 10000"/>
                <a:gd name="connsiteX93" fmla="*/ 8446 w 10000"/>
                <a:gd name="connsiteY93" fmla="*/ 6053 h 10000"/>
                <a:gd name="connsiteX94" fmla="*/ 8727 w 10000"/>
                <a:gd name="connsiteY94" fmla="*/ 6044 h 10000"/>
                <a:gd name="connsiteX95" fmla="*/ 8913 w 10000"/>
                <a:gd name="connsiteY95" fmla="*/ 5906 h 10000"/>
                <a:gd name="connsiteX96" fmla="*/ 9258 w 10000"/>
                <a:gd name="connsiteY96" fmla="*/ 5782 h 10000"/>
                <a:gd name="connsiteX97" fmla="*/ 9203 w 10000"/>
                <a:gd name="connsiteY97" fmla="*/ 5641 h 10000"/>
                <a:gd name="connsiteX98" fmla="*/ 9306 w 10000"/>
                <a:gd name="connsiteY98" fmla="*/ 5697 h 10000"/>
                <a:gd name="connsiteX99" fmla="*/ 9464 w 10000"/>
                <a:gd name="connsiteY99" fmla="*/ 5697 h 10000"/>
                <a:gd name="connsiteX100" fmla="*/ 9464 w 10000"/>
                <a:gd name="connsiteY100" fmla="*/ 5631 h 10000"/>
                <a:gd name="connsiteX101" fmla="*/ 9611 w 10000"/>
                <a:gd name="connsiteY101" fmla="*/ 5583 h 10000"/>
                <a:gd name="connsiteX102" fmla="*/ 9592 w 10000"/>
                <a:gd name="connsiteY102" fmla="*/ 5532 h 10000"/>
                <a:gd name="connsiteX103" fmla="*/ 8350 w 10000"/>
                <a:gd name="connsiteY103" fmla="*/ 5633 h 10000"/>
                <a:gd name="connsiteX104" fmla="*/ 8058 w 10000"/>
                <a:gd name="connsiteY104" fmla="*/ 5604 h 10000"/>
                <a:gd name="connsiteX105" fmla="*/ 7942 w 10000"/>
                <a:gd name="connsiteY105" fmla="*/ 5641 h 10000"/>
                <a:gd name="connsiteX106" fmla="*/ 7903 w 10000"/>
                <a:gd name="connsiteY106" fmla="*/ 5569 h 10000"/>
                <a:gd name="connsiteX107" fmla="*/ 7765 w 10000"/>
                <a:gd name="connsiteY107" fmla="*/ 5507 h 10000"/>
                <a:gd name="connsiteX108" fmla="*/ 7213 w 10000"/>
                <a:gd name="connsiteY108" fmla="*/ 5378 h 10000"/>
                <a:gd name="connsiteX109" fmla="*/ 6887 w 10000"/>
                <a:gd name="connsiteY109" fmla="*/ 5400 h 10000"/>
                <a:gd name="connsiteX110" fmla="*/ 6757 w 10000"/>
                <a:gd name="connsiteY110" fmla="*/ 5363 h 10000"/>
                <a:gd name="connsiteX111" fmla="*/ 6894 w 10000"/>
                <a:gd name="connsiteY111" fmla="*/ 5332 h 10000"/>
                <a:gd name="connsiteX112" fmla="*/ 6998 w 10000"/>
                <a:gd name="connsiteY112" fmla="*/ 5264 h 10000"/>
                <a:gd name="connsiteX113" fmla="*/ 7152 w 10000"/>
                <a:gd name="connsiteY113" fmla="*/ 5285 h 10000"/>
                <a:gd name="connsiteX114" fmla="*/ 7335 w 10000"/>
                <a:gd name="connsiteY114" fmla="*/ 5268 h 10000"/>
                <a:gd name="connsiteX115" fmla="*/ 7611 w 10000"/>
                <a:gd name="connsiteY115" fmla="*/ 5290 h 10000"/>
                <a:gd name="connsiteX116" fmla="*/ 7645 w 10000"/>
                <a:gd name="connsiteY116" fmla="*/ 5281 h 10000"/>
                <a:gd name="connsiteX117" fmla="*/ 7859 w 10000"/>
                <a:gd name="connsiteY117" fmla="*/ 5385 h 10000"/>
                <a:gd name="connsiteX118" fmla="*/ 8017 w 10000"/>
                <a:gd name="connsiteY118" fmla="*/ 5346 h 10000"/>
                <a:gd name="connsiteX119" fmla="*/ 8032 w 10000"/>
                <a:gd name="connsiteY119" fmla="*/ 5311 h 10000"/>
                <a:gd name="connsiteX120" fmla="*/ 8176 w 10000"/>
                <a:gd name="connsiteY120" fmla="*/ 5373 h 10000"/>
                <a:gd name="connsiteX121" fmla="*/ 8369 w 10000"/>
                <a:gd name="connsiteY121" fmla="*/ 5406 h 10000"/>
                <a:gd name="connsiteX122" fmla="*/ 8446 w 10000"/>
                <a:gd name="connsiteY122" fmla="*/ 5344 h 10000"/>
                <a:gd name="connsiteX123" fmla="*/ 8507 w 10000"/>
                <a:gd name="connsiteY123" fmla="*/ 5378 h 10000"/>
                <a:gd name="connsiteX124" fmla="*/ 8596 w 10000"/>
                <a:gd name="connsiteY124" fmla="*/ 5499 h 10000"/>
                <a:gd name="connsiteX125" fmla="*/ 8782 w 10000"/>
                <a:gd name="connsiteY125" fmla="*/ 5525 h 10000"/>
                <a:gd name="connsiteX126" fmla="*/ 9542 w 10000"/>
                <a:gd name="connsiteY126" fmla="*/ 5350 h 10000"/>
                <a:gd name="connsiteX127" fmla="*/ 9914 w 10000"/>
                <a:gd name="connsiteY127" fmla="*/ 5107 h 10000"/>
                <a:gd name="connsiteX128" fmla="*/ 10000 w 10000"/>
                <a:gd name="connsiteY128" fmla="*/ 4930 h 10000"/>
                <a:gd name="connsiteX129" fmla="*/ 9866 w 10000"/>
                <a:gd name="connsiteY129" fmla="*/ 4770 h 10000"/>
                <a:gd name="connsiteX130" fmla="*/ 9582 w 10000"/>
                <a:gd name="connsiteY130" fmla="*/ 4674 h 10000"/>
                <a:gd name="connsiteX131" fmla="*/ 9382 w 10000"/>
                <a:gd name="connsiteY131" fmla="*/ 4516 h 10000"/>
                <a:gd name="connsiteX132" fmla="*/ 9569 w 10000"/>
                <a:gd name="connsiteY132" fmla="*/ 4511 h 10000"/>
                <a:gd name="connsiteX133" fmla="*/ 9555 w 10000"/>
                <a:gd name="connsiteY133" fmla="*/ 4473 h 10000"/>
                <a:gd name="connsiteX134" fmla="*/ 9068 w 10000"/>
                <a:gd name="connsiteY134" fmla="*/ 4364 h 10000"/>
                <a:gd name="connsiteX135" fmla="*/ 9047 w 10000"/>
                <a:gd name="connsiteY135" fmla="*/ 4262 h 10000"/>
                <a:gd name="connsiteX136" fmla="*/ 8953 w 10000"/>
                <a:gd name="connsiteY136" fmla="*/ 4156 h 10000"/>
                <a:gd name="connsiteX137" fmla="*/ 8569 w 10000"/>
                <a:gd name="connsiteY137" fmla="*/ 4176 h 10000"/>
                <a:gd name="connsiteX138" fmla="*/ 8431 w 10000"/>
                <a:gd name="connsiteY138" fmla="*/ 4062 h 10000"/>
                <a:gd name="connsiteX139" fmla="*/ 8350 w 10000"/>
                <a:gd name="connsiteY139" fmla="*/ 4056 h 10000"/>
                <a:gd name="connsiteX140" fmla="*/ 8350 w 10000"/>
                <a:gd name="connsiteY140" fmla="*/ 4105 h 10000"/>
                <a:gd name="connsiteX141" fmla="*/ 8176 w 10000"/>
                <a:gd name="connsiteY141" fmla="*/ 4294 h 10000"/>
                <a:gd name="connsiteX142" fmla="*/ 7990 w 10000"/>
                <a:gd name="connsiteY142" fmla="*/ 4405 h 10000"/>
                <a:gd name="connsiteX143" fmla="*/ 7401 w 10000"/>
                <a:gd name="connsiteY143" fmla="*/ 4594 h 10000"/>
                <a:gd name="connsiteX144" fmla="*/ 7198 w 10000"/>
                <a:gd name="connsiteY144" fmla="*/ 4588 h 10000"/>
                <a:gd name="connsiteX145" fmla="*/ 6915 w 10000"/>
                <a:gd name="connsiteY145" fmla="*/ 4618 h 10000"/>
                <a:gd name="connsiteX146" fmla="*/ 6757 w 10000"/>
                <a:gd name="connsiteY146" fmla="*/ 4588 h 10000"/>
                <a:gd name="connsiteX147" fmla="*/ 6965 w 10000"/>
                <a:gd name="connsiteY147" fmla="*/ 4534 h 10000"/>
                <a:gd name="connsiteX148" fmla="*/ 7235 w 10000"/>
                <a:gd name="connsiteY148" fmla="*/ 4511 h 10000"/>
                <a:gd name="connsiteX149" fmla="*/ 7455 w 10000"/>
                <a:gd name="connsiteY149" fmla="*/ 4423 h 10000"/>
                <a:gd name="connsiteX150" fmla="*/ 7674 w 10000"/>
                <a:gd name="connsiteY150" fmla="*/ 4381 h 10000"/>
                <a:gd name="connsiteX151" fmla="*/ 8082 w 10000"/>
                <a:gd name="connsiteY151" fmla="*/ 4225 h 10000"/>
                <a:gd name="connsiteX152" fmla="*/ 8157 w 10000"/>
                <a:gd name="connsiteY152" fmla="*/ 4125 h 10000"/>
                <a:gd name="connsiteX153" fmla="*/ 8165 w 10000"/>
                <a:gd name="connsiteY153" fmla="*/ 3994 h 10000"/>
                <a:gd name="connsiteX154" fmla="*/ 7978 w 10000"/>
                <a:gd name="connsiteY154" fmla="*/ 3972 h 10000"/>
                <a:gd name="connsiteX155" fmla="*/ 8058 w 10000"/>
                <a:gd name="connsiteY155" fmla="*/ 3892 h 10000"/>
                <a:gd name="connsiteX156" fmla="*/ 8087 w 10000"/>
                <a:gd name="connsiteY156" fmla="*/ 3791 h 10000"/>
                <a:gd name="connsiteX157" fmla="*/ 8007 w 10000"/>
                <a:gd name="connsiteY157" fmla="*/ 3697 h 10000"/>
                <a:gd name="connsiteX158" fmla="*/ 3760 w 10000"/>
                <a:gd name="connsiteY158" fmla="*/ 0 h 10000"/>
                <a:gd name="connsiteX159" fmla="*/ 3405 w 10000"/>
                <a:gd name="connsiteY159" fmla="*/ 83 h 10000"/>
                <a:gd name="connsiteX160" fmla="*/ 2832 w 10000"/>
                <a:gd name="connsiteY160" fmla="*/ 345 h 10000"/>
                <a:gd name="connsiteX161" fmla="*/ 2528 w 10000"/>
                <a:gd name="connsiteY161" fmla="*/ 662 h 10000"/>
                <a:gd name="connsiteX162" fmla="*/ 2375 w 10000"/>
                <a:gd name="connsiteY162" fmla="*/ 1896 h 10000"/>
                <a:gd name="connsiteX163" fmla="*/ 2226 w 10000"/>
                <a:gd name="connsiteY163" fmla="*/ 2522 h 10000"/>
                <a:gd name="connsiteX164" fmla="*/ 2375 w 10000"/>
                <a:gd name="connsiteY164" fmla="*/ 2680 h 10000"/>
                <a:gd name="connsiteX165" fmla="*/ 2791 w 10000"/>
                <a:gd name="connsiteY165" fmla="*/ 2856 h 10000"/>
                <a:gd name="connsiteX166" fmla="*/ 2808 w 10000"/>
                <a:gd name="connsiteY166" fmla="*/ 3068 h 10000"/>
                <a:gd name="connsiteX167" fmla="*/ 2632 w 10000"/>
                <a:gd name="connsiteY167" fmla="*/ 3245 h 10000"/>
                <a:gd name="connsiteX168" fmla="*/ 2375 w 10000"/>
                <a:gd name="connsiteY168" fmla="*/ 3353 h 10000"/>
                <a:gd name="connsiteX169" fmla="*/ 2039 w 10000"/>
                <a:gd name="connsiteY169" fmla="*/ 3396 h 10000"/>
                <a:gd name="connsiteX170" fmla="*/ 1950 w 10000"/>
                <a:gd name="connsiteY170" fmla="*/ 3459 h 10000"/>
                <a:gd name="connsiteX171" fmla="*/ 2148 w 10000"/>
                <a:gd name="connsiteY171" fmla="*/ 3606 h 10000"/>
                <a:gd name="connsiteX172" fmla="*/ 2261 w 10000"/>
                <a:gd name="connsiteY172" fmla="*/ 3955 h 10000"/>
                <a:gd name="connsiteX173" fmla="*/ 2005 w 10000"/>
                <a:gd name="connsiteY173" fmla="*/ 4254 h 10000"/>
                <a:gd name="connsiteX174" fmla="*/ 2094 w 10000"/>
                <a:gd name="connsiteY174" fmla="*/ 4345 h 10000"/>
                <a:gd name="connsiteX175" fmla="*/ 2012 w 10000"/>
                <a:gd name="connsiteY175" fmla="*/ 4501 h 10000"/>
                <a:gd name="connsiteX176" fmla="*/ 1850 w 10000"/>
                <a:gd name="connsiteY176" fmla="*/ 4610 h 10000"/>
                <a:gd name="connsiteX177" fmla="*/ 1199 w 10000"/>
                <a:gd name="connsiteY177" fmla="*/ 4692 h 10000"/>
                <a:gd name="connsiteX178" fmla="*/ 1158 w 10000"/>
                <a:gd name="connsiteY178" fmla="*/ 4837 h 10000"/>
                <a:gd name="connsiteX179" fmla="*/ 808 w 10000"/>
                <a:gd name="connsiteY179" fmla="*/ 5051 h 10000"/>
                <a:gd name="connsiteX180" fmla="*/ 854 w 10000"/>
                <a:gd name="connsiteY180" fmla="*/ 5361 h 10000"/>
                <a:gd name="connsiteX181" fmla="*/ 560 w 10000"/>
                <a:gd name="connsiteY181" fmla="*/ 5758 h 10000"/>
                <a:gd name="connsiteX182" fmla="*/ 358 w 10000"/>
                <a:gd name="connsiteY182" fmla="*/ 5804 h 10000"/>
                <a:gd name="connsiteX183" fmla="*/ 275 w 10000"/>
                <a:gd name="connsiteY183" fmla="*/ 5710 h 10000"/>
                <a:gd name="connsiteX184" fmla="*/ 174 w 10000"/>
                <a:gd name="connsiteY184" fmla="*/ 5852 h 10000"/>
                <a:gd name="connsiteX185" fmla="*/ 239 w 10000"/>
                <a:gd name="connsiteY185" fmla="*/ 5606 h 10000"/>
                <a:gd name="connsiteX186" fmla="*/ 197 w 10000"/>
                <a:gd name="connsiteY186" fmla="*/ 5560 h 10000"/>
                <a:gd name="connsiteX0" fmla="*/ 197 w 10000"/>
                <a:gd name="connsiteY0" fmla="*/ 5560 h 10000"/>
                <a:gd name="connsiteX1" fmla="*/ 0 w 10000"/>
                <a:gd name="connsiteY1" fmla="*/ 5688 h 10000"/>
                <a:gd name="connsiteX2" fmla="*/ 0 w 10000"/>
                <a:gd name="connsiteY2" fmla="*/ 6320 h 10000"/>
                <a:gd name="connsiteX3" fmla="*/ 109 w 10000"/>
                <a:gd name="connsiteY3" fmla="*/ 6337 h 10000"/>
                <a:gd name="connsiteX4" fmla="*/ 134 w 10000"/>
                <a:gd name="connsiteY4" fmla="*/ 6386 h 10000"/>
                <a:gd name="connsiteX5" fmla="*/ 130 w 10000"/>
                <a:gd name="connsiteY5" fmla="*/ 6472 h 10000"/>
                <a:gd name="connsiteX6" fmla="*/ 89 w 10000"/>
                <a:gd name="connsiteY6" fmla="*/ 6510 h 10000"/>
                <a:gd name="connsiteX7" fmla="*/ 255 w 10000"/>
                <a:gd name="connsiteY7" fmla="*/ 6436 h 10000"/>
                <a:gd name="connsiteX8" fmla="*/ 325 w 10000"/>
                <a:gd name="connsiteY8" fmla="*/ 6365 h 10000"/>
                <a:gd name="connsiteX9" fmla="*/ 413 w 10000"/>
                <a:gd name="connsiteY9" fmla="*/ 6413 h 10000"/>
                <a:gd name="connsiteX10" fmla="*/ 316 w 10000"/>
                <a:gd name="connsiteY10" fmla="*/ 6518 h 10000"/>
                <a:gd name="connsiteX11" fmla="*/ 419 w 10000"/>
                <a:gd name="connsiteY11" fmla="*/ 6520 h 10000"/>
                <a:gd name="connsiteX12" fmla="*/ 469 w 10000"/>
                <a:gd name="connsiteY12" fmla="*/ 6546 h 10000"/>
                <a:gd name="connsiteX13" fmla="*/ 337 w 10000"/>
                <a:gd name="connsiteY13" fmla="*/ 6579 h 10000"/>
                <a:gd name="connsiteX14" fmla="*/ 130 w 10000"/>
                <a:gd name="connsiteY14" fmla="*/ 6685 h 10000"/>
                <a:gd name="connsiteX15" fmla="*/ 497 w 10000"/>
                <a:gd name="connsiteY15" fmla="*/ 6769 h 10000"/>
                <a:gd name="connsiteX16" fmla="*/ 545 w 10000"/>
                <a:gd name="connsiteY16" fmla="*/ 6887 h 10000"/>
                <a:gd name="connsiteX17" fmla="*/ 419 w 10000"/>
                <a:gd name="connsiteY17" fmla="*/ 7061 h 10000"/>
                <a:gd name="connsiteX18" fmla="*/ 688 w 10000"/>
                <a:gd name="connsiteY18" fmla="*/ 7051 h 10000"/>
                <a:gd name="connsiteX19" fmla="*/ 709 w 10000"/>
                <a:gd name="connsiteY19" fmla="*/ 7181 h 10000"/>
                <a:gd name="connsiteX20" fmla="*/ 530 w 10000"/>
                <a:gd name="connsiteY20" fmla="*/ 7273 h 10000"/>
                <a:gd name="connsiteX21" fmla="*/ 560 w 10000"/>
                <a:gd name="connsiteY21" fmla="*/ 7444 h 10000"/>
                <a:gd name="connsiteX22" fmla="*/ 489 w 10000"/>
                <a:gd name="connsiteY22" fmla="*/ 7580 h 10000"/>
                <a:gd name="connsiteX23" fmla="*/ 703 w 10000"/>
                <a:gd name="connsiteY23" fmla="*/ 7593 h 10000"/>
                <a:gd name="connsiteX24" fmla="*/ 909 w 10000"/>
                <a:gd name="connsiteY24" fmla="*/ 8110 h 10000"/>
                <a:gd name="connsiteX25" fmla="*/ 1150 w 10000"/>
                <a:gd name="connsiteY25" fmla="*/ 8238 h 10000"/>
                <a:gd name="connsiteX26" fmla="*/ 1255 w 10000"/>
                <a:gd name="connsiteY26" fmla="*/ 8379 h 10000"/>
                <a:gd name="connsiteX27" fmla="*/ 1514 w 10000"/>
                <a:gd name="connsiteY27" fmla="*/ 8479 h 10000"/>
                <a:gd name="connsiteX28" fmla="*/ 1684 w 10000"/>
                <a:gd name="connsiteY28" fmla="*/ 8610 h 10000"/>
                <a:gd name="connsiteX29" fmla="*/ 1661 w 10000"/>
                <a:gd name="connsiteY29" fmla="*/ 8703 h 10000"/>
                <a:gd name="connsiteX30" fmla="*/ 1496 w 10000"/>
                <a:gd name="connsiteY30" fmla="*/ 8737 h 10000"/>
                <a:gd name="connsiteX31" fmla="*/ 1316 w 10000"/>
                <a:gd name="connsiteY31" fmla="*/ 8715 h 10000"/>
                <a:gd name="connsiteX32" fmla="*/ 1260 w 10000"/>
                <a:gd name="connsiteY32" fmla="*/ 8752 h 10000"/>
                <a:gd name="connsiteX33" fmla="*/ 1397 w 10000"/>
                <a:gd name="connsiteY33" fmla="*/ 8953 h 10000"/>
                <a:gd name="connsiteX34" fmla="*/ 1205 w 10000"/>
                <a:gd name="connsiteY34" fmla="*/ 8936 h 10000"/>
                <a:gd name="connsiteX35" fmla="*/ 1040 w 10000"/>
                <a:gd name="connsiteY35" fmla="*/ 8887 h 10000"/>
                <a:gd name="connsiteX36" fmla="*/ 1012 w 10000"/>
                <a:gd name="connsiteY36" fmla="*/ 8962 h 10000"/>
                <a:gd name="connsiteX37" fmla="*/ 1557 w 10000"/>
                <a:gd name="connsiteY37" fmla="*/ 9650 h 10000"/>
                <a:gd name="connsiteX38" fmla="*/ 1469 w 10000"/>
                <a:gd name="connsiteY38" fmla="*/ 9714 h 10000"/>
                <a:gd name="connsiteX39" fmla="*/ 1408 w 10000"/>
                <a:gd name="connsiteY39" fmla="*/ 9846 h 10000"/>
                <a:gd name="connsiteX40" fmla="*/ 1329 w 10000"/>
                <a:gd name="connsiteY40" fmla="*/ 9856 h 10000"/>
                <a:gd name="connsiteX41" fmla="*/ 1281 w 10000"/>
                <a:gd name="connsiteY41" fmla="*/ 9915 h 10000"/>
                <a:gd name="connsiteX42" fmla="*/ 1609 w 10000"/>
                <a:gd name="connsiteY42" fmla="*/ 9920 h 10000"/>
                <a:gd name="connsiteX43" fmla="*/ 1900 w 10000"/>
                <a:gd name="connsiteY43" fmla="*/ 9977 h 10000"/>
                <a:gd name="connsiteX44" fmla="*/ 2383 w 10000"/>
                <a:gd name="connsiteY44" fmla="*/ 9917 h 10000"/>
                <a:gd name="connsiteX45" fmla="*/ 2816 w 10000"/>
                <a:gd name="connsiteY45" fmla="*/ 9929 h 10000"/>
                <a:gd name="connsiteX46" fmla="*/ 3072 w 10000"/>
                <a:gd name="connsiteY46" fmla="*/ 10000 h 10000"/>
                <a:gd name="connsiteX47" fmla="*/ 3212 w 10000"/>
                <a:gd name="connsiteY47" fmla="*/ 9952 h 10000"/>
                <a:gd name="connsiteX48" fmla="*/ 3348 w 10000"/>
                <a:gd name="connsiteY48" fmla="*/ 9793 h 10000"/>
                <a:gd name="connsiteX49" fmla="*/ 3313 w 10000"/>
                <a:gd name="connsiteY49" fmla="*/ 9532 h 10000"/>
                <a:gd name="connsiteX50" fmla="*/ 3642 w 10000"/>
                <a:gd name="connsiteY50" fmla="*/ 9244 h 10000"/>
                <a:gd name="connsiteX51" fmla="*/ 3883 w 10000"/>
                <a:gd name="connsiteY51" fmla="*/ 9290 h 10000"/>
                <a:gd name="connsiteX52" fmla="*/ 4025 w 10000"/>
                <a:gd name="connsiteY52" fmla="*/ 9175 h 10000"/>
                <a:gd name="connsiteX53" fmla="*/ 4294 w 10000"/>
                <a:gd name="connsiteY53" fmla="*/ 9108 h 10000"/>
                <a:gd name="connsiteX54" fmla="*/ 4658 w 10000"/>
                <a:gd name="connsiteY54" fmla="*/ 9124 h 10000"/>
                <a:gd name="connsiteX55" fmla="*/ 4878 w 10000"/>
                <a:gd name="connsiteY55" fmla="*/ 9169 h 10000"/>
                <a:gd name="connsiteX56" fmla="*/ 5170 w 10000"/>
                <a:gd name="connsiteY56" fmla="*/ 9150 h 10000"/>
                <a:gd name="connsiteX57" fmla="*/ 5464 w 10000"/>
                <a:gd name="connsiteY57" fmla="*/ 9199 h 10000"/>
                <a:gd name="connsiteX58" fmla="*/ 5759 w 10000"/>
                <a:gd name="connsiteY58" fmla="*/ 9206 h 10000"/>
                <a:gd name="connsiteX59" fmla="*/ 6419 w 10000"/>
                <a:gd name="connsiteY59" fmla="*/ 8530 h 10000"/>
                <a:gd name="connsiteX60" fmla="*/ 6586 w 10000"/>
                <a:gd name="connsiteY60" fmla="*/ 7978 h 10000"/>
                <a:gd name="connsiteX61" fmla="*/ 6855 w 10000"/>
                <a:gd name="connsiteY61" fmla="*/ 7734 h 10000"/>
                <a:gd name="connsiteX62" fmla="*/ 6855 w 10000"/>
                <a:gd name="connsiteY62" fmla="*/ 7604 h 10000"/>
                <a:gd name="connsiteX63" fmla="*/ 6757 w 10000"/>
                <a:gd name="connsiteY63" fmla="*/ 7533 h 10000"/>
                <a:gd name="connsiteX64" fmla="*/ 6915 w 10000"/>
                <a:gd name="connsiteY64" fmla="*/ 7416 h 10000"/>
                <a:gd name="connsiteX65" fmla="*/ 6887 w 10000"/>
                <a:gd name="connsiteY65" fmla="*/ 7320 h 10000"/>
                <a:gd name="connsiteX66" fmla="*/ 6779 w 10000"/>
                <a:gd name="connsiteY66" fmla="*/ 7238 h 10000"/>
                <a:gd name="connsiteX67" fmla="*/ 6757 w 10000"/>
                <a:gd name="connsiteY67" fmla="*/ 7175 h 10000"/>
                <a:gd name="connsiteX68" fmla="*/ 6785 w 10000"/>
                <a:gd name="connsiteY68" fmla="*/ 7129 h 10000"/>
                <a:gd name="connsiteX69" fmla="*/ 6931 w 10000"/>
                <a:gd name="connsiteY69" fmla="*/ 7166 h 10000"/>
                <a:gd name="connsiteX70" fmla="*/ 7045 w 10000"/>
                <a:gd name="connsiteY70" fmla="*/ 7164 h 10000"/>
                <a:gd name="connsiteX71" fmla="*/ 6983 w 10000"/>
                <a:gd name="connsiteY71" fmla="*/ 7086 h 10000"/>
                <a:gd name="connsiteX72" fmla="*/ 7003 w 10000"/>
                <a:gd name="connsiteY72" fmla="*/ 7039 h 10000"/>
                <a:gd name="connsiteX73" fmla="*/ 7089 w 10000"/>
                <a:gd name="connsiteY73" fmla="*/ 6973 h 10000"/>
                <a:gd name="connsiteX74" fmla="*/ 7074 w 10000"/>
                <a:gd name="connsiteY74" fmla="*/ 6919 h 10000"/>
                <a:gd name="connsiteX75" fmla="*/ 7152 w 10000"/>
                <a:gd name="connsiteY75" fmla="*/ 6735 h 10000"/>
                <a:gd name="connsiteX76" fmla="*/ 7130 w 10000"/>
                <a:gd name="connsiteY76" fmla="*/ 6679 h 10000"/>
                <a:gd name="connsiteX77" fmla="*/ 6729 w 10000"/>
                <a:gd name="connsiteY77" fmla="*/ 6539 h 10000"/>
                <a:gd name="connsiteX78" fmla="*/ 6785 w 10000"/>
                <a:gd name="connsiteY78" fmla="*/ 6534 h 10000"/>
                <a:gd name="connsiteX79" fmla="*/ 6998 w 10000"/>
                <a:gd name="connsiteY79" fmla="*/ 6570 h 10000"/>
                <a:gd name="connsiteX80" fmla="*/ 7230 w 10000"/>
                <a:gd name="connsiteY80" fmla="*/ 6557 h 10000"/>
                <a:gd name="connsiteX81" fmla="*/ 7295 w 10000"/>
                <a:gd name="connsiteY81" fmla="*/ 6506 h 10000"/>
                <a:gd name="connsiteX82" fmla="*/ 7074 w 10000"/>
                <a:gd name="connsiteY82" fmla="*/ 6411 h 10000"/>
                <a:gd name="connsiteX83" fmla="*/ 6414 w 10000"/>
                <a:gd name="connsiteY83" fmla="*/ 6349 h 10000"/>
                <a:gd name="connsiteX84" fmla="*/ 6458 w 10000"/>
                <a:gd name="connsiteY84" fmla="*/ 6320 h 10000"/>
                <a:gd name="connsiteX85" fmla="*/ 6998 w 10000"/>
                <a:gd name="connsiteY85" fmla="*/ 6300 h 10000"/>
                <a:gd name="connsiteX86" fmla="*/ 7295 w 10000"/>
                <a:gd name="connsiteY86" fmla="*/ 6358 h 10000"/>
                <a:gd name="connsiteX87" fmla="*/ 7466 w 10000"/>
                <a:gd name="connsiteY87" fmla="*/ 6320 h 10000"/>
                <a:gd name="connsiteX88" fmla="*/ 7529 w 10000"/>
                <a:gd name="connsiteY88" fmla="*/ 6221 h 10000"/>
                <a:gd name="connsiteX89" fmla="*/ 7840 w 10000"/>
                <a:gd name="connsiteY89" fmla="*/ 6221 h 10000"/>
                <a:gd name="connsiteX90" fmla="*/ 8261 w 10000"/>
                <a:gd name="connsiteY90" fmla="*/ 6023 h 10000"/>
                <a:gd name="connsiteX91" fmla="*/ 8275 w 10000"/>
                <a:gd name="connsiteY91" fmla="*/ 5890 h 10000"/>
                <a:gd name="connsiteX92" fmla="*/ 8453 w 10000"/>
                <a:gd name="connsiteY92" fmla="*/ 5920 h 10000"/>
                <a:gd name="connsiteX93" fmla="*/ 8446 w 10000"/>
                <a:gd name="connsiteY93" fmla="*/ 6053 h 10000"/>
                <a:gd name="connsiteX94" fmla="*/ 8727 w 10000"/>
                <a:gd name="connsiteY94" fmla="*/ 6044 h 10000"/>
                <a:gd name="connsiteX95" fmla="*/ 8913 w 10000"/>
                <a:gd name="connsiteY95" fmla="*/ 5906 h 10000"/>
                <a:gd name="connsiteX96" fmla="*/ 9258 w 10000"/>
                <a:gd name="connsiteY96" fmla="*/ 5782 h 10000"/>
                <a:gd name="connsiteX97" fmla="*/ 9203 w 10000"/>
                <a:gd name="connsiteY97" fmla="*/ 5641 h 10000"/>
                <a:gd name="connsiteX98" fmla="*/ 9306 w 10000"/>
                <a:gd name="connsiteY98" fmla="*/ 5697 h 10000"/>
                <a:gd name="connsiteX99" fmla="*/ 9464 w 10000"/>
                <a:gd name="connsiteY99" fmla="*/ 5697 h 10000"/>
                <a:gd name="connsiteX100" fmla="*/ 9464 w 10000"/>
                <a:gd name="connsiteY100" fmla="*/ 5631 h 10000"/>
                <a:gd name="connsiteX101" fmla="*/ 9611 w 10000"/>
                <a:gd name="connsiteY101" fmla="*/ 5583 h 10000"/>
                <a:gd name="connsiteX102" fmla="*/ 9592 w 10000"/>
                <a:gd name="connsiteY102" fmla="*/ 5532 h 10000"/>
                <a:gd name="connsiteX103" fmla="*/ 8350 w 10000"/>
                <a:gd name="connsiteY103" fmla="*/ 5633 h 10000"/>
                <a:gd name="connsiteX104" fmla="*/ 8058 w 10000"/>
                <a:gd name="connsiteY104" fmla="*/ 5604 h 10000"/>
                <a:gd name="connsiteX105" fmla="*/ 7942 w 10000"/>
                <a:gd name="connsiteY105" fmla="*/ 5641 h 10000"/>
                <a:gd name="connsiteX106" fmla="*/ 7903 w 10000"/>
                <a:gd name="connsiteY106" fmla="*/ 5569 h 10000"/>
                <a:gd name="connsiteX107" fmla="*/ 7765 w 10000"/>
                <a:gd name="connsiteY107" fmla="*/ 5507 h 10000"/>
                <a:gd name="connsiteX108" fmla="*/ 7213 w 10000"/>
                <a:gd name="connsiteY108" fmla="*/ 5378 h 10000"/>
                <a:gd name="connsiteX109" fmla="*/ 6887 w 10000"/>
                <a:gd name="connsiteY109" fmla="*/ 5400 h 10000"/>
                <a:gd name="connsiteX110" fmla="*/ 6757 w 10000"/>
                <a:gd name="connsiteY110" fmla="*/ 5363 h 10000"/>
                <a:gd name="connsiteX111" fmla="*/ 6894 w 10000"/>
                <a:gd name="connsiteY111" fmla="*/ 5332 h 10000"/>
                <a:gd name="connsiteX112" fmla="*/ 6998 w 10000"/>
                <a:gd name="connsiteY112" fmla="*/ 5264 h 10000"/>
                <a:gd name="connsiteX113" fmla="*/ 7152 w 10000"/>
                <a:gd name="connsiteY113" fmla="*/ 5285 h 10000"/>
                <a:gd name="connsiteX114" fmla="*/ 7335 w 10000"/>
                <a:gd name="connsiteY114" fmla="*/ 5268 h 10000"/>
                <a:gd name="connsiteX115" fmla="*/ 7611 w 10000"/>
                <a:gd name="connsiteY115" fmla="*/ 5290 h 10000"/>
                <a:gd name="connsiteX116" fmla="*/ 7645 w 10000"/>
                <a:gd name="connsiteY116" fmla="*/ 5281 h 10000"/>
                <a:gd name="connsiteX117" fmla="*/ 7859 w 10000"/>
                <a:gd name="connsiteY117" fmla="*/ 5385 h 10000"/>
                <a:gd name="connsiteX118" fmla="*/ 8017 w 10000"/>
                <a:gd name="connsiteY118" fmla="*/ 5346 h 10000"/>
                <a:gd name="connsiteX119" fmla="*/ 8032 w 10000"/>
                <a:gd name="connsiteY119" fmla="*/ 5311 h 10000"/>
                <a:gd name="connsiteX120" fmla="*/ 8176 w 10000"/>
                <a:gd name="connsiteY120" fmla="*/ 5373 h 10000"/>
                <a:gd name="connsiteX121" fmla="*/ 8369 w 10000"/>
                <a:gd name="connsiteY121" fmla="*/ 5406 h 10000"/>
                <a:gd name="connsiteX122" fmla="*/ 8446 w 10000"/>
                <a:gd name="connsiteY122" fmla="*/ 5344 h 10000"/>
                <a:gd name="connsiteX123" fmla="*/ 8507 w 10000"/>
                <a:gd name="connsiteY123" fmla="*/ 5378 h 10000"/>
                <a:gd name="connsiteX124" fmla="*/ 8596 w 10000"/>
                <a:gd name="connsiteY124" fmla="*/ 5499 h 10000"/>
                <a:gd name="connsiteX125" fmla="*/ 8782 w 10000"/>
                <a:gd name="connsiteY125" fmla="*/ 5525 h 10000"/>
                <a:gd name="connsiteX126" fmla="*/ 9542 w 10000"/>
                <a:gd name="connsiteY126" fmla="*/ 5350 h 10000"/>
                <a:gd name="connsiteX127" fmla="*/ 9914 w 10000"/>
                <a:gd name="connsiteY127" fmla="*/ 5107 h 10000"/>
                <a:gd name="connsiteX128" fmla="*/ 10000 w 10000"/>
                <a:gd name="connsiteY128" fmla="*/ 4930 h 10000"/>
                <a:gd name="connsiteX129" fmla="*/ 9866 w 10000"/>
                <a:gd name="connsiteY129" fmla="*/ 4770 h 10000"/>
                <a:gd name="connsiteX130" fmla="*/ 9582 w 10000"/>
                <a:gd name="connsiteY130" fmla="*/ 4674 h 10000"/>
                <a:gd name="connsiteX131" fmla="*/ 9382 w 10000"/>
                <a:gd name="connsiteY131" fmla="*/ 4516 h 10000"/>
                <a:gd name="connsiteX132" fmla="*/ 9569 w 10000"/>
                <a:gd name="connsiteY132" fmla="*/ 4511 h 10000"/>
                <a:gd name="connsiteX133" fmla="*/ 9555 w 10000"/>
                <a:gd name="connsiteY133" fmla="*/ 4473 h 10000"/>
                <a:gd name="connsiteX134" fmla="*/ 9068 w 10000"/>
                <a:gd name="connsiteY134" fmla="*/ 4364 h 10000"/>
                <a:gd name="connsiteX135" fmla="*/ 9047 w 10000"/>
                <a:gd name="connsiteY135" fmla="*/ 4262 h 10000"/>
                <a:gd name="connsiteX136" fmla="*/ 8953 w 10000"/>
                <a:gd name="connsiteY136" fmla="*/ 4156 h 10000"/>
                <a:gd name="connsiteX137" fmla="*/ 8569 w 10000"/>
                <a:gd name="connsiteY137" fmla="*/ 4176 h 10000"/>
                <a:gd name="connsiteX138" fmla="*/ 8431 w 10000"/>
                <a:gd name="connsiteY138" fmla="*/ 4062 h 10000"/>
                <a:gd name="connsiteX139" fmla="*/ 8350 w 10000"/>
                <a:gd name="connsiteY139" fmla="*/ 4056 h 10000"/>
                <a:gd name="connsiteX140" fmla="*/ 8350 w 10000"/>
                <a:gd name="connsiteY140" fmla="*/ 4105 h 10000"/>
                <a:gd name="connsiteX141" fmla="*/ 8176 w 10000"/>
                <a:gd name="connsiteY141" fmla="*/ 4294 h 10000"/>
                <a:gd name="connsiteX142" fmla="*/ 7990 w 10000"/>
                <a:gd name="connsiteY142" fmla="*/ 4405 h 10000"/>
                <a:gd name="connsiteX143" fmla="*/ 7401 w 10000"/>
                <a:gd name="connsiteY143" fmla="*/ 4594 h 10000"/>
                <a:gd name="connsiteX144" fmla="*/ 7198 w 10000"/>
                <a:gd name="connsiteY144" fmla="*/ 4588 h 10000"/>
                <a:gd name="connsiteX145" fmla="*/ 6915 w 10000"/>
                <a:gd name="connsiteY145" fmla="*/ 4618 h 10000"/>
                <a:gd name="connsiteX146" fmla="*/ 6757 w 10000"/>
                <a:gd name="connsiteY146" fmla="*/ 4588 h 10000"/>
                <a:gd name="connsiteX147" fmla="*/ 6965 w 10000"/>
                <a:gd name="connsiteY147" fmla="*/ 4534 h 10000"/>
                <a:gd name="connsiteX148" fmla="*/ 7235 w 10000"/>
                <a:gd name="connsiteY148" fmla="*/ 4511 h 10000"/>
                <a:gd name="connsiteX149" fmla="*/ 7455 w 10000"/>
                <a:gd name="connsiteY149" fmla="*/ 4423 h 10000"/>
                <a:gd name="connsiteX150" fmla="*/ 7674 w 10000"/>
                <a:gd name="connsiteY150" fmla="*/ 4381 h 10000"/>
                <a:gd name="connsiteX151" fmla="*/ 8082 w 10000"/>
                <a:gd name="connsiteY151" fmla="*/ 4225 h 10000"/>
                <a:gd name="connsiteX152" fmla="*/ 8157 w 10000"/>
                <a:gd name="connsiteY152" fmla="*/ 4125 h 10000"/>
                <a:gd name="connsiteX153" fmla="*/ 8165 w 10000"/>
                <a:gd name="connsiteY153" fmla="*/ 3994 h 10000"/>
                <a:gd name="connsiteX154" fmla="*/ 7978 w 10000"/>
                <a:gd name="connsiteY154" fmla="*/ 3972 h 10000"/>
                <a:gd name="connsiteX155" fmla="*/ 8058 w 10000"/>
                <a:gd name="connsiteY155" fmla="*/ 3892 h 10000"/>
                <a:gd name="connsiteX156" fmla="*/ 8087 w 10000"/>
                <a:gd name="connsiteY156" fmla="*/ 3791 h 10000"/>
                <a:gd name="connsiteX157" fmla="*/ 8007 w 10000"/>
                <a:gd name="connsiteY157" fmla="*/ 3697 h 10000"/>
                <a:gd name="connsiteX158" fmla="*/ 3760 w 10000"/>
                <a:gd name="connsiteY158" fmla="*/ 0 h 10000"/>
                <a:gd name="connsiteX159" fmla="*/ 3405 w 10000"/>
                <a:gd name="connsiteY159" fmla="*/ 83 h 10000"/>
                <a:gd name="connsiteX160" fmla="*/ 2832 w 10000"/>
                <a:gd name="connsiteY160" fmla="*/ 345 h 10000"/>
                <a:gd name="connsiteX161" fmla="*/ 2617 w 10000"/>
                <a:gd name="connsiteY161" fmla="*/ 520 h 10000"/>
                <a:gd name="connsiteX162" fmla="*/ 2528 w 10000"/>
                <a:gd name="connsiteY162" fmla="*/ 662 h 10000"/>
                <a:gd name="connsiteX163" fmla="*/ 2375 w 10000"/>
                <a:gd name="connsiteY163" fmla="*/ 1896 h 10000"/>
                <a:gd name="connsiteX164" fmla="*/ 2226 w 10000"/>
                <a:gd name="connsiteY164" fmla="*/ 2522 h 10000"/>
                <a:gd name="connsiteX165" fmla="*/ 2375 w 10000"/>
                <a:gd name="connsiteY165" fmla="*/ 2680 h 10000"/>
                <a:gd name="connsiteX166" fmla="*/ 2791 w 10000"/>
                <a:gd name="connsiteY166" fmla="*/ 2856 h 10000"/>
                <a:gd name="connsiteX167" fmla="*/ 2808 w 10000"/>
                <a:gd name="connsiteY167" fmla="*/ 3068 h 10000"/>
                <a:gd name="connsiteX168" fmla="*/ 2632 w 10000"/>
                <a:gd name="connsiteY168" fmla="*/ 3245 h 10000"/>
                <a:gd name="connsiteX169" fmla="*/ 2375 w 10000"/>
                <a:gd name="connsiteY169" fmla="*/ 3353 h 10000"/>
                <a:gd name="connsiteX170" fmla="*/ 2039 w 10000"/>
                <a:gd name="connsiteY170" fmla="*/ 3396 h 10000"/>
                <a:gd name="connsiteX171" fmla="*/ 1950 w 10000"/>
                <a:gd name="connsiteY171" fmla="*/ 3459 h 10000"/>
                <a:gd name="connsiteX172" fmla="*/ 2148 w 10000"/>
                <a:gd name="connsiteY172" fmla="*/ 3606 h 10000"/>
                <a:gd name="connsiteX173" fmla="*/ 2261 w 10000"/>
                <a:gd name="connsiteY173" fmla="*/ 3955 h 10000"/>
                <a:gd name="connsiteX174" fmla="*/ 2005 w 10000"/>
                <a:gd name="connsiteY174" fmla="*/ 4254 h 10000"/>
                <a:gd name="connsiteX175" fmla="*/ 2094 w 10000"/>
                <a:gd name="connsiteY175" fmla="*/ 4345 h 10000"/>
                <a:gd name="connsiteX176" fmla="*/ 2012 w 10000"/>
                <a:gd name="connsiteY176" fmla="*/ 4501 h 10000"/>
                <a:gd name="connsiteX177" fmla="*/ 1850 w 10000"/>
                <a:gd name="connsiteY177" fmla="*/ 4610 h 10000"/>
                <a:gd name="connsiteX178" fmla="*/ 1199 w 10000"/>
                <a:gd name="connsiteY178" fmla="*/ 4692 h 10000"/>
                <a:gd name="connsiteX179" fmla="*/ 1158 w 10000"/>
                <a:gd name="connsiteY179" fmla="*/ 4837 h 10000"/>
                <a:gd name="connsiteX180" fmla="*/ 808 w 10000"/>
                <a:gd name="connsiteY180" fmla="*/ 5051 h 10000"/>
                <a:gd name="connsiteX181" fmla="*/ 854 w 10000"/>
                <a:gd name="connsiteY181" fmla="*/ 5361 h 10000"/>
                <a:gd name="connsiteX182" fmla="*/ 560 w 10000"/>
                <a:gd name="connsiteY182" fmla="*/ 5758 h 10000"/>
                <a:gd name="connsiteX183" fmla="*/ 358 w 10000"/>
                <a:gd name="connsiteY183" fmla="*/ 5804 h 10000"/>
                <a:gd name="connsiteX184" fmla="*/ 275 w 10000"/>
                <a:gd name="connsiteY184" fmla="*/ 5710 h 10000"/>
                <a:gd name="connsiteX185" fmla="*/ 174 w 10000"/>
                <a:gd name="connsiteY185" fmla="*/ 5852 h 10000"/>
                <a:gd name="connsiteX186" fmla="*/ 239 w 10000"/>
                <a:gd name="connsiteY186" fmla="*/ 5606 h 10000"/>
                <a:gd name="connsiteX187" fmla="*/ 197 w 10000"/>
                <a:gd name="connsiteY187" fmla="*/ 5560 h 10000"/>
                <a:gd name="connsiteX0" fmla="*/ 197 w 10000"/>
                <a:gd name="connsiteY0" fmla="*/ 5560 h 10000"/>
                <a:gd name="connsiteX1" fmla="*/ 0 w 10000"/>
                <a:gd name="connsiteY1" fmla="*/ 5688 h 10000"/>
                <a:gd name="connsiteX2" fmla="*/ 0 w 10000"/>
                <a:gd name="connsiteY2" fmla="*/ 6320 h 10000"/>
                <a:gd name="connsiteX3" fmla="*/ 109 w 10000"/>
                <a:gd name="connsiteY3" fmla="*/ 6337 h 10000"/>
                <a:gd name="connsiteX4" fmla="*/ 134 w 10000"/>
                <a:gd name="connsiteY4" fmla="*/ 6386 h 10000"/>
                <a:gd name="connsiteX5" fmla="*/ 130 w 10000"/>
                <a:gd name="connsiteY5" fmla="*/ 6472 h 10000"/>
                <a:gd name="connsiteX6" fmla="*/ 89 w 10000"/>
                <a:gd name="connsiteY6" fmla="*/ 6510 h 10000"/>
                <a:gd name="connsiteX7" fmla="*/ 255 w 10000"/>
                <a:gd name="connsiteY7" fmla="*/ 6436 h 10000"/>
                <a:gd name="connsiteX8" fmla="*/ 325 w 10000"/>
                <a:gd name="connsiteY8" fmla="*/ 6365 h 10000"/>
                <a:gd name="connsiteX9" fmla="*/ 413 w 10000"/>
                <a:gd name="connsiteY9" fmla="*/ 6413 h 10000"/>
                <a:gd name="connsiteX10" fmla="*/ 316 w 10000"/>
                <a:gd name="connsiteY10" fmla="*/ 6518 h 10000"/>
                <a:gd name="connsiteX11" fmla="*/ 419 w 10000"/>
                <a:gd name="connsiteY11" fmla="*/ 6520 h 10000"/>
                <a:gd name="connsiteX12" fmla="*/ 469 w 10000"/>
                <a:gd name="connsiteY12" fmla="*/ 6546 h 10000"/>
                <a:gd name="connsiteX13" fmla="*/ 337 w 10000"/>
                <a:gd name="connsiteY13" fmla="*/ 6579 h 10000"/>
                <a:gd name="connsiteX14" fmla="*/ 130 w 10000"/>
                <a:gd name="connsiteY14" fmla="*/ 6685 h 10000"/>
                <a:gd name="connsiteX15" fmla="*/ 497 w 10000"/>
                <a:gd name="connsiteY15" fmla="*/ 6769 h 10000"/>
                <a:gd name="connsiteX16" fmla="*/ 545 w 10000"/>
                <a:gd name="connsiteY16" fmla="*/ 6887 h 10000"/>
                <a:gd name="connsiteX17" fmla="*/ 419 w 10000"/>
                <a:gd name="connsiteY17" fmla="*/ 7061 h 10000"/>
                <a:gd name="connsiteX18" fmla="*/ 688 w 10000"/>
                <a:gd name="connsiteY18" fmla="*/ 7051 h 10000"/>
                <a:gd name="connsiteX19" fmla="*/ 709 w 10000"/>
                <a:gd name="connsiteY19" fmla="*/ 7181 h 10000"/>
                <a:gd name="connsiteX20" fmla="*/ 530 w 10000"/>
                <a:gd name="connsiteY20" fmla="*/ 7273 h 10000"/>
                <a:gd name="connsiteX21" fmla="*/ 560 w 10000"/>
                <a:gd name="connsiteY21" fmla="*/ 7444 h 10000"/>
                <a:gd name="connsiteX22" fmla="*/ 489 w 10000"/>
                <a:gd name="connsiteY22" fmla="*/ 7580 h 10000"/>
                <a:gd name="connsiteX23" fmla="*/ 703 w 10000"/>
                <a:gd name="connsiteY23" fmla="*/ 7593 h 10000"/>
                <a:gd name="connsiteX24" fmla="*/ 909 w 10000"/>
                <a:gd name="connsiteY24" fmla="*/ 8110 h 10000"/>
                <a:gd name="connsiteX25" fmla="*/ 1150 w 10000"/>
                <a:gd name="connsiteY25" fmla="*/ 8238 h 10000"/>
                <a:gd name="connsiteX26" fmla="*/ 1255 w 10000"/>
                <a:gd name="connsiteY26" fmla="*/ 8379 h 10000"/>
                <a:gd name="connsiteX27" fmla="*/ 1514 w 10000"/>
                <a:gd name="connsiteY27" fmla="*/ 8479 h 10000"/>
                <a:gd name="connsiteX28" fmla="*/ 1684 w 10000"/>
                <a:gd name="connsiteY28" fmla="*/ 8610 h 10000"/>
                <a:gd name="connsiteX29" fmla="*/ 1661 w 10000"/>
                <a:gd name="connsiteY29" fmla="*/ 8703 h 10000"/>
                <a:gd name="connsiteX30" fmla="*/ 1496 w 10000"/>
                <a:gd name="connsiteY30" fmla="*/ 8737 h 10000"/>
                <a:gd name="connsiteX31" fmla="*/ 1316 w 10000"/>
                <a:gd name="connsiteY31" fmla="*/ 8715 h 10000"/>
                <a:gd name="connsiteX32" fmla="*/ 1260 w 10000"/>
                <a:gd name="connsiteY32" fmla="*/ 8752 h 10000"/>
                <a:gd name="connsiteX33" fmla="*/ 1397 w 10000"/>
                <a:gd name="connsiteY33" fmla="*/ 8953 h 10000"/>
                <a:gd name="connsiteX34" fmla="*/ 1205 w 10000"/>
                <a:gd name="connsiteY34" fmla="*/ 8936 h 10000"/>
                <a:gd name="connsiteX35" fmla="*/ 1040 w 10000"/>
                <a:gd name="connsiteY35" fmla="*/ 8887 h 10000"/>
                <a:gd name="connsiteX36" fmla="*/ 1012 w 10000"/>
                <a:gd name="connsiteY36" fmla="*/ 8962 h 10000"/>
                <a:gd name="connsiteX37" fmla="*/ 1557 w 10000"/>
                <a:gd name="connsiteY37" fmla="*/ 9650 h 10000"/>
                <a:gd name="connsiteX38" fmla="*/ 1469 w 10000"/>
                <a:gd name="connsiteY38" fmla="*/ 9714 h 10000"/>
                <a:gd name="connsiteX39" fmla="*/ 1408 w 10000"/>
                <a:gd name="connsiteY39" fmla="*/ 9846 h 10000"/>
                <a:gd name="connsiteX40" fmla="*/ 1329 w 10000"/>
                <a:gd name="connsiteY40" fmla="*/ 9856 h 10000"/>
                <a:gd name="connsiteX41" fmla="*/ 1281 w 10000"/>
                <a:gd name="connsiteY41" fmla="*/ 9915 h 10000"/>
                <a:gd name="connsiteX42" fmla="*/ 1609 w 10000"/>
                <a:gd name="connsiteY42" fmla="*/ 9920 h 10000"/>
                <a:gd name="connsiteX43" fmla="*/ 1900 w 10000"/>
                <a:gd name="connsiteY43" fmla="*/ 9977 h 10000"/>
                <a:gd name="connsiteX44" fmla="*/ 2383 w 10000"/>
                <a:gd name="connsiteY44" fmla="*/ 9917 h 10000"/>
                <a:gd name="connsiteX45" fmla="*/ 2816 w 10000"/>
                <a:gd name="connsiteY45" fmla="*/ 9929 h 10000"/>
                <a:gd name="connsiteX46" fmla="*/ 3072 w 10000"/>
                <a:gd name="connsiteY46" fmla="*/ 10000 h 10000"/>
                <a:gd name="connsiteX47" fmla="*/ 3212 w 10000"/>
                <a:gd name="connsiteY47" fmla="*/ 9952 h 10000"/>
                <a:gd name="connsiteX48" fmla="*/ 3348 w 10000"/>
                <a:gd name="connsiteY48" fmla="*/ 9793 h 10000"/>
                <a:gd name="connsiteX49" fmla="*/ 3313 w 10000"/>
                <a:gd name="connsiteY49" fmla="*/ 9532 h 10000"/>
                <a:gd name="connsiteX50" fmla="*/ 3642 w 10000"/>
                <a:gd name="connsiteY50" fmla="*/ 9244 h 10000"/>
                <a:gd name="connsiteX51" fmla="*/ 3883 w 10000"/>
                <a:gd name="connsiteY51" fmla="*/ 9290 h 10000"/>
                <a:gd name="connsiteX52" fmla="*/ 4025 w 10000"/>
                <a:gd name="connsiteY52" fmla="*/ 9175 h 10000"/>
                <a:gd name="connsiteX53" fmla="*/ 4294 w 10000"/>
                <a:gd name="connsiteY53" fmla="*/ 9108 h 10000"/>
                <a:gd name="connsiteX54" fmla="*/ 4658 w 10000"/>
                <a:gd name="connsiteY54" fmla="*/ 9124 h 10000"/>
                <a:gd name="connsiteX55" fmla="*/ 4878 w 10000"/>
                <a:gd name="connsiteY55" fmla="*/ 9169 h 10000"/>
                <a:gd name="connsiteX56" fmla="*/ 5170 w 10000"/>
                <a:gd name="connsiteY56" fmla="*/ 9150 h 10000"/>
                <a:gd name="connsiteX57" fmla="*/ 5464 w 10000"/>
                <a:gd name="connsiteY57" fmla="*/ 9199 h 10000"/>
                <a:gd name="connsiteX58" fmla="*/ 5759 w 10000"/>
                <a:gd name="connsiteY58" fmla="*/ 9206 h 10000"/>
                <a:gd name="connsiteX59" fmla="*/ 6419 w 10000"/>
                <a:gd name="connsiteY59" fmla="*/ 8530 h 10000"/>
                <a:gd name="connsiteX60" fmla="*/ 6586 w 10000"/>
                <a:gd name="connsiteY60" fmla="*/ 7978 h 10000"/>
                <a:gd name="connsiteX61" fmla="*/ 6855 w 10000"/>
                <a:gd name="connsiteY61" fmla="*/ 7734 h 10000"/>
                <a:gd name="connsiteX62" fmla="*/ 6855 w 10000"/>
                <a:gd name="connsiteY62" fmla="*/ 7604 h 10000"/>
                <a:gd name="connsiteX63" fmla="*/ 6757 w 10000"/>
                <a:gd name="connsiteY63" fmla="*/ 7533 h 10000"/>
                <a:gd name="connsiteX64" fmla="*/ 6915 w 10000"/>
                <a:gd name="connsiteY64" fmla="*/ 7416 h 10000"/>
                <a:gd name="connsiteX65" fmla="*/ 6887 w 10000"/>
                <a:gd name="connsiteY65" fmla="*/ 7320 h 10000"/>
                <a:gd name="connsiteX66" fmla="*/ 6779 w 10000"/>
                <a:gd name="connsiteY66" fmla="*/ 7238 h 10000"/>
                <a:gd name="connsiteX67" fmla="*/ 6757 w 10000"/>
                <a:gd name="connsiteY67" fmla="*/ 7175 h 10000"/>
                <a:gd name="connsiteX68" fmla="*/ 6785 w 10000"/>
                <a:gd name="connsiteY68" fmla="*/ 7129 h 10000"/>
                <a:gd name="connsiteX69" fmla="*/ 6931 w 10000"/>
                <a:gd name="connsiteY69" fmla="*/ 7166 h 10000"/>
                <a:gd name="connsiteX70" fmla="*/ 7045 w 10000"/>
                <a:gd name="connsiteY70" fmla="*/ 7164 h 10000"/>
                <a:gd name="connsiteX71" fmla="*/ 6983 w 10000"/>
                <a:gd name="connsiteY71" fmla="*/ 7086 h 10000"/>
                <a:gd name="connsiteX72" fmla="*/ 7003 w 10000"/>
                <a:gd name="connsiteY72" fmla="*/ 7039 h 10000"/>
                <a:gd name="connsiteX73" fmla="*/ 7089 w 10000"/>
                <a:gd name="connsiteY73" fmla="*/ 6973 h 10000"/>
                <a:gd name="connsiteX74" fmla="*/ 7074 w 10000"/>
                <a:gd name="connsiteY74" fmla="*/ 6919 h 10000"/>
                <a:gd name="connsiteX75" fmla="*/ 7152 w 10000"/>
                <a:gd name="connsiteY75" fmla="*/ 6735 h 10000"/>
                <a:gd name="connsiteX76" fmla="*/ 7130 w 10000"/>
                <a:gd name="connsiteY76" fmla="*/ 6679 h 10000"/>
                <a:gd name="connsiteX77" fmla="*/ 6729 w 10000"/>
                <a:gd name="connsiteY77" fmla="*/ 6539 h 10000"/>
                <a:gd name="connsiteX78" fmla="*/ 6785 w 10000"/>
                <a:gd name="connsiteY78" fmla="*/ 6534 h 10000"/>
                <a:gd name="connsiteX79" fmla="*/ 6998 w 10000"/>
                <a:gd name="connsiteY79" fmla="*/ 6570 h 10000"/>
                <a:gd name="connsiteX80" fmla="*/ 7230 w 10000"/>
                <a:gd name="connsiteY80" fmla="*/ 6557 h 10000"/>
                <a:gd name="connsiteX81" fmla="*/ 7295 w 10000"/>
                <a:gd name="connsiteY81" fmla="*/ 6506 h 10000"/>
                <a:gd name="connsiteX82" fmla="*/ 7074 w 10000"/>
                <a:gd name="connsiteY82" fmla="*/ 6411 h 10000"/>
                <a:gd name="connsiteX83" fmla="*/ 6414 w 10000"/>
                <a:gd name="connsiteY83" fmla="*/ 6349 h 10000"/>
                <a:gd name="connsiteX84" fmla="*/ 6458 w 10000"/>
                <a:gd name="connsiteY84" fmla="*/ 6320 h 10000"/>
                <a:gd name="connsiteX85" fmla="*/ 6998 w 10000"/>
                <a:gd name="connsiteY85" fmla="*/ 6300 h 10000"/>
                <a:gd name="connsiteX86" fmla="*/ 7295 w 10000"/>
                <a:gd name="connsiteY86" fmla="*/ 6358 h 10000"/>
                <a:gd name="connsiteX87" fmla="*/ 7466 w 10000"/>
                <a:gd name="connsiteY87" fmla="*/ 6320 h 10000"/>
                <a:gd name="connsiteX88" fmla="*/ 7529 w 10000"/>
                <a:gd name="connsiteY88" fmla="*/ 6221 h 10000"/>
                <a:gd name="connsiteX89" fmla="*/ 7840 w 10000"/>
                <a:gd name="connsiteY89" fmla="*/ 6221 h 10000"/>
                <a:gd name="connsiteX90" fmla="*/ 8261 w 10000"/>
                <a:gd name="connsiteY90" fmla="*/ 6023 h 10000"/>
                <a:gd name="connsiteX91" fmla="*/ 8275 w 10000"/>
                <a:gd name="connsiteY91" fmla="*/ 5890 h 10000"/>
                <a:gd name="connsiteX92" fmla="*/ 8453 w 10000"/>
                <a:gd name="connsiteY92" fmla="*/ 5920 h 10000"/>
                <a:gd name="connsiteX93" fmla="*/ 8446 w 10000"/>
                <a:gd name="connsiteY93" fmla="*/ 6053 h 10000"/>
                <a:gd name="connsiteX94" fmla="*/ 8727 w 10000"/>
                <a:gd name="connsiteY94" fmla="*/ 6044 h 10000"/>
                <a:gd name="connsiteX95" fmla="*/ 8913 w 10000"/>
                <a:gd name="connsiteY95" fmla="*/ 5906 h 10000"/>
                <a:gd name="connsiteX96" fmla="*/ 9258 w 10000"/>
                <a:gd name="connsiteY96" fmla="*/ 5782 h 10000"/>
                <a:gd name="connsiteX97" fmla="*/ 9203 w 10000"/>
                <a:gd name="connsiteY97" fmla="*/ 5641 h 10000"/>
                <a:gd name="connsiteX98" fmla="*/ 9306 w 10000"/>
                <a:gd name="connsiteY98" fmla="*/ 5697 h 10000"/>
                <a:gd name="connsiteX99" fmla="*/ 9464 w 10000"/>
                <a:gd name="connsiteY99" fmla="*/ 5697 h 10000"/>
                <a:gd name="connsiteX100" fmla="*/ 9464 w 10000"/>
                <a:gd name="connsiteY100" fmla="*/ 5631 h 10000"/>
                <a:gd name="connsiteX101" fmla="*/ 9611 w 10000"/>
                <a:gd name="connsiteY101" fmla="*/ 5583 h 10000"/>
                <a:gd name="connsiteX102" fmla="*/ 9592 w 10000"/>
                <a:gd name="connsiteY102" fmla="*/ 5532 h 10000"/>
                <a:gd name="connsiteX103" fmla="*/ 8350 w 10000"/>
                <a:gd name="connsiteY103" fmla="*/ 5633 h 10000"/>
                <a:gd name="connsiteX104" fmla="*/ 8058 w 10000"/>
                <a:gd name="connsiteY104" fmla="*/ 5604 h 10000"/>
                <a:gd name="connsiteX105" fmla="*/ 7942 w 10000"/>
                <a:gd name="connsiteY105" fmla="*/ 5641 h 10000"/>
                <a:gd name="connsiteX106" fmla="*/ 7903 w 10000"/>
                <a:gd name="connsiteY106" fmla="*/ 5569 h 10000"/>
                <a:gd name="connsiteX107" fmla="*/ 7765 w 10000"/>
                <a:gd name="connsiteY107" fmla="*/ 5507 h 10000"/>
                <a:gd name="connsiteX108" fmla="*/ 7213 w 10000"/>
                <a:gd name="connsiteY108" fmla="*/ 5378 h 10000"/>
                <a:gd name="connsiteX109" fmla="*/ 6887 w 10000"/>
                <a:gd name="connsiteY109" fmla="*/ 5400 h 10000"/>
                <a:gd name="connsiteX110" fmla="*/ 6757 w 10000"/>
                <a:gd name="connsiteY110" fmla="*/ 5363 h 10000"/>
                <a:gd name="connsiteX111" fmla="*/ 6894 w 10000"/>
                <a:gd name="connsiteY111" fmla="*/ 5332 h 10000"/>
                <a:gd name="connsiteX112" fmla="*/ 6998 w 10000"/>
                <a:gd name="connsiteY112" fmla="*/ 5264 h 10000"/>
                <a:gd name="connsiteX113" fmla="*/ 7152 w 10000"/>
                <a:gd name="connsiteY113" fmla="*/ 5285 h 10000"/>
                <a:gd name="connsiteX114" fmla="*/ 7335 w 10000"/>
                <a:gd name="connsiteY114" fmla="*/ 5268 h 10000"/>
                <a:gd name="connsiteX115" fmla="*/ 7611 w 10000"/>
                <a:gd name="connsiteY115" fmla="*/ 5290 h 10000"/>
                <a:gd name="connsiteX116" fmla="*/ 7645 w 10000"/>
                <a:gd name="connsiteY116" fmla="*/ 5281 h 10000"/>
                <a:gd name="connsiteX117" fmla="*/ 7859 w 10000"/>
                <a:gd name="connsiteY117" fmla="*/ 5385 h 10000"/>
                <a:gd name="connsiteX118" fmla="*/ 8017 w 10000"/>
                <a:gd name="connsiteY118" fmla="*/ 5346 h 10000"/>
                <a:gd name="connsiteX119" fmla="*/ 8032 w 10000"/>
                <a:gd name="connsiteY119" fmla="*/ 5311 h 10000"/>
                <a:gd name="connsiteX120" fmla="*/ 8176 w 10000"/>
                <a:gd name="connsiteY120" fmla="*/ 5373 h 10000"/>
                <a:gd name="connsiteX121" fmla="*/ 8369 w 10000"/>
                <a:gd name="connsiteY121" fmla="*/ 5406 h 10000"/>
                <a:gd name="connsiteX122" fmla="*/ 8446 w 10000"/>
                <a:gd name="connsiteY122" fmla="*/ 5344 h 10000"/>
                <a:gd name="connsiteX123" fmla="*/ 8507 w 10000"/>
                <a:gd name="connsiteY123" fmla="*/ 5378 h 10000"/>
                <a:gd name="connsiteX124" fmla="*/ 8596 w 10000"/>
                <a:gd name="connsiteY124" fmla="*/ 5499 h 10000"/>
                <a:gd name="connsiteX125" fmla="*/ 8782 w 10000"/>
                <a:gd name="connsiteY125" fmla="*/ 5525 h 10000"/>
                <a:gd name="connsiteX126" fmla="*/ 9542 w 10000"/>
                <a:gd name="connsiteY126" fmla="*/ 5350 h 10000"/>
                <a:gd name="connsiteX127" fmla="*/ 9914 w 10000"/>
                <a:gd name="connsiteY127" fmla="*/ 5107 h 10000"/>
                <a:gd name="connsiteX128" fmla="*/ 10000 w 10000"/>
                <a:gd name="connsiteY128" fmla="*/ 4930 h 10000"/>
                <a:gd name="connsiteX129" fmla="*/ 9866 w 10000"/>
                <a:gd name="connsiteY129" fmla="*/ 4770 h 10000"/>
                <a:gd name="connsiteX130" fmla="*/ 9582 w 10000"/>
                <a:gd name="connsiteY130" fmla="*/ 4674 h 10000"/>
                <a:gd name="connsiteX131" fmla="*/ 9382 w 10000"/>
                <a:gd name="connsiteY131" fmla="*/ 4516 h 10000"/>
                <a:gd name="connsiteX132" fmla="*/ 9569 w 10000"/>
                <a:gd name="connsiteY132" fmla="*/ 4511 h 10000"/>
                <a:gd name="connsiteX133" fmla="*/ 9555 w 10000"/>
                <a:gd name="connsiteY133" fmla="*/ 4473 h 10000"/>
                <a:gd name="connsiteX134" fmla="*/ 9068 w 10000"/>
                <a:gd name="connsiteY134" fmla="*/ 4364 h 10000"/>
                <a:gd name="connsiteX135" fmla="*/ 9047 w 10000"/>
                <a:gd name="connsiteY135" fmla="*/ 4262 h 10000"/>
                <a:gd name="connsiteX136" fmla="*/ 8953 w 10000"/>
                <a:gd name="connsiteY136" fmla="*/ 4156 h 10000"/>
                <a:gd name="connsiteX137" fmla="*/ 8569 w 10000"/>
                <a:gd name="connsiteY137" fmla="*/ 4176 h 10000"/>
                <a:gd name="connsiteX138" fmla="*/ 8431 w 10000"/>
                <a:gd name="connsiteY138" fmla="*/ 4062 h 10000"/>
                <a:gd name="connsiteX139" fmla="*/ 8350 w 10000"/>
                <a:gd name="connsiteY139" fmla="*/ 4056 h 10000"/>
                <a:gd name="connsiteX140" fmla="*/ 8350 w 10000"/>
                <a:gd name="connsiteY140" fmla="*/ 4105 h 10000"/>
                <a:gd name="connsiteX141" fmla="*/ 8176 w 10000"/>
                <a:gd name="connsiteY141" fmla="*/ 4294 h 10000"/>
                <a:gd name="connsiteX142" fmla="*/ 7990 w 10000"/>
                <a:gd name="connsiteY142" fmla="*/ 4405 h 10000"/>
                <a:gd name="connsiteX143" fmla="*/ 7401 w 10000"/>
                <a:gd name="connsiteY143" fmla="*/ 4594 h 10000"/>
                <a:gd name="connsiteX144" fmla="*/ 7198 w 10000"/>
                <a:gd name="connsiteY144" fmla="*/ 4588 h 10000"/>
                <a:gd name="connsiteX145" fmla="*/ 6915 w 10000"/>
                <a:gd name="connsiteY145" fmla="*/ 4618 h 10000"/>
                <a:gd name="connsiteX146" fmla="*/ 6757 w 10000"/>
                <a:gd name="connsiteY146" fmla="*/ 4588 h 10000"/>
                <a:gd name="connsiteX147" fmla="*/ 6965 w 10000"/>
                <a:gd name="connsiteY147" fmla="*/ 4534 h 10000"/>
                <a:gd name="connsiteX148" fmla="*/ 7235 w 10000"/>
                <a:gd name="connsiteY148" fmla="*/ 4511 h 10000"/>
                <a:gd name="connsiteX149" fmla="*/ 7455 w 10000"/>
                <a:gd name="connsiteY149" fmla="*/ 4423 h 10000"/>
                <a:gd name="connsiteX150" fmla="*/ 7674 w 10000"/>
                <a:gd name="connsiteY150" fmla="*/ 4381 h 10000"/>
                <a:gd name="connsiteX151" fmla="*/ 8082 w 10000"/>
                <a:gd name="connsiteY151" fmla="*/ 4225 h 10000"/>
                <a:gd name="connsiteX152" fmla="*/ 8157 w 10000"/>
                <a:gd name="connsiteY152" fmla="*/ 4125 h 10000"/>
                <a:gd name="connsiteX153" fmla="*/ 8165 w 10000"/>
                <a:gd name="connsiteY153" fmla="*/ 3994 h 10000"/>
                <a:gd name="connsiteX154" fmla="*/ 7978 w 10000"/>
                <a:gd name="connsiteY154" fmla="*/ 3972 h 10000"/>
                <a:gd name="connsiteX155" fmla="*/ 8058 w 10000"/>
                <a:gd name="connsiteY155" fmla="*/ 3892 h 10000"/>
                <a:gd name="connsiteX156" fmla="*/ 8087 w 10000"/>
                <a:gd name="connsiteY156" fmla="*/ 3791 h 10000"/>
                <a:gd name="connsiteX157" fmla="*/ 8007 w 10000"/>
                <a:gd name="connsiteY157" fmla="*/ 3697 h 10000"/>
                <a:gd name="connsiteX158" fmla="*/ 3760 w 10000"/>
                <a:gd name="connsiteY158" fmla="*/ 0 h 10000"/>
                <a:gd name="connsiteX159" fmla="*/ 3405 w 10000"/>
                <a:gd name="connsiteY159" fmla="*/ 83 h 10000"/>
                <a:gd name="connsiteX160" fmla="*/ 2832 w 10000"/>
                <a:gd name="connsiteY160" fmla="*/ 345 h 10000"/>
                <a:gd name="connsiteX161" fmla="*/ 2617 w 10000"/>
                <a:gd name="connsiteY161" fmla="*/ 520 h 10000"/>
                <a:gd name="connsiteX162" fmla="*/ 2375 w 10000"/>
                <a:gd name="connsiteY162" fmla="*/ 1896 h 10000"/>
                <a:gd name="connsiteX163" fmla="*/ 2226 w 10000"/>
                <a:gd name="connsiteY163" fmla="*/ 2522 h 10000"/>
                <a:gd name="connsiteX164" fmla="*/ 2375 w 10000"/>
                <a:gd name="connsiteY164" fmla="*/ 2680 h 10000"/>
                <a:gd name="connsiteX165" fmla="*/ 2791 w 10000"/>
                <a:gd name="connsiteY165" fmla="*/ 2856 h 10000"/>
                <a:gd name="connsiteX166" fmla="*/ 2808 w 10000"/>
                <a:gd name="connsiteY166" fmla="*/ 3068 h 10000"/>
                <a:gd name="connsiteX167" fmla="*/ 2632 w 10000"/>
                <a:gd name="connsiteY167" fmla="*/ 3245 h 10000"/>
                <a:gd name="connsiteX168" fmla="*/ 2375 w 10000"/>
                <a:gd name="connsiteY168" fmla="*/ 3353 h 10000"/>
                <a:gd name="connsiteX169" fmla="*/ 2039 w 10000"/>
                <a:gd name="connsiteY169" fmla="*/ 3396 h 10000"/>
                <a:gd name="connsiteX170" fmla="*/ 1950 w 10000"/>
                <a:gd name="connsiteY170" fmla="*/ 3459 h 10000"/>
                <a:gd name="connsiteX171" fmla="*/ 2148 w 10000"/>
                <a:gd name="connsiteY171" fmla="*/ 3606 h 10000"/>
                <a:gd name="connsiteX172" fmla="*/ 2261 w 10000"/>
                <a:gd name="connsiteY172" fmla="*/ 3955 h 10000"/>
                <a:gd name="connsiteX173" fmla="*/ 2005 w 10000"/>
                <a:gd name="connsiteY173" fmla="*/ 4254 h 10000"/>
                <a:gd name="connsiteX174" fmla="*/ 2094 w 10000"/>
                <a:gd name="connsiteY174" fmla="*/ 4345 h 10000"/>
                <a:gd name="connsiteX175" fmla="*/ 2012 w 10000"/>
                <a:gd name="connsiteY175" fmla="*/ 4501 h 10000"/>
                <a:gd name="connsiteX176" fmla="*/ 1850 w 10000"/>
                <a:gd name="connsiteY176" fmla="*/ 4610 h 10000"/>
                <a:gd name="connsiteX177" fmla="*/ 1199 w 10000"/>
                <a:gd name="connsiteY177" fmla="*/ 4692 h 10000"/>
                <a:gd name="connsiteX178" fmla="*/ 1158 w 10000"/>
                <a:gd name="connsiteY178" fmla="*/ 4837 h 10000"/>
                <a:gd name="connsiteX179" fmla="*/ 808 w 10000"/>
                <a:gd name="connsiteY179" fmla="*/ 5051 h 10000"/>
                <a:gd name="connsiteX180" fmla="*/ 854 w 10000"/>
                <a:gd name="connsiteY180" fmla="*/ 5361 h 10000"/>
                <a:gd name="connsiteX181" fmla="*/ 560 w 10000"/>
                <a:gd name="connsiteY181" fmla="*/ 5758 h 10000"/>
                <a:gd name="connsiteX182" fmla="*/ 358 w 10000"/>
                <a:gd name="connsiteY182" fmla="*/ 5804 h 10000"/>
                <a:gd name="connsiteX183" fmla="*/ 275 w 10000"/>
                <a:gd name="connsiteY183" fmla="*/ 5710 h 10000"/>
                <a:gd name="connsiteX184" fmla="*/ 174 w 10000"/>
                <a:gd name="connsiteY184" fmla="*/ 5852 h 10000"/>
                <a:gd name="connsiteX185" fmla="*/ 239 w 10000"/>
                <a:gd name="connsiteY185" fmla="*/ 5606 h 10000"/>
                <a:gd name="connsiteX186" fmla="*/ 197 w 10000"/>
                <a:gd name="connsiteY186" fmla="*/ 5560 h 10000"/>
                <a:gd name="connsiteX0" fmla="*/ 197 w 10000"/>
                <a:gd name="connsiteY0" fmla="*/ 5560 h 10000"/>
                <a:gd name="connsiteX1" fmla="*/ 0 w 10000"/>
                <a:gd name="connsiteY1" fmla="*/ 5688 h 10000"/>
                <a:gd name="connsiteX2" fmla="*/ 0 w 10000"/>
                <a:gd name="connsiteY2" fmla="*/ 6320 h 10000"/>
                <a:gd name="connsiteX3" fmla="*/ 109 w 10000"/>
                <a:gd name="connsiteY3" fmla="*/ 6337 h 10000"/>
                <a:gd name="connsiteX4" fmla="*/ 134 w 10000"/>
                <a:gd name="connsiteY4" fmla="*/ 6386 h 10000"/>
                <a:gd name="connsiteX5" fmla="*/ 130 w 10000"/>
                <a:gd name="connsiteY5" fmla="*/ 6472 h 10000"/>
                <a:gd name="connsiteX6" fmla="*/ 89 w 10000"/>
                <a:gd name="connsiteY6" fmla="*/ 6510 h 10000"/>
                <a:gd name="connsiteX7" fmla="*/ 255 w 10000"/>
                <a:gd name="connsiteY7" fmla="*/ 6436 h 10000"/>
                <a:gd name="connsiteX8" fmla="*/ 325 w 10000"/>
                <a:gd name="connsiteY8" fmla="*/ 6365 h 10000"/>
                <a:gd name="connsiteX9" fmla="*/ 413 w 10000"/>
                <a:gd name="connsiteY9" fmla="*/ 6413 h 10000"/>
                <a:gd name="connsiteX10" fmla="*/ 316 w 10000"/>
                <a:gd name="connsiteY10" fmla="*/ 6518 h 10000"/>
                <a:gd name="connsiteX11" fmla="*/ 419 w 10000"/>
                <a:gd name="connsiteY11" fmla="*/ 6520 h 10000"/>
                <a:gd name="connsiteX12" fmla="*/ 469 w 10000"/>
                <a:gd name="connsiteY12" fmla="*/ 6546 h 10000"/>
                <a:gd name="connsiteX13" fmla="*/ 337 w 10000"/>
                <a:gd name="connsiteY13" fmla="*/ 6579 h 10000"/>
                <a:gd name="connsiteX14" fmla="*/ 130 w 10000"/>
                <a:gd name="connsiteY14" fmla="*/ 6685 h 10000"/>
                <a:gd name="connsiteX15" fmla="*/ 497 w 10000"/>
                <a:gd name="connsiteY15" fmla="*/ 6769 h 10000"/>
                <a:gd name="connsiteX16" fmla="*/ 545 w 10000"/>
                <a:gd name="connsiteY16" fmla="*/ 6887 h 10000"/>
                <a:gd name="connsiteX17" fmla="*/ 419 w 10000"/>
                <a:gd name="connsiteY17" fmla="*/ 7061 h 10000"/>
                <a:gd name="connsiteX18" fmla="*/ 688 w 10000"/>
                <a:gd name="connsiteY18" fmla="*/ 7051 h 10000"/>
                <a:gd name="connsiteX19" fmla="*/ 709 w 10000"/>
                <a:gd name="connsiteY19" fmla="*/ 7181 h 10000"/>
                <a:gd name="connsiteX20" fmla="*/ 530 w 10000"/>
                <a:gd name="connsiteY20" fmla="*/ 7273 h 10000"/>
                <a:gd name="connsiteX21" fmla="*/ 560 w 10000"/>
                <a:gd name="connsiteY21" fmla="*/ 7444 h 10000"/>
                <a:gd name="connsiteX22" fmla="*/ 489 w 10000"/>
                <a:gd name="connsiteY22" fmla="*/ 7580 h 10000"/>
                <a:gd name="connsiteX23" fmla="*/ 703 w 10000"/>
                <a:gd name="connsiteY23" fmla="*/ 7593 h 10000"/>
                <a:gd name="connsiteX24" fmla="*/ 909 w 10000"/>
                <a:gd name="connsiteY24" fmla="*/ 8110 h 10000"/>
                <a:gd name="connsiteX25" fmla="*/ 1150 w 10000"/>
                <a:gd name="connsiteY25" fmla="*/ 8238 h 10000"/>
                <a:gd name="connsiteX26" fmla="*/ 1255 w 10000"/>
                <a:gd name="connsiteY26" fmla="*/ 8379 h 10000"/>
                <a:gd name="connsiteX27" fmla="*/ 1514 w 10000"/>
                <a:gd name="connsiteY27" fmla="*/ 8479 h 10000"/>
                <a:gd name="connsiteX28" fmla="*/ 1684 w 10000"/>
                <a:gd name="connsiteY28" fmla="*/ 8610 h 10000"/>
                <a:gd name="connsiteX29" fmla="*/ 1661 w 10000"/>
                <a:gd name="connsiteY29" fmla="*/ 8703 h 10000"/>
                <a:gd name="connsiteX30" fmla="*/ 1496 w 10000"/>
                <a:gd name="connsiteY30" fmla="*/ 8737 h 10000"/>
                <a:gd name="connsiteX31" fmla="*/ 1316 w 10000"/>
                <a:gd name="connsiteY31" fmla="*/ 8715 h 10000"/>
                <a:gd name="connsiteX32" fmla="*/ 1260 w 10000"/>
                <a:gd name="connsiteY32" fmla="*/ 8752 h 10000"/>
                <a:gd name="connsiteX33" fmla="*/ 1397 w 10000"/>
                <a:gd name="connsiteY33" fmla="*/ 8953 h 10000"/>
                <a:gd name="connsiteX34" fmla="*/ 1205 w 10000"/>
                <a:gd name="connsiteY34" fmla="*/ 8936 h 10000"/>
                <a:gd name="connsiteX35" fmla="*/ 1040 w 10000"/>
                <a:gd name="connsiteY35" fmla="*/ 8887 h 10000"/>
                <a:gd name="connsiteX36" fmla="*/ 1012 w 10000"/>
                <a:gd name="connsiteY36" fmla="*/ 8962 h 10000"/>
                <a:gd name="connsiteX37" fmla="*/ 1557 w 10000"/>
                <a:gd name="connsiteY37" fmla="*/ 9650 h 10000"/>
                <a:gd name="connsiteX38" fmla="*/ 1469 w 10000"/>
                <a:gd name="connsiteY38" fmla="*/ 9714 h 10000"/>
                <a:gd name="connsiteX39" fmla="*/ 1408 w 10000"/>
                <a:gd name="connsiteY39" fmla="*/ 9846 h 10000"/>
                <a:gd name="connsiteX40" fmla="*/ 1329 w 10000"/>
                <a:gd name="connsiteY40" fmla="*/ 9856 h 10000"/>
                <a:gd name="connsiteX41" fmla="*/ 1281 w 10000"/>
                <a:gd name="connsiteY41" fmla="*/ 9915 h 10000"/>
                <a:gd name="connsiteX42" fmla="*/ 1609 w 10000"/>
                <a:gd name="connsiteY42" fmla="*/ 9920 h 10000"/>
                <a:gd name="connsiteX43" fmla="*/ 1900 w 10000"/>
                <a:gd name="connsiteY43" fmla="*/ 9977 h 10000"/>
                <a:gd name="connsiteX44" fmla="*/ 2383 w 10000"/>
                <a:gd name="connsiteY44" fmla="*/ 9917 h 10000"/>
                <a:gd name="connsiteX45" fmla="*/ 2816 w 10000"/>
                <a:gd name="connsiteY45" fmla="*/ 9929 h 10000"/>
                <a:gd name="connsiteX46" fmla="*/ 3072 w 10000"/>
                <a:gd name="connsiteY46" fmla="*/ 10000 h 10000"/>
                <a:gd name="connsiteX47" fmla="*/ 3212 w 10000"/>
                <a:gd name="connsiteY47" fmla="*/ 9952 h 10000"/>
                <a:gd name="connsiteX48" fmla="*/ 3348 w 10000"/>
                <a:gd name="connsiteY48" fmla="*/ 9793 h 10000"/>
                <a:gd name="connsiteX49" fmla="*/ 3313 w 10000"/>
                <a:gd name="connsiteY49" fmla="*/ 9532 h 10000"/>
                <a:gd name="connsiteX50" fmla="*/ 3642 w 10000"/>
                <a:gd name="connsiteY50" fmla="*/ 9244 h 10000"/>
                <a:gd name="connsiteX51" fmla="*/ 3883 w 10000"/>
                <a:gd name="connsiteY51" fmla="*/ 9290 h 10000"/>
                <a:gd name="connsiteX52" fmla="*/ 4025 w 10000"/>
                <a:gd name="connsiteY52" fmla="*/ 9175 h 10000"/>
                <a:gd name="connsiteX53" fmla="*/ 4294 w 10000"/>
                <a:gd name="connsiteY53" fmla="*/ 9108 h 10000"/>
                <a:gd name="connsiteX54" fmla="*/ 4658 w 10000"/>
                <a:gd name="connsiteY54" fmla="*/ 9124 h 10000"/>
                <a:gd name="connsiteX55" fmla="*/ 4878 w 10000"/>
                <a:gd name="connsiteY55" fmla="*/ 9169 h 10000"/>
                <a:gd name="connsiteX56" fmla="*/ 5170 w 10000"/>
                <a:gd name="connsiteY56" fmla="*/ 9150 h 10000"/>
                <a:gd name="connsiteX57" fmla="*/ 5464 w 10000"/>
                <a:gd name="connsiteY57" fmla="*/ 9199 h 10000"/>
                <a:gd name="connsiteX58" fmla="*/ 5759 w 10000"/>
                <a:gd name="connsiteY58" fmla="*/ 9206 h 10000"/>
                <a:gd name="connsiteX59" fmla="*/ 6419 w 10000"/>
                <a:gd name="connsiteY59" fmla="*/ 8530 h 10000"/>
                <a:gd name="connsiteX60" fmla="*/ 6586 w 10000"/>
                <a:gd name="connsiteY60" fmla="*/ 7978 h 10000"/>
                <a:gd name="connsiteX61" fmla="*/ 6855 w 10000"/>
                <a:gd name="connsiteY61" fmla="*/ 7734 h 10000"/>
                <a:gd name="connsiteX62" fmla="*/ 6855 w 10000"/>
                <a:gd name="connsiteY62" fmla="*/ 7604 h 10000"/>
                <a:gd name="connsiteX63" fmla="*/ 6757 w 10000"/>
                <a:gd name="connsiteY63" fmla="*/ 7533 h 10000"/>
                <a:gd name="connsiteX64" fmla="*/ 6915 w 10000"/>
                <a:gd name="connsiteY64" fmla="*/ 7416 h 10000"/>
                <a:gd name="connsiteX65" fmla="*/ 6887 w 10000"/>
                <a:gd name="connsiteY65" fmla="*/ 7320 h 10000"/>
                <a:gd name="connsiteX66" fmla="*/ 6779 w 10000"/>
                <a:gd name="connsiteY66" fmla="*/ 7238 h 10000"/>
                <a:gd name="connsiteX67" fmla="*/ 6757 w 10000"/>
                <a:gd name="connsiteY67" fmla="*/ 7175 h 10000"/>
                <a:gd name="connsiteX68" fmla="*/ 6785 w 10000"/>
                <a:gd name="connsiteY68" fmla="*/ 7129 h 10000"/>
                <a:gd name="connsiteX69" fmla="*/ 6931 w 10000"/>
                <a:gd name="connsiteY69" fmla="*/ 7166 h 10000"/>
                <a:gd name="connsiteX70" fmla="*/ 7045 w 10000"/>
                <a:gd name="connsiteY70" fmla="*/ 7164 h 10000"/>
                <a:gd name="connsiteX71" fmla="*/ 6983 w 10000"/>
                <a:gd name="connsiteY71" fmla="*/ 7086 h 10000"/>
                <a:gd name="connsiteX72" fmla="*/ 7003 w 10000"/>
                <a:gd name="connsiteY72" fmla="*/ 7039 h 10000"/>
                <a:gd name="connsiteX73" fmla="*/ 7089 w 10000"/>
                <a:gd name="connsiteY73" fmla="*/ 6973 h 10000"/>
                <a:gd name="connsiteX74" fmla="*/ 7074 w 10000"/>
                <a:gd name="connsiteY74" fmla="*/ 6919 h 10000"/>
                <a:gd name="connsiteX75" fmla="*/ 7152 w 10000"/>
                <a:gd name="connsiteY75" fmla="*/ 6735 h 10000"/>
                <a:gd name="connsiteX76" fmla="*/ 7130 w 10000"/>
                <a:gd name="connsiteY76" fmla="*/ 6679 h 10000"/>
                <a:gd name="connsiteX77" fmla="*/ 6729 w 10000"/>
                <a:gd name="connsiteY77" fmla="*/ 6539 h 10000"/>
                <a:gd name="connsiteX78" fmla="*/ 6785 w 10000"/>
                <a:gd name="connsiteY78" fmla="*/ 6534 h 10000"/>
                <a:gd name="connsiteX79" fmla="*/ 6998 w 10000"/>
                <a:gd name="connsiteY79" fmla="*/ 6570 h 10000"/>
                <a:gd name="connsiteX80" fmla="*/ 7230 w 10000"/>
                <a:gd name="connsiteY80" fmla="*/ 6557 h 10000"/>
                <a:gd name="connsiteX81" fmla="*/ 7295 w 10000"/>
                <a:gd name="connsiteY81" fmla="*/ 6506 h 10000"/>
                <a:gd name="connsiteX82" fmla="*/ 7074 w 10000"/>
                <a:gd name="connsiteY82" fmla="*/ 6411 h 10000"/>
                <a:gd name="connsiteX83" fmla="*/ 6414 w 10000"/>
                <a:gd name="connsiteY83" fmla="*/ 6349 h 10000"/>
                <a:gd name="connsiteX84" fmla="*/ 6458 w 10000"/>
                <a:gd name="connsiteY84" fmla="*/ 6320 h 10000"/>
                <a:gd name="connsiteX85" fmla="*/ 6998 w 10000"/>
                <a:gd name="connsiteY85" fmla="*/ 6300 h 10000"/>
                <a:gd name="connsiteX86" fmla="*/ 7295 w 10000"/>
                <a:gd name="connsiteY86" fmla="*/ 6358 h 10000"/>
                <a:gd name="connsiteX87" fmla="*/ 7466 w 10000"/>
                <a:gd name="connsiteY87" fmla="*/ 6320 h 10000"/>
                <a:gd name="connsiteX88" fmla="*/ 7529 w 10000"/>
                <a:gd name="connsiteY88" fmla="*/ 6221 h 10000"/>
                <a:gd name="connsiteX89" fmla="*/ 7840 w 10000"/>
                <a:gd name="connsiteY89" fmla="*/ 6221 h 10000"/>
                <a:gd name="connsiteX90" fmla="*/ 8261 w 10000"/>
                <a:gd name="connsiteY90" fmla="*/ 6023 h 10000"/>
                <a:gd name="connsiteX91" fmla="*/ 8275 w 10000"/>
                <a:gd name="connsiteY91" fmla="*/ 5890 h 10000"/>
                <a:gd name="connsiteX92" fmla="*/ 8453 w 10000"/>
                <a:gd name="connsiteY92" fmla="*/ 5920 h 10000"/>
                <a:gd name="connsiteX93" fmla="*/ 8446 w 10000"/>
                <a:gd name="connsiteY93" fmla="*/ 6053 h 10000"/>
                <a:gd name="connsiteX94" fmla="*/ 8727 w 10000"/>
                <a:gd name="connsiteY94" fmla="*/ 6044 h 10000"/>
                <a:gd name="connsiteX95" fmla="*/ 8913 w 10000"/>
                <a:gd name="connsiteY95" fmla="*/ 5906 h 10000"/>
                <a:gd name="connsiteX96" fmla="*/ 9258 w 10000"/>
                <a:gd name="connsiteY96" fmla="*/ 5782 h 10000"/>
                <a:gd name="connsiteX97" fmla="*/ 9203 w 10000"/>
                <a:gd name="connsiteY97" fmla="*/ 5641 h 10000"/>
                <a:gd name="connsiteX98" fmla="*/ 9306 w 10000"/>
                <a:gd name="connsiteY98" fmla="*/ 5697 h 10000"/>
                <a:gd name="connsiteX99" fmla="*/ 9464 w 10000"/>
                <a:gd name="connsiteY99" fmla="*/ 5697 h 10000"/>
                <a:gd name="connsiteX100" fmla="*/ 9464 w 10000"/>
                <a:gd name="connsiteY100" fmla="*/ 5631 h 10000"/>
                <a:gd name="connsiteX101" fmla="*/ 9611 w 10000"/>
                <a:gd name="connsiteY101" fmla="*/ 5583 h 10000"/>
                <a:gd name="connsiteX102" fmla="*/ 9592 w 10000"/>
                <a:gd name="connsiteY102" fmla="*/ 5532 h 10000"/>
                <a:gd name="connsiteX103" fmla="*/ 8350 w 10000"/>
                <a:gd name="connsiteY103" fmla="*/ 5633 h 10000"/>
                <a:gd name="connsiteX104" fmla="*/ 8058 w 10000"/>
                <a:gd name="connsiteY104" fmla="*/ 5604 h 10000"/>
                <a:gd name="connsiteX105" fmla="*/ 7942 w 10000"/>
                <a:gd name="connsiteY105" fmla="*/ 5641 h 10000"/>
                <a:gd name="connsiteX106" fmla="*/ 7903 w 10000"/>
                <a:gd name="connsiteY106" fmla="*/ 5569 h 10000"/>
                <a:gd name="connsiteX107" fmla="*/ 7765 w 10000"/>
                <a:gd name="connsiteY107" fmla="*/ 5507 h 10000"/>
                <a:gd name="connsiteX108" fmla="*/ 7213 w 10000"/>
                <a:gd name="connsiteY108" fmla="*/ 5378 h 10000"/>
                <a:gd name="connsiteX109" fmla="*/ 6887 w 10000"/>
                <a:gd name="connsiteY109" fmla="*/ 5400 h 10000"/>
                <a:gd name="connsiteX110" fmla="*/ 6757 w 10000"/>
                <a:gd name="connsiteY110" fmla="*/ 5363 h 10000"/>
                <a:gd name="connsiteX111" fmla="*/ 6894 w 10000"/>
                <a:gd name="connsiteY111" fmla="*/ 5332 h 10000"/>
                <a:gd name="connsiteX112" fmla="*/ 6998 w 10000"/>
                <a:gd name="connsiteY112" fmla="*/ 5264 h 10000"/>
                <a:gd name="connsiteX113" fmla="*/ 7152 w 10000"/>
                <a:gd name="connsiteY113" fmla="*/ 5285 h 10000"/>
                <a:gd name="connsiteX114" fmla="*/ 7335 w 10000"/>
                <a:gd name="connsiteY114" fmla="*/ 5268 h 10000"/>
                <a:gd name="connsiteX115" fmla="*/ 7611 w 10000"/>
                <a:gd name="connsiteY115" fmla="*/ 5290 h 10000"/>
                <a:gd name="connsiteX116" fmla="*/ 7645 w 10000"/>
                <a:gd name="connsiteY116" fmla="*/ 5281 h 10000"/>
                <a:gd name="connsiteX117" fmla="*/ 7859 w 10000"/>
                <a:gd name="connsiteY117" fmla="*/ 5385 h 10000"/>
                <a:gd name="connsiteX118" fmla="*/ 8017 w 10000"/>
                <a:gd name="connsiteY118" fmla="*/ 5346 h 10000"/>
                <a:gd name="connsiteX119" fmla="*/ 8032 w 10000"/>
                <a:gd name="connsiteY119" fmla="*/ 5311 h 10000"/>
                <a:gd name="connsiteX120" fmla="*/ 8176 w 10000"/>
                <a:gd name="connsiteY120" fmla="*/ 5373 h 10000"/>
                <a:gd name="connsiteX121" fmla="*/ 8369 w 10000"/>
                <a:gd name="connsiteY121" fmla="*/ 5406 h 10000"/>
                <a:gd name="connsiteX122" fmla="*/ 8446 w 10000"/>
                <a:gd name="connsiteY122" fmla="*/ 5344 h 10000"/>
                <a:gd name="connsiteX123" fmla="*/ 8507 w 10000"/>
                <a:gd name="connsiteY123" fmla="*/ 5378 h 10000"/>
                <a:gd name="connsiteX124" fmla="*/ 8596 w 10000"/>
                <a:gd name="connsiteY124" fmla="*/ 5499 h 10000"/>
                <a:gd name="connsiteX125" fmla="*/ 8782 w 10000"/>
                <a:gd name="connsiteY125" fmla="*/ 5525 h 10000"/>
                <a:gd name="connsiteX126" fmla="*/ 9542 w 10000"/>
                <a:gd name="connsiteY126" fmla="*/ 5350 h 10000"/>
                <a:gd name="connsiteX127" fmla="*/ 9914 w 10000"/>
                <a:gd name="connsiteY127" fmla="*/ 5107 h 10000"/>
                <a:gd name="connsiteX128" fmla="*/ 10000 w 10000"/>
                <a:gd name="connsiteY128" fmla="*/ 4930 h 10000"/>
                <a:gd name="connsiteX129" fmla="*/ 9866 w 10000"/>
                <a:gd name="connsiteY129" fmla="*/ 4770 h 10000"/>
                <a:gd name="connsiteX130" fmla="*/ 9582 w 10000"/>
                <a:gd name="connsiteY130" fmla="*/ 4674 h 10000"/>
                <a:gd name="connsiteX131" fmla="*/ 9382 w 10000"/>
                <a:gd name="connsiteY131" fmla="*/ 4516 h 10000"/>
                <a:gd name="connsiteX132" fmla="*/ 9569 w 10000"/>
                <a:gd name="connsiteY132" fmla="*/ 4511 h 10000"/>
                <a:gd name="connsiteX133" fmla="*/ 9555 w 10000"/>
                <a:gd name="connsiteY133" fmla="*/ 4473 h 10000"/>
                <a:gd name="connsiteX134" fmla="*/ 9068 w 10000"/>
                <a:gd name="connsiteY134" fmla="*/ 4364 h 10000"/>
                <a:gd name="connsiteX135" fmla="*/ 9047 w 10000"/>
                <a:gd name="connsiteY135" fmla="*/ 4262 h 10000"/>
                <a:gd name="connsiteX136" fmla="*/ 8953 w 10000"/>
                <a:gd name="connsiteY136" fmla="*/ 4156 h 10000"/>
                <a:gd name="connsiteX137" fmla="*/ 8569 w 10000"/>
                <a:gd name="connsiteY137" fmla="*/ 4176 h 10000"/>
                <a:gd name="connsiteX138" fmla="*/ 8431 w 10000"/>
                <a:gd name="connsiteY138" fmla="*/ 4062 h 10000"/>
                <a:gd name="connsiteX139" fmla="*/ 8350 w 10000"/>
                <a:gd name="connsiteY139" fmla="*/ 4056 h 10000"/>
                <a:gd name="connsiteX140" fmla="*/ 8350 w 10000"/>
                <a:gd name="connsiteY140" fmla="*/ 4105 h 10000"/>
                <a:gd name="connsiteX141" fmla="*/ 8176 w 10000"/>
                <a:gd name="connsiteY141" fmla="*/ 4294 h 10000"/>
                <a:gd name="connsiteX142" fmla="*/ 7990 w 10000"/>
                <a:gd name="connsiteY142" fmla="*/ 4405 h 10000"/>
                <a:gd name="connsiteX143" fmla="*/ 7401 w 10000"/>
                <a:gd name="connsiteY143" fmla="*/ 4594 h 10000"/>
                <a:gd name="connsiteX144" fmla="*/ 7198 w 10000"/>
                <a:gd name="connsiteY144" fmla="*/ 4588 h 10000"/>
                <a:gd name="connsiteX145" fmla="*/ 6915 w 10000"/>
                <a:gd name="connsiteY145" fmla="*/ 4618 h 10000"/>
                <a:gd name="connsiteX146" fmla="*/ 6757 w 10000"/>
                <a:gd name="connsiteY146" fmla="*/ 4588 h 10000"/>
                <a:gd name="connsiteX147" fmla="*/ 6965 w 10000"/>
                <a:gd name="connsiteY147" fmla="*/ 4534 h 10000"/>
                <a:gd name="connsiteX148" fmla="*/ 7235 w 10000"/>
                <a:gd name="connsiteY148" fmla="*/ 4511 h 10000"/>
                <a:gd name="connsiteX149" fmla="*/ 7455 w 10000"/>
                <a:gd name="connsiteY149" fmla="*/ 4423 h 10000"/>
                <a:gd name="connsiteX150" fmla="*/ 7674 w 10000"/>
                <a:gd name="connsiteY150" fmla="*/ 4381 h 10000"/>
                <a:gd name="connsiteX151" fmla="*/ 8082 w 10000"/>
                <a:gd name="connsiteY151" fmla="*/ 4225 h 10000"/>
                <a:gd name="connsiteX152" fmla="*/ 8157 w 10000"/>
                <a:gd name="connsiteY152" fmla="*/ 4125 h 10000"/>
                <a:gd name="connsiteX153" fmla="*/ 8165 w 10000"/>
                <a:gd name="connsiteY153" fmla="*/ 3994 h 10000"/>
                <a:gd name="connsiteX154" fmla="*/ 7978 w 10000"/>
                <a:gd name="connsiteY154" fmla="*/ 3972 h 10000"/>
                <a:gd name="connsiteX155" fmla="*/ 8058 w 10000"/>
                <a:gd name="connsiteY155" fmla="*/ 3892 h 10000"/>
                <a:gd name="connsiteX156" fmla="*/ 8087 w 10000"/>
                <a:gd name="connsiteY156" fmla="*/ 3791 h 10000"/>
                <a:gd name="connsiteX157" fmla="*/ 8007 w 10000"/>
                <a:gd name="connsiteY157" fmla="*/ 3697 h 10000"/>
                <a:gd name="connsiteX158" fmla="*/ 3760 w 10000"/>
                <a:gd name="connsiteY158" fmla="*/ 0 h 10000"/>
                <a:gd name="connsiteX159" fmla="*/ 3405 w 10000"/>
                <a:gd name="connsiteY159" fmla="*/ 83 h 10000"/>
                <a:gd name="connsiteX160" fmla="*/ 2617 w 10000"/>
                <a:gd name="connsiteY160" fmla="*/ 520 h 10000"/>
                <a:gd name="connsiteX161" fmla="*/ 2375 w 10000"/>
                <a:gd name="connsiteY161" fmla="*/ 1896 h 10000"/>
                <a:gd name="connsiteX162" fmla="*/ 2226 w 10000"/>
                <a:gd name="connsiteY162" fmla="*/ 2522 h 10000"/>
                <a:gd name="connsiteX163" fmla="*/ 2375 w 10000"/>
                <a:gd name="connsiteY163" fmla="*/ 2680 h 10000"/>
                <a:gd name="connsiteX164" fmla="*/ 2791 w 10000"/>
                <a:gd name="connsiteY164" fmla="*/ 2856 h 10000"/>
                <a:gd name="connsiteX165" fmla="*/ 2808 w 10000"/>
                <a:gd name="connsiteY165" fmla="*/ 3068 h 10000"/>
                <a:gd name="connsiteX166" fmla="*/ 2632 w 10000"/>
                <a:gd name="connsiteY166" fmla="*/ 3245 h 10000"/>
                <a:gd name="connsiteX167" fmla="*/ 2375 w 10000"/>
                <a:gd name="connsiteY167" fmla="*/ 3353 h 10000"/>
                <a:gd name="connsiteX168" fmla="*/ 2039 w 10000"/>
                <a:gd name="connsiteY168" fmla="*/ 3396 h 10000"/>
                <a:gd name="connsiteX169" fmla="*/ 1950 w 10000"/>
                <a:gd name="connsiteY169" fmla="*/ 3459 h 10000"/>
                <a:gd name="connsiteX170" fmla="*/ 2148 w 10000"/>
                <a:gd name="connsiteY170" fmla="*/ 3606 h 10000"/>
                <a:gd name="connsiteX171" fmla="*/ 2261 w 10000"/>
                <a:gd name="connsiteY171" fmla="*/ 3955 h 10000"/>
                <a:gd name="connsiteX172" fmla="*/ 2005 w 10000"/>
                <a:gd name="connsiteY172" fmla="*/ 4254 h 10000"/>
                <a:gd name="connsiteX173" fmla="*/ 2094 w 10000"/>
                <a:gd name="connsiteY173" fmla="*/ 4345 h 10000"/>
                <a:gd name="connsiteX174" fmla="*/ 2012 w 10000"/>
                <a:gd name="connsiteY174" fmla="*/ 4501 h 10000"/>
                <a:gd name="connsiteX175" fmla="*/ 1850 w 10000"/>
                <a:gd name="connsiteY175" fmla="*/ 4610 h 10000"/>
                <a:gd name="connsiteX176" fmla="*/ 1199 w 10000"/>
                <a:gd name="connsiteY176" fmla="*/ 4692 h 10000"/>
                <a:gd name="connsiteX177" fmla="*/ 1158 w 10000"/>
                <a:gd name="connsiteY177" fmla="*/ 4837 h 10000"/>
                <a:gd name="connsiteX178" fmla="*/ 808 w 10000"/>
                <a:gd name="connsiteY178" fmla="*/ 5051 h 10000"/>
                <a:gd name="connsiteX179" fmla="*/ 854 w 10000"/>
                <a:gd name="connsiteY179" fmla="*/ 5361 h 10000"/>
                <a:gd name="connsiteX180" fmla="*/ 560 w 10000"/>
                <a:gd name="connsiteY180" fmla="*/ 5758 h 10000"/>
                <a:gd name="connsiteX181" fmla="*/ 358 w 10000"/>
                <a:gd name="connsiteY181" fmla="*/ 5804 h 10000"/>
                <a:gd name="connsiteX182" fmla="*/ 275 w 10000"/>
                <a:gd name="connsiteY182" fmla="*/ 5710 h 10000"/>
                <a:gd name="connsiteX183" fmla="*/ 174 w 10000"/>
                <a:gd name="connsiteY183" fmla="*/ 5852 h 10000"/>
                <a:gd name="connsiteX184" fmla="*/ 239 w 10000"/>
                <a:gd name="connsiteY184" fmla="*/ 5606 h 10000"/>
                <a:gd name="connsiteX185" fmla="*/ 197 w 10000"/>
                <a:gd name="connsiteY185" fmla="*/ 5560 h 10000"/>
                <a:gd name="connsiteX0" fmla="*/ 197 w 10000"/>
                <a:gd name="connsiteY0" fmla="*/ 5560 h 10000"/>
                <a:gd name="connsiteX1" fmla="*/ 0 w 10000"/>
                <a:gd name="connsiteY1" fmla="*/ 5688 h 10000"/>
                <a:gd name="connsiteX2" fmla="*/ 0 w 10000"/>
                <a:gd name="connsiteY2" fmla="*/ 6320 h 10000"/>
                <a:gd name="connsiteX3" fmla="*/ 109 w 10000"/>
                <a:gd name="connsiteY3" fmla="*/ 6337 h 10000"/>
                <a:gd name="connsiteX4" fmla="*/ 134 w 10000"/>
                <a:gd name="connsiteY4" fmla="*/ 6386 h 10000"/>
                <a:gd name="connsiteX5" fmla="*/ 130 w 10000"/>
                <a:gd name="connsiteY5" fmla="*/ 6472 h 10000"/>
                <a:gd name="connsiteX6" fmla="*/ 89 w 10000"/>
                <a:gd name="connsiteY6" fmla="*/ 6510 h 10000"/>
                <a:gd name="connsiteX7" fmla="*/ 255 w 10000"/>
                <a:gd name="connsiteY7" fmla="*/ 6436 h 10000"/>
                <a:gd name="connsiteX8" fmla="*/ 325 w 10000"/>
                <a:gd name="connsiteY8" fmla="*/ 6365 h 10000"/>
                <a:gd name="connsiteX9" fmla="*/ 413 w 10000"/>
                <a:gd name="connsiteY9" fmla="*/ 6413 h 10000"/>
                <a:gd name="connsiteX10" fmla="*/ 316 w 10000"/>
                <a:gd name="connsiteY10" fmla="*/ 6518 h 10000"/>
                <a:gd name="connsiteX11" fmla="*/ 419 w 10000"/>
                <a:gd name="connsiteY11" fmla="*/ 6520 h 10000"/>
                <a:gd name="connsiteX12" fmla="*/ 469 w 10000"/>
                <a:gd name="connsiteY12" fmla="*/ 6546 h 10000"/>
                <a:gd name="connsiteX13" fmla="*/ 337 w 10000"/>
                <a:gd name="connsiteY13" fmla="*/ 6579 h 10000"/>
                <a:gd name="connsiteX14" fmla="*/ 130 w 10000"/>
                <a:gd name="connsiteY14" fmla="*/ 6685 h 10000"/>
                <a:gd name="connsiteX15" fmla="*/ 497 w 10000"/>
                <a:gd name="connsiteY15" fmla="*/ 6769 h 10000"/>
                <a:gd name="connsiteX16" fmla="*/ 545 w 10000"/>
                <a:gd name="connsiteY16" fmla="*/ 6887 h 10000"/>
                <a:gd name="connsiteX17" fmla="*/ 419 w 10000"/>
                <a:gd name="connsiteY17" fmla="*/ 7061 h 10000"/>
                <a:gd name="connsiteX18" fmla="*/ 688 w 10000"/>
                <a:gd name="connsiteY18" fmla="*/ 7051 h 10000"/>
                <a:gd name="connsiteX19" fmla="*/ 709 w 10000"/>
                <a:gd name="connsiteY19" fmla="*/ 7181 h 10000"/>
                <a:gd name="connsiteX20" fmla="*/ 530 w 10000"/>
                <a:gd name="connsiteY20" fmla="*/ 7273 h 10000"/>
                <a:gd name="connsiteX21" fmla="*/ 560 w 10000"/>
                <a:gd name="connsiteY21" fmla="*/ 7444 h 10000"/>
                <a:gd name="connsiteX22" fmla="*/ 489 w 10000"/>
                <a:gd name="connsiteY22" fmla="*/ 7580 h 10000"/>
                <a:gd name="connsiteX23" fmla="*/ 703 w 10000"/>
                <a:gd name="connsiteY23" fmla="*/ 7593 h 10000"/>
                <a:gd name="connsiteX24" fmla="*/ 909 w 10000"/>
                <a:gd name="connsiteY24" fmla="*/ 8110 h 10000"/>
                <a:gd name="connsiteX25" fmla="*/ 1150 w 10000"/>
                <a:gd name="connsiteY25" fmla="*/ 8238 h 10000"/>
                <a:gd name="connsiteX26" fmla="*/ 1255 w 10000"/>
                <a:gd name="connsiteY26" fmla="*/ 8379 h 10000"/>
                <a:gd name="connsiteX27" fmla="*/ 1514 w 10000"/>
                <a:gd name="connsiteY27" fmla="*/ 8479 h 10000"/>
                <a:gd name="connsiteX28" fmla="*/ 1684 w 10000"/>
                <a:gd name="connsiteY28" fmla="*/ 8610 h 10000"/>
                <a:gd name="connsiteX29" fmla="*/ 1661 w 10000"/>
                <a:gd name="connsiteY29" fmla="*/ 8703 h 10000"/>
                <a:gd name="connsiteX30" fmla="*/ 1496 w 10000"/>
                <a:gd name="connsiteY30" fmla="*/ 8737 h 10000"/>
                <a:gd name="connsiteX31" fmla="*/ 1316 w 10000"/>
                <a:gd name="connsiteY31" fmla="*/ 8715 h 10000"/>
                <a:gd name="connsiteX32" fmla="*/ 1260 w 10000"/>
                <a:gd name="connsiteY32" fmla="*/ 8752 h 10000"/>
                <a:gd name="connsiteX33" fmla="*/ 1397 w 10000"/>
                <a:gd name="connsiteY33" fmla="*/ 8953 h 10000"/>
                <a:gd name="connsiteX34" fmla="*/ 1205 w 10000"/>
                <a:gd name="connsiteY34" fmla="*/ 8936 h 10000"/>
                <a:gd name="connsiteX35" fmla="*/ 1040 w 10000"/>
                <a:gd name="connsiteY35" fmla="*/ 8887 h 10000"/>
                <a:gd name="connsiteX36" fmla="*/ 1012 w 10000"/>
                <a:gd name="connsiteY36" fmla="*/ 8962 h 10000"/>
                <a:gd name="connsiteX37" fmla="*/ 1557 w 10000"/>
                <a:gd name="connsiteY37" fmla="*/ 9650 h 10000"/>
                <a:gd name="connsiteX38" fmla="*/ 1469 w 10000"/>
                <a:gd name="connsiteY38" fmla="*/ 9714 h 10000"/>
                <a:gd name="connsiteX39" fmla="*/ 1408 w 10000"/>
                <a:gd name="connsiteY39" fmla="*/ 9846 h 10000"/>
                <a:gd name="connsiteX40" fmla="*/ 1329 w 10000"/>
                <a:gd name="connsiteY40" fmla="*/ 9856 h 10000"/>
                <a:gd name="connsiteX41" fmla="*/ 1281 w 10000"/>
                <a:gd name="connsiteY41" fmla="*/ 9915 h 10000"/>
                <a:gd name="connsiteX42" fmla="*/ 1609 w 10000"/>
                <a:gd name="connsiteY42" fmla="*/ 9920 h 10000"/>
                <a:gd name="connsiteX43" fmla="*/ 1900 w 10000"/>
                <a:gd name="connsiteY43" fmla="*/ 9977 h 10000"/>
                <a:gd name="connsiteX44" fmla="*/ 2383 w 10000"/>
                <a:gd name="connsiteY44" fmla="*/ 9917 h 10000"/>
                <a:gd name="connsiteX45" fmla="*/ 2816 w 10000"/>
                <a:gd name="connsiteY45" fmla="*/ 9929 h 10000"/>
                <a:gd name="connsiteX46" fmla="*/ 3072 w 10000"/>
                <a:gd name="connsiteY46" fmla="*/ 10000 h 10000"/>
                <a:gd name="connsiteX47" fmla="*/ 3212 w 10000"/>
                <a:gd name="connsiteY47" fmla="*/ 9952 h 10000"/>
                <a:gd name="connsiteX48" fmla="*/ 3348 w 10000"/>
                <a:gd name="connsiteY48" fmla="*/ 9793 h 10000"/>
                <a:gd name="connsiteX49" fmla="*/ 3313 w 10000"/>
                <a:gd name="connsiteY49" fmla="*/ 9532 h 10000"/>
                <a:gd name="connsiteX50" fmla="*/ 3642 w 10000"/>
                <a:gd name="connsiteY50" fmla="*/ 9244 h 10000"/>
                <a:gd name="connsiteX51" fmla="*/ 3883 w 10000"/>
                <a:gd name="connsiteY51" fmla="*/ 9290 h 10000"/>
                <a:gd name="connsiteX52" fmla="*/ 4025 w 10000"/>
                <a:gd name="connsiteY52" fmla="*/ 9175 h 10000"/>
                <a:gd name="connsiteX53" fmla="*/ 4294 w 10000"/>
                <a:gd name="connsiteY53" fmla="*/ 9108 h 10000"/>
                <a:gd name="connsiteX54" fmla="*/ 4658 w 10000"/>
                <a:gd name="connsiteY54" fmla="*/ 9124 h 10000"/>
                <a:gd name="connsiteX55" fmla="*/ 4878 w 10000"/>
                <a:gd name="connsiteY55" fmla="*/ 9169 h 10000"/>
                <a:gd name="connsiteX56" fmla="*/ 5170 w 10000"/>
                <a:gd name="connsiteY56" fmla="*/ 9150 h 10000"/>
                <a:gd name="connsiteX57" fmla="*/ 5464 w 10000"/>
                <a:gd name="connsiteY57" fmla="*/ 9199 h 10000"/>
                <a:gd name="connsiteX58" fmla="*/ 5759 w 10000"/>
                <a:gd name="connsiteY58" fmla="*/ 9206 h 10000"/>
                <a:gd name="connsiteX59" fmla="*/ 6419 w 10000"/>
                <a:gd name="connsiteY59" fmla="*/ 8530 h 10000"/>
                <a:gd name="connsiteX60" fmla="*/ 6586 w 10000"/>
                <a:gd name="connsiteY60" fmla="*/ 7978 h 10000"/>
                <a:gd name="connsiteX61" fmla="*/ 6855 w 10000"/>
                <a:gd name="connsiteY61" fmla="*/ 7734 h 10000"/>
                <a:gd name="connsiteX62" fmla="*/ 6855 w 10000"/>
                <a:gd name="connsiteY62" fmla="*/ 7604 h 10000"/>
                <a:gd name="connsiteX63" fmla="*/ 6757 w 10000"/>
                <a:gd name="connsiteY63" fmla="*/ 7533 h 10000"/>
                <a:gd name="connsiteX64" fmla="*/ 6915 w 10000"/>
                <a:gd name="connsiteY64" fmla="*/ 7416 h 10000"/>
                <a:gd name="connsiteX65" fmla="*/ 6887 w 10000"/>
                <a:gd name="connsiteY65" fmla="*/ 7320 h 10000"/>
                <a:gd name="connsiteX66" fmla="*/ 6779 w 10000"/>
                <a:gd name="connsiteY66" fmla="*/ 7238 h 10000"/>
                <a:gd name="connsiteX67" fmla="*/ 6757 w 10000"/>
                <a:gd name="connsiteY67" fmla="*/ 7175 h 10000"/>
                <a:gd name="connsiteX68" fmla="*/ 6785 w 10000"/>
                <a:gd name="connsiteY68" fmla="*/ 7129 h 10000"/>
                <a:gd name="connsiteX69" fmla="*/ 6931 w 10000"/>
                <a:gd name="connsiteY69" fmla="*/ 7166 h 10000"/>
                <a:gd name="connsiteX70" fmla="*/ 7045 w 10000"/>
                <a:gd name="connsiteY70" fmla="*/ 7164 h 10000"/>
                <a:gd name="connsiteX71" fmla="*/ 6983 w 10000"/>
                <a:gd name="connsiteY71" fmla="*/ 7086 h 10000"/>
                <a:gd name="connsiteX72" fmla="*/ 7003 w 10000"/>
                <a:gd name="connsiteY72" fmla="*/ 7039 h 10000"/>
                <a:gd name="connsiteX73" fmla="*/ 7089 w 10000"/>
                <a:gd name="connsiteY73" fmla="*/ 6973 h 10000"/>
                <a:gd name="connsiteX74" fmla="*/ 7074 w 10000"/>
                <a:gd name="connsiteY74" fmla="*/ 6919 h 10000"/>
                <a:gd name="connsiteX75" fmla="*/ 7152 w 10000"/>
                <a:gd name="connsiteY75" fmla="*/ 6735 h 10000"/>
                <a:gd name="connsiteX76" fmla="*/ 7130 w 10000"/>
                <a:gd name="connsiteY76" fmla="*/ 6679 h 10000"/>
                <a:gd name="connsiteX77" fmla="*/ 6729 w 10000"/>
                <a:gd name="connsiteY77" fmla="*/ 6539 h 10000"/>
                <a:gd name="connsiteX78" fmla="*/ 6785 w 10000"/>
                <a:gd name="connsiteY78" fmla="*/ 6534 h 10000"/>
                <a:gd name="connsiteX79" fmla="*/ 6998 w 10000"/>
                <a:gd name="connsiteY79" fmla="*/ 6570 h 10000"/>
                <a:gd name="connsiteX80" fmla="*/ 7230 w 10000"/>
                <a:gd name="connsiteY80" fmla="*/ 6557 h 10000"/>
                <a:gd name="connsiteX81" fmla="*/ 7295 w 10000"/>
                <a:gd name="connsiteY81" fmla="*/ 6506 h 10000"/>
                <a:gd name="connsiteX82" fmla="*/ 7074 w 10000"/>
                <a:gd name="connsiteY82" fmla="*/ 6411 h 10000"/>
                <a:gd name="connsiteX83" fmla="*/ 6414 w 10000"/>
                <a:gd name="connsiteY83" fmla="*/ 6349 h 10000"/>
                <a:gd name="connsiteX84" fmla="*/ 6458 w 10000"/>
                <a:gd name="connsiteY84" fmla="*/ 6320 h 10000"/>
                <a:gd name="connsiteX85" fmla="*/ 6998 w 10000"/>
                <a:gd name="connsiteY85" fmla="*/ 6300 h 10000"/>
                <a:gd name="connsiteX86" fmla="*/ 7295 w 10000"/>
                <a:gd name="connsiteY86" fmla="*/ 6358 h 10000"/>
                <a:gd name="connsiteX87" fmla="*/ 7466 w 10000"/>
                <a:gd name="connsiteY87" fmla="*/ 6320 h 10000"/>
                <a:gd name="connsiteX88" fmla="*/ 7529 w 10000"/>
                <a:gd name="connsiteY88" fmla="*/ 6221 h 10000"/>
                <a:gd name="connsiteX89" fmla="*/ 7840 w 10000"/>
                <a:gd name="connsiteY89" fmla="*/ 6221 h 10000"/>
                <a:gd name="connsiteX90" fmla="*/ 8261 w 10000"/>
                <a:gd name="connsiteY90" fmla="*/ 6023 h 10000"/>
                <a:gd name="connsiteX91" fmla="*/ 8275 w 10000"/>
                <a:gd name="connsiteY91" fmla="*/ 5890 h 10000"/>
                <a:gd name="connsiteX92" fmla="*/ 8453 w 10000"/>
                <a:gd name="connsiteY92" fmla="*/ 5920 h 10000"/>
                <a:gd name="connsiteX93" fmla="*/ 8446 w 10000"/>
                <a:gd name="connsiteY93" fmla="*/ 6053 h 10000"/>
                <a:gd name="connsiteX94" fmla="*/ 8727 w 10000"/>
                <a:gd name="connsiteY94" fmla="*/ 6044 h 10000"/>
                <a:gd name="connsiteX95" fmla="*/ 8913 w 10000"/>
                <a:gd name="connsiteY95" fmla="*/ 5906 h 10000"/>
                <a:gd name="connsiteX96" fmla="*/ 9258 w 10000"/>
                <a:gd name="connsiteY96" fmla="*/ 5782 h 10000"/>
                <a:gd name="connsiteX97" fmla="*/ 9203 w 10000"/>
                <a:gd name="connsiteY97" fmla="*/ 5641 h 10000"/>
                <a:gd name="connsiteX98" fmla="*/ 9306 w 10000"/>
                <a:gd name="connsiteY98" fmla="*/ 5697 h 10000"/>
                <a:gd name="connsiteX99" fmla="*/ 9464 w 10000"/>
                <a:gd name="connsiteY99" fmla="*/ 5697 h 10000"/>
                <a:gd name="connsiteX100" fmla="*/ 9464 w 10000"/>
                <a:gd name="connsiteY100" fmla="*/ 5631 h 10000"/>
                <a:gd name="connsiteX101" fmla="*/ 9611 w 10000"/>
                <a:gd name="connsiteY101" fmla="*/ 5583 h 10000"/>
                <a:gd name="connsiteX102" fmla="*/ 9592 w 10000"/>
                <a:gd name="connsiteY102" fmla="*/ 5532 h 10000"/>
                <a:gd name="connsiteX103" fmla="*/ 8350 w 10000"/>
                <a:gd name="connsiteY103" fmla="*/ 5633 h 10000"/>
                <a:gd name="connsiteX104" fmla="*/ 8058 w 10000"/>
                <a:gd name="connsiteY104" fmla="*/ 5604 h 10000"/>
                <a:gd name="connsiteX105" fmla="*/ 7942 w 10000"/>
                <a:gd name="connsiteY105" fmla="*/ 5641 h 10000"/>
                <a:gd name="connsiteX106" fmla="*/ 7903 w 10000"/>
                <a:gd name="connsiteY106" fmla="*/ 5569 h 10000"/>
                <a:gd name="connsiteX107" fmla="*/ 7765 w 10000"/>
                <a:gd name="connsiteY107" fmla="*/ 5507 h 10000"/>
                <a:gd name="connsiteX108" fmla="*/ 7213 w 10000"/>
                <a:gd name="connsiteY108" fmla="*/ 5378 h 10000"/>
                <a:gd name="connsiteX109" fmla="*/ 6887 w 10000"/>
                <a:gd name="connsiteY109" fmla="*/ 5400 h 10000"/>
                <a:gd name="connsiteX110" fmla="*/ 6757 w 10000"/>
                <a:gd name="connsiteY110" fmla="*/ 5363 h 10000"/>
                <a:gd name="connsiteX111" fmla="*/ 6894 w 10000"/>
                <a:gd name="connsiteY111" fmla="*/ 5332 h 10000"/>
                <a:gd name="connsiteX112" fmla="*/ 6998 w 10000"/>
                <a:gd name="connsiteY112" fmla="*/ 5264 h 10000"/>
                <a:gd name="connsiteX113" fmla="*/ 7152 w 10000"/>
                <a:gd name="connsiteY113" fmla="*/ 5285 h 10000"/>
                <a:gd name="connsiteX114" fmla="*/ 7335 w 10000"/>
                <a:gd name="connsiteY114" fmla="*/ 5268 h 10000"/>
                <a:gd name="connsiteX115" fmla="*/ 7611 w 10000"/>
                <a:gd name="connsiteY115" fmla="*/ 5290 h 10000"/>
                <a:gd name="connsiteX116" fmla="*/ 7645 w 10000"/>
                <a:gd name="connsiteY116" fmla="*/ 5281 h 10000"/>
                <a:gd name="connsiteX117" fmla="*/ 7859 w 10000"/>
                <a:gd name="connsiteY117" fmla="*/ 5385 h 10000"/>
                <a:gd name="connsiteX118" fmla="*/ 8017 w 10000"/>
                <a:gd name="connsiteY118" fmla="*/ 5346 h 10000"/>
                <a:gd name="connsiteX119" fmla="*/ 8032 w 10000"/>
                <a:gd name="connsiteY119" fmla="*/ 5311 h 10000"/>
                <a:gd name="connsiteX120" fmla="*/ 8176 w 10000"/>
                <a:gd name="connsiteY120" fmla="*/ 5373 h 10000"/>
                <a:gd name="connsiteX121" fmla="*/ 8369 w 10000"/>
                <a:gd name="connsiteY121" fmla="*/ 5406 h 10000"/>
                <a:gd name="connsiteX122" fmla="*/ 8446 w 10000"/>
                <a:gd name="connsiteY122" fmla="*/ 5344 h 10000"/>
                <a:gd name="connsiteX123" fmla="*/ 8507 w 10000"/>
                <a:gd name="connsiteY123" fmla="*/ 5378 h 10000"/>
                <a:gd name="connsiteX124" fmla="*/ 8596 w 10000"/>
                <a:gd name="connsiteY124" fmla="*/ 5499 h 10000"/>
                <a:gd name="connsiteX125" fmla="*/ 8782 w 10000"/>
                <a:gd name="connsiteY125" fmla="*/ 5525 h 10000"/>
                <a:gd name="connsiteX126" fmla="*/ 9542 w 10000"/>
                <a:gd name="connsiteY126" fmla="*/ 5350 h 10000"/>
                <a:gd name="connsiteX127" fmla="*/ 9914 w 10000"/>
                <a:gd name="connsiteY127" fmla="*/ 5107 h 10000"/>
                <a:gd name="connsiteX128" fmla="*/ 10000 w 10000"/>
                <a:gd name="connsiteY128" fmla="*/ 4930 h 10000"/>
                <a:gd name="connsiteX129" fmla="*/ 9866 w 10000"/>
                <a:gd name="connsiteY129" fmla="*/ 4770 h 10000"/>
                <a:gd name="connsiteX130" fmla="*/ 9582 w 10000"/>
                <a:gd name="connsiteY130" fmla="*/ 4674 h 10000"/>
                <a:gd name="connsiteX131" fmla="*/ 9382 w 10000"/>
                <a:gd name="connsiteY131" fmla="*/ 4516 h 10000"/>
                <a:gd name="connsiteX132" fmla="*/ 9569 w 10000"/>
                <a:gd name="connsiteY132" fmla="*/ 4511 h 10000"/>
                <a:gd name="connsiteX133" fmla="*/ 9555 w 10000"/>
                <a:gd name="connsiteY133" fmla="*/ 4473 h 10000"/>
                <a:gd name="connsiteX134" fmla="*/ 9068 w 10000"/>
                <a:gd name="connsiteY134" fmla="*/ 4364 h 10000"/>
                <a:gd name="connsiteX135" fmla="*/ 9047 w 10000"/>
                <a:gd name="connsiteY135" fmla="*/ 4262 h 10000"/>
                <a:gd name="connsiteX136" fmla="*/ 8953 w 10000"/>
                <a:gd name="connsiteY136" fmla="*/ 4156 h 10000"/>
                <a:gd name="connsiteX137" fmla="*/ 8569 w 10000"/>
                <a:gd name="connsiteY137" fmla="*/ 4176 h 10000"/>
                <a:gd name="connsiteX138" fmla="*/ 8431 w 10000"/>
                <a:gd name="connsiteY138" fmla="*/ 4062 h 10000"/>
                <a:gd name="connsiteX139" fmla="*/ 8350 w 10000"/>
                <a:gd name="connsiteY139" fmla="*/ 4056 h 10000"/>
                <a:gd name="connsiteX140" fmla="*/ 8350 w 10000"/>
                <a:gd name="connsiteY140" fmla="*/ 4105 h 10000"/>
                <a:gd name="connsiteX141" fmla="*/ 8176 w 10000"/>
                <a:gd name="connsiteY141" fmla="*/ 4294 h 10000"/>
                <a:gd name="connsiteX142" fmla="*/ 7990 w 10000"/>
                <a:gd name="connsiteY142" fmla="*/ 4405 h 10000"/>
                <a:gd name="connsiteX143" fmla="*/ 7401 w 10000"/>
                <a:gd name="connsiteY143" fmla="*/ 4594 h 10000"/>
                <a:gd name="connsiteX144" fmla="*/ 7198 w 10000"/>
                <a:gd name="connsiteY144" fmla="*/ 4588 h 10000"/>
                <a:gd name="connsiteX145" fmla="*/ 6915 w 10000"/>
                <a:gd name="connsiteY145" fmla="*/ 4618 h 10000"/>
                <a:gd name="connsiteX146" fmla="*/ 6757 w 10000"/>
                <a:gd name="connsiteY146" fmla="*/ 4588 h 10000"/>
                <a:gd name="connsiteX147" fmla="*/ 6965 w 10000"/>
                <a:gd name="connsiteY147" fmla="*/ 4534 h 10000"/>
                <a:gd name="connsiteX148" fmla="*/ 7235 w 10000"/>
                <a:gd name="connsiteY148" fmla="*/ 4511 h 10000"/>
                <a:gd name="connsiteX149" fmla="*/ 7455 w 10000"/>
                <a:gd name="connsiteY149" fmla="*/ 4423 h 10000"/>
                <a:gd name="connsiteX150" fmla="*/ 7674 w 10000"/>
                <a:gd name="connsiteY150" fmla="*/ 4381 h 10000"/>
                <a:gd name="connsiteX151" fmla="*/ 8082 w 10000"/>
                <a:gd name="connsiteY151" fmla="*/ 4225 h 10000"/>
                <a:gd name="connsiteX152" fmla="*/ 8157 w 10000"/>
                <a:gd name="connsiteY152" fmla="*/ 4125 h 10000"/>
                <a:gd name="connsiteX153" fmla="*/ 8165 w 10000"/>
                <a:gd name="connsiteY153" fmla="*/ 3994 h 10000"/>
                <a:gd name="connsiteX154" fmla="*/ 7978 w 10000"/>
                <a:gd name="connsiteY154" fmla="*/ 3972 h 10000"/>
                <a:gd name="connsiteX155" fmla="*/ 8058 w 10000"/>
                <a:gd name="connsiteY155" fmla="*/ 3892 h 10000"/>
                <a:gd name="connsiteX156" fmla="*/ 8087 w 10000"/>
                <a:gd name="connsiteY156" fmla="*/ 3791 h 10000"/>
                <a:gd name="connsiteX157" fmla="*/ 8007 w 10000"/>
                <a:gd name="connsiteY157" fmla="*/ 3697 h 10000"/>
                <a:gd name="connsiteX158" fmla="*/ 3760 w 10000"/>
                <a:gd name="connsiteY158" fmla="*/ 0 h 10000"/>
                <a:gd name="connsiteX159" fmla="*/ 3405 w 10000"/>
                <a:gd name="connsiteY159" fmla="*/ 83 h 10000"/>
                <a:gd name="connsiteX160" fmla="*/ 2375 w 10000"/>
                <a:gd name="connsiteY160" fmla="*/ 1896 h 10000"/>
                <a:gd name="connsiteX161" fmla="*/ 2226 w 10000"/>
                <a:gd name="connsiteY161" fmla="*/ 2522 h 10000"/>
                <a:gd name="connsiteX162" fmla="*/ 2375 w 10000"/>
                <a:gd name="connsiteY162" fmla="*/ 2680 h 10000"/>
                <a:gd name="connsiteX163" fmla="*/ 2791 w 10000"/>
                <a:gd name="connsiteY163" fmla="*/ 2856 h 10000"/>
                <a:gd name="connsiteX164" fmla="*/ 2808 w 10000"/>
                <a:gd name="connsiteY164" fmla="*/ 3068 h 10000"/>
                <a:gd name="connsiteX165" fmla="*/ 2632 w 10000"/>
                <a:gd name="connsiteY165" fmla="*/ 3245 h 10000"/>
                <a:gd name="connsiteX166" fmla="*/ 2375 w 10000"/>
                <a:gd name="connsiteY166" fmla="*/ 3353 h 10000"/>
                <a:gd name="connsiteX167" fmla="*/ 2039 w 10000"/>
                <a:gd name="connsiteY167" fmla="*/ 3396 h 10000"/>
                <a:gd name="connsiteX168" fmla="*/ 1950 w 10000"/>
                <a:gd name="connsiteY168" fmla="*/ 3459 h 10000"/>
                <a:gd name="connsiteX169" fmla="*/ 2148 w 10000"/>
                <a:gd name="connsiteY169" fmla="*/ 3606 h 10000"/>
                <a:gd name="connsiteX170" fmla="*/ 2261 w 10000"/>
                <a:gd name="connsiteY170" fmla="*/ 3955 h 10000"/>
                <a:gd name="connsiteX171" fmla="*/ 2005 w 10000"/>
                <a:gd name="connsiteY171" fmla="*/ 4254 h 10000"/>
                <a:gd name="connsiteX172" fmla="*/ 2094 w 10000"/>
                <a:gd name="connsiteY172" fmla="*/ 4345 h 10000"/>
                <a:gd name="connsiteX173" fmla="*/ 2012 w 10000"/>
                <a:gd name="connsiteY173" fmla="*/ 4501 h 10000"/>
                <a:gd name="connsiteX174" fmla="*/ 1850 w 10000"/>
                <a:gd name="connsiteY174" fmla="*/ 4610 h 10000"/>
                <a:gd name="connsiteX175" fmla="*/ 1199 w 10000"/>
                <a:gd name="connsiteY175" fmla="*/ 4692 h 10000"/>
                <a:gd name="connsiteX176" fmla="*/ 1158 w 10000"/>
                <a:gd name="connsiteY176" fmla="*/ 4837 h 10000"/>
                <a:gd name="connsiteX177" fmla="*/ 808 w 10000"/>
                <a:gd name="connsiteY177" fmla="*/ 5051 h 10000"/>
                <a:gd name="connsiteX178" fmla="*/ 854 w 10000"/>
                <a:gd name="connsiteY178" fmla="*/ 5361 h 10000"/>
                <a:gd name="connsiteX179" fmla="*/ 560 w 10000"/>
                <a:gd name="connsiteY179" fmla="*/ 5758 h 10000"/>
                <a:gd name="connsiteX180" fmla="*/ 358 w 10000"/>
                <a:gd name="connsiteY180" fmla="*/ 5804 h 10000"/>
                <a:gd name="connsiteX181" fmla="*/ 275 w 10000"/>
                <a:gd name="connsiteY181" fmla="*/ 5710 h 10000"/>
                <a:gd name="connsiteX182" fmla="*/ 174 w 10000"/>
                <a:gd name="connsiteY182" fmla="*/ 5852 h 10000"/>
                <a:gd name="connsiteX183" fmla="*/ 239 w 10000"/>
                <a:gd name="connsiteY183" fmla="*/ 5606 h 10000"/>
                <a:gd name="connsiteX184" fmla="*/ 197 w 10000"/>
                <a:gd name="connsiteY184" fmla="*/ 5560 h 10000"/>
                <a:gd name="connsiteX0" fmla="*/ 197 w 10000"/>
                <a:gd name="connsiteY0" fmla="*/ 5560 h 10000"/>
                <a:gd name="connsiteX1" fmla="*/ 0 w 10000"/>
                <a:gd name="connsiteY1" fmla="*/ 5688 h 10000"/>
                <a:gd name="connsiteX2" fmla="*/ 0 w 10000"/>
                <a:gd name="connsiteY2" fmla="*/ 6320 h 10000"/>
                <a:gd name="connsiteX3" fmla="*/ 109 w 10000"/>
                <a:gd name="connsiteY3" fmla="*/ 6337 h 10000"/>
                <a:gd name="connsiteX4" fmla="*/ 134 w 10000"/>
                <a:gd name="connsiteY4" fmla="*/ 6386 h 10000"/>
                <a:gd name="connsiteX5" fmla="*/ 130 w 10000"/>
                <a:gd name="connsiteY5" fmla="*/ 6472 h 10000"/>
                <a:gd name="connsiteX6" fmla="*/ 89 w 10000"/>
                <a:gd name="connsiteY6" fmla="*/ 6510 h 10000"/>
                <a:gd name="connsiteX7" fmla="*/ 255 w 10000"/>
                <a:gd name="connsiteY7" fmla="*/ 6436 h 10000"/>
                <a:gd name="connsiteX8" fmla="*/ 325 w 10000"/>
                <a:gd name="connsiteY8" fmla="*/ 6365 h 10000"/>
                <a:gd name="connsiteX9" fmla="*/ 413 w 10000"/>
                <a:gd name="connsiteY9" fmla="*/ 6413 h 10000"/>
                <a:gd name="connsiteX10" fmla="*/ 316 w 10000"/>
                <a:gd name="connsiteY10" fmla="*/ 6518 h 10000"/>
                <a:gd name="connsiteX11" fmla="*/ 419 w 10000"/>
                <a:gd name="connsiteY11" fmla="*/ 6520 h 10000"/>
                <a:gd name="connsiteX12" fmla="*/ 469 w 10000"/>
                <a:gd name="connsiteY12" fmla="*/ 6546 h 10000"/>
                <a:gd name="connsiteX13" fmla="*/ 337 w 10000"/>
                <a:gd name="connsiteY13" fmla="*/ 6579 h 10000"/>
                <a:gd name="connsiteX14" fmla="*/ 130 w 10000"/>
                <a:gd name="connsiteY14" fmla="*/ 6685 h 10000"/>
                <a:gd name="connsiteX15" fmla="*/ 497 w 10000"/>
                <a:gd name="connsiteY15" fmla="*/ 6769 h 10000"/>
                <a:gd name="connsiteX16" fmla="*/ 545 w 10000"/>
                <a:gd name="connsiteY16" fmla="*/ 6887 h 10000"/>
                <a:gd name="connsiteX17" fmla="*/ 419 w 10000"/>
                <a:gd name="connsiteY17" fmla="*/ 7061 h 10000"/>
                <a:gd name="connsiteX18" fmla="*/ 688 w 10000"/>
                <a:gd name="connsiteY18" fmla="*/ 7051 h 10000"/>
                <a:gd name="connsiteX19" fmla="*/ 709 w 10000"/>
                <a:gd name="connsiteY19" fmla="*/ 7181 h 10000"/>
                <a:gd name="connsiteX20" fmla="*/ 530 w 10000"/>
                <a:gd name="connsiteY20" fmla="*/ 7273 h 10000"/>
                <a:gd name="connsiteX21" fmla="*/ 560 w 10000"/>
                <a:gd name="connsiteY21" fmla="*/ 7444 h 10000"/>
                <a:gd name="connsiteX22" fmla="*/ 489 w 10000"/>
                <a:gd name="connsiteY22" fmla="*/ 7580 h 10000"/>
                <a:gd name="connsiteX23" fmla="*/ 703 w 10000"/>
                <a:gd name="connsiteY23" fmla="*/ 7593 h 10000"/>
                <a:gd name="connsiteX24" fmla="*/ 909 w 10000"/>
                <a:gd name="connsiteY24" fmla="*/ 8110 h 10000"/>
                <a:gd name="connsiteX25" fmla="*/ 1150 w 10000"/>
                <a:gd name="connsiteY25" fmla="*/ 8238 h 10000"/>
                <a:gd name="connsiteX26" fmla="*/ 1255 w 10000"/>
                <a:gd name="connsiteY26" fmla="*/ 8379 h 10000"/>
                <a:gd name="connsiteX27" fmla="*/ 1514 w 10000"/>
                <a:gd name="connsiteY27" fmla="*/ 8479 h 10000"/>
                <a:gd name="connsiteX28" fmla="*/ 1684 w 10000"/>
                <a:gd name="connsiteY28" fmla="*/ 8610 h 10000"/>
                <a:gd name="connsiteX29" fmla="*/ 1661 w 10000"/>
                <a:gd name="connsiteY29" fmla="*/ 8703 h 10000"/>
                <a:gd name="connsiteX30" fmla="*/ 1496 w 10000"/>
                <a:gd name="connsiteY30" fmla="*/ 8737 h 10000"/>
                <a:gd name="connsiteX31" fmla="*/ 1316 w 10000"/>
                <a:gd name="connsiteY31" fmla="*/ 8715 h 10000"/>
                <a:gd name="connsiteX32" fmla="*/ 1260 w 10000"/>
                <a:gd name="connsiteY32" fmla="*/ 8752 h 10000"/>
                <a:gd name="connsiteX33" fmla="*/ 1397 w 10000"/>
                <a:gd name="connsiteY33" fmla="*/ 8953 h 10000"/>
                <a:gd name="connsiteX34" fmla="*/ 1205 w 10000"/>
                <a:gd name="connsiteY34" fmla="*/ 8936 h 10000"/>
                <a:gd name="connsiteX35" fmla="*/ 1040 w 10000"/>
                <a:gd name="connsiteY35" fmla="*/ 8887 h 10000"/>
                <a:gd name="connsiteX36" fmla="*/ 1012 w 10000"/>
                <a:gd name="connsiteY36" fmla="*/ 8962 h 10000"/>
                <a:gd name="connsiteX37" fmla="*/ 1557 w 10000"/>
                <a:gd name="connsiteY37" fmla="*/ 9650 h 10000"/>
                <a:gd name="connsiteX38" fmla="*/ 1469 w 10000"/>
                <a:gd name="connsiteY38" fmla="*/ 9714 h 10000"/>
                <a:gd name="connsiteX39" fmla="*/ 1408 w 10000"/>
                <a:gd name="connsiteY39" fmla="*/ 9846 h 10000"/>
                <a:gd name="connsiteX40" fmla="*/ 1329 w 10000"/>
                <a:gd name="connsiteY40" fmla="*/ 9856 h 10000"/>
                <a:gd name="connsiteX41" fmla="*/ 1281 w 10000"/>
                <a:gd name="connsiteY41" fmla="*/ 9915 h 10000"/>
                <a:gd name="connsiteX42" fmla="*/ 1609 w 10000"/>
                <a:gd name="connsiteY42" fmla="*/ 9920 h 10000"/>
                <a:gd name="connsiteX43" fmla="*/ 1900 w 10000"/>
                <a:gd name="connsiteY43" fmla="*/ 9977 h 10000"/>
                <a:gd name="connsiteX44" fmla="*/ 2383 w 10000"/>
                <a:gd name="connsiteY44" fmla="*/ 9917 h 10000"/>
                <a:gd name="connsiteX45" fmla="*/ 2816 w 10000"/>
                <a:gd name="connsiteY45" fmla="*/ 9929 h 10000"/>
                <a:gd name="connsiteX46" fmla="*/ 3072 w 10000"/>
                <a:gd name="connsiteY46" fmla="*/ 10000 h 10000"/>
                <a:gd name="connsiteX47" fmla="*/ 3212 w 10000"/>
                <a:gd name="connsiteY47" fmla="*/ 9952 h 10000"/>
                <a:gd name="connsiteX48" fmla="*/ 3348 w 10000"/>
                <a:gd name="connsiteY48" fmla="*/ 9793 h 10000"/>
                <a:gd name="connsiteX49" fmla="*/ 3313 w 10000"/>
                <a:gd name="connsiteY49" fmla="*/ 9532 h 10000"/>
                <a:gd name="connsiteX50" fmla="*/ 3642 w 10000"/>
                <a:gd name="connsiteY50" fmla="*/ 9244 h 10000"/>
                <a:gd name="connsiteX51" fmla="*/ 3883 w 10000"/>
                <a:gd name="connsiteY51" fmla="*/ 9290 h 10000"/>
                <a:gd name="connsiteX52" fmla="*/ 4025 w 10000"/>
                <a:gd name="connsiteY52" fmla="*/ 9175 h 10000"/>
                <a:gd name="connsiteX53" fmla="*/ 4294 w 10000"/>
                <a:gd name="connsiteY53" fmla="*/ 9108 h 10000"/>
                <a:gd name="connsiteX54" fmla="*/ 4658 w 10000"/>
                <a:gd name="connsiteY54" fmla="*/ 9124 h 10000"/>
                <a:gd name="connsiteX55" fmla="*/ 4878 w 10000"/>
                <a:gd name="connsiteY55" fmla="*/ 9169 h 10000"/>
                <a:gd name="connsiteX56" fmla="*/ 5170 w 10000"/>
                <a:gd name="connsiteY56" fmla="*/ 9150 h 10000"/>
                <a:gd name="connsiteX57" fmla="*/ 5464 w 10000"/>
                <a:gd name="connsiteY57" fmla="*/ 9199 h 10000"/>
                <a:gd name="connsiteX58" fmla="*/ 5759 w 10000"/>
                <a:gd name="connsiteY58" fmla="*/ 9206 h 10000"/>
                <a:gd name="connsiteX59" fmla="*/ 6419 w 10000"/>
                <a:gd name="connsiteY59" fmla="*/ 8530 h 10000"/>
                <a:gd name="connsiteX60" fmla="*/ 6586 w 10000"/>
                <a:gd name="connsiteY60" fmla="*/ 7978 h 10000"/>
                <a:gd name="connsiteX61" fmla="*/ 6855 w 10000"/>
                <a:gd name="connsiteY61" fmla="*/ 7734 h 10000"/>
                <a:gd name="connsiteX62" fmla="*/ 6855 w 10000"/>
                <a:gd name="connsiteY62" fmla="*/ 7604 h 10000"/>
                <a:gd name="connsiteX63" fmla="*/ 6757 w 10000"/>
                <a:gd name="connsiteY63" fmla="*/ 7533 h 10000"/>
                <a:gd name="connsiteX64" fmla="*/ 6915 w 10000"/>
                <a:gd name="connsiteY64" fmla="*/ 7416 h 10000"/>
                <a:gd name="connsiteX65" fmla="*/ 6887 w 10000"/>
                <a:gd name="connsiteY65" fmla="*/ 7320 h 10000"/>
                <a:gd name="connsiteX66" fmla="*/ 6779 w 10000"/>
                <a:gd name="connsiteY66" fmla="*/ 7238 h 10000"/>
                <a:gd name="connsiteX67" fmla="*/ 6757 w 10000"/>
                <a:gd name="connsiteY67" fmla="*/ 7175 h 10000"/>
                <a:gd name="connsiteX68" fmla="*/ 6785 w 10000"/>
                <a:gd name="connsiteY68" fmla="*/ 7129 h 10000"/>
                <a:gd name="connsiteX69" fmla="*/ 6931 w 10000"/>
                <a:gd name="connsiteY69" fmla="*/ 7166 h 10000"/>
                <a:gd name="connsiteX70" fmla="*/ 7045 w 10000"/>
                <a:gd name="connsiteY70" fmla="*/ 7164 h 10000"/>
                <a:gd name="connsiteX71" fmla="*/ 6983 w 10000"/>
                <a:gd name="connsiteY71" fmla="*/ 7086 h 10000"/>
                <a:gd name="connsiteX72" fmla="*/ 7003 w 10000"/>
                <a:gd name="connsiteY72" fmla="*/ 7039 h 10000"/>
                <a:gd name="connsiteX73" fmla="*/ 7089 w 10000"/>
                <a:gd name="connsiteY73" fmla="*/ 6973 h 10000"/>
                <a:gd name="connsiteX74" fmla="*/ 7074 w 10000"/>
                <a:gd name="connsiteY74" fmla="*/ 6919 h 10000"/>
                <a:gd name="connsiteX75" fmla="*/ 7152 w 10000"/>
                <a:gd name="connsiteY75" fmla="*/ 6735 h 10000"/>
                <a:gd name="connsiteX76" fmla="*/ 7130 w 10000"/>
                <a:gd name="connsiteY76" fmla="*/ 6679 h 10000"/>
                <a:gd name="connsiteX77" fmla="*/ 6729 w 10000"/>
                <a:gd name="connsiteY77" fmla="*/ 6539 h 10000"/>
                <a:gd name="connsiteX78" fmla="*/ 6785 w 10000"/>
                <a:gd name="connsiteY78" fmla="*/ 6534 h 10000"/>
                <a:gd name="connsiteX79" fmla="*/ 6998 w 10000"/>
                <a:gd name="connsiteY79" fmla="*/ 6570 h 10000"/>
                <a:gd name="connsiteX80" fmla="*/ 7230 w 10000"/>
                <a:gd name="connsiteY80" fmla="*/ 6557 h 10000"/>
                <a:gd name="connsiteX81" fmla="*/ 7295 w 10000"/>
                <a:gd name="connsiteY81" fmla="*/ 6506 h 10000"/>
                <a:gd name="connsiteX82" fmla="*/ 7074 w 10000"/>
                <a:gd name="connsiteY82" fmla="*/ 6411 h 10000"/>
                <a:gd name="connsiteX83" fmla="*/ 6414 w 10000"/>
                <a:gd name="connsiteY83" fmla="*/ 6349 h 10000"/>
                <a:gd name="connsiteX84" fmla="*/ 6458 w 10000"/>
                <a:gd name="connsiteY84" fmla="*/ 6320 h 10000"/>
                <a:gd name="connsiteX85" fmla="*/ 6998 w 10000"/>
                <a:gd name="connsiteY85" fmla="*/ 6300 h 10000"/>
                <a:gd name="connsiteX86" fmla="*/ 7295 w 10000"/>
                <a:gd name="connsiteY86" fmla="*/ 6358 h 10000"/>
                <a:gd name="connsiteX87" fmla="*/ 7466 w 10000"/>
                <a:gd name="connsiteY87" fmla="*/ 6320 h 10000"/>
                <a:gd name="connsiteX88" fmla="*/ 7529 w 10000"/>
                <a:gd name="connsiteY88" fmla="*/ 6221 h 10000"/>
                <a:gd name="connsiteX89" fmla="*/ 7840 w 10000"/>
                <a:gd name="connsiteY89" fmla="*/ 6221 h 10000"/>
                <a:gd name="connsiteX90" fmla="*/ 8261 w 10000"/>
                <a:gd name="connsiteY90" fmla="*/ 6023 h 10000"/>
                <a:gd name="connsiteX91" fmla="*/ 8275 w 10000"/>
                <a:gd name="connsiteY91" fmla="*/ 5890 h 10000"/>
                <a:gd name="connsiteX92" fmla="*/ 8453 w 10000"/>
                <a:gd name="connsiteY92" fmla="*/ 5920 h 10000"/>
                <a:gd name="connsiteX93" fmla="*/ 8446 w 10000"/>
                <a:gd name="connsiteY93" fmla="*/ 6053 h 10000"/>
                <a:gd name="connsiteX94" fmla="*/ 8727 w 10000"/>
                <a:gd name="connsiteY94" fmla="*/ 6044 h 10000"/>
                <a:gd name="connsiteX95" fmla="*/ 8913 w 10000"/>
                <a:gd name="connsiteY95" fmla="*/ 5906 h 10000"/>
                <a:gd name="connsiteX96" fmla="*/ 9258 w 10000"/>
                <a:gd name="connsiteY96" fmla="*/ 5782 h 10000"/>
                <a:gd name="connsiteX97" fmla="*/ 9203 w 10000"/>
                <a:gd name="connsiteY97" fmla="*/ 5641 h 10000"/>
                <a:gd name="connsiteX98" fmla="*/ 9306 w 10000"/>
                <a:gd name="connsiteY98" fmla="*/ 5697 h 10000"/>
                <a:gd name="connsiteX99" fmla="*/ 9464 w 10000"/>
                <a:gd name="connsiteY99" fmla="*/ 5697 h 10000"/>
                <a:gd name="connsiteX100" fmla="*/ 9464 w 10000"/>
                <a:gd name="connsiteY100" fmla="*/ 5631 h 10000"/>
                <a:gd name="connsiteX101" fmla="*/ 9611 w 10000"/>
                <a:gd name="connsiteY101" fmla="*/ 5583 h 10000"/>
                <a:gd name="connsiteX102" fmla="*/ 9592 w 10000"/>
                <a:gd name="connsiteY102" fmla="*/ 5532 h 10000"/>
                <a:gd name="connsiteX103" fmla="*/ 8350 w 10000"/>
                <a:gd name="connsiteY103" fmla="*/ 5633 h 10000"/>
                <a:gd name="connsiteX104" fmla="*/ 8058 w 10000"/>
                <a:gd name="connsiteY104" fmla="*/ 5604 h 10000"/>
                <a:gd name="connsiteX105" fmla="*/ 7942 w 10000"/>
                <a:gd name="connsiteY105" fmla="*/ 5641 h 10000"/>
                <a:gd name="connsiteX106" fmla="*/ 7903 w 10000"/>
                <a:gd name="connsiteY106" fmla="*/ 5569 h 10000"/>
                <a:gd name="connsiteX107" fmla="*/ 7765 w 10000"/>
                <a:gd name="connsiteY107" fmla="*/ 5507 h 10000"/>
                <a:gd name="connsiteX108" fmla="*/ 7213 w 10000"/>
                <a:gd name="connsiteY108" fmla="*/ 5378 h 10000"/>
                <a:gd name="connsiteX109" fmla="*/ 6887 w 10000"/>
                <a:gd name="connsiteY109" fmla="*/ 5400 h 10000"/>
                <a:gd name="connsiteX110" fmla="*/ 6757 w 10000"/>
                <a:gd name="connsiteY110" fmla="*/ 5363 h 10000"/>
                <a:gd name="connsiteX111" fmla="*/ 6894 w 10000"/>
                <a:gd name="connsiteY111" fmla="*/ 5332 h 10000"/>
                <a:gd name="connsiteX112" fmla="*/ 6998 w 10000"/>
                <a:gd name="connsiteY112" fmla="*/ 5264 h 10000"/>
                <a:gd name="connsiteX113" fmla="*/ 7152 w 10000"/>
                <a:gd name="connsiteY113" fmla="*/ 5285 h 10000"/>
                <a:gd name="connsiteX114" fmla="*/ 7335 w 10000"/>
                <a:gd name="connsiteY114" fmla="*/ 5268 h 10000"/>
                <a:gd name="connsiteX115" fmla="*/ 7611 w 10000"/>
                <a:gd name="connsiteY115" fmla="*/ 5290 h 10000"/>
                <a:gd name="connsiteX116" fmla="*/ 7645 w 10000"/>
                <a:gd name="connsiteY116" fmla="*/ 5281 h 10000"/>
                <a:gd name="connsiteX117" fmla="*/ 7859 w 10000"/>
                <a:gd name="connsiteY117" fmla="*/ 5385 h 10000"/>
                <a:gd name="connsiteX118" fmla="*/ 8017 w 10000"/>
                <a:gd name="connsiteY118" fmla="*/ 5346 h 10000"/>
                <a:gd name="connsiteX119" fmla="*/ 8032 w 10000"/>
                <a:gd name="connsiteY119" fmla="*/ 5311 h 10000"/>
                <a:gd name="connsiteX120" fmla="*/ 8176 w 10000"/>
                <a:gd name="connsiteY120" fmla="*/ 5373 h 10000"/>
                <a:gd name="connsiteX121" fmla="*/ 8369 w 10000"/>
                <a:gd name="connsiteY121" fmla="*/ 5406 h 10000"/>
                <a:gd name="connsiteX122" fmla="*/ 8446 w 10000"/>
                <a:gd name="connsiteY122" fmla="*/ 5344 h 10000"/>
                <a:gd name="connsiteX123" fmla="*/ 8507 w 10000"/>
                <a:gd name="connsiteY123" fmla="*/ 5378 h 10000"/>
                <a:gd name="connsiteX124" fmla="*/ 8596 w 10000"/>
                <a:gd name="connsiteY124" fmla="*/ 5499 h 10000"/>
                <a:gd name="connsiteX125" fmla="*/ 8782 w 10000"/>
                <a:gd name="connsiteY125" fmla="*/ 5525 h 10000"/>
                <a:gd name="connsiteX126" fmla="*/ 9542 w 10000"/>
                <a:gd name="connsiteY126" fmla="*/ 5350 h 10000"/>
                <a:gd name="connsiteX127" fmla="*/ 9914 w 10000"/>
                <a:gd name="connsiteY127" fmla="*/ 5107 h 10000"/>
                <a:gd name="connsiteX128" fmla="*/ 10000 w 10000"/>
                <a:gd name="connsiteY128" fmla="*/ 4930 h 10000"/>
                <a:gd name="connsiteX129" fmla="*/ 9866 w 10000"/>
                <a:gd name="connsiteY129" fmla="*/ 4770 h 10000"/>
                <a:gd name="connsiteX130" fmla="*/ 9582 w 10000"/>
                <a:gd name="connsiteY130" fmla="*/ 4674 h 10000"/>
                <a:gd name="connsiteX131" fmla="*/ 9382 w 10000"/>
                <a:gd name="connsiteY131" fmla="*/ 4516 h 10000"/>
                <a:gd name="connsiteX132" fmla="*/ 9569 w 10000"/>
                <a:gd name="connsiteY132" fmla="*/ 4511 h 10000"/>
                <a:gd name="connsiteX133" fmla="*/ 9555 w 10000"/>
                <a:gd name="connsiteY133" fmla="*/ 4473 h 10000"/>
                <a:gd name="connsiteX134" fmla="*/ 9068 w 10000"/>
                <a:gd name="connsiteY134" fmla="*/ 4364 h 10000"/>
                <a:gd name="connsiteX135" fmla="*/ 9047 w 10000"/>
                <a:gd name="connsiteY135" fmla="*/ 4262 h 10000"/>
                <a:gd name="connsiteX136" fmla="*/ 8953 w 10000"/>
                <a:gd name="connsiteY136" fmla="*/ 4156 h 10000"/>
                <a:gd name="connsiteX137" fmla="*/ 8569 w 10000"/>
                <a:gd name="connsiteY137" fmla="*/ 4176 h 10000"/>
                <a:gd name="connsiteX138" fmla="*/ 8431 w 10000"/>
                <a:gd name="connsiteY138" fmla="*/ 4062 h 10000"/>
                <a:gd name="connsiteX139" fmla="*/ 8350 w 10000"/>
                <a:gd name="connsiteY139" fmla="*/ 4056 h 10000"/>
                <a:gd name="connsiteX140" fmla="*/ 8350 w 10000"/>
                <a:gd name="connsiteY140" fmla="*/ 4105 h 10000"/>
                <a:gd name="connsiteX141" fmla="*/ 8176 w 10000"/>
                <a:gd name="connsiteY141" fmla="*/ 4294 h 10000"/>
                <a:gd name="connsiteX142" fmla="*/ 7990 w 10000"/>
                <a:gd name="connsiteY142" fmla="*/ 4405 h 10000"/>
                <a:gd name="connsiteX143" fmla="*/ 7401 w 10000"/>
                <a:gd name="connsiteY143" fmla="*/ 4594 h 10000"/>
                <a:gd name="connsiteX144" fmla="*/ 7198 w 10000"/>
                <a:gd name="connsiteY144" fmla="*/ 4588 h 10000"/>
                <a:gd name="connsiteX145" fmla="*/ 6915 w 10000"/>
                <a:gd name="connsiteY145" fmla="*/ 4618 h 10000"/>
                <a:gd name="connsiteX146" fmla="*/ 6757 w 10000"/>
                <a:gd name="connsiteY146" fmla="*/ 4588 h 10000"/>
                <a:gd name="connsiteX147" fmla="*/ 6965 w 10000"/>
                <a:gd name="connsiteY147" fmla="*/ 4534 h 10000"/>
                <a:gd name="connsiteX148" fmla="*/ 7235 w 10000"/>
                <a:gd name="connsiteY148" fmla="*/ 4511 h 10000"/>
                <a:gd name="connsiteX149" fmla="*/ 7455 w 10000"/>
                <a:gd name="connsiteY149" fmla="*/ 4423 h 10000"/>
                <a:gd name="connsiteX150" fmla="*/ 7674 w 10000"/>
                <a:gd name="connsiteY150" fmla="*/ 4381 h 10000"/>
                <a:gd name="connsiteX151" fmla="*/ 8082 w 10000"/>
                <a:gd name="connsiteY151" fmla="*/ 4225 h 10000"/>
                <a:gd name="connsiteX152" fmla="*/ 8157 w 10000"/>
                <a:gd name="connsiteY152" fmla="*/ 4125 h 10000"/>
                <a:gd name="connsiteX153" fmla="*/ 8165 w 10000"/>
                <a:gd name="connsiteY153" fmla="*/ 3994 h 10000"/>
                <a:gd name="connsiteX154" fmla="*/ 7978 w 10000"/>
                <a:gd name="connsiteY154" fmla="*/ 3972 h 10000"/>
                <a:gd name="connsiteX155" fmla="*/ 8058 w 10000"/>
                <a:gd name="connsiteY155" fmla="*/ 3892 h 10000"/>
                <a:gd name="connsiteX156" fmla="*/ 8087 w 10000"/>
                <a:gd name="connsiteY156" fmla="*/ 3791 h 10000"/>
                <a:gd name="connsiteX157" fmla="*/ 8007 w 10000"/>
                <a:gd name="connsiteY157" fmla="*/ 3697 h 10000"/>
                <a:gd name="connsiteX158" fmla="*/ 3760 w 10000"/>
                <a:gd name="connsiteY158" fmla="*/ 0 h 10000"/>
                <a:gd name="connsiteX159" fmla="*/ 2375 w 10000"/>
                <a:gd name="connsiteY159" fmla="*/ 1896 h 10000"/>
                <a:gd name="connsiteX160" fmla="*/ 2226 w 10000"/>
                <a:gd name="connsiteY160" fmla="*/ 2522 h 10000"/>
                <a:gd name="connsiteX161" fmla="*/ 2375 w 10000"/>
                <a:gd name="connsiteY161" fmla="*/ 2680 h 10000"/>
                <a:gd name="connsiteX162" fmla="*/ 2791 w 10000"/>
                <a:gd name="connsiteY162" fmla="*/ 2856 h 10000"/>
                <a:gd name="connsiteX163" fmla="*/ 2808 w 10000"/>
                <a:gd name="connsiteY163" fmla="*/ 3068 h 10000"/>
                <a:gd name="connsiteX164" fmla="*/ 2632 w 10000"/>
                <a:gd name="connsiteY164" fmla="*/ 3245 h 10000"/>
                <a:gd name="connsiteX165" fmla="*/ 2375 w 10000"/>
                <a:gd name="connsiteY165" fmla="*/ 3353 h 10000"/>
                <a:gd name="connsiteX166" fmla="*/ 2039 w 10000"/>
                <a:gd name="connsiteY166" fmla="*/ 3396 h 10000"/>
                <a:gd name="connsiteX167" fmla="*/ 1950 w 10000"/>
                <a:gd name="connsiteY167" fmla="*/ 3459 h 10000"/>
                <a:gd name="connsiteX168" fmla="*/ 2148 w 10000"/>
                <a:gd name="connsiteY168" fmla="*/ 3606 h 10000"/>
                <a:gd name="connsiteX169" fmla="*/ 2261 w 10000"/>
                <a:gd name="connsiteY169" fmla="*/ 3955 h 10000"/>
                <a:gd name="connsiteX170" fmla="*/ 2005 w 10000"/>
                <a:gd name="connsiteY170" fmla="*/ 4254 h 10000"/>
                <a:gd name="connsiteX171" fmla="*/ 2094 w 10000"/>
                <a:gd name="connsiteY171" fmla="*/ 4345 h 10000"/>
                <a:gd name="connsiteX172" fmla="*/ 2012 w 10000"/>
                <a:gd name="connsiteY172" fmla="*/ 4501 h 10000"/>
                <a:gd name="connsiteX173" fmla="*/ 1850 w 10000"/>
                <a:gd name="connsiteY173" fmla="*/ 4610 h 10000"/>
                <a:gd name="connsiteX174" fmla="*/ 1199 w 10000"/>
                <a:gd name="connsiteY174" fmla="*/ 4692 h 10000"/>
                <a:gd name="connsiteX175" fmla="*/ 1158 w 10000"/>
                <a:gd name="connsiteY175" fmla="*/ 4837 h 10000"/>
                <a:gd name="connsiteX176" fmla="*/ 808 w 10000"/>
                <a:gd name="connsiteY176" fmla="*/ 5051 h 10000"/>
                <a:gd name="connsiteX177" fmla="*/ 854 w 10000"/>
                <a:gd name="connsiteY177" fmla="*/ 5361 h 10000"/>
                <a:gd name="connsiteX178" fmla="*/ 560 w 10000"/>
                <a:gd name="connsiteY178" fmla="*/ 5758 h 10000"/>
                <a:gd name="connsiteX179" fmla="*/ 358 w 10000"/>
                <a:gd name="connsiteY179" fmla="*/ 5804 h 10000"/>
                <a:gd name="connsiteX180" fmla="*/ 275 w 10000"/>
                <a:gd name="connsiteY180" fmla="*/ 5710 h 10000"/>
                <a:gd name="connsiteX181" fmla="*/ 174 w 10000"/>
                <a:gd name="connsiteY181" fmla="*/ 5852 h 10000"/>
                <a:gd name="connsiteX182" fmla="*/ 239 w 10000"/>
                <a:gd name="connsiteY182" fmla="*/ 5606 h 10000"/>
                <a:gd name="connsiteX183" fmla="*/ 197 w 10000"/>
                <a:gd name="connsiteY183" fmla="*/ 5560 h 10000"/>
                <a:gd name="connsiteX0" fmla="*/ 197 w 10000"/>
                <a:gd name="connsiteY0" fmla="*/ 3664 h 8104"/>
                <a:gd name="connsiteX1" fmla="*/ 0 w 10000"/>
                <a:gd name="connsiteY1" fmla="*/ 3792 h 8104"/>
                <a:gd name="connsiteX2" fmla="*/ 0 w 10000"/>
                <a:gd name="connsiteY2" fmla="*/ 4424 h 8104"/>
                <a:gd name="connsiteX3" fmla="*/ 109 w 10000"/>
                <a:gd name="connsiteY3" fmla="*/ 4441 h 8104"/>
                <a:gd name="connsiteX4" fmla="*/ 134 w 10000"/>
                <a:gd name="connsiteY4" fmla="*/ 4490 h 8104"/>
                <a:gd name="connsiteX5" fmla="*/ 130 w 10000"/>
                <a:gd name="connsiteY5" fmla="*/ 4576 h 8104"/>
                <a:gd name="connsiteX6" fmla="*/ 89 w 10000"/>
                <a:gd name="connsiteY6" fmla="*/ 4614 h 8104"/>
                <a:gd name="connsiteX7" fmla="*/ 255 w 10000"/>
                <a:gd name="connsiteY7" fmla="*/ 4540 h 8104"/>
                <a:gd name="connsiteX8" fmla="*/ 325 w 10000"/>
                <a:gd name="connsiteY8" fmla="*/ 4469 h 8104"/>
                <a:gd name="connsiteX9" fmla="*/ 413 w 10000"/>
                <a:gd name="connsiteY9" fmla="*/ 4517 h 8104"/>
                <a:gd name="connsiteX10" fmla="*/ 316 w 10000"/>
                <a:gd name="connsiteY10" fmla="*/ 4622 h 8104"/>
                <a:gd name="connsiteX11" fmla="*/ 419 w 10000"/>
                <a:gd name="connsiteY11" fmla="*/ 4624 h 8104"/>
                <a:gd name="connsiteX12" fmla="*/ 469 w 10000"/>
                <a:gd name="connsiteY12" fmla="*/ 4650 h 8104"/>
                <a:gd name="connsiteX13" fmla="*/ 337 w 10000"/>
                <a:gd name="connsiteY13" fmla="*/ 4683 h 8104"/>
                <a:gd name="connsiteX14" fmla="*/ 130 w 10000"/>
                <a:gd name="connsiteY14" fmla="*/ 4789 h 8104"/>
                <a:gd name="connsiteX15" fmla="*/ 497 w 10000"/>
                <a:gd name="connsiteY15" fmla="*/ 4873 h 8104"/>
                <a:gd name="connsiteX16" fmla="*/ 545 w 10000"/>
                <a:gd name="connsiteY16" fmla="*/ 4991 h 8104"/>
                <a:gd name="connsiteX17" fmla="*/ 419 w 10000"/>
                <a:gd name="connsiteY17" fmla="*/ 5165 h 8104"/>
                <a:gd name="connsiteX18" fmla="*/ 688 w 10000"/>
                <a:gd name="connsiteY18" fmla="*/ 5155 h 8104"/>
                <a:gd name="connsiteX19" fmla="*/ 709 w 10000"/>
                <a:gd name="connsiteY19" fmla="*/ 5285 h 8104"/>
                <a:gd name="connsiteX20" fmla="*/ 530 w 10000"/>
                <a:gd name="connsiteY20" fmla="*/ 5377 h 8104"/>
                <a:gd name="connsiteX21" fmla="*/ 560 w 10000"/>
                <a:gd name="connsiteY21" fmla="*/ 5548 h 8104"/>
                <a:gd name="connsiteX22" fmla="*/ 489 w 10000"/>
                <a:gd name="connsiteY22" fmla="*/ 5684 h 8104"/>
                <a:gd name="connsiteX23" fmla="*/ 703 w 10000"/>
                <a:gd name="connsiteY23" fmla="*/ 5697 h 8104"/>
                <a:gd name="connsiteX24" fmla="*/ 909 w 10000"/>
                <a:gd name="connsiteY24" fmla="*/ 6214 h 8104"/>
                <a:gd name="connsiteX25" fmla="*/ 1150 w 10000"/>
                <a:gd name="connsiteY25" fmla="*/ 6342 h 8104"/>
                <a:gd name="connsiteX26" fmla="*/ 1255 w 10000"/>
                <a:gd name="connsiteY26" fmla="*/ 6483 h 8104"/>
                <a:gd name="connsiteX27" fmla="*/ 1514 w 10000"/>
                <a:gd name="connsiteY27" fmla="*/ 6583 h 8104"/>
                <a:gd name="connsiteX28" fmla="*/ 1684 w 10000"/>
                <a:gd name="connsiteY28" fmla="*/ 6714 h 8104"/>
                <a:gd name="connsiteX29" fmla="*/ 1661 w 10000"/>
                <a:gd name="connsiteY29" fmla="*/ 6807 h 8104"/>
                <a:gd name="connsiteX30" fmla="*/ 1496 w 10000"/>
                <a:gd name="connsiteY30" fmla="*/ 6841 h 8104"/>
                <a:gd name="connsiteX31" fmla="*/ 1316 w 10000"/>
                <a:gd name="connsiteY31" fmla="*/ 6819 h 8104"/>
                <a:gd name="connsiteX32" fmla="*/ 1260 w 10000"/>
                <a:gd name="connsiteY32" fmla="*/ 6856 h 8104"/>
                <a:gd name="connsiteX33" fmla="*/ 1397 w 10000"/>
                <a:gd name="connsiteY33" fmla="*/ 7057 h 8104"/>
                <a:gd name="connsiteX34" fmla="*/ 1205 w 10000"/>
                <a:gd name="connsiteY34" fmla="*/ 7040 h 8104"/>
                <a:gd name="connsiteX35" fmla="*/ 1040 w 10000"/>
                <a:gd name="connsiteY35" fmla="*/ 6991 h 8104"/>
                <a:gd name="connsiteX36" fmla="*/ 1012 w 10000"/>
                <a:gd name="connsiteY36" fmla="*/ 7066 h 8104"/>
                <a:gd name="connsiteX37" fmla="*/ 1557 w 10000"/>
                <a:gd name="connsiteY37" fmla="*/ 7754 h 8104"/>
                <a:gd name="connsiteX38" fmla="*/ 1469 w 10000"/>
                <a:gd name="connsiteY38" fmla="*/ 7818 h 8104"/>
                <a:gd name="connsiteX39" fmla="*/ 1408 w 10000"/>
                <a:gd name="connsiteY39" fmla="*/ 7950 h 8104"/>
                <a:gd name="connsiteX40" fmla="*/ 1329 w 10000"/>
                <a:gd name="connsiteY40" fmla="*/ 7960 h 8104"/>
                <a:gd name="connsiteX41" fmla="*/ 1281 w 10000"/>
                <a:gd name="connsiteY41" fmla="*/ 8019 h 8104"/>
                <a:gd name="connsiteX42" fmla="*/ 1609 w 10000"/>
                <a:gd name="connsiteY42" fmla="*/ 8024 h 8104"/>
                <a:gd name="connsiteX43" fmla="*/ 1900 w 10000"/>
                <a:gd name="connsiteY43" fmla="*/ 8081 h 8104"/>
                <a:gd name="connsiteX44" fmla="*/ 2383 w 10000"/>
                <a:gd name="connsiteY44" fmla="*/ 8021 h 8104"/>
                <a:gd name="connsiteX45" fmla="*/ 2816 w 10000"/>
                <a:gd name="connsiteY45" fmla="*/ 8033 h 8104"/>
                <a:gd name="connsiteX46" fmla="*/ 3072 w 10000"/>
                <a:gd name="connsiteY46" fmla="*/ 8104 h 8104"/>
                <a:gd name="connsiteX47" fmla="*/ 3212 w 10000"/>
                <a:gd name="connsiteY47" fmla="*/ 8056 h 8104"/>
                <a:gd name="connsiteX48" fmla="*/ 3348 w 10000"/>
                <a:gd name="connsiteY48" fmla="*/ 7897 h 8104"/>
                <a:gd name="connsiteX49" fmla="*/ 3313 w 10000"/>
                <a:gd name="connsiteY49" fmla="*/ 7636 h 8104"/>
                <a:gd name="connsiteX50" fmla="*/ 3642 w 10000"/>
                <a:gd name="connsiteY50" fmla="*/ 7348 h 8104"/>
                <a:gd name="connsiteX51" fmla="*/ 3883 w 10000"/>
                <a:gd name="connsiteY51" fmla="*/ 7394 h 8104"/>
                <a:gd name="connsiteX52" fmla="*/ 4025 w 10000"/>
                <a:gd name="connsiteY52" fmla="*/ 7279 h 8104"/>
                <a:gd name="connsiteX53" fmla="*/ 4294 w 10000"/>
                <a:gd name="connsiteY53" fmla="*/ 7212 h 8104"/>
                <a:gd name="connsiteX54" fmla="*/ 4658 w 10000"/>
                <a:gd name="connsiteY54" fmla="*/ 7228 h 8104"/>
                <a:gd name="connsiteX55" fmla="*/ 4878 w 10000"/>
                <a:gd name="connsiteY55" fmla="*/ 7273 h 8104"/>
                <a:gd name="connsiteX56" fmla="*/ 5170 w 10000"/>
                <a:gd name="connsiteY56" fmla="*/ 7254 h 8104"/>
                <a:gd name="connsiteX57" fmla="*/ 5464 w 10000"/>
                <a:gd name="connsiteY57" fmla="*/ 7303 h 8104"/>
                <a:gd name="connsiteX58" fmla="*/ 5759 w 10000"/>
                <a:gd name="connsiteY58" fmla="*/ 7310 h 8104"/>
                <a:gd name="connsiteX59" fmla="*/ 6419 w 10000"/>
                <a:gd name="connsiteY59" fmla="*/ 6634 h 8104"/>
                <a:gd name="connsiteX60" fmla="*/ 6586 w 10000"/>
                <a:gd name="connsiteY60" fmla="*/ 6082 h 8104"/>
                <a:gd name="connsiteX61" fmla="*/ 6855 w 10000"/>
                <a:gd name="connsiteY61" fmla="*/ 5838 h 8104"/>
                <a:gd name="connsiteX62" fmla="*/ 6855 w 10000"/>
                <a:gd name="connsiteY62" fmla="*/ 5708 h 8104"/>
                <a:gd name="connsiteX63" fmla="*/ 6757 w 10000"/>
                <a:gd name="connsiteY63" fmla="*/ 5637 h 8104"/>
                <a:gd name="connsiteX64" fmla="*/ 6915 w 10000"/>
                <a:gd name="connsiteY64" fmla="*/ 5520 h 8104"/>
                <a:gd name="connsiteX65" fmla="*/ 6887 w 10000"/>
                <a:gd name="connsiteY65" fmla="*/ 5424 h 8104"/>
                <a:gd name="connsiteX66" fmla="*/ 6779 w 10000"/>
                <a:gd name="connsiteY66" fmla="*/ 5342 h 8104"/>
                <a:gd name="connsiteX67" fmla="*/ 6757 w 10000"/>
                <a:gd name="connsiteY67" fmla="*/ 5279 h 8104"/>
                <a:gd name="connsiteX68" fmla="*/ 6785 w 10000"/>
                <a:gd name="connsiteY68" fmla="*/ 5233 h 8104"/>
                <a:gd name="connsiteX69" fmla="*/ 6931 w 10000"/>
                <a:gd name="connsiteY69" fmla="*/ 5270 h 8104"/>
                <a:gd name="connsiteX70" fmla="*/ 7045 w 10000"/>
                <a:gd name="connsiteY70" fmla="*/ 5268 h 8104"/>
                <a:gd name="connsiteX71" fmla="*/ 6983 w 10000"/>
                <a:gd name="connsiteY71" fmla="*/ 5190 h 8104"/>
                <a:gd name="connsiteX72" fmla="*/ 7003 w 10000"/>
                <a:gd name="connsiteY72" fmla="*/ 5143 h 8104"/>
                <a:gd name="connsiteX73" fmla="*/ 7089 w 10000"/>
                <a:gd name="connsiteY73" fmla="*/ 5077 h 8104"/>
                <a:gd name="connsiteX74" fmla="*/ 7074 w 10000"/>
                <a:gd name="connsiteY74" fmla="*/ 5023 h 8104"/>
                <a:gd name="connsiteX75" fmla="*/ 7152 w 10000"/>
                <a:gd name="connsiteY75" fmla="*/ 4839 h 8104"/>
                <a:gd name="connsiteX76" fmla="*/ 7130 w 10000"/>
                <a:gd name="connsiteY76" fmla="*/ 4783 h 8104"/>
                <a:gd name="connsiteX77" fmla="*/ 6729 w 10000"/>
                <a:gd name="connsiteY77" fmla="*/ 4643 h 8104"/>
                <a:gd name="connsiteX78" fmla="*/ 6785 w 10000"/>
                <a:gd name="connsiteY78" fmla="*/ 4638 h 8104"/>
                <a:gd name="connsiteX79" fmla="*/ 6998 w 10000"/>
                <a:gd name="connsiteY79" fmla="*/ 4674 h 8104"/>
                <a:gd name="connsiteX80" fmla="*/ 7230 w 10000"/>
                <a:gd name="connsiteY80" fmla="*/ 4661 h 8104"/>
                <a:gd name="connsiteX81" fmla="*/ 7295 w 10000"/>
                <a:gd name="connsiteY81" fmla="*/ 4610 h 8104"/>
                <a:gd name="connsiteX82" fmla="*/ 7074 w 10000"/>
                <a:gd name="connsiteY82" fmla="*/ 4515 h 8104"/>
                <a:gd name="connsiteX83" fmla="*/ 6414 w 10000"/>
                <a:gd name="connsiteY83" fmla="*/ 4453 h 8104"/>
                <a:gd name="connsiteX84" fmla="*/ 6458 w 10000"/>
                <a:gd name="connsiteY84" fmla="*/ 4424 h 8104"/>
                <a:gd name="connsiteX85" fmla="*/ 6998 w 10000"/>
                <a:gd name="connsiteY85" fmla="*/ 4404 h 8104"/>
                <a:gd name="connsiteX86" fmla="*/ 7295 w 10000"/>
                <a:gd name="connsiteY86" fmla="*/ 4462 h 8104"/>
                <a:gd name="connsiteX87" fmla="*/ 7466 w 10000"/>
                <a:gd name="connsiteY87" fmla="*/ 4424 h 8104"/>
                <a:gd name="connsiteX88" fmla="*/ 7529 w 10000"/>
                <a:gd name="connsiteY88" fmla="*/ 4325 h 8104"/>
                <a:gd name="connsiteX89" fmla="*/ 7840 w 10000"/>
                <a:gd name="connsiteY89" fmla="*/ 4325 h 8104"/>
                <a:gd name="connsiteX90" fmla="*/ 8261 w 10000"/>
                <a:gd name="connsiteY90" fmla="*/ 4127 h 8104"/>
                <a:gd name="connsiteX91" fmla="*/ 8275 w 10000"/>
                <a:gd name="connsiteY91" fmla="*/ 3994 h 8104"/>
                <a:gd name="connsiteX92" fmla="*/ 8453 w 10000"/>
                <a:gd name="connsiteY92" fmla="*/ 4024 h 8104"/>
                <a:gd name="connsiteX93" fmla="*/ 8446 w 10000"/>
                <a:gd name="connsiteY93" fmla="*/ 4157 h 8104"/>
                <a:gd name="connsiteX94" fmla="*/ 8727 w 10000"/>
                <a:gd name="connsiteY94" fmla="*/ 4148 h 8104"/>
                <a:gd name="connsiteX95" fmla="*/ 8913 w 10000"/>
                <a:gd name="connsiteY95" fmla="*/ 4010 h 8104"/>
                <a:gd name="connsiteX96" fmla="*/ 9258 w 10000"/>
                <a:gd name="connsiteY96" fmla="*/ 3886 h 8104"/>
                <a:gd name="connsiteX97" fmla="*/ 9203 w 10000"/>
                <a:gd name="connsiteY97" fmla="*/ 3745 h 8104"/>
                <a:gd name="connsiteX98" fmla="*/ 9306 w 10000"/>
                <a:gd name="connsiteY98" fmla="*/ 3801 h 8104"/>
                <a:gd name="connsiteX99" fmla="*/ 9464 w 10000"/>
                <a:gd name="connsiteY99" fmla="*/ 3801 h 8104"/>
                <a:gd name="connsiteX100" fmla="*/ 9464 w 10000"/>
                <a:gd name="connsiteY100" fmla="*/ 3735 h 8104"/>
                <a:gd name="connsiteX101" fmla="*/ 9611 w 10000"/>
                <a:gd name="connsiteY101" fmla="*/ 3687 h 8104"/>
                <a:gd name="connsiteX102" fmla="*/ 9592 w 10000"/>
                <a:gd name="connsiteY102" fmla="*/ 3636 h 8104"/>
                <a:gd name="connsiteX103" fmla="*/ 8350 w 10000"/>
                <a:gd name="connsiteY103" fmla="*/ 3737 h 8104"/>
                <a:gd name="connsiteX104" fmla="*/ 8058 w 10000"/>
                <a:gd name="connsiteY104" fmla="*/ 3708 h 8104"/>
                <a:gd name="connsiteX105" fmla="*/ 7942 w 10000"/>
                <a:gd name="connsiteY105" fmla="*/ 3745 h 8104"/>
                <a:gd name="connsiteX106" fmla="*/ 7903 w 10000"/>
                <a:gd name="connsiteY106" fmla="*/ 3673 h 8104"/>
                <a:gd name="connsiteX107" fmla="*/ 7765 w 10000"/>
                <a:gd name="connsiteY107" fmla="*/ 3611 h 8104"/>
                <a:gd name="connsiteX108" fmla="*/ 7213 w 10000"/>
                <a:gd name="connsiteY108" fmla="*/ 3482 h 8104"/>
                <a:gd name="connsiteX109" fmla="*/ 6887 w 10000"/>
                <a:gd name="connsiteY109" fmla="*/ 3504 h 8104"/>
                <a:gd name="connsiteX110" fmla="*/ 6757 w 10000"/>
                <a:gd name="connsiteY110" fmla="*/ 3467 h 8104"/>
                <a:gd name="connsiteX111" fmla="*/ 6894 w 10000"/>
                <a:gd name="connsiteY111" fmla="*/ 3436 h 8104"/>
                <a:gd name="connsiteX112" fmla="*/ 6998 w 10000"/>
                <a:gd name="connsiteY112" fmla="*/ 3368 h 8104"/>
                <a:gd name="connsiteX113" fmla="*/ 7152 w 10000"/>
                <a:gd name="connsiteY113" fmla="*/ 3389 h 8104"/>
                <a:gd name="connsiteX114" fmla="*/ 7335 w 10000"/>
                <a:gd name="connsiteY114" fmla="*/ 3372 h 8104"/>
                <a:gd name="connsiteX115" fmla="*/ 7611 w 10000"/>
                <a:gd name="connsiteY115" fmla="*/ 3394 h 8104"/>
                <a:gd name="connsiteX116" fmla="*/ 7645 w 10000"/>
                <a:gd name="connsiteY116" fmla="*/ 3385 h 8104"/>
                <a:gd name="connsiteX117" fmla="*/ 7859 w 10000"/>
                <a:gd name="connsiteY117" fmla="*/ 3489 h 8104"/>
                <a:gd name="connsiteX118" fmla="*/ 8017 w 10000"/>
                <a:gd name="connsiteY118" fmla="*/ 3450 h 8104"/>
                <a:gd name="connsiteX119" fmla="*/ 8032 w 10000"/>
                <a:gd name="connsiteY119" fmla="*/ 3415 h 8104"/>
                <a:gd name="connsiteX120" fmla="*/ 8176 w 10000"/>
                <a:gd name="connsiteY120" fmla="*/ 3477 h 8104"/>
                <a:gd name="connsiteX121" fmla="*/ 8369 w 10000"/>
                <a:gd name="connsiteY121" fmla="*/ 3510 h 8104"/>
                <a:gd name="connsiteX122" fmla="*/ 8446 w 10000"/>
                <a:gd name="connsiteY122" fmla="*/ 3448 h 8104"/>
                <a:gd name="connsiteX123" fmla="*/ 8507 w 10000"/>
                <a:gd name="connsiteY123" fmla="*/ 3482 h 8104"/>
                <a:gd name="connsiteX124" fmla="*/ 8596 w 10000"/>
                <a:gd name="connsiteY124" fmla="*/ 3603 h 8104"/>
                <a:gd name="connsiteX125" fmla="*/ 8782 w 10000"/>
                <a:gd name="connsiteY125" fmla="*/ 3629 h 8104"/>
                <a:gd name="connsiteX126" fmla="*/ 9542 w 10000"/>
                <a:gd name="connsiteY126" fmla="*/ 3454 h 8104"/>
                <a:gd name="connsiteX127" fmla="*/ 9914 w 10000"/>
                <a:gd name="connsiteY127" fmla="*/ 3211 h 8104"/>
                <a:gd name="connsiteX128" fmla="*/ 10000 w 10000"/>
                <a:gd name="connsiteY128" fmla="*/ 3034 h 8104"/>
                <a:gd name="connsiteX129" fmla="*/ 9866 w 10000"/>
                <a:gd name="connsiteY129" fmla="*/ 2874 h 8104"/>
                <a:gd name="connsiteX130" fmla="*/ 9582 w 10000"/>
                <a:gd name="connsiteY130" fmla="*/ 2778 h 8104"/>
                <a:gd name="connsiteX131" fmla="*/ 9382 w 10000"/>
                <a:gd name="connsiteY131" fmla="*/ 2620 h 8104"/>
                <a:gd name="connsiteX132" fmla="*/ 9569 w 10000"/>
                <a:gd name="connsiteY132" fmla="*/ 2615 h 8104"/>
                <a:gd name="connsiteX133" fmla="*/ 9555 w 10000"/>
                <a:gd name="connsiteY133" fmla="*/ 2577 h 8104"/>
                <a:gd name="connsiteX134" fmla="*/ 9068 w 10000"/>
                <a:gd name="connsiteY134" fmla="*/ 2468 h 8104"/>
                <a:gd name="connsiteX135" fmla="*/ 9047 w 10000"/>
                <a:gd name="connsiteY135" fmla="*/ 2366 h 8104"/>
                <a:gd name="connsiteX136" fmla="*/ 8953 w 10000"/>
                <a:gd name="connsiteY136" fmla="*/ 2260 h 8104"/>
                <a:gd name="connsiteX137" fmla="*/ 8569 w 10000"/>
                <a:gd name="connsiteY137" fmla="*/ 2280 h 8104"/>
                <a:gd name="connsiteX138" fmla="*/ 8431 w 10000"/>
                <a:gd name="connsiteY138" fmla="*/ 2166 h 8104"/>
                <a:gd name="connsiteX139" fmla="*/ 8350 w 10000"/>
                <a:gd name="connsiteY139" fmla="*/ 2160 h 8104"/>
                <a:gd name="connsiteX140" fmla="*/ 8350 w 10000"/>
                <a:gd name="connsiteY140" fmla="*/ 2209 h 8104"/>
                <a:gd name="connsiteX141" fmla="*/ 8176 w 10000"/>
                <a:gd name="connsiteY141" fmla="*/ 2398 h 8104"/>
                <a:gd name="connsiteX142" fmla="*/ 7990 w 10000"/>
                <a:gd name="connsiteY142" fmla="*/ 2509 h 8104"/>
                <a:gd name="connsiteX143" fmla="*/ 7401 w 10000"/>
                <a:gd name="connsiteY143" fmla="*/ 2698 h 8104"/>
                <a:gd name="connsiteX144" fmla="*/ 7198 w 10000"/>
                <a:gd name="connsiteY144" fmla="*/ 2692 h 8104"/>
                <a:gd name="connsiteX145" fmla="*/ 6915 w 10000"/>
                <a:gd name="connsiteY145" fmla="*/ 2722 h 8104"/>
                <a:gd name="connsiteX146" fmla="*/ 6757 w 10000"/>
                <a:gd name="connsiteY146" fmla="*/ 2692 h 8104"/>
                <a:gd name="connsiteX147" fmla="*/ 6965 w 10000"/>
                <a:gd name="connsiteY147" fmla="*/ 2638 h 8104"/>
                <a:gd name="connsiteX148" fmla="*/ 7235 w 10000"/>
                <a:gd name="connsiteY148" fmla="*/ 2615 h 8104"/>
                <a:gd name="connsiteX149" fmla="*/ 7455 w 10000"/>
                <a:gd name="connsiteY149" fmla="*/ 2527 h 8104"/>
                <a:gd name="connsiteX150" fmla="*/ 7674 w 10000"/>
                <a:gd name="connsiteY150" fmla="*/ 2485 h 8104"/>
                <a:gd name="connsiteX151" fmla="*/ 8082 w 10000"/>
                <a:gd name="connsiteY151" fmla="*/ 2329 h 8104"/>
                <a:gd name="connsiteX152" fmla="*/ 8157 w 10000"/>
                <a:gd name="connsiteY152" fmla="*/ 2229 h 8104"/>
                <a:gd name="connsiteX153" fmla="*/ 8165 w 10000"/>
                <a:gd name="connsiteY153" fmla="*/ 2098 h 8104"/>
                <a:gd name="connsiteX154" fmla="*/ 7978 w 10000"/>
                <a:gd name="connsiteY154" fmla="*/ 2076 h 8104"/>
                <a:gd name="connsiteX155" fmla="*/ 8058 w 10000"/>
                <a:gd name="connsiteY155" fmla="*/ 1996 h 8104"/>
                <a:gd name="connsiteX156" fmla="*/ 8087 w 10000"/>
                <a:gd name="connsiteY156" fmla="*/ 1895 h 8104"/>
                <a:gd name="connsiteX157" fmla="*/ 8007 w 10000"/>
                <a:gd name="connsiteY157" fmla="*/ 1801 h 8104"/>
                <a:gd name="connsiteX158" fmla="*/ 3154 w 10000"/>
                <a:gd name="connsiteY158" fmla="*/ 116 h 8104"/>
                <a:gd name="connsiteX159" fmla="*/ 2375 w 10000"/>
                <a:gd name="connsiteY159" fmla="*/ 0 h 8104"/>
                <a:gd name="connsiteX160" fmla="*/ 2226 w 10000"/>
                <a:gd name="connsiteY160" fmla="*/ 626 h 8104"/>
                <a:gd name="connsiteX161" fmla="*/ 2375 w 10000"/>
                <a:gd name="connsiteY161" fmla="*/ 784 h 8104"/>
                <a:gd name="connsiteX162" fmla="*/ 2791 w 10000"/>
                <a:gd name="connsiteY162" fmla="*/ 960 h 8104"/>
                <a:gd name="connsiteX163" fmla="*/ 2808 w 10000"/>
                <a:gd name="connsiteY163" fmla="*/ 1172 h 8104"/>
                <a:gd name="connsiteX164" fmla="*/ 2632 w 10000"/>
                <a:gd name="connsiteY164" fmla="*/ 1349 h 8104"/>
                <a:gd name="connsiteX165" fmla="*/ 2375 w 10000"/>
                <a:gd name="connsiteY165" fmla="*/ 1457 h 8104"/>
                <a:gd name="connsiteX166" fmla="*/ 2039 w 10000"/>
                <a:gd name="connsiteY166" fmla="*/ 1500 h 8104"/>
                <a:gd name="connsiteX167" fmla="*/ 1950 w 10000"/>
                <a:gd name="connsiteY167" fmla="*/ 1563 h 8104"/>
                <a:gd name="connsiteX168" fmla="*/ 2148 w 10000"/>
                <a:gd name="connsiteY168" fmla="*/ 1710 h 8104"/>
                <a:gd name="connsiteX169" fmla="*/ 2261 w 10000"/>
                <a:gd name="connsiteY169" fmla="*/ 2059 h 8104"/>
                <a:gd name="connsiteX170" fmla="*/ 2005 w 10000"/>
                <a:gd name="connsiteY170" fmla="*/ 2358 h 8104"/>
                <a:gd name="connsiteX171" fmla="*/ 2094 w 10000"/>
                <a:gd name="connsiteY171" fmla="*/ 2449 h 8104"/>
                <a:gd name="connsiteX172" fmla="*/ 2012 w 10000"/>
                <a:gd name="connsiteY172" fmla="*/ 2605 h 8104"/>
                <a:gd name="connsiteX173" fmla="*/ 1850 w 10000"/>
                <a:gd name="connsiteY173" fmla="*/ 2714 h 8104"/>
                <a:gd name="connsiteX174" fmla="*/ 1199 w 10000"/>
                <a:gd name="connsiteY174" fmla="*/ 2796 h 8104"/>
                <a:gd name="connsiteX175" fmla="*/ 1158 w 10000"/>
                <a:gd name="connsiteY175" fmla="*/ 2941 h 8104"/>
                <a:gd name="connsiteX176" fmla="*/ 808 w 10000"/>
                <a:gd name="connsiteY176" fmla="*/ 3155 h 8104"/>
                <a:gd name="connsiteX177" fmla="*/ 854 w 10000"/>
                <a:gd name="connsiteY177" fmla="*/ 3465 h 8104"/>
                <a:gd name="connsiteX178" fmla="*/ 560 w 10000"/>
                <a:gd name="connsiteY178" fmla="*/ 3862 h 8104"/>
                <a:gd name="connsiteX179" fmla="*/ 358 w 10000"/>
                <a:gd name="connsiteY179" fmla="*/ 3908 h 8104"/>
                <a:gd name="connsiteX180" fmla="*/ 275 w 10000"/>
                <a:gd name="connsiteY180" fmla="*/ 3814 h 8104"/>
                <a:gd name="connsiteX181" fmla="*/ 174 w 10000"/>
                <a:gd name="connsiteY181" fmla="*/ 3956 h 8104"/>
                <a:gd name="connsiteX182" fmla="*/ 239 w 10000"/>
                <a:gd name="connsiteY182" fmla="*/ 3710 h 8104"/>
                <a:gd name="connsiteX183" fmla="*/ 197 w 10000"/>
                <a:gd name="connsiteY183" fmla="*/ 3664 h 8104"/>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3212 w 10000"/>
                <a:gd name="connsiteY47" fmla="*/ 9941 h 10000"/>
                <a:gd name="connsiteX48" fmla="*/ 3348 w 10000"/>
                <a:gd name="connsiteY48" fmla="*/ 9745 h 10000"/>
                <a:gd name="connsiteX49" fmla="*/ 3313 w 10000"/>
                <a:gd name="connsiteY49" fmla="*/ 9423 h 10000"/>
                <a:gd name="connsiteX50" fmla="*/ 3642 w 10000"/>
                <a:gd name="connsiteY50" fmla="*/ 9067 h 10000"/>
                <a:gd name="connsiteX51" fmla="*/ 3883 w 10000"/>
                <a:gd name="connsiteY51" fmla="*/ 9124 h 10000"/>
                <a:gd name="connsiteX52" fmla="*/ 4025 w 10000"/>
                <a:gd name="connsiteY52" fmla="*/ 8982 h 10000"/>
                <a:gd name="connsiteX53" fmla="*/ 4294 w 10000"/>
                <a:gd name="connsiteY53" fmla="*/ 8899 h 10000"/>
                <a:gd name="connsiteX54" fmla="*/ 4658 w 10000"/>
                <a:gd name="connsiteY54" fmla="*/ 8919 h 10000"/>
                <a:gd name="connsiteX55" fmla="*/ 4878 w 10000"/>
                <a:gd name="connsiteY55" fmla="*/ 8975 h 10000"/>
                <a:gd name="connsiteX56" fmla="*/ 5170 w 10000"/>
                <a:gd name="connsiteY56" fmla="*/ 8951 h 10000"/>
                <a:gd name="connsiteX57" fmla="*/ 5464 w 10000"/>
                <a:gd name="connsiteY57" fmla="*/ 9012 h 10000"/>
                <a:gd name="connsiteX58" fmla="*/ 5759 w 10000"/>
                <a:gd name="connsiteY58" fmla="*/ 9020 h 10000"/>
                <a:gd name="connsiteX59" fmla="*/ 6419 w 10000"/>
                <a:gd name="connsiteY59" fmla="*/ 8186 h 10000"/>
                <a:gd name="connsiteX60" fmla="*/ 6586 w 10000"/>
                <a:gd name="connsiteY60" fmla="*/ 7505 h 10000"/>
                <a:gd name="connsiteX61" fmla="*/ 6855 w 10000"/>
                <a:gd name="connsiteY61" fmla="*/ 7204 h 10000"/>
                <a:gd name="connsiteX62" fmla="*/ 6855 w 10000"/>
                <a:gd name="connsiteY62" fmla="*/ 7043 h 10000"/>
                <a:gd name="connsiteX63" fmla="*/ 6757 w 10000"/>
                <a:gd name="connsiteY63" fmla="*/ 6956 h 10000"/>
                <a:gd name="connsiteX64" fmla="*/ 6915 w 10000"/>
                <a:gd name="connsiteY64" fmla="*/ 6811 h 10000"/>
                <a:gd name="connsiteX65" fmla="*/ 6887 w 10000"/>
                <a:gd name="connsiteY65" fmla="*/ 6693 h 10000"/>
                <a:gd name="connsiteX66" fmla="*/ 6779 w 10000"/>
                <a:gd name="connsiteY66" fmla="*/ 6592 h 10000"/>
                <a:gd name="connsiteX67" fmla="*/ 6757 w 10000"/>
                <a:gd name="connsiteY67" fmla="*/ 6514 h 10000"/>
                <a:gd name="connsiteX68" fmla="*/ 6785 w 10000"/>
                <a:gd name="connsiteY68" fmla="*/ 6457 h 10000"/>
                <a:gd name="connsiteX69" fmla="*/ 6931 w 10000"/>
                <a:gd name="connsiteY69" fmla="*/ 6503 h 10000"/>
                <a:gd name="connsiteX70" fmla="*/ 7045 w 10000"/>
                <a:gd name="connsiteY70" fmla="*/ 6500 h 10000"/>
                <a:gd name="connsiteX71" fmla="*/ 6983 w 10000"/>
                <a:gd name="connsiteY71" fmla="*/ 6404 h 10000"/>
                <a:gd name="connsiteX72" fmla="*/ 7003 w 10000"/>
                <a:gd name="connsiteY72" fmla="*/ 6346 h 10000"/>
                <a:gd name="connsiteX73" fmla="*/ 7089 w 10000"/>
                <a:gd name="connsiteY73" fmla="*/ 6265 h 10000"/>
                <a:gd name="connsiteX74" fmla="*/ 7074 w 10000"/>
                <a:gd name="connsiteY74" fmla="*/ 6198 h 10000"/>
                <a:gd name="connsiteX75" fmla="*/ 7152 w 10000"/>
                <a:gd name="connsiteY75" fmla="*/ 5971 h 10000"/>
                <a:gd name="connsiteX76" fmla="*/ 7130 w 10000"/>
                <a:gd name="connsiteY76" fmla="*/ 5902 h 10000"/>
                <a:gd name="connsiteX77" fmla="*/ 6729 w 10000"/>
                <a:gd name="connsiteY77" fmla="*/ 5729 h 10000"/>
                <a:gd name="connsiteX78" fmla="*/ 6785 w 10000"/>
                <a:gd name="connsiteY78" fmla="*/ 5723 h 10000"/>
                <a:gd name="connsiteX79" fmla="*/ 6998 w 10000"/>
                <a:gd name="connsiteY79" fmla="*/ 5768 h 10000"/>
                <a:gd name="connsiteX80" fmla="*/ 7230 w 10000"/>
                <a:gd name="connsiteY80" fmla="*/ 5751 h 10000"/>
                <a:gd name="connsiteX81" fmla="*/ 7295 w 10000"/>
                <a:gd name="connsiteY81" fmla="*/ 5689 h 10000"/>
                <a:gd name="connsiteX82" fmla="*/ 7074 w 10000"/>
                <a:gd name="connsiteY82" fmla="*/ 5571 h 10000"/>
                <a:gd name="connsiteX83" fmla="*/ 6414 w 10000"/>
                <a:gd name="connsiteY83" fmla="*/ 5495 h 10000"/>
                <a:gd name="connsiteX84" fmla="*/ 6458 w 10000"/>
                <a:gd name="connsiteY84" fmla="*/ 5459 h 10000"/>
                <a:gd name="connsiteX85" fmla="*/ 6998 w 10000"/>
                <a:gd name="connsiteY85" fmla="*/ 5434 h 10000"/>
                <a:gd name="connsiteX86" fmla="*/ 7295 w 10000"/>
                <a:gd name="connsiteY86" fmla="*/ 5506 h 10000"/>
                <a:gd name="connsiteX87" fmla="*/ 7466 w 10000"/>
                <a:gd name="connsiteY87" fmla="*/ 5459 h 10000"/>
                <a:gd name="connsiteX88" fmla="*/ 7529 w 10000"/>
                <a:gd name="connsiteY88" fmla="*/ 5337 h 10000"/>
                <a:gd name="connsiteX89" fmla="*/ 7840 w 10000"/>
                <a:gd name="connsiteY89" fmla="*/ 5337 h 10000"/>
                <a:gd name="connsiteX90" fmla="*/ 8261 w 10000"/>
                <a:gd name="connsiteY90" fmla="*/ 5093 h 10000"/>
                <a:gd name="connsiteX91" fmla="*/ 8275 w 10000"/>
                <a:gd name="connsiteY91" fmla="*/ 4928 h 10000"/>
                <a:gd name="connsiteX92" fmla="*/ 8453 w 10000"/>
                <a:gd name="connsiteY92" fmla="*/ 4965 h 10000"/>
                <a:gd name="connsiteX93" fmla="*/ 8446 w 10000"/>
                <a:gd name="connsiteY93" fmla="*/ 5130 h 10000"/>
                <a:gd name="connsiteX94" fmla="*/ 8727 w 10000"/>
                <a:gd name="connsiteY94" fmla="*/ 5118 h 10000"/>
                <a:gd name="connsiteX95" fmla="*/ 8913 w 10000"/>
                <a:gd name="connsiteY95" fmla="*/ 4948 h 10000"/>
                <a:gd name="connsiteX96" fmla="*/ 9258 w 10000"/>
                <a:gd name="connsiteY96" fmla="*/ 4795 h 10000"/>
                <a:gd name="connsiteX97" fmla="*/ 9203 w 10000"/>
                <a:gd name="connsiteY97" fmla="*/ 4621 h 10000"/>
                <a:gd name="connsiteX98" fmla="*/ 9306 w 10000"/>
                <a:gd name="connsiteY98" fmla="*/ 4690 h 10000"/>
                <a:gd name="connsiteX99" fmla="*/ 9464 w 10000"/>
                <a:gd name="connsiteY99" fmla="*/ 4690 h 10000"/>
                <a:gd name="connsiteX100" fmla="*/ 9464 w 10000"/>
                <a:gd name="connsiteY100" fmla="*/ 4609 h 10000"/>
                <a:gd name="connsiteX101" fmla="*/ 9611 w 10000"/>
                <a:gd name="connsiteY101" fmla="*/ 4550 h 10000"/>
                <a:gd name="connsiteX102" fmla="*/ 9592 w 10000"/>
                <a:gd name="connsiteY102" fmla="*/ 4487 h 10000"/>
                <a:gd name="connsiteX103" fmla="*/ 8350 w 10000"/>
                <a:gd name="connsiteY103" fmla="*/ 4611 h 10000"/>
                <a:gd name="connsiteX104" fmla="*/ 8058 w 10000"/>
                <a:gd name="connsiteY104" fmla="*/ 4576 h 10000"/>
                <a:gd name="connsiteX105" fmla="*/ 7942 w 10000"/>
                <a:gd name="connsiteY105" fmla="*/ 4621 h 10000"/>
                <a:gd name="connsiteX106" fmla="*/ 7903 w 10000"/>
                <a:gd name="connsiteY106" fmla="*/ 4532 h 10000"/>
                <a:gd name="connsiteX107" fmla="*/ 7765 w 10000"/>
                <a:gd name="connsiteY107" fmla="*/ 4456 h 10000"/>
                <a:gd name="connsiteX108" fmla="*/ 7213 w 10000"/>
                <a:gd name="connsiteY108" fmla="*/ 4297 h 10000"/>
                <a:gd name="connsiteX109" fmla="*/ 6887 w 10000"/>
                <a:gd name="connsiteY109" fmla="*/ 4324 h 10000"/>
                <a:gd name="connsiteX110" fmla="*/ 6757 w 10000"/>
                <a:gd name="connsiteY110" fmla="*/ 4278 h 10000"/>
                <a:gd name="connsiteX111" fmla="*/ 6894 w 10000"/>
                <a:gd name="connsiteY111" fmla="*/ 4240 h 10000"/>
                <a:gd name="connsiteX112" fmla="*/ 6998 w 10000"/>
                <a:gd name="connsiteY112" fmla="*/ 4156 h 10000"/>
                <a:gd name="connsiteX113" fmla="*/ 7152 w 10000"/>
                <a:gd name="connsiteY113" fmla="*/ 4182 h 10000"/>
                <a:gd name="connsiteX114" fmla="*/ 7335 w 10000"/>
                <a:gd name="connsiteY114" fmla="*/ 4161 h 10000"/>
                <a:gd name="connsiteX115" fmla="*/ 7611 w 10000"/>
                <a:gd name="connsiteY115" fmla="*/ 4188 h 10000"/>
                <a:gd name="connsiteX116" fmla="*/ 7645 w 10000"/>
                <a:gd name="connsiteY116" fmla="*/ 4177 h 10000"/>
                <a:gd name="connsiteX117" fmla="*/ 7859 w 10000"/>
                <a:gd name="connsiteY117" fmla="*/ 4305 h 10000"/>
                <a:gd name="connsiteX118" fmla="*/ 8017 w 10000"/>
                <a:gd name="connsiteY118" fmla="*/ 4257 h 10000"/>
                <a:gd name="connsiteX119" fmla="*/ 8032 w 10000"/>
                <a:gd name="connsiteY119" fmla="*/ 4214 h 10000"/>
                <a:gd name="connsiteX120" fmla="*/ 8176 w 10000"/>
                <a:gd name="connsiteY120" fmla="*/ 4290 h 10000"/>
                <a:gd name="connsiteX121" fmla="*/ 8369 w 10000"/>
                <a:gd name="connsiteY121" fmla="*/ 4331 h 10000"/>
                <a:gd name="connsiteX122" fmla="*/ 8446 w 10000"/>
                <a:gd name="connsiteY122" fmla="*/ 4255 h 10000"/>
                <a:gd name="connsiteX123" fmla="*/ 8507 w 10000"/>
                <a:gd name="connsiteY123" fmla="*/ 4297 h 10000"/>
                <a:gd name="connsiteX124" fmla="*/ 8596 w 10000"/>
                <a:gd name="connsiteY124" fmla="*/ 4446 h 10000"/>
                <a:gd name="connsiteX125" fmla="*/ 8782 w 10000"/>
                <a:gd name="connsiteY125" fmla="*/ 4478 h 10000"/>
                <a:gd name="connsiteX126" fmla="*/ 9542 w 10000"/>
                <a:gd name="connsiteY126" fmla="*/ 4262 h 10000"/>
                <a:gd name="connsiteX127" fmla="*/ 9914 w 10000"/>
                <a:gd name="connsiteY127" fmla="*/ 3962 h 10000"/>
                <a:gd name="connsiteX128" fmla="*/ 10000 w 10000"/>
                <a:gd name="connsiteY128" fmla="*/ 3744 h 10000"/>
                <a:gd name="connsiteX129" fmla="*/ 9866 w 10000"/>
                <a:gd name="connsiteY129" fmla="*/ 3546 h 10000"/>
                <a:gd name="connsiteX130" fmla="*/ 9582 w 10000"/>
                <a:gd name="connsiteY130" fmla="*/ 3428 h 10000"/>
                <a:gd name="connsiteX131" fmla="*/ 9382 w 10000"/>
                <a:gd name="connsiteY131" fmla="*/ 3233 h 10000"/>
                <a:gd name="connsiteX132" fmla="*/ 9569 w 10000"/>
                <a:gd name="connsiteY132" fmla="*/ 3227 h 10000"/>
                <a:gd name="connsiteX133" fmla="*/ 9555 w 10000"/>
                <a:gd name="connsiteY133" fmla="*/ 3180 h 10000"/>
                <a:gd name="connsiteX134" fmla="*/ 9068 w 10000"/>
                <a:gd name="connsiteY134" fmla="*/ 3045 h 10000"/>
                <a:gd name="connsiteX135" fmla="*/ 9047 w 10000"/>
                <a:gd name="connsiteY135" fmla="*/ 2920 h 10000"/>
                <a:gd name="connsiteX136" fmla="*/ 8953 w 10000"/>
                <a:gd name="connsiteY136" fmla="*/ 2789 h 10000"/>
                <a:gd name="connsiteX137" fmla="*/ 8569 w 10000"/>
                <a:gd name="connsiteY137" fmla="*/ 2813 h 10000"/>
                <a:gd name="connsiteX138" fmla="*/ 8431 w 10000"/>
                <a:gd name="connsiteY138" fmla="*/ 2673 h 10000"/>
                <a:gd name="connsiteX139" fmla="*/ 8350 w 10000"/>
                <a:gd name="connsiteY139" fmla="*/ 2665 h 10000"/>
                <a:gd name="connsiteX140" fmla="*/ 8350 w 10000"/>
                <a:gd name="connsiteY140" fmla="*/ 2726 h 10000"/>
                <a:gd name="connsiteX141" fmla="*/ 8176 w 10000"/>
                <a:gd name="connsiteY141" fmla="*/ 2959 h 10000"/>
                <a:gd name="connsiteX142" fmla="*/ 7990 w 10000"/>
                <a:gd name="connsiteY142" fmla="*/ 3096 h 10000"/>
                <a:gd name="connsiteX143" fmla="*/ 7401 w 10000"/>
                <a:gd name="connsiteY143" fmla="*/ 3329 h 10000"/>
                <a:gd name="connsiteX144" fmla="*/ 7198 w 10000"/>
                <a:gd name="connsiteY144" fmla="*/ 3322 h 10000"/>
                <a:gd name="connsiteX145" fmla="*/ 6915 w 10000"/>
                <a:gd name="connsiteY145" fmla="*/ 3359 h 10000"/>
                <a:gd name="connsiteX146" fmla="*/ 6757 w 10000"/>
                <a:gd name="connsiteY146" fmla="*/ 3322 h 10000"/>
                <a:gd name="connsiteX147" fmla="*/ 6965 w 10000"/>
                <a:gd name="connsiteY147" fmla="*/ 3255 h 10000"/>
                <a:gd name="connsiteX148" fmla="*/ 7235 w 10000"/>
                <a:gd name="connsiteY148" fmla="*/ 3227 h 10000"/>
                <a:gd name="connsiteX149" fmla="*/ 7455 w 10000"/>
                <a:gd name="connsiteY149" fmla="*/ 3118 h 10000"/>
                <a:gd name="connsiteX150" fmla="*/ 7674 w 10000"/>
                <a:gd name="connsiteY150" fmla="*/ 3066 h 10000"/>
                <a:gd name="connsiteX151" fmla="*/ 8082 w 10000"/>
                <a:gd name="connsiteY151" fmla="*/ 2874 h 10000"/>
                <a:gd name="connsiteX152" fmla="*/ 8157 w 10000"/>
                <a:gd name="connsiteY152" fmla="*/ 2750 h 10000"/>
                <a:gd name="connsiteX153" fmla="*/ 8165 w 10000"/>
                <a:gd name="connsiteY153" fmla="*/ 2589 h 10000"/>
                <a:gd name="connsiteX154" fmla="*/ 7978 w 10000"/>
                <a:gd name="connsiteY154" fmla="*/ 2562 h 10000"/>
                <a:gd name="connsiteX155" fmla="*/ 8058 w 10000"/>
                <a:gd name="connsiteY155" fmla="*/ 2463 h 10000"/>
                <a:gd name="connsiteX156" fmla="*/ 8087 w 10000"/>
                <a:gd name="connsiteY156" fmla="*/ 2338 h 10000"/>
                <a:gd name="connsiteX157" fmla="*/ 8007 w 10000"/>
                <a:gd name="connsiteY157" fmla="*/ 2222 h 10000"/>
                <a:gd name="connsiteX158" fmla="*/ 4019 w 10000"/>
                <a:gd name="connsiteY158" fmla="*/ 530 h 10000"/>
                <a:gd name="connsiteX159" fmla="*/ 3154 w 10000"/>
                <a:gd name="connsiteY159" fmla="*/ 143 h 10000"/>
                <a:gd name="connsiteX160" fmla="*/ 2375 w 10000"/>
                <a:gd name="connsiteY160" fmla="*/ 0 h 10000"/>
                <a:gd name="connsiteX161" fmla="*/ 2226 w 10000"/>
                <a:gd name="connsiteY161" fmla="*/ 772 h 10000"/>
                <a:gd name="connsiteX162" fmla="*/ 2375 w 10000"/>
                <a:gd name="connsiteY162" fmla="*/ 967 h 10000"/>
                <a:gd name="connsiteX163" fmla="*/ 2791 w 10000"/>
                <a:gd name="connsiteY163" fmla="*/ 1185 h 10000"/>
                <a:gd name="connsiteX164" fmla="*/ 2808 w 10000"/>
                <a:gd name="connsiteY164" fmla="*/ 1446 h 10000"/>
                <a:gd name="connsiteX165" fmla="*/ 2632 w 10000"/>
                <a:gd name="connsiteY165" fmla="*/ 1665 h 10000"/>
                <a:gd name="connsiteX166" fmla="*/ 2375 w 10000"/>
                <a:gd name="connsiteY166" fmla="*/ 1798 h 10000"/>
                <a:gd name="connsiteX167" fmla="*/ 2039 w 10000"/>
                <a:gd name="connsiteY167" fmla="*/ 1851 h 10000"/>
                <a:gd name="connsiteX168" fmla="*/ 1950 w 10000"/>
                <a:gd name="connsiteY168" fmla="*/ 1929 h 10000"/>
                <a:gd name="connsiteX169" fmla="*/ 2148 w 10000"/>
                <a:gd name="connsiteY169" fmla="*/ 2110 h 10000"/>
                <a:gd name="connsiteX170" fmla="*/ 2261 w 10000"/>
                <a:gd name="connsiteY170" fmla="*/ 2541 h 10000"/>
                <a:gd name="connsiteX171" fmla="*/ 2005 w 10000"/>
                <a:gd name="connsiteY171" fmla="*/ 2910 h 10000"/>
                <a:gd name="connsiteX172" fmla="*/ 2094 w 10000"/>
                <a:gd name="connsiteY172" fmla="*/ 3022 h 10000"/>
                <a:gd name="connsiteX173" fmla="*/ 2012 w 10000"/>
                <a:gd name="connsiteY173" fmla="*/ 3214 h 10000"/>
                <a:gd name="connsiteX174" fmla="*/ 1850 w 10000"/>
                <a:gd name="connsiteY174" fmla="*/ 3349 h 10000"/>
                <a:gd name="connsiteX175" fmla="*/ 1199 w 10000"/>
                <a:gd name="connsiteY175" fmla="*/ 3450 h 10000"/>
                <a:gd name="connsiteX176" fmla="*/ 1158 w 10000"/>
                <a:gd name="connsiteY176" fmla="*/ 3629 h 10000"/>
                <a:gd name="connsiteX177" fmla="*/ 808 w 10000"/>
                <a:gd name="connsiteY177" fmla="*/ 3893 h 10000"/>
                <a:gd name="connsiteX178" fmla="*/ 854 w 10000"/>
                <a:gd name="connsiteY178" fmla="*/ 4276 h 10000"/>
                <a:gd name="connsiteX179" fmla="*/ 560 w 10000"/>
                <a:gd name="connsiteY179" fmla="*/ 4766 h 10000"/>
                <a:gd name="connsiteX180" fmla="*/ 358 w 10000"/>
                <a:gd name="connsiteY180" fmla="*/ 4822 h 10000"/>
                <a:gd name="connsiteX181" fmla="*/ 275 w 10000"/>
                <a:gd name="connsiteY181" fmla="*/ 4706 h 10000"/>
                <a:gd name="connsiteX182" fmla="*/ 174 w 10000"/>
                <a:gd name="connsiteY182" fmla="*/ 4882 h 10000"/>
                <a:gd name="connsiteX183" fmla="*/ 239 w 10000"/>
                <a:gd name="connsiteY183" fmla="*/ 4578 h 10000"/>
                <a:gd name="connsiteX184" fmla="*/ 197 w 10000"/>
                <a:gd name="connsiteY184" fmla="*/ 4521 h 10000"/>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3212 w 10000"/>
                <a:gd name="connsiteY47" fmla="*/ 9941 h 10000"/>
                <a:gd name="connsiteX48" fmla="*/ 3348 w 10000"/>
                <a:gd name="connsiteY48" fmla="*/ 9745 h 10000"/>
                <a:gd name="connsiteX49" fmla="*/ 3313 w 10000"/>
                <a:gd name="connsiteY49" fmla="*/ 9423 h 10000"/>
                <a:gd name="connsiteX50" fmla="*/ 3642 w 10000"/>
                <a:gd name="connsiteY50" fmla="*/ 9067 h 10000"/>
                <a:gd name="connsiteX51" fmla="*/ 3883 w 10000"/>
                <a:gd name="connsiteY51" fmla="*/ 9124 h 10000"/>
                <a:gd name="connsiteX52" fmla="*/ 4025 w 10000"/>
                <a:gd name="connsiteY52" fmla="*/ 8982 h 10000"/>
                <a:gd name="connsiteX53" fmla="*/ 4294 w 10000"/>
                <a:gd name="connsiteY53" fmla="*/ 8899 h 10000"/>
                <a:gd name="connsiteX54" fmla="*/ 4658 w 10000"/>
                <a:gd name="connsiteY54" fmla="*/ 8919 h 10000"/>
                <a:gd name="connsiteX55" fmla="*/ 4878 w 10000"/>
                <a:gd name="connsiteY55" fmla="*/ 8975 h 10000"/>
                <a:gd name="connsiteX56" fmla="*/ 5170 w 10000"/>
                <a:gd name="connsiteY56" fmla="*/ 8951 h 10000"/>
                <a:gd name="connsiteX57" fmla="*/ 5464 w 10000"/>
                <a:gd name="connsiteY57" fmla="*/ 9012 h 10000"/>
                <a:gd name="connsiteX58" fmla="*/ 5759 w 10000"/>
                <a:gd name="connsiteY58" fmla="*/ 9020 h 10000"/>
                <a:gd name="connsiteX59" fmla="*/ 6419 w 10000"/>
                <a:gd name="connsiteY59" fmla="*/ 8186 h 10000"/>
                <a:gd name="connsiteX60" fmla="*/ 6586 w 10000"/>
                <a:gd name="connsiteY60" fmla="*/ 7505 h 10000"/>
                <a:gd name="connsiteX61" fmla="*/ 6855 w 10000"/>
                <a:gd name="connsiteY61" fmla="*/ 7204 h 10000"/>
                <a:gd name="connsiteX62" fmla="*/ 6855 w 10000"/>
                <a:gd name="connsiteY62" fmla="*/ 7043 h 10000"/>
                <a:gd name="connsiteX63" fmla="*/ 6757 w 10000"/>
                <a:gd name="connsiteY63" fmla="*/ 6956 h 10000"/>
                <a:gd name="connsiteX64" fmla="*/ 6915 w 10000"/>
                <a:gd name="connsiteY64" fmla="*/ 6811 h 10000"/>
                <a:gd name="connsiteX65" fmla="*/ 6887 w 10000"/>
                <a:gd name="connsiteY65" fmla="*/ 6693 h 10000"/>
                <a:gd name="connsiteX66" fmla="*/ 6779 w 10000"/>
                <a:gd name="connsiteY66" fmla="*/ 6592 h 10000"/>
                <a:gd name="connsiteX67" fmla="*/ 6757 w 10000"/>
                <a:gd name="connsiteY67" fmla="*/ 6514 h 10000"/>
                <a:gd name="connsiteX68" fmla="*/ 6785 w 10000"/>
                <a:gd name="connsiteY68" fmla="*/ 6457 h 10000"/>
                <a:gd name="connsiteX69" fmla="*/ 6931 w 10000"/>
                <a:gd name="connsiteY69" fmla="*/ 6503 h 10000"/>
                <a:gd name="connsiteX70" fmla="*/ 7045 w 10000"/>
                <a:gd name="connsiteY70" fmla="*/ 6500 h 10000"/>
                <a:gd name="connsiteX71" fmla="*/ 6983 w 10000"/>
                <a:gd name="connsiteY71" fmla="*/ 6404 h 10000"/>
                <a:gd name="connsiteX72" fmla="*/ 7003 w 10000"/>
                <a:gd name="connsiteY72" fmla="*/ 6346 h 10000"/>
                <a:gd name="connsiteX73" fmla="*/ 7089 w 10000"/>
                <a:gd name="connsiteY73" fmla="*/ 6265 h 10000"/>
                <a:gd name="connsiteX74" fmla="*/ 7074 w 10000"/>
                <a:gd name="connsiteY74" fmla="*/ 6198 h 10000"/>
                <a:gd name="connsiteX75" fmla="*/ 7152 w 10000"/>
                <a:gd name="connsiteY75" fmla="*/ 5971 h 10000"/>
                <a:gd name="connsiteX76" fmla="*/ 7130 w 10000"/>
                <a:gd name="connsiteY76" fmla="*/ 5902 h 10000"/>
                <a:gd name="connsiteX77" fmla="*/ 6729 w 10000"/>
                <a:gd name="connsiteY77" fmla="*/ 5729 h 10000"/>
                <a:gd name="connsiteX78" fmla="*/ 6785 w 10000"/>
                <a:gd name="connsiteY78" fmla="*/ 5723 h 10000"/>
                <a:gd name="connsiteX79" fmla="*/ 6998 w 10000"/>
                <a:gd name="connsiteY79" fmla="*/ 5768 h 10000"/>
                <a:gd name="connsiteX80" fmla="*/ 7230 w 10000"/>
                <a:gd name="connsiteY80" fmla="*/ 5751 h 10000"/>
                <a:gd name="connsiteX81" fmla="*/ 7295 w 10000"/>
                <a:gd name="connsiteY81" fmla="*/ 5689 h 10000"/>
                <a:gd name="connsiteX82" fmla="*/ 7074 w 10000"/>
                <a:gd name="connsiteY82" fmla="*/ 5571 h 10000"/>
                <a:gd name="connsiteX83" fmla="*/ 6414 w 10000"/>
                <a:gd name="connsiteY83" fmla="*/ 5495 h 10000"/>
                <a:gd name="connsiteX84" fmla="*/ 6458 w 10000"/>
                <a:gd name="connsiteY84" fmla="*/ 5459 h 10000"/>
                <a:gd name="connsiteX85" fmla="*/ 6998 w 10000"/>
                <a:gd name="connsiteY85" fmla="*/ 5434 h 10000"/>
                <a:gd name="connsiteX86" fmla="*/ 7295 w 10000"/>
                <a:gd name="connsiteY86" fmla="*/ 5506 h 10000"/>
                <a:gd name="connsiteX87" fmla="*/ 7466 w 10000"/>
                <a:gd name="connsiteY87" fmla="*/ 5459 h 10000"/>
                <a:gd name="connsiteX88" fmla="*/ 7529 w 10000"/>
                <a:gd name="connsiteY88" fmla="*/ 5337 h 10000"/>
                <a:gd name="connsiteX89" fmla="*/ 7840 w 10000"/>
                <a:gd name="connsiteY89" fmla="*/ 5337 h 10000"/>
                <a:gd name="connsiteX90" fmla="*/ 8261 w 10000"/>
                <a:gd name="connsiteY90" fmla="*/ 5093 h 10000"/>
                <a:gd name="connsiteX91" fmla="*/ 8275 w 10000"/>
                <a:gd name="connsiteY91" fmla="*/ 4928 h 10000"/>
                <a:gd name="connsiteX92" fmla="*/ 8453 w 10000"/>
                <a:gd name="connsiteY92" fmla="*/ 4965 h 10000"/>
                <a:gd name="connsiteX93" fmla="*/ 8446 w 10000"/>
                <a:gd name="connsiteY93" fmla="*/ 5130 h 10000"/>
                <a:gd name="connsiteX94" fmla="*/ 8727 w 10000"/>
                <a:gd name="connsiteY94" fmla="*/ 5118 h 10000"/>
                <a:gd name="connsiteX95" fmla="*/ 8913 w 10000"/>
                <a:gd name="connsiteY95" fmla="*/ 4948 h 10000"/>
                <a:gd name="connsiteX96" fmla="*/ 9258 w 10000"/>
                <a:gd name="connsiteY96" fmla="*/ 4795 h 10000"/>
                <a:gd name="connsiteX97" fmla="*/ 9203 w 10000"/>
                <a:gd name="connsiteY97" fmla="*/ 4621 h 10000"/>
                <a:gd name="connsiteX98" fmla="*/ 9306 w 10000"/>
                <a:gd name="connsiteY98" fmla="*/ 4690 h 10000"/>
                <a:gd name="connsiteX99" fmla="*/ 9464 w 10000"/>
                <a:gd name="connsiteY99" fmla="*/ 4690 h 10000"/>
                <a:gd name="connsiteX100" fmla="*/ 9464 w 10000"/>
                <a:gd name="connsiteY100" fmla="*/ 4609 h 10000"/>
                <a:gd name="connsiteX101" fmla="*/ 9611 w 10000"/>
                <a:gd name="connsiteY101" fmla="*/ 4550 h 10000"/>
                <a:gd name="connsiteX102" fmla="*/ 9592 w 10000"/>
                <a:gd name="connsiteY102" fmla="*/ 4487 h 10000"/>
                <a:gd name="connsiteX103" fmla="*/ 8350 w 10000"/>
                <a:gd name="connsiteY103" fmla="*/ 4611 h 10000"/>
                <a:gd name="connsiteX104" fmla="*/ 8058 w 10000"/>
                <a:gd name="connsiteY104" fmla="*/ 4576 h 10000"/>
                <a:gd name="connsiteX105" fmla="*/ 7942 w 10000"/>
                <a:gd name="connsiteY105" fmla="*/ 4621 h 10000"/>
                <a:gd name="connsiteX106" fmla="*/ 7903 w 10000"/>
                <a:gd name="connsiteY106" fmla="*/ 4532 h 10000"/>
                <a:gd name="connsiteX107" fmla="*/ 7765 w 10000"/>
                <a:gd name="connsiteY107" fmla="*/ 4456 h 10000"/>
                <a:gd name="connsiteX108" fmla="*/ 7213 w 10000"/>
                <a:gd name="connsiteY108" fmla="*/ 4297 h 10000"/>
                <a:gd name="connsiteX109" fmla="*/ 6887 w 10000"/>
                <a:gd name="connsiteY109" fmla="*/ 4324 h 10000"/>
                <a:gd name="connsiteX110" fmla="*/ 6757 w 10000"/>
                <a:gd name="connsiteY110" fmla="*/ 4278 h 10000"/>
                <a:gd name="connsiteX111" fmla="*/ 6894 w 10000"/>
                <a:gd name="connsiteY111" fmla="*/ 4240 h 10000"/>
                <a:gd name="connsiteX112" fmla="*/ 6998 w 10000"/>
                <a:gd name="connsiteY112" fmla="*/ 4156 h 10000"/>
                <a:gd name="connsiteX113" fmla="*/ 7152 w 10000"/>
                <a:gd name="connsiteY113" fmla="*/ 4182 h 10000"/>
                <a:gd name="connsiteX114" fmla="*/ 7335 w 10000"/>
                <a:gd name="connsiteY114" fmla="*/ 4161 h 10000"/>
                <a:gd name="connsiteX115" fmla="*/ 7611 w 10000"/>
                <a:gd name="connsiteY115" fmla="*/ 4188 h 10000"/>
                <a:gd name="connsiteX116" fmla="*/ 7645 w 10000"/>
                <a:gd name="connsiteY116" fmla="*/ 4177 h 10000"/>
                <a:gd name="connsiteX117" fmla="*/ 7859 w 10000"/>
                <a:gd name="connsiteY117" fmla="*/ 4305 h 10000"/>
                <a:gd name="connsiteX118" fmla="*/ 8017 w 10000"/>
                <a:gd name="connsiteY118" fmla="*/ 4257 h 10000"/>
                <a:gd name="connsiteX119" fmla="*/ 8032 w 10000"/>
                <a:gd name="connsiteY119" fmla="*/ 4214 h 10000"/>
                <a:gd name="connsiteX120" fmla="*/ 8176 w 10000"/>
                <a:gd name="connsiteY120" fmla="*/ 4290 h 10000"/>
                <a:gd name="connsiteX121" fmla="*/ 8369 w 10000"/>
                <a:gd name="connsiteY121" fmla="*/ 4331 h 10000"/>
                <a:gd name="connsiteX122" fmla="*/ 8446 w 10000"/>
                <a:gd name="connsiteY122" fmla="*/ 4255 h 10000"/>
                <a:gd name="connsiteX123" fmla="*/ 8507 w 10000"/>
                <a:gd name="connsiteY123" fmla="*/ 4297 h 10000"/>
                <a:gd name="connsiteX124" fmla="*/ 8596 w 10000"/>
                <a:gd name="connsiteY124" fmla="*/ 4446 h 10000"/>
                <a:gd name="connsiteX125" fmla="*/ 8782 w 10000"/>
                <a:gd name="connsiteY125" fmla="*/ 4478 h 10000"/>
                <a:gd name="connsiteX126" fmla="*/ 9542 w 10000"/>
                <a:gd name="connsiteY126" fmla="*/ 4262 h 10000"/>
                <a:gd name="connsiteX127" fmla="*/ 9914 w 10000"/>
                <a:gd name="connsiteY127" fmla="*/ 3962 h 10000"/>
                <a:gd name="connsiteX128" fmla="*/ 10000 w 10000"/>
                <a:gd name="connsiteY128" fmla="*/ 3744 h 10000"/>
                <a:gd name="connsiteX129" fmla="*/ 9866 w 10000"/>
                <a:gd name="connsiteY129" fmla="*/ 3546 h 10000"/>
                <a:gd name="connsiteX130" fmla="*/ 9582 w 10000"/>
                <a:gd name="connsiteY130" fmla="*/ 3428 h 10000"/>
                <a:gd name="connsiteX131" fmla="*/ 9382 w 10000"/>
                <a:gd name="connsiteY131" fmla="*/ 3233 h 10000"/>
                <a:gd name="connsiteX132" fmla="*/ 9569 w 10000"/>
                <a:gd name="connsiteY132" fmla="*/ 3227 h 10000"/>
                <a:gd name="connsiteX133" fmla="*/ 9555 w 10000"/>
                <a:gd name="connsiteY133" fmla="*/ 3180 h 10000"/>
                <a:gd name="connsiteX134" fmla="*/ 9068 w 10000"/>
                <a:gd name="connsiteY134" fmla="*/ 3045 h 10000"/>
                <a:gd name="connsiteX135" fmla="*/ 9047 w 10000"/>
                <a:gd name="connsiteY135" fmla="*/ 2920 h 10000"/>
                <a:gd name="connsiteX136" fmla="*/ 8953 w 10000"/>
                <a:gd name="connsiteY136" fmla="*/ 2789 h 10000"/>
                <a:gd name="connsiteX137" fmla="*/ 8569 w 10000"/>
                <a:gd name="connsiteY137" fmla="*/ 2813 h 10000"/>
                <a:gd name="connsiteX138" fmla="*/ 8431 w 10000"/>
                <a:gd name="connsiteY138" fmla="*/ 2673 h 10000"/>
                <a:gd name="connsiteX139" fmla="*/ 8350 w 10000"/>
                <a:gd name="connsiteY139" fmla="*/ 2665 h 10000"/>
                <a:gd name="connsiteX140" fmla="*/ 8350 w 10000"/>
                <a:gd name="connsiteY140" fmla="*/ 2726 h 10000"/>
                <a:gd name="connsiteX141" fmla="*/ 8176 w 10000"/>
                <a:gd name="connsiteY141" fmla="*/ 2959 h 10000"/>
                <a:gd name="connsiteX142" fmla="*/ 7990 w 10000"/>
                <a:gd name="connsiteY142" fmla="*/ 3096 h 10000"/>
                <a:gd name="connsiteX143" fmla="*/ 7401 w 10000"/>
                <a:gd name="connsiteY143" fmla="*/ 3329 h 10000"/>
                <a:gd name="connsiteX144" fmla="*/ 7198 w 10000"/>
                <a:gd name="connsiteY144" fmla="*/ 3322 h 10000"/>
                <a:gd name="connsiteX145" fmla="*/ 6915 w 10000"/>
                <a:gd name="connsiteY145" fmla="*/ 3359 h 10000"/>
                <a:gd name="connsiteX146" fmla="*/ 6757 w 10000"/>
                <a:gd name="connsiteY146" fmla="*/ 3322 h 10000"/>
                <a:gd name="connsiteX147" fmla="*/ 6965 w 10000"/>
                <a:gd name="connsiteY147" fmla="*/ 3255 h 10000"/>
                <a:gd name="connsiteX148" fmla="*/ 7235 w 10000"/>
                <a:gd name="connsiteY148" fmla="*/ 3227 h 10000"/>
                <a:gd name="connsiteX149" fmla="*/ 7455 w 10000"/>
                <a:gd name="connsiteY149" fmla="*/ 3118 h 10000"/>
                <a:gd name="connsiteX150" fmla="*/ 7674 w 10000"/>
                <a:gd name="connsiteY150" fmla="*/ 3066 h 10000"/>
                <a:gd name="connsiteX151" fmla="*/ 8082 w 10000"/>
                <a:gd name="connsiteY151" fmla="*/ 2874 h 10000"/>
                <a:gd name="connsiteX152" fmla="*/ 8157 w 10000"/>
                <a:gd name="connsiteY152" fmla="*/ 2750 h 10000"/>
                <a:gd name="connsiteX153" fmla="*/ 8165 w 10000"/>
                <a:gd name="connsiteY153" fmla="*/ 2589 h 10000"/>
                <a:gd name="connsiteX154" fmla="*/ 7978 w 10000"/>
                <a:gd name="connsiteY154" fmla="*/ 2562 h 10000"/>
                <a:gd name="connsiteX155" fmla="*/ 8058 w 10000"/>
                <a:gd name="connsiteY155" fmla="*/ 2463 h 10000"/>
                <a:gd name="connsiteX156" fmla="*/ 8087 w 10000"/>
                <a:gd name="connsiteY156" fmla="*/ 2338 h 10000"/>
                <a:gd name="connsiteX157" fmla="*/ 8007 w 10000"/>
                <a:gd name="connsiteY157" fmla="*/ 2222 h 10000"/>
                <a:gd name="connsiteX158" fmla="*/ 3730 w 10000"/>
                <a:gd name="connsiteY158" fmla="*/ 962 h 10000"/>
                <a:gd name="connsiteX159" fmla="*/ 3154 w 10000"/>
                <a:gd name="connsiteY159" fmla="*/ 143 h 10000"/>
                <a:gd name="connsiteX160" fmla="*/ 2375 w 10000"/>
                <a:gd name="connsiteY160" fmla="*/ 0 h 10000"/>
                <a:gd name="connsiteX161" fmla="*/ 2226 w 10000"/>
                <a:gd name="connsiteY161" fmla="*/ 772 h 10000"/>
                <a:gd name="connsiteX162" fmla="*/ 2375 w 10000"/>
                <a:gd name="connsiteY162" fmla="*/ 967 h 10000"/>
                <a:gd name="connsiteX163" fmla="*/ 2791 w 10000"/>
                <a:gd name="connsiteY163" fmla="*/ 1185 h 10000"/>
                <a:gd name="connsiteX164" fmla="*/ 2808 w 10000"/>
                <a:gd name="connsiteY164" fmla="*/ 1446 h 10000"/>
                <a:gd name="connsiteX165" fmla="*/ 2632 w 10000"/>
                <a:gd name="connsiteY165" fmla="*/ 1665 h 10000"/>
                <a:gd name="connsiteX166" fmla="*/ 2375 w 10000"/>
                <a:gd name="connsiteY166" fmla="*/ 1798 h 10000"/>
                <a:gd name="connsiteX167" fmla="*/ 2039 w 10000"/>
                <a:gd name="connsiteY167" fmla="*/ 1851 h 10000"/>
                <a:gd name="connsiteX168" fmla="*/ 1950 w 10000"/>
                <a:gd name="connsiteY168" fmla="*/ 1929 h 10000"/>
                <a:gd name="connsiteX169" fmla="*/ 2148 w 10000"/>
                <a:gd name="connsiteY169" fmla="*/ 2110 h 10000"/>
                <a:gd name="connsiteX170" fmla="*/ 2261 w 10000"/>
                <a:gd name="connsiteY170" fmla="*/ 2541 h 10000"/>
                <a:gd name="connsiteX171" fmla="*/ 2005 w 10000"/>
                <a:gd name="connsiteY171" fmla="*/ 2910 h 10000"/>
                <a:gd name="connsiteX172" fmla="*/ 2094 w 10000"/>
                <a:gd name="connsiteY172" fmla="*/ 3022 h 10000"/>
                <a:gd name="connsiteX173" fmla="*/ 2012 w 10000"/>
                <a:gd name="connsiteY173" fmla="*/ 3214 h 10000"/>
                <a:gd name="connsiteX174" fmla="*/ 1850 w 10000"/>
                <a:gd name="connsiteY174" fmla="*/ 3349 h 10000"/>
                <a:gd name="connsiteX175" fmla="*/ 1199 w 10000"/>
                <a:gd name="connsiteY175" fmla="*/ 3450 h 10000"/>
                <a:gd name="connsiteX176" fmla="*/ 1158 w 10000"/>
                <a:gd name="connsiteY176" fmla="*/ 3629 h 10000"/>
                <a:gd name="connsiteX177" fmla="*/ 808 w 10000"/>
                <a:gd name="connsiteY177" fmla="*/ 3893 h 10000"/>
                <a:gd name="connsiteX178" fmla="*/ 854 w 10000"/>
                <a:gd name="connsiteY178" fmla="*/ 4276 h 10000"/>
                <a:gd name="connsiteX179" fmla="*/ 560 w 10000"/>
                <a:gd name="connsiteY179" fmla="*/ 4766 h 10000"/>
                <a:gd name="connsiteX180" fmla="*/ 358 w 10000"/>
                <a:gd name="connsiteY180" fmla="*/ 4822 h 10000"/>
                <a:gd name="connsiteX181" fmla="*/ 275 w 10000"/>
                <a:gd name="connsiteY181" fmla="*/ 4706 h 10000"/>
                <a:gd name="connsiteX182" fmla="*/ 174 w 10000"/>
                <a:gd name="connsiteY182" fmla="*/ 4882 h 10000"/>
                <a:gd name="connsiteX183" fmla="*/ 239 w 10000"/>
                <a:gd name="connsiteY183" fmla="*/ 4578 h 10000"/>
                <a:gd name="connsiteX184" fmla="*/ 197 w 10000"/>
                <a:gd name="connsiteY184" fmla="*/ 4521 h 10000"/>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3212 w 10000"/>
                <a:gd name="connsiteY47" fmla="*/ 9941 h 10000"/>
                <a:gd name="connsiteX48" fmla="*/ 3348 w 10000"/>
                <a:gd name="connsiteY48" fmla="*/ 9745 h 10000"/>
                <a:gd name="connsiteX49" fmla="*/ 3313 w 10000"/>
                <a:gd name="connsiteY49" fmla="*/ 9423 h 10000"/>
                <a:gd name="connsiteX50" fmla="*/ 3642 w 10000"/>
                <a:gd name="connsiteY50" fmla="*/ 9067 h 10000"/>
                <a:gd name="connsiteX51" fmla="*/ 3883 w 10000"/>
                <a:gd name="connsiteY51" fmla="*/ 9124 h 10000"/>
                <a:gd name="connsiteX52" fmla="*/ 4025 w 10000"/>
                <a:gd name="connsiteY52" fmla="*/ 8982 h 10000"/>
                <a:gd name="connsiteX53" fmla="*/ 4294 w 10000"/>
                <a:gd name="connsiteY53" fmla="*/ 8899 h 10000"/>
                <a:gd name="connsiteX54" fmla="*/ 4658 w 10000"/>
                <a:gd name="connsiteY54" fmla="*/ 8919 h 10000"/>
                <a:gd name="connsiteX55" fmla="*/ 4878 w 10000"/>
                <a:gd name="connsiteY55" fmla="*/ 8975 h 10000"/>
                <a:gd name="connsiteX56" fmla="*/ 5170 w 10000"/>
                <a:gd name="connsiteY56" fmla="*/ 8951 h 10000"/>
                <a:gd name="connsiteX57" fmla="*/ 5464 w 10000"/>
                <a:gd name="connsiteY57" fmla="*/ 9012 h 10000"/>
                <a:gd name="connsiteX58" fmla="*/ 5759 w 10000"/>
                <a:gd name="connsiteY58" fmla="*/ 9020 h 10000"/>
                <a:gd name="connsiteX59" fmla="*/ 6419 w 10000"/>
                <a:gd name="connsiteY59" fmla="*/ 8186 h 10000"/>
                <a:gd name="connsiteX60" fmla="*/ 6586 w 10000"/>
                <a:gd name="connsiteY60" fmla="*/ 7505 h 10000"/>
                <a:gd name="connsiteX61" fmla="*/ 6855 w 10000"/>
                <a:gd name="connsiteY61" fmla="*/ 7204 h 10000"/>
                <a:gd name="connsiteX62" fmla="*/ 6855 w 10000"/>
                <a:gd name="connsiteY62" fmla="*/ 7043 h 10000"/>
                <a:gd name="connsiteX63" fmla="*/ 6757 w 10000"/>
                <a:gd name="connsiteY63" fmla="*/ 6956 h 10000"/>
                <a:gd name="connsiteX64" fmla="*/ 6915 w 10000"/>
                <a:gd name="connsiteY64" fmla="*/ 6811 h 10000"/>
                <a:gd name="connsiteX65" fmla="*/ 6887 w 10000"/>
                <a:gd name="connsiteY65" fmla="*/ 6693 h 10000"/>
                <a:gd name="connsiteX66" fmla="*/ 6779 w 10000"/>
                <a:gd name="connsiteY66" fmla="*/ 6592 h 10000"/>
                <a:gd name="connsiteX67" fmla="*/ 6757 w 10000"/>
                <a:gd name="connsiteY67" fmla="*/ 6514 h 10000"/>
                <a:gd name="connsiteX68" fmla="*/ 6785 w 10000"/>
                <a:gd name="connsiteY68" fmla="*/ 6457 h 10000"/>
                <a:gd name="connsiteX69" fmla="*/ 6931 w 10000"/>
                <a:gd name="connsiteY69" fmla="*/ 6503 h 10000"/>
                <a:gd name="connsiteX70" fmla="*/ 7045 w 10000"/>
                <a:gd name="connsiteY70" fmla="*/ 6500 h 10000"/>
                <a:gd name="connsiteX71" fmla="*/ 6983 w 10000"/>
                <a:gd name="connsiteY71" fmla="*/ 6404 h 10000"/>
                <a:gd name="connsiteX72" fmla="*/ 7003 w 10000"/>
                <a:gd name="connsiteY72" fmla="*/ 6346 h 10000"/>
                <a:gd name="connsiteX73" fmla="*/ 7089 w 10000"/>
                <a:gd name="connsiteY73" fmla="*/ 6265 h 10000"/>
                <a:gd name="connsiteX74" fmla="*/ 7074 w 10000"/>
                <a:gd name="connsiteY74" fmla="*/ 6198 h 10000"/>
                <a:gd name="connsiteX75" fmla="*/ 7152 w 10000"/>
                <a:gd name="connsiteY75" fmla="*/ 5971 h 10000"/>
                <a:gd name="connsiteX76" fmla="*/ 7130 w 10000"/>
                <a:gd name="connsiteY76" fmla="*/ 5902 h 10000"/>
                <a:gd name="connsiteX77" fmla="*/ 6729 w 10000"/>
                <a:gd name="connsiteY77" fmla="*/ 5729 h 10000"/>
                <a:gd name="connsiteX78" fmla="*/ 6785 w 10000"/>
                <a:gd name="connsiteY78" fmla="*/ 5723 h 10000"/>
                <a:gd name="connsiteX79" fmla="*/ 6998 w 10000"/>
                <a:gd name="connsiteY79" fmla="*/ 5768 h 10000"/>
                <a:gd name="connsiteX80" fmla="*/ 7230 w 10000"/>
                <a:gd name="connsiteY80" fmla="*/ 5751 h 10000"/>
                <a:gd name="connsiteX81" fmla="*/ 7295 w 10000"/>
                <a:gd name="connsiteY81" fmla="*/ 5689 h 10000"/>
                <a:gd name="connsiteX82" fmla="*/ 7074 w 10000"/>
                <a:gd name="connsiteY82" fmla="*/ 5571 h 10000"/>
                <a:gd name="connsiteX83" fmla="*/ 6414 w 10000"/>
                <a:gd name="connsiteY83" fmla="*/ 5495 h 10000"/>
                <a:gd name="connsiteX84" fmla="*/ 6458 w 10000"/>
                <a:gd name="connsiteY84" fmla="*/ 5459 h 10000"/>
                <a:gd name="connsiteX85" fmla="*/ 6998 w 10000"/>
                <a:gd name="connsiteY85" fmla="*/ 5434 h 10000"/>
                <a:gd name="connsiteX86" fmla="*/ 7295 w 10000"/>
                <a:gd name="connsiteY86" fmla="*/ 5506 h 10000"/>
                <a:gd name="connsiteX87" fmla="*/ 7466 w 10000"/>
                <a:gd name="connsiteY87" fmla="*/ 5459 h 10000"/>
                <a:gd name="connsiteX88" fmla="*/ 7529 w 10000"/>
                <a:gd name="connsiteY88" fmla="*/ 5337 h 10000"/>
                <a:gd name="connsiteX89" fmla="*/ 7840 w 10000"/>
                <a:gd name="connsiteY89" fmla="*/ 5337 h 10000"/>
                <a:gd name="connsiteX90" fmla="*/ 8261 w 10000"/>
                <a:gd name="connsiteY90" fmla="*/ 5093 h 10000"/>
                <a:gd name="connsiteX91" fmla="*/ 8275 w 10000"/>
                <a:gd name="connsiteY91" fmla="*/ 4928 h 10000"/>
                <a:gd name="connsiteX92" fmla="*/ 8453 w 10000"/>
                <a:gd name="connsiteY92" fmla="*/ 4965 h 10000"/>
                <a:gd name="connsiteX93" fmla="*/ 8446 w 10000"/>
                <a:gd name="connsiteY93" fmla="*/ 5130 h 10000"/>
                <a:gd name="connsiteX94" fmla="*/ 8727 w 10000"/>
                <a:gd name="connsiteY94" fmla="*/ 5118 h 10000"/>
                <a:gd name="connsiteX95" fmla="*/ 8913 w 10000"/>
                <a:gd name="connsiteY95" fmla="*/ 4948 h 10000"/>
                <a:gd name="connsiteX96" fmla="*/ 9258 w 10000"/>
                <a:gd name="connsiteY96" fmla="*/ 4795 h 10000"/>
                <a:gd name="connsiteX97" fmla="*/ 9203 w 10000"/>
                <a:gd name="connsiteY97" fmla="*/ 4621 h 10000"/>
                <a:gd name="connsiteX98" fmla="*/ 9306 w 10000"/>
                <a:gd name="connsiteY98" fmla="*/ 4690 h 10000"/>
                <a:gd name="connsiteX99" fmla="*/ 9464 w 10000"/>
                <a:gd name="connsiteY99" fmla="*/ 4690 h 10000"/>
                <a:gd name="connsiteX100" fmla="*/ 9464 w 10000"/>
                <a:gd name="connsiteY100" fmla="*/ 4609 h 10000"/>
                <a:gd name="connsiteX101" fmla="*/ 9611 w 10000"/>
                <a:gd name="connsiteY101" fmla="*/ 4550 h 10000"/>
                <a:gd name="connsiteX102" fmla="*/ 9592 w 10000"/>
                <a:gd name="connsiteY102" fmla="*/ 4487 h 10000"/>
                <a:gd name="connsiteX103" fmla="*/ 8350 w 10000"/>
                <a:gd name="connsiteY103" fmla="*/ 4611 h 10000"/>
                <a:gd name="connsiteX104" fmla="*/ 8058 w 10000"/>
                <a:gd name="connsiteY104" fmla="*/ 4576 h 10000"/>
                <a:gd name="connsiteX105" fmla="*/ 7942 w 10000"/>
                <a:gd name="connsiteY105" fmla="*/ 4621 h 10000"/>
                <a:gd name="connsiteX106" fmla="*/ 7903 w 10000"/>
                <a:gd name="connsiteY106" fmla="*/ 4532 h 10000"/>
                <a:gd name="connsiteX107" fmla="*/ 7765 w 10000"/>
                <a:gd name="connsiteY107" fmla="*/ 4456 h 10000"/>
                <a:gd name="connsiteX108" fmla="*/ 7213 w 10000"/>
                <a:gd name="connsiteY108" fmla="*/ 4297 h 10000"/>
                <a:gd name="connsiteX109" fmla="*/ 6887 w 10000"/>
                <a:gd name="connsiteY109" fmla="*/ 4324 h 10000"/>
                <a:gd name="connsiteX110" fmla="*/ 6757 w 10000"/>
                <a:gd name="connsiteY110" fmla="*/ 4278 h 10000"/>
                <a:gd name="connsiteX111" fmla="*/ 6894 w 10000"/>
                <a:gd name="connsiteY111" fmla="*/ 4240 h 10000"/>
                <a:gd name="connsiteX112" fmla="*/ 6998 w 10000"/>
                <a:gd name="connsiteY112" fmla="*/ 4156 h 10000"/>
                <a:gd name="connsiteX113" fmla="*/ 7152 w 10000"/>
                <a:gd name="connsiteY113" fmla="*/ 4182 h 10000"/>
                <a:gd name="connsiteX114" fmla="*/ 7335 w 10000"/>
                <a:gd name="connsiteY114" fmla="*/ 4161 h 10000"/>
                <a:gd name="connsiteX115" fmla="*/ 7611 w 10000"/>
                <a:gd name="connsiteY115" fmla="*/ 4188 h 10000"/>
                <a:gd name="connsiteX116" fmla="*/ 7645 w 10000"/>
                <a:gd name="connsiteY116" fmla="*/ 4177 h 10000"/>
                <a:gd name="connsiteX117" fmla="*/ 7859 w 10000"/>
                <a:gd name="connsiteY117" fmla="*/ 4305 h 10000"/>
                <a:gd name="connsiteX118" fmla="*/ 8017 w 10000"/>
                <a:gd name="connsiteY118" fmla="*/ 4257 h 10000"/>
                <a:gd name="connsiteX119" fmla="*/ 8032 w 10000"/>
                <a:gd name="connsiteY119" fmla="*/ 4214 h 10000"/>
                <a:gd name="connsiteX120" fmla="*/ 8176 w 10000"/>
                <a:gd name="connsiteY120" fmla="*/ 4290 h 10000"/>
                <a:gd name="connsiteX121" fmla="*/ 8369 w 10000"/>
                <a:gd name="connsiteY121" fmla="*/ 4331 h 10000"/>
                <a:gd name="connsiteX122" fmla="*/ 8446 w 10000"/>
                <a:gd name="connsiteY122" fmla="*/ 4255 h 10000"/>
                <a:gd name="connsiteX123" fmla="*/ 8507 w 10000"/>
                <a:gd name="connsiteY123" fmla="*/ 4297 h 10000"/>
                <a:gd name="connsiteX124" fmla="*/ 8596 w 10000"/>
                <a:gd name="connsiteY124" fmla="*/ 4446 h 10000"/>
                <a:gd name="connsiteX125" fmla="*/ 8782 w 10000"/>
                <a:gd name="connsiteY125" fmla="*/ 4478 h 10000"/>
                <a:gd name="connsiteX126" fmla="*/ 9542 w 10000"/>
                <a:gd name="connsiteY126" fmla="*/ 4262 h 10000"/>
                <a:gd name="connsiteX127" fmla="*/ 9914 w 10000"/>
                <a:gd name="connsiteY127" fmla="*/ 3962 h 10000"/>
                <a:gd name="connsiteX128" fmla="*/ 10000 w 10000"/>
                <a:gd name="connsiteY128" fmla="*/ 3744 h 10000"/>
                <a:gd name="connsiteX129" fmla="*/ 9866 w 10000"/>
                <a:gd name="connsiteY129" fmla="*/ 3546 h 10000"/>
                <a:gd name="connsiteX130" fmla="*/ 9582 w 10000"/>
                <a:gd name="connsiteY130" fmla="*/ 3428 h 10000"/>
                <a:gd name="connsiteX131" fmla="*/ 9382 w 10000"/>
                <a:gd name="connsiteY131" fmla="*/ 3233 h 10000"/>
                <a:gd name="connsiteX132" fmla="*/ 9569 w 10000"/>
                <a:gd name="connsiteY132" fmla="*/ 3227 h 10000"/>
                <a:gd name="connsiteX133" fmla="*/ 9555 w 10000"/>
                <a:gd name="connsiteY133" fmla="*/ 3180 h 10000"/>
                <a:gd name="connsiteX134" fmla="*/ 9068 w 10000"/>
                <a:gd name="connsiteY134" fmla="*/ 3045 h 10000"/>
                <a:gd name="connsiteX135" fmla="*/ 9047 w 10000"/>
                <a:gd name="connsiteY135" fmla="*/ 2920 h 10000"/>
                <a:gd name="connsiteX136" fmla="*/ 8953 w 10000"/>
                <a:gd name="connsiteY136" fmla="*/ 2789 h 10000"/>
                <a:gd name="connsiteX137" fmla="*/ 8569 w 10000"/>
                <a:gd name="connsiteY137" fmla="*/ 2813 h 10000"/>
                <a:gd name="connsiteX138" fmla="*/ 8431 w 10000"/>
                <a:gd name="connsiteY138" fmla="*/ 2673 h 10000"/>
                <a:gd name="connsiteX139" fmla="*/ 8350 w 10000"/>
                <a:gd name="connsiteY139" fmla="*/ 2665 h 10000"/>
                <a:gd name="connsiteX140" fmla="*/ 8350 w 10000"/>
                <a:gd name="connsiteY140" fmla="*/ 2726 h 10000"/>
                <a:gd name="connsiteX141" fmla="*/ 8176 w 10000"/>
                <a:gd name="connsiteY141" fmla="*/ 2959 h 10000"/>
                <a:gd name="connsiteX142" fmla="*/ 7990 w 10000"/>
                <a:gd name="connsiteY142" fmla="*/ 3096 h 10000"/>
                <a:gd name="connsiteX143" fmla="*/ 7401 w 10000"/>
                <a:gd name="connsiteY143" fmla="*/ 3329 h 10000"/>
                <a:gd name="connsiteX144" fmla="*/ 7198 w 10000"/>
                <a:gd name="connsiteY144" fmla="*/ 3322 h 10000"/>
                <a:gd name="connsiteX145" fmla="*/ 6915 w 10000"/>
                <a:gd name="connsiteY145" fmla="*/ 3359 h 10000"/>
                <a:gd name="connsiteX146" fmla="*/ 6757 w 10000"/>
                <a:gd name="connsiteY146" fmla="*/ 3322 h 10000"/>
                <a:gd name="connsiteX147" fmla="*/ 6965 w 10000"/>
                <a:gd name="connsiteY147" fmla="*/ 3255 h 10000"/>
                <a:gd name="connsiteX148" fmla="*/ 7235 w 10000"/>
                <a:gd name="connsiteY148" fmla="*/ 3227 h 10000"/>
                <a:gd name="connsiteX149" fmla="*/ 7455 w 10000"/>
                <a:gd name="connsiteY149" fmla="*/ 3118 h 10000"/>
                <a:gd name="connsiteX150" fmla="*/ 7674 w 10000"/>
                <a:gd name="connsiteY150" fmla="*/ 3066 h 10000"/>
                <a:gd name="connsiteX151" fmla="*/ 8082 w 10000"/>
                <a:gd name="connsiteY151" fmla="*/ 2874 h 10000"/>
                <a:gd name="connsiteX152" fmla="*/ 8157 w 10000"/>
                <a:gd name="connsiteY152" fmla="*/ 2750 h 10000"/>
                <a:gd name="connsiteX153" fmla="*/ 8165 w 10000"/>
                <a:gd name="connsiteY153" fmla="*/ 2589 h 10000"/>
                <a:gd name="connsiteX154" fmla="*/ 7978 w 10000"/>
                <a:gd name="connsiteY154" fmla="*/ 2562 h 10000"/>
                <a:gd name="connsiteX155" fmla="*/ 8058 w 10000"/>
                <a:gd name="connsiteY155" fmla="*/ 2463 h 10000"/>
                <a:gd name="connsiteX156" fmla="*/ 8087 w 10000"/>
                <a:gd name="connsiteY156" fmla="*/ 2338 h 10000"/>
                <a:gd name="connsiteX157" fmla="*/ 8007 w 10000"/>
                <a:gd name="connsiteY157" fmla="*/ 2222 h 10000"/>
                <a:gd name="connsiteX158" fmla="*/ 5118 w 10000"/>
                <a:gd name="connsiteY158" fmla="*/ 1319 h 10000"/>
                <a:gd name="connsiteX159" fmla="*/ 3730 w 10000"/>
                <a:gd name="connsiteY159" fmla="*/ 962 h 10000"/>
                <a:gd name="connsiteX160" fmla="*/ 3154 w 10000"/>
                <a:gd name="connsiteY160" fmla="*/ 143 h 10000"/>
                <a:gd name="connsiteX161" fmla="*/ 2375 w 10000"/>
                <a:gd name="connsiteY161" fmla="*/ 0 h 10000"/>
                <a:gd name="connsiteX162" fmla="*/ 2226 w 10000"/>
                <a:gd name="connsiteY162" fmla="*/ 772 h 10000"/>
                <a:gd name="connsiteX163" fmla="*/ 2375 w 10000"/>
                <a:gd name="connsiteY163" fmla="*/ 967 h 10000"/>
                <a:gd name="connsiteX164" fmla="*/ 2791 w 10000"/>
                <a:gd name="connsiteY164" fmla="*/ 1185 h 10000"/>
                <a:gd name="connsiteX165" fmla="*/ 2808 w 10000"/>
                <a:gd name="connsiteY165" fmla="*/ 1446 h 10000"/>
                <a:gd name="connsiteX166" fmla="*/ 2632 w 10000"/>
                <a:gd name="connsiteY166" fmla="*/ 1665 h 10000"/>
                <a:gd name="connsiteX167" fmla="*/ 2375 w 10000"/>
                <a:gd name="connsiteY167" fmla="*/ 1798 h 10000"/>
                <a:gd name="connsiteX168" fmla="*/ 2039 w 10000"/>
                <a:gd name="connsiteY168" fmla="*/ 1851 h 10000"/>
                <a:gd name="connsiteX169" fmla="*/ 1950 w 10000"/>
                <a:gd name="connsiteY169" fmla="*/ 1929 h 10000"/>
                <a:gd name="connsiteX170" fmla="*/ 2148 w 10000"/>
                <a:gd name="connsiteY170" fmla="*/ 2110 h 10000"/>
                <a:gd name="connsiteX171" fmla="*/ 2261 w 10000"/>
                <a:gd name="connsiteY171" fmla="*/ 2541 h 10000"/>
                <a:gd name="connsiteX172" fmla="*/ 2005 w 10000"/>
                <a:gd name="connsiteY172" fmla="*/ 2910 h 10000"/>
                <a:gd name="connsiteX173" fmla="*/ 2094 w 10000"/>
                <a:gd name="connsiteY173" fmla="*/ 3022 h 10000"/>
                <a:gd name="connsiteX174" fmla="*/ 2012 w 10000"/>
                <a:gd name="connsiteY174" fmla="*/ 3214 h 10000"/>
                <a:gd name="connsiteX175" fmla="*/ 1850 w 10000"/>
                <a:gd name="connsiteY175" fmla="*/ 3349 h 10000"/>
                <a:gd name="connsiteX176" fmla="*/ 1199 w 10000"/>
                <a:gd name="connsiteY176" fmla="*/ 3450 h 10000"/>
                <a:gd name="connsiteX177" fmla="*/ 1158 w 10000"/>
                <a:gd name="connsiteY177" fmla="*/ 3629 h 10000"/>
                <a:gd name="connsiteX178" fmla="*/ 808 w 10000"/>
                <a:gd name="connsiteY178" fmla="*/ 3893 h 10000"/>
                <a:gd name="connsiteX179" fmla="*/ 854 w 10000"/>
                <a:gd name="connsiteY179" fmla="*/ 4276 h 10000"/>
                <a:gd name="connsiteX180" fmla="*/ 560 w 10000"/>
                <a:gd name="connsiteY180" fmla="*/ 4766 h 10000"/>
                <a:gd name="connsiteX181" fmla="*/ 358 w 10000"/>
                <a:gd name="connsiteY181" fmla="*/ 4822 h 10000"/>
                <a:gd name="connsiteX182" fmla="*/ 275 w 10000"/>
                <a:gd name="connsiteY182" fmla="*/ 4706 h 10000"/>
                <a:gd name="connsiteX183" fmla="*/ 174 w 10000"/>
                <a:gd name="connsiteY183" fmla="*/ 4882 h 10000"/>
                <a:gd name="connsiteX184" fmla="*/ 239 w 10000"/>
                <a:gd name="connsiteY184" fmla="*/ 4578 h 10000"/>
                <a:gd name="connsiteX185" fmla="*/ 197 w 10000"/>
                <a:gd name="connsiteY185" fmla="*/ 4521 h 10000"/>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3212 w 10000"/>
                <a:gd name="connsiteY47" fmla="*/ 9941 h 10000"/>
                <a:gd name="connsiteX48" fmla="*/ 3348 w 10000"/>
                <a:gd name="connsiteY48" fmla="*/ 9745 h 10000"/>
                <a:gd name="connsiteX49" fmla="*/ 3313 w 10000"/>
                <a:gd name="connsiteY49" fmla="*/ 9423 h 10000"/>
                <a:gd name="connsiteX50" fmla="*/ 3642 w 10000"/>
                <a:gd name="connsiteY50" fmla="*/ 9067 h 10000"/>
                <a:gd name="connsiteX51" fmla="*/ 3883 w 10000"/>
                <a:gd name="connsiteY51" fmla="*/ 9124 h 10000"/>
                <a:gd name="connsiteX52" fmla="*/ 4025 w 10000"/>
                <a:gd name="connsiteY52" fmla="*/ 8982 h 10000"/>
                <a:gd name="connsiteX53" fmla="*/ 4294 w 10000"/>
                <a:gd name="connsiteY53" fmla="*/ 8899 h 10000"/>
                <a:gd name="connsiteX54" fmla="*/ 4658 w 10000"/>
                <a:gd name="connsiteY54" fmla="*/ 8919 h 10000"/>
                <a:gd name="connsiteX55" fmla="*/ 4878 w 10000"/>
                <a:gd name="connsiteY55" fmla="*/ 8975 h 10000"/>
                <a:gd name="connsiteX56" fmla="*/ 5170 w 10000"/>
                <a:gd name="connsiteY56" fmla="*/ 8951 h 10000"/>
                <a:gd name="connsiteX57" fmla="*/ 5464 w 10000"/>
                <a:gd name="connsiteY57" fmla="*/ 9012 h 10000"/>
                <a:gd name="connsiteX58" fmla="*/ 5759 w 10000"/>
                <a:gd name="connsiteY58" fmla="*/ 9020 h 10000"/>
                <a:gd name="connsiteX59" fmla="*/ 6419 w 10000"/>
                <a:gd name="connsiteY59" fmla="*/ 8186 h 10000"/>
                <a:gd name="connsiteX60" fmla="*/ 6586 w 10000"/>
                <a:gd name="connsiteY60" fmla="*/ 7505 h 10000"/>
                <a:gd name="connsiteX61" fmla="*/ 6855 w 10000"/>
                <a:gd name="connsiteY61" fmla="*/ 7204 h 10000"/>
                <a:gd name="connsiteX62" fmla="*/ 6855 w 10000"/>
                <a:gd name="connsiteY62" fmla="*/ 7043 h 10000"/>
                <a:gd name="connsiteX63" fmla="*/ 6757 w 10000"/>
                <a:gd name="connsiteY63" fmla="*/ 6956 h 10000"/>
                <a:gd name="connsiteX64" fmla="*/ 6915 w 10000"/>
                <a:gd name="connsiteY64" fmla="*/ 6811 h 10000"/>
                <a:gd name="connsiteX65" fmla="*/ 6887 w 10000"/>
                <a:gd name="connsiteY65" fmla="*/ 6693 h 10000"/>
                <a:gd name="connsiteX66" fmla="*/ 6779 w 10000"/>
                <a:gd name="connsiteY66" fmla="*/ 6592 h 10000"/>
                <a:gd name="connsiteX67" fmla="*/ 6757 w 10000"/>
                <a:gd name="connsiteY67" fmla="*/ 6514 h 10000"/>
                <a:gd name="connsiteX68" fmla="*/ 6785 w 10000"/>
                <a:gd name="connsiteY68" fmla="*/ 6457 h 10000"/>
                <a:gd name="connsiteX69" fmla="*/ 6931 w 10000"/>
                <a:gd name="connsiteY69" fmla="*/ 6503 h 10000"/>
                <a:gd name="connsiteX70" fmla="*/ 7045 w 10000"/>
                <a:gd name="connsiteY70" fmla="*/ 6500 h 10000"/>
                <a:gd name="connsiteX71" fmla="*/ 6983 w 10000"/>
                <a:gd name="connsiteY71" fmla="*/ 6404 h 10000"/>
                <a:gd name="connsiteX72" fmla="*/ 7003 w 10000"/>
                <a:gd name="connsiteY72" fmla="*/ 6346 h 10000"/>
                <a:gd name="connsiteX73" fmla="*/ 7089 w 10000"/>
                <a:gd name="connsiteY73" fmla="*/ 6265 h 10000"/>
                <a:gd name="connsiteX74" fmla="*/ 7074 w 10000"/>
                <a:gd name="connsiteY74" fmla="*/ 6198 h 10000"/>
                <a:gd name="connsiteX75" fmla="*/ 7152 w 10000"/>
                <a:gd name="connsiteY75" fmla="*/ 5971 h 10000"/>
                <a:gd name="connsiteX76" fmla="*/ 7130 w 10000"/>
                <a:gd name="connsiteY76" fmla="*/ 5902 h 10000"/>
                <a:gd name="connsiteX77" fmla="*/ 6729 w 10000"/>
                <a:gd name="connsiteY77" fmla="*/ 5729 h 10000"/>
                <a:gd name="connsiteX78" fmla="*/ 6785 w 10000"/>
                <a:gd name="connsiteY78" fmla="*/ 5723 h 10000"/>
                <a:gd name="connsiteX79" fmla="*/ 6998 w 10000"/>
                <a:gd name="connsiteY79" fmla="*/ 5768 h 10000"/>
                <a:gd name="connsiteX80" fmla="*/ 7230 w 10000"/>
                <a:gd name="connsiteY80" fmla="*/ 5751 h 10000"/>
                <a:gd name="connsiteX81" fmla="*/ 7295 w 10000"/>
                <a:gd name="connsiteY81" fmla="*/ 5689 h 10000"/>
                <a:gd name="connsiteX82" fmla="*/ 7074 w 10000"/>
                <a:gd name="connsiteY82" fmla="*/ 5571 h 10000"/>
                <a:gd name="connsiteX83" fmla="*/ 6414 w 10000"/>
                <a:gd name="connsiteY83" fmla="*/ 5495 h 10000"/>
                <a:gd name="connsiteX84" fmla="*/ 6458 w 10000"/>
                <a:gd name="connsiteY84" fmla="*/ 5459 h 10000"/>
                <a:gd name="connsiteX85" fmla="*/ 6998 w 10000"/>
                <a:gd name="connsiteY85" fmla="*/ 5434 h 10000"/>
                <a:gd name="connsiteX86" fmla="*/ 7295 w 10000"/>
                <a:gd name="connsiteY86" fmla="*/ 5506 h 10000"/>
                <a:gd name="connsiteX87" fmla="*/ 7466 w 10000"/>
                <a:gd name="connsiteY87" fmla="*/ 5459 h 10000"/>
                <a:gd name="connsiteX88" fmla="*/ 7529 w 10000"/>
                <a:gd name="connsiteY88" fmla="*/ 5337 h 10000"/>
                <a:gd name="connsiteX89" fmla="*/ 7840 w 10000"/>
                <a:gd name="connsiteY89" fmla="*/ 5337 h 10000"/>
                <a:gd name="connsiteX90" fmla="*/ 8261 w 10000"/>
                <a:gd name="connsiteY90" fmla="*/ 5093 h 10000"/>
                <a:gd name="connsiteX91" fmla="*/ 8275 w 10000"/>
                <a:gd name="connsiteY91" fmla="*/ 4928 h 10000"/>
                <a:gd name="connsiteX92" fmla="*/ 8453 w 10000"/>
                <a:gd name="connsiteY92" fmla="*/ 4965 h 10000"/>
                <a:gd name="connsiteX93" fmla="*/ 8446 w 10000"/>
                <a:gd name="connsiteY93" fmla="*/ 5130 h 10000"/>
                <a:gd name="connsiteX94" fmla="*/ 8727 w 10000"/>
                <a:gd name="connsiteY94" fmla="*/ 5118 h 10000"/>
                <a:gd name="connsiteX95" fmla="*/ 8913 w 10000"/>
                <a:gd name="connsiteY95" fmla="*/ 4948 h 10000"/>
                <a:gd name="connsiteX96" fmla="*/ 9258 w 10000"/>
                <a:gd name="connsiteY96" fmla="*/ 4795 h 10000"/>
                <a:gd name="connsiteX97" fmla="*/ 9203 w 10000"/>
                <a:gd name="connsiteY97" fmla="*/ 4621 h 10000"/>
                <a:gd name="connsiteX98" fmla="*/ 9306 w 10000"/>
                <a:gd name="connsiteY98" fmla="*/ 4690 h 10000"/>
                <a:gd name="connsiteX99" fmla="*/ 9464 w 10000"/>
                <a:gd name="connsiteY99" fmla="*/ 4690 h 10000"/>
                <a:gd name="connsiteX100" fmla="*/ 9464 w 10000"/>
                <a:gd name="connsiteY100" fmla="*/ 4609 h 10000"/>
                <a:gd name="connsiteX101" fmla="*/ 9611 w 10000"/>
                <a:gd name="connsiteY101" fmla="*/ 4550 h 10000"/>
                <a:gd name="connsiteX102" fmla="*/ 9592 w 10000"/>
                <a:gd name="connsiteY102" fmla="*/ 4487 h 10000"/>
                <a:gd name="connsiteX103" fmla="*/ 8350 w 10000"/>
                <a:gd name="connsiteY103" fmla="*/ 4611 h 10000"/>
                <a:gd name="connsiteX104" fmla="*/ 8058 w 10000"/>
                <a:gd name="connsiteY104" fmla="*/ 4576 h 10000"/>
                <a:gd name="connsiteX105" fmla="*/ 7942 w 10000"/>
                <a:gd name="connsiteY105" fmla="*/ 4621 h 10000"/>
                <a:gd name="connsiteX106" fmla="*/ 7903 w 10000"/>
                <a:gd name="connsiteY106" fmla="*/ 4532 h 10000"/>
                <a:gd name="connsiteX107" fmla="*/ 7765 w 10000"/>
                <a:gd name="connsiteY107" fmla="*/ 4456 h 10000"/>
                <a:gd name="connsiteX108" fmla="*/ 7213 w 10000"/>
                <a:gd name="connsiteY108" fmla="*/ 4297 h 10000"/>
                <a:gd name="connsiteX109" fmla="*/ 6887 w 10000"/>
                <a:gd name="connsiteY109" fmla="*/ 4324 h 10000"/>
                <a:gd name="connsiteX110" fmla="*/ 6757 w 10000"/>
                <a:gd name="connsiteY110" fmla="*/ 4278 h 10000"/>
                <a:gd name="connsiteX111" fmla="*/ 6894 w 10000"/>
                <a:gd name="connsiteY111" fmla="*/ 4240 h 10000"/>
                <a:gd name="connsiteX112" fmla="*/ 6998 w 10000"/>
                <a:gd name="connsiteY112" fmla="*/ 4156 h 10000"/>
                <a:gd name="connsiteX113" fmla="*/ 7152 w 10000"/>
                <a:gd name="connsiteY113" fmla="*/ 4182 h 10000"/>
                <a:gd name="connsiteX114" fmla="*/ 7335 w 10000"/>
                <a:gd name="connsiteY114" fmla="*/ 4161 h 10000"/>
                <a:gd name="connsiteX115" fmla="*/ 7611 w 10000"/>
                <a:gd name="connsiteY115" fmla="*/ 4188 h 10000"/>
                <a:gd name="connsiteX116" fmla="*/ 7645 w 10000"/>
                <a:gd name="connsiteY116" fmla="*/ 4177 h 10000"/>
                <a:gd name="connsiteX117" fmla="*/ 7859 w 10000"/>
                <a:gd name="connsiteY117" fmla="*/ 4305 h 10000"/>
                <a:gd name="connsiteX118" fmla="*/ 8017 w 10000"/>
                <a:gd name="connsiteY118" fmla="*/ 4257 h 10000"/>
                <a:gd name="connsiteX119" fmla="*/ 8032 w 10000"/>
                <a:gd name="connsiteY119" fmla="*/ 4214 h 10000"/>
                <a:gd name="connsiteX120" fmla="*/ 8176 w 10000"/>
                <a:gd name="connsiteY120" fmla="*/ 4290 h 10000"/>
                <a:gd name="connsiteX121" fmla="*/ 8369 w 10000"/>
                <a:gd name="connsiteY121" fmla="*/ 4331 h 10000"/>
                <a:gd name="connsiteX122" fmla="*/ 8446 w 10000"/>
                <a:gd name="connsiteY122" fmla="*/ 4255 h 10000"/>
                <a:gd name="connsiteX123" fmla="*/ 8507 w 10000"/>
                <a:gd name="connsiteY123" fmla="*/ 4297 h 10000"/>
                <a:gd name="connsiteX124" fmla="*/ 8596 w 10000"/>
                <a:gd name="connsiteY124" fmla="*/ 4446 h 10000"/>
                <a:gd name="connsiteX125" fmla="*/ 8782 w 10000"/>
                <a:gd name="connsiteY125" fmla="*/ 4478 h 10000"/>
                <a:gd name="connsiteX126" fmla="*/ 9542 w 10000"/>
                <a:gd name="connsiteY126" fmla="*/ 4262 h 10000"/>
                <a:gd name="connsiteX127" fmla="*/ 9914 w 10000"/>
                <a:gd name="connsiteY127" fmla="*/ 3962 h 10000"/>
                <a:gd name="connsiteX128" fmla="*/ 10000 w 10000"/>
                <a:gd name="connsiteY128" fmla="*/ 3744 h 10000"/>
                <a:gd name="connsiteX129" fmla="*/ 9866 w 10000"/>
                <a:gd name="connsiteY129" fmla="*/ 3546 h 10000"/>
                <a:gd name="connsiteX130" fmla="*/ 9582 w 10000"/>
                <a:gd name="connsiteY130" fmla="*/ 3428 h 10000"/>
                <a:gd name="connsiteX131" fmla="*/ 9382 w 10000"/>
                <a:gd name="connsiteY131" fmla="*/ 3233 h 10000"/>
                <a:gd name="connsiteX132" fmla="*/ 9569 w 10000"/>
                <a:gd name="connsiteY132" fmla="*/ 3227 h 10000"/>
                <a:gd name="connsiteX133" fmla="*/ 9555 w 10000"/>
                <a:gd name="connsiteY133" fmla="*/ 3180 h 10000"/>
                <a:gd name="connsiteX134" fmla="*/ 9068 w 10000"/>
                <a:gd name="connsiteY134" fmla="*/ 3045 h 10000"/>
                <a:gd name="connsiteX135" fmla="*/ 9047 w 10000"/>
                <a:gd name="connsiteY135" fmla="*/ 2920 h 10000"/>
                <a:gd name="connsiteX136" fmla="*/ 8953 w 10000"/>
                <a:gd name="connsiteY136" fmla="*/ 2789 h 10000"/>
                <a:gd name="connsiteX137" fmla="*/ 8569 w 10000"/>
                <a:gd name="connsiteY137" fmla="*/ 2813 h 10000"/>
                <a:gd name="connsiteX138" fmla="*/ 8431 w 10000"/>
                <a:gd name="connsiteY138" fmla="*/ 2673 h 10000"/>
                <a:gd name="connsiteX139" fmla="*/ 8350 w 10000"/>
                <a:gd name="connsiteY139" fmla="*/ 2665 h 10000"/>
                <a:gd name="connsiteX140" fmla="*/ 8350 w 10000"/>
                <a:gd name="connsiteY140" fmla="*/ 2726 h 10000"/>
                <a:gd name="connsiteX141" fmla="*/ 8176 w 10000"/>
                <a:gd name="connsiteY141" fmla="*/ 2959 h 10000"/>
                <a:gd name="connsiteX142" fmla="*/ 7990 w 10000"/>
                <a:gd name="connsiteY142" fmla="*/ 3096 h 10000"/>
                <a:gd name="connsiteX143" fmla="*/ 7401 w 10000"/>
                <a:gd name="connsiteY143" fmla="*/ 3329 h 10000"/>
                <a:gd name="connsiteX144" fmla="*/ 7198 w 10000"/>
                <a:gd name="connsiteY144" fmla="*/ 3322 h 10000"/>
                <a:gd name="connsiteX145" fmla="*/ 6915 w 10000"/>
                <a:gd name="connsiteY145" fmla="*/ 3359 h 10000"/>
                <a:gd name="connsiteX146" fmla="*/ 6757 w 10000"/>
                <a:gd name="connsiteY146" fmla="*/ 3322 h 10000"/>
                <a:gd name="connsiteX147" fmla="*/ 6965 w 10000"/>
                <a:gd name="connsiteY147" fmla="*/ 3255 h 10000"/>
                <a:gd name="connsiteX148" fmla="*/ 7235 w 10000"/>
                <a:gd name="connsiteY148" fmla="*/ 3227 h 10000"/>
                <a:gd name="connsiteX149" fmla="*/ 7455 w 10000"/>
                <a:gd name="connsiteY149" fmla="*/ 3118 h 10000"/>
                <a:gd name="connsiteX150" fmla="*/ 7674 w 10000"/>
                <a:gd name="connsiteY150" fmla="*/ 3066 h 10000"/>
                <a:gd name="connsiteX151" fmla="*/ 8082 w 10000"/>
                <a:gd name="connsiteY151" fmla="*/ 2874 h 10000"/>
                <a:gd name="connsiteX152" fmla="*/ 8157 w 10000"/>
                <a:gd name="connsiteY152" fmla="*/ 2750 h 10000"/>
                <a:gd name="connsiteX153" fmla="*/ 8165 w 10000"/>
                <a:gd name="connsiteY153" fmla="*/ 2589 h 10000"/>
                <a:gd name="connsiteX154" fmla="*/ 7978 w 10000"/>
                <a:gd name="connsiteY154" fmla="*/ 2562 h 10000"/>
                <a:gd name="connsiteX155" fmla="*/ 8058 w 10000"/>
                <a:gd name="connsiteY155" fmla="*/ 2463 h 10000"/>
                <a:gd name="connsiteX156" fmla="*/ 8087 w 10000"/>
                <a:gd name="connsiteY156" fmla="*/ 2338 h 10000"/>
                <a:gd name="connsiteX157" fmla="*/ 8007 w 10000"/>
                <a:gd name="connsiteY157" fmla="*/ 2222 h 10000"/>
                <a:gd name="connsiteX158" fmla="*/ 4505 w 10000"/>
                <a:gd name="connsiteY158" fmla="*/ 1407 h 10000"/>
                <a:gd name="connsiteX159" fmla="*/ 3730 w 10000"/>
                <a:gd name="connsiteY159" fmla="*/ 962 h 10000"/>
                <a:gd name="connsiteX160" fmla="*/ 3154 w 10000"/>
                <a:gd name="connsiteY160" fmla="*/ 143 h 10000"/>
                <a:gd name="connsiteX161" fmla="*/ 2375 w 10000"/>
                <a:gd name="connsiteY161" fmla="*/ 0 h 10000"/>
                <a:gd name="connsiteX162" fmla="*/ 2226 w 10000"/>
                <a:gd name="connsiteY162" fmla="*/ 772 h 10000"/>
                <a:gd name="connsiteX163" fmla="*/ 2375 w 10000"/>
                <a:gd name="connsiteY163" fmla="*/ 967 h 10000"/>
                <a:gd name="connsiteX164" fmla="*/ 2791 w 10000"/>
                <a:gd name="connsiteY164" fmla="*/ 1185 h 10000"/>
                <a:gd name="connsiteX165" fmla="*/ 2808 w 10000"/>
                <a:gd name="connsiteY165" fmla="*/ 1446 h 10000"/>
                <a:gd name="connsiteX166" fmla="*/ 2632 w 10000"/>
                <a:gd name="connsiteY166" fmla="*/ 1665 h 10000"/>
                <a:gd name="connsiteX167" fmla="*/ 2375 w 10000"/>
                <a:gd name="connsiteY167" fmla="*/ 1798 h 10000"/>
                <a:gd name="connsiteX168" fmla="*/ 2039 w 10000"/>
                <a:gd name="connsiteY168" fmla="*/ 1851 h 10000"/>
                <a:gd name="connsiteX169" fmla="*/ 1950 w 10000"/>
                <a:gd name="connsiteY169" fmla="*/ 1929 h 10000"/>
                <a:gd name="connsiteX170" fmla="*/ 2148 w 10000"/>
                <a:gd name="connsiteY170" fmla="*/ 2110 h 10000"/>
                <a:gd name="connsiteX171" fmla="*/ 2261 w 10000"/>
                <a:gd name="connsiteY171" fmla="*/ 2541 h 10000"/>
                <a:gd name="connsiteX172" fmla="*/ 2005 w 10000"/>
                <a:gd name="connsiteY172" fmla="*/ 2910 h 10000"/>
                <a:gd name="connsiteX173" fmla="*/ 2094 w 10000"/>
                <a:gd name="connsiteY173" fmla="*/ 3022 h 10000"/>
                <a:gd name="connsiteX174" fmla="*/ 2012 w 10000"/>
                <a:gd name="connsiteY174" fmla="*/ 3214 h 10000"/>
                <a:gd name="connsiteX175" fmla="*/ 1850 w 10000"/>
                <a:gd name="connsiteY175" fmla="*/ 3349 h 10000"/>
                <a:gd name="connsiteX176" fmla="*/ 1199 w 10000"/>
                <a:gd name="connsiteY176" fmla="*/ 3450 h 10000"/>
                <a:gd name="connsiteX177" fmla="*/ 1158 w 10000"/>
                <a:gd name="connsiteY177" fmla="*/ 3629 h 10000"/>
                <a:gd name="connsiteX178" fmla="*/ 808 w 10000"/>
                <a:gd name="connsiteY178" fmla="*/ 3893 h 10000"/>
                <a:gd name="connsiteX179" fmla="*/ 854 w 10000"/>
                <a:gd name="connsiteY179" fmla="*/ 4276 h 10000"/>
                <a:gd name="connsiteX180" fmla="*/ 560 w 10000"/>
                <a:gd name="connsiteY180" fmla="*/ 4766 h 10000"/>
                <a:gd name="connsiteX181" fmla="*/ 358 w 10000"/>
                <a:gd name="connsiteY181" fmla="*/ 4822 h 10000"/>
                <a:gd name="connsiteX182" fmla="*/ 275 w 10000"/>
                <a:gd name="connsiteY182" fmla="*/ 4706 h 10000"/>
                <a:gd name="connsiteX183" fmla="*/ 174 w 10000"/>
                <a:gd name="connsiteY183" fmla="*/ 4882 h 10000"/>
                <a:gd name="connsiteX184" fmla="*/ 239 w 10000"/>
                <a:gd name="connsiteY184" fmla="*/ 4578 h 10000"/>
                <a:gd name="connsiteX185" fmla="*/ 197 w 10000"/>
                <a:gd name="connsiteY185" fmla="*/ 4521 h 10000"/>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3212 w 10000"/>
                <a:gd name="connsiteY47" fmla="*/ 9941 h 10000"/>
                <a:gd name="connsiteX48" fmla="*/ 3348 w 10000"/>
                <a:gd name="connsiteY48" fmla="*/ 9745 h 10000"/>
                <a:gd name="connsiteX49" fmla="*/ 3313 w 10000"/>
                <a:gd name="connsiteY49" fmla="*/ 9423 h 10000"/>
                <a:gd name="connsiteX50" fmla="*/ 3642 w 10000"/>
                <a:gd name="connsiteY50" fmla="*/ 9067 h 10000"/>
                <a:gd name="connsiteX51" fmla="*/ 3883 w 10000"/>
                <a:gd name="connsiteY51" fmla="*/ 9124 h 10000"/>
                <a:gd name="connsiteX52" fmla="*/ 4025 w 10000"/>
                <a:gd name="connsiteY52" fmla="*/ 8982 h 10000"/>
                <a:gd name="connsiteX53" fmla="*/ 4294 w 10000"/>
                <a:gd name="connsiteY53" fmla="*/ 8899 h 10000"/>
                <a:gd name="connsiteX54" fmla="*/ 4658 w 10000"/>
                <a:gd name="connsiteY54" fmla="*/ 8919 h 10000"/>
                <a:gd name="connsiteX55" fmla="*/ 4878 w 10000"/>
                <a:gd name="connsiteY55" fmla="*/ 8975 h 10000"/>
                <a:gd name="connsiteX56" fmla="*/ 5170 w 10000"/>
                <a:gd name="connsiteY56" fmla="*/ 8951 h 10000"/>
                <a:gd name="connsiteX57" fmla="*/ 5464 w 10000"/>
                <a:gd name="connsiteY57" fmla="*/ 9012 h 10000"/>
                <a:gd name="connsiteX58" fmla="*/ 5759 w 10000"/>
                <a:gd name="connsiteY58" fmla="*/ 9020 h 10000"/>
                <a:gd name="connsiteX59" fmla="*/ 6419 w 10000"/>
                <a:gd name="connsiteY59" fmla="*/ 8186 h 10000"/>
                <a:gd name="connsiteX60" fmla="*/ 6586 w 10000"/>
                <a:gd name="connsiteY60" fmla="*/ 7505 h 10000"/>
                <a:gd name="connsiteX61" fmla="*/ 6855 w 10000"/>
                <a:gd name="connsiteY61" fmla="*/ 7204 h 10000"/>
                <a:gd name="connsiteX62" fmla="*/ 6855 w 10000"/>
                <a:gd name="connsiteY62" fmla="*/ 7043 h 10000"/>
                <a:gd name="connsiteX63" fmla="*/ 6757 w 10000"/>
                <a:gd name="connsiteY63" fmla="*/ 6956 h 10000"/>
                <a:gd name="connsiteX64" fmla="*/ 6915 w 10000"/>
                <a:gd name="connsiteY64" fmla="*/ 6811 h 10000"/>
                <a:gd name="connsiteX65" fmla="*/ 6887 w 10000"/>
                <a:gd name="connsiteY65" fmla="*/ 6693 h 10000"/>
                <a:gd name="connsiteX66" fmla="*/ 6779 w 10000"/>
                <a:gd name="connsiteY66" fmla="*/ 6592 h 10000"/>
                <a:gd name="connsiteX67" fmla="*/ 6757 w 10000"/>
                <a:gd name="connsiteY67" fmla="*/ 6514 h 10000"/>
                <a:gd name="connsiteX68" fmla="*/ 6785 w 10000"/>
                <a:gd name="connsiteY68" fmla="*/ 6457 h 10000"/>
                <a:gd name="connsiteX69" fmla="*/ 6931 w 10000"/>
                <a:gd name="connsiteY69" fmla="*/ 6503 h 10000"/>
                <a:gd name="connsiteX70" fmla="*/ 7045 w 10000"/>
                <a:gd name="connsiteY70" fmla="*/ 6500 h 10000"/>
                <a:gd name="connsiteX71" fmla="*/ 6983 w 10000"/>
                <a:gd name="connsiteY71" fmla="*/ 6404 h 10000"/>
                <a:gd name="connsiteX72" fmla="*/ 7003 w 10000"/>
                <a:gd name="connsiteY72" fmla="*/ 6346 h 10000"/>
                <a:gd name="connsiteX73" fmla="*/ 7089 w 10000"/>
                <a:gd name="connsiteY73" fmla="*/ 6265 h 10000"/>
                <a:gd name="connsiteX74" fmla="*/ 7074 w 10000"/>
                <a:gd name="connsiteY74" fmla="*/ 6198 h 10000"/>
                <a:gd name="connsiteX75" fmla="*/ 7152 w 10000"/>
                <a:gd name="connsiteY75" fmla="*/ 5971 h 10000"/>
                <a:gd name="connsiteX76" fmla="*/ 7130 w 10000"/>
                <a:gd name="connsiteY76" fmla="*/ 5902 h 10000"/>
                <a:gd name="connsiteX77" fmla="*/ 6729 w 10000"/>
                <a:gd name="connsiteY77" fmla="*/ 5729 h 10000"/>
                <a:gd name="connsiteX78" fmla="*/ 6785 w 10000"/>
                <a:gd name="connsiteY78" fmla="*/ 5723 h 10000"/>
                <a:gd name="connsiteX79" fmla="*/ 6998 w 10000"/>
                <a:gd name="connsiteY79" fmla="*/ 5768 h 10000"/>
                <a:gd name="connsiteX80" fmla="*/ 7230 w 10000"/>
                <a:gd name="connsiteY80" fmla="*/ 5751 h 10000"/>
                <a:gd name="connsiteX81" fmla="*/ 7295 w 10000"/>
                <a:gd name="connsiteY81" fmla="*/ 5689 h 10000"/>
                <a:gd name="connsiteX82" fmla="*/ 7074 w 10000"/>
                <a:gd name="connsiteY82" fmla="*/ 5571 h 10000"/>
                <a:gd name="connsiteX83" fmla="*/ 6414 w 10000"/>
                <a:gd name="connsiteY83" fmla="*/ 5495 h 10000"/>
                <a:gd name="connsiteX84" fmla="*/ 6458 w 10000"/>
                <a:gd name="connsiteY84" fmla="*/ 5459 h 10000"/>
                <a:gd name="connsiteX85" fmla="*/ 6998 w 10000"/>
                <a:gd name="connsiteY85" fmla="*/ 5434 h 10000"/>
                <a:gd name="connsiteX86" fmla="*/ 7295 w 10000"/>
                <a:gd name="connsiteY86" fmla="*/ 5506 h 10000"/>
                <a:gd name="connsiteX87" fmla="*/ 7466 w 10000"/>
                <a:gd name="connsiteY87" fmla="*/ 5459 h 10000"/>
                <a:gd name="connsiteX88" fmla="*/ 7529 w 10000"/>
                <a:gd name="connsiteY88" fmla="*/ 5337 h 10000"/>
                <a:gd name="connsiteX89" fmla="*/ 7840 w 10000"/>
                <a:gd name="connsiteY89" fmla="*/ 5337 h 10000"/>
                <a:gd name="connsiteX90" fmla="*/ 8261 w 10000"/>
                <a:gd name="connsiteY90" fmla="*/ 5093 h 10000"/>
                <a:gd name="connsiteX91" fmla="*/ 8275 w 10000"/>
                <a:gd name="connsiteY91" fmla="*/ 4928 h 10000"/>
                <a:gd name="connsiteX92" fmla="*/ 8453 w 10000"/>
                <a:gd name="connsiteY92" fmla="*/ 4965 h 10000"/>
                <a:gd name="connsiteX93" fmla="*/ 8446 w 10000"/>
                <a:gd name="connsiteY93" fmla="*/ 5130 h 10000"/>
                <a:gd name="connsiteX94" fmla="*/ 8727 w 10000"/>
                <a:gd name="connsiteY94" fmla="*/ 5118 h 10000"/>
                <a:gd name="connsiteX95" fmla="*/ 8913 w 10000"/>
                <a:gd name="connsiteY95" fmla="*/ 4948 h 10000"/>
                <a:gd name="connsiteX96" fmla="*/ 9258 w 10000"/>
                <a:gd name="connsiteY96" fmla="*/ 4795 h 10000"/>
                <a:gd name="connsiteX97" fmla="*/ 9203 w 10000"/>
                <a:gd name="connsiteY97" fmla="*/ 4621 h 10000"/>
                <a:gd name="connsiteX98" fmla="*/ 9306 w 10000"/>
                <a:gd name="connsiteY98" fmla="*/ 4690 h 10000"/>
                <a:gd name="connsiteX99" fmla="*/ 9464 w 10000"/>
                <a:gd name="connsiteY99" fmla="*/ 4690 h 10000"/>
                <a:gd name="connsiteX100" fmla="*/ 9464 w 10000"/>
                <a:gd name="connsiteY100" fmla="*/ 4609 h 10000"/>
                <a:gd name="connsiteX101" fmla="*/ 9611 w 10000"/>
                <a:gd name="connsiteY101" fmla="*/ 4550 h 10000"/>
                <a:gd name="connsiteX102" fmla="*/ 9592 w 10000"/>
                <a:gd name="connsiteY102" fmla="*/ 4487 h 10000"/>
                <a:gd name="connsiteX103" fmla="*/ 8350 w 10000"/>
                <a:gd name="connsiteY103" fmla="*/ 4611 h 10000"/>
                <a:gd name="connsiteX104" fmla="*/ 8058 w 10000"/>
                <a:gd name="connsiteY104" fmla="*/ 4576 h 10000"/>
                <a:gd name="connsiteX105" fmla="*/ 7942 w 10000"/>
                <a:gd name="connsiteY105" fmla="*/ 4621 h 10000"/>
                <a:gd name="connsiteX106" fmla="*/ 7903 w 10000"/>
                <a:gd name="connsiteY106" fmla="*/ 4532 h 10000"/>
                <a:gd name="connsiteX107" fmla="*/ 7765 w 10000"/>
                <a:gd name="connsiteY107" fmla="*/ 4456 h 10000"/>
                <a:gd name="connsiteX108" fmla="*/ 7213 w 10000"/>
                <a:gd name="connsiteY108" fmla="*/ 4297 h 10000"/>
                <a:gd name="connsiteX109" fmla="*/ 6887 w 10000"/>
                <a:gd name="connsiteY109" fmla="*/ 4324 h 10000"/>
                <a:gd name="connsiteX110" fmla="*/ 6757 w 10000"/>
                <a:gd name="connsiteY110" fmla="*/ 4278 h 10000"/>
                <a:gd name="connsiteX111" fmla="*/ 6894 w 10000"/>
                <a:gd name="connsiteY111" fmla="*/ 4240 h 10000"/>
                <a:gd name="connsiteX112" fmla="*/ 6998 w 10000"/>
                <a:gd name="connsiteY112" fmla="*/ 4156 h 10000"/>
                <a:gd name="connsiteX113" fmla="*/ 7152 w 10000"/>
                <a:gd name="connsiteY113" fmla="*/ 4182 h 10000"/>
                <a:gd name="connsiteX114" fmla="*/ 7335 w 10000"/>
                <a:gd name="connsiteY114" fmla="*/ 4161 h 10000"/>
                <a:gd name="connsiteX115" fmla="*/ 7611 w 10000"/>
                <a:gd name="connsiteY115" fmla="*/ 4188 h 10000"/>
                <a:gd name="connsiteX116" fmla="*/ 7645 w 10000"/>
                <a:gd name="connsiteY116" fmla="*/ 4177 h 10000"/>
                <a:gd name="connsiteX117" fmla="*/ 7859 w 10000"/>
                <a:gd name="connsiteY117" fmla="*/ 4305 h 10000"/>
                <a:gd name="connsiteX118" fmla="*/ 8017 w 10000"/>
                <a:gd name="connsiteY118" fmla="*/ 4257 h 10000"/>
                <a:gd name="connsiteX119" fmla="*/ 8032 w 10000"/>
                <a:gd name="connsiteY119" fmla="*/ 4214 h 10000"/>
                <a:gd name="connsiteX120" fmla="*/ 8176 w 10000"/>
                <a:gd name="connsiteY120" fmla="*/ 4290 h 10000"/>
                <a:gd name="connsiteX121" fmla="*/ 8369 w 10000"/>
                <a:gd name="connsiteY121" fmla="*/ 4331 h 10000"/>
                <a:gd name="connsiteX122" fmla="*/ 8446 w 10000"/>
                <a:gd name="connsiteY122" fmla="*/ 4255 h 10000"/>
                <a:gd name="connsiteX123" fmla="*/ 8507 w 10000"/>
                <a:gd name="connsiteY123" fmla="*/ 4297 h 10000"/>
                <a:gd name="connsiteX124" fmla="*/ 8596 w 10000"/>
                <a:gd name="connsiteY124" fmla="*/ 4446 h 10000"/>
                <a:gd name="connsiteX125" fmla="*/ 8782 w 10000"/>
                <a:gd name="connsiteY125" fmla="*/ 4478 h 10000"/>
                <a:gd name="connsiteX126" fmla="*/ 9542 w 10000"/>
                <a:gd name="connsiteY126" fmla="*/ 4262 h 10000"/>
                <a:gd name="connsiteX127" fmla="*/ 9914 w 10000"/>
                <a:gd name="connsiteY127" fmla="*/ 3962 h 10000"/>
                <a:gd name="connsiteX128" fmla="*/ 10000 w 10000"/>
                <a:gd name="connsiteY128" fmla="*/ 3744 h 10000"/>
                <a:gd name="connsiteX129" fmla="*/ 9866 w 10000"/>
                <a:gd name="connsiteY129" fmla="*/ 3546 h 10000"/>
                <a:gd name="connsiteX130" fmla="*/ 9582 w 10000"/>
                <a:gd name="connsiteY130" fmla="*/ 3428 h 10000"/>
                <a:gd name="connsiteX131" fmla="*/ 9382 w 10000"/>
                <a:gd name="connsiteY131" fmla="*/ 3233 h 10000"/>
                <a:gd name="connsiteX132" fmla="*/ 9569 w 10000"/>
                <a:gd name="connsiteY132" fmla="*/ 3227 h 10000"/>
                <a:gd name="connsiteX133" fmla="*/ 9555 w 10000"/>
                <a:gd name="connsiteY133" fmla="*/ 3180 h 10000"/>
                <a:gd name="connsiteX134" fmla="*/ 9068 w 10000"/>
                <a:gd name="connsiteY134" fmla="*/ 3045 h 10000"/>
                <a:gd name="connsiteX135" fmla="*/ 9047 w 10000"/>
                <a:gd name="connsiteY135" fmla="*/ 2920 h 10000"/>
                <a:gd name="connsiteX136" fmla="*/ 8953 w 10000"/>
                <a:gd name="connsiteY136" fmla="*/ 2789 h 10000"/>
                <a:gd name="connsiteX137" fmla="*/ 8569 w 10000"/>
                <a:gd name="connsiteY137" fmla="*/ 2813 h 10000"/>
                <a:gd name="connsiteX138" fmla="*/ 8431 w 10000"/>
                <a:gd name="connsiteY138" fmla="*/ 2673 h 10000"/>
                <a:gd name="connsiteX139" fmla="*/ 8350 w 10000"/>
                <a:gd name="connsiteY139" fmla="*/ 2665 h 10000"/>
                <a:gd name="connsiteX140" fmla="*/ 8350 w 10000"/>
                <a:gd name="connsiteY140" fmla="*/ 2726 h 10000"/>
                <a:gd name="connsiteX141" fmla="*/ 8176 w 10000"/>
                <a:gd name="connsiteY141" fmla="*/ 2959 h 10000"/>
                <a:gd name="connsiteX142" fmla="*/ 7990 w 10000"/>
                <a:gd name="connsiteY142" fmla="*/ 3096 h 10000"/>
                <a:gd name="connsiteX143" fmla="*/ 7401 w 10000"/>
                <a:gd name="connsiteY143" fmla="*/ 3329 h 10000"/>
                <a:gd name="connsiteX144" fmla="*/ 7198 w 10000"/>
                <a:gd name="connsiteY144" fmla="*/ 3322 h 10000"/>
                <a:gd name="connsiteX145" fmla="*/ 6915 w 10000"/>
                <a:gd name="connsiteY145" fmla="*/ 3359 h 10000"/>
                <a:gd name="connsiteX146" fmla="*/ 6757 w 10000"/>
                <a:gd name="connsiteY146" fmla="*/ 3322 h 10000"/>
                <a:gd name="connsiteX147" fmla="*/ 6965 w 10000"/>
                <a:gd name="connsiteY147" fmla="*/ 3255 h 10000"/>
                <a:gd name="connsiteX148" fmla="*/ 7235 w 10000"/>
                <a:gd name="connsiteY148" fmla="*/ 3227 h 10000"/>
                <a:gd name="connsiteX149" fmla="*/ 7455 w 10000"/>
                <a:gd name="connsiteY149" fmla="*/ 3118 h 10000"/>
                <a:gd name="connsiteX150" fmla="*/ 7674 w 10000"/>
                <a:gd name="connsiteY150" fmla="*/ 3066 h 10000"/>
                <a:gd name="connsiteX151" fmla="*/ 8082 w 10000"/>
                <a:gd name="connsiteY151" fmla="*/ 2874 h 10000"/>
                <a:gd name="connsiteX152" fmla="*/ 8157 w 10000"/>
                <a:gd name="connsiteY152" fmla="*/ 2750 h 10000"/>
                <a:gd name="connsiteX153" fmla="*/ 8165 w 10000"/>
                <a:gd name="connsiteY153" fmla="*/ 2589 h 10000"/>
                <a:gd name="connsiteX154" fmla="*/ 7978 w 10000"/>
                <a:gd name="connsiteY154" fmla="*/ 2562 h 10000"/>
                <a:gd name="connsiteX155" fmla="*/ 8058 w 10000"/>
                <a:gd name="connsiteY155" fmla="*/ 2463 h 10000"/>
                <a:gd name="connsiteX156" fmla="*/ 8087 w 10000"/>
                <a:gd name="connsiteY156" fmla="*/ 2338 h 10000"/>
                <a:gd name="connsiteX157" fmla="*/ 8007 w 10000"/>
                <a:gd name="connsiteY157" fmla="*/ 2222 h 10000"/>
                <a:gd name="connsiteX158" fmla="*/ 5286 w 10000"/>
                <a:gd name="connsiteY158" fmla="*/ 1579 h 10000"/>
                <a:gd name="connsiteX159" fmla="*/ 4505 w 10000"/>
                <a:gd name="connsiteY159" fmla="*/ 1407 h 10000"/>
                <a:gd name="connsiteX160" fmla="*/ 3730 w 10000"/>
                <a:gd name="connsiteY160" fmla="*/ 962 h 10000"/>
                <a:gd name="connsiteX161" fmla="*/ 3154 w 10000"/>
                <a:gd name="connsiteY161" fmla="*/ 143 h 10000"/>
                <a:gd name="connsiteX162" fmla="*/ 2375 w 10000"/>
                <a:gd name="connsiteY162" fmla="*/ 0 h 10000"/>
                <a:gd name="connsiteX163" fmla="*/ 2226 w 10000"/>
                <a:gd name="connsiteY163" fmla="*/ 772 h 10000"/>
                <a:gd name="connsiteX164" fmla="*/ 2375 w 10000"/>
                <a:gd name="connsiteY164" fmla="*/ 967 h 10000"/>
                <a:gd name="connsiteX165" fmla="*/ 2791 w 10000"/>
                <a:gd name="connsiteY165" fmla="*/ 1185 h 10000"/>
                <a:gd name="connsiteX166" fmla="*/ 2808 w 10000"/>
                <a:gd name="connsiteY166" fmla="*/ 1446 h 10000"/>
                <a:gd name="connsiteX167" fmla="*/ 2632 w 10000"/>
                <a:gd name="connsiteY167" fmla="*/ 1665 h 10000"/>
                <a:gd name="connsiteX168" fmla="*/ 2375 w 10000"/>
                <a:gd name="connsiteY168" fmla="*/ 1798 h 10000"/>
                <a:gd name="connsiteX169" fmla="*/ 2039 w 10000"/>
                <a:gd name="connsiteY169" fmla="*/ 1851 h 10000"/>
                <a:gd name="connsiteX170" fmla="*/ 1950 w 10000"/>
                <a:gd name="connsiteY170" fmla="*/ 1929 h 10000"/>
                <a:gd name="connsiteX171" fmla="*/ 2148 w 10000"/>
                <a:gd name="connsiteY171" fmla="*/ 2110 h 10000"/>
                <a:gd name="connsiteX172" fmla="*/ 2261 w 10000"/>
                <a:gd name="connsiteY172" fmla="*/ 2541 h 10000"/>
                <a:gd name="connsiteX173" fmla="*/ 2005 w 10000"/>
                <a:gd name="connsiteY173" fmla="*/ 2910 h 10000"/>
                <a:gd name="connsiteX174" fmla="*/ 2094 w 10000"/>
                <a:gd name="connsiteY174" fmla="*/ 3022 h 10000"/>
                <a:gd name="connsiteX175" fmla="*/ 2012 w 10000"/>
                <a:gd name="connsiteY175" fmla="*/ 3214 h 10000"/>
                <a:gd name="connsiteX176" fmla="*/ 1850 w 10000"/>
                <a:gd name="connsiteY176" fmla="*/ 3349 h 10000"/>
                <a:gd name="connsiteX177" fmla="*/ 1199 w 10000"/>
                <a:gd name="connsiteY177" fmla="*/ 3450 h 10000"/>
                <a:gd name="connsiteX178" fmla="*/ 1158 w 10000"/>
                <a:gd name="connsiteY178" fmla="*/ 3629 h 10000"/>
                <a:gd name="connsiteX179" fmla="*/ 808 w 10000"/>
                <a:gd name="connsiteY179" fmla="*/ 3893 h 10000"/>
                <a:gd name="connsiteX180" fmla="*/ 854 w 10000"/>
                <a:gd name="connsiteY180" fmla="*/ 4276 h 10000"/>
                <a:gd name="connsiteX181" fmla="*/ 560 w 10000"/>
                <a:gd name="connsiteY181" fmla="*/ 4766 h 10000"/>
                <a:gd name="connsiteX182" fmla="*/ 358 w 10000"/>
                <a:gd name="connsiteY182" fmla="*/ 4822 h 10000"/>
                <a:gd name="connsiteX183" fmla="*/ 275 w 10000"/>
                <a:gd name="connsiteY183" fmla="*/ 4706 h 10000"/>
                <a:gd name="connsiteX184" fmla="*/ 174 w 10000"/>
                <a:gd name="connsiteY184" fmla="*/ 4882 h 10000"/>
                <a:gd name="connsiteX185" fmla="*/ 239 w 10000"/>
                <a:gd name="connsiteY185" fmla="*/ 4578 h 10000"/>
                <a:gd name="connsiteX186" fmla="*/ 197 w 10000"/>
                <a:gd name="connsiteY186" fmla="*/ 4521 h 10000"/>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3212 w 10000"/>
                <a:gd name="connsiteY47" fmla="*/ 9941 h 10000"/>
                <a:gd name="connsiteX48" fmla="*/ 3348 w 10000"/>
                <a:gd name="connsiteY48" fmla="*/ 9745 h 10000"/>
                <a:gd name="connsiteX49" fmla="*/ 3313 w 10000"/>
                <a:gd name="connsiteY49" fmla="*/ 9423 h 10000"/>
                <a:gd name="connsiteX50" fmla="*/ 3642 w 10000"/>
                <a:gd name="connsiteY50" fmla="*/ 9067 h 10000"/>
                <a:gd name="connsiteX51" fmla="*/ 3883 w 10000"/>
                <a:gd name="connsiteY51" fmla="*/ 9124 h 10000"/>
                <a:gd name="connsiteX52" fmla="*/ 4025 w 10000"/>
                <a:gd name="connsiteY52" fmla="*/ 8982 h 10000"/>
                <a:gd name="connsiteX53" fmla="*/ 4294 w 10000"/>
                <a:gd name="connsiteY53" fmla="*/ 8899 h 10000"/>
                <a:gd name="connsiteX54" fmla="*/ 4658 w 10000"/>
                <a:gd name="connsiteY54" fmla="*/ 8919 h 10000"/>
                <a:gd name="connsiteX55" fmla="*/ 4878 w 10000"/>
                <a:gd name="connsiteY55" fmla="*/ 8975 h 10000"/>
                <a:gd name="connsiteX56" fmla="*/ 5170 w 10000"/>
                <a:gd name="connsiteY56" fmla="*/ 8951 h 10000"/>
                <a:gd name="connsiteX57" fmla="*/ 5464 w 10000"/>
                <a:gd name="connsiteY57" fmla="*/ 9012 h 10000"/>
                <a:gd name="connsiteX58" fmla="*/ 5759 w 10000"/>
                <a:gd name="connsiteY58" fmla="*/ 9020 h 10000"/>
                <a:gd name="connsiteX59" fmla="*/ 6419 w 10000"/>
                <a:gd name="connsiteY59" fmla="*/ 8186 h 10000"/>
                <a:gd name="connsiteX60" fmla="*/ 6586 w 10000"/>
                <a:gd name="connsiteY60" fmla="*/ 7505 h 10000"/>
                <a:gd name="connsiteX61" fmla="*/ 6855 w 10000"/>
                <a:gd name="connsiteY61" fmla="*/ 7204 h 10000"/>
                <a:gd name="connsiteX62" fmla="*/ 6855 w 10000"/>
                <a:gd name="connsiteY62" fmla="*/ 7043 h 10000"/>
                <a:gd name="connsiteX63" fmla="*/ 6757 w 10000"/>
                <a:gd name="connsiteY63" fmla="*/ 6956 h 10000"/>
                <a:gd name="connsiteX64" fmla="*/ 6915 w 10000"/>
                <a:gd name="connsiteY64" fmla="*/ 6811 h 10000"/>
                <a:gd name="connsiteX65" fmla="*/ 6887 w 10000"/>
                <a:gd name="connsiteY65" fmla="*/ 6693 h 10000"/>
                <a:gd name="connsiteX66" fmla="*/ 6779 w 10000"/>
                <a:gd name="connsiteY66" fmla="*/ 6592 h 10000"/>
                <a:gd name="connsiteX67" fmla="*/ 6757 w 10000"/>
                <a:gd name="connsiteY67" fmla="*/ 6514 h 10000"/>
                <a:gd name="connsiteX68" fmla="*/ 6785 w 10000"/>
                <a:gd name="connsiteY68" fmla="*/ 6457 h 10000"/>
                <a:gd name="connsiteX69" fmla="*/ 6931 w 10000"/>
                <a:gd name="connsiteY69" fmla="*/ 6503 h 10000"/>
                <a:gd name="connsiteX70" fmla="*/ 7045 w 10000"/>
                <a:gd name="connsiteY70" fmla="*/ 6500 h 10000"/>
                <a:gd name="connsiteX71" fmla="*/ 6983 w 10000"/>
                <a:gd name="connsiteY71" fmla="*/ 6404 h 10000"/>
                <a:gd name="connsiteX72" fmla="*/ 7003 w 10000"/>
                <a:gd name="connsiteY72" fmla="*/ 6346 h 10000"/>
                <a:gd name="connsiteX73" fmla="*/ 7089 w 10000"/>
                <a:gd name="connsiteY73" fmla="*/ 6265 h 10000"/>
                <a:gd name="connsiteX74" fmla="*/ 7074 w 10000"/>
                <a:gd name="connsiteY74" fmla="*/ 6198 h 10000"/>
                <a:gd name="connsiteX75" fmla="*/ 7152 w 10000"/>
                <a:gd name="connsiteY75" fmla="*/ 5971 h 10000"/>
                <a:gd name="connsiteX76" fmla="*/ 7130 w 10000"/>
                <a:gd name="connsiteY76" fmla="*/ 5902 h 10000"/>
                <a:gd name="connsiteX77" fmla="*/ 6729 w 10000"/>
                <a:gd name="connsiteY77" fmla="*/ 5729 h 10000"/>
                <a:gd name="connsiteX78" fmla="*/ 6785 w 10000"/>
                <a:gd name="connsiteY78" fmla="*/ 5723 h 10000"/>
                <a:gd name="connsiteX79" fmla="*/ 6998 w 10000"/>
                <a:gd name="connsiteY79" fmla="*/ 5768 h 10000"/>
                <a:gd name="connsiteX80" fmla="*/ 7230 w 10000"/>
                <a:gd name="connsiteY80" fmla="*/ 5751 h 10000"/>
                <a:gd name="connsiteX81" fmla="*/ 7295 w 10000"/>
                <a:gd name="connsiteY81" fmla="*/ 5689 h 10000"/>
                <a:gd name="connsiteX82" fmla="*/ 7074 w 10000"/>
                <a:gd name="connsiteY82" fmla="*/ 5571 h 10000"/>
                <a:gd name="connsiteX83" fmla="*/ 6414 w 10000"/>
                <a:gd name="connsiteY83" fmla="*/ 5495 h 10000"/>
                <a:gd name="connsiteX84" fmla="*/ 6458 w 10000"/>
                <a:gd name="connsiteY84" fmla="*/ 5459 h 10000"/>
                <a:gd name="connsiteX85" fmla="*/ 6998 w 10000"/>
                <a:gd name="connsiteY85" fmla="*/ 5434 h 10000"/>
                <a:gd name="connsiteX86" fmla="*/ 7295 w 10000"/>
                <a:gd name="connsiteY86" fmla="*/ 5506 h 10000"/>
                <a:gd name="connsiteX87" fmla="*/ 7466 w 10000"/>
                <a:gd name="connsiteY87" fmla="*/ 5459 h 10000"/>
                <a:gd name="connsiteX88" fmla="*/ 7529 w 10000"/>
                <a:gd name="connsiteY88" fmla="*/ 5337 h 10000"/>
                <a:gd name="connsiteX89" fmla="*/ 7840 w 10000"/>
                <a:gd name="connsiteY89" fmla="*/ 5337 h 10000"/>
                <a:gd name="connsiteX90" fmla="*/ 8261 w 10000"/>
                <a:gd name="connsiteY90" fmla="*/ 5093 h 10000"/>
                <a:gd name="connsiteX91" fmla="*/ 8275 w 10000"/>
                <a:gd name="connsiteY91" fmla="*/ 4928 h 10000"/>
                <a:gd name="connsiteX92" fmla="*/ 8453 w 10000"/>
                <a:gd name="connsiteY92" fmla="*/ 4965 h 10000"/>
                <a:gd name="connsiteX93" fmla="*/ 8446 w 10000"/>
                <a:gd name="connsiteY93" fmla="*/ 5130 h 10000"/>
                <a:gd name="connsiteX94" fmla="*/ 8727 w 10000"/>
                <a:gd name="connsiteY94" fmla="*/ 5118 h 10000"/>
                <a:gd name="connsiteX95" fmla="*/ 8913 w 10000"/>
                <a:gd name="connsiteY95" fmla="*/ 4948 h 10000"/>
                <a:gd name="connsiteX96" fmla="*/ 9258 w 10000"/>
                <a:gd name="connsiteY96" fmla="*/ 4795 h 10000"/>
                <a:gd name="connsiteX97" fmla="*/ 9203 w 10000"/>
                <a:gd name="connsiteY97" fmla="*/ 4621 h 10000"/>
                <a:gd name="connsiteX98" fmla="*/ 9306 w 10000"/>
                <a:gd name="connsiteY98" fmla="*/ 4690 h 10000"/>
                <a:gd name="connsiteX99" fmla="*/ 9464 w 10000"/>
                <a:gd name="connsiteY99" fmla="*/ 4690 h 10000"/>
                <a:gd name="connsiteX100" fmla="*/ 9464 w 10000"/>
                <a:gd name="connsiteY100" fmla="*/ 4609 h 10000"/>
                <a:gd name="connsiteX101" fmla="*/ 9611 w 10000"/>
                <a:gd name="connsiteY101" fmla="*/ 4550 h 10000"/>
                <a:gd name="connsiteX102" fmla="*/ 9592 w 10000"/>
                <a:gd name="connsiteY102" fmla="*/ 4487 h 10000"/>
                <a:gd name="connsiteX103" fmla="*/ 8350 w 10000"/>
                <a:gd name="connsiteY103" fmla="*/ 4611 h 10000"/>
                <a:gd name="connsiteX104" fmla="*/ 8058 w 10000"/>
                <a:gd name="connsiteY104" fmla="*/ 4576 h 10000"/>
                <a:gd name="connsiteX105" fmla="*/ 7942 w 10000"/>
                <a:gd name="connsiteY105" fmla="*/ 4621 h 10000"/>
                <a:gd name="connsiteX106" fmla="*/ 7903 w 10000"/>
                <a:gd name="connsiteY106" fmla="*/ 4532 h 10000"/>
                <a:gd name="connsiteX107" fmla="*/ 7765 w 10000"/>
                <a:gd name="connsiteY107" fmla="*/ 4456 h 10000"/>
                <a:gd name="connsiteX108" fmla="*/ 7213 w 10000"/>
                <a:gd name="connsiteY108" fmla="*/ 4297 h 10000"/>
                <a:gd name="connsiteX109" fmla="*/ 6887 w 10000"/>
                <a:gd name="connsiteY109" fmla="*/ 4324 h 10000"/>
                <a:gd name="connsiteX110" fmla="*/ 6757 w 10000"/>
                <a:gd name="connsiteY110" fmla="*/ 4278 h 10000"/>
                <a:gd name="connsiteX111" fmla="*/ 6894 w 10000"/>
                <a:gd name="connsiteY111" fmla="*/ 4240 h 10000"/>
                <a:gd name="connsiteX112" fmla="*/ 6998 w 10000"/>
                <a:gd name="connsiteY112" fmla="*/ 4156 h 10000"/>
                <a:gd name="connsiteX113" fmla="*/ 7152 w 10000"/>
                <a:gd name="connsiteY113" fmla="*/ 4182 h 10000"/>
                <a:gd name="connsiteX114" fmla="*/ 7335 w 10000"/>
                <a:gd name="connsiteY114" fmla="*/ 4161 h 10000"/>
                <a:gd name="connsiteX115" fmla="*/ 7611 w 10000"/>
                <a:gd name="connsiteY115" fmla="*/ 4188 h 10000"/>
                <a:gd name="connsiteX116" fmla="*/ 7645 w 10000"/>
                <a:gd name="connsiteY116" fmla="*/ 4177 h 10000"/>
                <a:gd name="connsiteX117" fmla="*/ 7859 w 10000"/>
                <a:gd name="connsiteY117" fmla="*/ 4305 h 10000"/>
                <a:gd name="connsiteX118" fmla="*/ 8017 w 10000"/>
                <a:gd name="connsiteY118" fmla="*/ 4257 h 10000"/>
                <a:gd name="connsiteX119" fmla="*/ 8032 w 10000"/>
                <a:gd name="connsiteY119" fmla="*/ 4214 h 10000"/>
                <a:gd name="connsiteX120" fmla="*/ 8176 w 10000"/>
                <a:gd name="connsiteY120" fmla="*/ 4290 h 10000"/>
                <a:gd name="connsiteX121" fmla="*/ 8369 w 10000"/>
                <a:gd name="connsiteY121" fmla="*/ 4331 h 10000"/>
                <a:gd name="connsiteX122" fmla="*/ 8446 w 10000"/>
                <a:gd name="connsiteY122" fmla="*/ 4255 h 10000"/>
                <a:gd name="connsiteX123" fmla="*/ 8507 w 10000"/>
                <a:gd name="connsiteY123" fmla="*/ 4297 h 10000"/>
                <a:gd name="connsiteX124" fmla="*/ 8596 w 10000"/>
                <a:gd name="connsiteY124" fmla="*/ 4446 h 10000"/>
                <a:gd name="connsiteX125" fmla="*/ 8782 w 10000"/>
                <a:gd name="connsiteY125" fmla="*/ 4478 h 10000"/>
                <a:gd name="connsiteX126" fmla="*/ 9542 w 10000"/>
                <a:gd name="connsiteY126" fmla="*/ 4262 h 10000"/>
                <a:gd name="connsiteX127" fmla="*/ 9914 w 10000"/>
                <a:gd name="connsiteY127" fmla="*/ 3962 h 10000"/>
                <a:gd name="connsiteX128" fmla="*/ 10000 w 10000"/>
                <a:gd name="connsiteY128" fmla="*/ 3744 h 10000"/>
                <a:gd name="connsiteX129" fmla="*/ 9866 w 10000"/>
                <a:gd name="connsiteY129" fmla="*/ 3546 h 10000"/>
                <a:gd name="connsiteX130" fmla="*/ 9582 w 10000"/>
                <a:gd name="connsiteY130" fmla="*/ 3428 h 10000"/>
                <a:gd name="connsiteX131" fmla="*/ 9382 w 10000"/>
                <a:gd name="connsiteY131" fmla="*/ 3233 h 10000"/>
                <a:gd name="connsiteX132" fmla="*/ 9569 w 10000"/>
                <a:gd name="connsiteY132" fmla="*/ 3227 h 10000"/>
                <a:gd name="connsiteX133" fmla="*/ 9555 w 10000"/>
                <a:gd name="connsiteY133" fmla="*/ 3180 h 10000"/>
                <a:gd name="connsiteX134" fmla="*/ 9068 w 10000"/>
                <a:gd name="connsiteY134" fmla="*/ 3045 h 10000"/>
                <a:gd name="connsiteX135" fmla="*/ 9047 w 10000"/>
                <a:gd name="connsiteY135" fmla="*/ 2920 h 10000"/>
                <a:gd name="connsiteX136" fmla="*/ 8953 w 10000"/>
                <a:gd name="connsiteY136" fmla="*/ 2789 h 10000"/>
                <a:gd name="connsiteX137" fmla="*/ 8569 w 10000"/>
                <a:gd name="connsiteY137" fmla="*/ 2813 h 10000"/>
                <a:gd name="connsiteX138" fmla="*/ 8431 w 10000"/>
                <a:gd name="connsiteY138" fmla="*/ 2673 h 10000"/>
                <a:gd name="connsiteX139" fmla="*/ 8350 w 10000"/>
                <a:gd name="connsiteY139" fmla="*/ 2665 h 10000"/>
                <a:gd name="connsiteX140" fmla="*/ 8350 w 10000"/>
                <a:gd name="connsiteY140" fmla="*/ 2726 h 10000"/>
                <a:gd name="connsiteX141" fmla="*/ 8176 w 10000"/>
                <a:gd name="connsiteY141" fmla="*/ 2959 h 10000"/>
                <a:gd name="connsiteX142" fmla="*/ 7990 w 10000"/>
                <a:gd name="connsiteY142" fmla="*/ 3096 h 10000"/>
                <a:gd name="connsiteX143" fmla="*/ 7401 w 10000"/>
                <a:gd name="connsiteY143" fmla="*/ 3329 h 10000"/>
                <a:gd name="connsiteX144" fmla="*/ 7198 w 10000"/>
                <a:gd name="connsiteY144" fmla="*/ 3322 h 10000"/>
                <a:gd name="connsiteX145" fmla="*/ 6915 w 10000"/>
                <a:gd name="connsiteY145" fmla="*/ 3359 h 10000"/>
                <a:gd name="connsiteX146" fmla="*/ 6757 w 10000"/>
                <a:gd name="connsiteY146" fmla="*/ 3322 h 10000"/>
                <a:gd name="connsiteX147" fmla="*/ 6965 w 10000"/>
                <a:gd name="connsiteY147" fmla="*/ 3255 h 10000"/>
                <a:gd name="connsiteX148" fmla="*/ 7235 w 10000"/>
                <a:gd name="connsiteY148" fmla="*/ 3227 h 10000"/>
                <a:gd name="connsiteX149" fmla="*/ 7455 w 10000"/>
                <a:gd name="connsiteY149" fmla="*/ 3118 h 10000"/>
                <a:gd name="connsiteX150" fmla="*/ 7674 w 10000"/>
                <a:gd name="connsiteY150" fmla="*/ 3066 h 10000"/>
                <a:gd name="connsiteX151" fmla="*/ 8082 w 10000"/>
                <a:gd name="connsiteY151" fmla="*/ 2874 h 10000"/>
                <a:gd name="connsiteX152" fmla="*/ 8157 w 10000"/>
                <a:gd name="connsiteY152" fmla="*/ 2750 h 10000"/>
                <a:gd name="connsiteX153" fmla="*/ 8165 w 10000"/>
                <a:gd name="connsiteY153" fmla="*/ 2589 h 10000"/>
                <a:gd name="connsiteX154" fmla="*/ 7978 w 10000"/>
                <a:gd name="connsiteY154" fmla="*/ 2562 h 10000"/>
                <a:gd name="connsiteX155" fmla="*/ 8058 w 10000"/>
                <a:gd name="connsiteY155" fmla="*/ 2463 h 10000"/>
                <a:gd name="connsiteX156" fmla="*/ 8087 w 10000"/>
                <a:gd name="connsiteY156" fmla="*/ 2338 h 10000"/>
                <a:gd name="connsiteX157" fmla="*/ 8007 w 10000"/>
                <a:gd name="connsiteY157" fmla="*/ 2222 h 10000"/>
                <a:gd name="connsiteX158" fmla="*/ 5294 w 10000"/>
                <a:gd name="connsiteY158" fmla="*/ 1779 h 10000"/>
                <a:gd name="connsiteX159" fmla="*/ 4505 w 10000"/>
                <a:gd name="connsiteY159" fmla="*/ 1407 h 10000"/>
                <a:gd name="connsiteX160" fmla="*/ 3730 w 10000"/>
                <a:gd name="connsiteY160" fmla="*/ 962 h 10000"/>
                <a:gd name="connsiteX161" fmla="*/ 3154 w 10000"/>
                <a:gd name="connsiteY161" fmla="*/ 143 h 10000"/>
                <a:gd name="connsiteX162" fmla="*/ 2375 w 10000"/>
                <a:gd name="connsiteY162" fmla="*/ 0 h 10000"/>
                <a:gd name="connsiteX163" fmla="*/ 2226 w 10000"/>
                <a:gd name="connsiteY163" fmla="*/ 772 h 10000"/>
                <a:gd name="connsiteX164" fmla="*/ 2375 w 10000"/>
                <a:gd name="connsiteY164" fmla="*/ 967 h 10000"/>
                <a:gd name="connsiteX165" fmla="*/ 2791 w 10000"/>
                <a:gd name="connsiteY165" fmla="*/ 1185 h 10000"/>
                <a:gd name="connsiteX166" fmla="*/ 2808 w 10000"/>
                <a:gd name="connsiteY166" fmla="*/ 1446 h 10000"/>
                <a:gd name="connsiteX167" fmla="*/ 2632 w 10000"/>
                <a:gd name="connsiteY167" fmla="*/ 1665 h 10000"/>
                <a:gd name="connsiteX168" fmla="*/ 2375 w 10000"/>
                <a:gd name="connsiteY168" fmla="*/ 1798 h 10000"/>
                <a:gd name="connsiteX169" fmla="*/ 2039 w 10000"/>
                <a:gd name="connsiteY169" fmla="*/ 1851 h 10000"/>
                <a:gd name="connsiteX170" fmla="*/ 1950 w 10000"/>
                <a:gd name="connsiteY170" fmla="*/ 1929 h 10000"/>
                <a:gd name="connsiteX171" fmla="*/ 2148 w 10000"/>
                <a:gd name="connsiteY171" fmla="*/ 2110 h 10000"/>
                <a:gd name="connsiteX172" fmla="*/ 2261 w 10000"/>
                <a:gd name="connsiteY172" fmla="*/ 2541 h 10000"/>
                <a:gd name="connsiteX173" fmla="*/ 2005 w 10000"/>
                <a:gd name="connsiteY173" fmla="*/ 2910 h 10000"/>
                <a:gd name="connsiteX174" fmla="*/ 2094 w 10000"/>
                <a:gd name="connsiteY174" fmla="*/ 3022 h 10000"/>
                <a:gd name="connsiteX175" fmla="*/ 2012 w 10000"/>
                <a:gd name="connsiteY175" fmla="*/ 3214 h 10000"/>
                <a:gd name="connsiteX176" fmla="*/ 1850 w 10000"/>
                <a:gd name="connsiteY176" fmla="*/ 3349 h 10000"/>
                <a:gd name="connsiteX177" fmla="*/ 1199 w 10000"/>
                <a:gd name="connsiteY177" fmla="*/ 3450 h 10000"/>
                <a:gd name="connsiteX178" fmla="*/ 1158 w 10000"/>
                <a:gd name="connsiteY178" fmla="*/ 3629 h 10000"/>
                <a:gd name="connsiteX179" fmla="*/ 808 w 10000"/>
                <a:gd name="connsiteY179" fmla="*/ 3893 h 10000"/>
                <a:gd name="connsiteX180" fmla="*/ 854 w 10000"/>
                <a:gd name="connsiteY180" fmla="*/ 4276 h 10000"/>
                <a:gd name="connsiteX181" fmla="*/ 560 w 10000"/>
                <a:gd name="connsiteY181" fmla="*/ 4766 h 10000"/>
                <a:gd name="connsiteX182" fmla="*/ 358 w 10000"/>
                <a:gd name="connsiteY182" fmla="*/ 4822 h 10000"/>
                <a:gd name="connsiteX183" fmla="*/ 275 w 10000"/>
                <a:gd name="connsiteY183" fmla="*/ 4706 h 10000"/>
                <a:gd name="connsiteX184" fmla="*/ 174 w 10000"/>
                <a:gd name="connsiteY184" fmla="*/ 4882 h 10000"/>
                <a:gd name="connsiteX185" fmla="*/ 239 w 10000"/>
                <a:gd name="connsiteY185" fmla="*/ 4578 h 10000"/>
                <a:gd name="connsiteX186" fmla="*/ 197 w 10000"/>
                <a:gd name="connsiteY186" fmla="*/ 4521 h 10000"/>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3212 w 10000"/>
                <a:gd name="connsiteY47" fmla="*/ 9941 h 10000"/>
                <a:gd name="connsiteX48" fmla="*/ 3348 w 10000"/>
                <a:gd name="connsiteY48" fmla="*/ 9745 h 10000"/>
                <a:gd name="connsiteX49" fmla="*/ 3313 w 10000"/>
                <a:gd name="connsiteY49" fmla="*/ 9423 h 10000"/>
                <a:gd name="connsiteX50" fmla="*/ 3642 w 10000"/>
                <a:gd name="connsiteY50" fmla="*/ 9067 h 10000"/>
                <a:gd name="connsiteX51" fmla="*/ 3883 w 10000"/>
                <a:gd name="connsiteY51" fmla="*/ 9124 h 10000"/>
                <a:gd name="connsiteX52" fmla="*/ 4025 w 10000"/>
                <a:gd name="connsiteY52" fmla="*/ 8982 h 10000"/>
                <a:gd name="connsiteX53" fmla="*/ 4294 w 10000"/>
                <a:gd name="connsiteY53" fmla="*/ 8899 h 10000"/>
                <a:gd name="connsiteX54" fmla="*/ 4658 w 10000"/>
                <a:gd name="connsiteY54" fmla="*/ 8919 h 10000"/>
                <a:gd name="connsiteX55" fmla="*/ 4878 w 10000"/>
                <a:gd name="connsiteY55" fmla="*/ 8975 h 10000"/>
                <a:gd name="connsiteX56" fmla="*/ 5170 w 10000"/>
                <a:gd name="connsiteY56" fmla="*/ 8951 h 10000"/>
                <a:gd name="connsiteX57" fmla="*/ 5464 w 10000"/>
                <a:gd name="connsiteY57" fmla="*/ 9012 h 10000"/>
                <a:gd name="connsiteX58" fmla="*/ 5759 w 10000"/>
                <a:gd name="connsiteY58" fmla="*/ 9020 h 10000"/>
                <a:gd name="connsiteX59" fmla="*/ 6419 w 10000"/>
                <a:gd name="connsiteY59" fmla="*/ 8186 h 10000"/>
                <a:gd name="connsiteX60" fmla="*/ 6586 w 10000"/>
                <a:gd name="connsiteY60" fmla="*/ 7505 h 10000"/>
                <a:gd name="connsiteX61" fmla="*/ 6855 w 10000"/>
                <a:gd name="connsiteY61" fmla="*/ 7204 h 10000"/>
                <a:gd name="connsiteX62" fmla="*/ 6855 w 10000"/>
                <a:gd name="connsiteY62" fmla="*/ 7043 h 10000"/>
                <a:gd name="connsiteX63" fmla="*/ 6757 w 10000"/>
                <a:gd name="connsiteY63" fmla="*/ 6956 h 10000"/>
                <a:gd name="connsiteX64" fmla="*/ 6915 w 10000"/>
                <a:gd name="connsiteY64" fmla="*/ 6811 h 10000"/>
                <a:gd name="connsiteX65" fmla="*/ 6887 w 10000"/>
                <a:gd name="connsiteY65" fmla="*/ 6693 h 10000"/>
                <a:gd name="connsiteX66" fmla="*/ 6779 w 10000"/>
                <a:gd name="connsiteY66" fmla="*/ 6592 h 10000"/>
                <a:gd name="connsiteX67" fmla="*/ 6757 w 10000"/>
                <a:gd name="connsiteY67" fmla="*/ 6514 h 10000"/>
                <a:gd name="connsiteX68" fmla="*/ 6785 w 10000"/>
                <a:gd name="connsiteY68" fmla="*/ 6457 h 10000"/>
                <a:gd name="connsiteX69" fmla="*/ 6931 w 10000"/>
                <a:gd name="connsiteY69" fmla="*/ 6503 h 10000"/>
                <a:gd name="connsiteX70" fmla="*/ 7045 w 10000"/>
                <a:gd name="connsiteY70" fmla="*/ 6500 h 10000"/>
                <a:gd name="connsiteX71" fmla="*/ 6983 w 10000"/>
                <a:gd name="connsiteY71" fmla="*/ 6404 h 10000"/>
                <a:gd name="connsiteX72" fmla="*/ 7003 w 10000"/>
                <a:gd name="connsiteY72" fmla="*/ 6346 h 10000"/>
                <a:gd name="connsiteX73" fmla="*/ 7089 w 10000"/>
                <a:gd name="connsiteY73" fmla="*/ 6265 h 10000"/>
                <a:gd name="connsiteX74" fmla="*/ 7074 w 10000"/>
                <a:gd name="connsiteY74" fmla="*/ 6198 h 10000"/>
                <a:gd name="connsiteX75" fmla="*/ 7152 w 10000"/>
                <a:gd name="connsiteY75" fmla="*/ 5971 h 10000"/>
                <a:gd name="connsiteX76" fmla="*/ 7130 w 10000"/>
                <a:gd name="connsiteY76" fmla="*/ 5902 h 10000"/>
                <a:gd name="connsiteX77" fmla="*/ 6729 w 10000"/>
                <a:gd name="connsiteY77" fmla="*/ 5729 h 10000"/>
                <a:gd name="connsiteX78" fmla="*/ 6785 w 10000"/>
                <a:gd name="connsiteY78" fmla="*/ 5723 h 10000"/>
                <a:gd name="connsiteX79" fmla="*/ 6998 w 10000"/>
                <a:gd name="connsiteY79" fmla="*/ 5768 h 10000"/>
                <a:gd name="connsiteX80" fmla="*/ 7230 w 10000"/>
                <a:gd name="connsiteY80" fmla="*/ 5751 h 10000"/>
                <a:gd name="connsiteX81" fmla="*/ 7295 w 10000"/>
                <a:gd name="connsiteY81" fmla="*/ 5689 h 10000"/>
                <a:gd name="connsiteX82" fmla="*/ 7074 w 10000"/>
                <a:gd name="connsiteY82" fmla="*/ 5571 h 10000"/>
                <a:gd name="connsiteX83" fmla="*/ 6414 w 10000"/>
                <a:gd name="connsiteY83" fmla="*/ 5495 h 10000"/>
                <a:gd name="connsiteX84" fmla="*/ 6458 w 10000"/>
                <a:gd name="connsiteY84" fmla="*/ 5459 h 10000"/>
                <a:gd name="connsiteX85" fmla="*/ 6998 w 10000"/>
                <a:gd name="connsiteY85" fmla="*/ 5434 h 10000"/>
                <a:gd name="connsiteX86" fmla="*/ 7295 w 10000"/>
                <a:gd name="connsiteY86" fmla="*/ 5506 h 10000"/>
                <a:gd name="connsiteX87" fmla="*/ 7466 w 10000"/>
                <a:gd name="connsiteY87" fmla="*/ 5459 h 10000"/>
                <a:gd name="connsiteX88" fmla="*/ 7529 w 10000"/>
                <a:gd name="connsiteY88" fmla="*/ 5337 h 10000"/>
                <a:gd name="connsiteX89" fmla="*/ 7840 w 10000"/>
                <a:gd name="connsiteY89" fmla="*/ 5337 h 10000"/>
                <a:gd name="connsiteX90" fmla="*/ 8261 w 10000"/>
                <a:gd name="connsiteY90" fmla="*/ 5093 h 10000"/>
                <a:gd name="connsiteX91" fmla="*/ 8275 w 10000"/>
                <a:gd name="connsiteY91" fmla="*/ 4928 h 10000"/>
                <a:gd name="connsiteX92" fmla="*/ 8453 w 10000"/>
                <a:gd name="connsiteY92" fmla="*/ 4965 h 10000"/>
                <a:gd name="connsiteX93" fmla="*/ 8446 w 10000"/>
                <a:gd name="connsiteY93" fmla="*/ 5130 h 10000"/>
                <a:gd name="connsiteX94" fmla="*/ 8727 w 10000"/>
                <a:gd name="connsiteY94" fmla="*/ 5118 h 10000"/>
                <a:gd name="connsiteX95" fmla="*/ 8913 w 10000"/>
                <a:gd name="connsiteY95" fmla="*/ 4948 h 10000"/>
                <a:gd name="connsiteX96" fmla="*/ 9258 w 10000"/>
                <a:gd name="connsiteY96" fmla="*/ 4795 h 10000"/>
                <a:gd name="connsiteX97" fmla="*/ 9203 w 10000"/>
                <a:gd name="connsiteY97" fmla="*/ 4621 h 10000"/>
                <a:gd name="connsiteX98" fmla="*/ 9306 w 10000"/>
                <a:gd name="connsiteY98" fmla="*/ 4690 h 10000"/>
                <a:gd name="connsiteX99" fmla="*/ 9464 w 10000"/>
                <a:gd name="connsiteY99" fmla="*/ 4690 h 10000"/>
                <a:gd name="connsiteX100" fmla="*/ 9464 w 10000"/>
                <a:gd name="connsiteY100" fmla="*/ 4609 h 10000"/>
                <a:gd name="connsiteX101" fmla="*/ 9611 w 10000"/>
                <a:gd name="connsiteY101" fmla="*/ 4550 h 10000"/>
                <a:gd name="connsiteX102" fmla="*/ 9592 w 10000"/>
                <a:gd name="connsiteY102" fmla="*/ 4487 h 10000"/>
                <a:gd name="connsiteX103" fmla="*/ 8350 w 10000"/>
                <a:gd name="connsiteY103" fmla="*/ 4611 h 10000"/>
                <a:gd name="connsiteX104" fmla="*/ 8058 w 10000"/>
                <a:gd name="connsiteY104" fmla="*/ 4576 h 10000"/>
                <a:gd name="connsiteX105" fmla="*/ 7942 w 10000"/>
                <a:gd name="connsiteY105" fmla="*/ 4621 h 10000"/>
                <a:gd name="connsiteX106" fmla="*/ 7903 w 10000"/>
                <a:gd name="connsiteY106" fmla="*/ 4532 h 10000"/>
                <a:gd name="connsiteX107" fmla="*/ 7765 w 10000"/>
                <a:gd name="connsiteY107" fmla="*/ 4456 h 10000"/>
                <a:gd name="connsiteX108" fmla="*/ 7213 w 10000"/>
                <a:gd name="connsiteY108" fmla="*/ 4297 h 10000"/>
                <a:gd name="connsiteX109" fmla="*/ 6887 w 10000"/>
                <a:gd name="connsiteY109" fmla="*/ 4324 h 10000"/>
                <a:gd name="connsiteX110" fmla="*/ 6757 w 10000"/>
                <a:gd name="connsiteY110" fmla="*/ 4278 h 10000"/>
                <a:gd name="connsiteX111" fmla="*/ 6894 w 10000"/>
                <a:gd name="connsiteY111" fmla="*/ 4240 h 10000"/>
                <a:gd name="connsiteX112" fmla="*/ 6998 w 10000"/>
                <a:gd name="connsiteY112" fmla="*/ 4156 h 10000"/>
                <a:gd name="connsiteX113" fmla="*/ 7152 w 10000"/>
                <a:gd name="connsiteY113" fmla="*/ 4182 h 10000"/>
                <a:gd name="connsiteX114" fmla="*/ 7335 w 10000"/>
                <a:gd name="connsiteY114" fmla="*/ 4161 h 10000"/>
                <a:gd name="connsiteX115" fmla="*/ 7611 w 10000"/>
                <a:gd name="connsiteY115" fmla="*/ 4188 h 10000"/>
                <a:gd name="connsiteX116" fmla="*/ 7645 w 10000"/>
                <a:gd name="connsiteY116" fmla="*/ 4177 h 10000"/>
                <a:gd name="connsiteX117" fmla="*/ 7859 w 10000"/>
                <a:gd name="connsiteY117" fmla="*/ 4305 h 10000"/>
                <a:gd name="connsiteX118" fmla="*/ 8017 w 10000"/>
                <a:gd name="connsiteY118" fmla="*/ 4257 h 10000"/>
                <a:gd name="connsiteX119" fmla="*/ 8032 w 10000"/>
                <a:gd name="connsiteY119" fmla="*/ 4214 h 10000"/>
                <a:gd name="connsiteX120" fmla="*/ 8176 w 10000"/>
                <a:gd name="connsiteY120" fmla="*/ 4290 h 10000"/>
                <a:gd name="connsiteX121" fmla="*/ 8369 w 10000"/>
                <a:gd name="connsiteY121" fmla="*/ 4331 h 10000"/>
                <a:gd name="connsiteX122" fmla="*/ 8446 w 10000"/>
                <a:gd name="connsiteY122" fmla="*/ 4255 h 10000"/>
                <a:gd name="connsiteX123" fmla="*/ 8507 w 10000"/>
                <a:gd name="connsiteY123" fmla="*/ 4297 h 10000"/>
                <a:gd name="connsiteX124" fmla="*/ 8596 w 10000"/>
                <a:gd name="connsiteY124" fmla="*/ 4446 h 10000"/>
                <a:gd name="connsiteX125" fmla="*/ 8782 w 10000"/>
                <a:gd name="connsiteY125" fmla="*/ 4478 h 10000"/>
                <a:gd name="connsiteX126" fmla="*/ 9542 w 10000"/>
                <a:gd name="connsiteY126" fmla="*/ 4262 h 10000"/>
                <a:gd name="connsiteX127" fmla="*/ 9914 w 10000"/>
                <a:gd name="connsiteY127" fmla="*/ 3962 h 10000"/>
                <a:gd name="connsiteX128" fmla="*/ 10000 w 10000"/>
                <a:gd name="connsiteY128" fmla="*/ 3744 h 10000"/>
                <a:gd name="connsiteX129" fmla="*/ 9866 w 10000"/>
                <a:gd name="connsiteY129" fmla="*/ 3546 h 10000"/>
                <a:gd name="connsiteX130" fmla="*/ 9582 w 10000"/>
                <a:gd name="connsiteY130" fmla="*/ 3428 h 10000"/>
                <a:gd name="connsiteX131" fmla="*/ 9382 w 10000"/>
                <a:gd name="connsiteY131" fmla="*/ 3233 h 10000"/>
                <a:gd name="connsiteX132" fmla="*/ 9569 w 10000"/>
                <a:gd name="connsiteY132" fmla="*/ 3227 h 10000"/>
                <a:gd name="connsiteX133" fmla="*/ 9555 w 10000"/>
                <a:gd name="connsiteY133" fmla="*/ 3180 h 10000"/>
                <a:gd name="connsiteX134" fmla="*/ 9068 w 10000"/>
                <a:gd name="connsiteY134" fmla="*/ 3045 h 10000"/>
                <a:gd name="connsiteX135" fmla="*/ 9047 w 10000"/>
                <a:gd name="connsiteY135" fmla="*/ 2920 h 10000"/>
                <a:gd name="connsiteX136" fmla="*/ 8953 w 10000"/>
                <a:gd name="connsiteY136" fmla="*/ 2789 h 10000"/>
                <a:gd name="connsiteX137" fmla="*/ 8569 w 10000"/>
                <a:gd name="connsiteY137" fmla="*/ 2813 h 10000"/>
                <a:gd name="connsiteX138" fmla="*/ 8431 w 10000"/>
                <a:gd name="connsiteY138" fmla="*/ 2673 h 10000"/>
                <a:gd name="connsiteX139" fmla="*/ 8350 w 10000"/>
                <a:gd name="connsiteY139" fmla="*/ 2665 h 10000"/>
                <a:gd name="connsiteX140" fmla="*/ 8350 w 10000"/>
                <a:gd name="connsiteY140" fmla="*/ 2726 h 10000"/>
                <a:gd name="connsiteX141" fmla="*/ 8176 w 10000"/>
                <a:gd name="connsiteY141" fmla="*/ 2959 h 10000"/>
                <a:gd name="connsiteX142" fmla="*/ 7990 w 10000"/>
                <a:gd name="connsiteY142" fmla="*/ 3096 h 10000"/>
                <a:gd name="connsiteX143" fmla="*/ 7401 w 10000"/>
                <a:gd name="connsiteY143" fmla="*/ 3329 h 10000"/>
                <a:gd name="connsiteX144" fmla="*/ 7198 w 10000"/>
                <a:gd name="connsiteY144" fmla="*/ 3322 h 10000"/>
                <a:gd name="connsiteX145" fmla="*/ 6915 w 10000"/>
                <a:gd name="connsiteY145" fmla="*/ 3359 h 10000"/>
                <a:gd name="connsiteX146" fmla="*/ 6757 w 10000"/>
                <a:gd name="connsiteY146" fmla="*/ 3322 h 10000"/>
                <a:gd name="connsiteX147" fmla="*/ 6965 w 10000"/>
                <a:gd name="connsiteY147" fmla="*/ 3255 h 10000"/>
                <a:gd name="connsiteX148" fmla="*/ 7235 w 10000"/>
                <a:gd name="connsiteY148" fmla="*/ 3227 h 10000"/>
                <a:gd name="connsiteX149" fmla="*/ 7455 w 10000"/>
                <a:gd name="connsiteY149" fmla="*/ 3118 h 10000"/>
                <a:gd name="connsiteX150" fmla="*/ 7674 w 10000"/>
                <a:gd name="connsiteY150" fmla="*/ 3066 h 10000"/>
                <a:gd name="connsiteX151" fmla="*/ 8082 w 10000"/>
                <a:gd name="connsiteY151" fmla="*/ 2874 h 10000"/>
                <a:gd name="connsiteX152" fmla="*/ 8157 w 10000"/>
                <a:gd name="connsiteY152" fmla="*/ 2750 h 10000"/>
                <a:gd name="connsiteX153" fmla="*/ 8165 w 10000"/>
                <a:gd name="connsiteY153" fmla="*/ 2589 h 10000"/>
                <a:gd name="connsiteX154" fmla="*/ 7978 w 10000"/>
                <a:gd name="connsiteY154" fmla="*/ 2562 h 10000"/>
                <a:gd name="connsiteX155" fmla="*/ 8058 w 10000"/>
                <a:gd name="connsiteY155" fmla="*/ 2463 h 10000"/>
                <a:gd name="connsiteX156" fmla="*/ 8087 w 10000"/>
                <a:gd name="connsiteY156" fmla="*/ 2338 h 10000"/>
                <a:gd name="connsiteX157" fmla="*/ 8007 w 10000"/>
                <a:gd name="connsiteY157" fmla="*/ 2222 h 10000"/>
                <a:gd name="connsiteX158" fmla="*/ 6793 w 10000"/>
                <a:gd name="connsiteY158" fmla="*/ 1993 h 10000"/>
                <a:gd name="connsiteX159" fmla="*/ 5294 w 10000"/>
                <a:gd name="connsiteY159" fmla="*/ 1779 h 10000"/>
                <a:gd name="connsiteX160" fmla="*/ 4505 w 10000"/>
                <a:gd name="connsiteY160" fmla="*/ 1407 h 10000"/>
                <a:gd name="connsiteX161" fmla="*/ 3730 w 10000"/>
                <a:gd name="connsiteY161" fmla="*/ 962 h 10000"/>
                <a:gd name="connsiteX162" fmla="*/ 3154 w 10000"/>
                <a:gd name="connsiteY162" fmla="*/ 143 h 10000"/>
                <a:gd name="connsiteX163" fmla="*/ 2375 w 10000"/>
                <a:gd name="connsiteY163" fmla="*/ 0 h 10000"/>
                <a:gd name="connsiteX164" fmla="*/ 2226 w 10000"/>
                <a:gd name="connsiteY164" fmla="*/ 772 h 10000"/>
                <a:gd name="connsiteX165" fmla="*/ 2375 w 10000"/>
                <a:gd name="connsiteY165" fmla="*/ 967 h 10000"/>
                <a:gd name="connsiteX166" fmla="*/ 2791 w 10000"/>
                <a:gd name="connsiteY166" fmla="*/ 1185 h 10000"/>
                <a:gd name="connsiteX167" fmla="*/ 2808 w 10000"/>
                <a:gd name="connsiteY167" fmla="*/ 1446 h 10000"/>
                <a:gd name="connsiteX168" fmla="*/ 2632 w 10000"/>
                <a:gd name="connsiteY168" fmla="*/ 1665 h 10000"/>
                <a:gd name="connsiteX169" fmla="*/ 2375 w 10000"/>
                <a:gd name="connsiteY169" fmla="*/ 1798 h 10000"/>
                <a:gd name="connsiteX170" fmla="*/ 2039 w 10000"/>
                <a:gd name="connsiteY170" fmla="*/ 1851 h 10000"/>
                <a:gd name="connsiteX171" fmla="*/ 1950 w 10000"/>
                <a:gd name="connsiteY171" fmla="*/ 1929 h 10000"/>
                <a:gd name="connsiteX172" fmla="*/ 2148 w 10000"/>
                <a:gd name="connsiteY172" fmla="*/ 2110 h 10000"/>
                <a:gd name="connsiteX173" fmla="*/ 2261 w 10000"/>
                <a:gd name="connsiteY173" fmla="*/ 2541 h 10000"/>
                <a:gd name="connsiteX174" fmla="*/ 2005 w 10000"/>
                <a:gd name="connsiteY174" fmla="*/ 2910 h 10000"/>
                <a:gd name="connsiteX175" fmla="*/ 2094 w 10000"/>
                <a:gd name="connsiteY175" fmla="*/ 3022 h 10000"/>
                <a:gd name="connsiteX176" fmla="*/ 2012 w 10000"/>
                <a:gd name="connsiteY176" fmla="*/ 3214 h 10000"/>
                <a:gd name="connsiteX177" fmla="*/ 1850 w 10000"/>
                <a:gd name="connsiteY177" fmla="*/ 3349 h 10000"/>
                <a:gd name="connsiteX178" fmla="*/ 1199 w 10000"/>
                <a:gd name="connsiteY178" fmla="*/ 3450 h 10000"/>
                <a:gd name="connsiteX179" fmla="*/ 1158 w 10000"/>
                <a:gd name="connsiteY179" fmla="*/ 3629 h 10000"/>
                <a:gd name="connsiteX180" fmla="*/ 808 w 10000"/>
                <a:gd name="connsiteY180" fmla="*/ 3893 h 10000"/>
                <a:gd name="connsiteX181" fmla="*/ 854 w 10000"/>
                <a:gd name="connsiteY181" fmla="*/ 4276 h 10000"/>
                <a:gd name="connsiteX182" fmla="*/ 560 w 10000"/>
                <a:gd name="connsiteY182" fmla="*/ 4766 h 10000"/>
                <a:gd name="connsiteX183" fmla="*/ 358 w 10000"/>
                <a:gd name="connsiteY183" fmla="*/ 4822 h 10000"/>
                <a:gd name="connsiteX184" fmla="*/ 275 w 10000"/>
                <a:gd name="connsiteY184" fmla="*/ 4706 h 10000"/>
                <a:gd name="connsiteX185" fmla="*/ 174 w 10000"/>
                <a:gd name="connsiteY185" fmla="*/ 4882 h 10000"/>
                <a:gd name="connsiteX186" fmla="*/ 239 w 10000"/>
                <a:gd name="connsiteY186" fmla="*/ 4578 h 10000"/>
                <a:gd name="connsiteX187" fmla="*/ 197 w 10000"/>
                <a:gd name="connsiteY187" fmla="*/ 4521 h 10000"/>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3212 w 10000"/>
                <a:gd name="connsiteY47" fmla="*/ 9941 h 10000"/>
                <a:gd name="connsiteX48" fmla="*/ 3348 w 10000"/>
                <a:gd name="connsiteY48" fmla="*/ 9745 h 10000"/>
                <a:gd name="connsiteX49" fmla="*/ 3313 w 10000"/>
                <a:gd name="connsiteY49" fmla="*/ 9423 h 10000"/>
                <a:gd name="connsiteX50" fmla="*/ 3642 w 10000"/>
                <a:gd name="connsiteY50" fmla="*/ 9067 h 10000"/>
                <a:gd name="connsiteX51" fmla="*/ 3883 w 10000"/>
                <a:gd name="connsiteY51" fmla="*/ 9124 h 10000"/>
                <a:gd name="connsiteX52" fmla="*/ 4025 w 10000"/>
                <a:gd name="connsiteY52" fmla="*/ 8982 h 10000"/>
                <a:gd name="connsiteX53" fmla="*/ 4294 w 10000"/>
                <a:gd name="connsiteY53" fmla="*/ 8899 h 10000"/>
                <a:gd name="connsiteX54" fmla="*/ 4658 w 10000"/>
                <a:gd name="connsiteY54" fmla="*/ 8919 h 10000"/>
                <a:gd name="connsiteX55" fmla="*/ 4878 w 10000"/>
                <a:gd name="connsiteY55" fmla="*/ 8975 h 10000"/>
                <a:gd name="connsiteX56" fmla="*/ 5170 w 10000"/>
                <a:gd name="connsiteY56" fmla="*/ 8951 h 10000"/>
                <a:gd name="connsiteX57" fmla="*/ 5464 w 10000"/>
                <a:gd name="connsiteY57" fmla="*/ 9012 h 10000"/>
                <a:gd name="connsiteX58" fmla="*/ 5759 w 10000"/>
                <a:gd name="connsiteY58" fmla="*/ 9020 h 10000"/>
                <a:gd name="connsiteX59" fmla="*/ 6419 w 10000"/>
                <a:gd name="connsiteY59" fmla="*/ 8186 h 10000"/>
                <a:gd name="connsiteX60" fmla="*/ 6586 w 10000"/>
                <a:gd name="connsiteY60" fmla="*/ 7505 h 10000"/>
                <a:gd name="connsiteX61" fmla="*/ 6855 w 10000"/>
                <a:gd name="connsiteY61" fmla="*/ 7204 h 10000"/>
                <a:gd name="connsiteX62" fmla="*/ 6855 w 10000"/>
                <a:gd name="connsiteY62" fmla="*/ 7043 h 10000"/>
                <a:gd name="connsiteX63" fmla="*/ 6757 w 10000"/>
                <a:gd name="connsiteY63" fmla="*/ 6956 h 10000"/>
                <a:gd name="connsiteX64" fmla="*/ 6915 w 10000"/>
                <a:gd name="connsiteY64" fmla="*/ 6811 h 10000"/>
                <a:gd name="connsiteX65" fmla="*/ 6887 w 10000"/>
                <a:gd name="connsiteY65" fmla="*/ 6693 h 10000"/>
                <a:gd name="connsiteX66" fmla="*/ 6779 w 10000"/>
                <a:gd name="connsiteY66" fmla="*/ 6592 h 10000"/>
                <a:gd name="connsiteX67" fmla="*/ 6757 w 10000"/>
                <a:gd name="connsiteY67" fmla="*/ 6514 h 10000"/>
                <a:gd name="connsiteX68" fmla="*/ 6785 w 10000"/>
                <a:gd name="connsiteY68" fmla="*/ 6457 h 10000"/>
                <a:gd name="connsiteX69" fmla="*/ 6931 w 10000"/>
                <a:gd name="connsiteY69" fmla="*/ 6503 h 10000"/>
                <a:gd name="connsiteX70" fmla="*/ 7045 w 10000"/>
                <a:gd name="connsiteY70" fmla="*/ 6500 h 10000"/>
                <a:gd name="connsiteX71" fmla="*/ 6983 w 10000"/>
                <a:gd name="connsiteY71" fmla="*/ 6404 h 10000"/>
                <a:gd name="connsiteX72" fmla="*/ 7003 w 10000"/>
                <a:gd name="connsiteY72" fmla="*/ 6346 h 10000"/>
                <a:gd name="connsiteX73" fmla="*/ 7089 w 10000"/>
                <a:gd name="connsiteY73" fmla="*/ 6265 h 10000"/>
                <a:gd name="connsiteX74" fmla="*/ 7074 w 10000"/>
                <a:gd name="connsiteY74" fmla="*/ 6198 h 10000"/>
                <a:gd name="connsiteX75" fmla="*/ 7152 w 10000"/>
                <a:gd name="connsiteY75" fmla="*/ 5971 h 10000"/>
                <a:gd name="connsiteX76" fmla="*/ 7130 w 10000"/>
                <a:gd name="connsiteY76" fmla="*/ 5902 h 10000"/>
                <a:gd name="connsiteX77" fmla="*/ 6729 w 10000"/>
                <a:gd name="connsiteY77" fmla="*/ 5729 h 10000"/>
                <a:gd name="connsiteX78" fmla="*/ 6785 w 10000"/>
                <a:gd name="connsiteY78" fmla="*/ 5723 h 10000"/>
                <a:gd name="connsiteX79" fmla="*/ 6998 w 10000"/>
                <a:gd name="connsiteY79" fmla="*/ 5768 h 10000"/>
                <a:gd name="connsiteX80" fmla="*/ 7230 w 10000"/>
                <a:gd name="connsiteY80" fmla="*/ 5751 h 10000"/>
                <a:gd name="connsiteX81" fmla="*/ 7295 w 10000"/>
                <a:gd name="connsiteY81" fmla="*/ 5689 h 10000"/>
                <a:gd name="connsiteX82" fmla="*/ 7074 w 10000"/>
                <a:gd name="connsiteY82" fmla="*/ 5571 h 10000"/>
                <a:gd name="connsiteX83" fmla="*/ 6414 w 10000"/>
                <a:gd name="connsiteY83" fmla="*/ 5495 h 10000"/>
                <a:gd name="connsiteX84" fmla="*/ 6458 w 10000"/>
                <a:gd name="connsiteY84" fmla="*/ 5459 h 10000"/>
                <a:gd name="connsiteX85" fmla="*/ 6998 w 10000"/>
                <a:gd name="connsiteY85" fmla="*/ 5434 h 10000"/>
                <a:gd name="connsiteX86" fmla="*/ 7295 w 10000"/>
                <a:gd name="connsiteY86" fmla="*/ 5506 h 10000"/>
                <a:gd name="connsiteX87" fmla="*/ 7466 w 10000"/>
                <a:gd name="connsiteY87" fmla="*/ 5459 h 10000"/>
                <a:gd name="connsiteX88" fmla="*/ 7529 w 10000"/>
                <a:gd name="connsiteY88" fmla="*/ 5337 h 10000"/>
                <a:gd name="connsiteX89" fmla="*/ 7840 w 10000"/>
                <a:gd name="connsiteY89" fmla="*/ 5337 h 10000"/>
                <a:gd name="connsiteX90" fmla="*/ 8261 w 10000"/>
                <a:gd name="connsiteY90" fmla="*/ 5093 h 10000"/>
                <a:gd name="connsiteX91" fmla="*/ 8275 w 10000"/>
                <a:gd name="connsiteY91" fmla="*/ 4928 h 10000"/>
                <a:gd name="connsiteX92" fmla="*/ 8453 w 10000"/>
                <a:gd name="connsiteY92" fmla="*/ 4965 h 10000"/>
                <a:gd name="connsiteX93" fmla="*/ 8446 w 10000"/>
                <a:gd name="connsiteY93" fmla="*/ 5130 h 10000"/>
                <a:gd name="connsiteX94" fmla="*/ 8727 w 10000"/>
                <a:gd name="connsiteY94" fmla="*/ 5118 h 10000"/>
                <a:gd name="connsiteX95" fmla="*/ 8913 w 10000"/>
                <a:gd name="connsiteY95" fmla="*/ 4948 h 10000"/>
                <a:gd name="connsiteX96" fmla="*/ 9258 w 10000"/>
                <a:gd name="connsiteY96" fmla="*/ 4795 h 10000"/>
                <a:gd name="connsiteX97" fmla="*/ 9203 w 10000"/>
                <a:gd name="connsiteY97" fmla="*/ 4621 h 10000"/>
                <a:gd name="connsiteX98" fmla="*/ 9306 w 10000"/>
                <a:gd name="connsiteY98" fmla="*/ 4690 h 10000"/>
                <a:gd name="connsiteX99" fmla="*/ 9464 w 10000"/>
                <a:gd name="connsiteY99" fmla="*/ 4690 h 10000"/>
                <a:gd name="connsiteX100" fmla="*/ 9464 w 10000"/>
                <a:gd name="connsiteY100" fmla="*/ 4609 h 10000"/>
                <a:gd name="connsiteX101" fmla="*/ 9611 w 10000"/>
                <a:gd name="connsiteY101" fmla="*/ 4550 h 10000"/>
                <a:gd name="connsiteX102" fmla="*/ 9592 w 10000"/>
                <a:gd name="connsiteY102" fmla="*/ 4487 h 10000"/>
                <a:gd name="connsiteX103" fmla="*/ 8350 w 10000"/>
                <a:gd name="connsiteY103" fmla="*/ 4611 h 10000"/>
                <a:gd name="connsiteX104" fmla="*/ 8058 w 10000"/>
                <a:gd name="connsiteY104" fmla="*/ 4576 h 10000"/>
                <a:gd name="connsiteX105" fmla="*/ 7942 w 10000"/>
                <a:gd name="connsiteY105" fmla="*/ 4621 h 10000"/>
                <a:gd name="connsiteX106" fmla="*/ 7903 w 10000"/>
                <a:gd name="connsiteY106" fmla="*/ 4532 h 10000"/>
                <a:gd name="connsiteX107" fmla="*/ 7765 w 10000"/>
                <a:gd name="connsiteY107" fmla="*/ 4456 h 10000"/>
                <a:gd name="connsiteX108" fmla="*/ 7213 w 10000"/>
                <a:gd name="connsiteY108" fmla="*/ 4297 h 10000"/>
                <a:gd name="connsiteX109" fmla="*/ 6887 w 10000"/>
                <a:gd name="connsiteY109" fmla="*/ 4324 h 10000"/>
                <a:gd name="connsiteX110" fmla="*/ 6757 w 10000"/>
                <a:gd name="connsiteY110" fmla="*/ 4278 h 10000"/>
                <a:gd name="connsiteX111" fmla="*/ 6894 w 10000"/>
                <a:gd name="connsiteY111" fmla="*/ 4240 h 10000"/>
                <a:gd name="connsiteX112" fmla="*/ 6998 w 10000"/>
                <a:gd name="connsiteY112" fmla="*/ 4156 h 10000"/>
                <a:gd name="connsiteX113" fmla="*/ 7152 w 10000"/>
                <a:gd name="connsiteY113" fmla="*/ 4182 h 10000"/>
                <a:gd name="connsiteX114" fmla="*/ 7335 w 10000"/>
                <a:gd name="connsiteY114" fmla="*/ 4161 h 10000"/>
                <a:gd name="connsiteX115" fmla="*/ 7611 w 10000"/>
                <a:gd name="connsiteY115" fmla="*/ 4188 h 10000"/>
                <a:gd name="connsiteX116" fmla="*/ 7645 w 10000"/>
                <a:gd name="connsiteY116" fmla="*/ 4177 h 10000"/>
                <a:gd name="connsiteX117" fmla="*/ 7859 w 10000"/>
                <a:gd name="connsiteY117" fmla="*/ 4305 h 10000"/>
                <a:gd name="connsiteX118" fmla="*/ 8017 w 10000"/>
                <a:gd name="connsiteY118" fmla="*/ 4257 h 10000"/>
                <a:gd name="connsiteX119" fmla="*/ 8032 w 10000"/>
                <a:gd name="connsiteY119" fmla="*/ 4214 h 10000"/>
                <a:gd name="connsiteX120" fmla="*/ 8176 w 10000"/>
                <a:gd name="connsiteY120" fmla="*/ 4290 h 10000"/>
                <a:gd name="connsiteX121" fmla="*/ 8369 w 10000"/>
                <a:gd name="connsiteY121" fmla="*/ 4331 h 10000"/>
                <a:gd name="connsiteX122" fmla="*/ 8446 w 10000"/>
                <a:gd name="connsiteY122" fmla="*/ 4255 h 10000"/>
                <a:gd name="connsiteX123" fmla="*/ 8507 w 10000"/>
                <a:gd name="connsiteY123" fmla="*/ 4297 h 10000"/>
                <a:gd name="connsiteX124" fmla="*/ 8596 w 10000"/>
                <a:gd name="connsiteY124" fmla="*/ 4446 h 10000"/>
                <a:gd name="connsiteX125" fmla="*/ 8782 w 10000"/>
                <a:gd name="connsiteY125" fmla="*/ 4478 h 10000"/>
                <a:gd name="connsiteX126" fmla="*/ 9542 w 10000"/>
                <a:gd name="connsiteY126" fmla="*/ 4262 h 10000"/>
                <a:gd name="connsiteX127" fmla="*/ 9914 w 10000"/>
                <a:gd name="connsiteY127" fmla="*/ 3962 h 10000"/>
                <a:gd name="connsiteX128" fmla="*/ 10000 w 10000"/>
                <a:gd name="connsiteY128" fmla="*/ 3744 h 10000"/>
                <a:gd name="connsiteX129" fmla="*/ 9866 w 10000"/>
                <a:gd name="connsiteY129" fmla="*/ 3546 h 10000"/>
                <a:gd name="connsiteX130" fmla="*/ 9582 w 10000"/>
                <a:gd name="connsiteY130" fmla="*/ 3428 h 10000"/>
                <a:gd name="connsiteX131" fmla="*/ 9382 w 10000"/>
                <a:gd name="connsiteY131" fmla="*/ 3233 h 10000"/>
                <a:gd name="connsiteX132" fmla="*/ 9569 w 10000"/>
                <a:gd name="connsiteY132" fmla="*/ 3227 h 10000"/>
                <a:gd name="connsiteX133" fmla="*/ 9555 w 10000"/>
                <a:gd name="connsiteY133" fmla="*/ 3180 h 10000"/>
                <a:gd name="connsiteX134" fmla="*/ 9068 w 10000"/>
                <a:gd name="connsiteY134" fmla="*/ 3045 h 10000"/>
                <a:gd name="connsiteX135" fmla="*/ 9047 w 10000"/>
                <a:gd name="connsiteY135" fmla="*/ 2920 h 10000"/>
                <a:gd name="connsiteX136" fmla="*/ 8953 w 10000"/>
                <a:gd name="connsiteY136" fmla="*/ 2789 h 10000"/>
                <a:gd name="connsiteX137" fmla="*/ 8569 w 10000"/>
                <a:gd name="connsiteY137" fmla="*/ 2813 h 10000"/>
                <a:gd name="connsiteX138" fmla="*/ 8431 w 10000"/>
                <a:gd name="connsiteY138" fmla="*/ 2673 h 10000"/>
                <a:gd name="connsiteX139" fmla="*/ 8350 w 10000"/>
                <a:gd name="connsiteY139" fmla="*/ 2665 h 10000"/>
                <a:gd name="connsiteX140" fmla="*/ 8350 w 10000"/>
                <a:gd name="connsiteY140" fmla="*/ 2726 h 10000"/>
                <a:gd name="connsiteX141" fmla="*/ 8176 w 10000"/>
                <a:gd name="connsiteY141" fmla="*/ 2959 h 10000"/>
                <a:gd name="connsiteX142" fmla="*/ 7990 w 10000"/>
                <a:gd name="connsiteY142" fmla="*/ 3096 h 10000"/>
                <a:gd name="connsiteX143" fmla="*/ 7401 w 10000"/>
                <a:gd name="connsiteY143" fmla="*/ 3329 h 10000"/>
                <a:gd name="connsiteX144" fmla="*/ 7198 w 10000"/>
                <a:gd name="connsiteY144" fmla="*/ 3322 h 10000"/>
                <a:gd name="connsiteX145" fmla="*/ 6915 w 10000"/>
                <a:gd name="connsiteY145" fmla="*/ 3359 h 10000"/>
                <a:gd name="connsiteX146" fmla="*/ 6757 w 10000"/>
                <a:gd name="connsiteY146" fmla="*/ 3322 h 10000"/>
                <a:gd name="connsiteX147" fmla="*/ 6965 w 10000"/>
                <a:gd name="connsiteY147" fmla="*/ 3255 h 10000"/>
                <a:gd name="connsiteX148" fmla="*/ 7235 w 10000"/>
                <a:gd name="connsiteY148" fmla="*/ 3227 h 10000"/>
                <a:gd name="connsiteX149" fmla="*/ 7455 w 10000"/>
                <a:gd name="connsiteY149" fmla="*/ 3118 h 10000"/>
                <a:gd name="connsiteX150" fmla="*/ 7674 w 10000"/>
                <a:gd name="connsiteY150" fmla="*/ 3066 h 10000"/>
                <a:gd name="connsiteX151" fmla="*/ 8082 w 10000"/>
                <a:gd name="connsiteY151" fmla="*/ 2874 h 10000"/>
                <a:gd name="connsiteX152" fmla="*/ 8157 w 10000"/>
                <a:gd name="connsiteY152" fmla="*/ 2750 h 10000"/>
                <a:gd name="connsiteX153" fmla="*/ 8165 w 10000"/>
                <a:gd name="connsiteY153" fmla="*/ 2589 h 10000"/>
                <a:gd name="connsiteX154" fmla="*/ 7978 w 10000"/>
                <a:gd name="connsiteY154" fmla="*/ 2562 h 10000"/>
                <a:gd name="connsiteX155" fmla="*/ 8058 w 10000"/>
                <a:gd name="connsiteY155" fmla="*/ 2463 h 10000"/>
                <a:gd name="connsiteX156" fmla="*/ 8087 w 10000"/>
                <a:gd name="connsiteY156" fmla="*/ 2338 h 10000"/>
                <a:gd name="connsiteX157" fmla="*/ 8007 w 10000"/>
                <a:gd name="connsiteY157" fmla="*/ 2222 h 10000"/>
                <a:gd name="connsiteX158" fmla="*/ 6304 w 10000"/>
                <a:gd name="connsiteY158" fmla="*/ 1864 h 10000"/>
                <a:gd name="connsiteX159" fmla="*/ 5294 w 10000"/>
                <a:gd name="connsiteY159" fmla="*/ 1779 h 10000"/>
                <a:gd name="connsiteX160" fmla="*/ 4505 w 10000"/>
                <a:gd name="connsiteY160" fmla="*/ 1407 h 10000"/>
                <a:gd name="connsiteX161" fmla="*/ 3730 w 10000"/>
                <a:gd name="connsiteY161" fmla="*/ 962 h 10000"/>
                <a:gd name="connsiteX162" fmla="*/ 3154 w 10000"/>
                <a:gd name="connsiteY162" fmla="*/ 143 h 10000"/>
                <a:gd name="connsiteX163" fmla="*/ 2375 w 10000"/>
                <a:gd name="connsiteY163" fmla="*/ 0 h 10000"/>
                <a:gd name="connsiteX164" fmla="*/ 2226 w 10000"/>
                <a:gd name="connsiteY164" fmla="*/ 772 h 10000"/>
                <a:gd name="connsiteX165" fmla="*/ 2375 w 10000"/>
                <a:gd name="connsiteY165" fmla="*/ 967 h 10000"/>
                <a:gd name="connsiteX166" fmla="*/ 2791 w 10000"/>
                <a:gd name="connsiteY166" fmla="*/ 1185 h 10000"/>
                <a:gd name="connsiteX167" fmla="*/ 2808 w 10000"/>
                <a:gd name="connsiteY167" fmla="*/ 1446 h 10000"/>
                <a:gd name="connsiteX168" fmla="*/ 2632 w 10000"/>
                <a:gd name="connsiteY168" fmla="*/ 1665 h 10000"/>
                <a:gd name="connsiteX169" fmla="*/ 2375 w 10000"/>
                <a:gd name="connsiteY169" fmla="*/ 1798 h 10000"/>
                <a:gd name="connsiteX170" fmla="*/ 2039 w 10000"/>
                <a:gd name="connsiteY170" fmla="*/ 1851 h 10000"/>
                <a:gd name="connsiteX171" fmla="*/ 1950 w 10000"/>
                <a:gd name="connsiteY171" fmla="*/ 1929 h 10000"/>
                <a:gd name="connsiteX172" fmla="*/ 2148 w 10000"/>
                <a:gd name="connsiteY172" fmla="*/ 2110 h 10000"/>
                <a:gd name="connsiteX173" fmla="*/ 2261 w 10000"/>
                <a:gd name="connsiteY173" fmla="*/ 2541 h 10000"/>
                <a:gd name="connsiteX174" fmla="*/ 2005 w 10000"/>
                <a:gd name="connsiteY174" fmla="*/ 2910 h 10000"/>
                <a:gd name="connsiteX175" fmla="*/ 2094 w 10000"/>
                <a:gd name="connsiteY175" fmla="*/ 3022 h 10000"/>
                <a:gd name="connsiteX176" fmla="*/ 2012 w 10000"/>
                <a:gd name="connsiteY176" fmla="*/ 3214 h 10000"/>
                <a:gd name="connsiteX177" fmla="*/ 1850 w 10000"/>
                <a:gd name="connsiteY177" fmla="*/ 3349 h 10000"/>
                <a:gd name="connsiteX178" fmla="*/ 1199 w 10000"/>
                <a:gd name="connsiteY178" fmla="*/ 3450 h 10000"/>
                <a:gd name="connsiteX179" fmla="*/ 1158 w 10000"/>
                <a:gd name="connsiteY179" fmla="*/ 3629 h 10000"/>
                <a:gd name="connsiteX180" fmla="*/ 808 w 10000"/>
                <a:gd name="connsiteY180" fmla="*/ 3893 h 10000"/>
                <a:gd name="connsiteX181" fmla="*/ 854 w 10000"/>
                <a:gd name="connsiteY181" fmla="*/ 4276 h 10000"/>
                <a:gd name="connsiteX182" fmla="*/ 560 w 10000"/>
                <a:gd name="connsiteY182" fmla="*/ 4766 h 10000"/>
                <a:gd name="connsiteX183" fmla="*/ 358 w 10000"/>
                <a:gd name="connsiteY183" fmla="*/ 4822 h 10000"/>
                <a:gd name="connsiteX184" fmla="*/ 275 w 10000"/>
                <a:gd name="connsiteY184" fmla="*/ 4706 h 10000"/>
                <a:gd name="connsiteX185" fmla="*/ 174 w 10000"/>
                <a:gd name="connsiteY185" fmla="*/ 4882 h 10000"/>
                <a:gd name="connsiteX186" fmla="*/ 239 w 10000"/>
                <a:gd name="connsiteY186" fmla="*/ 4578 h 10000"/>
                <a:gd name="connsiteX187" fmla="*/ 197 w 10000"/>
                <a:gd name="connsiteY187" fmla="*/ 4521 h 10000"/>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3212 w 10000"/>
                <a:gd name="connsiteY47" fmla="*/ 9941 h 10000"/>
                <a:gd name="connsiteX48" fmla="*/ 3348 w 10000"/>
                <a:gd name="connsiteY48" fmla="*/ 9745 h 10000"/>
                <a:gd name="connsiteX49" fmla="*/ 3313 w 10000"/>
                <a:gd name="connsiteY49" fmla="*/ 9423 h 10000"/>
                <a:gd name="connsiteX50" fmla="*/ 3642 w 10000"/>
                <a:gd name="connsiteY50" fmla="*/ 9067 h 10000"/>
                <a:gd name="connsiteX51" fmla="*/ 3883 w 10000"/>
                <a:gd name="connsiteY51" fmla="*/ 9124 h 10000"/>
                <a:gd name="connsiteX52" fmla="*/ 4025 w 10000"/>
                <a:gd name="connsiteY52" fmla="*/ 8982 h 10000"/>
                <a:gd name="connsiteX53" fmla="*/ 4294 w 10000"/>
                <a:gd name="connsiteY53" fmla="*/ 8899 h 10000"/>
                <a:gd name="connsiteX54" fmla="*/ 4658 w 10000"/>
                <a:gd name="connsiteY54" fmla="*/ 8919 h 10000"/>
                <a:gd name="connsiteX55" fmla="*/ 4878 w 10000"/>
                <a:gd name="connsiteY55" fmla="*/ 8975 h 10000"/>
                <a:gd name="connsiteX56" fmla="*/ 5170 w 10000"/>
                <a:gd name="connsiteY56" fmla="*/ 8951 h 10000"/>
                <a:gd name="connsiteX57" fmla="*/ 5464 w 10000"/>
                <a:gd name="connsiteY57" fmla="*/ 9012 h 10000"/>
                <a:gd name="connsiteX58" fmla="*/ 5759 w 10000"/>
                <a:gd name="connsiteY58" fmla="*/ 9020 h 10000"/>
                <a:gd name="connsiteX59" fmla="*/ 6419 w 10000"/>
                <a:gd name="connsiteY59" fmla="*/ 8186 h 10000"/>
                <a:gd name="connsiteX60" fmla="*/ 6586 w 10000"/>
                <a:gd name="connsiteY60" fmla="*/ 7505 h 10000"/>
                <a:gd name="connsiteX61" fmla="*/ 6855 w 10000"/>
                <a:gd name="connsiteY61" fmla="*/ 7204 h 10000"/>
                <a:gd name="connsiteX62" fmla="*/ 6855 w 10000"/>
                <a:gd name="connsiteY62" fmla="*/ 7043 h 10000"/>
                <a:gd name="connsiteX63" fmla="*/ 6757 w 10000"/>
                <a:gd name="connsiteY63" fmla="*/ 6956 h 10000"/>
                <a:gd name="connsiteX64" fmla="*/ 6915 w 10000"/>
                <a:gd name="connsiteY64" fmla="*/ 6811 h 10000"/>
                <a:gd name="connsiteX65" fmla="*/ 6887 w 10000"/>
                <a:gd name="connsiteY65" fmla="*/ 6693 h 10000"/>
                <a:gd name="connsiteX66" fmla="*/ 6779 w 10000"/>
                <a:gd name="connsiteY66" fmla="*/ 6592 h 10000"/>
                <a:gd name="connsiteX67" fmla="*/ 6757 w 10000"/>
                <a:gd name="connsiteY67" fmla="*/ 6514 h 10000"/>
                <a:gd name="connsiteX68" fmla="*/ 6785 w 10000"/>
                <a:gd name="connsiteY68" fmla="*/ 6457 h 10000"/>
                <a:gd name="connsiteX69" fmla="*/ 6931 w 10000"/>
                <a:gd name="connsiteY69" fmla="*/ 6503 h 10000"/>
                <a:gd name="connsiteX70" fmla="*/ 7045 w 10000"/>
                <a:gd name="connsiteY70" fmla="*/ 6500 h 10000"/>
                <a:gd name="connsiteX71" fmla="*/ 6983 w 10000"/>
                <a:gd name="connsiteY71" fmla="*/ 6404 h 10000"/>
                <a:gd name="connsiteX72" fmla="*/ 7003 w 10000"/>
                <a:gd name="connsiteY72" fmla="*/ 6346 h 10000"/>
                <a:gd name="connsiteX73" fmla="*/ 7089 w 10000"/>
                <a:gd name="connsiteY73" fmla="*/ 6265 h 10000"/>
                <a:gd name="connsiteX74" fmla="*/ 7074 w 10000"/>
                <a:gd name="connsiteY74" fmla="*/ 6198 h 10000"/>
                <a:gd name="connsiteX75" fmla="*/ 7152 w 10000"/>
                <a:gd name="connsiteY75" fmla="*/ 5971 h 10000"/>
                <a:gd name="connsiteX76" fmla="*/ 7130 w 10000"/>
                <a:gd name="connsiteY76" fmla="*/ 5902 h 10000"/>
                <a:gd name="connsiteX77" fmla="*/ 6729 w 10000"/>
                <a:gd name="connsiteY77" fmla="*/ 5729 h 10000"/>
                <a:gd name="connsiteX78" fmla="*/ 6785 w 10000"/>
                <a:gd name="connsiteY78" fmla="*/ 5723 h 10000"/>
                <a:gd name="connsiteX79" fmla="*/ 6998 w 10000"/>
                <a:gd name="connsiteY79" fmla="*/ 5768 h 10000"/>
                <a:gd name="connsiteX80" fmla="*/ 7230 w 10000"/>
                <a:gd name="connsiteY80" fmla="*/ 5751 h 10000"/>
                <a:gd name="connsiteX81" fmla="*/ 7295 w 10000"/>
                <a:gd name="connsiteY81" fmla="*/ 5689 h 10000"/>
                <a:gd name="connsiteX82" fmla="*/ 7074 w 10000"/>
                <a:gd name="connsiteY82" fmla="*/ 5571 h 10000"/>
                <a:gd name="connsiteX83" fmla="*/ 6414 w 10000"/>
                <a:gd name="connsiteY83" fmla="*/ 5495 h 10000"/>
                <a:gd name="connsiteX84" fmla="*/ 6458 w 10000"/>
                <a:gd name="connsiteY84" fmla="*/ 5459 h 10000"/>
                <a:gd name="connsiteX85" fmla="*/ 6998 w 10000"/>
                <a:gd name="connsiteY85" fmla="*/ 5434 h 10000"/>
                <a:gd name="connsiteX86" fmla="*/ 7295 w 10000"/>
                <a:gd name="connsiteY86" fmla="*/ 5506 h 10000"/>
                <a:gd name="connsiteX87" fmla="*/ 7466 w 10000"/>
                <a:gd name="connsiteY87" fmla="*/ 5459 h 10000"/>
                <a:gd name="connsiteX88" fmla="*/ 7529 w 10000"/>
                <a:gd name="connsiteY88" fmla="*/ 5337 h 10000"/>
                <a:gd name="connsiteX89" fmla="*/ 7840 w 10000"/>
                <a:gd name="connsiteY89" fmla="*/ 5337 h 10000"/>
                <a:gd name="connsiteX90" fmla="*/ 8261 w 10000"/>
                <a:gd name="connsiteY90" fmla="*/ 5093 h 10000"/>
                <a:gd name="connsiteX91" fmla="*/ 8275 w 10000"/>
                <a:gd name="connsiteY91" fmla="*/ 4928 h 10000"/>
                <a:gd name="connsiteX92" fmla="*/ 8453 w 10000"/>
                <a:gd name="connsiteY92" fmla="*/ 4965 h 10000"/>
                <a:gd name="connsiteX93" fmla="*/ 8446 w 10000"/>
                <a:gd name="connsiteY93" fmla="*/ 5130 h 10000"/>
                <a:gd name="connsiteX94" fmla="*/ 8727 w 10000"/>
                <a:gd name="connsiteY94" fmla="*/ 5118 h 10000"/>
                <a:gd name="connsiteX95" fmla="*/ 8913 w 10000"/>
                <a:gd name="connsiteY95" fmla="*/ 4948 h 10000"/>
                <a:gd name="connsiteX96" fmla="*/ 9258 w 10000"/>
                <a:gd name="connsiteY96" fmla="*/ 4795 h 10000"/>
                <a:gd name="connsiteX97" fmla="*/ 9203 w 10000"/>
                <a:gd name="connsiteY97" fmla="*/ 4621 h 10000"/>
                <a:gd name="connsiteX98" fmla="*/ 9306 w 10000"/>
                <a:gd name="connsiteY98" fmla="*/ 4690 h 10000"/>
                <a:gd name="connsiteX99" fmla="*/ 9464 w 10000"/>
                <a:gd name="connsiteY99" fmla="*/ 4690 h 10000"/>
                <a:gd name="connsiteX100" fmla="*/ 9464 w 10000"/>
                <a:gd name="connsiteY100" fmla="*/ 4609 h 10000"/>
                <a:gd name="connsiteX101" fmla="*/ 9611 w 10000"/>
                <a:gd name="connsiteY101" fmla="*/ 4550 h 10000"/>
                <a:gd name="connsiteX102" fmla="*/ 9592 w 10000"/>
                <a:gd name="connsiteY102" fmla="*/ 4487 h 10000"/>
                <a:gd name="connsiteX103" fmla="*/ 8350 w 10000"/>
                <a:gd name="connsiteY103" fmla="*/ 4611 h 10000"/>
                <a:gd name="connsiteX104" fmla="*/ 8058 w 10000"/>
                <a:gd name="connsiteY104" fmla="*/ 4576 h 10000"/>
                <a:gd name="connsiteX105" fmla="*/ 7942 w 10000"/>
                <a:gd name="connsiteY105" fmla="*/ 4621 h 10000"/>
                <a:gd name="connsiteX106" fmla="*/ 7903 w 10000"/>
                <a:gd name="connsiteY106" fmla="*/ 4532 h 10000"/>
                <a:gd name="connsiteX107" fmla="*/ 7765 w 10000"/>
                <a:gd name="connsiteY107" fmla="*/ 4456 h 10000"/>
                <a:gd name="connsiteX108" fmla="*/ 7213 w 10000"/>
                <a:gd name="connsiteY108" fmla="*/ 4297 h 10000"/>
                <a:gd name="connsiteX109" fmla="*/ 6887 w 10000"/>
                <a:gd name="connsiteY109" fmla="*/ 4324 h 10000"/>
                <a:gd name="connsiteX110" fmla="*/ 6757 w 10000"/>
                <a:gd name="connsiteY110" fmla="*/ 4278 h 10000"/>
                <a:gd name="connsiteX111" fmla="*/ 6894 w 10000"/>
                <a:gd name="connsiteY111" fmla="*/ 4240 h 10000"/>
                <a:gd name="connsiteX112" fmla="*/ 6998 w 10000"/>
                <a:gd name="connsiteY112" fmla="*/ 4156 h 10000"/>
                <a:gd name="connsiteX113" fmla="*/ 7152 w 10000"/>
                <a:gd name="connsiteY113" fmla="*/ 4182 h 10000"/>
                <a:gd name="connsiteX114" fmla="*/ 7335 w 10000"/>
                <a:gd name="connsiteY114" fmla="*/ 4161 h 10000"/>
                <a:gd name="connsiteX115" fmla="*/ 7611 w 10000"/>
                <a:gd name="connsiteY115" fmla="*/ 4188 h 10000"/>
                <a:gd name="connsiteX116" fmla="*/ 7645 w 10000"/>
                <a:gd name="connsiteY116" fmla="*/ 4177 h 10000"/>
                <a:gd name="connsiteX117" fmla="*/ 7859 w 10000"/>
                <a:gd name="connsiteY117" fmla="*/ 4305 h 10000"/>
                <a:gd name="connsiteX118" fmla="*/ 8017 w 10000"/>
                <a:gd name="connsiteY118" fmla="*/ 4257 h 10000"/>
                <a:gd name="connsiteX119" fmla="*/ 8032 w 10000"/>
                <a:gd name="connsiteY119" fmla="*/ 4214 h 10000"/>
                <a:gd name="connsiteX120" fmla="*/ 8176 w 10000"/>
                <a:gd name="connsiteY120" fmla="*/ 4290 h 10000"/>
                <a:gd name="connsiteX121" fmla="*/ 8369 w 10000"/>
                <a:gd name="connsiteY121" fmla="*/ 4331 h 10000"/>
                <a:gd name="connsiteX122" fmla="*/ 8446 w 10000"/>
                <a:gd name="connsiteY122" fmla="*/ 4255 h 10000"/>
                <a:gd name="connsiteX123" fmla="*/ 8507 w 10000"/>
                <a:gd name="connsiteY123" fmla="*/ 4297 h 10000"/>
                <a:gd name="connsiteX124" fmla="*/ 8596 w 10000"/>
                <a:gd name="connsiteY124" fmla="*/ 4446 h 10000"/>
                <a:gd name="connsiteX125" fmla="*/ 8782 w 10000"/>
                <a:gd name="connsiteY125" fmla="*/ 4478 h 10000"/>
                <a:gd name="connsiteX126" fmla="*/ 9542 w 10000"/>
                <a:gd name="connsiteY126" fmla="*/ 4262 h 10000"/>
                <a:gd name="connsiteX127" fmla="*/ 9914 w 10000"/>
                <a:gd name="connsiteY127" fmla="*/ 3962 h 10000"/>
                <a:gd name="connsiteX128" fmla="*/ 10000 w 10000"/>
                <a:gd name="connsiteY128" fmla="*/ 3744 h 10000"/>
                <a:gd name="connsiteX129" fmla="*/ 9866 w 10000"/>
                <a:gd name="connsiteY129" fmla="*/ 3546 h 10000"/>
                <a:gd name="connsiteX130" fmla="*/ 9582 w 10000"/>
                <a:gd name="connsiteY130" fmla="*/ 3428 h 10000"/>
                <a:gd name="connsiteX131" fmla="*/ 9382 w 10000"/>
                <a:gd name="connsiteY131" fmla="*/ 3233 h 10000"/>
                <a:gd name="connsiteX132" fmla="*/ 9569 w 10000"/>
                <a:gd name="connsiteY132" fmla="*/ 3227 h 10000"/>
                <a:gd name="connsiteX133" fmla="*/ 9555 w 10000"/>
                <a:gd name="connsiteY133" fmla="*/ 3180 h 10000"/>
                <a:gd name="connsiteX134" fmla="*/ 9068 w 10000"/>
                <a:gd name="connsiteY134" fmla="*/ 3045 h 10000"/>
                <a:gd name="connsiteX135" fmla="*/ 9047 w 10000"/>
                <a:gd name="connsiteY135" fmla="*/ 2920 h 10000"/>
                <a:gd name="connsiteX136" fmla="*/ 8953 w 10000"/>
                <a:gd name="connsiteY136" fmla="*/ 2789 h 10000"/>
                <a:gd name="connsiteX137" fmla="*/ 8569 w 10000"/>
                <a:gd name="connsiteY137" fmla="*/ 2813 h 10000"/>
                <a:gd name="connsiteX138" fmla="*/ 8431 w 10000"/>
                <a:gd name="connsiteY138" fmla="*/ 2673 h 10000"/>
                <a:gd name="connsiteX139" fmla="*/ 8350 w 10000"/>
                <a:gd name="connsiteY139" fmla="*/ 2665 h 10000"/>
                <a:gd name="connsiteX140" fmla="*/ 8350 w 10000"/>
                <a:gd name="connsiteY140" fmla="*/ 2726 h 10000"/>
                <a:gd name="connsiteX141" fmla="*/ 8176 w 10000"/>
                <a:gd name="connsiteY141" fmla="*/ 2959 h 10000"/>
                <a:gd name="connsiteX142" fmla="*/ 7990 w 10000"/>
                <a:gd name="connsiteY142" fmla="*/ 3096 h 10000"/>
                <a:gd name="connsiteX143" fmla="*/ 7401 w 10000"/>
                <a:gd name="connsiteY143" fmla="*/ 3329 h 10000"/>
                <a:gd name="connsiteX144" fmla="*/ 7198 w 10000"/>
                <a:gd name="connsiteY144" fmla="*/ 3322 h 10000"/>
                <a:gd name="connsiteX145" fmla="*/ 6915 w 10000"/>
                <a:gd name="connsiteY145" fmla="*/ 3359 h 10000"/>
                <a:gd name="connsiteX146" fmla="*/ 6757 w 10000"/>
                <a:gd name="connsiteY146" fmla="*/ 3322 h 10000"/>
                <a:gd name="connsiteX147" fmla="*/ 6965 w 10000"/>
                <a:gd name="connsiteY147" fmla="*/ 3255 h 10000"/>
                <a:gd name="connsiteX148" fmla="*/ 7235 w 10000"/>
                <a:gd name="connsiteY148" fmla="*/ 3227 h 10000"/>
                <a:gd name="connsiteX149" fmla="*/ 7455 w 10000"/>
                <a:gd name="connsiteY149" fmla="*/ 3118 h 10000"/>
                <a:gd name="connsiteX150" fmla="*/ 7674 w 10000"/>
                <a:gd name="connsiteY150" fmla="*/ 3066 h 10000"/>
                <a:gd name="connsiteX151" fmla="*/ 8082 w 10000"/>
                <a:gd name="connsiteY151" fmla="*/ 2874 h 10000"/>
                <a:gd name="connsiteX152" fmla="*/ 8157 w 10000"/>
                <a:gd name="connsiteY152" fmla="*/ 2750 h 10000"/>
                <a:gd name="connsiteX153" fmla="*/ 8165 w 10000"/>
                <a:gd name="connsiteY153" fmla="*/ 2589 h 10000"/>
                <a:gd name="connsiteX154" fmla="*/ 7978 w 10000"/>
                <a:gd name="connsiteY154" fmla="*/ 2562 h 10000"/>
                <a:gd name="connsiteX155" fmla="*/ 8058 w 10000"/>
                <a:gd name="connsiteY155" fmla="*/ 2463 h 10000"/>
                <a:gd name="connsiteX156" fmla="*/ 8087 w 10000"/>
                <a:gd name="connsiteY156" fmla="*/ 2338 h 10000"/>
                <a:gd name="connsiteX157" fmla="*/ 8007 w 10000"/>
                <a:gd name="connsiteY157" fmla="*/ 2222 h 10000"/>
                <a:gd name="connsiteX158" fmla="*/ 7088 w 10000"/>
                <a:gd name="connsiteY158" fmla="*/ 2011 h 10000"/>
                <a:gd name="connsiteX159" fmla="*/ 6304 w 10000"/>
                <a:gd name="connsiteY159" fmla="*/ 1864 h 10000"/>
                <a:gd name="connsiteX160" fmla="*/ 5294 w 10000"/>
                <a:gd name="connsiteY160" fmla="*/ 1779 h 10000"/>
                <a:gd name="connsiteX161" fmla="*/ 4505 w 10000"/>
                <a:gd name="connsiteY161" fmla="*/ 1407 h 10000"/>
                <a:gd name="connsiteX162" fmla="*/ 3730 w 10000"/>
                <a:gd name="connsiteY162" fmla="*/ 962 h 10000"/>
                <a:gd name="connsiteX163" fmla="*/ 3154 w 10000"/>
                <a:gd name="connsiteY163" fmla="*/ 143 h 10000"/>
                <a:gd name="connsiteX164" fmla="*/ 2375 w 10000"/>
                <a:gd name="connsiteY164" fmla="*/ 0 h 10000"/>
                <a:gd name="connsiteX165" fmla="*/ 2226 w 10000"/>
                <a:gd name="connsiteY165" fmla="*/ 772 h 10000"/>
                <a:gd name="connsiteX166" fmla="*/ 2375 w 10000"/>
                <a:gd name="connsiteY166" fmla="*/ 967 h 10000"/>
                <a:gd name="connsiteX167" fmla="*/ 2791 w 10000"/>
                <a:gd name="connsiteY167" fmla="*/ 1185 h 10000"/>
                <a:gd name="connsiteX168" fmla="*/ 2808 w 10000"/>
                <a:gd name="connsiteY168" fmla="*/ 1446 h 10000"/>
                <a:gd name="connsiteX169" fmla="*/ 2632 w 10000"/>
                <a:gd name="connsiteY169" fmla="*/ 1665 h 10000"/>
                <a:gd name="connsiteX170" fmla="*/ 2375 w 10000"/>
                <a:gd name="connsiteY170" fmla="*/ 1798 h 10000"/>
                <a:gd name="connsiteX171" fmla="*/ 2039 w 10000"/>
                <a:gd name="connsiteY171" fmla="*/ 1851 h 10000"/>
                <a:gd name="connsiteX172" fmla="*/ 1950 w 10000"/>
                <a:gd name="connsiteY172" fmla="*/ 1929 h 10000"/>
                <a:gd name="connsiteX173" fmla="*/ 2148 w 10000"/>
                <a:gd name="connsiteY173" fmla="*/ 2110 h 10000"/>
                <a:gd name="connsiteX174" fmla="*/ 2261 w 10000"/>
                <a:gd name="connsiteY174" fmla="*/ 2541 h 10000"/>
                <a:gd name="connsiteX175" fmla="*/ 2005 w 10000"/>
                <a:gd name="connsiteY175" fmla="*/ 2910 h 10000"/>
                <a:gd name="connsiteX176" fmla="*/ 2094 w 10000"/>
                <a:gd name="connsiteY176" fmla="*/ 3022 h 10000"/>
                <a:gd name="connsiteX177" fmla="*/ 2012 w 10000"/>
                <a:gd name="connsiteY177" fmla="*/ 3214 h 10000"/>
                <a:gd name="connsiteX178" fmla="*/ 1850 w 10000"/>
                <a:gd name="connsiteY178" fmla="*/ 3349 h 10000"/>
                <a:gd name="connsiteX179" fmla="*/ 1199 w 10000"/>
                <a:gd name="connsiteY179" fmla="*/ 3450 h 10000"/>
                <a:gd name="connsiteX180" fmla="*/ 1158 w 10000"/>
                <a:gd name="connsiteY180" fmla="*/ 3629 h 10000"/>
                <a:gd name="connsiteX181" fmla="*/ 808 w 10000"/>
                <a:gd name="connsiteY181" fmla="*/ 3893 h 10000"/>
                <a:gd name="connsiteX182" fmla="*/ 854 w 10000"/>
                <a:gd name="connsiteY182" fmla="*/ 4276 h 10000"/>
                <a:gd name="connsiteX183" fmla="*/ 560 w 10000"/>
                <a:gd name="connsiteY183" fmla="*/ 4766 h 10000"/>
                <a:gd name="connsiteX184" fmla="*/ 358 w 10000"/>
                <a:gd name="connsiteY184" fmla="*/ 4822 h 10000"/>
                <a:gd name="connsiteX185" fmla="*/ 275 w 10000"/>
                <a:gd name="connsiteY185" fmla="*/ 4706 h 10000"/>
                <a:gd name="connsiteX186" fmla="*/ 174 w 10000"/>
                <a:gd name="connsiteY186" fmla="*/ 4882 h 10000"/>
                <a:gd name="connsiteX187" fmla="*/ 239 w 10000"/>
                <a:gd name="connsiteY187" fmla="*/ 4578 h 10000"/>
                <a:gd name="connsiteX188" fmla="*/ 197 w 10000"/>
                <a:gd name="connsiteY188" fmla="*/ 4521 h 10000"/>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3212 w 10000"/>
                <a:gd name="connsiteY47" fmla="*/ 9941 h 10000"/>
                <a:gd name="connsiteX48" fmla="*/ 3348 w 10000"/>
                <a:gd name="connsiteY48" fmla="*/ 9745 h 10000"/>
                <a:gd name="connsiteX49" fmla="*/ 3313 w 10000"/>
                <a:gd name="connsiteY49" fmla="*/ 9423 h 10000"/>
                <a:gd name="connsiteX50" fmla="*/ 3642 w 10000"/>
                <a:gd name="connsiteY50" fmla="*/ 9067 h 10000"/>
                <a:gd name="connsiteX51" fmla="*/ 3883 w 10000"/>
                <a:gd name="connsiteY51" fmla="*/ 9124 h 10000"/>
                <a:gd name="connsiteX52" fmla="*/ 4025 w 10000"/>
                <a:gd name="connsiteY52" fmla="*/ 8982 h 10000"/>
                <a:gd name="connsiteX53" fmla="*/ 4294 w 10000"/>
                <a:gd name="connsiteY53" fmla="*/ 8899 h 10000"/>
                <a:gd name="connsiteX54" fmla="*/ 4658 w 10000"/>
                <a:gd name="connsiteY54" fmla="*/ 8919 h 10000"/>
                <a:gd name="connsiteX55" fmla="*/ 4878 w 10000"/>
                <a:gd name="connsiteY55" fmla="*/ 8975 h 10000"/>
                <a:gd name="connsiteX56" fmla="*/ 5170 w 10000"/>
                <a:gd name="connsiteY56" fmla="*/ 8951 h 10000"/>
                <a:gd name="connsiteX57" fmla="*/ 5464 w 10000"/>
                <a:gd name="connsiteY57" fmla="*/ 9012 h 10000"/>
                <a:gd name="connsiteX58" fmla="*/ 5759 w 10000"/>
                <a:gd name="connsiteY58" fmla="*/ 9020 h 10000"/>
                <a:gd name="connsiteX59" fmla="*/ 6419 w 10000"/>
                <a:gd name="connsiteY59" fmla="*/ 8186 h 10000"/>
                <a:gd name="connsiteX60" fmla="*/ 6586 w 10000"/>
                <a:gd name="connsiteY60" fmla="*/ 7505 h 10000"/>
                <a:gd name="connsiteX61" fmla="*/ 6855 w 10000"/>
                <a:gd name="connsiteY61" fmla="*/ 7204 h 10000"/>
                <a:gd name="connsiteX62" fmla="*/ 6855 w 10000"/>
                <a:gd name="connsiteY62" fmla="*/ 7043 h 10000"/>
                <a:gd name="connsiteX63" fmla="*/ 6757 w 10000"/>
                <a:gd name="connsiteY63" fmla="*/ 6956 h 10000"/>
                <a:gd name="connsiteX64" fmla="*/ 6915 w 10000"/>
                <a:gd name="connsiteY64" fmla="*/ 6811 h 10000"/>
                <a:gd name="connsiteX65" fmla="*/ 6887 w 10000"/>
                <a:gd name="connsiteY65" fmla="*/ 6693 h 10000"/>
                <a:gd name="connsiteX66" fmla="*/ 6779 w 10000"/>
                <a:gd name="connsiteY66" fmla="*/ 6592 h 10000"/>
                <a:gd name="connsiteX67" fmla="*/ 6757 w 10000"/>
                <a:gd name="connsiteY67" fmla="*/ 6514 h 10000"/>
                <a:gd name="connsiteX68" fmla="*/ 6785 w 10000"/>
                <a:gd name="connsiteY68" fmla="*/ 6457 h 10000"/>
                <a:gd name="connsiteX69" fmla="*/ 6931 w 10000"/>
                <a:gd name="connsiteY69" fmla="*/ 6503 h 10000"/>
                <a:gd name="connsiteX70" fmla="*/ 7045 w 10000"/>
                <a:gd name="connsiteY70" fmla="*/ 6500 h 10000"/>
                <a:gd name="connsiteX71" fmla="*/ 6983 w 10000"/>
                <a:gd name="connsiteY71" fmla="*/ 6404 h 10000"/>
                <a:gd name="connsiteX72" fmla="*/ 7003 w 10000"/>
                <a:gd name="connsiteY72" fmla="*/ 6346 h 10000"/>
                <a:gd name="connsiteX73" fmla="*/ 7089 w 10000"/>
                <a:gd name="connsiteY73" fmla="*/ 6265 h 10000"/>
                <a:gd name="connsiteX74" fmla="*/ 7074 w 10000"/>
                <a:gd name="connsiteY74" fmla="*/ 6198 h 10000"/>
                <a:gd name="connsiteX75" fmla="*/ 7152 w 10000"/>
                <a:gd name="connsiteY75" fmla="*/ 5971 h 10000"/>
                <a:gd name="connsiteX76" fmla="*/ 7130 w 10000"/>
                <a:gd name="connsiteY76" fmla="*/ 5902 h 10000"/>
                <a:gd name="connsiteX77" fmla="*/ 6729 w 10000"/>
                <a:gd name="connsiteY77" fmla="*/ 5729 h 10000"/>
                <a:gd name="connsiteX78" fmla="*/ 6785 w 10000"/>
                <a:gd name="connsiteY78" fmla="*/ 5723 h 10000"/>
                <a:gd name="connsiteX79" fmla="*/ 6998 w 10000"/>
                <a:gd name="connsiteY79" fmla="*/ 5768 h 10000"/>
                <a:gd name="connsiteX80" fmla="*/ 7230 w 10000"/>
                <a:gd name="connsiteY80" fmla="*/ 5751 h 10000"/>
                <a:gd name="connsiteX81" fmla="*/ 7295 w 10000"/>
                <a:gd name="connsiteY81" fmla="*/ 5689 h 10000"/>
                <a:gd name="connsiteX82" fmla="*/ 7074 w 10000"/>
                <a:gd name="connsiteY82" fmla="*/ 5571 h 10000"/>
                <a:gd name="connsiteX83" fmla="*/ 6414 w 10000"/>
                <a:gd name="connsiteY83" fmla="*/ 5495 h 10000"/>
                <a:gd name="connsiteX84" fmla="*/ 6458 w 10000"/>
                <a:gd name="connsiteY84" fmla="*/ 5459 h 10000"/>
                <a:gd name="connsiteX85" fmla="*/ 6998 w 10000"/>
                <a:gd name="connsiteY85" fmla="*/ 5434 h 10000"/>
                <a:gd name="connsiteX86" fmla="*/ 7295 w 10000"/>
                <a:gd name="connsiteY86" fmla="*/ 5506 h 10000"/>
                <a:gd name="connsiteX87" fmla="*/ 7466 w 10000"/>
                <a:gd name="connsiteY87" fmla="*/ 5459 h 10000"/>
                <a:gd name="connsiteX88" fmla="*/ 7529 w 10000"/>
                <a:gd name="connsiteY88" fmla="*/ 5337 h 10000"/>
                <a:gd name="connsiteX89" fmla="*/ 7840 w 10000"/>
                <a:gd name="connsiteY89" fmla="*/ 5337 h 10000"/>
                <a:gd name="connsiteX90" fmla="*/ 8261 w 10000"/>
                <a:gd name="connsiteY90" fmla="*/ 5093 h 10000"/>
                <a:gd name="connsiteX91" fmla="*/ 8275 w 10000"/>
                <a:gd name="connsiteY91" fmla="*/ 4928 h 10000"/>
                <a:gd name="connsiteX92" fmla="*/ 8453 w 10000"/>
                <a:gd name="connsiteY92" fmla="*/ 4965 h 10000"/>
                <a:gd name="connsiteX93" fmla="*/ 8446 w 10000"/>
                <a:gd name="connsiteY93" fmla="*/ 5130 h 10000"/>
                <a:gd name="connsiteX94" fmla="*/ 8727 w 10000"/>
                <a:gd name="connsiteY94" fmla="*/ 5118 h 10000"/>
                <a:gd name="connsiteX95" fmla="*/ 8913 w 10000"/>
                <a:gd name="connsiteY95" fmla="*/ 4948 h 10000"/>
                <a:gd name="connsiteX96" fmla="*/ 9258 w 10000"/>
                <a:gd name="connsiteY96" fmla="*/ 4795 h 10000"/>
                <a:gd name="connsiteX97" fmla="*/ 9203 w 10000"/>
                <a:gd name="connsiteY97" fmla="*/ 4621 h 10000"/>
                <a:gd name="connsiteX98" fmla="*/ 9306 w 10000"/>
                <a:gd name="connsiteY98" fmla="*/ 4690 h 10000"/>
                <a:gd name="connsiteX99" fmla="*/ 9464 w 10000"/>
                <a:gd name="connsiteY99" fmla="*/ 4690 h 10000"/>
                <a:gd name="connsiteX100" fmla="*/ 9464 w 10000"/>
                <a:gd name="connsiteY100" fmla="*/ 4609 h 10000"/>
                <a:gd name="connsiteX101" fmla="*/ 9611 w 10000"/>
                <a:gd name="connsiteY101" fmla="*/ 4550 h 10000"/>
                <a:gd name="connsiteX102" fmla="*/ 9592 w 10000"/>
                <a:gd name="connsiteY102" fmla="*/ 4487 h 10000"/>
                <a:gd name="connsiteX103" fmla="*/ 8350 w 10000"/>
                <a:gd name="connsiteY103" fmla="*/ 4611 h 10000"/>
                <a:gd name="connsiteX104" fmla="*/ 8058 w 10000"/>
                <a:gd name="connsiteY104" fmla="*/ 4576 h 10000"/>
                <a:gd name="connsiteX105" fmla="*/ 7942 w 10000"/>
                <a:gd name="connsiteY105" fmla="*/ 4621 h 10000"/>
                <a:gd name="connsiteX106" fmla="*/ 7903 w 10000"/>
                <a:gd name="connsiteY106" fmla="*/ 4532 h 10000"/>
                <a:gd name="connsiteX107" fmla="*/ 7765 w 10000"/>
                <a:gd name="connsiteY107" fmla="*/ 4456 h 10000"/>
                <a:gd name="connsiteX108" fmla="*/ 7213 w 10000"/>
                <a:gd name="connsiteY108" fmla="*/ 4297 h 10000"/>
                <a:gd name="connsiteX109" fmla="*/ 6887 w 10000"/>
                <a:gd name="connsiteY109" fmla="*/ 4324 h 10000"/>
                <a:gd name="connsiteX110" fmla="*/ 6757 w 10000"/>
                <a:gd name="connsiteY110" fmla="*/ 4278 h 10000"/>
                <a:gd name="connsiteX111" fmla="*/ 6894 w 10000"/>
                <a:gd name="connsiteY111" fmla="*/ 4240 h 10000"/>
                <a:gd name="connsiteX112" fmla="*/ 6998 w 10000"/>
                <a:gd name="connsiteY112" fmla="*/ 4156 h 10000"/>
                <a:gd name="connsiteX113" fmla="*/ 7152 w 10000"/>
                <a:gd name="connsiteY113" fmla="*/ 4182 h 10000"/>
                <a:gd name="connsiteX114" fmla="*/ 7335 w 10000"/>
                <a:gd name="connsiteY114" fmla="*/ 4161 h 10000"/>
                <a:gd name="connsiteX115" fmla="*/ 7611 w 10000"/>
                <a:gd name="connsiteY115" fmla="*/ 4188 h 10000"/>
                <a:gd name="connsiteX116" fmla="*/ 7645 w 10000"/>
                <a:gd name="connsiteY116" fmla="*/ 4177 h 10000"/>
                <a:gd name="connsiteX117" fmla="*/ 7859 w 10000"/>
                <a:gd name="connsiteY117" fmla="*/ 4305 h 10000"/>
                <a:gd name="connsiteX118" fmla="*/ 8017 w 10000"/>
                <a:gd name="connsiteY118" fmla="*/ 4257 h 10000"/>
                <a:gd name="connsiteX119" fmla="*/ 8032 w 10000"/>
                <a:gd name="connsiteY119" fmla="*/ 4214 h 10000"/>
                <a:gd name="connsiteX120" fmla="*/ 8176 w 10000"/>
                <a:gd name="connsiteY120" fmla="*/ 4290 h 10000"/>
                <a:gd name="connsiteX121" fmla="*/ 8369 w 10000"/>
                <a:gd name="connsiteY121" fmla="*/ 4331 h 10000"/>
                <a:gd name="connsiteX122" fmla="*/ 8446 w 10000"/>
                <a:gd name="connsiteY122" fmla="*/ 4255 h 10000"/>
                <a:gd name="connsiteX123" fmla="*/ 8507 w 10000"/>
                <a:gd name="connsiteY123" fmla="*/ 4297 h 10000"/>
                <a:gd name="connsiteX124" fmla="*/ 8596 w 10000"/>
                <a:gd name="connsiteY124" fmla="*/ 4446 h 10000"/>
                <a:gd name="connsiteX125" fmla="*/ 8782 w 10000"/>
                <a:gd name="connsiteY125" fmla="*/ 4478 h 10000"/>
                <a:gd name="connsiteX126" fmla="*/ 9542 w 10000"/>
                <a:gd name="connsiteY126" fmla="*/ 4262 h 10000"/>
                <a:gd name="connsiteX127" fmla="*/ 9914 w 10000"/>
                <a:gd name="connsiteY127" fmla="*/ 3962 h 10000"/>
                <a:gd name="connsiteX128" fmla="*/ 10000 w 10000"/>
                <a:gd name="connsiteY128" fmla="*/ 3744 h 10000"/>
                <a:gd name="connsiteX129" fmla="*/ 9866 w 10000"/>
                <a:gd name="connsiteY129" fmla="*/ 3546 h 10000"/>
                <a:gd name="connsiteX130" fmla="*/ 9582 w 10000"/>
                <a:gd name="connsiteY130" fmla="*/ 3428 h 10000"/>
                <a:gd name="connsiteX131" fmla="*/ 9382 w 10000"/>
                <a:gd name="connsiteY131" fmla="*/ 3233 h 10000"/>
                <a:gd name="connsiteX132" fmla="*/ 9569 w 10000"/>
                <a:gd name="connsiteY132" fmla="*/ 3227 h 10000"/>
                <a:gd name="connsiteX133" fmla="*/ 9555 w 10000"/>
                <a:gd name="connsiteY133" fmla="*/ 3180 h 10000"/>
                <a:gd name="connsiteX134" fmla="*/ 9068 w 10000"/>
                <a:gd name="connsiteY134" fmla="*/ 3045 h 10000"/>
                <a:gd name="connsiteX135" fmla="*/ 9047 w 10000"/>
                <a:gd name="connsiteY135" fmla="*/ 2920 h 10000"/>
                <a:gd name="connsiteX136" fmla="*/ 8953 w 10000"/>
                <a:gd name="connsiteY136" fmla="*/ 2789 h 10000"/>
                <a:gd name="connsiteX137" fmla="*/ 8569 w 10000"/>
                <a:gd name="connsiteY137" fmla="*/ 2813 h 10000"/>
                <a:gd name="connsiteX138" fmla="*/ 8431 w 10000"/>
                <a:gd name="connsiteY138" fmla="*/ 2673 h 10000"/>
                <a:gd name="connsiteX139" fmla="*/ 8350 w 10000"/>
                <a:gd name="connsiteY139" fmla="*/ 2665 h 10000"/>
                <a:gd name="connsiteX140" fmla="*/ 8350 w 10000"/>
                <a:gd name="connsiteY140" fmla="*/ 2726 h 10000"/>
                <a:gd name="connsiteX141" fmla="*/ 8176 w 10000"/>
                <a:gd name="connsiteY141" fmla="*/ 2959 h 10000"/>
                <a:gd name="connsiteX142" fmla="*/ 7990 w 10000"/>
                <a:gd name="connsiteY142" fmla="*/ 3096 h 10000"/>
                <a:gd name="connsiteX143" fmla="*/ 7401 w 10000"/>
                <a:gd name="connsiteY143" fmla="*/ 3329 h 10000"/>
                <a:gd name="connsiteX144" fmla="*/ 7198 w 10000"/>
                <a:gd name="connsiteY144" fmla="*/ 3322 h 10000"/>
                <a:gd name="connsiteX145" fmla="*/ 6915 w 10000"/>
                <a:gd name="connsiteY145" fmla="*/ 3359 h 10000"/>
                <a:gd name="connsiteX146" fmla="*/ 6757 w 10000"/>
                <a:gd name="connsiteY146" fmla="*/ 3322 h 10000"/>
                <a:gd name="connsiteX147" fmla="*/ 6965 w 10000"/>
                <a:gd name="connsiteY147" fmla="*/ 3255 h 10000"/>
                <a:gd name="connsiteX148" fmla="*/ 7235 w 10000"/>
                <a:gd name="connsiteY148" fmla="*/ 3227 h 10000"/>
                <a:gd name="connsiteX149" fmla="*/ 7455 w 10000"/>
                <a:gd name="connsiteY149" fmla="*/ 3118 h 10000"/>
                <a:gd name="connsiteX150" fmla="*/ 7674 w 10000"/>
                <a:gd name="connsiteY150" fmla="*/ 3066 h 10000"/>
                <a:gd name="connsiteX151" fmla="*/ 8082 w 10000"/>
                <a:gd name="connsiteY151" fmla="*/ 2874 h 10000"/>
                <a:gd name="connsiteX152" fmla="*/ 8157 w 10000"/>
                <a:gd name="connsiteY152" fmla="*/ 2750 h 10000"/>
                <a:gd name="connsiteX153" fmla="*/ 8165 w 10000"/>
                <a:gd name="connsiteY153" fmla="*/ 2589 h 10000"/>
                <a:gd name="connsiteX154" fmla="*/ 7978 w 10000"/>
                <a:gd name="connsiteY154" fmla="*/ 2562 h 10000"/>
                <a:gd name="connsiteX155" fmla="*/ 8058 w 10000"/>
                <a:gd name="connsiteY155" fmla="*/ 2463 h 10000"/>
                <a:gd name="connsiteX156" fmla="*/ 8087 w 10000"/>
                <a:gd name="connsiteY156" fmla="*/ 2338 h 10000"/>
                <a:gd name="connsiteX157" fmla="*/ 8007 w 10000"/>
                <a:gd name="connsiteY157" fmla="*/ 2222 h 10000"/>
                <a:gd name="connsiteX158" fmla="*/ 6909 w 10000"/>
                <a:gd name="connsiteY158" fmla="*/ 2300 h 10000"/>
                <a:gd name="connsiteX159" fmla="*/ 6304 w 10000"/>
                <a:gd name="connsiteY159" fmla="*/ 1864 h 10000"/>
                <a:gd name="connsiteX160" fmla="*/ 5294 w 10000"/>
                <a:gd name="connsiteY160" fmla="*/ 1779 h 10000"/>
                <a:gd name="connsiteX161" fmla="*/ 4505 w 10000"/>
                <a:gd name="connsiteY161" fmla="*/ 1407 h 10000"/>
                <a:gd name="connsiteX162" fmla="*/ 3730 w 10000"/>
                <a:gd name="connsiteY162" fmla="*/ 962 h 10000"/>
                <a:gd name="connsiteX163" fmla="*/ 3154 w 10000"/>
                <a:gd name="connsiteY163" fmla="*/ 143 h 10000"/>
                <a:gd name="connsiteX164" fmla="*/ 2375 w 10000"/>
                <a:gd name="connsiteY164" fmla="*/ 0 h 10000"/>
                <a:gd name="connsiteX165" fmla="*/ 2226 w 10000"/>
                <a:gd name="connsiteY165" fmla="*/ 772 h 10000"/>
                <a:gd name="connsiteX166" fmla="*/ 2375 w 10000"/>
                <a:gd name="connsiteY166" fmla="*/ 967 h 10000"/>
                <a:gd name="connsiteX167" fmla="*/ 2791 w 10000"/>
                <a:gd name="connsiteY167" fmla="*/ 1185 h 10000"/>
                <a:gd name="connsiteX168" fmla="*/ 2808 w 10000"/>
                <a:gd name="connsiteY168" fmla="*/ 1446 h 10000"/>
                <a:gd name="connsiteX169" fmla="*/ 2632 w 10000"/>
                <a:gd name="connsiteY169" fmla="*/ 1665 h 10000"/>
                <a:gd name="connsiteX170" fmla="*/ 2375 w 10000"/>
                <a:gd name="connsiteY170" fmla="*/ 1798 h 10000"/>
                <a:gd name="connsiteX171" fmla="*/ 2039 w 10000"/>
                <a:gd name="connsiteY171" fmla="*/ 1851 h 10000"/>
                <a:gd name="connsiteX172" fmla="*/ 1950 w 10000"/>
                <a:gd name="connsiteY172" fmla="*/ 1929 h 10000"/>
                <a:gd name="connsiteX173" fmla="*/ 2148 w 10000"/>
                <a:gd name="connsiteY173" fmla="*/ 2110 h 10000"/>
                <a:gd name="connsiteX174" fmla="*/ 2261 w 10000"/>
                <a:gd name="connsiteY174" fmla="*/ 2541 h 10000"/>
                <a:gd name="connsiteX175" fmla="*/ 2005 w 10000"/>
                <a:gd name="connsiteY175" fmla="*/ 2910 h 10000"/>
                <a:gd name="connsiteX176" fmla="*/ 2094 w 10000"/>
                <a:gd name="connsiteY176" fmla="*/ 3022 h 10000"/>
                <a:gd name="connsiteX177" fmla="*/ 2012 w 10000"/>
                <a:gd name="connsiteY177" fmla="*/ 3214 h 10000"/>
                <a:gd name="connsiteX178" fmla="*/ 1850 w 10000"/>
                <a:gd name="connsiteY178" fmla="*/ 3349 h 10000"/>
                <a:gd name="connsiteX179" fmla="*/ 1199 w 10000"/>
                <a:gd name="connsiteY179" fmla="*/ 3450 h 10000"/>
                <a:gd name="connsiteX180" fmla="*/ 1158 w 10000"/>
                <a:gd name="connsiteY180" fmla="*/ 3629 h 10000"/>
                <a:gd name="connsiteX181" fmla="*/ 808 w 10000"/>
                <a:gd name="connsiteY181" fmla="*/ 3893 h 10000"/>
                <a:gd name="connsiteX182" fmla="*/ 854 w 10000"/>
                <a:gd name="connsiteY182" fmla="*/ 4276 h 10000"/>
                <a:gd name="connsiteX183" fmla="*/ 560 w 10000"/>
                <a:gd name="connsiteY183" fmla="*/ 4766 h 10000"/>
                <a:gd name="connsiteX184" fmla="*/ 358 w 10000"/>
                <a:gd name="connsiteY184" fmla="*/ 4822 h 10000"/>
                <a:gd name="connsiteX185" fmla="*/ 275 w 10000"/>
                <a:gd name="connsiteY185" fmla="*/ 4706 h 10000"/>
                <a:gd name="connsiteX186" fmla="*/ 174 w 10000"/>
                <a:gd name="connsiteY186" fmla="*/ 4882 h 10000"/>
                <a:gd name="connsiteX187" fmla="*/ 239 w 10000"/>
                <a:gd name="connsiteY187" fmla="*/ 4578 h 10000"/>
                <a:gd name="connsiteX188" fmla="*/ 197 w 10000"/>
                <a:gd name="connsiteY188" fmla="*/ 4521 h 10000"/>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3212 w 10000"/>
                <a:gd name="connsiteY47" fmla="*/ 9941 h 10000"/>
                <a:gd name="connsiteX48" fmla="*/ 3348 w 10000"/>
                <a:gd name="connsiteY48" fmla="*/ 9745 h 10000"/>
                <a:gd name="connsiteX49" fmla="*/ 3313 w 10000"/>
                <a:gd name="connsiteY49" fmla="*/ 9423 h 10000"/>
                <a:gd name="connsiteX50" fmla="*/ 3642 w 10000"/>
                <a:gd name="connsiteY50" fmla="*/ 9067 h 10000"/>
                <a:gd name="connsiteX51" fmla="*/ 3883 w 10000"/>
                <a:gd name="connsiteY51" fmla="*/ 9124 h 10000"/>
                <a:gd name="connsiteX52" fmla="*/ 4025 w 10000"/>
                <a:gd name="connsiteY52" fmla="*/ 8982 h 10000"/>
                <a:gd name="connsiteX53" fmla="*/ 4294 w 10000"/>
                <a:gd name="connsiteY53" fmla="*/ 8899 h 10000"/>
                <a:gd name="connsiteX54" fmla="*/ 4658 w 10000"/>
                <a:gd name="connsiteY54" fmla="*/ 8919 h 10000"/>
                <a:gd name="connsiteX55" fmla="*/ 4878 w 10000"/>
                <a:gd name="connsiteY55" fmla="*/ 8975 h 10000"/>
                <a:gd name="connsiteX56" fmla="*/ 5170 w 10000"/>
                <a:gd name="connsiteY56" fmla="*/ 8951 h 10000"/>
                <a:gd name="connsiteX57" fmla="*/ 5464 w 10000"/>
                <a:gd name="connsiteY57" fmla="*/ 9012 h 10000"/>
                <a:gd name="connsiteX58" fmla="*/ 5759 w 10000"/>
                <a:gd name="connsiteY58" fmla="*/ 9020 h 10000"/>
                <a:gd name="connsiteX59" fmla="*/ 6419 w 10000"/>
                <a:gd name="connsiteY59" fmla="*/ 8186 h 10000"/>
                <a:gd name="connsiteX60" fmla="*/ 6586 w 10000"/>
                <a:gd name="connsiteY60" fmla="*/ 7505 h 10000"/>
                <a:gd name="connsiteX61" fmla="*/ 6855 w 10000"/>
                <a:gd name="connsiteY61" fmla="*/ 7204 h 10000"/>
                <a:gd name="connsiteX62" fmla="*/ 6855 w 10000"/>
                <a:gd name="connsiteY62" fmla="*/ 7043 h 10000"/>
                <a:gd name="connsiteX63" fmla="*/ 6757 w 10000"/>
                <a:gd name="connsiteY63" fmla="*/ 6956 h 10000"/>
                <a:gd name="connsiteX64" fmla="*/ 6915 w 10000"/>
                <a:gd name="connsiteY64" fmla="*/ 6811 h 10000"/>
                <a:gd name="connsiteX65" fmla="*/ 6887 w 10000"/>
                <a:gd name="connsiteY65" fmla="*/ 6693 h 10000"/>
                <a:gd name="connsiteX66" fmla="*/ 6779 w 10000"/>
                <a:gd name="connsiteY66" fmla="*/ 6592 h 10000"/>
                <a:gd name="connsiteX67" fmla="*/ 6757 w 10000"/>
                <a:gd name="connsiteY67" fmla="*/ 6514 h 10000"/>
                <a:gd name="connsiteX68" fmla="*/ 6785 w 10000"/>
                <a:gd name="connsiteY68" fmla="*/ 6457 h 10000"/>
                <a:gd name="connsiteX69" fmla="*/ 6931 w 10000"/>
                <a:gd name="connsiteY69" fmla="*/ 6503 h 10000"/>
                <a:gd name="connsiteX70" fmla="*/ 7045 w 10000"/>
                <a:gd name="connsiteY70" fmla="*/ 6500 h 10000"/>
                <a:gd name="connsiteX71" fmla="*/ 6983 w 10000"/>
                <a:gd name="connsiteY71" fmla="*/ 6404 h 10000"/>
                <a:gd name="connsiteX72" fmla="*/ 7003 w 10000"/>
                <a:gd name="connsiteY72" fmla="*/ 6346 h 10000"/>
                <a:gd name="connsiteX73" fmla="*/ 7089 w 10000"/>
                <a:gd name="connsiteY73" fmla="*/ 6265 h 10000"/>
                <a:gd name="connsiteX74" fmla="*/ 7074 w 10000"/>
                <a:gd name="connsiteY74" fmla="*/ 6198 h 10000"/>
                <a:gd name="connsiteX75" fmla="*/ 7152 w 10000"/>
                <a:gd name="connsiteY75" fmla="*/ 5971 h 10000"/>
                <a:gd name="connsiteX76" fmla="*/ 7130 w 10000"/>
                <a:gd name="connsiteY76" fmla="*/ 5902 h 10000"/>
                <a:gd name="connsiteX77" fmla="*/ 6729 w 10000"/>
                <a:gd name="connsiteY77" fmla="*/ 5729 h 10000"/>
                <a:gd name="connsiteX78" fmla="*/ 6785 w 10000"/>
                <a:gd name="connsiteY78" fmla="*/ 5723 h 10000"/>
                <a:gd name="connsiteX79" fmla="*/ 6998 w 10000"/>
                <a:gd name="connsiteY79" fmla="*/ 5768 h 10000"/>
                <a:gd name="connsiteX80" fmla="*/ 7230 w 10000"/>
                <a:gd name="connsiteY80" fmla="*/ 5751 h 10000"/>
                <a:gd name="connsiteX81" fmla="*/ 7295 w 10000"/>
                <a:gd name="connsiteY81" fmla="*/ 5689 h 10000"/>
                <a:gd name="connsiteX82" fmla="*/ 7074 w 10000"/>
                <a:gd name="connsiteY82" fmla="*/ 5571 h 10000"/>
                <a:gd name="connsiteX83" fmla="*/ 6414 w 10000"/>
                <a:gd name="connsiteY83" fmla="*/ 5495 h 10000"/>
                <a:gd name="connsiteX84" fmla="*/ 6458 w 10000"/>
                <a:gd name="connsiteY84" fmla="*/ 5459 h 10000"/>
                <a:gd name="connsiteX85" fmla="*/ 6998 w 10000"/>
                <a:gd name="connsiteY85" fmla="*/ 5434 h 10000"/>
                <a:gd name="connsiteX86" fmla="*/ 7295 w 10000"/>
                <a:gd name="connsiteY86" fmla="*/ 5506 h 10000"/>
                <a:gd name="connsiteX87" fmla="*/ 7466 w 10000"/>
                <a:gd name="connsiteY87" fmla="*/ 5459 h 10000"/>
                <a:gd name="connsiteX88" fmla="*/ 7529 w 10000"/>
                <a:gd name="connsiteY88" fmla="*/ 5337 h 10000"/>
                <a:gd name="connsiteX89" fmla="*/ 7840 w 10000"/>
                <a:gd name="connsiteY89" fmla="*/ 5337 h 10000"/>
                <a:gd name="connsiteX90" fmla="*/ 8261 w 10000"/>
                <a:gd name="connsiteY90" fmla="*/ 5093 h 10000"/>
                <a:gd name="connsiteX91" fmla="*/ 8275 w 10000"/>
                <a:gd name="connsiteY91" fmla="*/ 4928 h 10000"/>
                <a:gd name="connsiteX92" fmla="*/ 8453 w 10000"/>
                <a:gd name="connsiteY92" fmla="*/ 4965 h 10000"/>
                <a:gd name="connsiteX93" fmla="*/ 8446 w 10000"/>
                <a:gd name="connsiteY93" fmla="*/ 5130 h 10000"/>
                <a:gd name="connsiteX94" fmla="*/ 8727 w 10000"/>
                <a:gd name="connsiteY94" fmla="*/ 5118 h 10000"/>
                <a:gd name="connsiteX95" fmla="*/ 8913 w 10000"/>
                <a:gd name="connsiteY95" fmla="*/ 4948 h 10000"/>
                <a:gd name="connsiteX96" fmla="*/ 9258 w 10000"/>
                <a:gd name="connsiteY96" fmla="*/ 4795 h 10000"/>
                <a:gd name="connsiteX97" fmla="*/ 9203 w 10000"/>
                <a:gd name="connsiteY97" fmla="*/ 4621 h 10000"/>
                <a:gd name="connsiteX98" fmla="*/ 9306 w 10000"/>
                <a:gd name="connsiteY98" fmla="*/ 4690 h 10000"/>
                <a:gd name="connsiteX99" fmla="*/ 9464 w 10000"/>
                <a:gd name="connsiteY99" fmla="*/ 4690 h 10000"/>
                <a:gd name="connsiteX100" fmla="*/ 9464 w 10000"/>
                <a:gd name="connsiteY100" fmla="*/ 4609 h 10000"/>
                <a:gd name="connsiteX101" fmla="*/ 9611 w 10000"/>
                <a:gd name="connsiteY101" fmla="*/ 4550 h 10000"/>
                <a:gd name="connsiteX102" fmla="*/ 9592 w 10000"/>
                <a:gd name="connsiteY102" fmla="*/ 4487 h 10000"/>
                <a:gd name="connsiteX103" fmla="*/ 8350 w 10000"/>
                <a:gd name="connsiteY103" fmla="*/ 4611 h 10000"/>
                <a:gd name="connsiteX104" fmla="*/ 8058 w 10000"/>
                <a:gd name="connsiteY104" fmla="*/ 4576 h 10000"/>
                <a:gd name="connsiteX105" fmla="*/ 7942 w 10000"/>
                <a:gd name="connsiteY105" fmla="*/ 4621 h 10000"/>
                <a:gd name="connsiteX106" fmla="*/ 7903 w 10000"/>
                <a:gd name="connsiteY106" fmla="*/ 4532 h 10000"/>
                <a:gd name="connsiteX107" fmla="*/ 7765 w 10000"/>
                <a:gd name="connsiteY107" fmla="*/ 4456 h 10000"/>
                <a:gd name="connsiteX108" fmla="*/ 7213 w 10000"/>
                <a:gd name="connsiteY108" fmla="*/ 4297 h 10000"/>
                <a:gd name="connsiteX109" fmla="*/ 6887 w 10000"/>
                <a:gd name="connsiteY109" fmla="*/ 4324 h 10000"/>
                <a:gd name="connsiteX110" fmla="*/ 6757 w 10000"/>
                <a:gd name="connsiteY110" fmla="*/ 4278 h 10000"/>
                <a:gd name="connsiteX111" fmla="*/ 6894 w 10000"/>
                <a:gd name="connsiteY111" fmla="*/ 4240 h 10000"/>
                <a:gd name="connsiteX112" fmla="*/ 6998 w 10000"/>
                <a:gd name="connsiteY112" fmla="*/ 4156 h 10000"/>
                <a:gd name="connsiteX113" fmla="*/ 7152 w 10000"/>
                <a:gd name="connsiteY113" fmla="*/ 4182 h 10000"/>
                <a:gd name="connsiteX114" fmla="*/ 7335 w 10000"/>
                <a:gd name="connsiteY114" fmla="*/ 4161 h 10000"/>
                <a:gd name="connsiteX115" fmla="*/ 7611 w 10000"/>
                <a:gd name="connsiteY115" fmla="*/ 4188 h 10000"/>
                <a:gd name="connsiteX116" fmla="*/ 7645 w 10000"/>
                <a:gd name="connsiteY116" fmla="*/ 4177 h 10000"/>
                <a:gd name="connsiteX117" fmla="*/ 7859 w 10000"/>
                <a:gd name="connsiteY117" fmla="*/ 4305 h 10000"/>
                <a:gd name="connsiteX118" fmla="*/ 8017 w 10000"/>
                <a:gd name="connsiteY118" fmla="*/ 4257 h 10000"/>
                <a:gd name="connsiteX119" fmla="*/ 8032 w 10000"/>
                <a:gd name="connsiteY119" fmla="*/ 4214 h 10000"/>
                <a:gd name="connsiteX120" fmla="*/ 8176 w 10000"/>
                <a:gd name="connsiteY120" fmla="*/ 4290 h 10000"/>
                <a:gd name="connsiteX121" fmla="*/ 8369 w 10000"/>
                <a:gd name="connsiteY121" fmla="*/ 4331 h 10000"/>
                <a:gd name="connsiteX122" fmla="*/ 8446 w 10000"/>
                <a:gd name="connsiteY122" fmla="*/ 4255 h 10000"/>
                <a:gd name="connsiteX123" fmla="*/ 8507 w 10000"/>
                <a:gd name="connsiteY123" fmla="*/ 4297 h 10000"/>
                <a:gd name="connsiteX124" fmla="*/ 8596 w 10000"/>
                <a:gd name="connsiteY124" fmla="*/ 4446 h 10000"/>
                <a:gd name="connsiteX125" fmla="*/ 8782 w 10000"/>
                <a:gd name="connsiteY125" fmla="*/ 4478 h 10000"/>
                <a:gd name="connsiteX126" fmla="*/ 9542 w 10000"/>
                <a:gd name="connsiteY126" fmla="*/ 4262 h 10000"/>
                <a:gd name="connsiteX127" fmla="*/ 9914 w 10000"/>
                <a:gd name="connsiteY127" fmla="*/ 3962 h 10000"/>
                <a:gd name="connsiteX128" fmla="*/ 10000 w 10000"/>
                <a:gd name="connsiteY128" fmla="*/ 3744 h 10000"/>
                <a:gd name="connsiteX129" fmla="*/ 9866 w 10000"/>
                <a:gd name="connsiteY129" fmla="*/ 3546 h 10000"/>
                <a:gd name="connsiteX130" fmla="*/ 9582 w 10000"/>
                <a:gd name="connsiteY130" fmla="*/ 3428 h 10000"/>
                <a:gd name="connsiteX131" fmla="*/ 9382 w 10000"/>
                <a:gd name="connsiteY131" fmla="*/ 3233 h 10000"/>
                <a:gd name="connsiteX132" fmla="*/ 9569 w 10000"/>
                <a:gd name="connsiteY132" fmla="*/ 3227 h 10000"/>
                <a:gd name="connsiteX133" fmla="*/ 9555 w 10000"/>
                <a:gd name="connsiteY133" fmla="*/ 3180 h 10000"/>
                <a:gd name="connsiteX134" fmla="*/ 9068 w 10000"/>
                <a:gd name="connsiteY134" fmla="*/ 3045 h 10000"/>
                <a:gd name="connsiteX135" fmla="*/ 9047 w 10000"/>
                <a:gd name="connsiteY135" fmla="*/ 2920 h 10000"/>
                <a:gd name="connsiteX136" fmla="*/ 8953 w 10000"/>
                <a:gd name="connsiteY136" fmla="*/ 2789 h 10000"/>
                <a:gd name="connsiteX137" fmla="*/ 8569 w 10000"/>
                <a:gd name="connsiteY137" fmla="*/ 2813 h 10000"/>
                <a:gd name="connsiteX138" fmla="*/ 8431 w 10000"/>
                <a:gd name="connsiteY138" fmla="*/ 2673 h 10000"/>
                <a:gd name="connsiteX139" fmla="*/ 8350 w 10000"/>
                <a:gd name="connsiteY139" fmla="*/ 2665 h 10000"/>
                <a:gd name="connsiteX140" fmla="*/ 8350 w 10000"/>
                <a:gd name="connsiteY140" fmla="*/ 2726 h 10000"/>
                <a:gd name="connsiteX141" fmla="*/ 8176 w 10000"/>
                <a:gd name="connsiteY141" fmla="*/ 2959 h 10000"/>
                <a:gd name="connsiteX142" fmla="*/ 7990 w 10000"/>
                <a:gd name="connsiteY142" fmla="*/ 3096 h 10000"/>
                <a:gd name="connsiteX143" fmla="*/ 7401 w 10000"/>
                <a:gd name="connsiteY143" fmla="*/ 3329 h 10000"/>
                <a:gd name="connsiteX144" fmla="*/ 7198 w 10000"/>
                <a:gd name="connsiteY144" fmla="*/ 3322 h 10000"/>
                <a:gd name="connsiteX145" fmla="*/ 6915 w 10000"/>
                <a:gd name="connsiteY145" fmla="*/ 3359 h 10000"/>
                <a:gd name="connsiteX146" fmla="*/ 6757 w 10000"/>
                <a:gd name="connsiteY146" fmla="*/ 3322 h 10000"/>
                <a:gd name="connsiteX147" fmla="*/ 6965 w 10000"/>
                <a:gd name="connsiteY147" fmla="*/ 3255 h 10000"/>
                <a:gd name="connsiteX148" fmla="*/ 7235 w 10000"/>
                <a:gd name="connsiteY148" fmla="*/ 3227 h 10000"/>
                <a:gd name="connsiteX149" fmla="*/ 7455 w 10000"/>
                <a:gd name="connsiteY149" fmla="*/ 3118 h 10000"/>
                <a:gd name="connsiteX150" fmla="*/ 7674 w 10000"/>
                <a:gd name="connsiteY150" fmla="*/ 3066 h 10000"/>
                <a:gd name="connsiteX151" fmla="*/ 8082 w 10000"/>
                <a:gd name="connsiteY151" fmla="*/ 2874 h 10000"/>
                <a:gd name="connsiteX152" fmla="*/ 8157 w 10000"/>
                <a:gd name="connsiteY152" fmla="*/ 2750 h 10000"/>
                <a:gd name="connsiteX153" fmla="*/ 8165 w 10000"/>
                <a:gd name="connsiteY153" fmla="*/ 2589 h 10000"/>
                <a:gd name="connsiteX154" fmla="*/ 7978 w 10000"/>
                <a:gd name="connsiteY154" fmla="*/ 2562 h 10000"/>
                <a:gd name="connsiteX155" fmla="*/ 8058 w 10000"/>
                <a:gd name="connsiteY155" fmla="*/ 2463 h 10000"/>
                <a:gd name="connsiteX156" fmla="*/ 8087 w 10000"/>
                <a:gd name="connsiteY156" fmla="*/ 2338 h 10000"/>
                <a:gd name="connsiteX157" fmla="*/ 8007 w 10000"/>
                <a:gd name="connsiteY157" fmla="*/ 2222 h 10000"/>
                <a:gd name="connsiteX158" fmla="*/ 6909 w 10000"/>
                <a:gd name="connsiteY158" fmla="*/ 2300 h 10000"/>
                <a:gd name="connsiteX159" fmla="*/ 7472 w 10000"/>
                <a:gd name="connsiteY159" fmla="*/ 2258 h 10000"/>
                <a:gd name="connsiteX160" fmla="*/ 6304 w 10000"/>
                <a:gd name="connsiteY160" fmla="*/ 1864 h 10000"/>
                <a:gd name="connsiteX161" fmla="*/ 5294 w 10000"/>
                <a:gd name="connsiteY161" fmla="*/ 1779 h 10000"/>
                <a:gd name="connsiteX162" fmla="*/ 4505 w 10000"/>
                <a:gd name="connsiteY162" fmla="*/ 1407 h 10000"/>
                <a:gd name="connsiteX163" fmla="*/ 3730 w 10000"/>
                <a:gd name="connsiteY163" fmla="*/ 962 h 10000"/>
                <a:gd name="connsiteX164" fmla="*/ 3154 w 10000"/>
                <a:gd name="connsiteY164" fmla="*/ 143 h 10000"/>
                <a:gd name="connsiteX165" fmla="*/ 2375 w 10000"/>
                <a:gd name="connsiteY165" fmla="*/ 0 h 10000"/>
                <a:gd name="connsiteX166" fmla="*/ 2226 w 10000"/>
                <a:gd name="connsiteY166" fmla="*/ 772 h 10000"/>
                <a:gd name="connsiteX167" fmla="*/ 2375 w 10000"/>
                <a:gd name="connsiteY167" fmla="*/ 967 h 10000"/>
                <a:gd name="connsiteX168" fmla="*/ 2791 w 10000"/>
                <a:gd name="connsiteY168" fmla="*/ 1185 h 10000"/>
                <a:gd name="connsiteX169" fmla="*/ 2808 w 10000"/>
                <a:gd name="connsiteY169" fmla="*/ 1446 h 10000"/>
                <a:gd name="connsiteX170" fmla="*/ 2632 w 10000"/>
                <a:gd name="connsiteY170" fmla="*/ 1665 h 10000"/>
                <a:gd name="connsiteX171" fmla="*/ 2375 w 10000"/>
                <a:gd name="connsiteY171" fmla="*/ 1798 h 10000"/>
                <a:gd name="connsiteX172" fmla="*/ 2039 w 10000"/>
                <a:gd name="connsiteY172" fmla="*/ 1851 h 10000"/>
                <a:gd name="connsiteX173" fmla="*/ 1950 w 10000"/>
                <a:gd name="connsiteY173" fmla="*/ 1929 h 10000"/>
                <a:gd name="connsiteX174" fmla="*/ 2148 w 10000"/>
                <a:gd name="connsiteY174" fmla="*/ 2110 h 10000"/>
                <a:gd name="connsiteX175" fmla="*/ 2261 w 10000"/>
                <a:gd name="connsiteY175" fmla="*/ 2541 h 10000"/>
                <a:gd name="connsiteX176" fmla="*/ 2005 w 10000"/>
                <a:gd name="connsiteY176" fmla="*/ 2910 h 10000"/>
                <a:gd name="connsiteX177" fmla="*/ 2094 w 10000"/>
                <a:gd name="connsiteY177" fmla="*/ 3022 h 10000"/>
                <a:gd name="connsiteX178" fmla="*/ 2012 w 10000"/>
                <a:gd name="connsiteY178" fmla="*/ 3214 h 10000"/>
                <a:gd name="connsiteX179" fmla="*/ 1850 w 10000"/>
                <a:gd name="connsiteY179" fmla="*/ 3349 h 10000"/>
                <a:gd name="connsiteX180" fmla="*/ 1199 w 10000"/>
                <a:gd name="connsiteY180" fmla="*/ 3450 h 10000"/>
                <a:gd name="connsiteX181" fmla="*/ 1158 w 10000"/>
                <a:gd name="connsiteY181" fmla="*/ 3629 h 10000"/>
                <a:gd name="connsiteX182" fmla="*/ 808 w 10000"/>
                <a:gd name="connsiteY182" fmla="*/ 3893 h 10000"/>
                <a:gd name="connsiteX183" fmla="*/ 854 w 10000"/>
                <a:gd name="connsiteY183" fmla="*/ 4276 h 10000"/>
                <a:gd name="connsiteX184" fmla="*/ 560 w 10000"/>
                <a:gd name="connsiteY184" fmla="*/ 4766 h 10000"/>
                <a:gd name="connsiteX185" fmla="*/ 358 w 10000"/>
                <a:gd name="connsiteY185" fmla="*/ 4822 h 10000"/>
                <a:gd name="connsiteX186" fmla="*/ 275 w 10000"/>
                <a:gd name="connsiteY186" fmla="*/ 4706 h 10000"/>
                <a:gd name="connsiteX187" fmla="*/ 174 w 10000"/>
                <a:gd name="connsiteY187" fmla="*/ 4882 h 10000"/>
                <a:gd name="connsiteX188" fmla="*/ 239 w 10000"/>
                <a:gd name="connsiteY188" fmla="*/ 4578 h 10000"/>
                <a:gd name="connsiteX189" fmla="*/ 197 w 10000"/>
                <a:gd name="connsiteY189" fmla="*/ 4521 h 10000"/>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3212 w 10000"/>
                <a:gd name="connsiteY47" fmla="*/ 9941 h 10000"/>
                <a:gd name="connsiteX48" fmla="*/ 3348 w 10000"/>
                <a:gd name="connsiteY48" fmla="*/ 9745 h 10000"/>
                <a:gd name="connsiteX49" fmla="*/ 3313 w 10000"/>
                <a:gd name="connsiteY49" fmla="*/ 9423 h 10000"/>
                <a:gd name="connsiteX50" fmla="*/ 3642 w 10000"/>
                <a:gd name="connsiteY50" fmla="*/ 9067 h 10000"/>
                <a:gd name="connsiteX51" fmla="*/ 3883 w 10000"/>
                <a:gd name="connsiteY51" fmla="*/ 9124 h 10000"/>
                <a:gd name="connsiteX52" fmla="*/ 4025 w 10000"/>
                <a:gd name="connsiteY52" fmla="*/ 8982 h 10000"/>
                <a:gd name="connsiteX53" fmla="*/ 4294 w 10000"/>
                <a:gd name="connsiteY53" fmla="*/ 8899 h 10000"/>
                <a:gd name="connsiteX54" fmla="*/ 4658 w 10000"/>
                <a:gd name="connsiteY54" fmla="*/ 8919 h 10000"/>
                <a:gd name="connsiteX55" fmla="*/ 4878 w 10000"/>
                <a:gd name="connsiteY55" fmla="*/ 8975 h 10000"/>
                <a:gd name="connsiteX56" fmla="*/ 5170 w 10000"/>
                <a:gd name="connsiteY56" fmla="*/ 8951 h 10000"/>
                <a:gd name="connsiteX57" fmla="*/ 5464 w 10000"/>
                <a:gd name="connsiteY57" fmla="*/ 9012 h 10000"/>
                <a:gd name="connsiteX58" fmla="*/ 5759 w 10000"/>
                <a:gd name="connsiteY58" fmla="*/ 9020 h 10000"/>
                <a:gd name="connsiteX59" fmla="*/ 6419 w 10000"/>
                <a:gd name="connsiteY59" fmla="*/ 8186 h 10000"/>
                <a:gd name="connsiteX60" fmla="*/ 6586 w 10000"/>
                <a:gd name="connsiteY60" fmla="*/ 7505 h 10000"/>
                <a:gd name="connsiteX61" fmla="*/ 6855 w 10000"/>
                <a:gd name="connsiteY61" fmla="*/ 7204 h 10000"/>
                <a:gd name="connsiteX62" fmla="*/ 6855 w 10000"/>
                <a:gd name="connsiteY62" fmla="*/ 7043 h 10000"/>
                <a:gd name="connsiteX63" fmla="*/ 6757 w 10000"/>
                <a:gd name="connsiteY63" fmla="*/ 6956 h 10000"/>
                <a:gd name="connsiteX64" fmla="*/ 6915 w 10000"/>
                <a:gd name="connsiteY64" fmla="*/ 6811 h 10000"/>
                <a:gd name="connsiteX65" fmla="*/ 6887 w 10000"/>
                <a:gd name="connsiteY65" fmla="*/ 6693 h 10000"/>
                <a:gd name="connsiteX66" fmla="*/ 6779 w 10000"/>
                <a:gd name="connsiteY66" fmla="*/ 6592 h 10000"/>
                <a:gd name="connsiteX67" fmla="*/ 6757 w 10000"/>
                <a:gd name="connsiteY67" fmla="*/ 6514 h 10000"/>
                <a:gd name="connsiteX68" fmla="*/ 6785 w 10000"/>
                <a:gd name="connsiteY68" fmla="*/ 6457 h 10000"/>
                <a:gd name="connsiteX69" fmla="*/ 6931 w 10000"/>
                <a:gd name="connsiteY69" fmla="*/ 6503 h 10000"/>
                <a:gd name="connsiteX70" fmla="*/ 7045 w 10000"/>
                <a:gd name="connsiteY70" fmla="*/ 6500 h 10000"/>
                <a:gd name="connsiteX71" fmla="*/ 6983 w 10000"/>
                <a:gd name="connsiteY71" fmla="*/ 6404 h 10000"/>
                <a:gd name="connsiteX72" fmla="*/ 7003 w 10000"/>
                <a:gd name="connsiteY72" fmla="*/ 6346 h 10000"/>
                <a:gd name="connsiteX73" fmla="*/ 7089 w 10000"/>
                <a:gd name="connsiteY73" fmla="*/ 6265 h 10000"/>
                <a:gd name="connsiteX74" fmla="*/ 7074 w 10000"/>
                <a:gd name="connsiteY74" fmla="*/ 6198 h 10000"/>
                <a:gd name="connsiteX75" fmla="*/ 7152 w 10000"/>
                <a:gd name="connsiteY75" fmla="*/ 5971 h 10000"/>
                <a:gd name="connsiteX76" fmla="*/ 7130 w 10000"/>
                <a:gd name="connsiteY76" fmla="*/ 5902 h 10000"/>
                <a:gd name="connsiteX77" fmla="*/ 6729 w 10000"/>
                <a:gd name="connsiteY77" fmla="*/ 5729 h 10000"/>
                <a:gd name="connsiteX78" fmla="*/ 6785 w 10000"/>
                <a:gd name="connsiteY78" fmla="*/ 5723 h 10000"/>
                <a:gd name="connsiteX79" fmla="*/ 6998 w 10000"/>
                <a:gd name="connsiteY79" fmla="*/ 5768 h 10000"/>
                <a:gd name="connsiteX80" fmla="*/ 7230 w 10000"/>
                <a:gd name="connsiteY80" fmla="*/ 5751 h 10000"/>
                <a:gd name="connsiteX81" fmla="*/ 7295 w 10000"/>
                <a:gd name="connsiteY81" fmla="*/ 5689 h 10000"/>
                <a:gd name="connsiteX82" fmla="*/ 7074 w 10000"/>
                <a:gd name="connsiteY82" fmla="*/ 5571 h 10000"/>
                <a:gd name="connsiteX83" fmla="*/ 6414 w 10000"/>
                <a:gd name="connsiteY83" fmla="*/ 5495 h 10000"/>
                <a:gd name="connsiteX84" fmla="*/ 6458 w 10000"/>
                <a:gd name="connsiteY84" fmla="*/ 5459 h 10000"/>
                <a:gd name="connsiteX85" fmla="*/ 6998 w 10000"/>
                <a:gd name="connsiteY85" fmla="*/ 5434 h 10000"/>
                <a:gd name="connsiteX86" fmla="*/ 7295 w 10000"/>
                <a:gd name="connsiteY86" fmla="*/ 5506 h 10000"/>
                <a:gd name="connsiteX87" fmla="*/ 7466 w 10000"/>
                <a:gd name="connsiteY87" fmla="*/ 5459 h 10000"/>
                <a:gd name="connsiteX88" fmla="*/ 7529 w 10000"/>
                <a:gd name="connsiteY88" fmla="*/ 5337 h 10000"/>
                <a:gd name="connsiteX89" fmla="*/ 7840 w 10000"/>
                <a:gd name="connsiteY89" fmla="*/ 5337 h 10000"/>
                <a:gd name="connsiteX90" fmla="*/ 8261 w 10000"/>
                <a:gd name="connsiteY90" fmla="*/ 5093 h 10000"/>
                <a:gd name="connsiteX91" fmla="*/ 8275 w 10000"/>
                <a:gd name="connsiteY91" fmla="*/ 4928 h 10000"/>
                <a:gd name="connsiteX92" fmla="*/ 8453 w 10000"/>
                <a:gd name="connsiteY92" fmla="*/ 4965 h 10000"/>
                <a:gd name="connsiteX93" fmla="*/ 8446 w 10000"/>
                <a:gd name="connsiteY93" fmla="*/ 5130 h 10000"/>
                <a:gd name="connsiteX94" fmla="*/ 8727 w 10000"/>
                <a:gd name="connsiteY94" fmla="*/ 5118 h 10000"/>
                <a:gd name="connsiteX95" fmla="*/ 8913 w 10000"/>
                <a:gd name="connsiteY95" fmla="*/ 4948 h 10000"/>
                <a:gd name="connsiteX96" fmla="*/ 9258 w 10000"/>
                <a:gd name="connsiteY96" fmla="*/ 4795 h 10000"/>
                <a:gd name="connsiteX97" fmla="*/ 9203 w 10000"/>
                <a:gd name="connsiteY97" fmla="*/ 4621 h 10000"/>
                <a:gd name="connsiteX98" fmla="*/ 9306 w 10000"/>
                <a:gd name="connsiteY98" fmla="*/ 4690 h 10000"/>
                <a:gd name="connsiteX99" fmla="*/ 9464 w 10000"/>
                <a:gd name="connsiteY99" fmla="*/ 4690 h 10000"/>
                <a:gd name="connsiteX100" fmla="*/ 9464 w 10000"/>
                <a:gd name="connsiteY100" fmla="*/ 4609 h 10000"/>
                <a:gd name="connsiteX101" fmla="*/ 9611 w 10000"/>
                <a:gd name="connsiteY101" fmla="*/ 4550 h 10000"/>
                <a:gd name="connsiteX102" fmla="*/ 9592 w 10000"/>
                <a:gd name="connsiteY102" fmla="*/ 4487 h 10000"/>
                <a:gd name="connsiteX103" fmla="*/ 8350 w 10000"/>
                <a:gd name="connsiteY103" fmla="*/ 4611 h 10000"/>
                <a:gd name="connsiteX104" fmla="*/ 8058 w 10000"/>
                <a:gd name="connsiteY104" fmla="*/ 4576 h 10000"/>
                <a:gd name="connsiteX105" fmla="*/ 7942 w 10000"/>
                <a:gd name="connsiteY105" fmla="*/ 4621 h 10000"/>
                <a:gd name="connsiteX106" fmla="*/ 7903 w 10000"/>
                <a:gd name="connsiteY106" fmla="*/ 4532 h 10000"/>
                <a:gd name="connsiteX107" fmla="*/ 7765 w 10000"/>
                <a:gd name="connsiteY107" fmla="*/ 4456 h 10000"/>
                <a:gd name="connsiteX108" fmla="*/ 7213 w 10000"/>
                <a:gd name="connsiteY108" fmla="*/ 4297 h 10000"/>
                <a:gd name="connsiteX109" fmla="*/ 6887 w 10000"/>
                <a:gd name="connsiteY109" fmla="*/ 4324 h 10000"/>
                <a:gd name="connsiteX110" fmla="*/ 6757 w 10000"/>
                <a:gd name="connsiteY110" fmla="*/ 4278 h 10000"/>
                <a:gd name="connsiteX111" fmla="*/ 6894 w 10000"/>
                <a:gd name="connsiteY111" fmla="*/ 4240 h 10000"/>
                <a:gd name="connsiteX112" fmla="*/ 6998 w 10000"/>
                <a:gd name="connsiteY112" fmla="*/ 4156 h 10000"/>
                <a:gd name="connsiteX113" fmla="*/ 7152 w 10000"/>
                <a:gd name="connsiteY113" fmla="*/ 4182 h 10000"/>
                <a:gd name="connsiteX114" fmla="*/ 7335 w 10000"/>
                <a:gd name="connsiteY114" fmla="*/ 4161 h 10000"/>
                <a:gd name="connsiteX115" fmla="*/ 7611 w 10000"/>
                <a:gd name="connsiteY115" fmla="*/ 4188 h 10000"/>
                <a:gd name="connsiteX116" fmla="*/ 7645 w 10000"/>
                <a:gd name="connsiteY116" fmla="*/ 4177 h 10000"/>
                <a:gd name="connsiteX117" fmla="*/ 7859 w 10000"/>
                <a:gd name="connsiteY117" fmla="*/ 4305 h 10000"/>
                <a:gd name="connsiteX118" fmla="*/ 8017 w 10000"/>
                <a:gd name="connsiteY118" fmla="*/ 4257 h 10000"/>
                <a:gd name="connsiteX119" fmla="*/ 8032 w 10000"/>
                <a:gd name="connsiteY119" fmla="*/ 4214 h 10000"/>
                <a:gd name="connsiteX120" fmla="*/ 8176 w 10000"/>
                <a:gd name="connsiteY120" fmla="*/ 4290 h 10000"/>
                <a:gd name="connsiteX121" fmla="*/ 8369 w 10000"/>
                <a:gd name="connsiteY121" fmla="*/ 4331 h 10000"/>
                <a:gd name="connsiteX122" fmla="*/ 8446 w 10000"/>
                <a:gd name="connsiteY122" fmla="*/ 4255 h 10000"/>
                <a:gd name="connsiteX123" fmla="*/ 8507 w 10000"/>
                <a:gd name="connsiteY123" fmla="*/ 4297 h 10000"/>
                <a:gd name="connsiteX124" fmla="*/ 8596 w 10000"/>
                <a:gd name="connsiteY124" fmla="*/ 4446 h 10000"/>
                <a:gd name="connsiteX125" fmla="*/ 8782 w 10000"/>
                <a:gd name="connsiteY125" fmla="*/ 4478 h 10000"/>
                <a:gd name="connsiteX126" fmla="*/ 9542 w 10000"/>
                <a:gd name="connsiteY126" fmla="*/ 4262 h 10000"/>
                <a:gd name="connsiteX127" fmla="*/ 9914 w 10000"/>
                <a:gd name="connsiteY127" fmla="*/ 3962 h 10000"/>
                <a:gd name="connsiteX128" fmla="*/ 10000 w 10000"/>
                <a:gd name="connsiteY128" fmla="*/ 3744 h 10000"/>
                <a:gd name="connsiteX129" fmla="*/ 9866 w 10000"/>
                <a:gd name="connsiteY129" fmla="*/ 3546 h 10000"/>
                <a:gd name="connsiteX130" fmla="*/ 9582 w 10000"/>
                <a:gd name="connsiteY130" fmla="*/ 3428 h 10000"/>
                <a:gd name="connsiteX131" fmla="*/ 9382 w 10000"/>
                <a:gd name="connsiteY131" fmla="*/ 3233 h 10000"/>
                <a:gd name="connsiteX132" fmla="*/ 9569 w 10000"/>
                <a:gd name="connsiteY132" fmla="*/ 3227 h 10000"/>
                <a:gd name="connsiteX133" fmla="*/ 9555 w 10000"/>
                <a:gd name="connsiteY133" fmla="*/ 3180 h 10000"/>
                <a:gd name="connsiteX134" fmla="*/ 9068 w 10000"/>
                <a:gd name="connsiteY134" fmla="*/ 3045 h 10000"/>
                <a:gd name="connsiteX135" fmla="*/ 9047 w 10000"/>
                <a:gd name="connsiteY135" fmla="*/ 2920 h 10000"/>
                <a:gd name="connsiteX136" fmla="*/ 8953 w 10000"/>
                <a:gd name="connsiteY136" fmla="*/ 2789 h 10000"/>
                <a:gd name="connsiteX137" fmla="*/ 8569 w 10000"/>
                <a:gd name="connsiteY137" fmla="*/ 2813 h 10000"/>
                <a:gd name="connsiteX138" fmla="*/ 8431 w 10000"/>
                <a:gd name="connsiteY138" fmla="*/ 2673 h 10000"/>
                <a:gd name="connsiteX139" fmla="*/ 8350 w 10000"/>
                <a:gd name="connsiteY139" fmla="*/ 2665 h 10000"/>
                <a:gd name="connsiteX140" fmla="*/ 8350 w 10000"/>
                <a:gd name="connsiteY140" fmla="*/ 2726 h 10000"/>
                <a:gd name="connsiteX141" fmla="*/ 8176 w 10000"/>
                <a:gd name="connsiteY141" fmla="*/ 2959 h 10000"/>
                <a:gd name="connsiteX142" fmla="*/ 7990 w 10000"/>
                <a:gd name="connsiteY142" fmla="*/ 3096 h 10000"/>
                <a:gd name="connsiteX143" fmla="*/ 7401 w 10000"/>
                <a:gd name="connsiteY143" fmla="*/ 3329 h 10000"/>
                <a:gd name="connsiteX144" fmla="*/ 7198 w 10000"/>
                <a:gd name="connsiteY144" fmla="*/ 3322 h 10000"/>
                <a:gd name="connsiteX145" fmla="*/ 6915 w 10000"/>
                <a:gd name="connsiteY145" fmla="*/ 3359 h 10000"/>
                <a:gd name="connsiteX146" fmla="*/ 6757 w 10000"/>
                <a:gd name="connsiteY146" fmla="*/ 3322 h 10000"/>
                <a:gd name="connsiteX147" fmla="*/ 6965 w 10000"/>
                <a:gd name="connsiteY147" fmla="*/ 3255 h 10000"/>
                <a:gd name="connsiteX148" fmla="*/ 7235 w 10000"/>
                <a:gd name="connsiteY148" fmla="*/ 3227 h 10000"/>
                <a:gd name="connsiteX149" fmla="*/ 7455 w 10000"/>
                <a:gd name="connsiteY149" fmla="*/ 3118 h 10000"/>
                <a:gd name="connsiteX150" fmla="*/ 7674 w 10000"/>
                <a:gd name="connsiteY150" fmla="*/ 3066 h 10000"/>
                <a:gd name="connsiteX151" fmla="*/ 8082 w 10000"/>
                <a:gd name="connsiteY151" fmla="*/ 2874 h 10000"/>
                <a:gd name="connsiteX152" fmla="*/ 8157 w 10000"/>
                <a:gd name="connsiteY152" fmla="*/ 2750 h 10000"/>
                <a:gd name="connsiteX153" fmla="*/ 8165 w 10000"/>
                <a:gd name="connsiteY153" fmla="*/ 2589 h 10000"/>
                <a:gd name="connsiteX154" fmla="*/ 7978 w 10000"/>
                <a:gd name="connsiteY154" fmla="*/ 2562 h 10000"/>
                <a:gd name="connsiteX155" fmla="*/ 8058 w 10000"/>
                <a:gd name="connsiteY155" fmla="*/ 2463 h 10000"/>
                <a:gd name="connsiteX156" fmla="*/ 8087 w 10000"/>
                <a:gd name="connsiteY156" fmla="*/ 2338 h 10000"/>
                <a:gd name="connsiteX157" fmla="*/ 8007 w 10000"/>
                <a:gd name="connsiteY157" fmla="*/ 2222 h 10000"/>
                <a:gd name="connsiteX158" fmla="*/ 6909 w 10000"/>
                <a:gd name="connsiteY158" fmla="*/ 2300 h 10000"/>
                <a:gd name="connsiteX159" fmla="*/ 6563 w 10000"/>
                <a:gd name="connsiteY159" fmla="*/ 2328 h 10000"/>
                <a:gd name="connsiteX160" fmla="*/ 6304 w 10000"/>
                <a:gd name="connsiteY160" fmla="*/ 1864 h 10000"/>
                <a:gd name="connsiteX161" fmla="*/ 5294 w 10000"/>
                <a:gd name="connsiteY161" fmla="*/ 1779 h 10000"/>
                <a:gd name="connsiteX162" fmla="*/ 4505 w 10000"/>
                <a:gd name="connsiteY162" fmla="*/ 1407 h 10000"/>
                <a:gd name="connsiteX163" fmla="*/ 3730 w 10000"/>
                <a:gd name="connsiteY163" fmla="*/ 962 h 10000"/>
                <a:gd name="connsiteX164" fmla="*/ 3154 w 10000"/>
                <a:gd name="connsiteY164" fmla="*/ 143 h 10000"/>
                <a:gd name="connsiteX165" fmla="*/ 2375 w 10000"/>
                <a:gd name="connsiteY165" fmla="*/ 0 h 10000"/>
                <a:gd name="connsiteX166" fmla="*/ 2226 w 10000"/>
                <a:gd name="connsiteY166" fmla="*/ 772 h 10000"/>
                <a:gd name="connsiteX167" fmla="*/ 2375 w 10000"/>
                <a:gd name="connsiteY167" fmla="*/ 967 h 10000"/>
                <a:gd name="connsiteX168" fmla="*/ 2791 w 10000"/>
                <a:gd name="connsiteY168" fmla="*/ 1185 h 10000"/>
                <a:gd name="connsiteX169" fmla="*/ 2808 w 10000"/>
                <a:gd name="connsiteY169" fmla="*/ 1446 h 10000"/>
                <a:gd name="connsiteX170" fmla="*/ 2632 w 10000"/>
                <a:gd name="connsiteY170" fmla="*/ 1665 h 10000"/>
                <a:gd name="connsiteX171" fmla="*/ 2375 w 10000"/>
                <a:gd name="connsiteY171" fmla="*/ 1798 h 10000"/>
                <a:gd name="connsiteX172" fmla="*/ 2039 w 10000"/>
                <a:gd name="connsiteY172" fmla="*/ 1851 h 10000"/>
                <a:gd name="connsiteX173" fmla="*/ 1950 w 10000"/>
                <a:gd name="connsiteY173" fmla="*/ 1929 h 10000"/>
                <a:gd name="connsiteX174" fmla="*/ 2148 w 10000"/>
                <a:gd name="connsiteY174" fmla="*/ 2110 h 10000"/>
                <a:gd name="connsiteX175" fmla="*/ 2261 w 10000"/>
                <a:gd name="connsiteY175" fmla="*/ 2541 h 10000"/>
                <a:gd name="connsiteX176" fmla="*/ 2005 w 10000"/>
                <a:gd name="connsiteY176" fmla="*/ 2910 h 10000"/>
                <a:gd name="connsiteX177" fmla="*/ 2094 w 10000"/>
                <a:gd name="connsiteY177" fmla="*/ 3022 h 10000"/>
                <a:gd name="connsiteX178" fmla="*/ 2012 w 10000"/>
                <a:gd name="connsiteY178" fmla="*/ 3214 h 10000"/>
                <a:gd name="connsiteX179" fmla="*/ 1850 w 10000"/>
                <a:gd name="connsiteY179" fmla="*/ 3349 h 10000"/>
                <a:gd name="connsiteX180" fmla="*/ 1199 w 10000"/>
                <a:gd name="connsiteY180" fmla="*/ 3450 h 10000"/>
                <a:gd name="connsiteX181" fmla="*/ 1158 w 10000"/>
                <a:gd name="connsiteY181" fmla="*/ 3629 h 10000"/>
                <a:gd name="connsiteX182" fmla="*/ 808 w 10000"/>
                <a:gd name="connsiteY182" fmla="*/ 3893 h 10000"/>
                <a:gd name="connsiteX183" fmla="*/ 854 w 10000"/>
                <a:gd name="connsiteY183" fmla="*/ 4276 h 10000"/>
                <a:gd name="connsiteX184" fmla="*/ 560 w 10000"/>
                <a:gd name="connsiteY184" fmla="*/ 4766 h 10000"/>
                <a:gd name="connsiteX185" fmla="*/ 358 w 10000"/>
                <a:gd name="connsiteY185" fmla="*/ 4822 h 10000"/>
                <a:gd name="connsiteX186" fmla="*/ 275 w 10000"/>
                <a:gd name="connsiteY186" fmla="*/ 4706 h 10000"/>
                <a:gd name="connsiteX187" fmla="*/ 174 w 10000"/>
                <a:gd name="connsiteY187" fmla="*/ 4882 h 10000"/>
                <a:gd name="connsiteX188" fmla="*/ 239 w 10000"/>
                <a:gd name="connsiteY188" fmla="*/ 4578 h 10000"/>
                <a:gd name="connsiteX189" fmla="*/ 197 w 10000"/>
                <a:gd name="connsiteY189" fmla="*/ 4521 h 10000"/>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3212 w 10000"/>
                <a:gd name="connsiteY47" fmla="*/ 9941 h 10000"/>
                <a:gd name="connsiteX48" fmla="*/ 3348 w 10000"/>
                <a:gd name="connsiteY48" fmla="*/ 9745 h 10000"/>
                <a:gd name="connsiteX49" fmla="*/ 3313 w 10000"/>
                <a:gd name="connsiteY49" fmla="*/ 9423 h 10000"/>
                <a:gd name="connsiteX50" fmla="*/ 3642 w 10000"/>
                <a:gd name="connsiteY50" fmla="*/ 9067 h 10000"/>
                <a:gd name="connsiteX51" fmla="*/ 3883 w 10000"/>
                <a:gd name="connsiteY51" fmla="*/ 9124 h 10000"/>
                <a:gd name="connsiteX52" fmla="*/ 4025 w 10000"/>
                <a:gd name="connsiteY52" fmla="*/ 8982 h 10000"/>
                <a:gd name="connsiteX53" fmla="*/ 4294 w 10000"/>
                <a:gd name="connsiteY53" fmla="*/ 8899 h 10000"/>
                <a:gd name="connsiteX54" fmla="*/ 4658 w 10000"/>
                <a:gd name="connsiteY54" fmla="*/ 8919 h 10000"/>
                <a:gd name="connsiteX55" fmla="*/ 4878 w 10000"/>
                <a:gd name="connsiteY55" fmla="*/ 8975 h 10000"/>
                <a:gd name="connsiteX56" fmla="*/ 5170 w 10000"/>
                <a:gd name="connsiteY56" fmla="*/ 8951 h 10000"/>
                <a:gd name="connsiteX57" fmla="*/ 5464 w 10000"/>
                <a:gd name="connsiteY57" fmla="*/ 9012 h 10000"/>
                <a:gd name="connsiteX58" fmla="*/ 5759 w 10000"/>
                <a:gd name="connsiteY58" fmla="*/ 9020 h 10000"/>
                <a:gd name="connsiteX59" fmla="*/ 6419 w 10000"/>
                <a:gd name="connsiteY59" fmla="*/ 8186 h 10000"/>
                <a:gd name="connsiteX60" fmla="*/ 6586 w 10000"/>
                <a:gd name="connsiteY60" fmla="*/ 7505 h 10000"/>
                <a:gd name="connsiteX61" fmla="*/ 6855 w 10000"/>
                <a:gd name="connsiteY61" fmla="*/ 7204 h 10000"/>
                <a:gd name="connsiteX62" fmla="*/ 6855 w 10000"/>
                <a:gd name="connsiteY62" fmla="*/ 7043 h 10000"/>
                <a:gd name="connsiteX63" fmla="*/ 6757 w 10000"/>
                <a:gd name="connsiteY63" fmla="*/ 6956 h 10000"/>
                <a:gd name="connsiteX64" fmla="*/ 6915 w 10000"/>
                <a:gd name="connsiteY64" fmla="*/ 6811 h 10000"/>
                <a:gd name="connsiteX65" fmla="*/ 6887 w 10000"/>
                <a:gd name="connsiteY65" fmla="*/ 6693 h 10000"/>
                <a:gd name="connsiteX66" fmla="*/ 6779 w 10000"/>
                <a:gd name="connsiteY66" fmla="*/ 6592 h 10000"/>
                <a:gd name="connsiteX67" fmla="*/ 6757 w 10000"/>
                <a:gd name="connsiteY67" fmla="*/ 6514 h 10000"/>
                <a:gd name="connsiteX68" fmla="*/ 6785 w 10000"/>
                <a:gd name="connsiteY68" fmla="*/ 6457 h 10000"/>
                <a:gd name="connsiteX69" fmla="*/ 6931 w 10000"/>
                <a:gd name="connsiteY69" fmla="*/ 6503 h 10000"/>
                <a:gd name="connsiteX70" fmla="*/ 7045 w 10000"/>
                <a:gd name="connsiteY70" fmla="*/ 6500 h 10000"/>
                <a:gd name="connsiteX71" fmla="*/ 6983 w 10000"/>
                <a:gd name="connsiteY71" fmla="*/ 6404 h 10000"/>
                <a:gd name="connsiteX72" fmla="*/ 7003 w 10000"/>
                <a:gd name="connsiteY72" fmla="*/ 6346 h 10000"/>
                <a:gd name="connsiteX73" fmla="*/ 7089 w 10000"/>
                <a:gd name="connsiteY73" fmla="*/ 6265 h 10000"/>
                <a:gd name="connsiteX74" fmla="*/ 7074 w 10000"/>
                <a:gd name="connsiteY74" fmla="*/ 6198 h 10000"/>
                <a:gd name="connsiteX75" fmla="*/ 7152 w 10000"/>
                <a:gd name="connsiteY75" fmla="*/ 5971 h 10000"/>
                <a:gd name="connsiteX76" fmla="*/ 7130 w 10000"/>
                <a:gd name="connsiteY76" fmla="*/ 5902 h 10000"/>
                <a:gd name="connsiteX77" fmla="*/ 6729 w 10000"/>
                <a:gd name="connsiteY77" fmla="*/ 5729 h 10000"/>
                <a:gd name="connsiteX78" fmla="*/ 6785 w 10000"/>
                <a:gd name="connsiteY78" fmla="*/ 5723 h 10000"/>
                <a:gd name="connsiteX79" fmla="*/ 6998 w 10000"/>
                <a:gd name="connsiteY79" fmla="*/ 5768 h 10000"/>
                <a:gd name="connsiteX80" fmla="*/ 7230 w 10000"/>
                <a:gd name="connsiteY80" fmla="*/ 5751 h 10000"/>
                <a:gd name="connsiteX81" fmla="*/ 7295 w 10000"/>
                <a:gd name="connsiteY81" fmla="*/ 5689 h 10000"/>
                <a:gd name="connsiteX82" fmla="*/ 7074 w 10000"/>
                <a:gd name="connsiteY82" fmla="*/ 5571 h 10000"/>
                <a:gd name="connsiteX83" fmla="*/ 6414 w 10000"/>
                <a:gd name="connsiteY83" fmla="*/ 5495 h 10000"/>
                <a:gd name="connsiteX84" fmla="*/ 6458 w 10000"/>
                <a:gd name="connsiteY84" fmla="*/ 5459 h 10000"/>
                <a:gd name="connsiteX85" fmla="*/ 6998 w 10000"/>
                <a:gd name="connsiteY85" fmla="*/ 5434 h 10000"/>
                <a:gd name="connsiteX86" fmla="*/ 7295 w 10000"/>
                <a:gd name="connsiteY86" fmla="*/ 5506 h 10000"/>
                <a:gd name="connsiteX87" fmla="*/ 7466 w 10000"/>
                <a:gd name="connsiteY87" fmla="*/ 5459 h 10000"/>
                <a:gd name="connsiteX88" fmla="*/ 7529 w 10000"/>
                <a:gd name="connsiteY88" fmla="*/ 5337 h 10000"/>
                <a:gd name="connsiteX89" fmla="*/ 7840 w 10000"/>
                <a:gd name="connsiteY89" fmla="*/ 5337 h 10000"/>
                <a:gd name="connsiteX90" fmla="*/ 8261 w 10000"/>
                <a:gd name="connsiteY90" fmla="*/ 5093 h 10000"/>
                <a:gd name="connsiteX91" fmla="*/ 8275 w 10000"/>
                <a:gd name="connsiteY91" fmla="*/ 4928 h 10000"/>
                <a:gd name="connsiteX92" fmla="*/ 8453 w 10000"/>
                <a:gd name="connsiteY92" fmla="*/ 4965 h 10000"/>
                <a:gd name="connsiteX93" fmla="*/ 8446 w 10000"/>
                <a:gd name="connsiteY93" fmla="*/ 5130 h 10000"/>
                <a:gd name="connsiteX94" fmla="*/ 8727 w 10000"/>
                <a:gd name="connsiteY94" fmla="*/ 5118 h 10000"/>
                <a:gd name="connsiteX95" fmla="*/ 8913 w 10000"/>
                <a:gd name="connsiteY95" fmla="*/ 4948 h 10000"/>
                <a:gd name="connsiteX96" fmla="*/ 9258 w 10000"/>
                <a:gd name="connsiteY96" fmla="*/ 4795 h 10000"/>
                <a:gd name="connsiteX97" fmla="*/ 9203 w 10000"/>
                <a:gd name="connsiteY97" fmla="*/ 4621 h 10000"/>
                <a:gd name="connsiteX98" fmla="*/ 9306 w 10000"/>
                <a:gd name="connsiteY98" fmla="*/ 4690 h 10000"/>
                <a:gd name="connsiteX99" fmla="*/ 9464 w 10000"/>
                <a:gd name="connsiteY99" fmla="*/ 4690 h 10000"/>
                <a:gd name="connsiteX100" fmla="*/ 9464 w 10000"/>
                <a:gd name="connsiteY100" fmla="*/ 4609 h 10000"/>
                <a:gd name="connsiteX101" fmla="*/ 9611 w 10000"/>
                <a:gd name="connsiteY101" fmla="*/ 4550 h 10000"/>
                <a:gd name="connsiteX102" fmla="*/ 9592 w 10000"/>
                <a:gd name="connsiteY102" fmla="*/ 4487 h 10000"/>
                <a:gd name="connsiteX103" fmla="*/ 8350 w 10000"/>
                <a:gd name="connsiteY103" fmla="*/ 4611 h 10000"/>
                <a:gd name="connsiteX104" fmla="*/ 8058 w 10000"/>
                <a:gd name="connsiteY104" fmla="*/ 4576 h 10000"/>
                <a:gd name="connsiteX105" fmla="*/ 7942 w 10000"/>
                <a:gd name="connsiteY105" fmla="*/ 4621 h 10000"/>
                <a:gd name="connsiteX106" fmla="*/ 7903 w 10000"/>
                <a:gd name="connsiteY106" fmla="*/ 4532 h 10000"/>
                <a:gd name="connsiteX107" fmla="*/ 7765 w 10000"/>
                <a:gd name="connsiteY107" fmla="*/ 4456 h 10000"/>
                <a:gd name="connsiteX108" fmla="*/ 7213 w 10000"/>
                <a:gd name="connsiteY108" fmla="*/ 4297 h 10000"/>
                <a:gd name="connsiteX109" fmla="*/ 6887 w 10000"/>
                <a:gd name="connsiteY109" fmla="*/ 4324 h 10000"/>
                <a:gd name="connsiteX110" fmla="*/ 6757 w 10000"/>
                <a:gd name="connsiteY110" fmla="*/ 4278 h 10000"/>
                <a:gd name="connsiteX111" fmla="*/ 6894 w 10000"/>
                <a:gd name="connsiteY111" fmla="*/ 4240 h 10000"/>
                <a:gd name="connsiteX112" fmla="*/ 6998 w 10000"/>
                <a:gd name="connsiteY112" fmla="*/ 4156 h 10000"/>
                <a:gd name="connsiteX113" fmla="*/ 7152 w 10000"/>
                <a:gd name="connsiteY113" fmla="*/ 4182 h 10000"/>
                <a:gd name="connsiteX114" fmla="*/ 7335 w 10000"/>
                <a:gd name="connsiteY114" fmla="*/ 4161 h 10000"/>
                <a:gd name="connsiteX115" fmla="*/ 7611 w 10000"/>
                <a:gd name="connsiteY115" fmla="*/ 4188 h 10000"/>
                <a:gd name="connsiteX116" fmla="*/ 7645 w 10000"/>
                <a:gd name="connsiteY116" fmla="*/ 4177 h 10000"/>
                <a:gd name="connsiteX117" fmla="*/ 7859 w 10000"/>
                <a:gd name="connsiteY117" fmla="*/ 4305 h 10000"/>
                <a:gd name="connsiteX118" fmla="*/ 8017 w 10000"/>
                <a:gd name="connsiteY118" fmla="*/ 4257 h 10000"/>
                <a:gd name="connsiteX119" fmla="*/ 8032 w 10000"/>
                <a:gd name="connsiteY119" fmla="*/ 4214 h 10000"/>
                <a:gd name="connsiteX120" fmla="*/ 8176 w 10000"/>
                <a:gd name="connsiteY120" fmla="*/ 4290 h 10000"/>
                <a:gd name="connsiteX121" fmla="*/ 8369 w 10000"/>
                <a:gd name="connsiteY121" fmla="*/ 4331 h 10000"/>
                <a:gd name="connsiteX122" fmla="*/ 8446 w 10000"/>
                <a:gd name="connsiteY122" fmla="*/ 4255 h 10000"/>
                <a:gd name="connsiteX123" fmla="*/ 8507 w 10000"/>
                <a:gd name="connsiteY123" fmla="*/ 4297 h 10000"/>
                <a:gd name="connsiteX124" fmla="*/ 8596 w 10000"/>
                <a:gd name="connsiteY124" fmla="*/ 4446 h 10000"/>
                <a:gd name="connsiteX125" fmla="*/ 8782 w 10000"/>
                <a:gd name="connsiteY125" fmla="*/ 4478 h 10000"/>
                <a:gd name="connsiteX126" fmla="*/ 9542 w 10000"/>
                <a:gd name="connsiteY126" fmla="*/ 4262 h 10000"/>
                <a:gd name="connsiteX127" fmla="*/ 9914 w 10000"/>
                <a:gd name="connsiteY127" fmla="*/ 3962 h 10000"/>
                <a:gd name="connsiteX128" fmla="*/ 10000 w 10000"/>
                <a:gd name="connsiteY128" fmla="*/ 3744 h 10000"/>
                <a:gd name="connsiteX129" fmla="*/ 9866 w 10000"/>
                <a:gd name="connsiteY129" fmla="*/ 3546 h 10000"/>
                <a:gd name="connsiteX130" fmla="*/ 9582 w 10000"/>
                <a:gd name="connsiteY130" fmla="*/ 3428 h 10000"/>
                <a:gd name="connsiteX131" fmla="*/ 9382 w 10000"/>
                <a:gd name="connsiteY131" fmla="*/ 3233 h 10000"/>
                <a:gd name="connsiteX132" fmla="*/ 9569 w 10000"/>
                <a:gd name="connsiteY132" fmla="*/ 3227 h 10000"/>
                <a:gd name="connsiteX133" fmla="*/ 9555 w 10000"/>
                <a:gd name="connsiteY133" fmla="*/ 3180 h 10000"/>
                <a:gd name="connsiteX134" fmla="*/ 9068 w 10000"/>
                <a:gd name="connsiteY134" fmla="*/ 3045 h 10000"/>
                <a:gd name="connsiteX135" fmla="*/ 9047 w 10000"/>
                <a:gd name="connsiteY135" fmla="*/ 2920 h 10000"/>
                <a:gd name="connsiteX136" fmla="*/ 8953 w 10000"/>
                <a:gd name="connsiteY136" fmla="*/ 2789 h 10000"/>
                <a:gd name="connsiteX137" fmla="*/ 8569 w 10000"/>
                <a:gd name="connsiteY137" fmla="*/ 2813 h 10000"/>
                <a:gd name="connsiteX138" fmla="*/ 8431 w 10000"/>
                <a:gd name="connsiteY138" fmla="*/ 2673 h 10000"/>
                <a:gd name="connsiteX139" fmla="*/ 8350 w 10000"/>
                <a:gd name="connsiteY139" fmla="*/ 2665 h 10000"/>
                <a:gd name="connsiteX140" fmla="*/ 8350 w 10000"/>
                <a:gd name="connsiteY140" fmla="*/ 2726 h 10000"/>
                <a:gd name="connsiteX141" fmla="*/ 8176 w 10000"/>
                <a:gd name="connsiteY141" fmla="*/ 2959 h 10000"/>
                <a:gd name="connsiteX142" fmla="*/ 7990 w 10000"/>
                <a:gd name="connsiteY142" fmla="*/ 3096 h 10000"/>
                <a:gd name="connsiteX143" fmla="*/ 7401 w 10000"/>
                <a:gd name="connsiteY143" fmla="*/ 3329 h 10000"/>
                <a:gd name="connsiteX144" fmla="*/ 7198 w 10000"/>
                <a:gd name="connsiteY144" fmla="*/ 3322 h 10000"/>
                <a:gd name="connsiteX145" fmla="*/ 6915 w 10000"/>
                <a:gd name="connsiteY145" fmla="*/ 3359 h 10000"/>
                <a:gd name="connsiteX146" fmla="*/ 6757 w 10000"/>
                <a:gd name="connsiteY146" fmla="*/ 3322 h 10000"/>
                <a:gd name="connsiteX147" fmla="*/ 6965 w 10000"/>
                <a:gd name="connsiteY147" fmla="*/ 3255 h 10000"/>
                <a:gd name="connsiteX148" fmla="*/ 7235 w 10000"/>
                <a:gd name="connsiteY148" fmla="*/ 3227 h 10000"/>
                <a:gd name="connsiteX149" fmla="*/ 7455 w 10000"/>
                <a:gd name="connsiteY149" fmla="*/ 3118 h 10000"/>
                <a:gd name="connsiteX150" fmla="*/ 7674 w 10000"/>
                <a:gd name="connsiteY150" fmla="*/ 3066 h 10000"/>
                <a:gd name="connsiteX151" fmla="*/ 8082 w 10000"/>
                <a:gd name="connsiteY151" fmla="*/ 2874 h 10000"/>
                <a:gd name="connsiteX152" fmla="*/ 8157 w 10000"/>
                <a:gd name="connsiteY152" fmla="*/ 2750 h 10000"/>
                <a:gd name="connsiteX153" fmla="*/ 8165 w 10000"/>
                <a:gd name="connsiteY153" fmla="*/ 2589 h 10000"/>
                <a:gd name="connsiteX154" fmla="*/ 7978 w 10000"/>
                <a:gd name="connsiteY154" fmla="*/ 2562 h 10000"/>
                <a:gd name="connsiteX155" fmla="*/ 8058 w 10000"/>
                <a:gd name="connsiteY155" fmla="*/ 2463 h 10000"/>
                <a:gd name="connsiteX156" fmla="*/ 8087 w 10000"/>
                <a:gd name="connsiteY156" fmla="*/ 2338 h 10000"/>
                <a:gd name="connsiteX157" fmla="*/ 8007 w 10000"/>
                <a:gd name="connsiteY157" fmla="*/ 2222 h 10000"/>
                <a:gd name="connsiteX158" fmla="*/ 7479 w 10000"/>
                <a:gd name="connsiteY158" fmla="*/ 2459 h 10000"/>
                <a:gd name="connsiteX159" fmla="*/ 6563 w 10000"/>
                <a:gd name="connsiteY159" fmla="*/ 2328 h 10000"/>
                <a:gd name="connsiteX160" fmla="*/ 6304 w 10000"/>
                <a:gd name="connsiteY160" fmla="*/ 1864 h 10000"/>
                <a:gd name="connsiteX161" fmla="*/ 5294 w 10000"/>
                <a:gd name="connsiteY161" fmla="*/ 1779 h 10000"/>
                <a:gd name="connsiteX162" fmla="*/ 4505 w 10000"/>
                <a:gd name="connsiteY162" fmla="*/ 1407 h 10000"/>
                <a:gd name="connsiteX163" fmla="*/ 3730 w 10000"/>
                <a:gd name="connsiteY163" fmla="*/ 962 h 10000"/>
                <a:gd name="connsiteX164" fmla="*/ 3154 w 10000"/>
                <a:gd name="connsiteY164" fmla="*/ 143 h 10000"/>
                <a:gd name="connsiteX165" fmla="*/ 2375 w 10000"/>
                <a:gd name="connsiteY165" fmla="*/ 0 h 10000"/>
                <a:gd name="connsiteX166" fmla="*/ 2226 w 10000"/>
                <a:gd name="connsiteY166" fmla="*/ 772 h 10000"/>
                <a:gd name="connsiteX167" fmla="*/ 2375 w 10000"/>
                <a:gd name="connsiteY167" fmla="*/ 967 h 10000"/>
                <a:gd name="connsiteX168" fmla="*/ 2791 w 10000"/>
                <a:gd name="connsiteY168" fmla="*/ 1185 h 10000"/>
                <a:gd name="connsiteX169" fmla="*/ 2808 w 10000"/>
                <a:gd name="connsiteY169" fmla="*/ 1446 h 10000"/>
                <a:gd name="connsiteX170" fmla="*/ 2632 w 10000"/>
                <a:gd name="connsiteY170" fmla="*/ 1665 h 10000"/>
                <a:gd name="connsiteX171" fmla="*/ 2375 w 10000"/>
                <a:gd name="connsiteY171" fmla="*/ 1798 h 10000"/>
                <a:gd name="connsiteX172" fmla="*/ 2039 w 10000"/>
                <a:gd name="connsiteY172" fmla="*/ 1851 h 10000"/>
                <a:gd name="connsiteX173" fmla="*/ 1950 w 10000"/>
                <a:gd name="connsiteY173" fmla="*/ 1929 h 10000"/>
                <a:gd name="connsiteX174" fmla="*/ 2148 w 10000"/>
                <a:gd name="connsiteY174" fmla="*/ 2110 h 10000"/>
                <a:gd name="connsiteX175" fmla="*/ 2261 w 10000"/>
                <a:gd name="connsiteY175" fmla="*/ 2541 h 10000"/>
                <a:gd name="connsiteX176" fmla="*/ 2005 w 10000"/>
                <a:gd name="connsiteY176" fmla="*/ 2910 h 10000"/>
                <a:gd name="connsiteX177" fmla="*/ 2094 w 10000"/>
                <a:gd name="connsiteY177" fmla="*/ 3022 h 10000"/>
                <a:gd name="connsiteX178" fmla="*/ 2012 w 10000"/>
                <a:gd name="connsiteY178" fmla="*/ 3214 h 10000"/>
                <a:gd name="connsiteX179" fmla="*/ 1850 w 10000"/>
                <a:gd name="connsiteY179" fmla="*/ 3349 h 10000"/>
                <a:gd name="connsiteX180" fmla="*/ 1199 w 10000"/>
                <a:gd name="connsiteY180" fmla="*/ 3450 h 10000"/>
                <a:gd name="connsiteX181" fmla="*/ 1158 w 10000"/>
                <a:gd name="connsiteY181" fmla="*/ 3629 h 10000"/>
                <a:gd name="connsiteX182" fmla="*/ 808 w 10000"/>
                <a:gd name="connsiteY182" fmla="*/ 3893 h 10000"/>
                <a:gd name="connsiteX183" fmla="*/ 854 w 10000"/>
                <a:gd name="connsiteY183" fmla="*/ 4276 h 10000"/>
                <a:gd name="connsiteX184" fmla="*/ 560 w 10000"/>
                <a:gd name="connsiteY184" fmla="*/ 4766 h 10000"/>
                <a:gd name="connsiteX185" fmla="*/ 358 w 10000"/>
                <a:gd name="connsiteY185" fmla="*/ 4822 h 10000"/>
                <a:gd name="connsiteX186" fmla="*/ 275 w 10000"/>
                <a:gd name="connsiteY186" fmla="*/ 4706 h 10000"/>
                <a:gd name="connsiteX187" fmla="*/ 174 w 10000"/>
                <a:gd name="connsiteY187" fmla="*/ 4882 h 10000"/>
                <a:gd name="connsiteX188" fmla="*/ 239 w 10000"/>
                <a:gd name="connsiteY188" fmla="*/ 4578 h 10000"/>
                <a:gd name="connsiteX189" fmla="*/ 197 w 10000"/>
                <a:gd name="connsiteY189" fmla="*/ 4521 h 10000"/>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3212 w 10000"/>
                <a:gd name="connsiteY47" fmla="*/ 9941 h 10000"/>
                <a:gd name="connsiteX48" fmla="*/ 3348 w 10000"/>
                <a:gd name="connsiteY48" fmla="*/ 9745 h 10000"/>
                <a:gd name="connsiteX49" fmla="*/ 3313 w 10000"/>
                <a:gd name="connsiteY49" fmla="*/ 9423 h 10000"/>
                <a:gd name="connsiteX50" fmla="*/ 3642 w 10000"/>
                <a:gd name="connsiteY50" fmla="*/ 9067 h 10000"/>
                <a:gd name="connsiteX51" fmla="*/ 3883 w 10000"/>
                <a:gd name="connsiteY51" fmla="*/ 9124 h 10000"/>
                <a:gd name="connsiteX52" fmla="*/ 4025 w 10000"/>
                <a:gd name="connsiteY52" fmla="*/ 8982 h 10000"/>
                <a:gd name="connsiteX53" fmla="*/ 4294 w 10000"/>
                <a:gd name="connsiteY53" fmla="*/ 8899 h 10000"/>
                <a:gd name="connsiteX54" fmla="*/ 4658 w 10000"/>
                <a:gd name="connsiteY54" fmla="*/ 8919 h 10000"/>
                <a:gd name="connsiteX55" fmla="*/ 4878 w 10000"/>
                <a:gd name="connsiteY55" fmla="*/ 8975 h 10000"/>
                <a:gd name="connsiteX56" fmla="*/ 5170 w 10000"/>
                <a:gd name="connsiteY56" fmla="*/ 8951 h 10000"/>
                <a:gd name="connsiteX57" fmla="*/ 5464 w 10000"/>
                <a:gd name="connsiteY57" fmla="*/ 9012 h 10000"/>
                <a:gd name="connsiteX58" fmla="*/ 5759 w 10000"/>
                <a:gd name="connsiteY58" fmla="*/ 9020 h 10000"/>
                <a:gd name="connsiteX59" fmla="*/ 6419 w 10000"/>
                <a:gd name="connsiteY59" fmla="*/ 8186 h 10000"/>
                <a:gd name="connsiteX60" fmla="*/ 6586 w 10000"/>
                <a:gd name="connsiteY60" fmla="*/ 7505 h 10000"/>
                <a:gd name="connsiteX61" fmla="*/ 6855 w 10000"/>
                <a:gd name="connsiteY61" fmla="*/ 7204 h 10000"/>
                <a:gd name="connsiteX62" fmla="*/ 6855 w 10000"/>
                <a:gd name="connsiteY62" fmla="*/ 7043 h 10000"/>
                <a:gd name="connsiteX63" fmla="*/ 6757 w 10000"/>
                <a:gd name="connsiteY63" fmla="*/ 6956 h 10000"/>
                <a:gd name="connsiteX64" fmla="*/ 6915 w 10000"/>
                <a:gd name="connsiteY64" fmla="*/ 6811 h 10000"/>
                <a:gd name="connsiteX65" fmla="*/ 6887 w 10000"/>
                <a:gd name="connsiteY65" fmla="*/ 6693 h 10000"/>
                <a:gd name="connsiteX66" fmla="*/ 6779 w 10000"/>
                <a:gd name="connsiteY66" fmla="*/ 6592 h 10000"/>
                <a:gd name="connsiteX67" fmla="*/ 6757 w 10000"/>
                <a:gd name="connsiteY67" fmla="*/ 6514 h 10000"/>
                <a:gd name="connsiteX68" fmla="*/ 6785 w 10000"/>
                <a:gd name="connsiteY68" fmla="*/ 6457 h 10000"/>
                <a:gd name="connsiteX69" fmla="*/ 6931 w 10000"/>
                <a:gd name="connsiteY69" fmla="*/ 6503 h 10000"/>
                <a:gd name="connsiteX70" fmla="*/ 7045 w 10000"/>
                <a:gd name="connsiteY70" fmla="*/ 6500 h 10000"/>
                <a:gd name="connsiteX71" fmla="*/ 6983 w 10000"/>
                <a:gd name="connsiteY71" fmla="*/ 6404 h 10000"/>
                <a:gd name="connsiteX72" fmla="*/ 7003 w 10000"/>
                <a:gd name="connsiteY72" fmla="*/ 6346 h 10000"/>
                <a:gd name="connsiteX73" fmla="*/ 7089 w 10000"/>
                <a:gd name="connsiteY73" fmla="*/ 6265 h 10000"/>
                <a:gd name="connsiteX74" fmla="*/ 7074 w 10000"/>
                <a:gd name="connsiteY74" fmla="*/ 6198 h 10000"/>
                <a:gd name="connsiteX75" fmla="*/ 7152 w 10000"/>
                <a:gd name="connsiteY75" fmla="*/ 5971 h 10000"/>
                <a:gd name="connsiteX76" fmla="*/ 7130 w 10000"/>
                <a:gd name="connsiteY76" fmla="*/ 5902 h 10000"/>
                <a:gd name="connsiteX77" fmla="*/ 6729 w 10000"/>
                <a:gd name="connsiteY77" fmla="*/ 5729 h 10000"/>
                <a:gd name="connsiteX78" fmla="*/ 6785 w 10000"/>
                <a:gd name="connsiteY78" fmla="*/ 5723 h 10000"/>
                <a:gd name="connsiteX79" fmla="*/ 6998 w 10000"/>
                <a:gd name="connsiteY79" fmla="*/ 5768 h 10000"/>
                <a:gd name="connsiteX80" fmla="*/ 7230 w 10000"/>
                <a:gd name="connsiteY80" fmla="*/ 5751 h 10000"/>
                <a:gd name="connsiteX81" fmla="*/ 7295 w 10000"/>
                <a:gd name="connsiteY81" fmla="*/ 5689 h 10000"/>
                <a:gd name="connsiteX82" fmla="*/ 7074 w 10000"/>
                <a:gd name="connsiteY82" fmla="*/ 5571 h 10000"/>
                <a:gd name="connsiteX83" fmla="*/ 6414 w 10000"/>
                <a:gd name="connsiteY83" fmla="*/ 5495 h 10000"/>
                <a:gd name="connsiteX84" fmla="*/ 6458 w 10000"/>
                <a:gd name="connsiteY84" fmla="*/ 5459 h 10000"/>
                <a:gd name="connsiteX85" fmla="*/ 6998 w 10000"/>
                <a:gd name="connsiteY85" fmla="*/ 5434 h 10000"/>
                <a:gd name="connsiteX86" fmla="*/ 7295 w 10000"/>
                <a:gd name="connsiteY86" fmla="*/ 5506 h 10000"/>
                <a:gd name="connsiteX87" fmla="*/ 7466 w 10000"/>
                <a:gd name="connsiteY87" fmla="*/ 5459 h 10000"/>
                <a:gd name="connsiteX88" fmla="*/ 7529 w 10000"/>
                <a:gd name="connsiteY88" fmla="*/ 5337 h 10000"/>
                <a:gd name="connsiteX89" fmla="*/ 7840 w 10000"/>
                <a:gd name="connsiteY89" fmla="*/ 5337 h 10000"/>
                <a:gd name="connsiteX90" fmla="*/ 8261 w 10000"/>
                <a:gd name="connsiteY90" fmla="*/ 5093 h 10000"/>
                <a:gd name="connsiteX91" fmla="*/ 8275 w 10000"/>
                <a:gd name="connsiteY91" fmla="*/ 4928 h 10000"/>
                <a:gd name="connsiteX92" fmla="*/ 8453 w 10000"/>
                <a:gd name="connsiteY92" fmla="*/ 4965 h 10000"/>
                <a:gd name="connsiteX93" fmla="*/ 8446 w 10000"/>
                <a:gd name="connsiteY93" fmla="*/ 5130 h 10000"/>
                <a:gd name="connsiteX94" fmla="*/ 8727 w 10000"/>
                <a:gd name="connsiteY94" fmla="*/ 5118 h 10000"/>
                <a:gd name="connsiteX95" fmla="*/ 8913 w 10000"/>
                <a:gd name="connsiteY95" fmla="*/ 4948 h 10000"/>
                <a:gd name="connsiteX96" fmla="*/ 9258 w 10000"/>
                <a:gd name="connsiteY96" fmla="*/ 4795 h 10000"/>
                <a:gd name="connsiteX97" fmla="*/ 9203 w 10000"/>
                <a:gd name="connsiteY97" fmla="*/ 4621 h 10000"/>
                <a:gd name="connsiteX98" fmla="*/ 9306 w 10000"/>
                <a:gd name="connsiteY98" fmla="*/ 4690 h 10000"/>
                <a:gd name="connsiteX99" fmla="*/ 9464 w 10000"/>
                <a:gd name="connsiteY99" fmla="*/ 4690 h 10000"/>
                <a:gd name="connsiteX100" fmla="*/ 9464 w 10000"/>
                <a:gd name="connsiteY100" fmla="*/ 4609 h 10000"/>
                <a:gd name="connsiteX101" fmla="*/ 9611 w 10000"/>
                <a:gd name="connsiteY101" fmla="*/ 4550 h 10000"/>
                <a:gd name="connsiteX102" fmla="*/ 9592 w 10000"/>
                <a:gd name="connsiteY102" fmla="*/ 4487 h 10000"/>
                <a:gd name="connsiteX103" fmla="*/ 8350 w 10000"/>
                <a:gd name="connsiteY103" fmla="*/ 4611 h 10000"/>
                <a:gd name="connsiteX104" fmla="*/ 8058 w 10000"/>
                <a:gd name="connsiteY104" fmla="*/ 4576 h 10000"/>
                <a:gd name="connsiteX105" fmla="*/ 7942 w 10000"/>
                <a:gd name="connsiteY105" fmla="*/ 4621 h 10000"/>
                <a:gd name="connsiteX106" fmla="*/ 7903 w 10000"/>
                <a:gd name="connsiteY106" fmla="*/ 4532 h 10000"/>
                <a:gd name="connsiteX107" fmla="*/ 7765 w 10000"/>
                <a:gd name="connsiteY107" fmla="*/ 4456 h 10000"/>
                <a:gd name="connsiteX108" fmla="*/ 7213 w 10000"/>
                <a:gd name="connsiteY108" fmla="*/ 4297 h 10000"/>
                <a:gd name="connsiteX109" fmla="*/ 6887 w 10000"/>
                <a:gd name="connsiteY109" fmla="*/ 4324 h 10000"/>
                <a:gd name="connsiteX110" fmla="*/ 6757 w 10000"/>
                <a:gd name="connsiteY110" fmla="*/ 4278 h 10000"/>
                <a:gd name="connsiteX111" fmla="*/ 6894 w 10000"/>
                <a:gd name="connsiteY111" fmla="*/ 4240 h 10000"/>
                <a:gd name="connsiteX112" fmla="*/ 6998 w 10000"/>
                <a:gd name="connsiteY112" fmla="*/ 4156 h 10000"/>
                <a:gd name="connsiteX113" fmla="*/ 7152 w 10000"/>
                <a:gd name="connsiteY113" fmla="*/ 4182 h 10000"/>
                <a:gd name="connsiteX114" fmla="*/ 7335 w 10000"/>
                <a:gd name="connsiteY114" fmla="*/ 4161 h 10000"/>
                <a:gd name="connsiteX115" fmla="*/ 7611 w 10000"/>
                <a:gd name="connsiteY115" fmla="*/ 4188 h 10000"/>
                <a:gd name="connsiteX116" fmla="*/ 7645 w 10000"/>
                <a:gd name="connsiteY116" fmla="*/ 4177 h 10000"/>
                <a:gd name="connsiteX117" fmla="*/ 7859 w 10000"/>
                <a:gd name="connsiteY117" fmla="*/ 4305 h 10000"/>
                <a:gd name="connsiteX118" fmla="*/ 8017 w 10000"/>
                <a:gd name="connsiteY118" fmla="*/ 4257 h 10000"/>
                <a:gd name="connsiteX119" fmla="*/ 8032 w 10000"/>
                <a:gd name="connsiteY119" fmla="*/ 4214 h 10000"/>
                <a:gd name="connsiteX120" fmla="*/ 8176 w 10000"/>
                <a:gd name="connsiteY120" fmla="*/ 4290 h 10000"/>
                <a:gd name="connsiteX121" fmla="*/ 8369 w 10000"/>
                <a:gd name="connsiteY121" fmla="*/ 4331 h 10000"/>
                <a:gd name="connsiteX122" fmla="*/ 8446 w 10000"/>
                <a:gd name="connsiteY122" fmla="*/ 4255 h 10000"/>
                <a:gd name="connsiteX123" fmla="*/ 8507 w 10000"/>
                <a:gd name="connsiteY123" fmla="*/ 4297 h 10000"/>
                <a:gd name="connsiteX124" fmla="*/ 8596 w 10000"/>
                <a:gd name="connsiteY124" fmla="*/ 4446 h 10000"/>
                <a:gd name="connsiteX125" fmla="*/ 8782 w 10000"/>
                <a:gd name="connsiteY125" fmla="*/ 4478 h 10000"/>
                <a:gd name="connsiteX126" fmla="*/ 9542 w 10000"/>
                <a:gd name="connsiteY126" fmla="*/ 4262 h 10000"/>
                <a:gd name="connsiteX127" fmla="*/ 9914 w 10000"/>
                <a:gd name="connsiteY127" fmla="*/ 3962 h 10000"/>
                <a:gd name="connsiteX128" fmla="*/ 10000 w 10000"/>
                <a:gd name="connsiteY128" fmla="*/ 3744 h 10000"/>
                <a:gd name="connsiteX129" fmla="*/ 9866 w 10000"/>
                <a:gd name="connsiteY129" fmla="*/ 3546 h 10000"/>
                <a:gd name="connsiteX130" fmla="*/ 9582 w 10000"/>
                <a:gd name="connsiteY130" fmla="*/ 3428 h 10000"/>
                <a:gd name="connsiteX131" fmla="*/ 9382 w 10000"/>
                <a:gd name="connsiteY131" fmla="*/ 3233 h 10000"/>
                <a:gd name="connsiteX132" fmla="*/ 9569 w 10000"/>
                <a:gd name="connsiteY132" fmla="*/ 3227 h 10000"/>
                <a:gd name="connsiteX133" fmla="*/ 9555 w 10000"/>
                <a:gd name="connsiteY133" fmla="*/ 3180 h 10000"/>
                <a:gd name="connsiteX134" fmla="*/ 9068 w 10000"/>
                <a:gd name="connsiteY134" fmla="*/ 3045 h 10000"/>
                <a:gd name="connsiteX135" fmla="*/ 9047 w 10000"/>
                <a:gd name="connsiteY135" fmla="*/ 2920 h 10000"/>
                <a:gd name="connsiteX136" fmla="*/ 8953 w 10000"/>
                <a:gd name="connsiteY136" fmla="*/ 2789 h 10000"/>
                <a:gd name="connsiteX137" fmla="*/ 8569 w 10000"/>
                <a:gd name="connsiteY137" fmla="*/ 2813 h 10000"/>
                <a:gd name="connsiteX138" fmla="*/ 8431 w 10000"/>
                <a:gd name="connsiteY138" fmla="*/ 2673 h 10000"/>
                <a:gd name="connsiteX139" fmla="*/ 8350 w 10000"/>
                <a:gd name="connsiteY139" fmla="*/ 2665 h 10000"/>
                <a:gd name="connsiteX140" fmla="*/ 8350 w 10000"/>
                <a:gd name="connsiteY140" fmla="*/ 2726 h 10000"/>
                <a:gd name="connsiteX141" fmla="*/ 8176 w 10000"/>
                <a:gd name="connsiteY141" fmla="*/ 2959 h 10000"/>
                <a:gd name="connsiteX142" fmla="*/ 7990 w 10000"/>
                <a:gd name="connsiteY142" fmla="*/ 3096 h 10000"/>
                <a:gd name="connsiteX143" fmla="*/ 7401 w 10000"/>
                <a:gd name="connsiteY143" fmla="*/ 3329 h 10000"/>
                <a:gd name="connsiteX144" fmla="*/ 7198 w 10000"/>
                <a:gd name="connsiteY144" fmla="*/ 3322 h 10000"/>
                <a:gd name="connsiteX145" fmla="*/ 6915 w 10000"/>
                <a:gd name="connsiteY145" fmla="*/ 3359 h 10000"/>
                <a:gd name="connsiteX146" fmla="*/ 6757 w 10000"/>
                <a:gd name="connsiteY146" fmla="*/ 3322 h 10000"/>
                <a:gd name="connsiteX147" fmla="*/ 6965 w 10000"/>
                <a:gd name="connsiteY147" fmla="*/ 3255 h 10000"/>
                <a:gd name="connsiteX148" fmla="*/ 7235 w 10000"/>
                <a:gd name="connsiteY148" fmla="*/ 3227 h 10000"/>
                <a:gd name="connsiteX149" fmla="*/ 7455 w 10000"/>
                <a:gd name="connsiteY149" fmla="*/ 3118 h 10000"/>
                <a:gd name="connsiteX150" fmla="*/ 7674 w 10000"/>
                <a:gd name="connsiteY150" fmla="*/ 3066 h 10000"/>
                <a:gd name="connsiteX151" fmla="*/ 8082 w 10000"/>
                <a:gd name="connsiteY151" fmla="*/ 2874 h 10000"/>
                <a:gd name="connsiteX152" fmla="*/ 8157 w 10000"/>
                <a:gd name="connsiteY152" fmla="*/ 2750 h 10000"/>
                <a:gd name="connsiteX153" fmla="*/ 8165 w 10000"/>
                <a:gd name="connsiteY153" fmla="*/ 2589 h 10000"/>
                <a:gd name="connsiteX154" fmla="*/ 7978 w 10000"/>
                <a:gd name="connsiteY154" fmla="*/ 2562 h 10000"/>
                <a:gd name="connsiteX155" fmla="*/ 8058 w 10000"/>
                <a:gd name="connsiteY155" fmla="*/ 2463 h 10000"/>
                <a:gd name="connsiteX156" fmla="*/ 8087 w 10000"/>
                <a:gd name="connsiteY156" fmla="*/ 2338 h 10000"/>
                <a:gd name="connsiteX157" fmla="*/ 8007 w 10000"/>
                <a:gd name="connsiteY157" fmla="*/ 2222 h 10000"/>
                <a:gd name="connsiteX158" fmla="*/ 7450 w 10000"/>
                <a:gd name="connsiteY158" fmla="*/ 2382 h 10000"/>
                <a:gd name="connsiteX159" fmla="*/ 6563 w 10000"/>
                <a:gd name="connsiteY159" fmla="*/ 2328 h 10000"/>
                <a:gd name="connsiteX160" fmla="*/ 6304 w 10000"/>
                <a:gd name="connsiteY160" fmla="*/ 1864 h 10000"/>
                <a:gd name="connsiteX161" fmla="*/ 5294 w 10000"/>
                <a:gd name="connsiteY161" fmla="*/ 1779 h 10000"/>
                <a:gd name="connsiteX162" fmla="*/ 4505 w 10000"/>
                <a:gd name="connsiteY162" fmla="*/ 1407 h 10000"/>
                <a:gd name="connsiteX163" fmla="*/ 3730 w 10000"/>
                <a:gd name="connsiteY163" fmla="*/ 962 h 10000"/>
                <a:gd name="connsiteX164" fmla="*/ 3154 w 10000"/>
                <a:gd name="connsiteY164" fmla="*/ 143 h 10000"/>
                <a:gd name="connsiteX165" fmla="*/ 2375 w 10000"/>
                <a:gd name="connsiteY165" fmla="*/ 0 h 10000"/>
                <a:gd name="connsiteX166" fmla="*/ 2226 w 10000"/>
                <a:gd name="connsiteY166" fmla="*/ 772 h 10000"/>
                <a:gd name="connsiteX167" fmla="*/ 2375 w 10000"/>
                <a:gd name="connsiteY167" fmla="*/ 967 h 10000"/>
                <a:gd name="connsiteX168" fmla="*/ 2791 w 10000"/>
                <a:gd name="connsiteY168" fmla="*/ 1185 h 10000"/>
                <a:gd name="connsiteX169" fmla="*/ 2808 w 10000"/>
                <a:gd name="connsiteY169" fmla="*/ 1446 h 10000"/>
                <a:gd name="connsiteX170" fmla="*/ 2632 w 10000"/>
                <a:gd name="connsiteY170" fmla="*/ 1665 h 10000"/>
                <a:gd name="connsiteX171" fmla="*/ 2375 w 10000"/>
                <a:gd name="connsiteY171" fmla="*/ 1798 h 10000"/>
                <a:gd name="connsiteX172" fmla="*/ 2039 w 10000"/>
                <a:gd name="connsiteY172" fmla="*/ 1851 h 10000"/>
                <a:gd name="connsiteX173" fmla="*/ 1950 w 10000"/>
                <a:gd name="connsiteY173" fmla="*/ 1929 h 10000"/>
                <a:gd name="connsiteX174" fmla="*/ 2148 w 10000"/>
                <a:gd name="connsiteY174" fmla="*/ 2110 h 10000"/>
                <a:gd name="connsiteX175" fmla="*/ 2261 w 10000"/>
                <a:gd name="connsiteY175" fmla="*/ 2541 h 10000"/>
                <a:gd name="connsiteX176" fmla="*/ 2005 w 10000"/>
                <a:gd name="connsiteY176" fmla="*/ 2910 h 10000"/>
                <a:gd name="connsiteX177" fmla="*/ 2094 w 10000"/>
                <a:gd name="connsiteY177" fmla="*/ 3022 h 10000"/>
                <a:gd name="connsiteX178" fmla="*/ 2012 w 10000"/>
                <a:gd name="connsiteY178" fmla="*/ 3214 h 10000"/>
                <a:gd name="connsiteX179" fmla="*/ 1850 w 10000"/>
                <a:gd name="connsiteY179" fmla="*/ 3349 h 10000"/>
                <a:gd name="connsiteX180" fmla="*/ 1199 w 10000"/>
                <a:gd name="connsiteY180" fmla="*/ 3450 h 10000"/>
                <a:gd name="connsiteX181" fmla="*/ 1158 w 10000"/>
                <a:gd name="connsiteY181" fmla="*/ 3629 h 10000"/>
                <a:gd name="connsiteX182" fmla="*/ 808 w 10000"/>
                <a:gd name="connsiteY182" fmla="*/ 3893 h 10000"/>
                <a:gd name="connsiteX183" fmla="*/ 854 w 10000"/>
                <a:gd name="connsiteY183" fmla="*/ 4276 h 10000"/>
                <a:gd name="connsiteX184" fmla="*/ 560 w 10000"/>
                <a:gd name="connsiteY184" fmla="*/ 4766 h 10000"/>
                <a:gd name="connsiteX185" fmla="*/ 358 w 10000"/>
                <a:gd name="connsiteY185" fmla="*/ 4822 h 10000"/>
                <a:gd name="connsiteX186" fmla="*/ 275 w 10000"/>
                <a:gd name="connsiteY186" fmla="*/ 4706 h 10000"/>
                <a:gd name="connsiteX187" fmla="*/ 174 w 10000"/>
                <a:gd name="connsiteY187" fmla="*/ 4882 h 10000"/>
                <a:gd name="connsiteX188" fmla="*/ 239 w 10000"/>
                <a:gd name="connsiteY188" fmla="*/ 4578 h 10000"/>
                <a:gd name="connsiteX189" fmla="*/ 197 w 10000"/>
                <a:gd name="connsiteY189" fmla="*/ 4521 h 10000"/>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3212 w 10000"/>
                <a:gd name="connsiteY47" fmla="*/ 9941 h 10000"/>
                <a:gd name="connsiteX48" fmla="*/ 3348 w 10000"/>
                <a:gd name="connsiteY48" fmla="*/ 9745 h 10000"/>
                <a:gd name="connsiteX49" fmla="*/ 3313 w 10000"/>
                <a:gd name="connsiteY49" fmla="*/ 9423 h 10000"/>
                <a:gd name="connsiteX50" fmla="*/ 3642 w 10000"/>
                <a:gd name="connsiteY50" fmla="*/ 9067 h 10000"/>
                <a:gd name="connsiteX51" fmla="*/ 3883 w 10000"/>
                <a:gd name="connsiteY51" fmla="*/ 9124 h 10000"/>
                <a:gd name="connsiteX52" fmla="*/ 4025 w 10000"/>
                <a:gd name="connsiteY52" fmla="*/ 8982 h 10000"/>
                <a:gd name="connsiteX53" fmla="*/ 4294 w 10000"/>
                <a:gd name="connsiteY53" fmla="*/ 8899 h 10000"/>
                <a:gd name="connsiteX54" fmla="*/ 4658 w 10000"/>
                <a:gd name="connsiteY54" fmla="*/ 8919 h 10000"/>
                <a:gd name="connsiteX55" fmla="*/ 4878 w 10000"/>
                <a:gd name="connsiteY55" fmla="*/ 8975 h 10000"/>
                <a:gd name="connsiteX56" fmla="*/ 5170 w 10000"/>
                <a:gd name="connsiteY56" fmla="*/ 8951 h 10000"/>
                <a:gd name="connsiteX57" fmla="*/ 5464 w 10000"/>
                <a:gd name="connsiteY57" fmla="*/ 9012 h 10000"/>
                <a:gd name="connsiteX58" fmla="*/ 5759 w 10000"/>
                <a:gd name="connsiteY58" fmla="*/ 9020 h 10000"/>
                <a:gd name="connsiteX59" fmla="*/ 6419 w 10000"/>
                <a:gd name="connsiteY59" fmla="*/ 8186 h 10000"/>
                <a:gd name="connsiteX60" fmla="*/ 6586 w 10000"/>
                <a:gd name="connsiteY60" fmla="*/ 7505 h 10000"/>
                <a:gd name="connsiteX61" fmla="*/ 6855 w 10000"/>
                <a:gd name="connsiteY61" fmla="*/ 7204 h 10000"/>
                <a:gd name="connsiteX62" fmla="*/ 6855 w 10000"/>
                <a:gd name="connsiteY62" fmla="*/ 7043 h 10000"/>
                <a:gd name="connsiteX63" fmla="*/ 6757 w 10000"/>
                <a:gd name="connsiteY63" fmla="*/ 6956 h 10000"/>
                <a:gd name="connsiteX64" fmla="*/ 6915 w 10000"/>
                <a:gd name="connsiteY64" fmla="*/ 6811 h 10000"/>
                <a:gd name="connsiteX65" fmla="*/ 6887 w 10000"/>
                <a:gd name="connsiteY65" fmla="*/ 6693 h 10000"/>
                <a:gd name="connsiteX66" fmla="*/ 6779 w 10000"/>
                <a:gd name="connsiteY66" fmla="*/ 6592 h 10000"/>
                <a:gd name="connsiteX67" fmla="*/ 6757 w 10000"/>
                <a:gd name="connsiteY67" fmla="*/ 6514 h 10000"/>
                <a:gd name="connsiteX68" fmla="*/ 6785 w 10000"/>
                <a:gd name="connsiteY68" fmla="*/ 6457 h 10000"/>
                <a:gd name="connsiteX69" fmla="*/ 6931 w 10000"/>
                <a:gd name="connsiteY69" fmla="*/ 6503 h 10000"/>
                <a:gd name="connsiteX70" fmla="*/ 7045 w 10000"/>
                <a:gd name="connsiteY70" fmla="*/ 6500 h 10000"/>
                <a:gd name="connsiteX71" fmla="*/ 6983 w 10000"/>
                <a:gd name="connsiteY71" fmla="*/ 6404 h 10000"/>
                <a:gd name="connsiteX72" fmla="*/ 7003 w 10000"/>
                <a:gd name="connsiteY72" fmla="*/ 6346 h 10000"/>
                <a:gd name="connsiteX73" fmla="*/ 7089 w 10000"/>
                <a:gd name="connsiteY73" fmla="*/ 6265 h 10000"/>
                <a:gd name="connsiteX74" fmla="*/ 7074 w 10000"/>
                <a:gd name="connsiteY74" fmla="*/ 6198 h 10000"/>
                <a:gd name="connsiteX75" fmla="*/ 7152 w 10000"/>
                <a:gd name="connsiteY75" fmla="*/ 5971 h 10000"/>
                <a:gd name="connsiteX76" fmla="*/ 7130 w 10000"/>
                <a:gd name="connsiteY76" fmla="*/ 5902 h 10000"/>
                <a:gd name="connsiteX77" fmla="*/ 6729 w 10000"/>
                <a:gd name="connsiteY77" fmla="*/ 5729 h 10000"/>
                <a:gd name="connsiteX78" fmla="*/ 6785 w 10000"/>
                <a:gd name="connsiteY78" fmla="*/ 5723 h 10000"/>
                <a:gd name="connsiteX79" fmla="*/ 6998 w 10000"/>
                <a:gd name="connsiteY79" fmla="*/ 5768 h 10000"/>
                <a:gd name="connsiteX80" fmla="*/ 7230 w 10000"/>
                <a:gd name="connsiteY80" fmla="*/ 5751 h 10000"/>
                <a:gd name="connsiteX81" fmla="*/ 7295 w 10000"/>
                <a:gd name="connsiteY81" fmla="*/ 5689 h 10000"/>
                <a:gd name="connsiteX82" fmla="*/ 7074 w 10000"/>
                <a:gd name="connsiteY82" fmla="*/ 5571 h 10000"/>
                <a:gd name="connsiteX83" fmla="*/ 6414 w 10000"/>
                <a:gd name="connsiteY83" fmla="*/ 5495 h 10000"/>
                <a:gd name="connsiteX84" fmla="*/ 6458 w 10000"/>
                <a:gd name="connsiteY84" fmla="*/ 5459 h 10000"/>
                <a:gd name="connsiteX85" fmla="*/ 6998 w 10000"/>
                <a:gd name="connsiteY85" fmla="*/ 5434 h 10000"/>
                <a:gd name="connsiteX86" fmla="*/ 7295 w 10000"/>
                <a:gd name="connsiteY86" fmla="*/ 5506 h 10000"/>
                <a:gd name="connsiteX87" fmla="*/ 7466 w 10000"/>
                <a:gd name="connsiteY87" fmla="*/ 5459 h 10000"/>
                <a:gd name="connsiteX88" fmla="*/ 7529 w 10000"/>
                <a:gd name="connsiteY88" fmla="*/ 5337 h 10000"/>
                <a:gd name="connsiteX89" fmla="*/ 7840 w 10000"/>
                <a:gd name="connsiteY89" fmla="*/ 5337 h 10000"/>
                <a:gd name="connsiteX90" fmla="*/ 8261 w 10000"/>
                <a:gd name="connsiteY90" fmla="*/ 5093 h 10000"/>
                <a:gd name="connsiteX91" fmla="*/ 8275 w 10000"/>
                <a:gd name="connsiteY91" fmla="*/ 4928 h 10000"/>
                <a:gd name="connsiteX92" fmla="*/ 8453 w 10000"/>
                <a:gd name="connsiteY92" fmla="*/ 4965 h 10000"/>
                <a:gd name="connsiteX93" fmla="*/ 8446 w 10000"/>
                <a:gd name="connsiteY93" fmla="*/ 5130 h 10000"/>
                <a:gd name="connsiteX94" fmla="*/ 8727 w 10000"/>
                <a:gd name="connsiteY94" fmla="*/ 5118 h 10000"/>
                <a:gd name="connsiteX95" fmla="*/ 8913 w 10000"/>
                <a:gd name="connsiteY95" fmla="*/ 4948 h 10000"/>
                <a:gd name="connsiteX96" fmla="*/ 9258 w 10000"/>
                <a:gd name="connsiteY96" fmla="*/ 4795 h 10000"/>
                <a:gd name="connsiteX97" fmla="*/ 9203 w 10000"/>
                <a:gd name="connsiteY97" fmla="*/ 4621 h 10000"/>
                <a:gd name="connsiteX98" fmla="*/ 9306 w 10000"/>
                <a:gd name="connsiteY98" fmla="*/ 4690 h 10000"/>
                <a:gd name="connsiteX99" fmla="*/ 9464 w 10000"/>
                <a:gd name="connsiteY99" fmla="*/ 4690 h 10000"/>
                <a:gd name="connsiteX100" fmla="*/ 9464 w 10000"/>
                <a:gd name="connsiteY100" fmla="*/ 4609 h 10000"/>
                <a:gd name="connsiteX101" fmla="*/ 9611 w 10000"/>
                <a:gd name="connsiteY101" fmla="*/ 4550 h 10000"/>
                <a:gd name="connsiteX102" fmla="*/ 9592 w 10000"/>
                <a:gd name="connsiteY102" fmla="*/ 4487 h 10000"/>
                <a:gd name="connsiteX103" fmla="*/ 8350 w 10000"/>
                <a:gd name="connsiteY103" fmla="*/ 4611 h 10000"/>
                <a:gd name="connsiteX104" fmla="*/ 8058 w 10000"/>
                <a:gd name="connsiteY104" fmla="*/ 4576 h 10000"/>
                <a:gd name="connsiteX105" fmla="*/ 7942 w 10000"/>
                <a:gd name="connsiteY105" fmla="*/ 4621 h 10000"/>
                <a:gd name="connsiteX106" fmla="*/ 7903 w 10000"/>
                <a:gd name="connsiteY106" fmla="*/ 4532 h 10000"/>
                <a:gd name="connsiteX107" fmla="*/ 7765 w 10000"/>
                <a:gd name="connsiteY107" fmla="*/ 4456 h 10000"/>
                <a:gd name="connsiteX108" fmla="*/ 7213 w 10000"/>
                <a:gd name="connsiteY108" fmla="*/ 4297 h 10000"/>
                <a:gd name="connsiteX109" fmla="*/ 6887 w 10000"/>
                <a:gd name="connsiteY109" fmla="*/ 4324 h 10000"/>
                <a:gd name="connsiteX110" fmla="*/ 6757 w 10000"/>
                <a:gd name="connsiteY110" fmla="*/ 4278 h 10000"/>
                <a:gd name="connsiteX111" fmla="*/ 6894 w 10000"/>
                <a:gd name="connsiteY111" fmla="*/ 4240 h 10000"/>
                <a:gd name="connsiteX112" fmla="*/ 6998 w 10000"/>
                <a:gd name="connsiteY112" fmla="*/ 4156 h 10000"/>
                <a:gd name="connsiteX113" fmla="*/ 7152 w 10000"/>
                <a:gd name="connsiteY113" fmla="*/ 4182 h 10000"/>
                <a:gd name="connsiteX114" fmla="*/ 7335 w 10000"/>
                <a:gd name="connsiteY114" fmla="*/ 4161 h 10000"/>
                <a:gd name="connsiteX115" fmla="*/ 7611 w 10000"/>
                <a:gd name="connsiteY115" fmla="*/ 4188 h 10000"/>
                <a:gd name="connsiteX116" fmla="*/ 7645 w 10000"/>
                <a:gd name="connsiteY116" fmla="*/ 4177 h 10000"/>
                <a:gd name="connsiteX117" fmla="*/ 7859 w 10000"/>
                <a:gd name="connsiteY117" fmla="*/ 4305 h 10000"/>
                <a:gd name="connsiteX118" fmla="*/ 8017 w 10000"/>
                <a:gd name="connsiteY118" fmla="*/ 4257 h 10000"/>
                <a:gd name="connsiteX119" fmla="*/ 8032 w 10000"/>
                <a:gd name="connsiteY119" fmla="*/ 4214 h 10000"/>
                <a:gd name="connsiteX120" fmla="*/ 8176 w 10000"/>
                <a:gd name="connsiteY120" fmla="*/ 4290 h 10000"/>
                <a:gd name="connsiteX121" fmla="*/ 8369 w 10000"/>
                <a:gd name="connsiteY121" fmla="*/ 4331 h 10000"/>
                <a:gd name="connsiteX122" fmla="*/ 8446 w 10000"/>
                <a:gd name="connsiteY122" fmla="*/ 4255 h 10000"/>
                <a:gd name="connsiteX123" fmla="*/ 8507 w 10000"/>
                <a:gd name="connsiteY123" fmla="*/ 4297 h 10000"/>
                <a:gd name="connsiteX124" fmla="*/ 8596 w 10000"/>
                <a:gd name="connsiteY124" fmla="*/ 4446 h 10000"/>
                <a:gd name="connsiteX125" fmla="*/ 8782 w 10000"/>
                <a:gd name="connsiteY125" fmla="*/ 4478 h 10000"/>
                <a:gd name="connsiteX126" fmla="*/ 9542 w 10000"/>
                <a:gd name="connsiteY126" fmla="*/ 4262 h 10000"/>
                <a:gd name="connsiteX127" fmla="*/ 9914 w 10000"/>
                <a:gd name="connsiteY127" fmla="*/ 3962 h 10000"/>
                <a:gd name="connsiteX128" fmla="*/ 10000 w 10000"/>
                <a:gd name="connsiteY128" fmla="*/ 3744 h 10000"/>
                <a:gd name="connsiteX129" fmla="*/ 9866 w 10000"/>
                <a:gd name="connsiteY129" fmla="*/ 3546 h 10000"/>
                <a:gd name="connsiteX130" fmla="*/ 9582 w 10000"/>
                <a:gd name="connsiteY130" fmla="*/ 3428 h 10000"/>
                <a:gd name="connsiteX131" fmla="*/ 9382 w 10000"/>
                <a:gd name="connsiteY131" fmla="*/ 3233 h 10000"/>
                <a:gd name="connsiteX132" fmla="*/ 9569 w 10000"/>
                <a:gd name="connsiteY132" fmla="*/ 3227 h 10000"/>
                <a:gd name="connsiteX133" fmla="*/ 9555 w 10000"/>
                <a:gd name="connsiteY133" fmla="*/ 3180 h 10000"/>
                <a:gd name="connsiteX134" fmla="*/ 9068 w 10000"/>
                <a:gd name="connsiteY134" fmla="*/ 3045 h 10000"/>
                <a:gd name="connsiteX135" fmla="*/ 9047 w 10000"/>
                <a:gd name="connsiteY135" fmla="*/ 2920 h 10000"/>
                <a:gd name="connsiteX136" fmla="*/ 8953 w 10000"/>
                <a:gd name="connsiteY136" fmla="*/ 2789 h 10000"/>
                <a:gd name="connsiteX137" fmla="*/ 8569 w 10000"/>
                <a:gd name="connsiteY137" fmla="*/ 2813 h 10000"/>
                <a:gd name="connsiteX138" fmla="*/ 8431 w 10000"/>
                <a:gd name="connsiteY138" fmla="*/ 2673 h 10000"/>
                <a:gd name="connsiteX139" fmla="*/ 8350 w 10000"/>
                <a:gd name="connsiteY139" fmla="*/ 2665 h 10000"/>
                <a:gd name="connsiteX140" fmla="*/ 8350 w 10000"/>
                <a:gd name="connsiteY140" fmla="*/ 2726 h 10000"/>
                <a:gd name="connsiteX141" fmla="*/ 8176 w 10000"/>
                <a:gd name="connsiteY141" fmla="*/ 2959 h 10000"/>
                <a:gd name="connsiteX142" fmla="*/ 7990 w 10000"/>
                <a:gd name="connsiteY142" fmla="*/ 3096 h 10000"/>
                <a:gd name="connsiteX143" fmla="*/ 7401 w 10000"/>
                <a:gd name="connsiteY143" fmla="*/ 3329 h 10000"/>
                <a:gd name="connsiteX144" fmla="*/ 7198 w 10000"/>
                <a:gd name="connsiteY144" fmla="*/ 3322 h 10000"/>
                <a:gd name="connsiteX145" fmla="*/ 6915 w 10000"/>
                <a:gd name="connsiteY145" fmla="*/ 3359 h 10000"/>
                <a:gd name="connsiteX146" fmla="*/ 6757 w 10000"/>
                <a:gd name="connsiteY146" fmla="*/ 3322 h 10000"/>
                <a:gd name="connsiteX147" fmla="*/ 6965 w 10000"/>
                <a:gd name="connsiteY147" fmla="*/ 3255 h 10000"/>
                <a:gd name="connsiteX148" fmla="*/ 7235 w 10000"/>
                <a:gd name="connsiteY148" fmla="*/ 3227 h 10000"/>
                <a:gd name="connsiteX149" fmla="*/ 7455 w 10000"/>
                <a:gd name="connsiteY149" fmla="*/ 3118 h 10000"/>
                <a:gd name="connsiteX150" fmla="*/ 7674 w 10000"/>
                <a:gd name="connsiteY150" fmla="*/ 3066 h 10000"/>
                <a:gd name="connsiteX151" fmla="*/ 8082 w 10000"/>
                <a:gd name="connsiteY151" fmla="*/ 2874 h 10000"/>
                <a:gd name="connsiteX152" fmla="*/ 8157 w 10000"/>
                <a:gd name="connsiteY152" fmla="*/ 2750 h 10000"/>
                <a:gd name="connsiteX153" fmla="*/ 8165 w 10000"/>
                <a:gd name="connsiteY153" fmla="*/ 2589 h 10000"/>
                <a:gd name="connsiteX154" fmla="*/ 7978 w 10000"/>
                <a:gd name="connsiteY154" fmla="*/ 2562 h 10000"/>
                <a:gd name="connsiteX155" fmla="*/ 8058 w 10000"/>
                <a:gd name="connsiteY155" fmla="*/ 2463 h 10000"/>
                <a:gd name="connsiteX156" fmla="*/ 8087 w 10000"/>
                <a:gd name="connsiteY156" fmla="*/ 2338 h 10000"/>
                <a:gd name="connsiteX157" fmla="*/ 8007 w 10000"/>
                <a:gd name="connsiteY157" fmla="*/ 2222 h 10000"/>
                <a:gd name="connsiteX158" fmla="*/ 7450 w 10000"/>
                <a:gd name="connsiteY158" fmla="*/ 2382 h 10000"/>
                <a:gd name="connsiteX159" fmla="*/ 6694 w 10000"/>
                <a:gd name="connsiteY159" fmla="*/ 2311 h 10000"/>
                <a:gd name="connsiteX160" fmla="*/ 6304 w 10000"/>
                <a:gd name="connsiteY160" fmla="*/ 1864 h 10000"/>
                <a:gd name="connsiteX161" fmla="*/ 5294 w 10000"/>
                <a:gd name="connsiteY161" fmla="*/ 1779 h 10000"/>
                <a:gd name="connsiteX162" fmla="*/ 4505 w 10000"/>
                <a:gd name="connsiteY162" fmla="*/ 1407 h 10000"/>
                <a:gd name="connsiteX163" fmla="*/ 3730 w 10000"/>
                <a:gd name="connsiteY163" fmla="*/ 962 h 10000"/>
                <a:gd name="connsiteX164" fmla="*/ 3154 w 10000"/>
                <a:gd name="connsiteY164" fmla="*/ 143 h 10000"/>
                <a:gd name="connsiteX165" fmla="*/ 2375 w 10000"/>
                <a:gd name="connsiteY165" fmla="*/ 0 h 10000"/>
                <a:gd name="connsiteX166" fmla="*/ 2226 w 10000"/>
                <a:gd name="connsiteY166" fmla="*/ 772 h 10000"/>
                <a:gd name="connsiteX167" fmla="*/ 2375 w 10000"/>
                <a:gd name="connsiteY167" fmla="*/ 967 h 10000"/>
                <a:gd name="connsiteX168" fmla="*/ 2791 w 10000"/>
                <a:gd name="connsiteY168" fmla="*/ 1185 h 10000"/>
                <a:gd name="connsiteX169" fmla="*/ 2808 w 10000"/>
                <a:gd name="connsiteY169" fmla="*/ 1446 h 10000"/>
                <a:gd name="connsiteX170" fmla="*/ 2632 w 10000"/>
                <a:gd name="connsiteY170" fmla="*/ 1665 h 10000"/>
                <a:gd name="connsiteX171" fmla="*/ 2375 w 10000"/>
                <a:gd name="connsiteY171" fmla="*/ 1798 h 10000"/>
                <a:gd name="connsiteX172" fmla="*/ 2039 w 10000"/>
                <a:gd name="connsiteY172" fmla="*/ 1851 h 10000"/>
                <a:gd name="connsiteX173" fmla="*/ 1950 w 10000"/>
                <a:gd name="connsiteY173" fmla="*/ 1929 h 10000"/>
                <a:gd name="connsiteX174" fmla="*/ 2148 w 10000"/>
                <a:gd name="connsiteY174" fmla="*/ 2110 h 10000"/>
                <a:gd name="connsiteX175" fmla="*/ 2261 w 10000"/>
                <a:gd name="connsiteY175" fmla="*/ 2541 h 10000"/>
                <a:gd name="connsiteX176" fmla="*/ 2005 w 10000"/>
                <a:gd name="connsiteY176" fmla="*/ 2910 h 10000"/>
                <a:gd name="connsiteX177" fmla="*/ 2094 w 10000"/>
                <a:gd name="connsiteY177" fmla="*/ 3022 h 10000"/>
                <a:gd name="connsiteX178" fmla="*/ 2012 w 10000"/>
                <a:gd name="connsiteY178" fmla="*/ 3214 h 10000"/>
                <a:gd name="connsiteX179" fmla="*/ 1850 w 10000"/>
                <a:gd name="connsiteY179" fmla="*/ 3349 h 10000"/>
                <a:gd name="connsiteX180" fmla="*/ 1199 w 10000"/>
                <a:gd name="connsiteY180" fmla="*/ 3450 h 10000"/>
                <a:gd name="connsiteX181" fmla="*/ 1158 w 10000"/>
                <a:gd name="connsiteY181" fmla="*/ 3629 h 10000"/>
                <a:gd name="connsiteX182" fmla="*/ 808 w 10000"/>
                <a:gd name="connsiteY182" fmla="*/ 3893 h 10000"/>
                <a:gd name="connsiteX183" fmla="*/ 854 w 10000"/>
                <a:gd name="connsiteY183" fmla="*/ 4276 h 10000"/>
                <a:gd name="connsiteX184" fmla="*/ 560 w 10000"/>
                <a:gd name="connsiteY184" fmla="*/ 4766 h 10000"/>
                <a:gd name="connsiteX185" fmla="*/ 358 w 10000"/>
                <a:gd name="connsiteY185" fmla="*/ 4822 h 10000"/>
                <a:gd name="connsiteX186" fmla="*/ 275 w 10000"/>
                <a:gd name="connsiteY186" fmla="*/ 4706 h 10000"/>
                <a:gd name="connsiteX187" fmla="*/ 174 w 10000"/>
                <a:gd name="connsiteY187" fmla="*/ 4882 h 10000"/>
                <a:gd name="connsiteX188" fmla="*/ 239 w 10000"/>
                <a:gd name="connsiteY188" fmla="*/ 4578 h 10000"/>
                <a:gd name="connsiteX189" fmla="*/ 197 w 10000"/>
                <a:gd name="connsiteY189" fmla="*/ 4521 h 10000"/>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3212 w 10000"/>
                <a:gd name="connsiteY47" fmla="*/ 9941 h 10000"/>
                <a:gd name="connsiteX48" fmla="*/ 3348 w 10000"/>
                <a:gd name="connsiteY48" fmla="*/ 9745 h 10000"/>
                <a:gd name="connsiteX49" fmla="*/ 3313 w 10000"/>
                <a:gd name="connsiteY49" fmla="*/ 9423 h 10000"/>
                <a:gd name="connsiteX50" fmla="*/ 3642 w 10000"/>
                <a:gd name="connsiteY50" fmla="*/ 9067 h 10000"/>
                <a:gd name="connsiteX51" fmla="*/ 3883 w 10000"/>
                <a:gd name="connsiteY51" fmla="*/ 9124 h 10000"/>
                <a:gd name="connsiteX52" fmla="*/ 4025 w 10000"/>
                <a:gd name="connsiteY52" fmla="*/ 8982 h 10000"/>
                <a:gd name="connsiteX53" fmla="*/ 4294 w 10000"/>
                <a:gd name="connsiteY53" fmla="*/ 8899 h 10000"/>
                <a:gd name="connsiteX54" fmla="*/ 4658 w 10000"/>
                <a:gd name="connsiteY54" fmla="*/ 8919 h 10000"/>
                <a:gd name="connsiteX55" fmla="*/ 4878 w 10000"/>
                <a:gd name="connsiteY55" fmla="*/ 8975 h 10000"/>
                <a:gd name="connsiteX56" fmla="*/ 5170 w 10000"/>
                <a:gd name="connsiteY56" fmla="*/ 8951 h 10000"/>
                <a:gd name="connsiteX57" fmla="*/ 5464 w 10000"/>
                <a:gd name="connsiteY57" fmla="*/ 9012 h 10000"/>
                <a:gd name="connsiteX58" fmla="*/ 6419 w 10000"/>
                <a:gd name="connsiteY58" fmla="*/ 8186 h 10000"/>
                <a:gd name="connsiteX59" fmla="*/ 6586 w 10000"/>
                <a:gd name="connsiteY59" fmla="*/ 7505 h 10000"/>
                <a:gd name="connsiteX60" fmla="*/ 6855 w 10000"/>
                <a:gd name="connsiteY60" fmla="*/ 7204 h 10000"/>
                <a:gd name="connsiteX61" fmla="*/ 6855 w 10000"/>
                <a:gd name="connsiteY61" fmla="*/ 7043 h 10000"/>
                <a:gd name="connsiteX62" fmla="*/ 6757 w 10000"/>
                <a:gd name="connsiteY62" fmla="*/ 6956 h 10000"/>
                <a:gd name="connsiteX63" fmla="*/ 6915 w 10000"/>
                <a:gd name="connsiteY63" fmla="*/ 6811 h 10000"/>
                <a:gd name="connsiteX64" fmla="*/ 6887 w 10000"/>
                <a:gd name="connsiteY64" fmla="*/ 6693 h 10000"/>
                <a:gd name="connsiteX65" fmla="*/ 6779 w 10000"/>
                <a:gd name="connsiteY65" fmla="*/ 6592 h 10000"/>
                <a:gd name="connsiteX66" fmla="*/ 6757 w 10000"/>
                <a:gd name="connsiteY66" fmla="*/ 6514 h 10000"/>
                <a:gd name="connsiteX67" fmla="*/ 6785 w 10000"/>
                <a:gd name="connsiteY67" fmla="*/ 6457 h 10000"/>
                <a:gd name="connsiteX68" fmla="*/ 6931 w 10000"/>
                <a:gd name="connsiteY68" fmla="*/ 6503 h 10000"/>
                <a:gd name="connsiteX69" fmla="*/ 7045 w 10000"/>
                <a:gd name="connsiteY69" fmla="*/ 6500 h 10000"/>
                <a:gd name="connsiteX70" fmla="*/ 6983 w 10000"/>
                <a:gd name="connsiteY70" fmla="*/ 6404 h 10000"/>
                <a:gd name="connsiteX71" fmla="*/ 7003 w 10000"/>
                <a:gd name="connsiteY71" fmla="*/ 6346 h 10000"/>
                <a:gd name="connsiteX72" fmla="*/ 7089 w 10000"/>
                <a:gd name="connsiteY72" fmla="*/ 6265 h 10000"/>
                <a:gd name="connsiteX73" fmla="*/ 7074 w 10000"/>
                <a:gd name="connsiteY73" fmla="*/ 6198 h 10000"/>
                <a:gd name="connsiteX74" fmla="*/ 7152 w 10000"/>
                <a:gd name="connsiteY74" fmla="*/ 5971 h 10000"/>
                <a:gd name="connsiteX75" fmla="*/ 7130 w 10000"/>
                <a:gd name="connsiteY75" fmla="*/ 5902 h 10000"/>
                <a:gd name="connsiteX76" fmla="*/ 6729 w 10000"/>
                <a:gd name="connsiteY76" fmla="*/ 5729 h 10000"/>
                <a:gd name="connsiteX77" fmla="*/ 6785 w 10000"/>
                <a:gd name="connsiteY77" fmla="*/ 5723 h 10000"/>
                <a:gd name="connsiteX78" fmla="*/ 6998 w 10000"/>
                <a:gd name="connsiteY78" fmla="*/ 5768 h 10000"/>
                <a:gd name="connsiteX79" fmla="*/ 7230 w 10000"/>
                <a:gd name="connsiteY79" fmla="*/ 5751 h 10000"/>
                <a:gd name="connsiteX80" fmla="*/ 7295 w 10000"/>
                <a:gd name="connsiteY80" fmla="*/ 5689 h 10000"/>
                <a:gd name="connsiteX81" fmla="*/ 7074 w 10000"/>
                <a:gd name="connsiteY81" fmla="*/ 5571 h 10000"/>
                <a:gd name="connsiteX82" fmla="*/ 6414 w 10000"/>
                <a:gd name="connsiteY82" fmla="*/ 5495 h 10000"/>
                <a:gd name="connsiteX83" fmla="*/ 6458 w 10000"/>
                <a:gd name="connsiteY83" fmla="*/ 5459 h 10000"/>
                <a:gd name="connsiteX84" fmla="*/ 6998 w 10000"/>
                <a:gd name="connsiteY84" fmla="*/ 5434 h 10000"/>
                <a:gd name="connsiteX85" fmla="*/ 7295 w 10000"/>
                <a:gd name="connsiteY85" fmla="*/ 5506 h 10000"/>
                <a:gd name="connsiteX86" fmla="*/ 7466 w 10000"/>
                <a:gd name="connsiteY86" fmla="*/ 5459 h 10000"/>
                <a:gd name="connsiteX87" fmla="*/ 7529 w 10000"/>
                <a:gd name="connsiteY87" fmla="*/ 5337 h 10000"/>
                <a:gd name="connsiteX88" fmla="*/ 7840 w 10000"/>
                <a:gd name="connsiteY88" fmla="*/ 5337 h 10000"/>
                <a:gd name="connsiteX89" fmla="*/ 8261 w 10000"/>
                <a:gd name="connsiteY89" fmla="*/ 5093 h 10000"/>
                <a:gd name="connsiteX90" fmla="*/ 8275 w 10000"/>
                <a:gd name="connsiteY90" fmla="*/ 4928 h 10000"/>
                <a:gd name="connsiteX91" fmla="*/ 8453 w 10000"/>
                <a:gd name="connsiteY91" fmla="*/ 4965 h 10000"/>
                <a:gd name="connsiteX92" fmla="*/ 8446 w 10000"/>
                <a:gd name="connsiteY92" fmla="*/ 5130 h 10000"/>
                <a:gd name="connsiteX93" fmla="*/ 8727 w 10000"/>
                <a:gd name="connsiteY93" fmla="*/ 5118 h 10000"/>
                <a:gd name="connsiteX94" fmla="*/ 8913 w 10000"/>
                <a:gd name="connsiteY94" fmla="*/ 4948 h 10000"/>
                <a:gd name="connsiteX95" fmla="*/ 9258 w 10000"/>
                <a:gd name="connsiteY95" fmla="*/ 4795 h 10000"/>
                <a:gd name="connsiteX96" fmla="*/ 9203 w 10000"/>
                <a:gd name="connsiteY96" fmla="*/ 4621 h 10000"/>
                <a:gd name="connsiteX97" fmla="*/ 9306 w 10000"/>
                <a:gd name="connsiteY97" fmla="*/ 4690 h 10000"/>
                <a:gd name="connsiteX98" fmla="*/ 9464 w 10000"/>
                <a:gd name="connsiteY98" fmla="*/ 4690 h 10000"/>
                <a:gd name="connsiteX99" fmla="*/ 9464 w 10000"/>
                <a:gd name="connsiteY99" fmla="*/ 4609 h 10000"/>
                <a:gd name="connsiteX100" fmla="*/ 9611 w 10000"/>
                <a:gd name="connsiteY100" fmla="*/ 4550 h 10000"/>
                <a:gd name="connsiteX101" fmla="*/ 9592 w 10000"/>
                <a:gd name="connsiteY101" fmla="*/ 4487 h 10000"/>
                <a:gd name="connsiteX102" fmla="*/ 8350 w 10000"/>
                <a:gd name="connsiteY102" fmla="*/ 4611 h 10000"/>
                <a:gd name="connsiteX103" fmla="*/ 8058 w 10000"/>
                <a:gd name="connsiteY103" fmla="*/ 4576 h 10000"/>
                <a:gd name="connsiteX104" fmla="*/ 7942 w 10000"/>
                <a:gd name="connsiteY104" fmla="*/ 4621 h 10000"/>
                <a:gd name="connsiteX105" fmla="*/ 7903 w 10000"/>
                <a:gd name="connsiteY105" fmla="*/ 4532 h 10000"/>
                <a:gd name="connsiteX106" fmla="*/ 7765 w 10000"/>
                <a:gd name="connsiteY106" fmla="*/ 4456 h 10000"/>
                <a:gd name="connsiteX107" fmla="*/ 7213 w 10000"/>
                <a:gd name="connsiteY107" fmla="*/ 4297 h 10000"/>
                <a:gd name="connsiteX108" fmla="*/ 6887 w 10000"/>
                <a:gd name="connsiteY108" fmla="*/ 4324 h 10000"/>
                <a:gd name="connsiteX109" fmla="*/ 6757 w 10000"/>
                <a:gd name="connsiteY109" fmla="*/ 4278 h 10000"/>
                <a:gd name="connsiteX110" fmla="*/ 6894 w 10000"/>
                <a:gd name="connsiteY110" fmla="*/ 4240 h 10000"/>
                <a:gd name="connsiteX111" fmla="*/ 6998 w 10000"/>
                <a:gd name="connsiteY111" fmla="*/ 4156 h 10000"/>
                <a:gd name="connsiteX112" fmla="*/ 7152 w 10000"/>
                <a:gd name="connsiteY112" fmla="*/ 4182 h 10000"/>
                <a:gd name="connsiteX113" fmla="*/ 7335 w 10000"/>
                <a:gd name="connsiteY113" fmla="*/ 4161 h 10000"/>
                <a:gd name="connsiteX114" fmla="*/ 7611 w 10000"/>
                <a:gd name="connsiteY114" fmla="*/ 4188 h 10000"/>
                <a:gd name="connsiteX115" fmla="*/ 7645 w 10000"/>
                <a:gd name="connsiteY115" fmla="*/ 4177 h 10000"/>
                <a:gd name="connsiteX116" fmla="*/ 7859 w 10000"/>
                <a:gd name="connsiteY116" fmla="*/ 4305 h 10000"/>
                <a:gd name="connsiteX117" fmla="*/ 8017 w 10000"/>
                <a:gd name="connsiteY117" fmla="*/ 4257 h 10000"/>
                <a:gd name="connsiteX118" fmla="*/ 8032 w 10000"/>
                <a:gd name="connsiteY118" fmla="*/ 4214 h 10000"/>
                <a:gd name="connsiteX119" fmla="*/ 8176 w 10000"/>
                <a:gd name="connsiteY119" fmla="*/ 4290 h 10000"/>
                <a:gd name="connsiteX120" fmla="*/ 8369 w 10000"/>
                <a:gd name="connsiteY120" fmla="*/ 4331 h 10000"/>
                <a:gd name="connsiteX121" fmla="*/ 8446 w 10000"/>
                <a:gd name="connsiteY121" fmla="*/ 4255 h 10000"/>
                <a:gd name="connsiteX122" fmla="*/ 8507 w 10000"/>
                <a:gd name="connsiteY122" fmla="*/ 4297 h 10000"/>
                <a:gd name="connsiteX123" fmla="*/ 8596 w 10000"/>
                <a:gd name="connsiteY123" fmla="*/ 4446 h 10000"/>
                <a:gd name="connsiteX124" fmla="*/ 8782 w 10000"/>
                <a:gd name="connsiteY124" fmla="*/ 4478 h 10000"/>
                <a:gd name="connsiteX125" fmla="*/ 9542 w 10000"/>
                <a:gd name="connsiteY125" fmla="*/ 4262 h 10000"/>
                <a:gd name="connsiteX126" fmla="*/ 9914 w 10000"/>
                <a:gd name="connsiteY126" fmla="*/ 3962 h 10000"/>
                <a:gd name="connsiteX127" fmla="*/ 10000 w 10000"/>
                <a:gd name="connsiteY127" fmla="*/ 3744 h 10000"/>
                <a:gd name="connsiteX128" fmla="*/ 9866 w 10000"/>
                <a:gd name="connsiteY128" fmla="*/ 3546 h 10000"/>
                <a:gd name="connsiteX129" fmla="*/ 9582 w 10000"/>
                <a:gd name="connsiteY129" fmla="*/ 3428 h 10000"/>
                <a:gd name="connsiteX130" fmla="*/ 9382 w 10000"/>
                <a:gd name="connsiteY130" fmla="*/ 3233 h 10000"/>
                <a:gd name="connsiteX131" fmla="*/ 9569 w 10000"/>
                <a:gd name="connsiteY131" fmla="*/ 3227 h 10000"/>
                <a:gd name="connsiteX132" fmla="*/ 9555 w 10000"/>
                <a:gd name="connsiteY132" fmla="*/ 3180 h 10000"/>
                <a:gd name="connsiteX133" fmla="*/ 9068 w 10000"/>
                <a:gd name="connsiteY133" fmla="*/ 3045 h 10000"/>
                <a:gd name="connsiteX134" fmla="*/ 9047 w 10000"/>
                <a:gd name="connsiteY134" fmla="*/ 2920 h 10000"/>
                <a:gd name="connsiteX135" fmla="*/ 8953 w 10000"/>
                <a:gd name="connsiteY135" fmla="*/ 2789 h 10000"/>
                <a:gd name="connsiteX136" fmla="*/ 8569 w 10000"/>
                <a:gd name="connsiteY136" fmla="*/ 2813 h 10000"/>
                <a:gd name="connsiteX137" fmla="*/ 8431 w 10000"/>
                <a:gd name="connsiteY137" fmla="*/ 2673 h 10000"/>
                <a:gd name="connsiteX138" fmla="*/ 8350 w 10000"/>
                <a:gd name="connsiteY138" fmla="*/ 2665 h 10000"/>
                <a:gd name="connsiteX139" fmla="*/ 8350 w 10000"/>
                <a:gd name="connsiteY139" fmla="*/ 2726 h 10000"/>
                <a:gd name="connsiteX140" fmla="*/ 8176 w 10000"/>
                <a:gd name="connsiteY140" fmla="*/ 2959 h 10000"/>
                <a:gd name="connsiteX141" fmla="*/ 7990 w 10000"/>
                <a:gd name="connsiteY141" fmla="*/ 3096 h 10000"/>
                <a:gd name="connsiteX142" fmla="*/ 7401 w 10000"/>
                <a:gd name="connsiteY142" fmla="*/ 3329 h 10000"/>
                <a:gd name="connsiteX143" fmla="*/ 7198 w 10000"/>
                <a:gd name="connsiteY143" fmla="*/ 3322 h 10000"/>
                <a:gd name="connsiteX144" fmla="*/ 6915 w 10000"/>
                <a:gd name="connsiteY144" fmla="*/ 3359 h 10000"/>
                <a:gd name="connsiteX145" fmla="*/ 6757 w 10000"/>
                <a:gd name="connsiteY145" fmla="*/ 3322 h 10000"/>
                <a:gd name="connsiteX146" fmla="*/ 6965 w 10000"/>
                <a:gd name="connsiteY146" fmla="*/ 3255 h 10000"/>
                <a:gd name="connsiteX147" fmla="*/ 7235 w 10000"/>
                <a:gd name="connsiteY147" fmla="*/ 3227 h 10000"/>
                <a:gd name="connsiteX148" fmla="*/ 7455 w 10000"/>
                <a:gd name="connsiteY148" fmla="*/ 3118 h 10000"/>
                <a:gd name="connsiteX149" fmla="*/ 7674 w 10000"/>
                <a:gd name="connsiteY149" fmla="*/ 3066 h 10000"/>
                <a:gd name="connsiteX150" fmla="*/ 8082 w 10000"/>
                <a:gd name="connsiteY150" fmla="*/ 2874 h 10000"/>
                <a:gd name="connsiteX151" fmla="*/ 8157 w 10000"/>
                <a:gd name="connsiteY151" fmla="*/ 2750 h 10000"/>
                <a:gd name="connsiteX152" fmla="*/ 8165 w 10000"/>
                <a:gd name="connsiteY152" fmla="*/ 2589 h 10000"/>
                <a:gd name="connsiteX153" fmla="*/ 7978 w 10000"/>
                <a:gd name="connsiteY153" fmla="*/ 2562 h 10000"/>
                <a:gd name="connsiteX154" fmla="*/ 8058 w 10000"/>
                <a:gd name="connsiteY154" fmla="*/ 2463 h 10000"/>
                <a:gd name="connsiteX155" fmla="*/ 8087 w 10000"/>
                <a:gd name="connsiteY155" fmla="*/ 2338 h 10000"/>
                <a:gd name="connsiteX156" fmla="*/ 8007 w 10000"/>
                <a:gd name="connsiteY156" fmla="*/ 2222 h 10000"/>
                <a:gd name="connsiteX157" fmla="*/ 7450 w 10000"/>
                <a:gd name="connsiteY157" fmla="*/ 2382 h 10000"/>
                <a:gd name="connsiteX158" fmla="*/ 6694 w 10000"/>
                <a:gd name="connsiteY158" fmla="*/ 2311 h 10000"/>
                <a:gd name="connsiteX159" fmla="*/ 6304 w 10000"/>
                <a:gd name="connsiteY159" fmla="*/ 1864 h 10000"/>
                <a:gd name="connsiteX160" fmla="*/ 5294 w 10000"/>
                <a:gd name="connsiteY160" fmla="*/ 1779 h 10000"/>
                <a:gd name="connsiteX161" fmla="*/ 4505 w 10000"/>
                <a:gd name="connsiteY161" fmla="*/ 1407 h 10000"/>
                <a:gd name="connsiteX162" fmla="*/ 3730 w 10000"/>
                <a:gd name="connsiteY162" fmla="*/ 962 h 10000"/>
                <a:gd name="connsiteX163" fmla="*/ 3154 w 10000"/>
                <a:gd name="connsiteY163" fmla="*/ 143 h 10000"/>
                <a:gd name="connsiteX164" fmla="*/ 2375 w 10000"/>
                <a:gd name="connsiteY164" fmla="*/ 0 h 10000"/>
                <a:gd name="connsiteX165" fmla="*/ 2226 w 10000"/>
                <a:gd name="connsiteY165" fmla="*/ 772 h 10000"/>
                <a:gd name="connsiteX166" fmla="*/ 2375 w 10000"/>
                <a:gd name="connsiteY166" fmla="*/ 967 h 10000"/>
                <a:gd name="connsiteX167" fmla="*/ 2791 w 10000"/>
                <a:gd name="connsiteY167" fmla="*/ 1185 h 10000"/>
                <a:gd name="connsiteX168" fmla="*/ 2808 w 10000"/>
                <a:gd name="connsiteY168" fmla="*/ 1446 h 10000"/>
                <a:gd name="connsiteX169" fmla="*/ 2632 w 10000"/>
                <a:gd name="connsiteY169" fmla="*/ 1665 h 10000"/>
                <a:gd name="connsiteX170" fmla="*/ 2375 w 10000"/>
                <a:gd name="connsiteY170" fmla="*/ 1798 h 10000"/>
                <a:gd name="connsiteX171" fmla="*/ 2039 w 10000"/>
                <a:gd name="connsiteY171" fmla="*/ 1851 h 10000"/>
                <a:gd name="connsiteX172" fmla="*/ 1950 w 10000"/>
                <a:gd name="connsiteY172" fmla="*/ 1929 h 10000"/>
                <a:gd name="connsiteX173" fmla="*/ 2148 w 10000"/>
                <a:gd name="connsiteY173" fmla="*/ 2110 h 10000"/>
                <a:gd name="connsiteX174" fmla="*/ 2261 w 10000"/>
                <a:gd name="connsiteY174" fmla="*/ 2541 h 10000"/>
                <a:gd name="connsiteX175" fmla="*/ 2005 w 10000"/>
                <a:gd name="connsiteY175" fmla="*/ 2910 h 10000"/>
                <a:gd name="connsiteX176" fmla="*/ 2094 w 10000"/>
                <a:gd name="connsiteY176" fmla="*/ 3022 h 10000"/>
                <a:gd name="connsiteX177" fmla="*/ 2012 w 10000"/>
                <a:gd name="connsiteY177" fmla="*/ 3214 h 10000"/>
                <a:gd name="connsiteX178" fmla="*/ 1850 w 10000"/>
                <a:gd name="connsiteY178" fmla="*/ 3349 h 10000"/>
                <a:gd name="connsiteX179" fmla="*/ 1199 w 10000"/>
                <a:gd name="connsiteY179" fmla="*/ 3450 h 10000"/>
                <a:gd name="connsiteX180" fmla="*/ 1158 w 10000"/>
                <a:gd name="connsiteY180" fmla="*/ 3629 h 10000"/>
                <a:gd name="connsiteX181" fmla="*/ 808 w 10000"/>
                <a:gd name="connsiteY181" fmla="*/ 3893 h 10000"/>
                <a:gd name="connsiteX182" fmla="*/ 854 w 10000"/>
                <a:gd name="connsiteY182" fmla="*/ 4276 h 10000"/>
                <a:gd name="connsiteX183" fmla="*/ 560 w 10000"/>
                <a:gd name="connsiteY183" fmla="*/ 4766 h 10000"/>
                <a:gd name="connsiteX184" fmla="*/ 358 w 10000"/>
                <a:gd name="connsiteY184" fmla="*/ 4822 h 10000"/>
                <a:gd name="connsiteX185" fmla="*/ 275 w 10000"/>
                <a:gd name="connsiteY185" fmla="*/ 4706 h 10000"/>
                <a:gd name="connsiteX186" fmla="*/ 174 w 10000"/>
                <a:gd name="connsiteY186" fmla="*/ 4882 h 10000"/>
                <a:gd name="connsiteX187" fmla="*/ 239 w 10000"/>
                <a:gd name="connsiteY187" fmla="*/ 4578 h 10000"/>
                <a:gd name="connsiteX188" fmla="*/ 197 w 10000"/>
                <a:gd name="connsiteY188" fmla="*/ 4521 h 10000"/>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3212 w 10000"/>
                <a:gd name="connsiteY47" fmla="*/ 9941 h 10000"/>
                <a:gd name="connsiteX48" fmla="*/ 3348 w 10000"/>
                <a:gd name="connsiteY48" fmla="*/ 9745 h 10000"/>
                <a:gd name="connsiteX49" fmla="*/ 3313 w 10000"/>
                <a:gd name="connsiteY49" fmla="*/ 9423 h 10000"/>
                <a:gd name="connsiteX50" fmla="*/ 3642 w 10000"/>
                <a:gd name="connsiteY50" fmla="*/ 9067 h 10000"/>
                <a:gd name="connsiteX51" fmla="*/ 3883 w 10000"/>
                <a:gd name="connsiteY51" fmla="*/ 9124 h 10000"/>
                <a:gd name="connsiteX52" fmla="*/ 4025 w 10000"/>
                <a:gd name="connsiteY52" fmla="*/ 8982 h 10000"/>
                <a:gd name="connsiteX53" fmla="*/ 4294 w 10000"/>
                <a:gd name="connsiteY53" fmla="*/ 8899 h 10000"/>
                <a:gd name="connsiteX54" fmla="*/ 4658 w 10000"/>
                <a:gd name="connsiteY54" fmla="*/ 8919 h 10000"/>
                <a:gd name="connsiteX55" fmla="*/ 4878 w 10000"/>
                <a:gd name="connsiteY55" fmla="*/ 8975 h 10000"/>
                <a:gd name="connsiteX56" fmla="*/ 5170 w 10000"/>
                <a:gd name="connsiteY56" fmla="*/ 8951 h 10000"/>
                <a:gd name="connsiteX57" fmla="*/ 6419 w 10000"/>
                <a:gd name="connsiteY57" fmla="*/ 8186 h 10000"/>
                <a:gd name="connsiteX58" fmla="*/ 6586 w 10000"/>
                <a:gd name="connsiteY58" fmla="*/ 7505 h 10000"/>
                <a:gd name="connsiteX59" fmla="*/ 6855 w 10000"/>
                <a:gd name="connsiteY59" fmla="*/ 7204 h 10000"/>
                <a:gd name="connsiteX60" fmla="*/ 6855 w 10000"/>
                <a:gd name="connsiteY60" fmla="*/ 7043 h 10000"/>
                <a:gd name="connsiteX61" fmla="*/ 6757 w 10000"/>
                <a:gd name="connsiteY61" fmla="*/ 6956 h 10000"/>
                <a:gd name="connsiteX62" fmla="*/ 6915 w 10000"/>
                <a:gd name="connsiteY62" fmla="*/ 6811 h 10000"/>
                <a:gd name="connsiteX63" fmla="*/ 6887 w 10000"/>
                <a:gd name="connsiteY63" fmla="*/ 6693 h 10000"/>
                <a:gd name="connsiteX64" fmla="*/ 6779 w 10000"/>
                <a:gd name="connsiteY64" fmla="*/ 6592 h 10000"/>
                <a:gd name="connsiteX65" fmla="*/ 6757 w 10000"/>
                <a:gd name="connsiteY65" fmla="*/ 6514 h 10000"/>
                <a:gd name="connsiteX66" fmla="*/ 6785 w 10000"/>
                <a:gd name="connsiteY66" fmla="*/ 6457 h 10000"/>
                <a:gd name="connsiteX67" fmla="*/ 6931 w 10000"/>
                <a:gd name="connsiteY67" fmla="*/ 6503 h 10000"/>
                <a:gd name="connsiteX68" fmla="*/ 7045 w 10000"/>
                <a:gd name="connsiteY68" fmla="*/ 6500 h 10000"/>
                <a:gd name="connsiteX69" fmla="*/ 6983 w 10000"/>
                <a:gd name="connsiteY69" fmla="*/ 6404 h 10000"/>
                <a:gd name="connsiteX70" fmla="*/ 7003 w 10000"/>
                <a:gd name="connsiteY70" fmla="*/ 6346 h 10000"/>
                <a:gd name="connsiteX71" fmla="*/ 7089 w 10000"/>
                <a:gd name="connsiteY71" fmla="*/ 6265 h 10000"/>
                <a:gd name="connsiteX72" fmla="*/ 7074 w 10000"/>
                <a:gd name="connsiteY72" fmla="*/ 6198 h 10000"/>
                <a:gd name="connsiteX73" fmla="*/ 7152 w 10000"/>
                <a:gd name="connsiteY73" fmla="*/ 5971 h 10000"/>
                <a:gd name="connsiteX74" fmla="*/ 7130 w 10000"/>
                <a:gd name="connsiteY74" fmla="*/ 5902 h 10000"/>
                <a:gd name="connsiteX75" fmla="*/ 6729 w 10000"/>
                <a:gd name="connsiteY75" fmla="*/ 5729 h 10000"/>
                <a:gd name="connsiteX76" fmla="*/ 6785 w 10000"/>
                <a:gd name="connsiteY76" fmla="*/ 5723 h 10000"/>
                <a:gd name="connsiteX77" fmla="*/ 6998 w 10000"/>
                <a:gd name="connsiteY77" fmla="*/ 5768 h 10000"/>
                <a:gd name="connsiteX78" fmla="*/ 7230 w 10000"/>
                <a:gd name="connsiteY78" fmla="*/ 5751 h 10000"/>
                <a:gd name="connsiteX79" fmla="*/ 7295 w 10000"/>
                <a:gd name="connsiteY79" fmla="*/ 5689 h 10000"/>
                <a:gd name="connsiteX80" fmla="*/ 7074 w 10000"/>
                <a:gd name="connsiteY80" fmla="*/ 5571 h 10000"/>
                <a:gd name="connsiteX81" fmla="*/ 6414 w 10000"/>
                <a:gd name="connsiteY81" fmla="*/ 5495 h 10000"/>
                <a:gd name="connsiteX82" fmla="*/ 6458 w 10000"/>
                <a:gd name="connsiteY82" fmla="*/ 5459 h 10000"/>
                <a:gd name="connsiteX83" fmla="*/ 6998 w 10000"/>
                <a:gd name="connsiteY83" fmla="*/ 5434 h 10000"/>
                <a:gd name="connsiteX84" fmla="*/ 7295 w 10000"/>
                <a:gd name="connsiteY84" fmla="*/ 5506 h 10000"/>
                <a:gd name="connsiteX85" fmla="*/ 7466 w 10000"/>
                <a:gd name="connsiteY85" fmla="*/ 5459 h 10000"/>
                <a:gd name="connsiteX86" fmla="*/ 7529 w 10000"/>
                <a:gd name="connsiteY86" fmla="*/ 5337 h 10000"/>
                <a:gd name="connsiteX87" fmla="*/ 7840 w 10000"/>
                <a:gd name="connsiteY87" fmla="*/ 5337 h 10000"/>
                <a:gd name="connsiteX88" fmla="*/ 8261 w 10000"/>
                <a:gd name="connsiteY88" fmla="*/ 5093 h 10000"/>
                <a:gd name="connsiteX89" fmla="*/ 8275 w 10000"/>
                <a:gd name="connsiteY89" fmla="*/ 4928 h 10000"/>
                <a:gd name="connsiteX90" fmla="*/ 8453 w 10000"/>
                <a:gd name="connsiteY90" fmla="*/ 4965 h 10000"/>
                <a:gd name="connsiteX91" fmla="*/ 8446 w 10000"/>
                <a:gd name="connsiteY91" fmla="*/ 5130 h 10000"/>
                <a:gd name="connsiteX92" fmla="*/ 8727 w 10000"/>
                <a:gd name="connsiteY92" fmla="*/ 5118 h 10000"/>
                <a:gd name="connsiteX93" fmla="*/ 8913 w 10000"/>
                <a:gd name="connsiteY93" fmla="*/ 4948 h 10000"/>
                <a:gd name="connsiteX94" fmla="*/ 9258 w 10000"/>
                <a:gd name="connsiteY94" fmla="*/ 4795 h 10000"/>
                <a:gd name="connsiteX95" fmla="*/ 9203 w 10000"/>
                <a:gd name="connsiteY95" fmla="*/ 4621 h 10000"/>
                <a:gd name="connsiteX96" fmla="*/ 9306 w 10000"/>
                <a:gd name="connsiteY96" fmla="*/ 4690 h 10000"/>
                <a:gd name="connsiteX97" fmla="*/ 9464 w 10000"/>
                <a:gd name="connsiteY97" fmla="*/ 4690 h 10000"/>
                <a:gd name="connsiteX98" fmla="*/ 9464 w 10000"/>
                <a:gd name="connsiteY98" fmla="*/ 4609 h 10000"/>
                <a:gd name="connsiteX99" fmla="*/ 9611 w 10000"/>
                <a:gd name="connsiteY99" fmla="*/ 4550 h 10000"/>
                <a:gd name="connsiteX100" fmla="*/ 9592 w 10000"/>
                <a:gd name="connsiteY100" fmla="*/ 4487 h 10000"/>
                <a:gd name="connsiteX101" fmla="*/ 8350 w 10000"/>
                <a:gd name="connsiteY101" fmla="*/ 4611 h 10000"/>
                <a:gd name="connsiteX102" fmla="*/ 8058 w 10000"/>
                <a:gd name="connsiteY102" fmla="*/ 4576 h 10000"/>
                <a:gd name="connsiteX103" fmla="*/ 7942 w 10000"/>
                <a:gd name="connsiteY103" fmla="*/ 4621 h 10000"/>
                <a:gd name="connsiteX104" fmla="*/ 7903 w 10000"/>
                <a:gd name="connsiteY104" fmla="*/ 4532 h 10000"/>
                <a:gd name="connsiteX105" fmla="*/ 7765 w 10000"/>
                <a:gd name="connsiteY105" fmla="*/ 4456 h 10000"/>
                <a:gd name="connsiteX106" fmla="*/ 7213 w 10000"/>
                <a:gd name="connsiteY106" fmla="*/ 4297 h 10000"/>
                <a:gd name="connsiteX107" fmla="*/ 6887 w 10000"/>
                <a:gd name="connsiteY107" fmla="*/ 4324 h 10000"/>
                <a:gd name="connsiteX108" fmla="*/ 6757 w 10000"/>
                <a:gd name="connsiteY108" fmla="*/ 4278 h 10000"/>
                <a:gd name="connsiteX109" fmla="*/ 6894 w 10000"/>
                <a:gd name="connsiteY109" fmla="*/ 4240 h 10000"/>
                <a:gd name="connsiteX110" fmla="*/ 6998 w 10000"/>
                <a:gd name="connsiteY110" fmla="*/ 4156 h 10000"/>
                <a:gd name="connsiteX111" fmla="*/ 7152 w 10000"/>
                <a:gd name="connsiteY111" fmla="*/ 4182 h 10000"/>
                <a:gd name="connsiteX112" fmla="*/ 7335 w 10000"/>
                <a:gd name="connsiteY112" fmla="*/ 4161 h 10000"/>
                <a:gd name="connsiteX113" fmla="*/ 7611 w 10000"/>
                <a:gd name="connsiteY113" fmla="*/ 4188 h 10000"/>
                <a:gd name="connsiteX114" fmla="*/ 7645 w 10000"/>
                <a:gd name="connsiteY114" fmla="*/ 4177 h 10000"/>
                <a:gd name="connsiteX115" fmla="*/ 7859 w 10000"/>
                <a:gd name="connsiteY115" fmla="*/ 4305 h 10000"/>
                <a:gd name="connsiteX116" fmla="*/ 8017 w 10000"/>
                <a:gd name="connsiteY116" fmla="*/ 4257 h 10000"/>
                <a:gd name="connsiteX117" fmla="*/ 8032 w 10000"/>
                <a:gd name="connsiteY117" fmla="*/ 4214 h 10000"/>
                <a:gd name="connsiteX118" fmla="*/ 8176 w 10000"/>
                <a:gd name="connsiteY118" fmla="*/ 4290 h 10000"/>
                <a:gd name="connsiteX119" fmla="*/ 8369 w 10000"/>
                <a:gd name="connsiteY119" fmla="*/ 4331 h 10000"/>
                <a:gd name="connsiteX120" fmla="*/ 8446 w 10000"/>
                <a:gd name="connsiteY120" fmla="*/ 4255 h 10000"/>
                <a:gd name="connsiteX121" fmla="*/ 8507 w 10000"/>
                <a:gd name="connsiteY121" fmla="*/ 4297 h 10000"/>
                <a:gd name="connsiteX122" fmla="*/ 8596 w 10000"/>
                <a:gd name="connsiteY122" fmla="*/ 4446 h 10000"/>
                <a:gd name="connsiteX123" fmla="*/ 8782 w 10000"/>
                <a:gd name="connsiteY123" fmla="*/ 4478 h 10000"/>
                <a:gd name="connsiteX124" fmla="*/ 9542 w 10000"/>
                <a:gd name="connsiteY124" fmla="*/ 4262 h 10000"/>
                <a:gd name="connsiteX125" fmla="*/ 9914 w 10000"/>
                <a:gd name="connsiteY125" fmla="*/ 3962 h 10000"/>
                <a:gd name="connsiteX126" fmla="*/ 10000 w 10000"/>
                <a:gd name="connsiteY126" fmla="*/ 3744 h 10000"/>
                <a:gd name="connsiteX127" fmla="*/ 9866 w 10000"/>
                <a:gd name="connsiteY127" fmla="*/ 3546 h 10000"/>
                <a:gd name="connsiteX128" fmla="*/ 9582 w 10000"/>
                <a:gd name="connsiteY128" fmla="*/ 3428 h 10000"/>
                <a:gd name="connsiteX129" fmla="*/ 9382 w 10000"/>
                <a:gd name="connsiteY129" fmla="*/ 3233 h 10000"/>
                <a:gd name="connsiteX130" fmla="*/ 9569 w 10000"/>
                <a:gd name="connsiteY130" fmla="*/ 3227 h 10000"/>
                <a:gd name="connsiteX131" fmla="*/ 9555 w 10000"/>
                <a:gd name="connsiteY131" fmla="*/ 3180 h 10000"/>
                <a:gd name="connsiteX132" fmla="*/ 9068 w 10000"/>
                <a:gd name="connsiteY132" fmla="*/ 3045 h 10000"/>
                <a:gd name="connsiteX133" fmla="*/ 9047 w 10000"/>
                <a:gd name="connsiteY133" fmla="*/ 2920 h 10000"/>
                <a:gd name="connsiteX134" fmla="*/ 8953 w 10000"/>
                <a:gd name="connsiteY134" fmla="*/ 2789 h 10000"/>
                <a:gd name="connsiteX135" fmla="*/ 8569 w 10000"/>
                <a:gd name="connsiteY135" fmla="*/ 2813 h 10000"/>
                <a:gd name="connsiteX136" fmla="*/ 8431 w 10000"/>
                <a:gd name="connsiteY136" fmla="*/ 2673 h 10000"/>
                <a:gd name="connsiteX137" fmla="*/ 8350 w 10000"/>
                <a:gd name="connsiteY137" fmla="*/ 2665 h 10000"/>
                <a:gd name="connsiteX138" fmla="*/ 8350 w 10000"/>
                <a:gd name="connsiteY138" fmla="*/ 2726 h 10000"/>
                <a:gd name="connsiteX139" fmla="*/ 8176 w 10000"/>
                <a:gd name="connsiteY139" fmla="*/ 2959 h 10000"/>
                <a:gd name="connsiteX140" fmla="*/ 7990 w 10000"/>
                <a:gd name="connsiteY140" fmla="*/ 3096 h 10000"/>
                <a:gd name="connsiteX141" fmla="*/ 7401 w 10000"/>
                <a:gd name="connsiteY141" fmla="*/ 3329 h 10000"/>
                <a:gd name="connsiteX142" fmla="*/ 7198 w 10000"/>
                <a:gd name="connsiteY142" fmla="*/ 3322 h 10000"/>
                <a:gd name="connsiteX143" fmla="*/ 6915 w 10000"/>
                <a:gd name="connsiteY143" fmla="*/ 3359 h 10000"/>
                <a:gd name="connsiteX144" fmla="*/ 6757 w 10000"/>
                <a:gd name="connsiteY144" fmla="*/ 3322 h 10000"/>
                <a:gd name="connsiteX145" fmla="*/ 6965 w 10000"/>
                <a:gd name="connsiteY145" fmla="*/ 3255 h 10000"/>
                <a:gd name="connsiteX146" fmla="*/ 7235 w 10000"/>
                <a:gd name="connsiteY146" fmla="*/ 3227 h 10000"/>
                <a:gd name="connsiteX147" fmla="*/ 7455 w 10000"/>
                <a:gd name="connsiteY147" fmla="*/ 3118 h 10000"/>
                <a:gd name="connsiteX148" fmla="*/ 7674 w 10000"/>
                <a:gd name="connsiteY148" fmla="*/ 3066 h 10000"/>
                <a:gd name="connsiteX149" fmla="*/ 8082 w 10000"/>
                <a:gd name="connsiteY149" fmla="*/ 2874 h 10000"/>
                <a:gd name="connsiteX150" fmla="*/ 8157 w 10000"/>
                <a:gd name="connsiteY150" fmla="*/ 2750 h 10000"/>
                <a:gd name="connsiteX151" fmla="*/ 8165 w 10000"/>
                <a:gd name="connsiteY151" fmla="*/ 2589 h 10000"/>
                <a:gd name="connsiteX152" fmla="*/ 7978 w 10000"/>
                <a:gd name="connsiteY152" fmla="*/ 2562 h 10000"/>
                <a:gd name="connsiteX153" fmla="*/ 8058 w 10000"/>
                <a:gd name="connsiteY153" fmla="*/ 2463 h 10000"/>
                <a:gd name="connsiteX154" fmla="*/ 8087 w 10000"/>
                <a:gd name="connsiteY154" fmla="*/ 2338 h 10000"/>
                <a:gd name="connsiteX155" fmla="*/ 8007 w 10000"/>
                <a:gd name="connsiteY155" fmla="*/ 2222 h 10000"/>
                <a:gd name="connsiteX156" fmla="*/ 7450 w 10000"/>
                <a:gd name="connsiteY156" fmla="*/ 2382 h 10000"/>
                <a:gd name="connsiteX157" fmla="*/ 6694 w 10000"/>
                <a:gd name="connsiteY157" fmla="*/ 2311 h 10000"/>
                <a:gd name="connsiteX158" fmla="*/ 6304 w 10000"/>
                <a:gd name="connsiteY158" fmla="*/ 1864 h 10000"/>
                <a:gd name="connsiteX159" fmla="*/ 5294 w 10000"/>
                <a:gd name="connsiteY159" fmla="*/ 1779 h 10000"/>
                <a:gd name="connsiteX160" fmla="*/ 4505 w 10000"/>
                <a:gd name="connsiteY160" fmla="*/ 1407 h 10000"/>
                <a:gd name="connsiteX161" fmla="*/ 3730 w 10000"/>
                <a:gd name="connsiteY161" fmla="*/ 962 h 10000"/>
                <a:gd name="connsiteX162" fmla="*/ 3154 w 10000"/>
                <a:gd name="connsiteY162" fmla="*/ 143 h 10000"/>
                <a:gd name="connsiteX163" fmla="*/ 2375 w 10000"/>
                <a:gd name="connsiteY163" fmla="*/ 0 h 10000"/>
                <a:gd name="connsiteX164" fmla="*/ 2226 w 10000"/>
                <a:gd name="connsiteY164" fmla="*/ 772 h 10000"/>
                <a:gd name="connsiteX165" fmla="*/ 2375 w 10000"/>
                <a:gd name="connsiteY165" fmla="*/ 967 h 10000"/>
                <a:gd name="connsiteX166" fmla="*/ 2791 w 10000"/>
                <a:gd name="connsiteY166" fmla="*/ 1185 h 10000"/>
                <a:gd name="connsiteX167" fmla="*/ 2808 w 10000"/>
                <a:gd name="connsiteY167" fmla="*/ 1446 h 10000"/>
                <a:gd name="connsiteX168" fmla="*/ 2632 w 10000"/>
                <a:gd name="connsiteY168" fmla="*/ 1665 h 10000"/>
                <a:gd name="connsiteX169" fmla="*/ 2375 w 10000"/>
                <a:gd name="connsiteY169" fmla="*/ 1798 h 10000"/>
                <a:gd name="connsiteX170" fmla="*/ 2039 w 10000"/>
                <a:gd name="connsiteY170" fmla="*/ 1851 h 10000"/>
                <a:gd name="connsiteX171" fmla="*/ 1950 w 10000"/>
                <a:gd name="connsiteY171" fmla="*/ 1929 h 10000"/>
                <a:gd name="connsiteX172" fmla="*/ 2148 w 10000"/>
                <a:gd name="connsiteY172" fmla="*/ 2110 h 10000"/>
                <a:gd name="connsiteX173" fmla="*/ 2261 w 10000"/>
                <a:gd name="connsiteY173" fmla="*/ 2541 h 10000"/>
                <a:gd name="connsiteX174" fmla="*/ 2005 w 10000"/>
                <a:gd name="connsiteY174" fmla="*/ 2910 h 10000"/>
                <a:gd name="connsiteX175" fmla="*/ 2094 w 10000"/>
                <a:gd name="connsiteY175" fmla="*/ 3022 h 10000"/>
                <a:gd name="connsiteX176" fmla="*/ 2012 w 10000"/>
                <a:gd name="connsiteY176" fmla="*/ 3214 h 10000"/>
                <a:gd name="connsiteX177" fmla="*/ 1850 w 10000"/>
                <a:gd name="connsiteY177" fmla="*/ 3349 h 10000"/>
                <a:gd name="connsiteX178" fmla="*/ 1199 w 10000"/>
                <a:gd name="connsiteY178" fmla="*/ 3450 h 10000"/>
                <a:gd name="connsiteX179" fmla="*/ 1158 w 10000"/>
                <a:gd name="connsiteY179" fmla="*/ 3629 h 10000"/>
                <a:gd name="connsiteX180" fmla="*/ 808 w 10000"/>
                <a:gd name="connsiteY180" fmla="*/ 3893 h 10000"/>
                <a:gd name="connsiteX181" fmla="*/ 854 w 10000"/>
                <a:gd name="connsiteY181" fmla="*/ 4276 h 10000"/>
                <a:gd name="connsiteX182" fmla="*/ 560 w 10000"/>
                <a:gd name="connsiteY182" fmla="*/ 4766 h 10000"/>
                <a:gd name="connsiteX183" fmla="*/ 358 w 10000"/>
                <a:gd name="connsiteY183" fmla="*/ 4822 h 10000"/>
                <a:gd name="connsiteX184" fmla="*/ 275 w 10000"/>
                <a:gd name="connsiteY184" fmla="*/ 4706 h 10000"/>
                <a:gd name="connsiteX185" fmla="*/ 174 w 10000"/>
                <a:gd name="connsiteY185" fmla="*/ 4882 h 10000"/>
                <a:gd name="connsiteX186" fmla="*/ 239 w 10000"/>
                <a:gd name="connsiteY186" fmla="*/ 4578 h 10000"/>
                <a:gd name="connsiteX187" fmla="*/ 197 w 10000"/>
                <a:gd name="connsiteY187" fmla="*/ 4521 h 10000"/>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3212 w 10000"/>
                <a:gd name="connsiteY47" fmla="*/ 9941 h 10000"/>
                <a:gd name="connsiteX48" fmla="*/ 3348 w 10000"/>
                <a:gd name="connsiteY48" fmla="*/ 9745 h 10000"/>
                <a:gd name="connsiteX49" fmla="*/ 3313 w 10000"/>
                <a:gd name="connsiteY49" fmla="*/ 9423 h 10000"/>
                <a:gd name="connsiteX50" fmla="*/ 3642 w 10000"/>
                <a:gd name="connsiteY50" fmla="*/ 9067 h 10000"/>
                <a:gd name="connsiteX51" fmla="*/ 3883 w 10000"/>
                <a:gd name="connsiteY51" fmla="*/ 9124 h 10000"/>
                <a:gd name="connsiteX52" fmla="*/ 4025 w 10000"/>
                <a:gd name="connsiteY52" fmla="*/ 8982 h 10000"/>
                <a:gd name="connsiteX53" fmla="*/ 4294 w 10000"/>
                <a:gd name="connsiteY53" fmla="*/ 8899 h 10000"/>
                <a:gd name="connsiteX54" fmla="*/ 4658 w 10000"/>
                <a:gd name="connsiteY54" fmla="*/ 8919 h 10000"/>
                <a:gd name="connsiteX55" fmla="*/ 4878 w 10000"/>
                <a:gd name="connsiteY55" fmla="*/ 8975 h 10000"/>
                <a:gd name="connsiteX56" fmla="*/ 6419 w 10000"/>
                <a:gd name="connsiteY56" fmla="*/ 8186 h 10000"/>
                <a:gd name="connsiteX57" fmla="*/ 6586 w 10000"/>
                <a:gd name="connsiteY57" fmla="*/ 7505 h 10000"/>
                <a:gd name="connsiteX58" fmla="*/ 6855 w 10000"/>
                <a:gd name="connsiteY58" fmla="*/ 7204 h 10000"/>
                <a:gd name="connsiteX59" fmla="*/ 6855 w 10000"/>
                <a:gd name="connsiteY59" fmla="*/ 7043 h 10000"/>
                <a:gd name="connsiteX60" fmla="*/ 6757 w 10000"/>
                <a:gd name="connsiteY60" fmla="*/ 6956 h 10000"/>
                <a:gd name="connsiteX61" fmla="*/ 6915 w 10000"/>
                <a:gd name="connsiteY61" fmla="*/ 6811 h 10000"/>
                <a:gd name="connsiteX62" fmla="*/ 6887 w 10000"/>
                <a:gd name="connsiteY62" fmla="*/ 6693 h 10000"/>
                <a:gd name="connsiteX63" fmla="*/ 6779 w 10000"/>
                <a:gd name="connsiteY63" fmla="*/ 6592 h 10000"/>
                <a:gd name="connsiteX64" fmla="*/ 6757 w 10000"/>
                <a:gd name="connsiteY64" fmla="*/ 6514 h 10000"/>
                <a:gd name="connsiteX65" fmla="*/ 6785 w 10000"/>
                <a:gd name="connsiteY65" fmla="*/ 6457 h 10000"/>
                <a:gd name="connsiteX66" fmla="*/ 6931 w 10000"/>
                <a:gd name="connsiteY66" fmla="*/ 6503 h 10000"/>
                <a:gd name="connsiteX67" fmla="*/ 7045 w 10000"/>
                <a:gd name="connsiteY67" fmla="*/ 6500 h 10000"/>
                <a:gd name="connsiteX68" fmla="*/ 6983 w 10000"/>
                <a:gd name="connsiteY68" fmla="*/ 6404 h 10000"/>
                <a:gd name="connsiteX69" fmla="*/ 7003 w 10000"/>
                <a:gd name="connsiteY69" fmla="*/ 6346 h 10000"/>
                <a:gd name="connsiteX70" fmla="*/ 7089 w 10000"/>
                <a:gd name="connsiteY70" fmla="*/ 6265 h 10000"/>
                <a:gd name="connsiteX71" fmla="*/ 7074 w 10000"/>
                <a:gd name="connsiteY71" fmla="*/ 6198 h 10000"/>
                <a:gd name="connsiteX72" fmla="*/ 7152 w 10000"/>
                <a:gd name="connsiteY72" fmla="*/ 5971 h 10000"/>
                <a:gd name="connsiteX73" fmla="*/ 7130 w 10000"/>
                <a:gd name="connsiteY73" fmla="*/ 5902 h 10000"/>
                <a:gd name="connsiteX74" fmla="*/ 6729 w 10000"/>
                <a:gd name="connsiteY74" fmla="*/ 5729 h 10000"/>
                <a:gd name="connsiteX75" fmla="*/ 6785 w 10000"/>
                <a:gd name="connsiteY75" fmla="*/ 5723 h 10000"/>
                <a:gd name="connsiteX76" fmla="*/ 6998 w 10000"/>
                <a:gd name="connsiteY76" fmla="*/ 5768 h 10000"/>
                <a:gd name="connsiteX77" fmla="*/ 7230 w 10000"/>
                <a:gd name="connsiteY77" fmla="*/ 5751 h 10000"/>
                <a:gd name="connsiteX78" fmla="*/ 7295 w 10000"/>
                <a:gd name="connsiteY78" fmla="*/ 5689 h 10000"/>
                <a:gd name="connsiteX79" fmla="*/ 7074 w 10000"/>
                <a:gd name="connsiteY79" fmla="*/ 5571 h 10000"/>
                <a:gd name="connsiteX80" fmla="*/ 6414 w 10000"/>
                <a:gd name="connsiteY80" fmla="*/ 5495 h 10000"/>
                <a:gd name="connsiteX81" fmla="*/ 6458 w 10000"/>
                <a:gd name="connsiteY81" fmla="*/ 5459 h 10000"/>
                <a:gd name="connsiteX82" fmla="*/ 6998 w 10000"/>
                <a:gd name="connsiteY82" fmla="*/ 5434 h 10000"/>
                <a:gd name="connsiteX83" fmla="*/ 7295 w 10000"/>
                <a:gd name="connsiteY83" fmla="*/ 5506 h 10000"/>
                <a:gd name="connsiteX84" fmla="*/ 7466 w 10000"/>
                <a:gd name="connsiteY84" fmla="*/ 5459 h 10000"/>
                <a:gd name="connsiteX85" fmla="*/ 7529 w 10000"/>
                <a:gd name="connsiteY85" fmla="*/ 5337 h 10000"/>
                <a:gd name="connsiteX86" fmla="*/ 7840 w 10000"/>
                <a:gd name="connsiteY86" fmla="*/ 5337 h 10000"/>
                <a:gd name="connsiteX87" fmla="*/ 8261 w 10000"/>
                <a:gd name="connsiteY87" fmla="*/ 5093 h 10000"/>
                <a:gd name="connsiteX88" fmla="*/ 8275 w 10000"/>
                <a:gd name="connsiteY88" fmla="*/ 4928 h 10000"/>
                <a:gd name="connsiteX89" fmla="*/ 8453 w 10000"/>
                <a:gd name="connsiteY89" fmla="*/ 4965 h 10000"/>
                <a:gd name="connsiteX90" fmla="*/ 8446 w 10000"/>
                <a:gd name="connsiteY90" fmla="*/ 5130 h 10000"/>
                <a:gd name="connsiteX91" fmla="*/ 8727 w 10000"/>
                <a:gd name="connsiteY91" fmla="*/ 5118 h 10000"/>
                <a:gd name="connsiteX92" fmla="*/ 8913 w 10000"/>
                <a:gd name="connsiteY92" fmla="*/ 4948 h 10000"/>
                <a:gd name="connsiteX93" fmla="*/ 9258 w 10000"/>
                <a:gd name="connsiteY93" fmla="*/ 4795 h 10000"/>
                <a:gd name="connsiteX94" fmla="*/ 9203 w 10000"/>
                <a:gd name="connsiteY94" fmla="*/ 4621 h 10000"/>
                <a:gd name="connsiteX95" fmla="*/ 9306 w 10000"/>
                <a:gd name="connsiteY95" fmla="*/ 4690 h 10000"/>
                <a:gd name="connsiteX96" fmla="*/ 9464 w 10000"/>
                <a:gd name="connsiteY96" fmla="*/ 4690 h 10000"/>
                <a:gd name="connsiteX97" fmla="*/ 9464 w 10000"/>
                <a:gd name="connsiteY97" fmla="*/ 4609 h 10000"/>
                <a:gd name="connsiteX98" fmla="*/ 9611 w 10000"/>
                <a:gd name="connsiteY98" fmla="*/ 4550 h 10000"/>
                <a:gd name="connsiteX99" fmla="*/ 9592 w 10000"/>
                <a:gd name="connsiteY99" fmla="*/ 4487 h 10000"/>
                <a:gd name="connsiteX100" fmla="*/ 8350 w 10000"/>
                <a:gd name="connsiteY100" fmla="*/ 4611 h 10000"/>
                <a:gd name="connsiteX101" fmla="*/ 8058 w 10000"/>
                <a:gd name="connsiteY101" fmla="*/ 4576 h 10000"/>
                <a:gd name="connsiteX102" fmla="*/ 7942 w 10000"/>
                <a:gd name="connsiteY102" fmla="*/ 4621 h 10000"/>
                <a:gd name="connsiteX103" fmla="*/ 7903 w 10000"/>
                <a:gd name="connsiteY103" fmla="*/ 4532 h 10000"/>
                <a:gd name="connsiteX104" fmla="*/ 7765 w 10000"/>
                <a:gd name="connsiteY104" fmla="*/ 4456 h 10000"/>
                <a:gd name="connsiteX105" fmla="*/ 7213 w 10000"/>
                <a:gd name="connsiteY105" fmla="*/ 4297 h 10000"/>
                <a:gd name="connsiteX106" fmla="*/ 6887 w 10000"/>
                <a:gd name="connsiteY106" fmla="*/ 4324 h 10000"/>
                <a:gd name="connsiteX107" fmla="*/ 6757 w 10000"/>
                <a:gd name="connsiteY107" fmla="*/ 4278 h 10000"/>
                <a:gd name="connsiteX108" fmla="*/ 6894 w 10000"/>
                <a:gd name="connsiteY108" fmla="*/ 4240 h 10000"/>
                <a:gd name="connsiteX109" fmla="*/ 6998 w 10000"/>
                <a:gd name="connsiteY109" fmla="*/ 4156 h 10000"/>
                <a:gd name="connsiteX110" fmla="*/ 7152 w 10000"/>
                <a:gd name="connsiteY110" fmla="*/ 4182 h 10000"/>
                <a:gd name="connsiteX111" fmla="*/ 7335 w 10000"/>
                <a:gd name="connsiteY111" fmla="*/ 4161 h 10000"/>
                <a:gd name="connsiteX112" fmla="*/ 7611 w 10000"/>
                <a:gd name="connsiteY112" fmla="*/ 4188 h 10000"/>
                <a:gd name="connsiteX113" fmla="*/ 7645 w 10000"/>
                <a:gd name="connsiteY113" fmla="*/ 4177 h 10000"/>
                <a:gd name="connsiteX114" fmla="*/ 7859 w 10000"/>
                <a:gd name="connsiteY114" fmla="*/ 4305 h 10000"/>
                <a:gd name="connsiteX115" fmla="*/ 8017 w 10000"/>
                <a:gd name="connsiteY115" fmla="*/ 4257 h 10000"/>
                <a:gd name="connsiteX116" fmla="*/ 8032 w 10000"/>
                <a:gd name="connsiteY116" fmla="*/ 4214 h 10000"/>
                <a:gd name="connsiteX117" fmla="*/ 8176 w 10000"/>
                <a:gd name="connsiteY117" fmla="*/ 4290 h 10000"/>
                <a:gd name="connsiteX118" fmla="*/ 8369 w 10000"/>
                <a:gd name="connsiteY118" fmla="*/ 4331 h 10000"/>
                <a:gd name="connsiteX119" fmla="*/ 8446 w 10000"/>
                <a:gd name="connsiteY119" fmla="*/ 4255 h 10000"/>
                <a:gd name="connsiteX120" fmla="*/ 8507 w 10000"/>
                <a:gd name="connsiteY120" fmla="*/ 4297 h 10000"/>
                <a:gd name="connsiteX121" fmla="*/ 8596 w 10000"/>
                <a:gd name="connsiteY121" fmla="*/ 4446 h 10000"/>
                <a:gd name="connsiteX122" fmla="*/ 8782 w 10000"/>
                <a:gd name="connsiteY122" fmla="*/ 4478 h 10000"/>
                <a:gd name="connsiteX123" fmla="*/ 9542 w 10000"/>
                <a:gd name="connsiteY123" fmla="*/ 4262 h 10000"/>
                <a:gd name="connsiteX124" fmla="*/ 9914 w 10000"/>
                <a:gd name="connsiteY124" fmla="*/ 3962 h 10000"/>
                <a:gd name="connsiteX125" fmla="*/ 10000 w 10000"/>
                <a:gd name="connsiteY125" fmla="*/ 3744 h 10000"/>
                <a:gd name="connsiteX126" fmla="*/ 9866 w 10000"/>
                <a:gd name="connsiteY126" fmla="*/ 3546 h 10000"/>
                <a:gd name="connsiteX127" fmla="*/ 9582 w 10000"/>
                <a:gd name="connsiteY127" fmla="*/ 3428 h 10000"/>
                <a:gd name="connsiteX128" fmla="*/ 9382 w 10000"/>
                <a:gd name="connsiteY128" fmla="*/ 3233 h 10000"/>
                <a:gd name="connsiteX129" fmla="*/ 9569 w 10000"/>
                <a:gd name="connsiteY129" fmla="*/ 3227 h 10000"/>
                <a:gd name="connsiteX130" fmla="*/ 9555 w 10000"/>
                <a:gd name="connsiteY130" fmla="*/ 3180 h 10000"/>
                <a:gd name="connsiteX131" fmla="*/ 9068 w 10000"/>
                <a:gd name="connsiteY131" fmla="*/ 3045 h 10000"/>
                <a:gd name="connsiteX132" fmla="*/ 9047 w 10000"/>
                <a:gd name="connsiteY132" fmla="*/ 2920 h 10000"/>
                <a:gd name="connsiteX133" fmla="*/ 8953 w 10000"/>
                <a:gd name="connsiteY133" fmla="*/ 2789 h 10000"/>
                <a:gd name="connsiteX134" fmla="*/ 8569 w 10000"/>
                <a:gd name="connsiteY134" fmla="*/ 2813 h 10000"/>
                <a:gd name="connsiteX135" fmla="*/ 8431 w 10000"/>
                <a:gd name="connsiteY135" fmla="*/ 2673 h 10000"/>
                <a:gd name="connsiteX136" fmla="*/ 8350 w 10000"/>
                <a:gd name="connsiteY136" fmla="*/ 2665 h 10000"/>
                <a:gd name="connsiteX137" fmla="*/ 8350 w 10000"/>
                <a:gd name="connsiteY137" fmla="*/ 2726 h 10000"/>
                <a:gd name="connsiteX138" fmla="*/ 8176 w 10000"/>
                <a:gd name="connsiteY138" fmla="*/ 2959 h 10000"/>
                <a:gd name="connsiteX139" fmla="*/ 7990 w 10000"/>
                <a:gd name="connsiteY139" fmla="*/ 3096 h 10000"/>
                <a:gd name="connsiteX140" fmla="*/ 7401 w 10000"/>
                <a:gd name="connsiteY140" fmla="*/ 3329 h 10000"/>
                <a:gd name="connsiteX141" fmla="*/ 7198 w 10000"/>
                <a:gd name="connsiteY141" fmla="*/ 3322 h 10000"/>
                <a:gd name="connsiteX142" fmla="*/ 6915 w 10000"/>
                <a:gd name="connsiteY142" fmla="*/ 3359 h 10000"/>
                <a:gd name="connsiteX143" fmla="*/ 6757 w 10000"/>
                <a:gd name="connsiteY143" fmla="*/ 3322 h 10000"/>
                <a:gd name="connsiteX144" fmla="*/ 6965 w 10000"/>
                <a:gd name="connsiteY144" fmla="*/ 3255 h 10000"/>
                <a:gd name="connsiteX145" fmla="*/ 7235 w 10000"/>
                <a:gd name="connsiteY145" fmla="*/ 3227 h 10000"/>
                <a:gd name="connsiteX146" fmla="*/ 7455 w 10000"/>
                <a:gd name="connsiteY146" fmla="*/ 3118 h 10000"/>
                <a:gd name="connsiteX147" fmla="*/ 7674 w 10000"/>
                <a:gd name="connsiteY147" fmla="*/ 3066 h 10000"/>
                <a:gd name="connsiteX148" fmla="*/ 8082 w 10000"/>
                <a:gd name="connsiteY148" fmla="*/ 2874 h 10000"/>
                <a:gd name="connsiteX149" fmla="*/ 8157 w 10000"/>
                <a:gd name="connsiteY149" fmla="*/ 2750 h 10000"/>
                <a:gd name="connsiteX150" fmla="*/ 8165 w 10000"/>
                <a:gd name="connsiteY150" fmla="*/ 2589 h 10000"/>
                <a:gd name="connsiteX151" fmla="*/ 7978 w 10000"/>
                <a:gd name="connsiteY151" fmla="*/ 2562 h 10000"/>
                <a:gd name="connsiteX152" fmla="*/ 8058 w 10000"/>
                <a:gd name="connsiteY152" fmla="*/ 2463 h 10000"/>
                <a:gd name="connsiteX153" fmla="*/ 8087 w 10000"/>
                <a:gd name="connsiteY153" fmla="*/ 2338 h 10000"/>
                <a:gd name="connsiteX154" fmla="*/ 8007 w 10000"/>
                <a:gd name="connsiteY154" fmla="*/ 2222 h 10000"/>
                <a:gd name="connsiteX155" fmla="*/ 7450 w 10000"/>
                <a:gd name="connsiteY155" fmla="*/ 2382 h 10000"/>
                <a:gd name="connsiteX156" fmla="*/ 6694 w 10000"/>
                <a:gd name="connsiteY156" fmla="*/ 2311 h 10000"/>
                <a:gd name="connsiteX157" fmla="*/ 6304 w 10000"/>
                <a:gd name="connsiteY157" fmla="*/ 1864 h 10000"/>
                <a:gd name="connsiteX158" fmla="*/ 5294 w 10000"/>
                <a:gd name="connsiteY158" fmla="*/ 1779 h 10000"/>
                <a:gd name="connsiteX159" fmla="*/ 4505 w 10000"/>
                <a:gd name="connsiteY159" fmla="*/ 1407 h 10000"/>
                <a:gd name="connsiteX160" fmla="*/ 3730 w 10000"/>
                <a:gd name="connsiteY160" fmla="*/ 962 h 10000"/>
                <a:gd name="connsiteX161" fmla="*/ 3154 w 10000"/>
                <a:gd name="connsiteY161" fmla="*/ 143 h 10000"/>
                <a:gd name="connsiteX162" fmla="*/ 2375 w 10000"/>
                <a:gd name="connsiteY162" fmla="*/ 0 h 10000"/>
                <a:gd name="connsiteX163" fmla="*/ 2226 w 10000"/>
                <a:gd name="connsiteY163" fmla="*/ 772 h 10000"/>
                <a:gd name="connsiteX164" fmla="*/ 2375 w 10000"/>
                <a:gd name="connsiteY164" fmla="*/ 967 h 10000"/>
                <a:gd name="connsiteX165" fmla="*/ 2791 w 10000"/>
                <a:gd name="connsiteY165" fmla="*/ 1185 h 10000"/>
                <a:gd name="connsiteX166" fmla="*/ 2808 w 10000"/>
                <a:gd name="connsiteY166" fmla="*/ 1446 h 10000"/>
                <a:gd name="connsiteX167" fmla="*/ 2632 w 10000"/>
                <a:gd name="connsiteY167" fmla="*/ 1665 h 10000"/>
                <a:gd name="connsiteX168" fmla="*/ 2375 w 10000"/>
                <a:gd name="connsiteY168" fmla="*/ 1798 h 10000"/>
                <a:gd name="connsiteX169" fmla="*/ 2039 w 10000"/>
                <a:gd name="connsiteY169" fmla="*/ 1851 h 10000"/>
                <a:gd name="connsiteX170" fmla="*/ 1950 w 10000"/>
                <a:gd name="connsiteY170" fmla="*/ 1929 h 10000"/>
                <a:gd name="connsiteX171" fmla="*/ 2148 w 10000"/>
                <a:gd name="connsiteY171" fmla="*/ 2110 h 10000"/>
                <a:gd name="connsiteX172" fmla="*/ 2261 w 10000"/>
                <a:gd name="connsiteY172" fmla="*/ 2541 h 10000"/>
                <a:gd name="connsiteX173" fmla="*/ 2005 w 10000"/>
                <a:gd name="connsiteY173" fmla="*/ 2910 h 10000"/>
                <a:gd name="connsiteX174" fmla="*/ 2094 w 10000"/>
                <a:gd name="connsiteY174" fmla="*/ 3022 h 10000"/>
                <a:gd name="connsiteX175" fmla="*/ 2012 w 10000"/>
                <a:gd name="connsiteY175" fmla="*/ 3214 h 10000"/>
                <a:gd name="connsiteX176" fmla="*/ 1850 w 10000"/>
                <a:gd name="connsiteY176" fmla="*/ 3349 h 10000"/>
                <a:gd name="connsiteX177" fmla="*/ 1199 w 10000"/>
                <a:gd name="connsiteY177" fmla="*/ 3450 h 10000"/>
                <a:gd name="connsiteX178" fmla="*/ 1158 w 10000"/>
                <a:gd name="connsiteY178" fmla="*/ 3629 h 10000"/>
                <a:gd name="connsiteX179" fmla="*/ 808 w 10000"/>
                <a:gd name="connsiteY179" fmla="*/ 3893 h 10000"/>
                <a:gd name="connsiteX180" fmla="*/ 854 w 10000"/>
                <a:gd name="connsiteY180" fmla="*/ 4276 h 10000"/>
                <a:gd name="connsiteX181" fmla="*/ 560 w 10000"/>
                <a:gd name="connsiteY181" fmla="*/ 4766 h 10000"/>
                <a:gd name="connsiteX182" fmla="*/ 358 w 10000"/>
                <a:gd name="connsiteY182" fmla="*/ 4822 h 10000"/>
                <a:gd name="connsiteX183" fmla="*/ 275 w 10000"/>
                <a:gd name="connsiteY183" fmla="*/ 4706 h 10000"/>
                <a:gd name="connsiteX184" fmla="*/ 174 w 10000"/>
                <a:gd name="connsiteY184" fmla="*/ 4882 h 10000"/>
                <a:gd name="connsiteX185" fmla="*/ 239 w 10000"/>
                <a:gd name="connsiteY185" fmla="*/ 4578 h 10000"/>
                <a:gd name="connsiteX186" fmla="*/ 197 w 10000"/>
                <a:gd name="connsiteY186" fmla="*/ 4521 h 10000"/>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3212 w 10000"/>
                <a:gd name="connsiteY47" fmla="*/ 9941 h 10000"/>
                <a:gd name="connsiteX48" fmla="*/ 3348 w 10000"/>
                <a:gd name="connsiteY48" fmla="*/ 9745 h 10000"/>
                <a:gd name="connsiteX49" fmla="*/ 3313 w 10000"/>
                <a:gd name="connsiteY49" fmla="*/ 9423 h 10000"/>
                <a:gd name="connsiteX50" fmla="*/ 3642 w 10000"/>
                <a:gd name="connsiteY50" fmla="*/ 9067 h 10000"/>
                <a:gd name="connsiteX51" fmla="*/ 3883 w 10000"/>
                <a:gd name="connsiteY51" fmla="*/ 9124 h 10000"/>
                <a:gd name="connsiteX52" fmla="*/ 4025 w 10000"/>
                <a:gd name="connsiteY52" fmla="*/ 8982 h 10000"/>
                <a:gd name="connsiteX53" fmla="*/ 4294 w 10000"/>
                <a:gd name="connsiteY53" fmla="*/ 8899 h 10000"/>
                <a:gd name="connsiteX54" fmla="*/ 4658 w 10000"/>
                <a:gd name="connsiteY54" fmla="*/ 8919 h 10000"/>
                <a:gd name="connsiteX55" fmla="*/ 6419 w 10000"/>
                <a:gd name="connsiteY55" fmla="*/ 8186 h 10000"/>
                <a:gd name="connsiteX56" fmla="*/ 6586 w 10000"/>
                <a:gd name="connsiteY56" fmla="*/ 7505 h 10000"/>
                <a:gd name="connsiteX57" fmla="*/ 6855 w 10000"/>
                <a:gd name="connsiteY57" fmla="*/ 7204 h 10000"/>
                <a:gd name="connsiteX58" fmla="*/ 6855 w 10000"/>
                <a:gd name="connsiteY58" fmla="*/ 7043 h 10000"/>
                <a:gd name="connsiteX59" fmla="*/ 6757 w 10000"/>
                <a:gd name="connsiteY59" fmla="*/ 6956 h 10000"/>
                <a:gd name="connsiteX60" fmla="*/ 6915 w 10000"/>
                <a:gd name="connsiteY60" fmla="*/ 6811 h 10000"/>
                <a:gd name="connsiteX61" fmla="*/ 6887 w 10000"/>
                <a:gd name="connsiteY61" fmla="*/ 6693 h 10000"/>
                <a:gd name="connsiteX62" fmla="*/ 6779 w 10000"/>
                <a:gd name="connsiteY62" fmla="*/ 6592 h 10000"/>
                <a:gd name="connsiteX63" fmla="*/ 6757 w 10000"/>
                <a:gd name="connsiteY63" fmla="*/ 6514 h 10000"/>
                <a:gd name="connsiteX64" fmla="*/ 6785 w 10000"/>
                <a:gd name="connsiteY64" fmla="*/ 6457 h 10000"/>
                <a:gd name="connsiteX65" fmla="*/ 6931 w 10000"/>
                <a:gd name="connsiteY65" fmla="*/ 6503 h 10000"/>
                <a:gd name="connsiteX66" fmla="*/ 7045 w 10000"/>
                <a:gd name="connsiteY66" fmla="*/ 6500 h 10000"/>
                <a:gd name="connsiteX67" fmla="*/ 6983 w 10000"/>
                <a:gd name="connsiteY67" fmla="*/ 6404 h 10000"/>
                <a:gd name="connsiteX68" fmla="*/ 7003 w 10000"/>
                <a:gd name="connsiteY68" fmla="*/ 6346 h 10000"/>
                <a:gd name="connsiteX69" fmla="*/ 7089 w 10000"/>
                <a:gd name="connsiteY69" fmla="*/ 6265 h 10000"/>
                <a:gd name="connsiteX70" fmla="*/ 7074 w 10000"/>
                <a:gd name="connsiteY70" fmla="*/ 6198 h 10000"/>
                <a:gd name="connsiteX71" fmla="*/ 7152 w 10000"/>
                <a:gd name="connsiteY71" fmla="*/ 5971 h 10000"/>
                <a:gd name="connsiteX72" fmla="*/ 7130 w 10000"/>
                <a:gd name="connsiteY72" fmla="*/ 5902 h 10000"/>
                <a:gd name="connsiteX73" fmla="*/ 6729 w 10000"/>
                <a:gd name="connsiteY73" fmla="*/ 5729 h 10000"/>
                <a:gd name="connsiteX74" fmla="*/ 6785 w 10000"/>
                <a:gd name="connsiteY74" fmla="*/ 5723 h 10000"/>
                <a:gd name="connsiteX75" fmla="*/ 6998 w 10000"/>
                <a:gd name="connsiteY75" fmla="*/ 5768 h 10000"/>
                <a:gd name="connsiteX76" fmla="*/ 7230 w 10000"/>
                <a:gd name="connsiteY76" fmla="*/ 5751 h 10000"/>
                <a:gd name="connsiteX77" fmla="*/ 7295 w 10000"/>
                <a:gd name="connsiteY77" fmla="*/ 5689 h 10000"/>
                <a:gd name="connsiteX78" fmla="*/ 7074 w 10000"/>
                <a:gd name="connsiteY78" fmla="*/ 5571 h 10000"/>
                <a:gd name="connsiteX79" fmla="*/ 6414 w 10000"/>
                <a:gd name="connsiteY79" fmla="*/ 5495 h 10000"/>
                <a:gd name="connsiteX80" fmla="*/ 6458 w 10000"/>
                <a:gd name="connsiteY80" fmla="*/ 5459 h 10000"/>
                <a:gd name="connsiteX81" fmla="*/ 6998 w 10000"/>
                <a:gd name="connsiteY81" fmla="*/ 5434 h 10000"/>
                <a:gd name="connsiteX82" fmla="*/ 7295 w 10000"/>
                <a:gd name="connsiteY82" fmla="*/ 5506 h 10000"/>
                <a:gd name="connsiteX83" fmla="*/ 7466 w 10000"/>
                <a:gd name="connsiteY83" fmla="*/ 5459 h 10000"/>
                <a:gd name="connsiteX84" fmla="*/ 7529 w 10000"/>
                <a:gd name="connsiteY84" fmla="*/ 5337 h 10000"/>
                <a:gd name="connsiteX85" fmla="*/ 7840 w 10000"/>
                <a:gd name="connsiteY85" fmla="*/ 5337 h 10000"/>
                <a:gd name="connsiteX86" fmla="*/ 8261 w 10000"/>
                <a:gd name="connsiteY86" fmla="*/ 5093 h 10000"/>
                <a:gd name="connsiteX87" fmla="*/ 8275 w 10000"/>
                <a:gd name="connsiteY87" fmla="*/ 4928 h 10000"/>
                <a:gd name="connsiteX88" fmla="*/ 8453 w 10000"/>
                <a:gd name="connsiteY88" fmla="*/ 4965 h 10000"/>
                <a:gd name="connsiteX89" fmla="*/ 8446 w 10000"/>
                <a:gd name="connsiteY89" fmla="*/ 5130 h 10000"/>
                <a:gd name="connsiteX90" fmla="*/ 8727 w 10000"/>
                <a:gd name="connsiteY90" fmla="*/ 5118 h 10000"/>
                <a:gd name="connsiteX91" fmla="*/ 8913 w 10000"/>
                <a:gd name="connsiteY91" fmla="*/ 4948 h 10000"/>
                <a:gd name="connsiteX92" fmla="*/ 9258 w 10000"/>
                <a:gd name="connsiteY92" fmla="*/ 4795 h 10000"/>
                <a:gd name="connsiteX93" fmla="*/ 9203 w 10000"/>
                <a:gd name="connsiteY93" fmla="*/ 4621 h 10000"/>
                <a:gd name="connsiteX94" fmla="*/ 9306 w 10000"/>
                <a:gd name="connsiteY94" fmla="*/ 4690 h 10000"/>
                <a:gd name="connsiteX95" fmla="*/ 9464 w 10000"/>
                <a:gd name="connsiteY95" fmla="*/ 4690 h 10000"/>
                <a:gd name="connsiteX96" fmla="*/ 9464 w 10000"/>
                <a:gd name="connsiteY96" fmla="*/ 4609 h 10000"/>
                <a:gd name="connsiteX97" fmla="*/ 9611 w 10000"/>
                <a:gd name="connsiteY97" fmla="*/ 4550 h 10000"/>
                <a:gd name="connsiteX98" fmla="*/ 9592 w 10000"/>
                <a:gd name="connsiteY98" fmla="*/ 4487 h 10000"/>
                <a:gd name="connsiteX99" fmla="*/ 8350 w 10000"/>
                <a:gd name="connsiteY99" fmla="*/ 4611 h 10000"/>
                <a:gd name="connsiteX100" fmla="*/ 8058 w 10000"/>
                <a:gd name="connsiteY100" fmla="*/ 4576 h 10000"/>
                <a:gd name="connsiteX101" fmla="*/ 7942 w 10000"/>
                <a:gd name="connsiteY101" fmla="*/ 4621 h 10000"/>
                <a:gd name="connsiteX102" fmla="*/ 7903 w 10000"/>
                <a:gd name="connsiteY102" fmla="*/ 4532 h 10000"/>
                <a:gd name="connsiteX103" fmla="*/ 7765 w 10000"/>
                <a:gd name="connsiteY103" fmla="*/ 4456 h 10000"/>
                <a:gd name="connsiteX104" fmla="*/ 7213 w 10000"/>
                <a:gd name="connsiteY104" fmla="*/ 4297 h 10000"/>
                <a:gd name="connsiteX105" fmla="*/ 6887 w 10000"/>
                <a:gd name="connsiteY105" fmla="*/ 4324 h 10000"/>
                <a:gd name="connsiteX106" fmla="*/ 6757 w 10000"/>
                <a:gd name="connsiteY106" fmla="*/ 4278 h 10000"/>
                <a:gd name="connsiteX107" fmla="*/ 6894 w 10000"/>
                <a:gd name="connsiteY107" fmla="*/ 4240 h 10000"/>
                <a:gd name="connsiteX108" fmla="*/ 6998 w 10000"/>
                <a:gd name="connsiteY108" fmla="*/ 4156 h 10000"/>
                <a:gd name="connsiteX109" fmla="*/ 7152 w 10000"/>
                <a:gd name="connsiteY109" fmla="*/ 4182 h 10000"/>
                <a:gd name="connsiteX110" fmla="*/ 7335 w 10000"/>
                <a:gd name="connsiteY110" fmla="*/ 4161 h 10000"/>
                <a:gd name="connsiteX111" fmla="*/ 7611 w 10000"/>
                <a:gd name="connsiteY111" fmla="*/ 4188 h 10000"/>
                <a:gd name="connsiteX112" fmla="*/ 7645 w 10000"/>
                <a:gd name="connsiteY112" fmla="*/ 4177 h 10000"/>
                <a:gd name="connsiteX113" fmla="*/ 7859 w 10000"/>
                <a:gd name="connsiteY113" fmla="*/ 4305 h 10000"/>
                <a:gd name="connsiteX114" fmla="*/ 8017 w 10000"/>
                <a:gd name="connsiteY114" fmla="*/ 4257 h 10000"/>
                <a:gd name="connsiteX115" fmla="*/ 8032 w 10000"/>
                <a:gd name="connsiteY115" fmla="*/ 4214 h 10000"/>
                <a:gd name="connsiteX116" fmla="*/ 8176 w 10000"/>
                <a:gd name="connsiteY116" fmla="*/ 4290 h 10000"/>
                <a:gd name="connsiteX117" fmla="*/ 8369 w 10000"/>
                <a:gd name="connsiteY117" fmla="*/ 4331 h 10000"/>
                <a:gd name="connsiteX118" fmla="*/ 8446 w 10000"/>
                <a:gd name="connsiteY118" fmla="*/ 4255 h 10000"/>
                <a:gd name="connsiteX119" fmla="*/ 8507 w 10000"/>
                <a:gd name="connsiteY119" fmla="*/ 4297 h 10000"/>
                <a:gd name="connsiteX120" fmla="*/ 8596 w 10000"/>
                <a:gd name="connsiteY120" fmla="*/ 4446 h 10000"/>
                <a:gd name="connsiteX121" fmla="*/ 8782 w 10000"/>
                <a:gd name="connsiteY121" fmla="*/ 4478 h 10000"/>
                <a:gd name="connsiteX122" fmla="*/ 9542 w 10000"/>
                <a:gd name="connsiteY122" fmla="*/ 4262 h 10000"/>
                <a:gd name="connsiteX123" fmla="*/ 9914 w 10000"/>
                <a:gd name="connsiteY123" fmla="*/ 3962 h 10000"/>
                <a:gd name="connsiteX124" fmla="*/ 10000 w 10000"/>
                <a:gd name="connsiteY124" fmla="*/ 3744 h 10000"/>
                <a:gd name="connsiteX125" fmla="*/ 9866 w 10000"/>
                <a:gd name="connsiteY125" fmla="*/ 3546 h 10000"/>
                <a:gd name="connsiteX126" fmla="*/ 9582 w 10000"/>
                <a:gd name="connsiteY126" fmla="*/ 3428 h 10000"/>
                <a:gd name="connsiteX127" fmla="*/ 9382 w 10000"/>
                <a:gd name="connsiteY127" fmla="*/ 3233 h 10000"/>
                <a:gd name="connsiteX128" fmla="*/ 9569 w 10000"/>
                <a:gd name="connsiteY128" fmla="*/ 3227 h 10000"/>
                <a:gd name="connsiteX129" fmla="*/ 9555 w 10000"/>
                <a:gd name="connsiteY129" fmla="*/ 3180 h 10000"/>
                <a:gd name="connsiteX130" fmla="*/ 9068 w 10000"/>
                <a:gd name="connsiteY130" fmla="*/ 3045 h 10000"/>
                <a:gd name="connsiteX131" fmla="*/ 9047 w 10000"/>
                <a:gd name="connsiteY131" fmla="*/ 2920 h 10000"/>
                <a:gd name="connsiteX132" fmla="*/ 8953 w 10000"/>
                <a:gd name="connsiteY132" fmla="*/ 2789 h 10000"/>
                <a:gd name="connsiteX133" fmla="*/ 8569 w 10000"/>
                <a:gd name="connsiteY133" fmla="*/ 2813 h 10000"/>
                <a:gd name="connsiteX134" fmla="*/ 8431 w 10000"/>
                <a:gd name="connsiteY134" fmla="*/ 2673 h 10000"/>
                <a:gd name="connsiteX135" fmla="*/ 8350 w 10000"/>
                <a:gd name="connsiteY135" fmla="*/ 2665 h 10000"/>
                <a:gd name="connsiteX136" fmla="*/ 8350 w 10000"/>
                <a:gd name="connsiteY136" fmla="*/ 2726 h 10000"/>
                <a:gd name="connsiteX137" fmla="*/ 8176 w 10000"/>
                <a:gd name="connsiteY137" fmla="*/ 2959 h 10000"/>
                <a:gd name="connsiteX138" fmla="*/ 7990 w 10000"/>
                <a:gd name="connsiteY138" fmla="*/ 3096 h 10000"/>
                <a:gd name="connsiteX139" fmla="*/ 7401 w 10000"/>
                <a:gd name="connsiteY139" fmla="*/ 3329 h 10000"/>
                <a:gd name="connsiteX140" fmla="*/ 7198 w 10000"/>
                <a:gd name="connsiteY140" fmla="*/ 3322 h 10000"/>
                <a:gd name="connsiteX141" fmla="*/ 6915 w 10000"/>
                <a:gd name="connsiteY141" fmla="*/ 3359 h 10000"/>
                <a:gd name="connsiteX142" fmla="*/ 6757 w 10000"/>
                <a:gd name="connsiteY142" fmla="*/ 3322 h 10000"/>
                <a:gd name="connsiteX143" fmla="*/ 6965 w 10000"/>
                <a:gd name="connsiteY143" fmla="*/ 3255 h 10000"/>
                <a:gd name="connsiteX144" fmla="*/ 7235 w 10000"/>
                <a:gd name="connsiteY144" fmla="*/ 3227 h 10000"/>
                <a:gd name="connsiteX145" fmla="*/ 7455 w 10000"/>
                <a:gd name="connsiteY145" fmla="*/ 3118 h 10000"/>
                <a:gd name="connsiteX146" fmla="*/ 7674 w 10000"/>
                <a:gd name="connsiteY146" fmla="*/ 3066 h 10000"/>
                <a:gd name="connsiteX147" fmla="*/ 8082 w 10000"/>
                <a:gd name="connsiteY147" fmla="*/ 2874 h 10000"/>
                <a:gd name="connsiteX148" fmla="*/ 8157 w 10000"/>
                <a:gd name="connsiteY148" fmla="*/ 2750 h 10000"/>
                <a:gd name="connsiteX149" fmla="*/ 8165 w 10000"/>
                <a:gd name="connsiteY149" fmla="*/ 2589 h 10000"/>
                <a:gd name="connsiteX150" fmla="*/ 7978 w 10000"/>
                <a:gd name="connsiteY150" fmla="*/ 2562 h 10000"/>
                <a:gd name="connsiteX151" fmla="*/ 8058 w 10000"/>
                <a:gd name="connsiteY151" fmla="*/ 2463 h 10000"/>
                <a:gd name="connsiteX152" fmla="*/ 8087 w 10000"/>
                <a:gd name="connsiteY152" fmla="*/ 2338 h 10000"/>
                <a:gd name="connsiteX153" fmla="*/ 8007 w 10000"/>
                <a:gd name="connsiteY153" fmla="*/ 2222 h 10000"/>
                <a:gd name="connsiteX154" fmla="*/ 7450 w 10000"/>
                <a:gd name="connsiteY154" fmla="*/ 2382 h 10000"/>
                <a:gd name="connsiteX155" fmla="*/ 6694 w 10000"/>
                <a:gd name="connsiteY155" fmla="*/ 2311 h 10000"/>
                <a:gd name="connsiteX156" fmla="*/ 6304 w 10000"/>
                <a:gd name="connsiteY156" fmla="*/ 1864 h 10000"/>
                <a:gd name="connsiteX157" fmla="*/ 5294 w 10000"/>
                <a:gd name="connsiteY157" fmla="*/ 1779 h 10000"/>
                <a:gd name="connsiteX158" fmla="*/ 4505 w 10000"/>
                <a:gd name="connsiteY158" fmla="*/ 1407 h 10000"/>
                <a:gd name="connsiteX159" fmla="*/ 3730 w 10000"/>
                <a:gd name="connsiteY159" fmla="*/ 962 h 10000"/>
                <a:gd name="connsiteX160" fmla="*/ 3154 w 10000"/>
                <a:gd name="connsiteY160" fmla="*/ 143 h 10000"/>
                <a:gd name="connsiteX161" fmla="*/ 2375 w 10000"/>
                <a:gd name="connsiteY161" fmla="*/ 0 h 10000"/>
                <a:gd name="connsiteX162" fmla="*/ 2226 w 10000"/>
                <a:gd name="connsiteY162" fmla="*/ 772 h 10000"/>
                <a:gd name="connsiteX163" fmla="*/ 2375 w 10000"/>
                <a:gd name="connsiteY163" fmla="*/ 967 h 10000"/>
                <a:gd name="connsiteX164" fmla="*/ 2791 w 10000"/>
                <a:gd name="connsiteY164" fmla="*/ 1185 h 10000"/>
                <a:gd name="connsiteX165" fmla="*/ 2808 w 10000"/>
                <a:gd name="connsiteY165" fmla="*/ 1446 h 10000"/>
                <a:gd name="connsiteX166" fmla="*/ 2632 w 10000"/>
                <a:gd name="connsiteY166" fmla="*/ 1665 h 10000"/>
                <a:gd name="connsiteX167" fmla="*/ 2375 w 10000"/>
                <a:gd name="connsiteY167" fmla="*/ 1798 h 10000"/>
                <a:gd name="connsiteX168" fmla="*/ 2039 w 10000"/>
                <a:gd name="connsiteY168" fmla="*/ 1851 h 10000"/>
                <a:gd name="connsiteX169" fmla="*/ 1950 w 10000"/>
                <a:gd name="connsiteY169" fmla="*/ 1929 h 10000"/>
                <a:gd name="connsiteX170" fmla="*/ 2148 w 10000"/>
                <a:gd name="connsiteY170" fmla="*/ 2110 h 10000"/>
                <a:gd name="connsiteX171" fmla="*/ 2261 w 10000"/>
                <a:gd name="connsiteY171" fmla="*/ 2541 h 10000"/>
                <a:gd name="connsiteX172" fmla="*/ 2005 w 10000"/>
                <a:gd name="connsiteY172" fmla="*/ 2910 h 10000"/>
                <a:gd name="connsiteX173" fmla="*/ 2094 w 10000"/>
                <a:gd name="connsiteY173" fmla="*/ 3022 h 10000"/>
                <a:gd name="connsiteX174" fmla="*/ 2012 w 10000"/>
                <a:gd name="connsiteY174" fmla="*/ 3214 h 10000"/>
                <a:gd name="connsiteX175" fmla="*/ 1850 w 10000"/>
                <a:gd name="connsiteY175" fmla="*/ 3349 h 10000"/>
                <a:gd name="connsiteX176" fmla="*/ 1199 w 10000"/>
                <a:gd name="connsiteY176" fmla="*/ 3450 h 10000"/>
                <a:gd name="connsiteX177" fmla="*/ 1158 w 10000"/>
                <a:gd name="connsiteY177" fmla="*/ 3629 h 10000"/>
                <a:gd name="connsiteX178" fmla="*/ 808 w 10000"/>
                <a:gd name="connsiteY178" fmla="*/ 3893 h 10000"/>
                <a:gd name="connsiteX179" fmla="*/ 854 w 10000"/>
                <a:gd name="connsiteY179" fmla="*/ 4276 h 10000"/>
                <a:gd name="connsiteX180" fmla="*/ 560 w 10000"/>
                <a:gd name="connsiteY180" fmla="*/ 4766 h 10000"/>
                <a:gd name="connsiteX181" fmla="*/ 358 w 10000"/>
                <a:gd name="connsiteY181" fmla="*/ 4822 h 10000"/>
                <a:gd name="connsiteX182" fmla="*/ 275 w 10000"/>
                <a:gd name="connsiteY182" fmla="*/ 4706 h 10000"/>
                <a:gd name="connsiteX183" fmla="*/ 174 w 10000"/>
                <a:gd name="connsiteY183" fmla="*/ 4882 h 10000"/>
                <a:gd name="connsiteX184" fmla="*/ 239 w 10000"/>
                <a:gd name="connsiteY184" fmla="*/ 4578 h 10000"/>
                <a:gd name="connsiteX185" fmla="*/ 197 w 10000"/>
                <a:gd name="connsiteY185" fmla="*/ 4521 h 10000"/>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3212 w 10000"/>
                <a:gd name="connsiteY47" fmla="*/ 9941 h 10000"/>
                <a:gd name="connsiteX48" fmla="*/ 3348 w 10000"/>
                <a:gd name="connsiteY48" fmla="*/ 9745 h 10000"/>
                <a:gd name="connsiteX49" fmla="*/ 3313 w 10000"/>
                <a:gd name="connsiteY49" fmla="*/ 9423 h 10000"/>
                <a:gd name="connsiteX50" fmla="*/ 3642 w 10000"/>
                <a:gd name="connsiteY50" fmla="*/ 9067 h 10000"/>
                <a:gd name="connsiteX51" fmla="*/ 3883 w 10000"/>
                <a:gd name="connsiteY51" fmla="*/ 9124 h 10000"/>
                <a:gd name="connsiteX52" fmla="*/ 4025 w 10000"/>
                <a:gd name="connsiteY52" fmla="*/ 8982 h 10000"/>
                <a:gd name="connsiteX53" fmla="*/ 4294 w 10000"/>
                <a:gd name="connsiteY53" fmla="*/ 8899 h 10000"/>
                <a:gd name="connsiteX54" fmla="*/ 6419 w 10000"/>
                <a:gd name="connsiteY54" fmla="*/ 8186 h 10000"/>
                <a:gd name="connsiteX55" fmla="*/ 6586 w 10000"/>
                <a:gd name="connsiteY55" fmla="*/ 7505 h 10000"/>
                <a:gd name="connsiteX56" fmla="*/ 6855 w 10000"/>
                <a:gd name="connsiteY56" fmla="*/ 7204 h 10000"/>
                <a:gd name="connsiteX57" fmla="*/ 6855 w 10000"/>
                <a:gd name="connsiteY57" fmla="*/ 7043 h 10000"/>
                <a:gd name="connsiteX58" fmla="*/ 6757 w 10000"/>
                <a:gd name="connsiteY58" fmla="*/ 6956 h 10000"/>
                <a:gd name="connsiteX59" fmla="*/ 6915 w 10000"/>
                <a:gd name="connsiteY59" fmla="*/ 6811 h 10000"/>
                <a:gd name="connsiteX60" fmla="*/ 6887 w 10000"/>
                <a:gd name="connsiteY60" fmla="*/ 6693 h 10000"/>
                <a:gd name="connsiteX61" fmla="*/ 6779 w 10000"/>
                <a:gd name="connsiteY61" fmla="*/ 6592 h 10000"/>
                <a:gd name="connsiteX62" fmla="*/ 6757 w 10000"/>
                <a:gd name="connsiteY62" fmla="*/ 6514 h 10000"/>
                <a:gd name="connsiteX63" fmla="*/ 6785 w 10000"/>
                <a:gd name="connsiteY63" fmla="*/ 6457 h 10000"/>
                <a:gd name="connsiteX64" fmla="*/ 6931 w 10000"/>
                <a:gd name="connsiteY64" fmla="*/ 6503 h 10000"/>
                <a:gd name="connsiteX65" fmla="*/ 7045 w 10000"/>
                <a:gd name="connsiteY65" fmla="*/ 6500 h 10000"/>
                <a:gd name="connsiteX66" fmla="*/ 6983 w 10000"/>
                <a:gd name="connsiteY66" fmla="*/ 6404 h 10000"/>
                <a:gd name="connsiteX67" fmla="*/ 7003 w 10000"/>
                <a:gd name="connsiteY67" fmla="*/ 6346 h 10000"/>
                <a:gd name="connsiteX68" fmla="*/ 7089 w 10000"/>
                <a:gd name="connsiteY68" fmla="*/ 6265 h 10000"/>
                <a:gd name="connsiteX69" fmla="*/ 7074 w 10000"/>
                <a:gd name="connsiteY69" fmla="*/ 6198 h 10000"/>
                <a:gd name="connsiteX70" fmla="*/ 7152 w 10000"/>
                <a:gd name="connsiteY70" fmla="*/ 5971 h 10000"/>
                <a:gd name="connsiteX71" fmla="*/ 7130 w 10000"/>
                <a:gd name="connsiteY71" fmla="*/ 5902 h 10000"/>
                <a:gd name="connsiteX72" fmla="*/ 6729 w 10000"/>
                <a:gd name="connsiteY72" fmla="*/ 5729 h 10000"/>
                <a:gd name="connsiteX73" fmla="*/ 6785 w 10000"/>
                <a:gd name="connsiteY73" fmla="*/ 5723 h 10000"/>
                <a:gd name="connsiteX74" fmla="*/ 6998 w 10000"/>
                <a:gd name="connsiteY74" fmla="*/ 5768 h 10000"/>
                <a:gd name="connsiteX75" fmla="*/ 7230 w 10000"/>
                <a:gd name="connsiteY75" fmla="*/ 5751 h 10000"/>
                <a:gd name="connsiteX76" fmla="*/ 7295 w 10000"/>
                <a:gd name="connsiteY76" fmla="*/ 5689 h 10000"/>
                <a:gd name="connsiteX77" fmla="*/ 7074 w 10000"/>
                <a:gd name="connsiteY77" fmla="*/ 5571 h 10000"/>
                <a:gd name="connsiteX78" fmla="*/ 6414 w 10000"/>
                <a:gd name="connsiteY78" fmla="*/ 5495 h 10000"/>
                <a:gd name="connsiteX79" fmla="*/ 6458 w 10000"/>
                <a:gd name="connsiteY79" fmla="*/ 5459 h 10000"/>
                <a:gd name="connsiteX80" fmla="*/ 6998 w 10000"/>
                <a:gd name="connsiteY80" fmla="*/ 5434 h 10000"/>
                <a:gd name="connsiteX81" fmla="*/ 7295 w 10000"/>
                <a:gd name="connsiteY81" fmla="*/ 5506 h 10000"/>
                <a:gd name="connsiteX82" fmla="*/ 7466 w 10000"/>
                <a:gd name="connsiteY82" fmla="*/ 5459 h 10000"/>
                <a:gd name="connsiteX83" fmla="*/ 7529 w 10000"/>
                <a:gd name="connsiteY83" fmla="*/ 5337 h 10000"/>
                <a:gd name="connsiteX84" fmla="*/ 7840 w 10000"/>
                <a:gd name="connsiteY84" fmla="*/ 5337 h 10000"/>
                <a:gd name="connsiteX85" fmla="*/ 8261 w 10000"/>
                <a:gd name="connsiteY85" fmla="*/ 5093 h 10000"/>
                <a:gd name="connsiteX86" fmla="*/ 8275 w 10000"/>
                <a:gd name="connsiteY86" fmla="*/ 4928 h 10000"/>
                <a:gd name="connsiteX87" fmla="*/ 8453 w 10000"/>
                <a:gd name="connsiteY87" fmla="*/ 4965 h 10000"/>
                <a:gd name="connsiteX88" fmla="*/ 8446 w 10000"/>
                <a:gd name="connsiteY88" fmla="*/ 5130 h 10000"/>
                <a:gd name="connsiteX89" fmla="*/ 8727 w 10000"/>
                <a:gd name="connsiteY89" fmla="*/ 5118 h 10000"/>
                <a:gd name="connsiteX90" fmla="*/ 8913 w 10000"/>
                <a:gd name="connsiteY90" fmla="*/ 4948 h 10000"/>
                <a:gd name="connsiteX91" fmla="*/ 9258 w 10000"/>
                <a:gd name="connsiteY91" fmla="*/ 4795 h 10000"/>
                <a:gd name="connsiteX92" fmla="*/ 9203 w 10000"/>
                <a:gd name="connsiteY92" fmla="*/ 4621 h 10000"/>
                <a:gd name="connsiteX93" fmla="*/ 9306 w 10000"/>
                <a:gd name="connsiteY93" fmla="*/ 4690 h 10000"/>
                <a:gd name="connsiteX94" fmla="*/ 9464 w 10000"/>
                <a:gd name="connsiteY94" fmla="*/ 4690 h 10000"/>
                <a:gd name="connsiteX95" fmla="*/ 9464 w 10000"/>
                <a:gd name="connsiteY95" fmla="*/ 4609 h 10000"/>
                <a:gd name="connsiteX96" fmla="*/ 9611 w 10000"/>
                <a:gd name="connsiteY96" fmla="*/ 4550 h 10000"/>
                <a:gd name="connsiteX97" fmla="*/ 9592 w 10000"/>
                <a:gd name="connsiteY97" fmla="*/ 4487 h 10000"/>
                <a:gd name="connsiteX98" fmla="*/ 8350 w 10000"/>
                <a:gd name="connsiteY98" fmla="*/ 4611 h 10000"/>
                <a:gd name="connsiteX99" fmla="*/ 8058 w 10000"/>
                <a:gd name="connsiteY99" fmla="*/ 4576 h 10000"/>
                <a:gd name="connsiteX100" fmla="*/ 7942 w 10000"/>
                <a:gd name="connsiteY100" fmla="*/ 4621 h 10000"/>
                <a:gd name="connsiteX101" fmla="*/ 7903 w 10000"/>
                <a:gd name="connsiteY101" fmla="*/ 4532 h 10000"/>
                <a:gd name="connsiteX102" fmla="*/ 7765 w 10000"/>
                <a:gd name="connsiteY102" fmla="*/ 4456 h 10000"/>
                <a:gd name="connsiteX103" fmla="*/ 7213 w 10000"/>
                <a:gd name="connsiteY103" fmla="*/ 4297 h 10000"/>
                <a:gd name="connsiteX104" fmla="*/ 6887 w 10000"/>
                <a:gd name="connsiteY104" fmla="*/ 4324 h 10000"/>
                <a:gd name="connsiteX105" fmla="*/ 6757 w 10000"/>
                <a:gd name="connsiteY105" fmla="*/ 4278 h 10000"/>
                <a:gd name="connsiteX106" fmla="*/ 6894 w 10000"/>
                <a:gd name="connsiteY106" fmla="*/ 4240 h 10000"/>
                <a:gd name="connsiteX107" fmla="*/ 6998 w 10000"/>
                <a:gd name="connsiteY107" fmla="*/ 4156 h 10000"/>
                <a:gd name="connsiteX108" fmla="*/ 7152 w 10000"/>
                <a:gd name="connsiteY108" fmla="*/ 4182 h 10000"/>
                <a:gd name="connsiteX109" fmla="*/ 7335 w 10000"/>
                <a:gd name="connsiteY109" fmla="*/ 4161 h 10000"/>
                <a:gd name="connsiteX110" fmla="*/ 7611 w 10000"/>
                <a:gd name="connsiteY110" fmla="*/ 4188 h 10000"/>
                <a:gd name="connsiteX111" fmla="*/ 7645 w 10000"/>
                <a:gd name="connsiteY111" fmla="*/ 4177 h 10000"/>
                <a:gd name="connsiteX112" fmla="*/ 7859 w 10000"/>
                <a:gd name="connsiteY112" fmla="*/ 4305 h 10000"/>
                <a:gd name="connsiteX113" fmla="*/ 8017 w 10000"/>
                <a:gd name="connsiteY113" fmla="*/ 4257 h 10000"/>
                <a:gd name="connsiteX114" fmla="*/ 8032 w 10000"/>
                <a:gd name="connsiteY114" fmla="*/ 4214 h 10000"/>
                <a:gd name="connsiteX115" fmla="*/ 8176 w 10000"/>
                <a:gd name="connsiteY115" fmla="*/ 4290 h 10000"/>
                <a:gd name="connsiteX116" fmla="*/ 8369 w 10000"/>
                <a:gd name="connsiteY116" fmla="*/ 4331 h 10000"/>
                <a:gd name="connsiteX117" fmla="*/ 8446 w 10000"/>
                <a:gd name="connsiteY117" fmla="*/ 4255 h 10000"/>
                <a:gd name="connsiteX118" fmla="*/ 8507 w 10000"/>
                <a:gd name="connsiteY118" fmla="*/ 4297 h 10000"/>
                <a:gd name="connsiteX119" fmla="*/ 8596 w 10000"/>
                <a:gd name="connsiteY119" fmla="*/ 4446 h 10000"/>
                <a:gd name="connsiteX120" fmla="*/ 8782 w 10000"/>
                <a:gd name="connsiteY120" fmla="*/ 4478 h 10000"/>
                <a:gd name="connsiteX121" fmla="*/ 9542 w 10000"/>
                <a:gd name="connsiteY121" fmla="*/ 4262 h 10000"/>
                <a:gd name="connsiteX122" fmla="*/ 9914 w 10000"/>
                <a:gd name="connsiteY122" fmla="*/ 3962 h 10000"/>
                <a:gd name="connsiteX123" fmla="*/ 10000 w 10000"/>
                <a:gd name="connsiteY123" fmla="*/ 3744 h 10000"/>
                <a:gd name="connsiteX124" fmla="*/ 9866 w 10000"/>
                <a:gd name="connsiteY124" fmla="*/ 3546 h 10000"/>
                <a:gd name="connsiteX125" fmla="*/ 9582 w 10000"/>
                <a:gd name="connsiteY125" fmla="*/ 3428 h 10000"/>
                <a:gd name="connsiteX126" fmla="*/ 9382 w 10000"/>
                <a:gd name="connsiteY126" fmla="*/ 3233 h 10000"/>
                <a:gd name="connsiteX127" fmla="*/ 9569 w 10000"/>
                <a:gd name="connsiteY127" fmla="*/ 3227 h 10000"/>
                <a:gd name="connsiteX128" fmla="*/ 9555 w 10000"/>
                <a:gd name="connsiteY128" fmla="*/ 3180 h 10000"/>
                <a:gd name="connsiteX129" fmla="*/ 9068 w 10000"/>
                <a:gd name="connsiteY129" fmla="*/ 3045 h 10000"/>
                <a:gd name="connsiteX130" fmla="*/ 9047 w 10000"/>
                <a:gd name="connsiteY130" fmla="*/ 2920 h 10000"/>
                <a:gd name="connsiteX131" fmla="*/ 8953 w 10000"/>
                <a:gd name="connsiteY131" fmla="*/ 2789 h 10000"/>
                <a:gd name="connsiteX132" fmla="*/ 8569 w 10000"/>
                <a:gd name="connsiteY132" fmla="*/ 2813 h 10000"/>
                <a:gd name="connsiteX133" fmla="*/ 8431 w 10000"/>
                <a:gd name="connsiteY133" fmla="*/ 2673 h 10000"/>
                <a:gd name="connsiteX134" fmla="*/ 8350 w 10000"/>
                <a:gd name="connsiteY134" fmla="*/ 2665 h 10000"/>
                <a:gd name="connsiteX135" fmla="*/ 8350 w 10000"/>
                <a:gd name="connsiteY135" fmla="*/ 2726 h 10000"/>
                <a:gd name="connsiteX136" fmla="*/ 8176 w 10000"/>
                <a:gd name="connsiteY136" fmla="*/ 2959 h 10000"/>
                <a:gd name="connsiteX137" fmla="*/ 7990 w 10000"/>
                <a:gd name="connsiteY137" fmla="*/ 3096 h 10000"/>
                <a:gd name="connsiteX138" fmla="*/ 7401 w 10000"/>
                <a:gd name="connsiteY138" fmla="*/ 3329 h 10000"/>
                <a:gd name="connsiteX139" fmla="*/ 7198 w 10000"/>
                <a:gd name="connsiteY139" fmla="*/ 3322 h 10000"/>
                <a:gd name="connsiteX140" fmla="*/ 6915 w 10000"/>
                <a:gd name="connsiteY140" fmla="*/ 3359 h 10000"/>
                <a:gd name="connsiteX141" fmla="*/ 6757 w 10000"/>
                <a:gd name="connsiteY141" fmla="*/ 3322 h 10000"/>
                <a:gd name="connsiteX142" fmla="*/ 6965 w 10000"/>
                <a:gd name="connsiteY142" fmla="*/ 3255 h 10000"/>
                <a:gd name="connsiteX143" fmla="*/ 7235 w 10000"/>
                <a:gd name="connsiteY143" fmla="*/ 3227 h 10000"/>
                <a:gd name="connsiteX144" fmla="*/ 7455 w 10000"/>
                <a:gd name="connsiteY144" fmla="*/ 3118 h 10000"/>
                <a:gd name="connsiteX145" fmla="*/ 7674 w 10000"/>
                <a:gd name="connsiteY145" fmla="*/ 3066 h 10000"/>
                <a:gd name="connsiteX146" fmla="*/ 8082 w 10000"/>
                <a:gd name="connsiteY146" fmla="*/ 2874 h 10000"/>
                <a:gd name="connsiteX147" fmla="*/ 8157 w 10000"/>
                <a:gd name="connsiteY147" fmla="*/ 2750 h 10000"/>
                <a:gd name="connsiteX148" fmla="*/ 8165 w 10000"/>
                <a:gd name="connsiteY148" fmla="*/ 2589 h 10000"/>
                <a:gd name="connsiteX149" fmla="*/ 7978 w 10000"/>
                <a:gd name="connsiteY149" fmla="*/ 2562 h 10000"/>
                <a:gd name="connsiteX150" fmla="*/ 8058 w 10000"/>
                <a:gd name="connsiteY150" fmla="*/ 2463 h 10000"/>
                <a:gd name="connsiteX151" fmla="*/ 8087 w 10000"/>
                <a:gd name="connsiteY151" fmla="*/ 2338 h 10000"/>
                <a:gd name="connsiteX152" fmla="*/ 8007 w 10000"/>
                <a:gd name="connsiteY152" fmla="*/ 2222 h 10000"/>
                <a:gd name="connsiteX153" fmla="*/ 7450 w 10000"/>
                <a:gd name="connsiteY153" fmla="*/ 2382 h 10000"/>
                <a:gd name="connsiteX154" fmla="*/ 6694 w 10000"/>
                <a:gd name="connsiteY154" fmla="*/ 2311 h 10000"/>
                <a:gd name="connsiteX155" fmla="*/ 6304 w 10000"/>
                <a:gd name="connsiteY155" fmla="*/ 1864 h 10000"/>
                <a:gd name="connsiteX156" fmla="*/ 5294 w 10000"/>
                <a:gd name="connsiteY156" fmla="*/ 1779 h 10000"/>
                <a:gd name="connsiteX157" fmla="*/ 4505 w 10000"/>
                <a:gd name="connsiteY157" fmla="*/ 1407 h 10000"/>
                <a:gd name="connsiteX158" fmla="*/ 3730 w 10000"/>
                <a:gd name="connsiteY158" fmla="*/ 962 h 10000"/>
                <a:gd name="connsiteX159" fmla="*/ 3154 w 10000"/>
                <a:gd name="connsiteY159" fmla="*/ 143 h 10000"/>
                <a:gd name="connsiteX160" fmla="*/ 2375 w 10000"/>
                <a:gd name="connsiteY160" fmla="*/ 0 h 10000"/>
                <a:gd name="connsiteX161" fmla="*/ 2226 w 10000"/>
                <a:gd name="connsiteY161" fmla="*/ 772 h 10000"/>
                <a:gd name="connsiteX162" fmla="*/ 2375 w 10000"/>
                <a:gd name="connsiteY162" fmla="*/ 967 h 10000"/>
                <a:gd name="connsiteX163" fmla="*/ 2791 w 10000"/>
                <a:gd name="connsiteY163" fmla="*/ 1185 h 10000"/>
                <a:gd name="connsiteX164" fmla="*/ 2808 w 10000"/>
                <a:gd name="connsiteY164" fmla="*/ 1446 h 10000"/>
                <a:gd name="connsiteX165" fmla="*/ 2632 w 10000"/>
                <a:gd name="connsiteY165" fmla="*/ 1665 h 10000"/>
                <a:gd name="connsiteX166" fmla="*/ 2375 w 10000"/>
                <a:gd name="connsiteY166" fmla="*/ 1798 h 10000"/>
                <a:gd name="connsiteX167" fmla="*/ 2039 w 10000"/>
                <a:gd name="connsiteY167" fmla="*/ 1851 h 10000"/>
                <a:gd name="connsiteX168" fmla="*/ 1950 w 10000"/>
                <a:gd name="connsiteY168" fmla="*/ 1929 h 10000"/>
                <a:gd name="connsiteX169" fmla="*/ 2148 w 10000"/>
                <a:gd name="connsiteY169" fmla="*/ 2110 h 10000"/>
                <a:gd name="connsiteX170" fmla="*/ 2261 w 10000"/>
                <a:gd name="connsiteY170" fmla="*/ 2541 h 10000"/>
                <a:gd name="connsiteX171" fmla="*/ 2005 w 10000"/>
                <a:gd name="connsiteY171" fmla="*/ 2910 h 10000"/>
                <a:gd name="connsiteX172" fmla="*/ 2094 w 10000"/>
                <a:gd name="connsiteY172" fmla="*/ 3022 h 10000"/>
                <a:gd name="connsiteX173" fmla="*/ 2012 w 10000"/>
                <a:gd name="connsiteY173" fmla="*/ 3214 h 10000"/>
                <a:gd name="connsiteX174" fmla="*/ 1850 w 10000"/>
                <a:gd name="connsiteY174" fmla="*/ 3349 h 10000"/>
                <a:gd name="connsiteX175" fmla="*/ 1199 w 10000"/>
                <a:gd name="connsiteY175" fmla="*/ 3450 h 10000"/>
                <a:gd name="connsiteX176" fmla="*/ 1158 w 10000"/>
                <a:gd name="connsiteY176" fmla="*/ 3629 h 10000"/>
                <a:gd name="connsiteX177" fmla="*/ 808 w 10000"/>
                <a:gd name="connsiteY177" fmla="*/ 3893 h 10000"/>
                <a:gd name="connsiteX178" fmla="*/ 854 w 10000"/>
                <a:gd name="connsiteY178" fmla="*/ 4276 h 10000"/>
                <a:gd name="connsiteX179" fmla="*/ 560 w 10000"/>
                <a:gd name="connsiteY179" fmla="*/ 4766 h 10000"/>
                <a:gd name="connsiteX180" fmla="*/ 358 w 10000"/>
                <a:gd name="connsiteY180" fmla="*/ 4822 h 10000"/>
                <a:gd name="connsiteX181" fmla="*/ 275 w 10000"/>
                <a:gd name="connsiteY181" fmla="*/ 4706 h 10000"/>
                <a:gd name="connsiteX182" fmla="*/ 174 w 10000"/>
                <a:gd name="connsiteY182" fmla="*/ 4882 h 10000"/>
                <a:gd name="connsiteX183" fmla="*/ 239 w 10000"/>
                <a:gd name="connsiteY183" fmla="*/ 4578 h 10000"/>
                <a:gd name="connsiteX184" fmla="*/ 197 w 10000"/>
                <a:gd name="connsiteY184" fmla="*/ 4521 h 10000"/>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3212 w 10000"/>
                <a:gd name="connsiteY47" fmla="*/ 9941 h 10000"/>
                <a:gd name="connsiteX48" fmla="*/ 3348 w 10000"/>
                <a:gd name="connsiteY48" fmla="*/ 9745 h 10000"/>
                <a:gd name="connsiteX49" fmla="*/ 3313 w 10000"/>
                <a:gd name="connsiteY49" fmla="*/ 9423 h 10000"/>
                <a:gd name="connsiteX50" fmla="*/ 3642 w 10000"/>
                <a:gd name="connsiteY50" fmla="*/ 9067 h 10000"/>
                <a:gd name="connsiteX51" fmla="*/ 3883 w 10000"/>
                <a:gd name="connsiteY51" fmla="*/ 9124 h 10000"/>
                <a:gd name="connsiteX52" fmla="*/ 4025 w 10000"/>
                <a:gd name="connsiteY52" fmla="*/ 8982 h 10000"/>
                <a:gd name="connsiteX53" fmla="*/ 6419 w 10000"/>
                <a:gd name="connsiteY53" fmla="*/ 8186 h 10000"/>
                <a:gd name="connsiteX54" fmla="*/ 6586 w 10000"/>
                <a:gd name="connsiteY54" fmla="*/ 7505 h 10000"/>
                <a:gd name="connsiteX55" fmla="*/ 6855 w 10000"/>
                <a:gd name="connsiteY55" fmla="*/ 7204 h 10000"/>
                <a:gd name="connsiteX56" fmla="*/ 6855 w 10000"/>
                <a:gd name="connsiteY56" fmla="*/ 7043 h 10000"/>
                <a:gd name="connsiteX57" fmla="*/ 6757 w 10000"/>
                <a:gd name="connsiteY57" fmla="*/ 6956 h 10000"/>
                <a:gd name="connsiteX58" fmla="*/ 6915 w 10000"/>
                <a:gd name="connsiteY58" fmla="*/ 6811 h 10000"/>
                <a:gd name="connsiteX59" fmla="*/ 6887 w 10000"/>
                <a:gd name="connsiteY59" fmla="*/ 6693 h 10000"/>
                <a:gd name="connsiteX60" fmla="*/ 6779 w 10000"/>
                <a:gd name="connsiteY60" fmla="*/ 6592 h 10000"/>
                <a:gd name="connsiteX61" fmla="*/ 6757 w 10000"/>
                <a:gd name="connsiteY61" fmla="*/ 6514 h 10000"/>
                <a:gd name="connsiteX62" fmla="*/ 6785 w 10000"/>
                <a:gd name="connsiteY62" fmla="*/ 6457 h 10000"/>
                <a:gd name="connsiteX63" fmla="*/ 6931 w 10000"/>
                <a:gd name="connsiteY63" fmla="*/ 6503 h 10000"/>
                <a:gd name="connsiteX64" fmla="*/ 7045 w 10000"/>
                <a:gd name="connsiteY64" fmla="*/ 6500 h 10000"/>
                <a:gd name="connsiteX65" fmla="*/ 6983 w 10000"/>
                <a:gd name="connsiteY65" fmla="*/ 6404 h 10000"/>
                <a:gd name="connsiteX66" fmla="*/ 7003 w 10000"/>
                <a:gd name="connsiteY66" fmla="*/ 6346 h 10000"/>
                <a:gd name="connsiteX67" fmla="*/ 7089 w 10000"/>
                <a:gd name="connsiteY67" fmla="*/ 6265 h 10000"/>
                <a:gd name="connsiteX68" fmla="*/ 7074 w 10000"/>
                <a:gd name="connsiteY68" fmla="*/ 6198 h 10000"/>
                <a:gd name="connsiteX69" fmla="*/ 7152 w 10000"/>
                <a:gd name="connsiteY69" fmla="*/ 5971 h 10000"/>
                <a:gd name="connsiteX70" fmla="*/ 7130 w 10000"/>
                <a:gd name="connsiteY70" fmla="*/ 5902 h 10000"/>
                <a:gd name="connsiteX71" fmla="*/ 6729 w 10000"/>
                <a:gd name="connsiteY71" fmla="*/ 5729 h 10000"/>
                <a:gd name="connsiteX72" fmla="*/ 6785 w 10000"/>
                <a:gd name="connsiteY72" fmla="*/ 5723 h 10000"/>
                <a:gd name="connsiteX73" fmla="*/ 6998 w 10000"/>
                <a:gd name="connsiteY73" fmla="*/ 5768 h 10000"/>
                <a:gd name="connsiteX74" fmla="*/ 7230 w 10000"/>
                <a:gd name="connsiteY74" fmla="*/ 5751 h 10000"/>
                <a:gd name="connsiteX75" fmla="*/ 7295 w 10000"/>
                <a:gd name="connsiteY75" fmla="*/ 5689 h 10000"/>
                <a:gd name="connsiteX76" fmla="*/ 7074 w 10000"/>
                <a:gd name="connsiteY76" fmla="*/ 5571 h 10000"/>
                <a:gd name="connsiteX77" fmla="*/ 6414 w 10000"/>
                <a:gd name="connsiteY77" fmla="*/ 5495 h 10000"/>
                <a:gd name="connsiteX78" fmla="*/ 6458 w 10000"/>
                <a:gd name="connsiteY78" fmla="*/ 5459 h 10000"/>
                <a:gd name="connsiteX79" fmla="*/ 6998 w 10000"/>
                <a:gd name="connsiteY79" fmla="*/ 5434 h 10000"/>
                <a:gd name="connsiteX80" fmla="*/ 7295 w 10000"/>
                <a:gd name="connsiteY80" fmla="*/ 5506 h 10000"/>
                <a:gd name="connsiteX81" fmla="*/ 7466 w 10000"/>
                <a:gd name="connsiteY81" fmla="*/ 5459 h 10000"/>
                <a:gd name="connsiteX82" fmla="*/ 7529 w 10000"/>
                <a:gd name="connsiteY82" fmla="*/ 5337 h 10000"/>
                <a:gd name="connsiteX83" fmla="*/ 7840 w 10000"/>
                <a:gd name="connsiteY83" fmla="*/ 5337 h 10000"/>
                <a:gd name="connsiteX84" fmla="*/ 8261 w 10000"/>
                <a:gd name="connsiteY84" fmla="*/ 5093 h 10000"/>
                <a:gd name="connsiteX85" fmla="*/ 8275 w 10000"/>
                <a:gd name="connsiteY85" fmla="*/ 4928 h 10000"/>
                <a:gd name="connsiteX86" fmla="*/ 8453 w 10000"/>
                <a:gd name="connsiteY86" fmla="*/ 4965 h 10000"/>
                <a:gd name="connsiteX87" fmla="*/ 8446 w 10000"/>
                <a:gd name="connsiteY87" fmla="*/ 5130 h 10000"/>
                <a:gd name="connsiteX88" fmla="*/ 8727 w 10000"/>
                <a:gd name="connsiteY88" fmla="*/ 5118 h 10000"/>
                <a:gd name="connsiteX89" fmla="*/ 8913 w 10000"/>
                <a:gd name="connsiteY89" fmla="*/ 4948 h 10000"/>
                <a:gd name="connsiteX90" fmla="*/ 9258 w 10000"/>
                <a:gd name="connsiteY90" fmla="*/ 4795 h 10000"/>
                <a:gd name="connsiteX91" fmla="*/ 9203 w 10000"/>
                <a:gd name="connsiteY91" fmla="*/ 4621 h 10000"/>
                <a:gd name="connsiteX92" fmla="*/ 9306 w 10000"/>
                <a:gd name="connsiteY92" fmla="*/ 4690 h 10000"/>
                <a:gd name="connsiteX93" fmla="*/ 9464 w 10000"/>
                <a:gd name="connsiteY93" fmla="*/ 4690 h 10000"/>
                <a:gd name="connsiteX94" fmla="*/ 9464 w 10000"/>
                <a:gd name="connsiteY94" fmla="*/ 4609 h 10000"/>
                <a:gd name="connsiteX95" fmla="*/ 9611 w 10000"/>
                <a:gd name="connsiteY95" fmla="*/ 4550 h 10000"/>
                <a:gd name="connsiteX96" fmla="*/ 9592 w 10000"/>
                <a:gd name="connsiteY96" fmla="*/ 4487 h 10000"/>
                <a:gd name="connsiteX97" fmla="*/ 8350 w 10000"/>
                <a:gd name="connsiteY97" fmla="*/ 4611 h 10000"/>
                <a:gd name="connsiteX98" fmla="*/ 8058 w 10000"/>
                <a:gd name="connsiteY98" fmla="*/ 4576 h 10000"/>
                <a:gd name="connsiteX99" fmla="*/ 7942 w 10000"/>
                <a:gd name="connsiteY99" fmla="*/ 4621 h 10000"/>
                <a:gd name="connsiteX100" fmla="*/ 7903 w 10000"/>
                <a:gd name="connsiteY100" fmla="*/ 4532 h 10000"/>
                <a:gd name="connsiteX101" fmla="*/ 7765 w 10000"/>
                <a:gd name="connsiteY101" fmla="*/ 4456 h 10000"/>
                <a:gd name="connsiteX102" fmla="*/ 7213 w 10000"/>
                <a:gd name="connsiteY102" fmla="*/ 4297 h 10000"/>
                <a:gd name="connsiteX103" fmla="*/ 6887 w 10000"/>
                <a:gd name="connsiteY103" fmla="*/ 4324 h 10000"/>
                <a:gd name="connsiteX104" fmla="*/ 6757 w 10000"/>
                <a:gd name="connsiteY104" fmla="*/ 4278 h 10000"/>
                <a:gd name="connsiteX105" fmla="*/ 6894 w 10000"/>
                <a:gd name="connsiteY105" fmla="*/ 4240 h 10000"/>
                <a:gd name="connsiteX106" fmla="*/ 6998 w 10000"/>
                <a:gd name="connsiteY106" fmla="*/ 4156 h 10000"/>
                <a:gd name="connsiteX107" fmla="*/ 7152 w 10000"/>
                <a:gd name="connsiteY107" fmla="*/ 4182 h 10000"/>
                <a:gd name="connsiteX108" fmla="*/ 7335 w 10000"/>
                <a:gd name="connsiteY108" fmla="*/ 4161 h 10000"/>
                <a:gd name="connsiteX109" fmla="*/ 7611 w 10000"/>
                <a:gd name="connsiteY109" fmla="*/ 4188 h 10000"/>
                <a:gd name="connsiteX110" fmla="*/ 7645 w 10000"/>
                <a:gd name="connsiteY110" fmla="*/ 4177 h 10000"/>
                <a:gd name="connsiteX111" fmla="*/ 7859 w 10000"/>
                <a:gd name="connsiteY111" fmla="*/ 4305 h 10000"/>
                <a:gd name="connsiteX112" fmla="*/ 8017 w 10000"/>
                <a:gd name="connsiteY112" fmla="*/ 4257 h 10000"/>
                <a:gd name="connsiteX113" fmla="*/ 8032 w 10000"/>
                <a:gd name="connsiteY113" fmla="*/ 4214 h 10000"/>
                <a:gd name="connsiteX114" fmla="*/ 8176 w 10000"/>
                <a:gd name="connsiteY114" fmla="*/ 4290 h 10000"/>
                <a:gd name="connsiteX115" fmla="*/ 8369 w 10000"/>
                <a:gd name="connsiteY115" fmla="*/ 4331 h 10000"/>
                <a:gd name="connsiteX116" fmla="*/ 8446 w 10000"/>
                <a:gd name="connsiteY116" fmla="*/ 4255 h 10000"/>
                <a:gd name="connsiteX117" fmla="*/ 8507 w 10000"/>
                <a:gd name="connsiteY117" fmla="*/ 4297 h 10000"/>
                <a:gd name="connsiteX118" fmla="*/ 8596 w 10000"/>
                <a:gd name="connsiteY118" fmla="*/ 4446 h 10000"/>
                <a:gd name="connsiteX119" fmla="*/ 8782 w 10000"/>
                <a:gd name="connsiteY119" fmla="*/ 4478 h 10000"/>
                <a:gd name="connsiteX120" fmla="*/ 9542 w 10000"/>
                <a:gd name="connsiteY120" fmla="*/ 4262 h 10000"/>
                <a:gd name="connsiteX121" fmla="*/ 9914 w 10000"/>
                <a:gd name="connsiteY121" fmla="*/ 3962 h 10000"/>
                <a:gd name="connsiteX122" fmla="*/ 10000 w 10000"/>
                <a:gd name="connsiteY122" fmla="*/ 3744 h 10000"/>
                <a:gd name="connsiteX123" fmla="*/ 9866 w 10000"/>
                <a:gd name="connsiteY123" fmla="*/ 3546 h 10000"/>
                <a:gd name="connsiteX124" fmla="*/ 9582 w 10000"/>
                <a:gd name="connsiteY124" fmla="*/ 3428 h 10000"/>
                <a:gd name="connsiteX125" fmla="*/ 9382 w 10000"/>
                <a:gd name="connsiteY125" fmla="*/ 3233 h 10000"/>
                <a:gd name="connsiteX126" fmla="*/ 9569 w 10000"/>
                <a:gd name="connsiteY126" fmla="*/ 3227 h 10000"/>
                <a:gd name="connsiteX127" fmla="*/ 9555 w 10000"/>
                <a:gd name="connsiteY127" fmla="*/ 3180 h 10000"/>
                <a:gd name="connsiteX128" fmla="*/ 9068 w 10000"/>
                <a:gd name="connsiteY128" fmla="*/ 3045 h 10000"/>
                <a:gd name="connsiteX129" fmla="*/ 9047 w 10000"/>
                <a:gd name="connsiteY129" fmla="*/ 2920 h 10000"/>
                <a:gd name="connsiteX130" fmla="*/ 8953 w 10000"/>
                <a:gd name="connsiteY130" fmla="*/ 2789 h 10000"/>
                <a:gd name="connsiteX131" fmla="*/ 8569 w 10000"/>
                <a:gd name="connsiteY131" fmla="*/ 2813 h 10000"/>
                <a:gd name="connsiteX132" fmla="*/ 8431 w 10000"/>
                <a:gd name="connsiteY132" fmla="*/ 2673 h 10000"/>
                <a:gd name="connsiteX133" fmla="*/ 8350 w 10000"/>
                <a:gd name="connsiteY133" fmla="*/ 2665 h 10000"/>
                <a:gd name="connsiteX134" fmla="*/ 8350 w 10000"/>
                <a:gd name="connsiteY134" fmla="*/ 2726 h 10000"/>
                <a:gd name="connsiteX135" fmla="*/ 8176 w 10000"/>
                <a:gd name="connsiteY135" fmla="*/ 2959 h 10000"/>
                <a:gd name="connsiteX136" fmla="*/ 7990 w 10000"/>
                <a:gd name="connsiteY136" fmla="*/ 3096 h 10000"/>
                <a:gd name="connsiteX137" fmla="*/ 7401 w 10000"/>
                <a:gd name="connsiteY137" fmla="*/ 3329 h 10000"/>
                <a:gd name="connsiteX138" fmla="*/ 7198 w 10000"/>
                <a:gd name="connsiteY138" fmla="*/ 3322 h 10000"/>
                <a:gd name="connsiteX139" fmla="*/ 6915 w 10000"/>
                <a:gd name="connsiteY139" fmla="*/ 3359 h 10000"/>
                <a:gd name="connsiteX140" fmla="*/ 6757 w 10000"/>
                <a:gd name="connsiteY140" fmla="*/ 3322 h 10000"/>
                <a:gd name="connsiteX141" fmla="*/ 6965 w 10000"/>
                <a:gd name="connsiteY141" fmla="*/ 3255 h 10000"/>
                <a:gd name="connsiteX142" fmla="*/ 7235 w 10000"/>
                <a:gd name="connsiteY142" fmla="*/ 3227 h 10000"/>
                <a:gd name="connsiteX143" fmla="*/ 7455 w 10000"/>
                <a:gd name="connsiteY143" fmla="*/ 3118 h 10000"/>
                <a:gd name="connsiteX144" fmla="*/ 7674 w 10000"/>
                <a:gd name="connsiteY144" fmla="*/ 3066 h 10000"/>
                <a:gd name="connsiteX145" fmla="*/ 8082 w 10000"/>
                <a:gd name="connsiteY145" fmla="*/ 2874 h 10000"/>
                <a:gd name="connsiteX146" fmla="*/ 8157 w 10000"/>
                <a:gd name="connsiteY146" fmla="*/ 2750 h 10000"/>
                <a:gd name="connsiteX147" fmla="*/ 8165 w 10000"/>
                <a:gd name="connsiteY147" fmla="*/ 2589 h 10000"/>
                <a:gd name="connsiteX148" fmla="*/ 7978 w 10000"/>
                <a:gd name="connsiteY148" fmla="*/ 2562 h 10000"/>
                <a:gd name="connsiteX149" fmla="*/ 8058 w 10000"/>
                <a:gd name="connsiteY149" fmla="*/ 2463 h 10000"/>
                <a:gd name="connsiteX150" fmla="*/ 8087 w 10000"/>
                <a:gd name="connsiteY150" fmla="*/ 2338 h 10000"/>
                <a:gd name="connsiteX151" fmla="*/ 8007 w 10000"/>
                <a:gd name="connsiteY151" fmla="*/ 2222 h 10000"/>
                <a:gd name="connsiteX152" fmla="*/ 7450 w 10000"/>
                <a:gd name="connsiteY152" fmla="*/ 2382 h 10000"/>
                <a:gd name="connsiteX153" fmla="*/ 6694 w 10000"/>
                <a:gd name="connsiteY153" fmla="*/ 2311 h 10000"/>
                <a:gd name="connsiteX154" fmla="*/ 6304 w 10000"/>
                <a:gd name="connsiteY154" fmla="*/ 1864 h 10000"/>
                <a:gd name="connsiteX155" fmla="*/ 5294 w 10000"/>
                <a:gd name="connsiteY155" fmla="*/ 1779 h 10000"/>
                <a:gd name="connsiteX156" fmla="*/ 4505 w 10000"/>
                <a:gd name="connsiteY156" fmla="*/ 1407 h 10000"/>
                <a:gd name="connsiteX157" fmla="*/ 3730 w 10000"/>
                <a:gd name="connsiteY157" fmla="*/ 962 h 10000"/>
                <a:gd name="connsiteX158" fmla="*/ 3154 w 10000"/>
                <a:gd name="connsiteY158" fmla="*/ 143 h 10000"/>
                <a:gd name="connsiteX159" fmla="*/ 2375 w 10000"/>
                <a:gd name="connsiteY159" fmla="*/ 0 h 10000"/>
                <a:gd name="connsiteX160" fmla="*/ 2226 w 10000"/>
                <a:gd name="connsiteY160" fmla="*/ 772 h 10000"/>
                <a:gd name="connsiteX161" fmla="*/ 2375 w 10000"/>
                <a:gd name="connsiteY161" fmla="*/ 967 h 10000"/>
                <a:gd name="connsiteX162" fmla="*/ 2791 w 10000"/>
                <a:gd name="connsiteY162" fmla="*/ 1185 h 10000"/>
                <a:gd name="connsiteX163" fmla="*/ 2808 w 10000"/>
                <a:gd name="connsiteY163" fmla="*/ 1446 h 10000"/>
                <a:gd name="connsiteX164" fmla="*/ 2632 w 10000"/>
                <a:gd name="connsiteY164" fmla="*/ 1665 h 10000"/>
                <a:gd name="connsiteX165" fmla="*/ 2375 w 10000"/>
                <a:gd name="connsiteY165" fmla="*/ 1798 h 10000"/>
                <a:gd name="connsiteX166" fmla="*/ 2039 w 10000"/>
                <a:gd name="connsiteY166" fmla="*/ 1851 h 10000"/>
                <a:gd name="connsiteX167" fmla="*/ 1950 w 10000"/>
                <a:gd name="connsiteY167" fmla="*/ 1929 h 10000"/>
                <a:gd name="connsiteX168" fmla="*/ 2148 w 10000"/>
                <a:gd name="connsiteY168" fmla="*/ 2110 h 10000"/>
                <a:gd name="connsiteX169" fmla="*/ 2261 w 10000"/>
                <a:gd name="connsiteY169" fmla="*/ 2541 h 10000"/>
                <a:gd name="connsiteX170" fmla="*/ 2005 w 10000"/>
                <a:gd name="connsiteY170" fmla="*/ 2910 h 10000"/>
                <a:gd name="connsiteX171" fmla="*/ 2094 w 10000"/>
                <a:gd name="connsiteY171" fmla="*/ 3022 h 10000"/>
                <a:gd name="connsiteX172" fmla="*/ 2012 w 10000"/>
                <a:gd name="connsiteY172" fmla="*/ 3214 h 10000"/>
                <a:gd name="connsiteX173" fmla="*/ 1850 w 10000"/>
                <a:gd name="connsiteY173" fmla="*/ 3349 h 10000"/>
                <a:gd name="connsiteX174" fmla="*/ 1199 w 10000"/>
                <a:gd name="connsiteY174" fmla="*/ 3450 h 10000"/>
                <a:gd name="connsiteX175" fmla="*/ 1158 w 10000"/>
                <a:gd name="connsiteY175" fmla="*/ 3629 h 10000"/>
                <a:gd name="connsiteX176" fmla="*/ 808 w 10000"/>
                <a:gd name="connsiteY176" fmla="*/ 3893 h 10000"/>
                <a:gd name="connsiteX177" fmla="*/ 854 w 10000"/>
                <a:gd name="connsiteY177" fmla="*/ 4276 h 10000"/>
                <a:gd name="connsiteX178" fmla="*/ 560 w 10000"/>
                <a:gd name="connsiteY178" fmla="*/ 4766 h 10000"/>
                <a:gd name="connsiteX179" fmla="*/ 358 w 10000"/>
                <a:gd name="connsiteY179" fmla="*/ 4822 h 10000"/>
                <a:gd name="connsiteX180" fmla="*/ 275 w 10000"/>
                <a:gd name="connsiteY180" fmla="*/ 4706 h 10000"/>
                <a:gd name="connsiteX181" fmla="*/ 174 w 10000"/>
                <a:gd name="connsiteY181" fmla="*/ 4882 h 10000"/>
                <a:gd name="connsiteX182" fmla="*/ 239 w 10000"/>
                <a:gd name="connsiteY182" fmla="*/ 4578 h 10000"/>
                <a:gd name="connsiteX183" fmla="*/ 197 w 10000"/>
                <a:gd name="connsiteY183" fmla="*/ 4521 h 10000"/>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3212 w 10000"/>
                <a:gd name="connsiteY47" fmla="*/ 9941 h 10000"/>
                <a:gd name="connsiteX48" fmla="*/ 3348 w 10000"/>
                <a:gd name="connsiteY48" fmla="*/ 9745 h 10000"/>
                <a:gd name="connsiteX49" fmla="*/ 3313 w 10000"/>
                <a:gd name="connsiteY49" fmla="*/ 9423 h 10000"/>
                <a:gd name="connsiteX50" fmla="*/ 3642 w 10000"/>
                <a:gd name="connsiteY50" fmla="*/ 9067 h 10000"/>
                <a:gd name="connsiteX51" fmla="*/ 3883 w 10000"/>
                <a:gd name="connsiteY51" fmla="*/ 9124 h 10000"/>
                <a:gd name="connsiteX52" fmla="*/ 6419 w 10000"/>
                <a:gd name="connsiteY52" fmla="*/ 8186 h 10000"/>
                <a:gd name="connsiteX53" fmla="*/ 6586 w 10000"/>
                <a:gd name="connsiteY53" fmla="*/ 7505 h 10000"/>
                <a:gd name="connsiteX54" fmla="*/ 6855 w 10000"/>
                <a:gd name="connsiteY54" fmla="*/ 7204 h 10000"/>
                <a:gd name="connsiteX55" fmla="*/ 6855 w 10000"/>
                <a:gd name="connsiteY55" fmla="*/ 7043 h 10000"/>
                <a:gd name="connsiteX56" fmla="*/ 6757 w 10000"/>
                <a:gd name="connsiteY56" fmla="*/ 6956 h 10000"/>
                <a:gd name="connsiteX57" fmla="*/ 6915 w 10000"/>
                <a:gd name="connsiteY57" fmla="*/ 6811 h 10000"/>
                <a:gd name="connsiteX58" fmla="*/ 6887 w 10000"/>
                <a:gd name="connsiteY58" fmla="*/ 6693 h 10000"/>
                <a:gd name="connsiteX59" fmla="*/ 6779 w 10000"/>
                <a:gd name="connsiteY59" fmla="*/ 6592 h 10000"/>
                <a:gd name="connsiteX60" fmla="*/ 6757 w 10000"/>
                <a:gd name="connsiteY60" fmla="*/ 6514 h 10000"/>
                <a:gd name="connsiteX61" fmla="*/ 6785 w 10000"/>
                <a:gd name="connsiteY61" fmla="*/ 6457 h 10000"/>
                <a:gd name="connsiteX62" fmla="*/ 6931 w 10000"/>
                <a:gd name="connsiteY62" fmla="*/ 6503 h 10000"/>
                <a:gd name="connsiteX63" fmla="*/ 7045 w 10000"/>
                <a:gd name="connsiteY63" fmla="*/ 6500 h 10000"/>
                <a:gd name="connsiteX64" fmla="*/ 6983 w 10000"/>
                <a:gd name="connsiteY64" fmla="*/ 6404 h 10000"/>
                <a:gd name="connsiteX65" fmla="*/ 7003 w 10000"/>
                <a:gd name="connsiteY65" fmla="*/ 6346 h 10000"/>
                <a:gd name="connsiteX66" fmla="*/ 7089 w 10000"/>
                <a:gd name="connsiteY66" fmla="*/ 6265 h 10000"/>
                <a:gd name="connsiteX67" fmla="*/ 7074 w 10000"/>
                <a:gd name="connsiteY67" fmla="*/ 6198 h 10000"/>
                <a:gd name="connsiteX68" fmla="*/ 7152 w 10000"/>
                <a:gd name="connsiteY68" fmla="*/ 5971 h 10000"/>
                <a:gd name="connsiteX69" fmla="*/ 7130 w 10000"/>
                <a:gd name="connsiteY69" fmla="*/ 5902 h 10000"/>
                <a:gd name="connsiteX70" fmla="*/ 6729 w 10000"/>
                <a:gd name="connsiteY70" fmla="*/ 5729 h 10000"/>
                <a:gd name="connsiteX71" fmla="*/ 6785 w 10000"/>
                <a:gd name="connsiteY71" fmla="*/ 5723 h 10000"/>
                <a:gd name="connsiteX72" fmla="*/ 6998 w 10000"/>
                <a:gd name="connsiteY72" fmla="*/ 5768 h 10000"/>
                <a:gd name="connsiteX73" fmla="*/ 7230 w 10000"/>
                <a:gd name="connsiteY73" fmla="*/ 5751 h 10000"/>
                <a:gd name="connsiteX74" fmla="*/ 7295 w 10000"/>
                <a:gd name="connsiteY74" fmla="*/ 5689 h 10000"/>
                <a:gd name="connsiteX75" fmla="*/ 7074 w 10000"/>
                <a:gd name="connsiteY75" fmla="*/ 5571 h 10000"/>
                <a:gd name="connsiteX76" fmla="*/ 6414 w 10000"/>
                <a:gd name="connsiteY76" fmla="*/ 5495 h 10000"/>
                <a:gd name="connsiteX77" fmla="*/ 6458 w 10000"/>
                <a:gd name="connsiteY77" fmla="*/ 5459 h 10000"/>
                <a:gd name="connsiteX78" fmla="*/ 6998 w 10000"/>
                <a:gd name="connsiteY78" fmla="*/ 5434 h 10000"/>
                <a:gd name="connsiteX79" fmla="*/ 7295 w 10000"/>
                <a:gd name="connsiteY79" fmla="*/ 5506 h 10000"/>
                <a:gd name="connsiteX80" fmla="*/ 7466 w 10000"/>
                <a:gd name="connsiteY80" fmla="*/ 5459 h 10000"/>
                <a:gd name="connsiteX81" fmla="*/ 7529 w 10000"/>
                <a:gd name="connsiteY81" fmla="*/ 5337 h 10000"/>
                <a:gd name="connsiteX82" fmla="*/ 7840 w 10000"/>
                <a:gd name="connsiteY82" fmla="*/ 5337 h 10000"/>
                <a:gd name="connsiteX83" fmla="*/ 8261 w 10000"/>
                <a:gd name="connsiteY83" fmla="*/ 5093 h 10000"/>
                <a:gd name="connsiteX84" fmla="*/ 8275 w 10000"/>
                <a:gd name="connsiteY84" fmla="*/ 4928 h 10000"/>
                <a:gd name="connsiteX85" fmla="*/ 8453 w 10000"/>
                <a:gd name="connsiteY85" fmla="*/ 4965 h 10000"/>
                <a:gd name="connsiteX86" fmla="*/ 8446 w 10000"/>
                <a:gd name="connsiteY86" fmla="*/ 5130 h 10000"/>
                <a:gd name="connsiteX87" fmla="*/ 8727 w 10000"/>
                <a:gd name="connsiteY87" fmla="*/ 5118 h 10000"/>
                <a:gd name="connsiteX88" fmla="*/ 8913 w 10000"/>
                <a:gd name="connsiteY88" fmla="*/ 4948 h 10000"/>
                <a:gd name="connsiteX89" fmla="*/ 9258 w 10000"/>
                <a:gd name="connsiteY89" fmla="*/ 4795 h 10000"/>
                <a:gd name="connsiteX90" fmla="*/ 9203 w 10000"/>
                <a:gd name="connsiteY90" fmla="*/ 4621 h 10000"/>
                <a:gd name="connsiteX91" fmla="*/ 9306 w 10000"/>
                <a:gd name="connsiteY91" fmla="*/ 4690 h 10000"/>
                <a:gd name="connsiteX92" fmla="*/ 9464 w 10000"/>
                <a:gd name="connsiteY92" fmla="*/ 4690 h 10000"/>
                <a:gd name="connsiteX93" fmla="*/ 9464 w 10000"/>
                <a:gd name="connsiteY93" fmla="*/ 4609 h 10000"/>
                <a:gd name="connsiteX94" fmla="*/ 9611 w 10000"/>
                <a:gd name="connsiteY94" fmla="*/ 4550 h 10000"/>
                <a:gd name="connsiteX95" fmla="*/ 9592 w 10000"/>
                <a:gd name="connsiteY95" fmla="*/ 4487 h 10000"/>
                <a:gd name="connsiteX96" fmla="*/ 8350 w 10000"/>
                <a:gd name="connsiteY96" fmla="*/ 4611 h 10000"/>
                <a:gd name="connsiteX97" fmla="*/ 8058 w 10000"/>
                <a:gd name="connsiteY97" fmla="*/ 4576 h 10000"/>
                <a:gd name="connsiteX98" fmla="*/ 7942 w 10000"/>
                <a:gd name="connsiteY98" fmla="*/ 4621 h 10000"/>
                <a:gd name="connsiteX99" fmla="*/ 7903 w 10000"/>
                <a:gd name="connsiteY99" fmla="*/ 4532 h 10000"/>
                <a:gd name="connsiteX100" fmla="*/ 7765 w 10000"/>
                <a:gd name="connsiteY100" fmla="*/ 4456 h 10000"/>
                <a:gd name="connsiteX101" fmla="*/ 7213 w 10000"/>
                <a:gd name="connsiteY101" fmla="*/ 4297 h 10000"/>
                <a:gd name="connsiteX102" fmla="*/ 6887 w 10000"/>
                <a:gd name="connsiteY102" fmla="*/ 4324 h 10000"/>
                <a:gd name="connsiteX103" fmla="*/ 6757 w 10000"/>
                <a:gd name="connsiteY103" fmla="*/ 4278 h 10000"/>
                <a:gd name="connsiteX104" fmla="*/ 6894 w 10000"/>
                <a:gd name="connsiteY104" fmla="*/ 4240 h 10000"/>
                <a:gd name="connsiteX105" fmla="*/ 6998 w 10000"/>
                <a:gd name="connsiteY105" fmla="*/ 4156 h 10000"/>
                <a:gd name="connsiteX106" fmla="*/ 7152 w 10000"/>
                <a:gd name="connsiteY106" fmla="*/ 4182 h 10000"/>
                <a:gd name="connsiteX107" fmla="*/ 7335 w 10000"/>
                <a:gd name="connsiteY107" fmla="*/ 4161 h 10000"/>
                <a:gd name="connsiteX108" fmla="*/ 7611 w 10000"/>
                <a:gd name="connsiteY108" fmla="*/ 4188 h 10000"/>
                <a:gd name="connsiteX109" fmla="*/ 7645 w 10000"/>
                <a:gd name="connsiteY109" fmla="*/ 4177 h 10000"/>
                <a:gd name="connsiteX110" fmla="*/ 7859 w 10000"/>
                <a:gd name="connsiteY110" fmla="*/ 4305 h 10000"/>
                <a:gd name="connsiteX111" fmla="*/ 8017 w 10000"/>
                <a:gd name="connsiteY111" fmla="*/ 4257 h 10000"/>
                <a:gd name="connsiteX112" fmla="*/ 8032 w 10000"/>
                <a:gd name="connsiteY112" fmla="*/ 4214 h 10000"/>
                <a:gd name="connsiteX113" fmla="*/ 8176 w 10000"/>
                <a:gd name="connsiteY113" fmla="*/ 4290 h 10000"/>
                <a:gd name="connsiteX114" fmla="*/ 8369 w 10000"/>
                <a:gd name="connsiteY114" fmla="*/ 4331 h 10000"/>
                <a:gd name="connsiteX115" fmla="*/ 8446 w 10000"/>
                <a:gd name="connsiteY115" fmla="*/ 4255 h 10000"/>
                <a:gd name="connsiteX116" fmla="*/ 8507 w 10000"/>
                <a:gd name="connsiteY116" fmla="*/ 4297 h 10000"/>
                <a:gd name="connsiteX117" fmla="*/ 8596 w 10000"/>
                <a:gd name="connsiteY117" fmla="*/ 4446 h 10000"/>
                <a:gd name="connsiteX118" fmla="*/ 8782 w 10000"/>
                <a:gd name="connsiteY118" fmla="*/ 4478 h 10000"/>
                <a:gd name="connsiteX119" fmla="*/ 9542 w 10000"/>
                <a:gd name="connsiteY119" fmla="*/ 4262 h 10000"/>
                <a:gd name="connsiteX120" fmla="*/ 9914 w 10000"/>
                <a:gd name="connsiteY120" fmla="*/ 3962 h 10000"/>
                <a:gd name="connsiteX121" fmla="*/ 10000 w 10000"/>
                <a:gd name="connsiteY121" fmla="*/ 3744 h 10000"/>
                <a:gd name="connsiteX122" fmla="*/ 9866 w 10000"/>
                <a:gd name="connsiteY122" fmla="*/ 3546 h 10000"/>
                <a:gd name="connsiteX123" fmla="*/ 9582 w 10000"/>
                <a:gd name="connsiteY123" fmla="*/ 3428 h 10000"/>
                <a:gd name="connsiteX124" fmla="*/ 9382 w 10000"/>
                <a:gd name="connsiteY124" fmla="*/ 3233 h 10000"/>
                <a:gd name="connsiteX125" fmla="*/ 9569 w 10000"/>
                <a:gd name="connsiteY125" fmla="*/ 3227 h 10000"/>
                <a:gd name="connsiteX126" fmla="*/ 9555 w 10000"/>
                <a:gd name="connsiteY126" fmla="*/ 3180 h 10000"/>
                <a:gd name="connsiteX127" fmla="*/ 9068 w 10000"/>
                <a:gd name="connsiteY127" fmla="*/ 3045 h 10000"/>
                <a:gd name="connsiteX128" fmla="*/ 9047 w 10000"/>
                <a:gd name="connsiteY128" fmla="*/ 2920 h 10000"/>
                <a:gd name="connsiteX129" fmla="*/ 8953 w 10000"/>
                <a:gd name="connsiteY129" fmla="*/ 2789 h 10000"/>
                <a:gd name="connsiteX130" fmla="*/ 8569 w 10000"/>
                <a:gd name="connsiteY130" fmla="*/ 2813 h 10000"/>
                <a:gd name="connsiteX131" fmla="*/ 8431 w 10000"/>
                <a:gd name="connsiteY131" fmla="*/ 2673 h 10000"/>
                <a:gd name="connsiteX132" fmla="*/ 8350 w 10000"/>
                <a:gd name="connsiteY132" fmla="*/ 2665 h 10000"/>
                <a:gd name="connsiteX133" fmla="*/ 8350 w 10000"/>
                <a:gd name="connsiteY133" fmla="*/ 2726 h 10000"/>
                <a:gd name="connsiteX134" fmla="*/ 8176 w 10000"/>
                <a:gd name="connsiteY134" fmla="*/ 2959 h 10000"/>
                <a:gd name="connsiteX135" fmla="*/ 7990 w 10000"/>
                <a:gd name="connsiteY135" fmla="*/ 3096 h 10000"/>
                <a:gd name="connsiteX136" fmla="*/ 7401 w 10000"/>
                <a:gd name="connsiteY136" fmla="*/ 3329 h 10000"/>
                <a:gd name="connsiteX137" fmla="*/ 7198 w 10000"/>
                <a:gd name="connsiteY137" fmla="*/ 3322 h 10000"/>
                <a:gd name="connsiteX138" fmla="*/ 6915 w 10000"/>
                <a:gd name="connsiteY138" fmla="*/ 3359 h 10000"/>
                <a:gd name="connsiteX139" fmla="*/ 6757 w 10000"/>
                <a:gd name="connsiteY139" fmla="*/ 3322 h 10000"/>
                <a:gd name="connsiteX140" fmla="*/ 6965 w 10000"/>
                <a:gd name="connsiteY140" fmla="*/ 3255 h 10000"/>
                <a:gd name="connsiteX141" fmla="*/ 7235 w 10000"/>
                <a:gd name="connsiteY141" fmla="*/ 3227 h 10000"/>
                <a:gd name="connsiteX142" fmla="*/ 7455 w 10000"/>
                <a:gd name="connsiteY142" fmla="*/ 3118 h 10000"/>
                <a:gd name="connsiteX143" fmla="*/ 7674 w 10000"/>
                <a:gd name="connsiteY143" fmla="*/ 3066 h 10000"/>
                <a:gd name="connsiteX144" fmla="*/ 8082 w 10000"/>
                <a:gd name="connsiteY144" fmla="*/ 2874 h 10000"/>
                <a:gd name="connsiteX145" fmla="*/ 8157 w 10000"/>
                <a:gd name="connsiteY145" fmla="*/ 2750 h 10000"/>
                <a:gd name="connsiteX146" fmla="*/ 8165 w 10000"/>
                <a:gd name="connsiteY146" fmla="*/ 2589 h 10000"/>
                <a:gd name="connsiteX147" fmla="*/ 7978 w 10000"/>
                <a:gd name="connsiteY147" fmla="*/ 2562 h 10000"/>
                <a:gd name="connsiteX148" fmla="*/ 8058 w 10000"/>
                <a:gd name="connsiteY148" fmla="*/ 2463 h 10000"/>
                <a:gd name="connsiteX149" fmla="*/ 8087 w 10000"/>
                <a:gd name="connsiteY149" fmla="*/ 2338 h 10000"/>
                <a:gd name="connsiteX150" fmla="*/ 8007 w 10000"/>
                <a:gd name="connsiteY150" fmla="*/ 2222 h 10000"/>
                <a:gd name="connsiteX151" fmla="*/ 7450 w 10000"/>
                <a:gd name="connsiteY151" fmla="*/ 2382 h 10000"/>
                <a:gd name="connsiteX152" fmla="*/ 6694 w 10000"/>
                <a:gd name="connsiteY152" fmla="*/ 2311 h 10000"/>
                <a:gd name="connsiteX153" fmla="*/ 6304 w 10000"/>
                <a:gd name="connsiteY153" fmla="*/ 1864 h 10000"/>
                <a:gd name="connsiteX154" fmla="*/ 5294 w 10000"/>
                <a:gd name="connsiteY154" fmla="*/ 1779 h 10000"/>
                <a:gd name="connsiteX155" fmla="*/ 4505 w 10000"/>
                <a:gd name="connsiteY155" fmla="*/ 1407 h 10000"/>
                <a:gd name="connsiteX156" fmla="*/ 3730 w 10000"/>
                <a:gd name="connsiteY156" fmla="*/ 962 h 10000"/>
                <a:gd name="connsiteX157" fmla="*/ 3154 w 10000"/>
                <a:gd name="connsiteY157" fmla="*/ 143 h 10000"/>
                <a:gd name="connsiteX158" fmla="*/ 2375 w 10000"/>
                <a:gd name="connsiteY158" fmla="*/ 0 h 10000"/>
                <a:gd name="connsiteX159" fmla="*/ 2226 w 10000"/>
                <a:gd name="connsiteY159" fmla="*/ 772 h 10000"/>
                <a:gd name="connsiteX160" fmla="*/ 2375 w 10000"/>
                <a:gd name="connsiteY160" fmla="*/ 967 h 10000"/>
                <a:gd name="connsiteX161" fmla="*/ 2791 w 10000"/>
                <a:gd name="connsiteY161" fmla="*/ 1185 h 10000"/>
                <a:gd name="connsiteX162" fmla="*/ 2808 w 10000"/>
                <a:gd name="connsiteY162" fmla="*/ 1446 h 10000"/>
                <a:gd name="connsiteX163" fmla="*/ 2632 w 10000"/>
                <a:gd name="connsiteY163" fmla="*/ 1665 h 10000"/>
                <a:gd name="connsiteX164" fmla="*/ 2375 w 10000"/>
                <a:gd name="connsiteY164" fmla="*/ 1798 h 10000"/>
                <a:gd name="connsiteX165" fmla="*/ 2039 w 10000"/>
                <a:gd name="connsiteY165" fmla="*/ 1851 h 10000"/>
                <a:gd name="connsiteX166" fmla="*/ 1950 w 10000"/>
                <a:gd name="connsiteY166" fmla="*/ 1929 h 10000"/>
                <a:gd name="connsiteX167" fmla="*/ 2148 w 10000"/>
                <a:gd name="connsiteY167" fmla="*/ 2110 h 10000"/>
                <a:gd name="connsiteX168" fmla="*/ 2261 w 10000"/>
                <a:gd name="connsiteY168" fmla="*/ 2541 h 10000"/>
                <a:gd name="connsiteX169" fmla="*/ 2005 w 10000"/>
                <a:gd name="connsiteY169" fmla="*/ 2910 h 10000"/>
                <a:gd name="connsiteX170" fmla="*/ 2094 w 10000"/>
                <a:gd name="connsiteY170" fmla="*/ 3022 h 10000"/>
                <a:gd name="connsiteX171" fmla="*/ 2012 w 10000"/>
                <a:gd name="connsiteY171" fmla="*/ 3214 h 10000"/>
                <a:gd name="connsiteX172" fmla="*/ 1850 w 10000"/>
                <a:gd name="connsiteY172" fmla="*/ 3349 h 10000"/>
                <a:gd name="connsiteX173" fmla="*/ 1199 w 10000"/>
                <a:gd name="connsiteY173" fmla="*/ 3450 h 10000"/>
                <a:gd name="connsiteX174" fmla="*/ 1158 w 10000"/>
                <a:gd name="connsiteY174" fmla="*/ 3629 h 10000"/>
                <a:gd name="connsiteX175" fmla="*/ 808 w 10000"/>
                <a:gd name="connsiteY175" fmla="*/ 3893 h 10000"/>
                <a:gd name="connsiteX176" fmla="*/ 854 w 10000"/>
                <a:gd name="connsiteY176" fmla="*/ 4276 h 10000"/>
                <a:gd name="connsiteX177" fmla="*/ 560 w 10000"/>
                <a:gd name="connsiteY177" fmla="*/ 4766 h 10000"/>
                <a:gd name="connsiteX178" fmla="*/ 358 w 10000"/>
                <a:gd name="connsiteY178" fmla="*/ 4822 h 10000"/>
                <a:gd name="connsiteX179" fmla="*/ 275 w 10000"/>
                <a:gd name="connsiteY179" fmla="*/ 4706 h 10000"/>
                <a:gd name="connsiteX180" fmla="*/ 174 w 10000"/>
                <a:gd name="connsiteY180" fmla="*/ 4882 h 10000"/>
                <a:gd name="connsiteX181" fmla="*/ 239 w 10000"/>
                <a:gd name="connsiteY181" fmla="*/ 4578 h 10000"/>
                <a:gd name="connsiteX182" fmla="*/ 197 w 10000"/>
                <a:gd name="connsiteY182" fmla="*/ 4521 h 10000"/>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3212 w 10000"/>
                <a:gd name="connsiteY47" fmla="*/ 9941 h 10000"/>
                <a:gd name="connsiteX48" fmla="*/ 3348 w 10000"/>
                <a:gd name="connsiteY48" fmla="*/ 9745 h 10000"/>
                <a:gd name="connsiteX49" fmla="*/ 3313 w 10000"/>
                <a:gd name="connsiteY49" fmla="*/ 9423 h 10000"/>
                <a:gd name="connsiteX50" fmla="*/ 3642 w 10000"/>
                <a:gd name="connsiteY50" fmla="*/ 9067 h 10000"/>
                <a:gd name="connsiteX51" fmla="*/ 6419 w 10000"/>
                <a:gd name="connsiteY51" fmla="*/ 8186 h 10000"/>
                <a:gd name="connsiteX52" fmla="*/ 6586 w 10000"/>
                <a:gd name="connsiteY52" fmla="*/ 7505 h 10000"/>
                <a:gd name="connsiteX53" fmla="*/ 6855 w 10000"/>
                <a:gd name="connsiteY53" fmla="*/ 7204 h 10000"/>
                <a:gd name="connsiteX54" fmla="*/ 6855 w 10000"/>
                <a:gd name="connsiteY54" fmla="*/ 7043 h 10000"/>
                <a:gd name="connsiteX55" fmla="*/ 6757 w 10000"/>
                <a:gd name="connsiteY55" fmla="*/ 6956 h 10000"/>
                <a:gd name="connsiteX56" fmla="*/ 6915 w 10000"/>
                <a:gd name="connsiteY56" fmla="*/ 6811 h 10000"/>
                <a:gd name="connsiteX57" fmla="*/ 6887 w 10000"/>
                <a:gd name="connsiteY57" fmla="*/ 6693 h 10000"/>
                <a:gd name="connsiteX58" fmla="*/ 6779 w 10000"/>
                <a:gd name="connsiteY58" fmla="*/ 6592 h 10000"/>
                <a:gd name="connsiteX59" fmla="*/ 6757 w 10000"/>
                <a:gd name="connsiteY59" fmla="*/ 6514 h 10000"/>
                <a:gd name="connsiteX60" fmla="*/ 6785 w 10000"/>
                <a:gd name="connsiteY60" fmla="*/ 6457 h 10000"/>
                <a:gd name="connsiteX61" fmla="*/ 6931 w 10000"/>
                <a:gd name="connsiteY61" fmla="*/ 6503 h 10000"/>
                <a:gd name="connsiteX62" fmla="*/ 7045 w 10000"/>
                <a:gd name="connsiteY62" fmla="*/ 6500 h 10000"/>
                <a:gd name="connsiteX63" fmla="*/ 6983 w 10000"/>
                <a:gd name="connsiteY63" fmla="*/ 6404 h 10000"/>
                <a:gd name="connsiteX64" fmla="*/ 7003 w 10000"/>
                <a:gd name="connsiteY64" fmla="*/ 6346 h 10000"/>
                <a:gd name="connsiteX65" fmla="*/ 7089 w 10000"/>
                <a:gd name="connsiteY65" fmla="*/ 6265 h 10000"/>
                <a:gd name="connsiteX66" fmla="*/ 7074 w 10000"/>
                <a:gd name="connsiteY66" fmla="*/ 6198 h 10000"/>
                <a:gd name="connsiteX67" fmla="*/ 7152 w 10000"/>
                <a:gd name="connsiteY67" fmla="*/ 5971 h 10000"/>
                <a:gd name="connsiteX68" fmla="*/ 7130 w 10000"/>
                <a:gd name="connsiteY68" fmla="*/ 5902 h 10000"/>
                <a:gd name="connsiteX69" fmla="*/ 6729 w 10000"/>
                <a:gd name="connsiteY69" fmla="*/ 5729 h 10000"/>
                <a:gd name="connsiteX70" fmla="*/ 6785 w 10000"/>
                <a:gd name="connsiteY70" fmla="*/ 5723 h 10000"/>
                <a:gd name="connsiteX71" fmla="*/ 6998 w 10000"/>
                <a:gd name="connsiteY71" fmla="*/ 5768 h 10000"/>
                <a:gd name="connsiteX72" fmla="*/ 7230 w 10000"/>
                <a:gd name="connsiteY72" fmla="*/ 5751 h 10000"/>
                <a:gd name="connsiteX73" fmla="*/ 7295 w 10000"/>
                <a:gd name="connsiteY73" fmla="*/ 5689 h 10000"/>
                <a:gd name="connsiteX74" fmla="*/ 7074 w 10000"/>
                <a:gd name="connsiteY74" fmla="*/ 5571 h 10000"/>
                <a:gd name="connsiteX75" fmla="*/ 6414 w 10000"/>
                <a:gd name="connsiteY75" fmla="*/ 5495 h 10000"/>
                <a:gd name="connsiteX76" fmla="*/ 6458 w 10000"/>
                <a:gd name="connsiteY76" fmla="*/ 5459 h 10000"/>
                <a:gd name="connsiteX77" fmla="*/ 6998 w 10000"/>
                <a:gd name="connsiteY77" fmla="*/ 5434 h 10000"/>
                <a:gd name="connsiteX78" fmla="*/ 7295 w 10000"/>
                <a:gd name="connsiteY78" fmla="*/ 5506 h 10000"/>
                <a:gd name="connsiteX79" fmla="*/ 7466 w 10000"/>
                <a:gd name="connsiteY79" fmla="*/ 5459 h 10000"/>
                <a:gd name="connsiteX80" fmla="*/ 7529 w 10000"/>
                <a:gd name="connsiteY80" fmla="*/ 5337 h 10000"/>
                <a:gd name="connsiteX81" fmla="*/ 7840 w 10000"/>
                <a:gd name="connsiteY81" fmla="*/ 5337 h 10000"/>
                <a:gd name="connsiteX82" fmla="*/ 8261 w 10000"/>
                <a:gd name="connsiteY82" fmla="*/ 5093 h 10000"/>
                <a:gd name="connsiteX83" fmla="*/ 8275 w 10000"/>
                <a:gd name="connsiteY83" fmla="*/ 4928 h 10000"/>
                <a:gd name="connsiteX84" fmla="*/ 8453 w 10000"/>
                <a:gd name="connsiteY84" fmla="*/ 4965 h 10000"/>
                <a:gd name="connsiteX85" fmla="*/ 8446 w 10000"/>
                <a:gd name="connsiteY85" fmla="*/ 5130 h 10000"/>
                <a:gd name="connsiteX86" fmla="*/ 8727 w 10000"/>
                <a:gd name="connsiteY86" fmla="*/ 5118 h 10000"/>
                <a:gd name="connsiteX87" fmla="*/ 8913 w 10000"/>
                <a:gd name="connsiteY87" fmla="*/ 4948 h 10000"/>
                <a:gd name="connsiteX88" fmla="*/ 9258 w 10000"/>
                <a:gd name="connsiteY88" fmla="*/ 4795 h 10000"/>
                <a:gd name="connsiteX89" fmla="*/ 9203 w 10000"/>
                <a:gd name="connsiteY89" fmla="*/ 4621 h 10000"/>
                <a:gd name="connsiteX90" fmla="*/ 9306 w 10000"/>
                <a:gd name="connsiteY90" fmla="*/ 4690 h 10000"/>
                <a:gd name="connsiteX91" fmla="*/ 9464 w 10000"/>
                <a:gd name="connsiteY91" fmla="*/ 4690 h 10000"/>
                <a:gd name="connsiteX92" fmla="*/ 9464 w 10000"/>
                <a:gd name="connsiteY92" fmla="*/ 4609 h 10000"/>
                <a:gd name="connsiteX93" fmla="*/ 9611 w 10000"/>
                <a:gd name="connsiteY93" fmla="*/ 4550 h 10000"/>
                <a:gd name="connsiteX94" fmla="*/ 9592 w 10000"/>
                <a:gd name="connsiteY94" fmla="*/ 4487 h 10000"/>
                <a:gd name="connsiteX95" fmla="*/ 8350 w 10000"/>
                <a:gd name="connsiteY95" fmla="*/ 4611 h 10000"/>
                <a:gd name="connsiteX96" fmla="*/ 8058 w 10000"/>
                <a:gd name="connsiteY96" fmla="*/ 4576 h 10000"/>
                <a:gd name="connsiteX97" fmla="*/ 7942 w 10000"/>
                <a:gd name="connsiteY97" fmla="*/ 4621 h 10000"/>
                <a:gd name="connsiteX98" fmla="*/ 7903 w 10000"/>
                <a:gd name="connsiteY98" fmla="*/ 4532 h 10000"/>
                <a:gd name="connsiteX99" fmla="*/ 7765 w 10000"/>
                <a:gd name="connsiteY99" fmla="*/ 4456 h 10000"/>
                <a:gd name="connsiteX100" fmla="*/ 7213 w 10000"/>
                <a:gd name="connsiteY100" fmla="*/ 4297 h 10000"/>
                <a:gd name="connsiteX101" fmla="*/ 6887 w 10000"/>
                <a:gd name="connsiteY101" fmla="*/ 4324 h 10000"/>
                <a:gd name="connsiteX102" fmla="*/ 6757 w 10000"/>
                <a:gd name="connsiteY102" fmla="*/ 4278 h 10000"/>
                <a:gd name="connsiteX103" fmla="*/ 6894 w 10000"/>
                <a:gd name="connsiteY103" fmla="*/ 4240 h 10000"/>
                <a:gd name="connsiteX104" fmla="*/ 6998 w 10000"/>
                <a:gd name="connsiteY104" fmla="*/ 4156 h 10000"/>
                <a:gd name="connsiteX105" fmla="*/ 7152 w 10000"/>
                <a:gd name="connsiteY105" fmla="*/ 4182 h 10000"/>
                <a:gd name="connsiteX106" fmla="*/ 7335 w 10000"/>
                <a:gd name="connsiteY106" fmla="*/ 4161 h 10000"/>
                <a:gd name="connsiteX107" fmla="*/ 7611 w 10000"/>
                <a:gd name="connsiteY107" fmla="*/ 4188 h 10000"/>
                <a:gd name="connsiteX108" fmla="*/ 7645 w 10000"/>
                <a:gd name="connsiteY108" fmla="*/ 4177 h 10000"/>
                <a:gd name="connsiteX109" fmla="*/ 7859 w 10000"/>
                <a:gd name="connsiteY109" fmla="*/ 4305 h 10000"/>
                <a:gd name="connsiteX110" fmla="*/ 8017 w 10000"/>
                <a:gd name="connsiteY110" fmla="*/ 4257 h 10000"/>
                <a:gd name="connsiteX111" fmla="*/ 8032 w 10000"/>
                <a:gd name="connsiteY111" fmla="*/ 4214 h 10000"/>
                <a:gd name="connsiteX112" fmla="*/ 8176 w 10000"/>
                <a:gd name="connsiteY112" fmla="*/ 4290 h 10000"/>
                <a:gd name="connsiteX113" fmla="*/ 8369 w 10000"/>
                <a:gd name="connsiteY113" fmla="*/ 4331 h 10000"/>
                <a:gd name="connsiteX114" fmla="*/ 8446 w 10000"/>
                <a:gd name="connsiteY114" fmla="*/ 4255 h 10000"/>
                <a:gd name="connsiteX115" fmla="*/ 8507 w 10000"/>
                <a:gd name="connsiteY115" fmla="*/ 4297 h 10000"/>
                <a:gd name="connsiteX116" fmla="*/ 8596 w 10000"/>
                <a:gd name="connsiteY116" fmla="*/ 4446 h 10000"/>
                <a:gd name="connsiteX117" fmla="*/ 8782 w 10000"/>
                <a:gd name="connsiteY117" fmla="*/ 4478 h 10000"/>
                <a:gd name="connsiteX118" fmla="*/ 9542 w 10000"/>
                <a:gd name="connsiteY118" fmla="*/ 4262 h 10000"/>
                <a:gd name="connsiteX119" fmla="*/ 9914 w 10000"/>
                <a:gd name="connsiteY119" fmla="*/ 3962 h 10000"/>
                <a:gd name="connsiteX120" fmla="*/ 10000 w 10000"/>
                <a:gd name="connsiteY120" fmla="*/ 3744 h 10000"/>
                <a:gd name="connsiteX121" fmla="*/ 9866 w 10000"/>
                <a:gd name="connsiteY121" fmla="*/ 3546 h 10000"/>
                <a:gd name="connsiteX122" fmla="*/ 9582 w 10000"/>
                <a:gd name="connsiteY122" fmla="*/ 3428 h 10000"/>
                <a:gd name="connsiteX123" fmla="*/ 9382 w 10000"/>
                <a:gd name="connsiteY123" fmla="*/ 3233 h 10000"/>
                <a:gd name="connsiteX124" fmla="*/ 9569 w 10000"/>
                <a:gd name="connsiteY124" fmla="*/ 3227 h 10000"/>
                <a:gd name="connsiteX125" fmla="*/ 9555 w 10000"/>
                <a:gd name="connsiteY125" fmla="*/ 3180 h 10000"/>
                <a:gd name="connsiteX126" fmla="*/ 9068 w 10000"/>
                <a:gd name="connsiteY126" fmla="*/ 3045 h 10000"/>
                <a:gd name="connsiteX127" fmla="*/ 9047 w 10000"/>
                <a:gd name="connsiteY127" fmla="*/ 2920 h 10000"/>
                <a:gd name="connsiteX128" fmla="*/ 8953 w 10000"/>
                <a:gd name="connsiteY128" fmla="*/ 2789 h 10000"/>
                <a:gd name="connsiteX129" fmla="*/ 8569 w 10000"/>
                <a:gd name="connsiteY129" fmla="*/ 2813 h 10000"/>
                <a:gd name="connsiteX130" fmla="*/ 8431 w 10000"/>
                <a:gd name="connsiteY130" fmla="*/ 2673 h 10000"/>
                <a:gd name="connsiteX131" fmla="*/ 8350 w 10000"/>
                <a:gd name="connsiteY131" fmla="*/ 2665 h 10000"/>
                <a:gd name="connsiteX132" fmla="*/ 8350 w 10000"/>
                <a:gd name="connsiteY132" fmla="*/ 2726 h 10000"/>
                <a:gd name="connsiteX133" fmla="*/ 8176 w 10000"/>
                <a:gd name="connsiteY133" fmla="*/ 2959 h 10000"/>
                <a:gd name="connsiteX134" fmla="*/ 7990 w 10000"/>
                <a:gd name="connsiteY134" fmla="*/ 3096 h 10000"/>
                <a:gd name="connsiteX135" fmla="*/ 7401 w 10000"/>
                <a:gd name="connsiteY135" fmla="*/ 3329 h 10000"/>
                <a:gd name="connsiteX136" fmla="*/ 7198 w 10000"/>
                <a:gd name="connsiteY136" fmla="*/ 3322 h 10000"/>
                <a:gd name="connsiteX137" fmla="*/ 6915 w 10000"/>
                <a:gd name="connsiteY137" fmla="*/ 3359 h 10000"/>
                <a:gd name="connsiteX138" fmla="*/ 6757 w 10000"/>
                <a:gd name="connsiteY138" fmla="*/ 3322 h 10000"/>
                <a:gd name="connsiteX139" fmla="*/ 6965 w 10000"/>
                <a:gd name="connsiteY139" fmla="*/ 3255 h 10000"/>
                <a:gd name="connsiteX140" fmla="*/ 7235 w 10000"/>
                <a:gd name="connsiteY140" fmla="*/ 3227 h 10000"/>
                <a:gd name="connsiteX141" fmla="*/ 7455 w 10000"/>
                <a:gd name="connsiteY141" fmla="*/ 3118 h 10000"/>
                <a:gd name="connsiteX142" fmla="*/ 7674 w 10000"/>
                <a:gd name="connsiteY142" fmla="*/ 3066 h 10000"/>
                <a:gd name="connsiteX143" fmla="*/ 8082 w 10000"/>
                <a:gd name="connsiteY143" fmla="*/ 2874 h 10000"/>
                <a:gd name="connsiteX144" fmla="*/ 8157 w 10000"/>
                <a:gd name="connsiteY144" fmla="*/ 2750 h 10000"/>
                <a:gd name="connsiteX145" fmla="*/ 8165 w 10000"/>
                <a:gd name="connsiteY145" fmla="*/ 2589 h 10000"/>
                <a:gd name="connsiteX146" fmla="*/ 7978 w 10000"/>
                <a:gd name="connsiteY146" fmla="*/ 2562 h 10000"/>
                <a:gd name="connsiteX147" fmla="*/ 8058 w 10000"/>
                <a:gd name="connsiteY147" fmla="*/ 2463 h 10000"/>
                <a:gd name="connsiteX148" fmla="*/ 8087 w 10000"/>
                <a:gd name="connsiteY148" fmla="*/ 2338 h 10000"/>
                <a:gd name="connsiteX149" fmla="*/ 8007 w 10000"/>
                <a:gd name="connsiteY149" fmla="*/ 2222 h 10000"/>
                <a:gd name="connsiteX150" fmla="*/ 7450 w 10000"/>
                <a:gd name="connsiteY150" fmla="*/ 2382 h 10000"/>
                <a:gd name="connsiteX151" fmla="*/ 6694 w 10000"/>
                <a:gd name="connsiteY151" fmla="*/ 2311 h 10000"/>
                <a:gd name="connsiteX152" fmla="*/ 6304 w 10000"/>
                <a:gd name="connsiteY152" fmla="*/ 1864 h 10000"/>
                <a:gd name="connsiteX153" fmla="*/ 5294 w 10000"/>
                <a:gd name="connsiteY153" fmla="*/ 1779 h 10000"/>
                <a:gd name="connsiteX154" fmla="*/ 4505 w 10000"/>
                <a:gd name="connsiteY154" fmla="*/ 1407 h 10000"/>
                <a:gd name="connsiteX155" fmla="*/ 3730 w 10000"/>
                <a:gd name="connsiteY155" fmla="*/ 962 h 10000"/>
                <a:gd name="connsiteX156" fmla="*/ 3154 w 10000"/>
                <a:gd name="connsiteY156" fmla="*/ 143 h 10000"/>
                <a:gd name="connsiteX157" fmla="*/ 2375 w 10000"/>
                <a:gd name="connsiteY157" fmla="*/ 0 h 10000"/>
                <a:gd name="connsiteX158" fmla="*/ 2226 w 10000"/>
                <a:gd name="connsiteY158" fmla="*/ 772 h 10000"/>
                <a:gd name="connsiteX159" fmla="*/ 2375 w 10000"/>
                <a:gd name="connsiteY159" fmla="*/ 967 h 10000"/>
                <a:gd name="connsiteX160" fmla="*/ 2791 w 10000"/>
                <a:gd name="connsiteY160" fmla="*/ 1185 h 10000"/>
                <a:gd name="connsiteX161" fmla="*/ 2808 w 10000"/>
                <a:gd name="connsiteY161" fmla="*/ 1446 h 10000"/>
                <a:gd name="connsiteX162" fmla="*/ 2632 w 10000"/>
                <a:gd name="connsiteY162" fmla="*/ 1665 h 10000"/>
                <a:gd name="connsiteX163" fmla="*/ 2375 w 10000"/>
                <a:gd name="connsiteY163" fmla="*/ 1798 h 10000"/>
                <a:gd name="connsiteX164" fmla="*/ 2039 w 10000"/>
                <a:gd name="connsiteY164" fmla="*/ 1851 h 10000"/>
                <a:gd name="connsiteX165" fmla="*/ 1950 w 10000"/>
                <a:gd name="connsiteY165" fmla="*/ 1929 h 10000"/>
                <a:gd name="connsiteX166" fmla="*/ 2148 w 10000"/>
                <a:gd name="connsiteY166" fmla="*/ 2110 h 10000"/>
                <a:gd name="connsiteX167" fmla="*/ 2261 w 10000"/>
                <a:gd name="connsiteY167" fmla="*/ 2541 h 10000"/>
                <a:gd name="connsiteX168" fmla="*/ 2005 w 10000"/>
                <a:gd name="connsiteY168" fmla="*/ 2910 h 10000"/>
                <a:gd name="connsiteX169" fmla="*/ 2094 w 10000"/>
                <a:gd name="connsiteY169" fmla="*/ 3022 h 10000"/>
                <a:gd name="connsiteX170" fmla="*/ 2012 w 10000"/>
                <a:gd name="connsiteY170" fmla="*/ 3214 h 10000"/>
                <a:gd name="connsiteX171" fmla="*/ 1850 w 10000"/>
                <a:gd name="connsiteY171" fmla="*/ 3349 h 10000"/>
                <a:gd name="connsiteX172" fmla="*/ 1199 w 10000"/>
                <a:gd name="connsiteY172" fmla="*/ 3450 h 10000"/>
                <a:gd name="connsiteX173" fmla="*/ 1158 w 10000"/>
                <a:gd name="connsiteY173" fmla="*/ 3629 h 10000"/>
                <a:gd name="connsiteX174" fmla="*/ 808 w 10000"/>
                <a:gd name="connsiteY174" fmla="*/ 3893 h 10000"/>
                <a:gd name="connsiteX175" fmla="*/ 854 w 10000"/>
                <a:gd name="connsiteY175" fmla="*/ 4276 h 10000"/>
                <a:gd name="connsiteX176" fmla="*/ 560 w 10000"/>
                <a:gd name="connsiteY176" fmla="*/ 4766 h 10000"/>
                <a:gd name="connsiteX177" fmla="*/ 358 w 10000"/>
                <a:gd name="connsiteY177" fmla="*/ 4822 h 10000"/>
                <a:gd name="connsiteX178" fmla="*/ 275 w 10000"/>
                <a:gd name="connsiteY178" fmla="*/ 4706 h 10000"/>
                <a:gd name="connsiteX179" fmla="*/ 174 w 10000"/>
                <a:gd name="connsiteY179" fmla="*/ 4882 h 10000"/>
                <a:gd name="connsiteX180" fmla="*/ 239 w 10000"/>
                <a:gd name="connsiteY180" fmla="*/ 4578 h 10000"/>
                <a:gd name="connsiteX181" fmla="*/ 197 w 10000"/>
                <a:gd name="connsiteY181" fmla="*/ 4521 h 10000"/>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3212 w 10000"/>
                <a:gd name="connsiteY47" fmla="*/ 9941 h 10000"/>
                <a:gd name="connsiteX48" fmla="*/ 3348 w 10000"/>
                <a:gd name="connsiteY48" fmla="*/ 9745 h 10000"/>
                <a:gd name="connsiteX49" fmla="*/ 3313 w 10000"/>
                <a:gd name="connsiteY49" fmla="*/ 9423 h 10000"/>
                <a:gd name="connsiteX50" fmla="*/ 6419 w 10000"/>
                <a:gd name="connsiteY50" fmla="*/ 8186 h 10000"/>
                <a:gd name="connsiteX51" fmla="*/ 6586 w 10000"/>
                <a:gd name="connsiteY51" fmla="*/ 7505 h 10000"/>
                <a:gd name="connsiteX52" fmla="*/ 6855 w 10000"/>
                <a:gd name="connsiteY52" fmla="*/ 7204 h 10000"/>
                <a:gd name="connsiteX53" fmla="*/ 6855 w 10000"/>
                <a:gd name="connsiteY53" fmla="*/ 7043 h 10000"/>
                <a:gd name="connsiteX54" fmla="*/ 6757 w 10000"/>
                <a:gd name="connsiteY54" fmla="*/ 6956 h 10000"/>
                <a:gd name="connsiteX55" fmla="*/ 6915 w 10000"/>
                <a:gd name="connsiteY55" fmla="*/ 6811 h 10000"/>
                <a:gd name="connsiteX56" fmla="*/ 6887 w 10000"/>
                <a:gd name="connsiteY56" fmla="*/ 6693 h 10000"/>
                <a:gd name="connsiteX57" fmla="*/ 6779 w 10000"/>
                <a:gd name="connsiteY57" fmla="*/ 6592 h 10000"/>
                <a:gd name="connsiteX58" fmla="*/ 6757 w 10000"/>
                <a:gd name="connsiteY58" fmla="*/ 6514 h 10000"/>
                <a:gd name="connsiteX59" fmla="*/ 6785 w 10000"/>
                <a:gd name="connsiteY59" fmla="*/ 6457 h 10000"/>
                <a:gd name="connsiteX60" fmla="*/ 6931 w 10000"/>
                <a:gd name="connsiteY60" fmla="*/ 6503 h 10000"/>
                <a:gd name="connsiteX61" fmla="*/ 7045 w 10000"/>
                <a:gd name="connsiteY61" fmla="*/ 6500 h 10000"/>
                <a:gd name="connsiteX62" fmla="*/ 6983 w 10000"/>
                <a:gd name="connsiteY62" fmla="*/ 6404 h 10000"/>
                <a:gd name="connsiteX63" fmla="*/ 7003 w 10000"/>
                <a:gd name="connsiteY63" fmla="*/ 6346 h 10000"/>
                <a:gd name="connsiteX64" fmla="*/ 7089 w 10000"/>
                <a:gd name="connsiteY64" fmla="*/ 6265 h 10000"/>
                <a:gd name="connsiteX65" fmla="*/ 7074 w 10000"/>
                <a:gd name="connsiteY65" fmla="*/ 6198 h 10000"/>
                <a:gd name="connsiteX66" fmla="*/ 7152 w 10000"/>
                <a:gd name="connsiteY66" fmla="*/ 5971 h 10000"/>
                <a:gd name="connsiteX67" fmla="*/ 7130 w 10000"/>
                <a:gd name="connsiteY67" fmla="*/ 5902 h 10000"/>
                <a:gd name="connsiteX68" fmla="*/ 6729 w 10000"/>
                <a:gd name="connsiteY68" fmla="*/ 5729 h 10000"/>
                <a:gd name="connsiteX69" fmla="*/ 6785 w 10000"/>
                <a:gd name="connsiteY69" fmla="*/ 5723 h 10000"/>
                <a:gd name="connsiteX70" fmla="*/ 6998 w 10000"/>
                <a:gd name="connsiteY70" fmla="*/ 5768 h 10000"/>
                <a:gd name="connsiteX71" fmla="*/ 7230 w 10000"/>
                <a:gd name="connsiteY71" fmla="*/ 5751 h 10000"/>
                <a:gd name="connsiteX72" fmla="*/ 7295 w 10000"/>
                <a:gd name="connsiteY72" fmla="*/ 5689 h 10000"/>
                <a:gd name="connsiteX73" fmla="*/ 7074 w 10000"/>
                <a:gd name="connsiteY73" fmla="*/ 5571 h 10000"/>
                <a:gd name="connsiteX74" fmla="*/ 6414 w 10000"/>
                <a:gd name="connsiteY74" fmla="*/ 5495 h 10000"/>
                <a:gd name="connsiteX75" fmla="*/ 6458 w 10000"/>
                <a:gd name="connsiteY75" fmla="*/ 5459 h 10000"/>
                <a:gd name="connsiteX76" fmla="*/ 6998 w 10000"/>
                <a:gd name="connsiteY76" fmla="*/ 5434 h 10000"/>
                <a:gd name="connsiteX77" fmla="*/ 7295 w 10000"/>
                <a:gd name="connsiteY77" fmla="*/ 5506 h 10000"/>
                <a:gd name="connsiteX78" fmla="*/ 7466 w 10000"/>
                <a:gd name="connsiteY78" fmla="*/ 5459 h 10000"/>
                <a:gd name="connsiteX79" fmla="*/ 7529 w 10000"/>
                <a:gd name="connsiteY79" fmla="*/ 5337 h 10000"/>
                <a:gd name="connsiteX80" fmla="*/ 7840 w 10000"/>
                <a:gd name="connsiteY80" fmla="*/ 5337 h 10000"/>
                <a:gd name="connsiteX81" fmla="*/ 8261 w 10000"/>
                <a:gd name="connsiteY81" fmla="*/ 5093 h 10000"/>
                <a:gd name="connsiteX82" fmla="*/ 8275 w 10000"/>
                <a:gd name="connsiteY82" fmla="*/ 4928 h 10000"/>
                <a:gd name="connsiteX83" fmla="*/ 8453 w 10000"/>
                <a:gd name="connsiteY83" fmla="*/ 4965 h 10000"/>
                <a:gd name="connsiteX84" fmla="*/ 8446 w 10000"/>
                <a:gd name="connsiteY84" fmla="*/ 5130 h 10000"/>
                <a:gd name="connsiteX85" fmla="*/ 8727 w 10000"/>
                <a:gd name="connsiteY85" fmla="*/ 5118 h 10000"/>
                <a:gd name="connsiteX86" fmla="*/ 8913 w 10000"/>
                <a:gd name="connsiteY86" fmla="*/ 4948 h 10000"/>
                <a:gd name="connsiteX87" fmla="*/ 9258 w 10000"/>
                <a:gd name="connsiteY87" fmla="*/ 4795 h 10000"/>
                <a:gd name="connsiteX88" fmla="*/ 9203 w 10000"/>
                <a:gd name="connsiteY88" fmla="*/ 4621 h 10000"/>
                <a:gd name="connsiteX89" fmla="*/ 9306 w 10000"/>
                <a:gd name="connsiteY89" fmla="*/ 4690 h 10000"/>
                <a:gd name="connsiteX90" fmla="*/ 9464 w 10000"/>
                <a:gd name="connsiteY90" fmla="*/ 4690 h 10000"/>
                <a:gd name="connsiteX91" fmla="*/ 9464 w 10000"/>
                <a:gd name="connsiteY91" fmla="*/ 4609 h 10000"/>
                <a:gd name="connsiteX92" fmla="*/ 9611 w 10000"/>
                <a:gd name="connsiteY92" fmla="*/ 4550 h 10000"/>
                <a:gd name="connsiteX93" fmla="*/ 9592 w 10000"/>
                <a:gd name="connsiteY93" fmla="*/ 4487 h 10000"/>
                <a:gd name="connsiteX94" fmla="*/ 8350 w 10000"/>
                <a:gd name="connsiteY94" fmla="*/ 4611 h 10000"/>
                <a:gd name="connsiteX95" fmla="*/ 8058 w 10000"/>
                <a:gd name="connsiteY95" fmla="*/ 4576 h 10000"/>
                <a:gd name="connsiteX96" fmla="*/ 7942 w 10000"/>
                <a:gd name="connsiteY96" fmla="*/ 4621 h 10000"/>
                <a:gd name="connsiteX97" fmla="*/ 7903 w 10000"/>
                <a:gd name="connsiteY97" fmla="*/ 4532 h 10000"/>
                <a:gd name="connsiteX98" fmla="*/ 7765 w 10000"/>
                <a:gd name="connsiteY98" fmla="*/ 4456 h 10000"/>
                <a:gd name="connsiteX99" fmla="*/ 7213 w 10000"/>
                <a:gd name="connsiteY99" fmla="*/ 4297 h 10000"/>
                <a:gd name="connsiteX100" fmla="*/ 6887 w 10000"/>
                <a:gd name="connsiteY100" fmla="*/ 4324 h 10000"/>
                <a:gd name="connsiteX101" fmla="*/ 6757 w 10000"/>
                <a:gd name="connsiteY101" fmla="*/ 4278 h 10000"/>
                <a:gd name="connsiteX102" fmla="*/ 6894 w 10000"/>
                <a:gd name="connsiteY102" fmla="*/ 4240 h 10000"/>
                <a:gd name="connsiteX103" fmla="*/ 6998 w 10000"/>
                <a:gd name="connsiteY103" fmla="*/ 4156 h 10000"/>
                <a:gd name="connsiteX104" fmla="*/ 7152 w 10000"/>
                <a:gd name="connsiteY104" fmla="*/ 4182 h 10000"/>
                <a:gd name="connsiteX105" fmla="*/ 7335 w 10000"/>
                <a:gd name="connsiteY105" fmla="*/ 4161 h 10000"/>
                <a:gd name="connsiteX106" fmla="*/ 7611 w 10000"/>
                <a:gd name="connsiteY106" fmla="*/ 4188 h 10000"/>
                <a:gd name="connsiteX107" fmla="*/ 7645 w 10000"/>
                <a:gd name="connsiteY107" fmla="*/ 4177 h 10000"/>
                <a:gd name="connsiteX108" fmla="*/ 7859 w 10000"/>
                <a:gd name="connsiteY108" fmla="*/ 4305 h 10000"/>
                <a:gd name="connsiteX109" fmla="*/ 8017 w 10000"/>
                <a:gd name="connsiteY109" fmla="*/ 4257 h 10000"/>
                <a:gd name="connsiteX110" fmla="*/ 8032 w 10000"/>
                <a:gd name="connsiteY110" fmla="*/ 4214 h 10000"/>
                <a:gd name="connsiteX111" fmla="*/ 8176 w 10000"/>
                <a:gd name="connsiteY111" fmla="*/ 4290 h 10000"/>
                <a:gd name="connsiteX112" fmla="*/ 8369 w 10000"/>
                <a:gd name="connsiteY112" fmla="*/ 4331 h 10000"/>
                <a:gd name="connsiteX113" fmla="*/ 8446 w 10000"/>
                <a:gd name="connsiteY113" fmla="*/ 4255 h 10000"/>
                <a:gd name="connsiteX114" fmla="*/ 8507 w 10000"/>
                <a:gd name="connsiteY114" fmla="*/ 4297 h 10000"/>
                <a:gd name="connsiteX115" fmla="*/ 8596 w 10000"/>
                <a:gd name="connsiteY115" fmla="*/ 4446 h 10000"/>
                <a:gd name="connsiteX116" fmla="*/ 8782 w 10000"/>
                <a:gd name="connsiteY116" fmla="*/ 4478 h 10000"/>
                <a:gd name="connsiteX117" fmla="*/ 9542 w 10000"/>
                <a:gd name="connsiteY117" fmla="*/ 4262 h 10000"/>
                <a:gd name="connsiteX118" fmla="*/ 9914 w 10000"/>
                <a:gd name="connsiteY118" fmla="*/ 3962 h 10000"/>
                <a:gd name="connsiteX119" fmla="*/ 10000 w 10000"/>
                <a:gd name="connsiteY119" fmla="*/ 3744 h 10000"/>
                <a:gd name="connsiteX120" fmla="*/ 9866 w 10000"/>
                <a:gd name="connsiteY120" fmla="*/ 3546 h 10000"/>
                <a:gd name="connsiteX121" fmla="*/ 9582 w 10000"/>
                <a:gd name="connsiteY121" fmla="*/ 3428 h 10000"/>
                <a:gd name="connsiteX122" fmla="*/ 9382 w 10000"/>
                <a:gd name="connsiteY122" fmla="*/ 3233 h 10000"/>
                <a:gd name="connsiteX123" fmla="*/ 9569 w 10000"/>
                <a:gd name="connsiteY123" fmla="*/ 3227 h 10000"/>
                <a:gd name="connsiteX124" fmla="*/ 9555 w 10000"/>
                <a:gd name="connsiteY124" fmla="*/ 3180 h 10000"/>
                <a:gd name="connsiteX125" fmla="*/ 9068 w 10000"/>
                <a:gd name="connsiteY125" fmla="*/ 3045 h 10000"/>
                <a:gd name="connsiteX126" fmla="*/ 9047 w 10000"/>
                <a:gd name="connsiteY126" fmla="*/ 2920 h 10000"/>
                <a:gd name="connsiteX127" fmla="*/ 8953 w 10000"/>
                <a:gd name="connsiteY127" fmla="*/ 2789 h 10000"/>
                <a:gd name="connsiteX128" fmla="*/ 8569 w 10000"/>
                <a:gd name="connsiteY128" fmla="*/ 2813 h 10000"/>
                <a:gd name="connsiteX129" fmla="*/ 8431 w 10000"/>
                <a:gd name="connsiteY129" fmla="*/ 2673 h 10000"/>
                <a:gd name="connsiteX130" fmla="*/ 8350 w 10000"/>
                <a:gd name="connsiteY130" fmla="*/ 2665 h 10000"/>
                <a:gd name="connsiteX131" fmla="*/ 8350 w 10000"/>
                <a:gd name="connsiteY131" fmla="*/ 2726 h 10000"/>
                <a:gd name="connsiteX132" fmla="*/ 8176 w 10000"/>
                <a:gd name="connsiteY132" fmla="*/ 2959 h 10000"/>
                <a:gd name="connsiteX133" fmla="*/ 7990 w 10000"/>
                <a:gd name="connsiteY133" fmla="*/ 3096 h 10000"/>
                <a:gd name="connsiteX134" fmla="*/ 7401 w 10000"/>
                <a:gd name="connsiteY134" fmla="*/ 3329 h 10000"/>
                <a:gd name="connsiteX135" fmla="*/ 7198 w 10000"/>
                <a:gd name="connsiteY135" fmla="*/ 3322 h 10000"/>
                <a:gd name="connsiteX136" fmla="*/ 6915 w 10000"/>
                <a:gd name="connsiteY136" fmla="*/ 3359 h 10000"/>
                <a:gd name="connsiteX137" fmla="*/ 6757 w 10000"/>
                <a:gd name="connsiteY137" fmla="*/ 3322 h 10000"/>
                <a:gd name="connsiteX138" fmla="*/ 6965 w 10000"/>
                <a:gd name="connsiteY138" fmla="*/ 3255 h 10000"/>
                <a:gd name="connsiteX139" fmla="*/ 7235 w 10000"/>
                <a:gd name="connsiteY139" fmla="*/ 3227 h 10000"/>
                <a:gd name="connsiteX140" fmla="*/ 7455 w 10000"/>
                <a:gd name="connsiteY140" fmla="*/ 3118 h 10000"/>
                <a:gd name="connsiteX141" fmla="*/ 7674 w 10000"/>
                <a:gd name="connsiteY141" fmla="*/ 3066 h 10000"/>
                <a:gd name="connsiteX142" fmla="*/ 8082 w 10000"/>
                <a:gd name="connsiteY142" fmla="*/ 2874 h 10000"/>
                <a:gd name="connsiteX143" fmla="*/ 8157 w 10000"/>
                <a:gd name="connsiteY143" fmla="*/ 2750 h 10000"/>
                <a:gd name="connsiteX144" fmla="*/ 8165 w 10000"/>
                <a:gd name="connsiteY144" fmla="*/ 2589 h 10000"/>
                <a:gd name="connsiteX145" fmla="*/ 7978 w 10000"/>
                <a:gd name="connsiteY145" fmla="*/ 2562 h 10000"/>
                <a:gd name="connsiteX146" fmla="*/ 8058 w 10000"/>
                <a:gd name="connsiteY146" fmla="*/ 2463 h 10000"/>
                <a:gd name="connsiteX147" fmla="*/ 8087 w 10000"/>
                <a:gd name="connsiteY147" fmla="*/ 2338 h 10000"/>
                <a:gd name="connsiteX148" fmla="*/ 8007 w 10000"/>
                <a:gd name="connsiteY148" fmla="*/ 2222 h 10000"/>
                <a:gd name="connsiteX149" fmla="*/ 7450 w 10000"/>
                <a:gd name="connsiteY149" fmla="*/ 2382 h 10000"/>
                <a:gd name="connsiteX150" fmla="*/ 6694 w 10000"/>
                <a:gd name="connsiteY150" fmla="*/ 2311 h 10000"/>
                <a:gd name="connsiteX151" fmla="*/ 6304 w 10000"/>
                <a:gd name="connsiteY151" fmla="*/ 1864 h 10000"/>
                <a:gd name="connsiteX152" fmla="*/ 5294 w 10000"/>
                <a:gd name="connsiteY152" fmla="*/ 1779 h 10000"/>
                <a:gd name="connsiteX153" fmla="*/ 4505 w 10000"/>
                <a:gd name="connsiteY153" fmla="*/ 1407 h 10000"/>
                <a:gd name="connsiteX154" fmla="*/ 3730 w 10000"/>
                <a:gd name="connsiteY154" fmla="*/ 962 h 10000"/>
                <a:gd name="connsiteX155" fmla="*/ 3154 w 10000"/>
                <a:gd name="connsiteY155" fmla="*/ 143 h 10000"/>
                <a:gd name="connsiteX156" fmla="*/ 2375 w 10000"/>
                <a:gd name="connsiteY156" fmla="*/ 0 h 10000"/>
                <a:gd name="connsiteX157" fmla="*/ 2226 w 10000"/>
                <a:gd name="connsiteY157" fmla="*/ 772 h 10000"/>
                <a:gd name="connsiteX158" fmla="*/ 2375 w 10000"/>
                <a:gd name="connsiteY158" fmla="*/ 967 h 10000"/>
                <a:gd name="connsiteX159" fmla="*/ 2791 w 10000"/>
                <a:gd name="connsiteY159" fmla="*/ 1185 h 10000"/>
                <a:gd name="connsiteX160" fmla="*/ 2808 w 10000"/>
                <a:gd name="connsiteY160" fmla="*/ 1446 h 10000"/>
                <a:gd name="connsiteX161" fmla="*/ 2632 w 10000"/>
                <a:gd name="connsiteY161" fmla="*/ 1665 h 10000"/>
                <a:gd name="connsiteX162" fmla="*/ 2375 w 10000"/>
                <a:gd name="connsiteY162" fmla="*/ 1798 h 10000"/>
                <a:gd name="connsiteX163" fmla="*/ 2039 w 10000"/>
                <a:gd name="connsiteY163" fmla="*/ 1851 h 10000"/>
                <a:gd name="connsiteX164" fmla="*/ 1950 w 10000"/>
                <a:gd name="connsiteY164" fmla="*/ 1929 h 10000"/>
                <a:gd name="connsiteX165" fmla="*/ 2148 w 10000"/>
                <a:gd name="connsiteY165" fmla="*/ 2110 h 10000"/>
                <a:gd name="connsiteX166" fmla="*/ 2261 w 10000"/>
                <a:gd name="connsiteY166" fmla="*/ 2541 h 10000"/>
                <a:gd name="connsiteX167" fmla="*/ 2005 w 10000"/>
                <a:gd name="connsiteY167" fmla="*/ 2910 h 10000"/>
                <a:gd name="connsiteX168" fmla="*/ 2094 w 10000"/>
                <a:gd name="connsiteY168" fmla="*/ 3022 h 10000"/>
                <a:gd name="connsiteX169" fmla="*/ 2012 w 10000"/>
                <a:gd name="connsiteY169" fmla="*/ 3214 h 10000"/>
                <a:gd name="connsiteX170" fmla="*/ 1850 w 10000"/>
                <a:gd name="connsiteY170" fmla="*/ 3349 h 10000"/>
                <a:gd name="connsiteX171" fmla="*/ 1199 w 10000"/>
                <a:gd name="connsiteY171" fmla="*/ 3450 h 10000"/>
                <a:gd name="connsiteX172" fmla="*/ 1158 w 10000"/>
                <a:gd name="connsiteY172" fmla="*/ 3629 h 10000"/>
                <a:gd name="connsiteX173" fmla="*/ 808 w 10000"/>
                <a:gd name="connsiteY173" fmla="*/ 3893 h 10000"/>
                <a:gd name="connsiteX174" fmla="*/ 854 w 10000"/>
                <a:gd name="connsiteY174" fmla="*/ 4276 h 10000"/>
                <a:gd name="connsiteX175" fmla="*/ 560 w 10000"/>
                <a:gd name="connsiteY175" fmla="*/ 4766 h 10000"/>
                <a:gd name="connsiteX176" fmla="*/ 358 w 10000"/>
                <a:gd name="connsiteY176" fmla="*/ 4822 h 10000"/>
                <a:gd name="connsiteX177" fmla="*/ 275 w 10000"/>
                <a:gd name="connsiteY177" fmla="*/ 4706 h 10000"/>
                <a:gd name="connsiteX178" fmla="*/ 174 w 10000"/>
                <a:gd name="connsiteY178" fmla="*/ 4882 h 10000"/>
                <a:gd name="connsiteX179" fmla="*/ 239 w 10000"/>
                <a:gd name="connsiteY179" fmla="*/ 4578 h 10000"/>
                <a:gd name="connsiteX180" fmla="*/ 197 w 10000"/>
                <a:gd name="connsiteY180" fmla="*/ 4521 h 10000"/>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3212 w 10000"/>
                <a:gd name="connsiteY47" fmla="*/ 9941 h 10000"/>
                <a:gd name="connsiteX48" fmla="*/ 3348 w 10000"/>
                <a:gd name="connsiteY48" fmla="*/ 9745 h 10000"/>
                <a:gd name="connsiteX49" fmla="*/ 6419 w 10000"/>
                <a:gd name="connsiteY49" fmla="*/ 8186 h 10000"/>
                <a:gd name="connsiteX50" fmla="*/ 6586 w 10000"/>
                <a:gd name="connsiteY50" fmla="*/ 7505 h 10000"/>
                <a:gd name="connsiteX51" fmla="*/ 6855 w 10000"/>
                <a:gd name="connsiteY51" fmla="*/ 7204 h 10000"/>
                <a:gd name="connsiteX52" fmla="*/ 6855 w 10000"/>
                <a:gd name="connsiteY52" fmla="*/ 7043 h 10000"/>
                <a:gd name="connsiteX53" fmla="*/ 6757 w 10000"/>
                <a:gd name="connsiteY53" fmla="*/ 6956 h 10000"/>
                <a:gd name="connsiteX54" fmla="*/ 6915 w 10000"/>
                <a:gd name="connsiteY54" fmla="*/ 6811 h 10000"/>
                <a:gd name="connsiteX55" fmla="*/ 6887 w 10000"/>
                <a:gd name="connsiteY55" fmla="*/ 6693 h 10000"/>
                <a:gd name="connsiteX56" fmla="*/ 6779 w 10000"/>
                <a:gd name="connsiteY56" fmla="*/ 6592 h 10000"/>
                <a:gd name="connsiteX57" fmla="*/ 6757 w 10000"/>
                <a:gd name="connsiteY57" fmla="*/ 6514 h 10000"/>
                <a:gd name="connsiteX58" fmla="*/ 6785 w 10000"/>
                <a:gd name="connsiteY58" fmla="*/ 6457 h 10000"/>
                <a:gd name="connsiteX59" fmla="*/ 6931 w 10000"/>
                <a:gd name="connsiteY59" fmla="*/ 6503 h 10000"/>
                <a:gd name="connsiteX60" fmla="*/ 7045 w 10000"/>
                <a:gd name="connsiteY60" fmla="*/ 6500 h 10000"/>
                <a:gd name="connsiteX61" fmla="*/ 6983 w 10000"/>
                <a:gd name="connsiteY61" fmla="*/ 6404 h 10000"/>
                <a:gd name="connsiteX62" fmla="*/ 7003 w 10000"/>
                <a:gd name="connsiteY62" fmla="*/ 6346 h 10000"/>
                <a:gd name="connsiteX63" fmla="*/ 7089 w 10000"/>
                <a:gd name="connsiteY63" fmla="*/ 6265 h 10000"/>
                <a:gd name="connsiteX64" fmla="*/ 7074 w 10000"/>
                <a:gd name="connsiteY64" fmla="*/ 6198 h 10000"/>
                <a:gd name="connsiteX65" fmla="*/ 7152 w 10000"/>
                <a:gd name="connsiteY65" fmla="*/ 5971 h 10000"/>
                <a:gd name="connsiteX66" fmla="*/ 7130 w 10000"/>
                <a:gd name="connsiteY66" fmla="*/ 5902 h 10000"/>
                <a:gd name="connsiteX67" fmla="*/ 6729 w 10000"/>
                <a:gd name="connsiteY67" fmla="*/ 5729 h 10000"/>
                <a:gd name="connsiteX68" fmla="*/ 6785 w 10000"/>
                <a:gd name="connsiteY68" fmla="*/ 5723 h 10000"/>
                <a:gd name="connsiteX69" fmla="*/ 6998 w 10000"/>
                <a:gd name="connsiteY69" fmla="*/ 5768 h 10000"/>
                <a:gd name="connsiteX70" fmla="*/ 7230 w 10000"/>
                <a:gd name="connsiteY70" fmla="*/ 5751 h 10000"/>
                <a:gd name="connsiteX71" fmla="*/ 7295 w 10000"/>
                <a:gd name="connsiteY71" fmla="*/ 5689 h 10000"/>
                <a:gd name="connsiteX72" fmla="*/ 7074 w 10000"/>
                <a:gd name="connsiteY72" fmla="*/ 5571 h 10000"/>
                <a:gd name="connsiteX73" fmla="*/ 6414 w 10000"/>
                <a:gd name="connsiteY73" fmla="*/ 5495 h 10000"/>
                <a:gd name="connsiteX74" fmla="*/ 6458 w 10000"/>
                <a:gd name="connsiteY74" fmla="*/ 5459 h 10000"/>
                <a:gd name="connsiteX75" fmla="*/ 6998 w 10000"/>
                <a:gd name="connsiteY75" fmla="*/ 5434 h 10000"/>
                <a:gd name="connsiteX76" fmla="*/ 7295 w 10000"/>
                <a:gd name="connsiteY76" fmla="*/ 5506 h 10000"/>
                <a:gd name="connsiteX77" fmla="*/ 7466 w 10000"/>
                <a:gd name="connsiteY77" fmla="*/ 5459 h 10000"/>
                <a:gd name="connsiteX78" fmla="*/ 7529 w 10000"/>
                <a:gd name="connsiteY78" fmla="*/ 5337 h 10000"/>
                <a:gd name="connsiteX79" fmla="*/ 7840 w 10000"/>
                <a:gd name="connsiteY79" fmla="*/ 5337 h 10000"/>
                <a:gd name="connsiteX80" fmla="*/ 8261 w 10000"/>
                <a:gd name="connsiteY80" fmla="*/ 5093 h 10000"/>
                <a:gd name="connsiteX81" fmla="*/ 8275 w 10000"/>
                <a:gd name="connsiteY81" fmla="*/ 4928 h 10000"/>
                <a:gd name="connsiteX82" fmla="*/ 8453 w 10000"/>
                <a:gd name="connsiteY82" fmla="*/ 4965 h 10000"/>
                <a:gd name="connsiteX83" fmla="*/ 8446 w 10000"/>
                <a:gd name="connsiteY83" fmla="*/ 5130 h 10000"/>
                <a:gd name="connsiteX84" fmla="*/ 8727 w 10000"/>
                <a:gd name="connsiteY84" fmla="*/ 5118 h 10000"/>
                <a:gd name="connsiteX85" fmla="*/ 8913 w 10000"/>
                <a:gd name="connsiteY85" fmla="*/ 4948 h 10000"/>
                <a:gd name="connsiteX86" fmla="*/ 9258 w 10000"/>
                <a:gd name="connsiteY86" fmla="*/ 4795 h 10000"/>
                <a:gd name="connsiteX87" fmla="*/ 9203 w 10000"/>
                <a:gd name="connsiteY87" fmla="*/ 4621 h 10000"/>
                <a:gd name="connsiteX88" fmla="*/ 9306 w 10000"/>
                <a:gd name="connsiteY88" fmla="*/ 4690 h 10000"/>
                <a:gd name="connsiteX89" fmla="*/ 9464 w 10000"/>
                <a:gd name="connsiteY89" fmla="*/ 4690 h 10000"/>
                <a:gd name="connsiteX90" fmla="*/ 9464 w 10000"/>
                <a:gd name="connsiteY90" fmla="*/ 4609 h 10000"/>
                <a:gd name="connsiteX91" fmla="*/ 9611 w 10000"/>
                <a:gd name="connsiteY91" fmla="*/ 4550 h 10000"/>
                <a:gd name="connsiteX92" fmla="*/ 9592 w 10000"/>
                <a:gd name="connsiteY92" fmla="*/ 4487 h 10000"/>
                <a:gd name="connsiteX93" fmla="*/ 8350 w 10000"/>
                <a:gd name="connsiteY93" fmla="*/ 4611 h 10000"/>
                <a:gd name="connsiteX94" fmla="*/ 8058 w 10000"/>
                <a:gd name="connsiteY94" fmla="*/ 4576 h 10000"/>
                <a:gd name="connsiteX95" fmla="*/ 7942 w 10000"/>
                <a:gd name="connsiteY95" fmla="*/ 4621 h 10000"/>
                <a:gd name="connsiteX96" fmla="*/ 7903 w 10000"/>
                <a:gd name="connsiteY96" fmla="*/ 4532 h 10000"/>
                <a:gd name="connsiteX97" fmla="*/ 7765 w 10000"/>
                <a:gd name="connsiteY97" fmla="*/ 4456 h 10000"/>
                <a:gd name="connsiteX98" fmla="*/ 7213 w 10000"/>
                <a:gd name="connsiteY98" fmla="*/ 4297 h 10000"/>
                <a:gd name="connsiteX99" fmla="*/ 6887 w 10000"/>
                <a:gd name="connsiteY99" fmla="*/ 4324 h 10000"/>
                <a:gd name="connsiteX100" fmla="*/ 6757 w 10000"/>
                <a:gd name="connsiteY100" fmla="*/ 4278 h 10000"/>
                <a:gd name="connsiteX101" fmla="*/ 6894 w 10000"/>
                <a:gd name="connsiteY101" fmla="*/ 4240 h 10000"/>
                <a:gd name="connsiteX102" fmla="*/ 6998 w 10000"/>
                <a:gd name="connsiteY102" fmla="*/ 4156 h 10000"/>
                <a:gd name="connsiteX103" fmla="*/ 7152 w 10000"/>
                <a:gd name="connsiteY103" fmla="*/ 4182 h 10000"/>
                <a:gd name="connsiteX104" fmla="*/ 7335 w 10000"/>
                <a:gd name="connsiteY104" fmla="*/ 4161 h 10000"/>
                <a:gd name="connsiteX105" fmla="*/ 7611 w 10000"/>
                <a:gd name="connsiteY105" fmla="*/ 4188 h 10000"/>
                <a:gd name="connsiteX106" fmla="*/ 7645 w 10000"/>
                <a:gd name="connsiteY106" fmla="*/ 4177 h 10000"/>
                <a:gd name="connsiteX107" fmla="*/ 7859 w 10000"/>
                <a:gd name="connsiteY107" fmla="*/ 4305 h 10000"/>
                <a:gd name="connsiteX108" fmla="*/ 8017 w 10000"/>
                <a:gd name="connsiteY108" fmla="*/ 4257 h 10000"/>
                <a:gd name="connsiteX109" fmla="*/ 8032 w 10000"/>
                <a:gd name="connsiteY109" fmla="*/ 4214 h 10000"/>
                <a:gd name="connsiteX110" fmla="*/ 8176 w 10000"/>
                <a:gd name="connsiteY110" fmla="*/ 4290 h 10000"/>
                <a:gd name="connsiteX111" fmla="*/ 8369 w 10000"/>
                <a:gd name="connsiteY111" fmla="*/ 4331 h 10000"/>
                <a:gd name="connsiteX112" fmla="*/ 8446 w 10000"/>
                <a:gd name="connsiteY112" fmla="*/ 4255 h 10000"/>
                <a:gd name="connsiteX113" fmla="*/ 8507 w 10000"/>
                <a:gd name="connsiteY113" fmla="*/ 4297 h 10000"/>
                <a:gd name="connsiteX114" fmla="*/ 8596 w 10000"/>
                <a:gd name="connsiteY114" fmla="*/ 4446 h 10000"/>
                <a:gd name="connsiteX115" fmla="*/ 8782 w 10000"/>
                <a:gd name="connsiteY115" fmla="*/ 4478 h 10000"/>
                <a:gd name="connsiteX116" fmla="*/ 9542 w 10000"/>
                <a:gd name="connsiteY116" fmla="*/ 4262 h 10000"/>
                <a:gd name="connsiteX117" fmla="*/ 9914 w 10000"/>
                <a:gd name="connsiteY117" fmla="*/ 3962 h 10000"/>
                <a:gd name="connsiteX118" fmla="*/ 10000 w 10000"/>
                <a:gd name="connsiteY118" fmla="*/ 3744 h 10000"/>
                <a:gd name="connsiteX119" fmla="*/ 9866 w 10000"/>
                <a:gd name="connsiteY119" fmla="*/ 3546 h 10000"/>
                <a:gd name="connsiteX120" fmla="*/ 9582 w 10000"/>
                <a:gd name="connsiteY120" fmla="*/ 3428 h 10000"/>
                <a:gd name="connsiteX121" fmla="*/ 9382 w 10000"/>
                <a:gd name="connsiteY121" fmla="*/ 3233 h 10000"/>
                <a:gd name="connsiteX122" fmla="*/ 9569 w 10000"/>
                <a:gd name="connsiteY122" fmla="*/ 3227 h 10000"/>
                <a:gd name="connsiteX123" fmla="*/ 9555 w 10000"/>
                <a:gd name="connsiteY123" fmla="*/ 3180 h 10000"/>
                <a:gd name="connsiteX124" fmla="*/ 9068 w 10000"/>
                <a:gd name="connsiteY124" fmla="*/ 3045 h 10000"/>
                <a:gd name="connsiteX125" fmla="*/ 9047 w 10000"/>
                <a:gd name="connsiteY125" fmla="*/ 2920 h 10000"/>
                <a:gd name="connsiteX126" fmla="*/ 8953 w 10000"/>
                <a:gd name="connsiteY126" fmla="*/ 2789 h 10000"/>
                <a:gd name="connsiteX127" fmla="*/ 8569 w 10000"/>
                <a:gd name="connsiteY127" fmla="*/ 2813 h 10000"/>
                <a:gd name="connsiteX128" fmla="*/ 8431 w 10000"/>
                <a:gd name="connsiteY128" fmla="*/ 2673 h 10000"/>
                <a:gd name="connsiteX129" fmla="*/ 8350 w 10000"/>
                <a:gd name="connsiteY129" fmla="*/ 2665 h 10000"/>
                <a:gd name="connsiteX130" fmla="*/ 8350 w 10000"/>
                <a:gd name="connsiteY130" fmla="*/ 2726 h 10000"/>
                <a:gd name="connsiteX131" fmla="*/ 8176 w 10000"/>
                <a:gd name="connsiteY131" fmla="*/ 2959 h 10000"/>
                <a:gd name="connsiteX132" fmla="*/ 7990 w 10000"/>
                <a:gd name="connsiteY132" fmla="*/ 3096 h 10000"/>
                <a:gd name="connsiteX133" fmla="*/ 7401 w 10000"/>
                <a:gd name="connsiteY133" fmla="*/ 3329 h 10000"/>
                <a:gd name="connsiteX134" fmla="*/ 7198 w 10000"/>
                <a:gd name="connsiteY134" fmla="*/ 3322 h 10000"/>
                <a:gd name="connsiteX135" fmla="*/ 6915 w 10000"/>
                <a:gd name="connsiteY135" fmla="*/ 3359 h 10000"/>
                <a:gd name="connsiteX136" fmla="*/ 6757 w 10000"/>
                <a:gd name="connsiteY136" fmla="*/ 3322 h 10000"/>
                <a:gd name="connsiteX137" fmla="*/ 6965 w 10000"/>
                <a:gd name="connsiteY137" fmla="*/ 3255 h 10000"/>
                <a:gd name="connsiteX138" fmla="*/ 7235 w 10000"/>
                <a:gd name="connsiteY138" fmla="*/ 3227 h 10000"/>
                <a:gd name="connsiteX139" fmla="*/ 7455 w 10000"/>
                <a:gd name="connsiteY139" fmla="*/ 3118 h 10000"/>
                <a:gd name="connsiteX140" fmla="*/ 7674 w 10000"/>
                <a:gd name="connsiteY140" fmla="*/ 3066 h 10000"/>
                <a:gd name="connsiteX141" fmla="*/ 8082 w 10000"/>
                <a:gd name="connsiteY141" fmla="*/ 2874 h 10000"/>
                <a:gd name="connsiteX142" fmla="*/ 8157 w 10000"/>
                <a:gd name="connsiteY142" fmla="*/ 2750 h 10000"/>
                <a:gd name="connsiteX143" fmla="*/ 8165 w 10000"/>
                <a:gd name="connsiteY143" fmla="*/ 2589 h 10000"/>
                <a:gd name="connsiteX144" fmla="*/ 7978 w 10000"/>
                <a:gd name="connsiteY144" fmla="*/ 2562 h 10000"/>
                <a:gd name="connsiteX145" fmla="*/ 8058 w 10000"/>
                <a:gd name="connsiteY145" fmla="*/ 2463 h 10000"/>
                <a:gd name="connsiteX146" fmla="*/ 8087 w 10000"/>
                <a:gd name="connsiteY146" fmla="*/ 2338 h 10000"/>
                <a:gd name="connsiteX147" fmla="*/ 8007 w 10000"/>
                <a:gd name="connsiteY147" fmla="*/ 2222 h 10000"/>
                <a:gd name="connsiteX148" fmla="*/ 7450 w 10000"/>
                <a:gd name="connsiteY148" fmla="*/ 2382 h 10000"/>
                <a:gd name="connsiteX149" fmla="*/ 6694 w 10000"/>
                <a:gd name="connsiteY149" fmla="*/ 2311 h 10000"/>
                <a:gd name="connsiteX150" fmla="*/ 6304 w 10000"/>
                <a:gd name="connsiteY150" fmla="*/ 1864 h 10000"/>
                <a:gd name="connsiteX151" fmla="*/ 5294 w 10000"/>
                <a:gd name="connsiteY151" fmla="*/ 1779 h 10000"/>
                <a:gd name="connsiteX152" fmla="*/ 4505 w 10000"/>
                <a:gd name="connsiteY152" fmla="*/ 1407 h 10000"/>
                <a:gd name="connsiteX153" fmla="*/ 3730 w 10000"/>
                <a:gd name="connsiteY153" fmla="*/ 962 h 10000"/>
                <a:gd name="connsiteX154" fmla="*/ 3154 w 10000"/>
                <a:gd name="connsiteY154" fmla="*/ 143 h 10000"/>
                <a:gd name="connsiteX155" fmla="*/ 2375 w 10000"/>
                <a:gd name="connsiteY155" fmla="*/ 0 h 10000"/>
                <a:gd name="connsiteX156" fmla="*/ 2226 w 10000"/>
                <a:gd name="connsiteY156" fmla="*/ 772 h 10000"/>
                <a:gd name="connsiteX157" fmla="*/ 2375 w 10000"/>
                <a:gd name="connsiteY157" fmla="*/ 967 h 10000"/>
                <a:gd name="connsiteX158" fmla="*/ 2791 w 10000"/>
                <a:gd name="connsiteY158" fmla="*/ 1185 h 10000"/>
                <a:gd name="connsiteX159" fmla="*/ 2808 w 10000"/>
                <a:gd name="connsiteY159" fmla="*/ 1446 h 10000"/>
                <a:gd name="connsiteX160" fmla="*/ 2632 w 10000"/>
                <a:gd name="connsiteY160" fmla="*/ 1665 h 10000"/>
                <a:gd name="connsiteX161" fmla="*/ 2375 w 10000"/>
                <a:gd name="connsiteY161" fmla="*/ 1798 h 10000"/>
                <a:gd name="connsiteX162" fmla="*/ 2039 w 10000"/>
                <a:gd name="connsiteY162" fmla="*/ 1851 h 10000"/>
                <a:gd name="connsiteX163" fmla="*/ 1950 w 10000"/>
                <a:gd name="connsiteY163" fmla="*/ 1929 h 10000"/>
                <a:gd name="connsiteX164" fmla="*/ 2148 w 10000"/>
                <a:gd name="connsiteY164" fmla="*/ 2110 h 10000"/>
                <a:gd name="connsiteX165" fmla="*/ 2261 w 10000"/>
                <a:gd name="connsiteY165" fmla="*/ 2541 h 10000"/>
                <a:gd name="connsiteX166" fmla="*/ 2005 w 10000"/>
                <a:gd name="connsiteY166" fmla="*/ 2910 h 10000"/>
                <a:gd name="connsiteX167" fmla="*/ 2094 w 10000"/>
                <a:gd name="connsiteY167" fmla="*/ 3022 h 10000"/>
                <a:gd name="connsiteX168" fmla="*/ 2012 w 10000"/>
                <a:gd name="connsiteY168" fmla="*/ 3214 h 10000"/>
                <a:gd name="connsiteX169" fmla="*/ 1850 w 10000"/>
                <a:gd name="connsiteY169" fmla="*/ 3349 h 10000"/>
                <a:gd name="connsiteX170" fmla="*/ 1199 w 10000"/>
                <a:gd name="connsiteY170" fmla="*/ 3450 h 10000"/>
                <a:gd name="connsiteX171" fmla="*/ 1158 w 10000"/>
                <a:gd name="connsiteY171" fmla="*/ 3629 h 10000"/>
                <a:gd name="connsiteX172" fmla="*/ 808 w 10000"/>
                <a:gd name="connsiteY172" fmla="*/ 3893 h 10000"/>
                <a:gd name="connsiteX173" fmla="*/ 854 w 10000"/>
                <a:gd name="connsiteY173" fmla="*/ 4276 h 10000"/>
                <a:gd name="connsiteX174" fmla="*/ 560 w 10000"/>
                <a:gd name="connsiteY174" fmla="*/ 4766 h 10000"/>
                <a:gd name="connsiteX175" fmla="*/ 358 w 10000"/>
                <a:gd name="connsiteY175" fmla="*/ 4822 h 10000"/>
                <a:gd name="connsiteX176" fmla="*/ 275 w 10000"/>
                <a:gd name="connsiteY176" fmla="*/ 4706 h 10000"/>
                <a:gd name="connsiteX177" fmla="*/ 174 w 10000"/>
                <a:gd name="connsiteY177" fmla="*/ 4882 h 10000"/>
                <a:gd name="connsiteX178" fmla="*/ 239 w 10000"/>
                <a:gd name="connsiteY178" fmla="*/ 4578 h 10000"/>
                <a:gd name="connsiteX179" fmla="*/ 197 w 10000"/>
                <a:gd name="connsiteY179" fmla="*/ 4521 h 10000"/>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3212 w 10000"/>
                <a:gd name="connsiteY47" fmla="*/ 9941 h 10000"/>
                <a:gd name="connsiteX48" fmla="*/ 6419 w 10000"/>
                <a:gd name="connsiteY48" fmla="*/ 8186 h 10000"/>
                <a:gd name="connsiteX49" fmla="*/ 6586 w 10000"/>
                <a:gd name="connsiteY49" fmla="*/ 7505 h 10000"/>
                <a:gd name="connsiteX50" fmla="*/ 6855 w 10000"/>
                <a:gd name="connsiteY50" fmla="*/ 7204 h 10000"/>
                <a:gd name="connsiteX51" fmla="*/ 6855 w 10000"/>
                <a:gd name="connsiteY51" fmla="*/ 7043 h 10000"/>
                <a:gd name="connsiteX52" fmla="*/ 6757 w 10000"/>
                <a:gd name="connsiteY52" fmla="*/ 6956 h 10000"/>
                <a:gd name="connsiteX53" fmla="*/ 6915 w 10000"/>
                <a:gd name="connsiteY53" fmla="*/ 6811 h 10000"/>
                <a:gd name="connsiteX54" fmla="*/ 6887 w 10000"/>
                <a:gd name="connsiteY54" fmla="*/ 6693 h 10000"/>
                <a:gd name="connsiteX55" fmla="*/ 6779 w 10000"/>
                <a:gd name="connsiteY55" fmla="*/ 6592 h 10000"/>
                <a:gd name="connsiteX56" fmla="*/ 6757 w 10000"/>
                <a:gd name="connsiteY56" fmla="*/ 6514 h 10000"/>
                <a:gd name="connsiteX57" fmla="*/ 6785 w 10000"/>
                <a:gd name="connsiteY57" fmla="*/ 6457 h 10000"/>
                <a:gd name="connsiteX58" fmla="*/ 6931 w 10000"/>
                <a:gd name="connsiteY58" fmla="*/ 6503 h 10000"/>
                <a:gd name="connsiteX59" fmla="*/ 7045 w 10000"/>
                <a:gd name="connsiteY59" fmla="*/ 6500 h 10000"/>
                <a:gd name="connsiteX60" fmla="*/ 6983 w 10000"/>
                <a:gd name="connsiteY60" fmla="*/ 6404 h 10000"/>
                <a:gd name="connsiteX61" fmla="*/ 7003 w 10000"/>
                <a:gd name="connsiteY61" fmla="*/ 6346 h 10000"/>
                <a:gd name="connsiteX62" fmla="*/ 7089 w 10000"/>
                <a:gd name="connsiteY62" fmla="*/ 6265 h 10000"/>
                <a:gd name="connsiteX63" fmla="*/ 7074 w 10000"/>
                <a:gd name="connsiteY63" fmla="*/ 6198 h 10000"/>
                <a:gd name="connsiteX64" fmla="*/ 7152 w 10000"/>
                <a:gd name="connsiteY64" fmla="*/ 5971 h 10000"/>
                <a:gd name="connsiteX65" fmla="*/ 7130 w 10000"/>
                <a:gd name="connsiteY65" fmla="*/ 5902 h 10000"/>
                <a:gd name="connsiteX66" fmla="*/ 6729 w 10000"/>
                <a:gd name="connsiteY66" fmla="*/ 5729 h 10000"/>
                <a:gd name="connsiteX67" fmla="*/ 6785 w 10000"/>
                <a:gd name="connsiteY67" fmla="*/ 5723 h 10000"/>
                <a:gd name="connsiteX68" fmla="*/ 6998 w 10000"/>
                <a:gd name="connsiteY68" fmla="*/ 5768 h 10000"/>
                <a:gd name="connsiteX69" fmla="*/ 7230 w 10000"/>
                <a:gd name="connsiteY69" fmla="*/ 5751 h 10000"/>
                <a:gd name="connsiteX70" fmla="*/ 7295 w 10000"/>
                <a:gd name="connsiteY70" fmla="*/ 5689 h 10000"/>
                <a:gd name="connsiteX71" fmla="*/ 7074 w 10000"/>
                <a:gd name="connsiteY71" fmla="*/ 5571 h 10000"/>
                <a:gd name="connsiteX72" fmla="*/ 6414 w 10000"/>
                <a:gd name="connsiteY72" fmla="*/ 5495 h 10000"/>
                <a:gd name="connsiteX73" fmla="*/ 6458 w 10000"/>
                <a:gd name="connsiteY73" fmla="*/ 5459 h 10000"/>
                <a:gd name="connsiteX74" fmla="*/ 6998 w 10000"/>
                <a:gd name="connsiteY74" fmla="*/ 5434 h 10000"/>
                <a:gd name="connsiteX75" fmla="*/ 7295 w 10000"/>
                <a:gd name="connsiteY75" fmla="*/ 5506 h 10000"/>
                <a:gd name="connsiteX76" fmla="*/ 7466 w 10000"/>
                <a:gd name="connsiteY76" fmla="*/ 5459 h 10000"/>
                <a:gd name="connsiteX77" fmla="*/ 7529 w 10000"/>
                <a:gd name="connsiteY77" fmla="*/ 5337 h 10000"/>
                <a:gd name="connsiteX78" fmla="*/ 7840 w 10000"/>
                <a:gd name="connsiteY78" fmla="*/ 5337 h 10000"/>
                <a:gd name="connsiteX79" fmla="*/ 8261 w 10000"/>
                <a:gd name="connsiteY79" fmla="*/ 5093 h 10000"/>
                <a:gd name="connsiteX80" fmla="*/ 8275 w 10000"/>
                <a:gd name="connsiteY80" fmla="*/ 4928 h 10000"/>
                <a:gd name="connsiteX81" fmla="*/ 8453 w 10000"/>
                <a:gd name="connsiteY81" fmla="*/ 4965 h 10000"/>
                <a:gd name="connsiteX82" fmla="*/ 8446 w 10000"/>
                <a:gd name="connsiteY82" fmla="*/ 5130 h 10000"/>
                <a:gd name="connsiteX83" fmla="*/ 8727 w 10000"/>
                <a:gd name="connsiteY83" fmla="*/ 5118 h 10000"/>
                <a:gd name="connsiteX84" fmla="*/ 8913 w 10000"/>
                <a:gd name="connsiteY84" fmla="*/ 4948 h 10000"/>
                <a:gd name="connsiteX85" fmla="*/ 9258 w 10000"/>
                <a:gd name="connsiteY85" fmla="*/ 4795 h 10000"/>
                <a:gd name="connsiteX86" fmla="*/ 9203 w 10000"/>
                <a:gd name="connsiteY86" fmla="*/ 4621 h 10000"/>
                <a:gd name="connsiteX87" fmla="*/ 9306 w 10000"/>
                <a:gd name="connsiteY87" fmla="*/ 4690 h 10000"/>
                <a:gd name="connsiteX88" fmla="*/ 9464 w 10000"/>
                <a:gd name="connsiteY88" fmla="*/ 4690 h 10000"/>
                <a:gd name="connsiteX89" fmla="*/ 9464 w 10000"/>
                <a:gd name="connsiteY89" fmla="*/ 4609 h 10000"/>
                <a:gd name="connsiteX90" fmla="*/ 9611 w 10000"/>
                <a:gd name="connsiteY90" fmla="*/ 4550 h 10000"/>
                <a:gd name="connsiteX91" fmla="*/ 9592 w 10000"/>
                <a:gd name="connsiteY91" fmla="*/ 4487 h 10000"/>
                <a:gd name="connsiteX92" fmla="*/ 8350 w 10000"/>
                <a:gd name="connsiteY92" fmla="*/ 4611 h 10000"/>
                <a:gd name="connsiteX93" fmla="*/ 8058 w 10000"/>
                <a:gd name="connsiteY93" fmla="*/ 4576 h 10000"/>
                <a:gd name="connsiteX94" fmla="*/ 7942 w 10000"/>
                <a:gd name="connsiteY94" fmla="*/ 4621 h 10000"/>
                <a:gd name="connsiteX95" fmla="*/ 7903 w 10000"/>
                <a:gd name="connsiteY95" fmla="*/ 4532 h 10000"/>
                <a:gd name="connsiteX96" fmla="*/ 7765 w 10000"/>
                <a:gd name="connsiteY96" fmla="*/ 4456 h 10000"/>
                <a:gd name="connsiteX97" fmla="*/ 7213 w 10000"/>
                <a:gd name="connsiteY97" fmla="*/ 4297 h 10000"/>
                <a:gd name="connsiteX98" fmla="*/ 6887 w 10000"/>
                <a:gd name="connsiteY98" fmla="*/ 4324 h 10000"/>
                <a:gd name="connsiteX99" fmla="*/ 6757 w 10000"/>
                <a:gd name="connsiteY99" fmla="*/ 4278 h 10000"/>
                <a:gd name="connsiteX100" fmla="*/ 6894 w 10000"/>
                <a:gd name="connsiteY100" fmla="*/ 4240 h 10000"/>
                <a:gd name="connsiteX101" fmla="*/ 6998 w 10000"/>
                <a:gd name="connsiteY101" fmla="*/ 4156 h 10000"/>
                <a:gd name="connsiteX102" fmla="*/ 7152 w 10000"/>
                <a:gd name="connsiteY102" fmla="*/ 4182 h 10000"/>
                <a:gd name="connsiteX103" fmla="*/ 7335 w 10000"/>
                <a:gd name="connsiteY103" fmla="*/ 4161 h 10000"/>
                <a:gd name="connsiteX104" fmla="*/ 7611 w 10000"/>
                <a:gd name="connsiteY104" fmla="*/ 4188 h 10000"/>
                <a:gd name="connsiteX105" fmla="*/ 7645 w 10000"/>
                <a:gd name="connsiteY105" fmla="*/ 4177 h 10000"/>
                <a:gd name="connsiteX106" fmla="*/ 7859 w 10000"/>
                <a:gd name="connsiteY106" fmla="*/ 4305 h 10000"/>
                <a:gd name="connsiteX107" fmla="*/ 8017 w 10000"/>
                <a:gd name="connsiteY107" fmla="*/ 4257 h 10000"/>
                <a:gd name="connsiteX108" fmla="*/ 8032 w 10000"/>
                <a:gd name="connsiteY108" fmla="*/ 4214 h 10000"/>
                <a:gd name="connsiteX109" fmla="*/ 8176 w 10000"/>
                <a:gd name="connsiteY109" fmla="*/ 4290 h 10000"/>
                <a:gd name="connsiteX110" fmla="*/ 8369 w 10000"/>
                <a:gd name="connsiteY110" fmla="*/ 4331 h 10000"/>
                <a:gd name="connsiteX111" fmla="*/ 8446 w 10000"/>
                <a:gd name="connsiteY111" fmla="*/ 4255 h 10000"/>
                <a:gd name="connsiteX112" fmla="*/ 8507 w 10000"/>
                <a:gd name="connsiteY112" fmla="*/ 4297 h 10000"/>
                <a:gd name="connsiteX113" fmla="*/ 8596 w 10000"/>
                <a:gd name="connsiteY113" fmla="*/ 4446 h 10000"/>
                <a:gd name="connsiteX114" fmla="*/ 8782 w 10000"/>
                <a:gd name="connsiteY114" fmla="*/ 4478 h 10000"/>
                <a:gd name="connsiteX115" fmla="*/ 9542 w 10000"/>
                <a:gd name="connsiteY115" fmla="*/ 4262 h 10000"/>
                <a:gd name="connsiteX116" fmla="*/ 9914 w 10000"/>
                <a:gd name="connsiteY116" fmla="*/ 3962 h 10000"/>
                <a:gd name="connsiteX117" fmla="*/ 10000 w 10000"/>
                <a:gd name="connsiteY117" fmla="*/ 3744 h 10000"/>
                <a:gd name="connsiteX118" fmla="*/ 9866 w 10000"/>
                <a:gd name="connsiteY118" fmla="*/ 3546 h 10000"/>
                <a:gd name="connsiteX119" fmla="*/ 9582 w 10000"/>
                <a:gd name="connsiteY119" fmla="*/ 3428 h 10000"/>
                <a:gd name="connsiteX120" fmla="*/ 9382 w 10000"/>
                <a:gd name="connsiteY120" fmla="*/ 3233 h 10000"/>
                <a:gd name="connsiteX121" fmla="*/ 9569 w 10000"/>
                <a:gd name="connsiteY121" fmla="*/ 3227 h 10000"/>
                <a:gd name="connsiteX122" fmla="*/ 9555 w 10000"/>
                <a:gd name="connsiteY122" fmla="*/ 3180 h 10000"/>
                <a:gd name="connsiteX123" fmla="*/ 9068 w 10000"/>
                <a:gd name="connsiteY123" fmla="*/ 3045 h 10000"/>
                <a:gd name="connsiteX124" fmla="*/ 9047 w 10000"/>
                <a:gd name="connsiteY124" fmla="*/ 2920 h 10000"/>
                <a:gd name="connsiteX125" fmla="*/ 8953 w 10000"/>
                <a:gd name="connsiteY125" fmla="*/ 2789 h 10000"/>
                <a:gd name="connsiteX126" fmla="*/ 8569 w 10000"/>
                <a:gd name="connsiteY126" fmla="*/ 2813 h 10000"/>
                <a:gd name="connsiteX127" fmla="*/ 8431 w 10000"/>
                <a:gd name="connsiteY127" fmla="*/ 2673 h 10000"/>
                <a:gd name="connsiteX128" fmla="*/ 8350 w 10000"/>
                <a:gd name="connsiteY128" fmla="*/ 2665 h 10000"/>
                <a:gd name="connsiteX129" fmla="*/ 8350 w 10000"/>
                <a:gd name="connsiteY129" fmla="*/ 2726 h 10000"/>
                <a:gd name="connsiteX130" fmla="*/ 8176 w 10000"/>
                <a:gd name="connsiteY130" fmla="*/ 2959 h 10000"/>
                <a:gd name="connsiteX131" fmla="*/ 7990 w 10000"/>
                <a:gd name="connsiteY131" fmla="*/ 3096 h 10000"/>
                <a:gd name="connsiteX132" fmla="*/ 7401 w 10000"/>
                <a:gd name="connsiteY132" fmla="*/ 3329 h 10000"/>
                <a:gd name="connsiteX133" fmla="*/ 7198 w 10000"/>
                <a:gd name="connsiteY133" fmla="*/ 3322 h 10000"/>
                <a:gd name="connsiteX134" fmla="*/ 6915 w 10000"/>
                <a:gd name="connsiteY134" fmla="*/ 3359 h 10000"/>
                <a:gd name="connsiteX135" fmla="*/ 6757 w 10000"/>
                <a:gd name="connsiteY135" fmla="*/ 3322 h 10000"/>
                <a:gd name="connsiteX136" fmla="*/ 6965 w 10000"/>
                <a:gd name="connsiteY136" fmla="*/ 3255 h 10000"/>
                <a:gd name="connsiteX137" fmla="*/ 7235 w 10000"/>
                <a:gd name="connsiteY137" fmla="*/ 3227 h 10000"/>
                <a:gd name="connsiteX138" fmla="*/ 7455 w 10000"/>
                <a:gd name="connsiteY138" fmla="*/ 3118 h 10000"/>
                <a:gd name="connsiteX139" fmla="*/ 7674 w 10000"/>
                <a:gd name="connsiteY139" fmla="*/ 3066 h 10000"/>
                <a:gd name="connsiteX140" fmla="*/ 8082 w 10000"/>
                <a:gd name="connsiteY140" fmla="*/ 2874 h 10000"/>
                <a:gd name="connsiteX141" fmla="*/ 8157 w 10000"/>
                <a:gd name="connsiteY141" fmla="*/ 2750 h 10000"/>
                <a:gd name="connsiteX142" fmla="*/ 8165 w 10000"/>
                <a:gd name="connsiteY142" fmla="*/ 2589 h 10000"/>
                <a:gd name="connsiteX143" fmla="*/ 7978 w 10000"/>
                <a:gd name="connsiteY143" fmla="*/ 2562 h 10000"/>
                <a:gd name="connsiteX144" fmla="*/ 8058 w 10000"/>
                <a:gd name="connsiteY144" fmla="*/ 2463 h 10000"/>
                <a:gd name="connsiteX145" fmla="*/ 8087 w 10000"/>
                <a:gd name="connsiteY145" fmla="*/ 2338 h 10000"/>
                <a:gd name="connsiteX146" fmla="*/ 8007 w 10000"/>
                <a:gd name="connsiteY146" fmla="*/ 2222 h 10000"/>
                <a:gd name="connsiteX147" fmla="*/ 7450 w 10000"/>
                <a:gd name="connsiteY147" fmla="*/ 2382 h 10000"/>
                <a:gd name="connsiteX148" fmla="*/ 6694 w 10000"/>
                <a:gd name="connsiteY148" fmla="*/ 2311 h 10000"/>
                <a:gd name="connsiteX149" fmla="*/ 6304 w 10000"/>
                <a:gd name="connsiteY149" fmla="*/ 1864 h 10000"/>
                <a:gd name="connsiteX150" fmla="*/ 5294 w 10000"/>
                <a:gd name="connsiteY150" fmla="*/ 1779 h 10000"/>
                <a:gd name="connsiteX151" fmla="*/ 4505 w 10000"/>
                <a:gd name="connsiteY151" fmla="*/ 1407 h 10000"/>
                <a:gd name="connsiteX152" fmla="*/ 3730 w 10000"/>
                <a:gd name="connsiteY152" fmla="*/ 962 h 10000"/>
                <a:gd name="connsiteX153" fmla="*/ 3154 w 10000"/>
                <a:gd name="connsiteY153" fmla="*/ 143 h 10000"/>
                <a:gd name="connsiteX154" fmla="*/ 2375 w 10000"/>
                <a:gd name="connsiteY154" fmla="*/ 0 h 10000"/>
                <a:gd name="connsiteX155" fmla="*/ 2226 w 10000"/>
                <a:gd name="connsiteY155" fmla="*/ 772 h 10000"/>
                <a:gd name="connsiteX156" fmla="*/ 2375 w 10000"/>
                <a:gd name="connsiteY156" fmla="*/ 967 h 10000"/>
                <a:gd name="connsiteX157" fmla="*/ 2791 w 10000"/>
                <a:gd name="connsiteY157" fmla="*/ 1185 h 10000"/>
                <a:gd name="connsiteX158" fmla="*/ 2808 w 10000"/>
                <a:gd name="connsiteY158" fmla="*/ 1446 h 10000"/>
                <a:gd name="connsiteX159" fmla="*/ 2632 w 10000"/>
                <a:gd name="connsiteY159" fmla="*/ 1665 h 10000"/>
                <a:gd name="connsiteX160" fmla="*/ 2375 w 10000"/>
                <a:gd name="connsiteY160" fmla="*/ 1798 h 10000"/>
                <a:gd name="connsiteX161" fmla="*/ 2039 w 10000"/>
                <a:gd name="connsiteY161" fmla="*/ 1851 h 10000"/>
                <a:gd name="connsiteX162" fmla="*/ 1950 w 10000"/>
                <a:gd name="connsiteY162" fmla="*/ 1929 h 10000"/>
                <a:gd name="connsiteX163" fmla="*/ 2148 w 10000"/>
                <a:gd name="connsiteY163" fmla="*/ 2110 h 10000"/>
                <a:gd name="connsiteX164" fmla="*/ 2261 w 10000"/>
                <a:gd name="connsiteY164" fmla="*/ 2541 h 10000"/>
                <a:gd name="connsiteX165" fmla="*/ 2005 w 10000"/>
                <a:gd name="connsiteY165" fmla="*/ 2910 h 10000"/>
                <a:gd name="connsiteX166" fmla="*/ 2094 w 10000"/>
                <a:gd name="connsiteY166" fmla="*/ 3022 h 10000"/>
                <a:gd name="connsiteX167" fmla="*/ 2012 w 10000"/>
                <a:gd name="connsiteY167" fmla="*/ 3214 h 10000"/>
                <a:gd name="connsiteX168" fmla="*/ 1850 w 10000"/>
                <a:gd name="connsiteY168" fmla="*/ 3349 h 10000"/>
                <a:gd name="connsiteX169" fmla="*/ 1199 w 10000"/>
                <a:gd name="connsiteY169" fmla="*/ 3450 h 10000"/>
                <a:gd name="connsiteX170" fmla="*/ 1158 w 10000"/>
                <a:gd name="connsiteY170" fmla="*/ 3629 h 10000"/>
                <a:gd name="connsiteX171" fmla="*/ 808 w 10000"/>
                <a:gd name="connsiteY171" fmla="*/ 3893 h 10000"/>
                <a:gd name="connsiteX172" fmla="*/ 854 w 10000"/>
                <a:gd name="connsiteY172" fmla="*/ 4276 h 10000"/>
                <a:gd name="connsiteX173" fmla="*/ 560 w 10000"/>
                <a:gd name="connsiteY173" fmla="*/ 4766 h 10000"/>
                <a:gd name="connsiteX174" fmla="*/ 358 w 10000"/>
                <a:gd name="connsiteY174" fmla="*/ 4822 h 10000"/>
                <a:gd name="connsiteX175" fmla="*/ 275 w 10000"/>
                <a:gd name="connsiteY175" fmla="*/ 4706 h 10000"/>
                <a:gd name="connsiteX176" fmla="*/ 174 w 10000"/>
                <a:gd name="connsiteY176" fmla="*/ 4882 h 10000"/>
                <a:gd name="connsiteX177" fmla="*/ 239 w 10000"/>
                <a:gd name="connsiteY177" fmla="*/ 4578 h 10000"/>
                <a:gd name="connsiteX178" fmla="*/ 197 w 10000"/>
                <a:gd name="connsiteY178" fmla="*/ 4521 h 10000"/>
                <a:gd name="connsiteX0" fmla="*/ 197 w 10000"/>
                <a:gd name="connsiteY0" fmla="*/ 4521 h 10000"/>
                <a:gd name="connsiteX1" fmla="*/ 0 w 10000"/>
                <a:gd name="connsiteY1" fmla="*/ 4679 h 10000"/>
                <a:gd name="connsiteX2" fmla="*/ 0 w 10000"/>
                <a:gd name="connsiteY2" fmla="*/ 5459 h 10000"/>
                <a:gd name="connsiteX3" fmla="*/ 109 w 10000"/>
                <a:gd name="connsiteY3" fmla="*/ 5480 h 10000"/>
                <a:gd name="connsiteX4" fmla="*/ 134 w 10000"/>
                <a:gd name="connsiteY4" fmla="*/ 5540 h 10000"/>
                <a:gd name="connsiteX5" fmla="*/ 130 w 10000"/>
                <a:gd name="connsiteY5" fmla="*/ 5647 h 10000"/>
                <a:gd name="connsiteX6" fmla="*/ 89 w 10000"/>
                <a:gd name="connsiteY6" fmla="*/ 5693 h 10000"/>
                <a:gd name="connsiteX7" fmla="*/ 255 w 10000"/>
                <a:gd name="connsiteY7" fmla="*/ 5602 h 10000"/>
                <a:gd name="connsiteX8" fmla="*/ 325 w 10000"/>
                <a:gd name="connsiteY8" fmla="*/ 5515 h 10000"/>
                <a:gd name="connsiteX9" fmla="*/ 413 w 10000"/>
                <a:gd name="connsiteY9" fmla="*/ 5574 h 10000"/>
                <a:gd name="connsiteX10" fmla="*/ 316 w 10000"/>
                <a:gd name="connsiteY10" fmla="*/ 5703 h 10000"/>
                <a:gd name="connsiteX11" fmla="*/ 419 w 10000"/>
                <a:gd name="connsiteY11" fmla="*/ 5706 h 10000"/>
                <a:gd name="connsiteX12" fmla="*/ 469 w 10000"/>
                <a:gd name="connsiteY12" fmla="*/ 5738 h 10000"/>
                <a:gd name="connsiteX13" fmla="*/ 337 w 10000"/>
                <a:gd name="connsiteY13" fmla="*/ 5779 h 10000"/>
                <a:gd name="connsiteX14" fmla="*/ 130 w 10000"/>
                <a:gd name="connsiteY14" fmla="*/ 5909 h 10000"/>
                <a:gd name="connsiteX15" fmla="*/ 497 w 10000"/>
                <a:gd name="connsiteY15" fmla="*/ 6013 h 10000"/>
                <a:gd name="connsiteX16" fmla="*/ 545 w 10000"/>
                <a:gd name="connsiteY16" fmla="*/ 6159 h 10000"/>
                <a:gd name="connsiteX17" fmla="*/ 419 w 10000"/>
                <a:gd name="connsiteY17" fmla="*/ 6373 h 10000"/>
                <a:gd name="connsiteX18" fmla="*/ 688 w 10000"/>
                <a:gd name="connsiteY18" fmla="*/ 6361 h 10000"/>
                <a:gd name="connsiteX19" fmla="*/ 709 w 10000"/>
                <a:gd name="connsiteY19" fmla="*/ 6521 h 10000"/>
                <a:gd name="connsiteX20" fmla="*/ 530 w 10000"/>
                <a:gd name="connsiteY20" fmla="*/ 6635 h 10000"/>
                <a:gd name="connsiteX21" fmla="*/ 560 w 10000"/>
                <a:gd name="connsiteY21" fmla="*/ 6846 h 10000"/>
                <a:gd name="connsiteX22" fmla="*/ 489 w 10000"/>
                <a:gd name="connsiteY22" fmla="*/ 7014 h 10000"/>
                <a:gd name="connsiteX23" fmla="*/ 703 w 10000"/>
                <a:gd name="connsiteY23" fmla="*/ 7030 h 10000"/>
                <a:gd name="connsiteX24" fmla="*/ 909 w 10000"/>
                <a:gd name="connsiteY24" fmla="*/ 7668 h 10000"/>
                <a:gd name="connsiteX25" fmla="*/ 1150 w 10000"/>
                <a:gd name="connsiteY25" fmla="*/ 7826 h 10000"/>
                <a:gd name="connsiteX26" fmla="*/ 1255 w 10000"/>
                <a:gd name="connsiteY26" fmla="*/ 8000 h 10000"/>
                <a:gd name="connsiteX27" fmla="*/ 1514 w 10000"/>
                <a:gd name="connsiteY27" fmla="*/ 8123 h 10000"/>
                <a:gd name="connsiteX28" fmla="*/ 1684 w 10000"/>
                <a:gd name="connsiteY28" fmla="*/ 8285 h 10000"/>
                <a:gd name="connsiteX29" fmla="*/ 1661 w 10000"/>
                <a:gd name="connsiteY29" fmla="*/ 8400 h 10000"/>
                <a:gd name="connsiteX30" fmla="*/ 1496 w 10000"/>
                <a:gd name="connsiteY30" fmla="*/ 8442 h 10000"/>
                <a:gd name="connsiteX31" fmla="*/ 1316 w 10000"/>
                <a:gd name="connsiteY31" fmla="*/ 8414 h 10000"/>
                <a:gd name="connsiteX32" fmla="*/ 1260 w 10000"/>
                <a:gd name="connsiteY32" fmla="*/ 8460 h 10000"/>
                <a:gd name="connsiteX33" fmla="*/ 1397 w 10000"/>
                <a:gd name="connsiteY33" fmla="*/ 8708 h 10000"/>
                <a:gd name="connsiteX34" fmla="*/ 1205 w 10000"/>
                <a:gd name="connsiteY34" fmla="*/ 8687 h 10000"/>
                <a:gd name="connsiteX35" fmla="*/ 1040 w 10000"/>
                <a:gd name="connsiteY35" fmla="*/ 8627 h 10000"/>
                <a:gd name="connsiteX36" fmla="*/ 1012 w 10000"/>
                <a:gd name="connsiteY36" fmla="*/ 8719 h 10000"/>
                <a:gd name="connsiteX37" fmla="*/ 1557 w 10000"/>
                <a:gd name="connsiteY37" fmla="*/ 9568 h 10000"/>
                <a:gd name="connsiteX38" fmla="*/ 1469 w 10000"/>
                <a:gd name="connsiteY38" fmla="*/ 9647 h 10000"/>
                <a:gd name="connsiteX39" fmla="*/ 1408 w 10000"/>
                <a:gd name="connsiteY39" fmla="*/ 9810 h 10000"/>
                <a:gd name="connsiteX40" fmla="*/ 1329 w 10000"/>
                <a:gd name="connsiteY40" fmla="*/ 9822 h 10000"/>
                <a:gd name="connsiteX41" fmla="*/ 1281 w 10000"/>
                <a:gd name="connsiteY41" fmla="*/ 9895 h 10000"/>
                <a:gd name="connsiteX42" fmla="*/ 1609 w 10000"/>
                <a:gd name="connsiteY42" fmla="*/ 9901 h 10000"/>
                <a:gd name="connsiteX43" fmla="*/ 1900 w 10000"/>
                <a:gd name="connsiteY43" fmla="*/ 9972 h 10000"/>
                <a:gd name="connsiteX44" fmla="*/ 2383 w 10000"/>
                <a:gd name="connsiteY44" fmla="*/ 9898 h 10000"/>
                <a:gd name="connsiteX45" fmla="*/ 2816 w 10000"/>
                <a:gd name="connsiteY45" fmla="*/ 9912 h 10000"/>
                <a:gd name="connsiteX46" fmla="*/ 3072 w 10000"/>
                <a:gd name="connsiteY46" fmla="*/ 10000 h 10000"/>
                <a:gd name="connsiteX47" fmla="*/ 6419 w 10000"/>
                <a:gd name="connsiteY47" fmla="*/ 8186 h 10000"/>
                <a:gd name="connsiteX48" fmla="*/ 6586 w 10000"/>
                <a:gd name="connsiteY48" fmla="*/ 7505 h 10000"/>
                <a:gd name="connsiteX49" fmla="*/ 6855 w 10000"/>
                <a:gd name="connsiteY49" fmla="*/ 7204 h 10000"/>
                <a:gd name="connsiteX50" fmla="*/ 6855 w 10000"/>
                <a:gd name="connsiteY50" fmla="*/ 7043 h 10000"/>
                <a:gd name="connsiteX51" fmla="*/ 6757 w 10000"/>
                <a:gd name="connsiteY51" fmla="*/ 6956 h 10000"/>
                <a:gd name="connsiteX52" fmla="*/ 6915 w 10000"/>
                <a:gd name="connsiteY52" fmla="*/ 6811 h 10000"/>
                <a:gd name="connsiteX53" fmla="*/ 6887 w 10000"/>
                <a:gd name="connsiteY53" fmla="*/ 6693 h 10000"/>
                <a:gd name="connsiteX54" fmla="*/ 6779 w 10000"/>
                <a:gd name="connsiteY54" fmla="*/ 6592 h 10000"/>
                <a:gd name="connsiteX55" fmla="*/ 6757 w 10000"/>
                <a:gd name="connsiteY55" fmla="*/ 6514 h 10000"/>
                <a:gd name="connsiteX56" fmla="*/ 6785 w 10000"/>
                <a:gd name="connsiteY56" fmla="*/ 6457 h 10000"/>
                <a:gd name="connsiteX57" fmla="*/ 6931 w 10000"/>
                <a:gd name="connsiteY57" fmla="*/ 6503 h 10000"/>
                <a:gd name="connsiteX58" fmla="*/ 7045 w 10000"/>
                <a:gd name="connsiteY58" fmla="*/ 6500 h 10000"/>
                <a:gd name="connsiteX59" fmla="*/ 6983 w 10000"/>
                <a:gd name="connsiteY59" fmla="*/ 6404 h 10000"/>
                <a:gd name="connsiteX60" fmla="*/ 7003 w 10000"/>
                <a:gd name="connsiteY60" fmla="*/ 6346 h 10000"/>
                <a:gd name="connsiteX61" fmla="*/ 7089 w 10000"/>
                <a:gd name="connsiteY61" fmla="*/ 6265 h 10000"/>
                <a:gd name="connsiteX62" fmla="*/ 7074 w 10000"/>
                <a:gd name="connsiteY62" fmla="*/ 6198 h 10000"/>
                <a:gd name="connsiteX63" fmla="*/ 7152 w 10000"/>
                <a:gd name="connsiteY63" fmla="*/ 5971 h 10000"/>
                <a:gd name="connsiteX64" fmla="*/ 7130 w 10000"/>
                <a:gd name="connsiteY64" fmla="*/ 5902 h 10000"/>
                <a:gd name="connsiteX65" fmla="*/ 6729 w 10000"/>
                <a:gd name="connsiteY65" fmla="*/ 5729 h 10000"/>
                <a:gd name="connsiteX66" fmla="*/ 6785 w 10000"/>
                <a:gd name="connsiteY66" fmla="*/ 5723 h 10000"/>
                <a:gd name="connsiteX67" fmla="*/ 6998 w 10000"/>
                <a:gd name="connsiteY67" fmla="*/ 5768 h 10000"/>
                <a:gd name="connsiteX68" fmla="*/ 7230 w 10000"/>
                <a:gd name="connsiteY68" fmla="*/ 5751 h 10000"/>
                <a:gd name="connsiteX69" fmla="*/ 7295 w 10000"/>
                <a:gd name="connsiteY69" fmla="*/ 5689 h 10000"/>
                <a:gd name="connsiteX70" fmla="*/ 7074 w 10000"/>
                <a:gd name="connsiteY70" fmla="*/ 5571 h 10000"/>
                <a:gd name="connsiteX71" fmla="*/ 6414 w 10000"/>
                <a:gd name="connsiteY71" fmla="*/ 5495 h 10000"/>
                <a:gd name="connsiteX72" fmla="*/ 6458 w 10000"/>
                <a:gd name="connsiteY72" fmla="*/ 5459 h 10000"/>
                <a:gd name="connsiteX73" fmla="*/ 6998 w 10000"/>
                <a:gd name="connsiteY73" fmla="*/ 5434 h 10000"/>
                <a:gd name="connsiteX74" fmla="*/ 7295 w 10000"/>
                <a:gd name="connsiteY74" fmla="*/ 5506 h 10000"/>
                <a:gd name="connsiteX75" fmla="*/ 7466 w 10000"/>
                <a:gd name="connsiteY75" fmla="*/ 5459 h 10000"/>
                <a:gd name="connsiteX76" fmla="*/ 7529 w 10000"/>
                <a:gd name="connsiteY76" fmla="*/ 5337 h 10000"/>
                <a:gd name="connsiteX77" fmla="*/ 7840 w 10000"/>
                <a:gd name="connsiteY77" fmla="*/ 5337 h 10000"/>
                <a:gd name="connsiteX78" fmla="*/ 8261 w 10000"/>
                <a:gd name="connsiteY78" fmla="*/ 5093 h 10000"/>
                <a:gd name="connsiteX79" fmla="*/ 8275 w 10000"/>
                <a:gd name="connsiteY79" fmla="*/ 4928 h 10000"/>
                <a:gd name="connsiteX80" fmla="*/ 8453 w 10000"/>
                <a:gd name="connsiteY80" fmla="*/ 4965 h 10000"/>
                <a:gd name="connsiteX81" fmla="*/ 8446 w 10000"/>
                <a:gd name="connsiteY81" fmla="*/ 5130 h 10000"/>
                <a:gd name="connsiteX82" fmla="*/ 8727 w 10000"/>
                <a:gd name="connsiteY82" fmla="*/ 5118 h 10000"/>
                <a:gd name="connsiteX83" fmla="*/ 8913 w 10000"/>
                <a:gd name="connsiteY83" fmla="*/ 4948 h 10000"/>
                <a:gd name="connsiteX84" fmla="*/ 9258 w 10000"/>
                <a:gd name="connsiteY84" fmla="*/ 4795 h 10000"/>
                <a:gd name="connsiteX85" fmla="*/ 9203 w 10000"/>
                <a:gd name="connsiteY85" fmla="*/ 4621 h 10000"/>
                <a:gd name="connsiteX86" fmla="*/ 9306 w 10000"/>
                <a:gd name="connsiteY86" fmla="*/ 4690 h 10000"/>
                <a:gd name="connsiteX87" fmla="*/ 9464 w 10000"/>
                <a:gd name="connsiteY87" fmla="*/ 4690 h 10000"/>
                <a:gd name="connsiteX88" fmla="*/ 9464 w 10000"/>
                <a:gd name="connsiteY88" fmla="*/ 4609 h 10000"/>
                <a:gd name="connsiteX89" fmla="*/ 9611 w 10000"/>
                <a:gd name="connsiteY89" fmla="*/ 4550 h 10000"/>
                <a:gd name="connsiteX90" fmla="*/ 9592 w 10000"/>
                <a:gd name="connsiteY90" fmla="*/ 4487 h 10000"/>
                <a:gd name="connsiteX91" fmla="*/ 8350 w 10000"/>
                <a:gd name="connsiteY91" fmla="*/ 4611 h 10000"/>
                <a:gd name="connsiteX92" fmla="*/ 8058 w 10000"/>
                <a:gd name="connsiteY92" fmla="*/ 4576 h 10000"/>
                <a:gd name="connsiteX93" fmla="*/ 7942 w 10000"/>
                <a:gd name="connsiteY93" fmla="*/ 4621 h 10000"/>
                <a:gd name="connsiteX94" fmla="*/ 7903 w 10000"/>
                <a:gd name="connsiteY94" fmla="*/ 4532 h 10000"/>
                <a:gd name="connsiteX95" fmla="*/ 7765 w 10000"/>
                <a:gd name="connsiteY95" fmla="*/ 4456 h 10000"/>
                <a:gd name="connsiteX96" fmla="*/ 7213 w 10000"/>
                <a:gd name="connsiteY96" fmla="*/ 4297 h 10000"/>
                <a:gd name="connsiteX97" fmla="*/ 6887 w 10000"/>
                <a:gd name="connsiteY97" fmla="*/ 4324 h 10000"/>
                <a:gd name="connsiteX98" fmla="*/ 6757 w 10000"/>
                <a:gd name="connsiteY98" fmla="*/ 4278 h 10000"/>
                <a:gd name="connsiteX99" fmla="*/ 6894 w 10000"/>
                <a:gd name="connsiteY99" fmla="*/ 4240 h 10000"/>
                <a:gd name="connsiteX100" fmla="*/ 6998 w 10000"/>
                <a:gd name="connsiteY100" fmla="*/ 4156 h 10000"/>
                <a:gd name="connsiteX101" fmla="*/ 7152 w 10000"/>
                <a:gd name="connsiteY101" fmla="*/ 4182 h 10000"/>
                <a:gd name="connsiteX102" fmla="*/ 7335 w 10000"/>
                <a:gd name="connsiteY102" fmla="*/ 4161 h 10000"/>
                <a:gd name="connsiteX103" fmla="*/ 7611 w 10000"/>
                <a:gd name="connsiteY103" fmla="*/ 4188 h 10000"/>
                <a:gd name="connsiteX104" fmla="*/ 7645 w 10000"/>
                <a:gd name="connsiteY104" fmla="*/ 4177 h 10000"/>
                <a:gd name="connsiteX105" fmla="*/ 7859 w 10000"/>
                <a:gd name="connsiteY105" fmla="*/ 4305 h 10000"/>
                <a:gd name="connsiteX106" fmla="*/ 8017 w 10000"/>
                <a:gd name="connsiteY106" fmla="*/ 4257 h 10000"/>
                <a:gd name="connsiteX107" fmla="*/ 8032 w 10000"/>
                <a:gd name="connsiteY107" fmla="*/ 4214 h 10000"/>
                <a:gd name="connsiteX108" fmla="*/ 8176 w 10000"/>
                <a:gd name="connsiteY108" fmla="*/ 4290 h 10000"/>
                <a:gd name="connsiteX109" fmla="*/ 8369 w 10000"/>
                <a:gd name="connsiteY109" fmla="*/ 4331 h 10000"/>
                <a:gd name="connsiteX110" fmla="*/ 8446 w 10000"/>
                <a:gd name="connsiteY110" fmla="*/ 4255 h 10000"/>
                <a:gd name="connsiteX111" fmla="*/ 8507 w 10000"/>
                <a:gd name="connsiteY111" fmla="*/ 4297 h 10000"/>
                <a:gd name="connsiteX112" fmla="*/ 8596 w 10000"/>
                <a:gd name="connsiteY112" fmla="*/ 4446 h 10000"/>
                <a:gd name="connsiteX113" fmla="*/ 8782 w 10000"/>
                <a:gd name="connsiteY113" fmla="*/ 4478 h 10000"/>
                <a:gd name="connsiteX114" fmla="*/ 9542 w 10000"/>
                <a:gd name="connsiteY114" fmla="*/ 4262 h 10000"/>
                <a:gd name="connsiteX115" fmla="*/ 9914 w 10000"/>
                <a:gd name="connsiteY115" fmla="*/ 3962 h 10000"/>
                <a:gd name="connsiteX116" fmla="*/ 10000 w 10000"/>
                <a:gd name="connsiteY116" fmla="*/ 3744 h 10000"/>
                <a:gd name="connsiteX117" fmla="*/ 9866 w 10000"/>
                <a:gd name="connsiteY117" fmla="*/ 3546 h 10000"/>
                <a:gd name="connsiteX118" fmla="*/ 9582 w 10000"/>
                <a:gd name="connsiteY118" fmla="*/ 3428 h 10000"/>
                <a:gd name="connsiteX119" fmla="*/ 9382 w 10000"/>
                <a:gd name="connsiteY119" fmla="*/ 3233 h 10000"/>
                <a:gd name="connsiteX120" fmla="*/ 9569 w 10000"/>
                <a:gd name="connsiteY120" fmla="*/ 3227 h 10000"/>
                <a:gd name="connsiteX121" fmla="*/ 9555 w 10000"/>
                <a:gd name="connsiteY121" fmla="*/ 3180 h 10000"/>
                <a:gd name="connsiteX122" fmla="*/ 9068 w 10000"/>
                <a:gd name="connsiteY122" fmla="*/ 3045 h 10000"/>
                <a:gd name="connsiteX123" fmla="*/ 9047 w 10000"/>
                <a:gd name="connsiteY123" fmla="*/ 2920 h 10000"/>
                <a:gd name="connsiteX124" fmla="*/ 8953 w 10000"/>
                <a:gd name="connsiteY124" fmla="*/ 2789 h 10000"/>
                <a:gd name="connsiteX125" fmla="*/ 8569 w 10000"/>
                <a:gd name="connsiteY125" fmla="*/ 2813 h 10000"/>
                <a:gd name="connsiteX126" fmla="*/ 8431 w 10000"/>
                <a:gd name="connsiteY126" fmla="*/ 2673 h 10000"/>
                <a:gd name="connsiteX127" fmla="*/ 8350 w 10000"/>
                <a:gd name="connsiteY127" fmla="*/ 2665 h 10000"/>
                <a:gd name="connsiteX128" fmla="*/ 8350 w 10000"/>
                <a:gd name="connsiteY128" fmla="*/ 2726 h 10000"/>
                <a:gd name="connsiteX129" fmla="*/ 8176 w 10000"/>
                <a:gd name="connsiteY129" fmla="*/ 2959 h 10000"/>
                <a:gd name="connsiteX130" fmla="*/ 7990 w 10000"/>
                <a:gd name="connsiteY130" fmla="*/ 3096 h 10000"/>
                <a:gd name="connsiteX131" fmla="*/ 7401 w 10000"/>
                <a:gd name="connsiteY131" fmla="*/ 3329 h 10000"/>
                <a:gd name="connsiteX132" fmla="*/ 7198 w 10000"/>
                <a:gd name="connsiteY132" fmla="*/ 3322 h 10000"/>
                <a:gd name="connsiteX133" fmla="*/ 6915 w 10000"/>
                <a:gd name="connsiteY133" fmla="*/ 3359 h 10000"/>
                <a:gd name="connsiteX134" fmla="*/ 6757 w 10000"/>
                <a:gd name="connsiteY134" fmla="*/ 3322 h 10000"/>
                <a:gd name="connsiteX135" fmla="*/ 6965 w 10000"/>
                <a:gd name="connsiteY135" fmla="*/ 3255 h 10000"/>
                <a:gd name="connsiteX136" fmla="*/ 7235 w 10000"/>
                <a:gd name="connsiteY136" fmla="*/ 3227 h 10000"/>
                <a:gd name="connsiteX137" fmla="*/ 7455 w 10000"/>
                <a:gd name="connsiteY137" fmla="*/ 3118 h 10000"/>
                <a:gd name="connsiteX138" fmla="*/ 7674 w 10000"/>
                <a:gd name="connsiteY138" fmla="*/ 3066 h 10000"/>
                <a:gd name="connsiteX139" fmla="*/ 8082 w 10000"/>
                <a:gd name="connsiteY139" fmla="*/ 2874 h 10000"/>
                <a:gd name="connsiteX140" fmla="*/ 8157 w 10000"/>
                <a:gd name="connsiteY140" fmla="*/ 2750 h 10000"/>
                <a:gd name="connsiteX141" fmla="*/ 8165 w 10000"/>
                <a:gd name="connsiteY141" fmla="*/ 2589 h 10000"/>
                <a:gd name="connsiteX142" fmla="*/ 7978 w 10000"/>
                <a:gd name="connsiteY142" fmla="*/ 2562 h 10000"/>
                <a:gd name="connsiteX143" fmla="*/ 8058 w 10000"/>
                <a:gd name="connsiteY143" fmla="*/ 2463 h 10000"/>
                <a:gd name="connsiteX144" fmla="*/ 8087 w 10000"/>
                <a:gd name="connsiteY144" fmla="*/ 2338 h 10000"/>
                <a:gd name="connsiteX145" fmla="*/ 8007 w 10000"/>
                <a:gd name="connsiteY145" fmla="*/ 2222 h 10000"/>
                <a:gd name="connsiteX146" fmla="*/ 7450 w 10000"/>
                <a:gd name="connsiteY146" fmla="*/ 2382 h 10000"/>
                <a:gd name="connsiteX147" fmla="*/ 6694 w 10000"/>
                <a:gd name="connsiteY147" fmla="*/ 2311 h 10000"/>
                <a:gd name="connsiteX148" fmla="*/ 6304 w 10000"/>
                <a:gd name="connsiteY148" fmla="*/ 1864 h 10000"/>
                <a:gd name="connsiteX149" fmla="*/ 5294 w 10000"/>
                <a:gd name="connsiteY149" fmla="*/ 1779 h 10000"/>
                <a:gd name="connsiteX150" fmla="*/ 4505 w 10000"/>
                <a:gd name="connsiteY150" fmla="*/ 1407 h 10000"/>
                <a:gd name="connsiteX151" fmla="*/ 3730 w 10000"/>
                <a:gd name="connsiteY151" fmla="*/ 962 h 10000"/>
                <a:gd name="connsiteX152" fmla="*/ 3154 w 10000"/>
                <a:gd name="connsiteY152" fmla="*/ 143 h 10000"/>
                <a:gd name="connsiteX153" fmla="*/ 2375 w 10000"/>
                <a:gd name="connsiteY153" fmla="*/ 0 h 10000"/>
                <a:gd name="connsiteX154" fmla="*/ 2226 w 10000"/>
                <a:gd name="connsiteY154" fmla="*/ 772 h 10000"/>
                <a:gd name="connsiteX155" fmla="*/ 2375 w 10000"/>
                <a:gd name="connsiteY155" fmla="*/ 967 h 10000"/>
                <a:gd name="connsiteX156" fmla="*/ 2791 w 10000"/>
                <a:gd name="connsiteY156" fmla="*/ 1185 h 10000"/>
                <a:gd name="connsiteX157" fmla="*/ 2808 w 10000"/>
                <a:gd name="connsiteY157" fmla="*/ 1446 h 10000"/>
                <a:gd name="connsiteX158" fmla="*/ 2632 w 10000"/>
                <a:gd name="connsiteY158" fmla="*/ 1665 h 10000"/>
                <a:gd name="connsiteX159" fmla="*/ 2375 w 10000"/>
                <a:gd name="connsiteY159" fmla="*/ 1798 h 10000"/>
                <a:gd name="connsiteX160" fmla="*/ 2039 w 10000"/>
                <a:gd name="connsiteY160" fmla="*/ 1851 h 10000"/>
                <a:gd name="connsiteX161" fmla="*/ 1950 w 10000"/>
                <a:gd name="connsiteY161" fmla="*/ 1929 h 10000"/>
                <a:gd name="connsiteX162" fmla="*/ 2148 w 10000"/>
                <a:gd name="connsiteY162" fmla="*/ 2110 h 10000"/>
                <a:gd name="connsiteX163" fmla="*/ 2261 w 10000"/>
                <a:gd name="connsiteY163" fmla="*/ 2541 h 10000"/>
                <a:gd name="connsiteX164" fmla="*/ 2005 w 10000"/>
                <a:gd name="connsiteY164" fmla="*/ 2910 h 10000"/>
                <a:gd name="connsiteX165" fmla="*/ 2094 w 10000"/>
                <a:gd name="connsiteY165" fmla="*/ 3022 h 10000"/>
                <a:gd name="connsiteX166" fmla="*/ 2012 w 10000"/>
                <a:gd name="connsiteY166" fmla="*/ 3214 h 10000"/>
                <a:gd name="connsiteX167" fmla="*/ 1850 w 10000"/>
                <a:gd name="connsiteY167" fmla="*/ 3349 h 10000"/>
                <a:gd name="connsiteX168" fmla="*/ 1199 w 10000"/>
                <a:gd name="connsiteY168" fmla="*/ 3450 h 10000"/>
                <a:gd name="connsiteX169" fmla="*/ 1158 w 10000"/>
                <a:gd name="connsiteY169" fmla="*/ 3629 h 10000"/>
                <a:gd name="connsiteX170" fmla="*/ 808 w 10000"/>
                <a:gd name="connsiteY170" fmla="*/ 3893 h 10000"/>
                <a:gd name="connsiteX171" fmla="*/ 854 w 10000"/>
                <a:gd name="connsiteY171" fmla="*/ 4276 h 10000"/>
                <a:gd name="connsiteX172" fmla="*/ 560 w 10000"/>
                <a:gd name="connsiteY172" fmla="*/ 4766 h 10000"/>
                <a:gd name="connsiteX173" fmla="*/ 358 w 10000"/>
                <a:gd name="connsiteY173" fmla="*/ 4822 h 10000"/>
                <a:gd name="connsiteX174" fmla="*/ 275 w 10000"/>
                <a:gd name="connsiteY174" fmla="*/ 4706 h 10000"/>
                <a:gd name="connsiteX175" fmla="*/ 174 w 10000"/>
                <a:gd name="connsiteY175" fmla="*/ 4882 h 10000"/>
                <a:gd name="connsiteX176" fmla="*/ 239 w 10000"/>
                <a:gd name="connsiteY176" fmla="*/ 4578 h 10000"/>
                <a:gd name="connsiteX177" fmla="*/ 197 w 10000"/>
                <a:gd name="connsiteY177" fmla="*/ 4521 h 10000"/>
                <a:gd name="connsiteX0" fmla="*/ 197 w 10000"/>
                <a:gd name="connsiteY0" fmla="*/ 4521 h 9972"/>
                <a:gd name="connsiteX1" fmla="*/ 0 w 10000"/>
                <a:gd name="connsiteY1" fmla="*/ 4679 h 9972"/>
                <a:gd name="connsiteX2" fmla="*/ 0 w 10000"/>
                <a:gd name="connsiteY2" fmla="*/ 5459 h 9972"/>
                <a:gd name="connsiteX3" fmla="*/ 109 w 10000"/>
                <a:gd name="connsiteY3" fmla="*/ 5480 h 9972"/>
                <a:gd name="connsiteX4" fmla="*/ 134 w 10000"/>
                <a:gd name="connsiteY4" fmla="*/ 5540 h 9972"/>
                <a:gd name="connsiteX5" fmla="*/ 130 w 10000"/>
                <a:gd name="connsiteY5" fmla="*/ 5647 h 9972"/>
                <a:gd name="connsiteX6" fmla="*/ 89 w 10000"/>
                <a:gd name="connsiteY6" fmla="*/ 5693 h 9972"/>
                <a:gd name="connsiteX7" fmla="*/ 255 w 10000"/>
                <a:gd name="connsiteY7" fmla="*/ 5602 h 9972"/>
                <a:gd name="connsiteX8" fmla="*/ 325 w 10000"/>
                <a:gd name="connsiteY8" fmla="*/ 5515 h 9972"/>
                <a:gd name="connsiteX9" fmla="*/ 413 w 10000"/>
                <a:gd name="connsiteY9" fmla="*/ 5574 h 9972"/>
                <a:gd name="connsiteX10" fmla="*/ 316 w 10000"/>
                <a:gd name="connsiteY10" fmla="*/ 5703 h 9972"/>
                <a:gd name="connsiteX11" fmla="*/ 419 w 10000"/>
                <a:gd name="connsiteY11" fmla="*/ 5706 h 9972"/>
                <a:gd name="connsiteX12" fmla="*/ 469 w 10000"/>
                <a:gd name="connsiteY12" fmla="*/ 5738 h 9972"/>
                <a:gd name="connsiteX13" fmla="*/ 337 w 10000"/>
                <a:gd name="connsiteY13" fmla="*/ 5779 h 9972"/>
                <a:gd name="connsiteX14" fmla="*/ 130 w 10000"/>
                <a:gd name="connsiteY14" fmla="*/ 5909 h 9972"/>
                <a:gd name="connsiteX15" fmla="*/ 497 w 10000"/>
                <a:gd name="connsiteY15" fmla="*/ 6013 h 9972"/>
                <a:gd name="connsiteX16" fmla="*/ 545 w 10000"/>
                <a:gd name="connsiteY16" fmla="*/ 6159 h 9972"/>
                <a:gd name="connsiteX17" fmla="*/ 419 w 10000"/>
                <a:gd name="connsiteY17" fmla="*/ 6373 h 9972"/>
                <a:gd name="connsiteX18" fmla="*/ 688 w 10000"/>
                <a:gd name="connsiteY18" fmla="*/ 6361 h 9972"/>
                <a:gd name="connsiteX19" fmla="*/ 709 w 10000"/>
                <a:gd name="connsiteY19" fmla="*/ 6521 h 9972"/>
                <a:gd name="connsiteX20" fmla="*/ 530 w 10000"/>
                <a:gd name="connsiteY20" fmla="*/ 6635 h 9972"/>
                <a:gd name="connsiteX21" fmla="*/ 560 w 10000"/>
                <a:gd name="connsiteY21" fmla="*/ 6846 h 9972"/>
                <a:gd name="connsiteX22" fmla="*/ 489 w 10000"/>
                <a:gd name="connsiteY22" fmla="*/ 7014 h 9972"/>
                <a:gd name="connsiteX23" fmla="*/ 703 w 10000"/>
                <a:gd name="connsiteY23" fmla="*/ 7030 h 9972"/>
                <a:gd name="connsiteX24" fmla="*/ 909 w 10000"/>
                <a:gd name="connsiteY24" fmla="*/ 7668 h 9972"/>
                <a:gd name="connsiteX25" fmla="*/ 1150 w 10000"/>
                <a:gd name="connsiteY25" fmla="*/ 7826 h 9972"/>
                <a:gd name="connsiteX26" fmla="*/ 1255 w 10000"/>
                <a:gd name="connsiteY26" fmla="*/ 8000 h 9972"/>
                <a:gd name="connsiteX27" fmla="*/ 1514 w 10000"/>
                <a:gd name="connsiteY27" fmla="*/ 8123 h 9972"/>
                <a:gd name="connsiteX28" fmla="*/ 1684 w 10000"/>
                <a:gd name="connsiteY28" fmla="*/ 8285 h 9972"/>
                <a:gd name="connsiteX29" fmla="*/ 1661 w 10000"/>
                <a:gd name="connsiteY29" fmla="*/ 8400 h 9972"/>
                <a:gd name="connsiteX30" fmla="*/ 1496 w 10000"/>
                <a:gd name="connsiteY30" fmla="*/ 8442 h 9972"/>
                <a:gd name="connsiteX31" fmla="*/ 1316 w 10000"/>
                <a:gd name="connsiteY31" fmla="*/ 8414 h 9972"/>
                <a:gd name="connsiteX32" fmla="*/ 1260 w 10000"/>
                <a:gd name="connsiteY32" fmla="*/ 8460 h 9972"/>
                <a:gd name="connsiteX33" fmla="*/ 1397 w 10000"/>
                <a:gd name="connsiteY33" fmla="*/ 8708 h 9972"/>
                <a:gd name="connsiteX34" fmla="*/ 1205 w 10000"/>
                <a:gd name="connsiteY34" fmla="*/ 8687 h 9972"/>
                <a:gd name="connsiteX35" fmla="*/ 1040 w 10000"/>
                <a:gd name="connsiteY35" fmla="*/ 8627 h 9972"/>
                <a:gd name="connsiteX36" fmla="*/ 1012 w 10000"/>
                <a:gd name="connsiteY36" fmla="*/ 8719 h 9972"/>
                <a:gd name="connsiteX37" fmla="*/ 1557 w 10000"/>
                <a:gd name="connsiteY37" fmla="*/ 9568 h 9972"/>
                <a:gd name="connsiteX38" fmla="*/ 1469 w 10000"/>
                <a:gd name="connsiteY38" fmla="*/ 9647 h 9972"/>
                <a:gd name="connsiteX39" fmla="*/ 1408 w 10000"/>
                <a:gd name="connsiteY39" fmla="*/ 9810 h 9972"/>
                <a:gd name="connsiteX40" fmla="*/ 1329 w 10000"/>
                <a:gd name="connsiteY40" fmla="*/ 9822 h 9972"/>
                <a:gd name="connsiteX41" fmla="*/ 1281 w 10000"/>
                <a:gd name="connsiteY41" fmla="*/ 9895 h 9972"/>
                <a:gd name="connsiteX42" fmla="*/ 1609 w 10000"/>
                <a:gd name="connsiteY42" fmla="*/ 9901 h 9972"/>
                <a:gd name="connsiteX43" fmla="*/ 1900 w 10000"/>
                <a:gd name="connsiteY43" fmla="*/ 9972 h 9972"/>
                <a:gd name="connsiteX44" fmla="*/ 2383 w 10000"/>
                <a:gd name="connsiteY44" fmla="*/ 9898 h 9972"/>
                <a:gd name="connsiteX45" fmla="*/ 2816 w 10000"/>
                <a:gd name="connsiteY45" fmla="*/ 9912 h 9972"/>
                <a:gd name="connsiteX46" fmla="*/ 6419 w 10000"/>
                <a:gd name="connsiteY46" fmla="*/ 8186 h 9972"/>
                <a:gd name="connsiteX47" fmla="*/ 6586 w 10000"/>
                <a:gd name="connsiteY47" fmla="*/ 7505 h 9972"/>
                <a:gd name="connsiteX48" fmla="*/ 6855 w 10000"/>
                <a:gd name="connsiteY48" fmla="*/ 7204 h 9972"/>
                <a:gd name="connsiteX49" fmla="*/ 6855 w 10000"/>
                <a:gd name="connsiteY49" fmla="*/ 7043 h 9972"/>
                <a:gd name="connsiteX50" fmla="*/ 6757 w 10000"/>
                <a:gd name="connsiteY50" fmla="*/ 6956 h 9972"/>
                <a:gd name="connsiteX51" fmla="*/ 6915 w 10000"/>
                <a:gd name="connsiteY51" fmla="*/ 6811 h 9972"/>
                <a:gd name="connsiteX52" fmla="*/ 6887 w 10000"/>
                <a:gd name="connsiteY52" fmla="*/ 6693 h 9972"/>
                <a:gd name="connsiteX53" fmla="*/ 6779 w 10000"/>
                <a:gd name="connsiteY53" fmla="*/ 6592 h 9972"/>
                <a:gd name="connsiteX54" fmla="*/ 6757 w 10000"/>
                <a:gd name="connsiteY54" fmla="*/ 6514 h 9972"/>
                <a:gd name="connsiteX55" fmla="*/ 6785 w 10000"/>
                <a:gd name="connsiteY55" fmla="*/ 6457 h 9972"/>
                <a:gd name="connsiteX56" fmla="*/ 6931 w 10000"/>
                <a:gd name="connsiteY56" fmla="*/ 6503 h 9972"/>
                <a:gd name="connsiteX57" fmla="*/ 7045 w 10000"/>
                <a:gd name="connsiteY57" fmla="*/ 6500 h 9972"/>
                <a:gd name="connsiteX58" fmla="*/ 6983 w 10000"/>
                <a:gd name="connsiteY58" fmla="*/ 6404 h 9972"/>
                <a:gd name="connsiteX59" fmla="*/ 7003 w 10000"/>
                <a:gd name="connsiteY59" fmla="*/ 6346 h 9972"/>
                <a:gd name="connsiteX60" fmla="*/ 7089 w 10000"/>
                <a:gd name="connsiteY60" fmla="*/ 6265 h 9972"/>
                <a:gd name="connsiteX61" fmla="*/ 7074 w 10000"/>
                <a:gd name="connsiteY61" fmla="*/ 6198 h 9972"/>
                <a:gd name="connsiteX62" fmla="*/ 7152 w 10000"/>
                <a:gd name="connsiteY62" fmla="*/ 5971 h 9972"/>
                <a:gd name="connsiteX63" fmla="*/ 7130 w 10000"/>
                <a:gd name="connsiteY63" fmla="*/ 5902 h 9972"/>
                <a:gd name="connsiteX64" fmla="*/ 6729 w 10000"/>
                <a:gd name="connsiteY64" fmla="*/ 5729 h 9972"/>
                <a:gd name="connsiteX65" fmla="*/ 6785 w 10000"/>
                <a:gd name="connsiteY65" fmla="*/ 5723 h 9972"/>
                <a:gd name="connsiteX66" fmla="*/ 6998 w 10000"/>
                <a:gd name="connsiteY66" fmla="*/ 5768 h 9972"/>
                <a:gd name="connsiteX67" fmla="*/ 7230 w 10000"/>
                <a:gd name="connsiteY67" fmla="*/ 5751 h 9972"/>
                <a:gd name="connsiteX68" fmla="*/ 7295 w 10000"/>
                <a:gd name="connsiteY68" fmla="*/ 5689 h 9972"/>
                <a:gd name="connsiteX69" fmla="*/ 7074 w 10000"/>
                <a:gd name="connsiteY69" fmla="*/ 5571 h 9972"/>
                <a:gd name="connsiteX70" fmla="*/ 6414 w 10000"/>
                <a:gd name="connsiteY70" fmla="*/ 5495 h 9972"/>
                <a:gd name="connsiteX71" fmla="*/ 6458 w 10000"/>
                <a:gd name="connsiteY71" fmla="*/ 5459 h 9972"/>
                <a:gd name="connsiteX72" fmla="*/ 6998 w 10000"/>
                <a:gd name="connsiteY72" fmla="*/ 5434 h 9972"/>
                <a:gd name="connsiteX73" fmla="*/ 7295 w 10000"/>
                <a:gd name="connsiteY73" fmla="*/ 5506 h 9972"/>
                <a:gd name="connsiteX74" fmla="*/ 7466 w 10000"/>
                <a:gd name="connsiteY74" fmla="*/ 5459 h 9972"/>
                <a:gd name="connsiteX75" fmla="*/ 7529 w 10000"/>
                <a:gd name="connsiteY75" fmla="*/ 5337 h 9972"/>
                <a:gd name="connsiteX76" fmla="*/ 7840 w 10000"/>
                <a:gd name="connsiteY76" fmla="*/ 5337 h 9972"/>
                <a:gd name="connsiteX77" fmla="*/ 8261 w 10000"/>
                <a:gd name="connsiteY77" fmla="*/ 5093 h 9972"/>
                <a:gd name="connsiteX78" fmla="*/ 8275 w 10000"/>
                <a:gd name="connsiteY78" fmla="*/ 4928 h 9972"/>
                <a:gd name="connsiteX79" fmla="*/ 8453 w 10000"/>
                <a:gd name="connsiteY79" fmla="*/ 4965 h 9972"/>
                <a:gd name="connsiteX80" fmla="*/ 8446 w 10000"/>
                <a:gd name="connsiteY80" fmla="*/ 5130 h 9972"/>
                <a:gd name="connsiteX81" fmla="*/ 8727 w 10000"/>
                <a:gd name="connsiteY81" fmla="*/ 5118 h 9972"/>
                <a:gd name="connsiteX82" fmla="*/ 8913 w 10000"/>
                <a:gd name="connsiteY82" fmla="*/ 4948 h 9972"/>
                <a:gd name="connsiteX83" fmla="*/ 9258 w 10000"/>
                <a:gd name="connsiteY83" fmla="*/ 4795 h 9972"/>
                <a:gd name="connsiteX84" fmla="*/ 9203 w 10000"/>
                <a:gd name="connsiteY84" fmla="*/ 4621 h 9972"/>
                <a:gd name="connsiteX85" fmla="*/ 9306 w 10000"/>
                <a:gd name="connsiteY85" fmla="*/ 4690 h 9972"/>
                <a:gd name="connsiteX86" fmla="*/ 9464 w 10000"/>
                <a:gd name="connsiteY86" fmla="*/ 4690 h 9972"/>
                <a:gd name="connsiteX87" fmla="*/ 9464 w 10000"/>
                <a:gd name="connsiteY87" fmla="*/ 4609 h 9972"/>
                <a:gd name="connsiteX88" fmla="*/ 9611 w 10000"/>
                <a:gd name="connsiteY88" fmla="*/ 4550 h 9972"/>
                <a:gd name="connsiteX89" fmla="*/ 9592 w 10000"/>
                <a:gd name="connsiteY89" fmla="*/ 4487 h 9972"/>
                <a:gd name="connsiteX90" fmla="*/ 8350 w 10000"/>
                <a:gd name="connsiteY90" fmla="*/ 4611 h 9972"/>
                <a:gd name="connsiteX91" fmla="*/ 8058 w 10000"/>
                <a:gd name="connsiteY91" fmla="*/ 4576 h 9972"/>
                <a:gd name="connsiteX92" fmla="*/ 7942 w 10000"/>
                <a:gd name="connsiteY92" fmla="*/ 4621 h 9972"/>
                <a:gd name="connsiteX93" fmla="*/ 7903 w 10000"/>
                <a:gd name="connsiteY93" fmla="*/ 4532 h 9972"/>
                <a:gd name="connsiteX94" fmla="*/ 7765 w 10000"/>
                <a:gd name="connsiteY94" fmla="*/ 4456 h 9972"/>
                <a:gd name="connsiteX95" fmla="*/ 7213 w 10000"/>
                <a:gd name="connsiteY95" fmla="*/ 4297 h 9972"/>
                <a:gd name="connsiteX96" fmla="*/ 6887 w 10000"/>
                <a:gd name="connsiteY96" fmla="*/ 4324 h 9972"/>
                <a:gd name="connsiteX97" fmla="*/ 6757 w 10000"/>
                <a:gd name="connsiteY97" fmla="*/ 4278 h 9972"/>
                <a:gd name="connsiteX98" fmla="*/ 6894 w 10000"/>
                <a:gd name="connsiteY98" fmla="*/ 4240 h 9972"/>
                <a:gd name="connsiteX99" fmla="*/ 6998 w 10000"/>
                <a:gd name="connsiteY99" fmla="*/ 4156 h 9972"/>
                <a:gd name="connsiteX100" fmla="*/ 7152 w 10000"/>
                <a:gd name="connsiteY100" fmla="*/ 4182 h 9972"/>
                <a:gd name="connsiteX101" fmla="*/ 7335 w 10000"/>
                <a:gd name="connsiteY101" fmla="*/ 4161 h 9972"/>
                <a:gd name="connsiteX102" fmla="*/ 7611 w 10000"/>
                <a:gd name="connsiteY102" fmla="*/ 4188 h 9972"/>
                <a:gd name="connsiteX103" fmla="*/ 7645 w 10000"/>
                <a:gd name="connsiteY103" fmla="*/ 4177 h 9972"/>
                <a:gd name="connsiteX104" fmla="*/ 7859 w 10000"/>
                <a:gd name="connsiteY104" fmla="*/ 4305 h 9972"/>
                <a:gd name="connsiteX105" fmla="*/ 8017 w 10000"/>
                <a:gd name="connsiteY105" fmla="*/ 4257 h 9972"/>
                <a:gd name="connsiteX106" fmla="*/ 8032 w 10000"/>
                <a:gd name="connsiteY106" fmla="*/ 4214 h 9972"/>
                <a:gd name="connsiteX107" fmla="*/ 8176 w 10000"/>
                <a:gd name="connsiteY107" fmla="*/ 4290 h 9972"/>
                <a:gd name="connsiteX108" fmla="*/ 8369 w 10000"/>
                <a:gd name="connsiteY108" fmla="*/ 4331 h 9972"/>
                <a:gd name="connsiteX109" fmla="*/ 8446 w 10000"/>
                <a:gd name="connsiteY109" fmla="*/ 4255 h 9972"/>
                <a:gd name="connsiteX110" fmla="*/ 8507 w 10000"/>
                <a:gd name="connsiteY110" fmla="*/ 4297 h 9972"/>
                <a:gd name="connsiteX111" fmla="*/ 8596 w 10000"/>
                <a:gd name="connsiteY111" fmla="*/ 4446 h 9972"/>
                <a:gd name="connsiteX112" fmla="*/ 8782 w 10000"/>
                <a:gd name="connsiteY112" fmla="*/ 4478 h 9972"/>
                <a:gd name="connsiteX113" fmla="*/ 9542 w 10000"/>
                <a:gd name="connsiteY113" fmla="*/ 4262 h 9972"/>
                <a:gd name="connsiteX114" fmla="*/ 9914 w 10000"/>
                <a:gd name="connsiteY114" fmla="*/ 3962 h 9972"/>
                <a:gd name="connsiteX115" fmla="*/ 10000 w 10000"/>
                <a:gd name="connsiteY115" fmla="*/ 3744 h 9972"/>
                <a:gd name="connsiteX116" fmla="*/ 9866 w 10000"/>
                <a:gd name="connsiteY116" fmla="*/ 3546 h 9972"/>
                <a:gd name="connsiteX117" fmla="*/ 9582 w 10000"/>
                <a:gd name="connsiteY117" fmla="*/ 3428 h 9972"/>
                <a:gd name="connsiteX118" fmla="*/ 9382 w 10000"/>
                <a:gd name="connsiteY118" fmla="*/ 3233 h 9972"/>
                <a:gd name="connsiteX119" fmla="*/ 9569 w 10000"/>
                <a:gd name="connsiteY119" fmla="*/ 3227 h 9972"/>
                <a:gd name="connsiteX120" fmla="*/ 9555 w 10000"/>
                <a:gd name="connsiteY120" fmla="*/ 3180 h 9972"/>
                <a:gd name="connsiteX121" fmla="*/ 9068 w 10000"/>
                <a:gd name="connsiteY121" fmla="*/ 3045 h 9972"/>
                <a:gd name="connsiteX122" fmla="*/ 9047 w 10000"/>
                <a:gd name="connsiteY122" fmla="*/ 2920 h 9972"/>
                <a:gd name="connsiteX123" fmla="*/ 8953 w 10000"/>
                <a:gd name="connsiteY123" fmla="*/ 2789 h 9972"/>
                <a:gd name="connsiteX124" fmla="*/ 8569 w 10000"/>
                <a:gd name="connsiteY124" fmla="*/ 2813 h 9972"/>
                <a:gd name="connsiteX125" fmla="*/ 8431 w 10000"/>
                <a:gd name="connsiteY125" fmla="*/ 2673 h 9972"/>
                <a:gd name="connsiteX126" fmla="*/ 8350 w 10000"/>
                <a:gd name="connsiteY126" fmla="*/ 2665 h 9972"/>
                <a:gd name="connsiteX127" fmla="*/ 8350 w 10000"/>
                <a:gd name="connsiteY127" fmla="*/ 2726 h 9972"/>
                <a:gd name="connsiteX128" fmla="*/ 8176 w 10000"/>
                <a:gd name="connsiteY128" fmla="*/ 2959 h 9972"/>
                <a:gd name="connsiteX129" fmla="*/ 7990 w 10000"/>
                <a:gd name="connsiteY129" fmla="*/ 3096 h 9972"/>
                <a:gd name="connsiteX130" fmla="*/ 7401 w 10000"/>
                <a:gd name="connsiteY130" fmla="*/ 3329 h 9972"/>
                <a:gd name="connsiteX131" fmla="*/ 7198 w 10000"/>
                <a:gd name="connsiteY131" fmla="*/ 3322 h 9972"/>
                <a:gd name="connsiteX132" fmla="*/ 6915 w 10000"/>
                <a:gd name="connsiteY132" fmla="*/ 3359 h 9972"/>
                <a:gd name="connsiteX133" fmla="*/ 6757 w 10000"/>
                <a:gd name="connsiteY133" fmla="*/ 3322 h 9972"/>
                <a:gd name="connsiteX134" fmla="*/ 6965 w 10000"/>
                <a:gd name="connsiteY134" fmla="*/ 3255 h 9972"/>
                <a:gd name="connsiteX135" fmla="*/ 7235 w 10000"/>
                <a:gd name="connsiteY135" fmla="*/ 3227 h 9972"/>
                <a:gd name="connsiteX136" fmla="*/ 7455 w 10000"/>
                <a:gd name="connsiteY136" fmla="*/ 3118 h 9972"/>
                <a:gd name="connsiteX137" fmla="*/ 7674 w 10000"/>
                <a:gd name="connsiteY137" fmla="*/ 3066 h 9972"/>
                <a:gd name="connsiteX138" fmla="*/ 8082 w 10000"/>
                <a:gd name="connsiteY138" fmla="*/ 2874 h 9972"/>
                <a:gd name="connsiteX139" fmla="*/ 8157 w 10000"/>
                <a:gd name="connsiteY139" fmla="*/ 2750 h 9972"/>
                <a:gd name="connsiteX140" fmla="*/ 8165 w 10000"/>
                <a:gd name="connsiteY140" fmla="*/ 2589 h 9972"/>
                <a:gd name="connsiteX141" fmla="*/ 7978 w 10000"/>
                <a:gd name="connsiteY141" fmla="*/ 2562 h 9972"/>
                <a:gd name="connsiteX142" fmla="*/ 8058 w 10000"/>
                <a:gd name="connsiteY142" fmla="*/ 2463 h 9972"/>
                <a:gd name="connsiteX143" fmla="*/ 8087 w 10000"/>
                <a:gd name="connsiteY143" fmla="*/ 2338 h 9972"/>
                <a:gd name="connsiteX144" fmla="*/ 8007 w 10000"/>
                <a:gd name="connsiteY144" fmla="*/ 2222 h 9972"/>
                <a:gd name="connsiteX145" fmla="*/ 7450 w 10000"/>
                <a:gd name="connsiteY145" fmla="*/ 2382 h 9972"/>
                <a:gd name="connsiteX146" fmla="*/ 6694 w 10000"/>
                <a:gd name="connsiteY146" fmla="*/ 2311 h 9972"/>
                <a:gd name="connsiteX147" fmla="*/ 6304 w 10000"/>
                <a:gd name="connsiteY147" fmla="*/ 1864 h 9972"/>
                <a:gd name="connsiteX148" fmla="*/ 5294 w 10000"/>
                <a:gd name="connsiteY148" fmla="*/ 1779 h 9972"/>
                <a:gd name="connsiteX149" fmla="*/ 4505 w 10000"/>
                <a:gd name="connsiteY149" fmla="*/ 1407 h 9972"/>
                <a:gd name="connsiteX150" fmla="*/ 3730 w 10000"/>
                <a:gd name="connsiteY150" fmla="*/ 962 h 9972"/>
                <a:gd name="connsiteX151" fmla="*/ 3154 w 10000"/>
                <a:gd name="connsiteY151" fmla="*/ 143 h 9972"/>
                <a:gd name="connsiteX152" fmla="*/ 2375 w 10000"/>
                <a:gd name="connsiteY152" fmla="*/ 0 h 9972"/>
                <a:gd name="connsiteX153" fmla="*/ 2226 w 10000"/>
                <a:gd name="connsiteY153" fmla="*/ 772 h 9972"/>
                <a:gd name="connsiteX154" fmla="*/ 2375 w 10000"/>
                <a:gd name="connsiteY154" fmla="*/ 967 h 9972"/>
                <a:gd name="connsiteX155" fmla="*/ 2791 w 10000"/>
                <a:gd name="connsiteY155" fmla="*/ 1185 h 9972"/>
                <a:gd name="connsiteX156" fmla="*/ 2808 w 10000"/>
                <a:gd name="connsiteY156" fmla="*/ 1446 h 9972"/>
                <a:gd name="connsiteX157" fmla="*/ 2632 w 10000"/>
                <a:gd name="connsiteY157" fmla="*/ 1665 h 9972"/>
                <a:gd name="connsiteX158" fmla="*/ 2375 w 10000"/>
                <a:gd name="connsiteY158" fmla="*/ 1798 h 9972"/>
                <a:gd name="connsiteX159" fmla="*/ 2039 w 10000"/>
                <a:gd name="connsiteY159" fmla="*/ 1851 h 9972"/>
                <a:gd name="connsiteX160" fmla="*/ 1950 w 10000"/>
                <a:gd name="connsiteY160" fmla="*/ 1929 h 9972"/>
                <a:gd name="connsiteX161" fmla="*/ 2148 w 10000"/>
                <a:gd name="connsiteY161" fmla="*/ 2110 h 9972"/>
                <a:gd name="connsiteX162" fmla="*/ 2261 w 10000"/>
                <a:gd name="connsiteY162" fmla="*/ 2541 h 9972"/>
                <a:gd name="connsiteX163" fmla="*/ 2005 w 10000"/>
                <a:gd name="connsiteY163" fmla="*/ 2910 h 9972"/>
                <a:gd name="connsiteX164" fmla="*/ 2094 w 10000"/>
                <a:gd name="connsiteY164" fmla="*/ 3022 h 9972"/>
                <a:gd name="connsiteX165" fmla="*/ 2012 w 10000"/>
                <a:gd name="connsiteY165" fmla="*/ 3214 h 9972"/>
                <a:gd name="connsiteX166" fmla="*/ 1850 w 10000"/>
                <a:gd name="connsiteY166" fmla="*/ 3349 h 9972"/>
                <a:gd name="connsiteX167" fmla="*/ 1199 w 10000"/>
                <a:gd name="connsiteY167" fmla="*/ 3450 h 9972"/>
                <a:gd name="connsiteX168" fmla="*/ 1158 w 10000"/>
                <a:gd name="connsiteY168" fmla="*/ 3629 h 9972"/>
                <a:gd name="connsiteX169" fmla="*/ 808 w 10000"/>
                <a:gd name="connsiteY169" fmla="*/ 3893 h 9972"/>
                <a:gd name="connsiteX170" fmla="*/ 854 w 10000"/>
                <a:gd name="connsiteY170" fmla="*/ 4276 h 9972"/>
                <a:gd name="connsiteX171" fmla="*/ 560 w 10000"/>
                <a:gd name="connsiteY171" fmla="*/ 4766 h 9972"/>
                <a:gd name="connsiteX172" fmla="*/ 358 w 10000"/>
                <a:gd name="connsiteY172" fmla="*/ 4822 h 9972"/>
                <a:gd name="connsiteX173" fmla="*/ 275 w 10000"/>
                <a:gd name="connsiteY173" fmla="*/ 4706 h 9972"/>
                <a:gd name="connsiteX174" fmla="*/ 174 w 10000"/>
                <a:gd name="connsiteY174" fmla="*/ 4882 h 9972"/>
                <a:gd name="connsiteX175" fmla="*/ 239 w 10000"/>
                <a:gd name="connsiteY175" fmla="*/ 4578 h 9972"/>
                <a:gd name="connsiteX176" fmla="*/ 197 w 10000"/>
                <a:gd name="connsiteY176" fmla="*/ 4521 h 9972"/>
                <a:gd name="connsiteX0" fmla="*/ 197 w 10000"/>
                <a:gd name="connsiteY0" fmla="*/ 4534 h 10000"/>
                <a:gd name="connsiteX1" fmla="*/ 0 w 10000"/>
                <a:gd name="connsiteY1" fmla="*/ 4692 h 10000"/>
                <a:gd name="connsiteX2" fmla="*/ 0 w 10000"/>
                <a:gd name="connsiteY2" fmla="*/ 5474 h 10000"/>
                <a:gd name="connsiteX3" fmla="*/ 109 w 10000"/>
                <a:gd name="connsiteY3" fmla="*/ 5495 h 10000"/>
                <a:gd name="connsiteX4" fmla="*/ 134 w 10000"/>
                <a:gd name="connsiteY4" fmla="*/ 5556 h 10000"/>
                <a:gd name="connsiteX5" fmla="*/ 130 w 10000"/>
                <a:gd name="connsiteY5" fmla="*/ 5663 h 10000"/>
                <a:gd name="connsiteX6" fmla="*/ 89 w 10000"/>
                <a:gd name="connsiteY6" fmla="*/ 5709 h 10000"/>
                <a:gd name="connsiteX7" fmla="*/ 255 w 10000"/>
                <a:gd name="connsiteY7" fmla="*/ 5618 h 10000"/>
                <a:gd name="connsiteX8" fmla="*/ 325 w 10000"/>
                <a:gd name="connsiteY8" fmla="*/ 5530 h 10000"/>
                <a:gd name="connsiteX9" fmla="*/ 413 w 10000"/>
                <a:gd name="connsiteY9" fmla="*/ 5590 h 10000"/>
                <a:gd name="connsiteX10" fmla="*/ 316 w 10000"/>
                <a:gd name="connsiteY10" fmla="*/ 5719 h 10000"/>
                <a:gd name="connsiteX11" fmla="*/ 419 w 10000"/>
                <a:gd name="connsiteY11" fmla="*/ 5722 h 10000"/>
                <a:gd name="connsiteX12" fmla="*/ 469 w 10000"/>
                <a:gd name="connsiteY12" fmla="*/ 5754 h 10000"/>
                <a:gd name="connsiteX13" fmla="*/ 337 w 10000"/>
                <a:gd name="connsiteY13" fmla="*/ 5795 h 10000"/>
                <a:gd name="connsiteX14" fmla="*/ 130 w 10000"/>
                <a:gd name="connsiteY14" fmla="*/ 5926 h 10000"/>
                <a:gd name="connsiteX15" fmla="*/ 497 w 10000"/>
                <a:gd name="connsiteY15" fmla="*/ 6030 h 10000"/>
                <a:gd name="connsiteX16" fmla="*/ 545 w 10000"/>
                <a:gd name="connsiteY16" fmla="*/ 6176 h 10000"/>
                <a:gd name="connsiteX17" fmla="*/ 419 w 10000"/>
                <a:gd name="connsiteY17" fmla="*/ 6391 h 10000"/>
                <a:gd name="connsiteX18" fmla="*/ 688 w 10000"/>
                <a:gd name="connsiteY18" fmla="*/ 6379 h 10000"/>
                <a:gd name="connsiteX19" fmla="*/ 709 w 10000"/>
                <a:gd name="connsiteY19" fmla="*/ 6539 h 10000"/>
                <a:gd name="connsiteX20" fmla="*/ 530 w 10000"/>
                <a:gd name="connsiteY20" fmla="*/ 6654 h 10000"/>
                <a:gd name="connsiteX21" fmla="*/ 560 w 10000"/>
                <a:gd name="connsiteY21" fmla="*/ 6865 h 10000"/>
                <a:gd name="connsiteX22" fmla="*/ 489 w 10000"/>
                <a:gd name="connsiteY22" fmla="*/ 7034 h 10000"/>
                <a:gd name="connsiteX23" fmla="*/ 703 w 10000"/>
                <a:gd name="connsiteY23" fmla="*/ 7050 h 10000"/>
                <a:gd name="connsiteX24" fmla="*/ 909 w 10000"/>
                <a:gd name="connsiteY24" fmla="*/ 7690 h 10000"/>
                <a:gd name="connsiteX25" fmla="*/ 1150 w 10000"/>
                <a:gd name="connsiteY25" fmla="*/ 7848 h 10000"/>
                <a:gd name="connsiteX26" fmla="*/ 1255 w 10000"/>
                <a:gd name="connsiteY26" fmla="*/ 8022 h 10000"/>
                <a:gd name="connsiteX27" fmla="*/ 1514 w 10000"/>
                <a:gd name="connsiteY27" fmla="*/ 8146 h 10000"/>
                <a:gd name="connsiteX28" fmla="*/ 1684 w 10000"/>
                <a:gd name="connsiteY28" fmla="*/ 8308 h 10000"/>
                <a:gd name="connsiteX29" fmla="*/ 1661 w 10000"/>
                <a:gd name="connsiteY29" fmla="*/ 8424 h 10000"/>
                <a:gd name="connsiteX30" fmla="*/ 1496 w 10000"/>
                <a:gd name="connsiteY30" fmla="*/ 8466 h 10000"/>
                <a:gd name="connsiteX31" fmla="*/ 1316 w 10000"/>
                <a:gd name="connsiteY31" fmla="*/ 8438 h 10000"/>
                <a:gd name="connsiteX32" fmla="*/ 1260 w 10000"/>
                <a:gd name="connsiteY32" fmla="*/ 8484 h 10000"/>
                <a:gd name="connsiteX33" fmla="*/ 1397 w 10000"/>
                <a:gd name="connsiteY33" fmla="*/ 8732 h 10000"/>
                <a:gd name="connsiteX34" fmla="*/ 1205 w 10000"/>
                <a:gd name="connsiteY34" fmla="*/ 8711 h 10000"/>
                <a:gd name="connsiteX35" fmla="*/ 1040 w 10000"/>
                <a:gd name="connsiteY35" fmla="*/ 8651 h 10000"/>
                <a:gd name="connsiteX36" fmla="*/ 1012 w 10000"/>
                <a:gd name="connsiteY36" fmla="*/ 8743 h 10000"/>
                <a:gd name="connsiteX37" fmla="*/ 1557 w 10000"/>
                <a:gd name="connsiteY37" fmla="*/ 9595 h 10000"/>
                <a:gd name="connsiteX38" fmla="*/ 1469 w 10000"/>
                <a:gd name="connsiteY38" fmla="*/ 9674 h 10000"/>
                <a:gd name="connsiteX39" fmla="*/ 1408 w 10000"/>
                <a:gd name="connsiteY39" fmla="*/ 9838 h 10000"/>
                <a:gd name="connsiteX40" fmla="*/ 1329 w 10000"/>
                <a:gd name="connsiteY40" fmla="*/ 9850 h 10000"/>
                <a:gd name="connsiteX41" fmla="*/ 1281 w 10000"/>
                <a:gd name="connsiteY41" fmla="*/ 9923 h 10000"/>
                <a:gd name="connsiteX42" fmla="*/ 1609 w 10000"/>
                <a:gd name="connsiteY42" fmla="*/ 9929 h 10000"/>
                <a:gd name="connsiteX43" fmla="*/ 1900 w 10000"/>
                <a:gd name="connsiteY43" fmla="*/ 10000 h 10000"/>
                <a:gd name="connsiteX44" fmla="*/ 2383 w 10000"/>
                <a:gd name="connsiteY44" fmla="*/ 9926 h 10000"/>
                <a:gd name="connsiteX45" fmla="*/ 6419 w 10000"/>
                <a:gd name="connsiteY45" fmla="*/ 8209 h 10000"/>
                <a:gd name="connsiteX46" fmla="*/ 6586 w 10000"/>
                <a:gd name="connsiteY46" fmla="*/ 7526 h 10000"/>
                <a:gd name="connsiteX47" fmla="*/ 6855 w 10000"/>
                <a:gd name="connsiteY47" fmla="*/ 7224 h 10000"/>
                <a:gd name="connsiteX48" fmla="*/ 6855 w 10000"/>
                <a:gd name="connsiteY48" fmla="*/ 7063 h 10000"/>
                <a:gd name="connsiteX49" fmla="*/ 6757 w 10000"/>
                <a:gd name="connsiteY49" fmla="*/ 6976 h 10000"/>
                <a:gd name="connsiteX50" fmla="*/ 6915 w 10000"/>
                <a:gd name="connsiteY50" fmla="*/ 6830 h 10000"/>
                <a:gd name="connsiteX51" fmla="*/ 6887 w 10000"/>
                <a:gd name="connsiteY51" fmla="*/ 6712 h 10000"/>
                <a:gd name="connsiteX52" fmla="*/ 6779 w 10000"/>
                <a:gd name="connsiteY52" fmla="*/ 6611 h 10000"/>
                <a:gd name="connsiteX53" fmla="*/ 6757 w 10000"/>
                <a:gd name="connsiteY53" fmla="*/ 6532 h 10000"/>
                <a:gd name="connsiteX54" fmla="*/ 6785 w 10000"/>
                <a:gd name="connsiteY54" fmla="*/ 6475 h 10000"/>
                <a:gd name="connsiteX55" fmla="*/ 6931 w 10000"/>
                <a:gd name="connsiteY55" fmla="*/ 6521 h 10000"/>
                <a:gd name="connsiteX56" fmla="*/ 7045 w 10000"/>
                <a:gd name="connsiteY56" fmla="*/ 6518 h 10000"/>
                <a:gd name="connsiteX57" fmla="*/ 6983 w 10000"/>
                <a:gd name="connsiteY57" fmla="*/ 6422 h 10000"/>
                <a:gd name="connsiteX58" fmla="*/ 7003 w 10000"/>
                <a:gd name="connsiteY58" fmla="*/ 6364 h 10000"/>
                <a:gd name="connsiteX59" fmla="*/ 7089 w 10000"/>
                <a:gd name="connsiteY59" fmla="*/ 6283 h 10000"/>
                <a:gd name="connsiteX60" fmla="*/ 7074 w 10000"/>
                <a:gd name="connsiteY60" fmla="*/ 6215 h 10000"/>
                <a:gd name="connsiteX61" fmla="*/ 7152 w 10000"/>
                <a:gd name="connsiteY61" fmla="*/ 5988 h 10000"/>
                <a:gd name="connsiteX62" fmla="*/ 7130 w 10000"/>
                <a:gd name="connsiteY62" fmla="*/ 5919 h 10000"/>
                <a:gd name="connsiteX63" fmla="*/ 6729 w 10000"/>
                <a:gd name="connsiteY63" fmla="*/ 5745 h 10000"/>
                <a:gd name="connsiteX64" fmla="*/ 6785 w 10000"/>
                <a:gd name="connsiteY64" fmla="*/ 5739 h 10000"/>
                <a:gd name="connsiteX65" fmla="*/ 6998 w 10000"/>
                <a:gd name="connsiteY65" fmla="*/ 5784 h 10000"/>
                <a:gd name="connsiteX66" fmla="*/ 7230 w 10000"/>
                <a:gd name="connsiteY66" fmla="*/ 5767 h 10000"/>
                <a:gd name="connsiteX67" fmla="*/ 7295 w 10000"/>
                <a:gd name="connsiteY67" fmla="*/ 5705 h 10000"/>
                <a:gd name="connsiteX68" fmla="*/ 7074 w 10000"/>
                <a:gd name="connsiteY68" fmla="*/ 5587 h 10000"/>
                <a:gd name="connsiteX69" fmla="*/ 6414 w 10000"/>
                <a:gd name="connsiteY69" fmla="*/ 5510 h 10000"/>
                <a:gd name="connsiteX70" fmla="*/ 6458 w 10000"/>
                <a:gd name="connsiteY70" fmla="*/ 5474 h 10000"/>
                <a:gd name="connsiteX71" fmla="*/ 6998 w 10000"/>
                <a:gd name="connsiteY71" fmla="*/ 5449 h 10000"/>
                <a:gd name="connsiteX72" fmla="*/ 7295 w 10000"/>
                <a:gd name="connsiteY72" fmla="*/ 5521 h 10000"/>
                <a:gd name="connsiteX73" fmla="*/ 7466 w 10000"/>
                <a:gd name="connsiteY73" fmla="*/ 5474 h 10000"/>
                <a:gd name="connsiteX74" fmla="*/ 7529 w 10000"/>
                <a:gd name="connsiteY74" fmla="*/ 5352 h 10000"/>
                <a:gd name="connsiteX75" fmla="*/ 7840 w 10000"/>
                <a:gd name="connsiteY75" fmla="*/ 5352 h 10000"/>
                <a:gd name="connsiteX76" fmla="*/ 8261 w 10000"/>
                <a:gd name="connsiteY76" fmla="*/ 5107 h 10000"/>
                <a:gd name="connsiteX77" fmla="*/ 8275 w 10000"/>
                <a:gd name="connsiteY77" fmla="*/ 4942 h 10000"/>
                <a:gd name="connsiteX78" fmla="*/ 8453 w 10000"/>
                <a:gd name="connsiteY78" fmla="*/ 4979 h 10000"/>
                <a:gd name="connsiteX79" fmla="*/ 8446 w 10000"/>
                <a:gd name="connsiteY79" fmla="*/ 5144 h 10000"/>
                <a:gd name="connsiteX80" fmla="*/ 8727 w 10000"/>
                <a:gd name="connsiteY80" fmla="*/ 5132 h 10000"/>
                <a:gd name="connsiteX81" fmla="*/ 8913 w 10000"/>
                <a:gd name="connsiteY81" fmla="*/ 4962 h 10000"/>
                <a:gd name="connsiteX82" fmla="*/ 9258 w 10000"/>
                <a:gd name="connsiteY82" fmla="*/ 4808 h 10000"/>
                <a:gd name="connsiteX83" fmla="*/ 9203 w 10000"/>
                <a:gd name="connsiteY83" fmla="*/ 4634 h 10000"/>
                <a:gd name="connsiteX84" fmla="*/ 9306 w 10000"/>
                <a:gd name="connsiteY84" fmla="*/ 4703 h 10000"/>
                <a:gd name="connsiteX85" fmla="*/ 9464 w 10000"/>
                <a:gd name="connsiteY85" fmla="*/ 4703 h 10000"/>
                <a:gd name="connsiteX86" fmla="*/ 9464 w 10000"/>
                <a:gd name="connsiteY86" fmla="*/ 4622 h 10000"/>
                <a:gd name="connsiteX87" fmla="*/ 9611 w 10000"/>
                <a:gd name="connsiteY87" fmla="*/ 4563 h 10000"/>
                <a:gd name="connsiteX88" fmla="*/ 9592 w 10000"/>
                <a:gd name="connsiteY88" fmla="*/ 4500 h 10000"/>
                <a:gd name="connsiteX89" fmla="*/ 8350 w 10000"/>
                <a:gd name="connsiteY89" fmla="*/ 4624 h 10000"/>
                <a:gd name="connsiteX90" fmla="*/ 8058 w 10000"/>
                <a:gd name="connsiteY90" fmla="*/ 4589 h 10000"/>
                <a:gd name="connsiteX91" fmla="*/ 7942 w 10000"/>
                <a:gd name="connsiteY91" fmla="*/ 4634 h 10000"/>
                <a:gd name="connsiteX92" fmla="*/ 7903 w 10000"/>
                <a:gd name="connsiteY92" fmla="*/ 4545 h 10000"/>
                <a:gd name="connsiteX93" fmla="*/ 7765 w 10000"/>
                <a:gd name="connsiteY93" fmla="*/ 4469 h 10000"/>
                <a:gd name="connsiteX94" fmla="*/ 7213 w 10000"/>
                <a:gd name="connsiteY94" fmla="*/ 4309 h 10000"/>
                <a:gd name="connsiteX95" fmla="*/ 6887 w 10000"/>
                <a:gd name="connsiteY95" fmla="*/ 4336 h 10000"/>
                <a:gd name="connsiteX96" fmla="*/ 6757 w 10000"/>
                <a:gd name="connsiteY96" fmla="*/ 4290 h 10000"/>
                <a:gd name="connsiteX97" fmla="*/ 6894 w 10000"/>
                <a:gd name="connsiteY97" fmla="*/ 4252 h 10000"/>
                <a:gd name="connsiteX98" fmla="*/ 6998 w 10000"/>
                <a:gd name="connsiteY98" fmla="*/ 4168 h 10000"/>
                <a:gd name="connsiteX99" fmla="*/ 7152 w 10000"/>
                <a:gd name="connsiteY99" fmla="*/ 4194 h 10000"/>
                <a:gd name="connsiteX100" fmla="*/ 7335 w 10000"/>
                <a:gd name="connsiteY100" fmla="*/ 4173 h 10000"/>
                <a:gd name="connsiteX101" fmla="*/ 7611 w 10000"/>
                <a:gd name="connsiteY101" fmla="*/ 4200 h 10000"/>
                <a:gd name="connsiteX102" fmla="*/ 7645 w 10000"/>
                <a:gd name="connsiteY102" fmla="*/ 4189 h 10000"/>
                <a:gd name="connsiteX103" fmla="*/ 7859 w 10000"/>
                <a:gd name="connsiteY103" fmla="*/ 4317 h 10000"/>
                <a:gd name="connsiteX104" fmla="*/ 8017 w 10000"/>
                <a:gd name="connsiteY104" fmla="*/ 4269 h 10000"/>
                <a:gd name="connsiteX105" fmla="*/ 8032 w 10000"/>
                <a:gd name="connsiteY105" fmla="*/ 4226 h 10000"/>
                <a:gd name="connsiteX106" fmla="*/ 8176 w 10000"/>
                <a:gd name="connsiteY106" fmla="*/ 4302 h 10000"/>
                <a:gd name="connsiteX107" fmla="*/ 8369 w 10000"/>
                <a:gd name="connsiteY107" fmla="*/ 4343 h 10000"/>
                <a:gd name="connsiteX108" fmla="*/ 8446 w 10000"/>
                <a:gd name="connsiteY108" fmla="*/ 4267 h 10000"/>
                <a:gd name="connsiteX109" fmla="*/ 8507 w 10000"/>
                <a:gd name="connsiteY109" fmla="*/ 4309 h 10000"/>
                <a:gd name="connsiteX110" fmla="*/ 8596 w 10000"/>
                <a:gd name="connsiteY110" fmla="*/ 4458 h 10000"/>
                <a:gd name="connsiteX111" fmla="*/ 8782 w 10000"/>
                <a:gd name="connsiteY111" fmla="*/ 4491 h 10000"/>
                <a:gd name="connsiteX112" fmla="*/ 9542 w 10000"/>
                <a:gd name="connsiteY112" fmla="*/ 4274 h 10000"/>
                <a:gd name="connsiteX113" fmla="*/ 9914 w 10000"/>
                <a:gd name="connsiteY113" fmla="*/ 3973 h 10000"/>
                <a:gd name="connsiteX114" fmla="*/ 10000 w 10000"/>
                <a:gd name="connsiteY114" fmla="*/ 3755 h 10000"/>
                <a:gd name="connsiteX115" fmla="*/ 9866 w 10000"/>
                <a:gd name="connsiteY115" fmla="*/ 3556 h 10000"/>
                <a:gd name="connsiteX116" fmla="*/ 9582 w 10000"/>
                <a:gd name="connsiteY116" fmla="*/ 3438 h 10000"/>
                <a:gd name="connsiteX117" fmla="*/ 9382 w 10000"/>
                <a:gd name="connsiteY117" fmla="*/ 3242 h 10000"/>
                <a:gd name="connsiteX118" fmla="*/ 9569 w 10000"/>
                <a:gd name="connsiteY118" fmla="*/ 3236 h 10000"/>
                <a:gd name="connsiteX119" fmla="*/ 9555 w 10000"/>
                <a:gd name="connsiteY119" fmla="*/ 3189 h 10000"/>
                <a:gd name="connsiteX120" fmla="*/ 9068 w 10000"/>
                <a:gd name="connsiteY120" fmla="*/ 3054 h 10000"/>
                <a:gd name="connsiteX121" fmla="*/ 9047 w 10000"/>
                <a:gd name="connsiteY121" fmla="*/ 2928 h 10000"/>
                <a:gd name="connsiteX122" fmla="*/ 8953 w 10000"/>
                <a:gd name="connsiteY122" fmla="*/ 2797 h 10000"/>
                <a:gd name="connsiteX123" fmla="*/ 8569 w 10000"/>
                <a:gd name="connsiteY123" fmla="*/ 2821 h 10000"/>
                <a:gd name="connsiteX124" fmla="*/ 8431 w 10000"/>
                <a:gd name="connsiteY124" fmla="*/ 2681 h 10000"/>
                <a:gd name="connsiteX125" fmla="*/ 8350 w 10000"/>
                <a:gd name="connsiteY125" fmla="*/ 2672 h 10000"/>
                <a:gd name="connsiteX126" fmla="*/ 8350 w 10000"/>
                <a:gd name="connsiteY126" fmla="*/ 2734 h 10000"/>
                <a:gd name="connsiteX127" fmla="*/ 8176 w 10000"/>
                <a:gd name="connsiteY127" fmla="*/ 2967 h 10000"/>
                <a:gd name="connsiteX128" fmla="*/ 7990 w 10000"/>
                <a:gd name="connsiteY128" fmla="*/ 3105 h 10000"/>
                <a:gd name="connsiteX129" fmla="*/ 7401 w 10000"/>
                <a:gd name="connsiteY129" fmla="*/ 3338 h 10000"/>
                <a:gd name="connsiteX130" fmla="*/ 7198 w 10000"/>
                <a:gd name="connsiteY130" fmla="*/ 3331 h 10000"/>
                <a:gd name="connsiteX131" fmla="*/ 6915 w 10000"/>
                <a:gd name="connsiteY131" fmla="*/ 3368 h 10000"/>
                <a:gd name="connsiteX132" fmla="*/ 6757 w 10000"/>
                <a:gd name="connsiteY132" fmla="*/ 3331 h 10000"/>
                <a:gd name="connsiteX133" fmla="*/ 6965 w 10000"/>
                <a:gd name="connsiteY133" fmla="*/ 3264 h 10000"/>
                <a:gd name="connsiteX134" fmla="*/ 7235 w 10000"/>
                <a:gd name="connsiteY134" fmla="*/ 3236 h 10000"/>
                <a:gd name="connsiteX135" fmla="*/ 7455 w 10000"/>
                <a:gd name="connsiteY135" fmla="*/ 3127 h 10000"/>
                <a:gd name="connsiteX136" fmla="*/ 7674 w 10000"/>
                <a:gd name="connsiteY136" fmla="*/ 3075 h 10000"/>
                <a:gd name="connsiteX137" fmla="*/ 8082 w 10000"/>
                <a:gd name="connsiteY137" fmla="*/ 2882 h 10000"/>
                <a:gd name="connsiteX138" fmla="*/ 8157 w 10000"/>
                <a:gd name="connsiteY138" fmla="*/ 2758 h 10000"/>
                <a:gd name="connsiteX139" fmla="*/ 8165 w 10000"/>
                <a:gd name="connsiteY139" fmla="*/ 2596 h 10000"/>
                <a:gd name="connsiteX140" fmla="*/ 7978 w 10000"/>
                <a:gd name="connsiteY140" fmla="*/ 2569 h 10000"/>
                <a:gd name="connsiteX141" fmla="*/ 8058 w 10000"/>
                <a:gd name="connsiteY141" fmla="*/ 2470 h 10000"/>
                <a:gd name="connsiteX142" fmla="*/ 8087 w 10000"/>
                <a:gd name="connsiteY142" fmla="*/ 2345 h 10000"/>
                <a:gd name="connsiteX143" fmla="*/ 8007 w 10000"/>
                <a:gd name="connsiteY143" fmla="*/ 2228 h 10000"/>
                <a:gd name="connsiteX144" fmla="*/ 7450 w 10000"/>
                <a:gd name="connsiteY144" fmla="*/ 2389 h 10000"/>
                <a:gd name="connsiteX145" fmla="*/ 6694 w 10000"/>
                <a:gd name="connsiteY145" fmla="*/ 2317 h 10000"/>
                <a:gd name="connsiteX146" fmla="*/ 6304 w 10000"/>
                <a:gd name="connsiteY146" fmla="*/ 1869 h 10000"/>
                <a:gd name="connsiteX147" fmla="*/ 5294 w 10000"/>
                <a:gd name="connsiteY147" fmla="*/ 1784 h 10000"/>
                <a:gd name="connsiteX148" fmla="*/ 4505 w 10000"/>
                <a:gd name="connsiteY148" fmla="*/ 1411 h 10000"/>
                <a:gd name="connsiteX149" fmla="*/ 3730 w 10000"/>
                <a:gd name="connsiteY149" fmla="*/ 965 h 10000"/>
                <a:gd name="connsiteX150" fmla="*/ 3154 w 10000"/>
                <a:gd name="connsiteY150" fmla="*/ 143 h 10000"/>
                <a:gd name="connsiteX151" fmla="*/ 2375 w 10000"/>
                <a:gd name="connsiteY151" fmla="*/ 0 h 10000"/>
                <a:gd name="connsiteX152" fmla="*/ 2226 w 10000"/>
                <a:gd name="connsiteY152" fmla="*/ 774 h 10000"/>
                <a:gd name="connsiteX153" fmla="*/ 2375 w 10000"/>
                <a:gd name="connsiteY153" fmla="*/ 970 h 10000"/>
                <a:gd name="connsiteX154" fmla="*/ 2791 w 10000"/>
                <a:gd name="connsiteY154" fmla="*/ 1188 h 10000"/>
                <a:gd name="connsiteX155" fmla="*/ 2808 w 10000"/>
                <a:gd name="connsiteY155" fmla="*/ 1450 h 10000"/>
                <a:gd name="connsiteX156" fmla="*/ 2632 w 10000"/>
                <a:gd name="connsiteY156" fmla="*/ 1670 h 10000"/>
                <a:gd name="connsiteX157" fmla="*/ 2375 w 10000"/>
                <a:gd name="connsiteY157" fmla="*/ 1803 h 10000"/>
                <a:gd name="connsiteX158" fmla="*/ 2039 w 10000"/>
                <a:gd name="connsiteY158" fmla="*/ 1856 h 10000"/>
                <a:gd name="connsiteX159" fmla="*/ 1950 w 10000"/>
                <a:gd name="connsiteY159" fmla="*/ 1934 h 10000"/>
                <a:gd name="connsiteX160" fmla="*/ 2148 w 10000"/>
                <a:gd name="connsiteY160" fmla="*/ 2116 h 10000"/>
                <a:gd name="connsiteX161" fmla="*/ 2261 w 10000"/>
                <a:gd name="connsiteY161" fmla="*/ 2548 h 10000"/>
                <a:gd name="connsiteX162" fmla="*/ 2005 w 10000"/>
                <a:gd name="connsiteY162" fmla="*/ 2918 h 10000"/>
                <a:gd name="connsiteX163" fmla="*/ 2094 w 10000"/>
                <a:gd name="connsiteY163" fmla="*/ 3030 h 10000"/>
                <a:gd name="connsiteX164" fmla="*/ 2012 w 10000"/>
                <a:gd name="connsiteY164" fmla="*/ 3223 h 10000"/>
                <a:gd name="connsiteX165" fmla="*/ 1850 w 10000"/>
                <a:gd name="connsiteY165" fmla="*/ 3358 h 10000"/>
                <a:gd name="connsiteX166" fmla="*/ 1199 w 10000"/>
                <a:gd name="connsiteY166" fmla="*/ 3460 h 10000"/>
                <a:gd name="connsiteX167" fmla="*/ 1158 w 10000"/>
                <a:gd name="connsiteY167" fmla="*/ 3639 h 10000"/>
                <a:gd name="connsiteX168" fmla="*/ 808 w 10000"/>
                <a:gd name="connsiteY168" fmla="*/ 3904 h 10000"/>
                <a:gd name="connsiteX169" fmla="*/ 854 w 10000"/>
                <a:gd name="connsiteY169" fmla="*/ 4288 h 10000"/>
                <a:gd name="connsiteX170" fmla="*/ 560 w 10000"/>
                <a:gd name="connsiteY170" fmla="*/ 4779 h 10000"/>
                <a:gd name="connsiteX171" fmla="*/ 358 w 10000"/>
                <a:gd name="connsiteY171" fmla="*/ 4836 h 10000"/>
                <a:gd name="connsiteX172" fmla="*/ 275 w 10000"/>
                <a:gd name="connsiteY172" fmla="*/ 4719 h 10000"/>
                <a:gd name="connsiteX173" fmla="*/ 174 w 10000"/>
                <a:gd name="connsiteY173" fmla="*/ 4896 h 10000"/>
                <a:gd name="connsiteX174" fmla="*/ 239 w 10000"/>
                <a:gd name="connsiteY174" fmla="*/ 4591 h 10000"/>
                <a:gd name="connsiteX175" fmla="*/ 197 w 10000"/>
                <a:gd name="connsiteY175" fmla="*/ 4534 h 10000"/>
                <a:gd name="connsiteX0" fmla="*/ 197 w 10000"/>
                <a:gd name="connsiteY0" fmla="*/ 4534 h 10000"/>
                <a:gd name="connsiteX1" fmla="*/ 0 w 10000"/>
                <a:gd name="connsiteY1" fmla="*/ 4692 h 10000"/>
                <a:gd name="connsiteX2" fmla="*/ 0 w 10000"/>
                <a:gd name="connsiteY2" fmla="*/ 5474 h 10000"/>
                <a:gd name="connsiteX3" fmla="*/ 109 w 10000"/>
                <a:gd name="connsiteY3" fmla="*/ 5495 h 10000"/>
                <a:gd name="connsiteX4" fmla="*/ 134 w 10000"/>
                <a:gd name="connsiteY4" fmla="*/ 5556 h 10000"/>
                <a:gd name="connsiteX5" fmla="*/ 130 w 10000"/>
                <a:gd name="connsiteY5" fmla="*/ 5663 h 10000"/>
                <a:gd name="connsiteX6" fmla="*/ 89 w 10000"/>
                <a:gd name="connsiteY6" fmla="*/ 5709 h 10000"/>
                <a:gd name="connsiteX7" fmla="*/ 255 w 10000"/>
                <a:gd name="connsiteY7" fmla="*/ 5618 h 10000"/>
                <a:gd name="connsiteX8" fmla="*/ 325 w 10000"/>
                <a:gd name="connsiteY8" fmla="*/ 5530 h 10000"/>
                <a:gd name="connsiteX9" fmla="*/ 413 w 10000"/>
                <a:gd name="connsiteY9" fmla="*/ 5590 h 10000"/>
                <a:gd name="connsiteX10" fmla="*/ 316 w 10000"/>
                <a:gd name="connsiteY10" fmla="*/ 5719 h 10000"/>
                <a:gd name="connsiteX11" fmla="*/ 419 w 10000"/>
                <a:gd name="connsiteY11" fmla="*/ 5722 h 10000"/>
                <a:gd name="connsiteX12" fmla="*/ 469 w 10000"/>
                <a:gd name="connsiteY12" fmla="*/ 5754 h 10000"/>
                <a:gd name="connsiteX13" fmla="*/ 337 w 10000"/>
                <a:gd name="connsiteY13" fmla="*/ 5795 h 10000"/>
                <a:gd name="connsiteX14" fmla="*/ 130 w 10000"/>
                <a:gd name="connsiteY14" fmla="*/ 5926 h 10000"/>
                <a:gd name="connsiteX15" fmla="*/ 497 w 10000"/>
                <a:gd name="connsiteY15" fmla="*/ 6030 h 10000"/>
                <a:gd name="connsiteX16" fmla="*/ 545 w 10000"/>
                <a:gd name="connsiteY16" fmla="*/ 6176 h 10000"/>
                <a:gd name="connsiteX17" fmla="*/ 419 w 10000"/>
                <a:gd name="connsiteY17" fmla="*/ 6391 h 10000"/>
                <a:gd name="connsiteX18" fmla="*/ 688 w 10000"/>
                <a:gd name="connsiteY18" fmla="*/ 6379 h 10000"/>
                <a:gd name="connsiteX19" fmla="*/ 709 w 10000"/>
                <a:gd name="connsiteY19" fmla="*/ 6539 h 10000"/>
                <a:gd name="connsiteX20" fmla="*/ 530 w 10000"/>
                <a:gd name="connsiteY20" fmla="*/ 6654 h 10000"/>
                <a:gd name="connsiteX21" fmla="*/ 560 w 10000"/>
                <a:gd name="connsiteY21" fmla="*/ 6865 h 10000"/>
                <a:gd name="connsiteX22" fmla="*/ 489 w 10000"/>
                <a:gd name="connsiteY22" fmla="*/ 7034 h 10000"/>
                <a:gd name="connsiteX23" fmla="*/ 703 w 10000"/>
                <a:gd name="connsiteY23" fmla="*/ 7050 h 10000"/>
                <a:gd name="connsiteX24" fmla="*/ 909 w 10000"/>
                <a:gd name="connsiteY24" fmla="*/ 7690 h 10000"/>
                <a:gd name="connsiteX25" fmla="*/ 1150 w 10000"/>
                <a:gd name="connsiteY25" fmla="*/ 7848 h 10000"/>
                <a:gd name="connsiteX26" fmla="*/ 1255 w 10000"/>
                <a:gd name="connsiteY26" fmla="*/ 8022 h 10000"/>
                <a:gd name="connsiteX27" fmla="*/ 1514 w 10000"/>
                <a:gd name="connsiteY27" fmla="*/ 8146 h 10000"/>
                <a:gd name="connsiteX28" fmla="*/ 1684 w 10000"/>
                <a:gd name="connsiteY28" fmla="*/ 8308 h 10000"/>
                <a:gd name="connsiteX29" fmla="*/ 1661 w 10000"/>
                <a:gd name="connsiteY29" fmla="*/ 8424 h 10000"/>
                <a:gd name="connsiteX30" fmla="*/ 1496 w 10000"/>
                <a:gd name="connsiteY30" fmla="*/ 8466 h 10000"/>
                <a:gd name="connsiteX31" fmla="*/ 1316 w 10000"/>
                <a:gd name="connsiteY31" fmla="*/ 8438 h 10000"/>
                <a:gd name="connsiteX32" fmla="*/ 1260 w 10000"/>
                <a:gd name="connsiteY32" fmla="*/ 8484 h 10000"/>
                <a:gd name="connsiteX33" fmla="*/ 1397 w 10000"/>
                <a:gd name="connsiteY33" fmla="*/ 8732 h 10000"/>
                <a:gd name="connsiteX34" fmla="*/ 1205 w 10000"/>
                <a:gd name="connsiteY34" fmla="*/ 8711 h 10000"/>
                <a:gd name="connsiteX35" fmla="*/ 1040 w 10000"/>
                <a:gd name="connsiteY35" fmla="*/ 8651 h 10000"/>
                <a:gd name="connsiteX36" fmla="*/ 1012 w 10000"/>
                <a:gd name="connsiteY36" fmla="*/ 8743 h 10000"/>
                <a:gd name="connsiteX37" fmla="*/ 1557 w 10000"/>
                <a:gd name="connsiteY37" fmla="*/ 9595 h 10000"/>
                <a:gd name="connsiteX38" fmla="*/ 1469 w 10000"/>
                <a:gd name="connsiteY38" fmla="*/ 9674 h 10000"/>
                <a:gd name="connsiteX39" fmla="*/ 1408 w 10000"/>
                <a:gd name="connsiteY39" fmla="*/ 9838 h 10000"/>
                <a:gd name="connsiteX40" fmla="*/ 1329 w 10000"/>
                <a:gd name="connsiteY40" fmla="*/ 9850 h 10000"/>
                <a:gd name="connsiteX41" fmla="*/ 1281 w 10000"/>
                <a:gd name="connsiteY41" fmla="*/ 9923 h 10000"/>
                <a:gd name="connsiteX42" fmla="*/ 1609 w 10000"/>
                <a:gd name="connsiteY42" fmla="*/ 9929 h 10000"/>
                <a:gd name="connsiteX43" fmla="*/ 1900 w 10000"/>
                <a:gd name="connsiteY43" fmla="*/ 10000 h 10000"/>
                <a:gd name="connsiteX44" fmla="*/ 6419 w 10000"/>
                <a:gd name="connsiteY44" fmla="*/ 8209 h 10000"/>
                <a:gd name="connsiteX45" fmla="*/ 6586 w 10000"/>
                <a:gd name="connsiteY45" fmla="*/ 7526 h 10000"/>
                <a:gd name="connsiteX46" fmla="*/ 6855 w 10000"/>
                <a:gd name="connsiteY46" fmla="*/ 7224 h 10000"/>
                <a:gd name="connsiteX47" fmla="*/ 6855 w 10000"/>
                <a:gd name="connsiteY47" fmla="*/ 7063 h 10000"/>
                <a:gd name="connsiteX48" fmla="*/ 6757 w 10000"/>
                <a:gd name="connsiteY48" fmla="*/ 6976 h 10000"/>
                <a:gd name="connsiteX49" fmla="*/ 6915 w 10000"/>
                <a:gd name="connsiteY49" fmla="*/ 6830 h 10000"/>
                <a:gd name="connsiteX50" fmla="*/ 6887 w 10000"/>
                <a:gd name="connsiteY50" fmla="*/ 6712 h 10000"/>
                <a:gd name="connsiteX51" fmla="*/ 6779 w 10000"/>
                <a:gd name="connsiteY51" fmla="*/ 6611 h 10000"/>
                <a:gd name="connsiteX52" fmla="*/ 6757 w 10000"/>
                <a:gd name="connsiteY52" fmla="*/ 6532 h 10000"/>
                <a:gd name="connsiteX53" fmla="*/ 6785 w 10000"/>
                <a:gd name="connsiteY53" fmla="*/ 6475 h 10000"/>
                <a:gd name="connsiteX54" fmla="*/ 6931 w 10000"/>
                <a:gd name="connsiteY54" fmla="*/ 6521 h 10000"/>
                <a:gd name="connsiteX55" fmla="*/ 7045 w 10000"/>
                <a:gd name="connsiteY55" fmla="*/ 6518 h 10000"/>
                <a:gd name="connsiteX56" fmla="*/ 6983 w 10000"/>
                <a:gd name="connsiteY56" fmla="*/ 6422 h 10000"/>
                <a:gd name="connsiteX57" fmla="*/ 7003 w 10000"/>
                <a:gd name="connsiteY57" fmla="*/ 6364 h 10000"/>
                <a:gd name="connsiteX58" fmla="*/ 7089 w 10000"/>
                <a:gd name="connsiteY58" fmla="*/ 6283 h 10000"/>
                <a:gd name="connsiteX59" fmla="*/ 7074 w 10000"/>
                <a:gd name="connsiteY59" fmla="*/ 6215 h 10000"/>
                <a:gd name="connsiteX60" fmla="*/ 7152 w 10000"/>
                <a:gd name="connsiteY60" fmla="*/ 5988 h 10000"/>
                <a:gd name="connsiteX61" fmla="*/ 7130 w 10000"/>
                <a:gd name="connsiteY61" fmla="*/ 5919 h 10000"/>
                <a:gd name="connsiteX62" fmla="*/ 6729 w 10000"/>
                <a:gd name="connsiteY62" fmla="*/ 5745 h 10000"/>
                <a:gd name="connsiteX63" fmla="*/ 6785 w 10000"/>
                <a:gd name="connsiteY63" fmla="*/ 5739 h 10000"/>
                <a:gd name="connsiteX64" fmla="*/ 6998 w 10000"/>
                <a:gd name="connsiteY64" fmla="*/ 5784 h 10000"/>
                <a:gd name="connsiteX65" fmla="*/ 7230 w 10000"/>
                <a:gd name="connsiteY65" fmla="*/ 5767 h 10000"/>
                <a:gd name="connsiteX66" fmla="*/ 7295 w 10000"/>
                <a:gd name="connsiteY66" fmla="*/ 5705 h 10000"/>
                <a:gd name="connsiteX67" fmla="*/ 7074 w 10000"/>
                <a:gd name="connsiteY67" fmla="*/ 5587 h 10000"/>
                <a:gd name="connsiteX68" fmla="*/ 6414 w 10000"/>
                <a:gd name="connsiteY68" fmla="*/ 5510 h 10000"/>
                <a:gd name="connsiteX69" fmla="*/ 6458 w 10000"/>
                <a:gd name="connsiteY69" fmla="*/ 5474 h 10000"/>
                <a:gd name="connsiteX70" fmla="*/ 6998 w 10000"/>
                <a:gd name="connsiteY70" fmla="*/ 5449 h 10000"/>
                <a:gd name="connsiteX71" fmla="*/ 7295 w 10000"/>
                <a:gd name="connsiteY71" fmla="*/ 5521 h 10000"/>
                <a:gd name="connsiteX72" fmla="*/ 7466 w 10000"/>
                <a:gd name="connsiteY72" fmla="*/ 5474 h 10000"/>
                <a:gd name="connsiteX73" fmla="*/ 7529 w 10000"/>
                <a:gd name="connsiteY73" fmla="*/ 5352 h 10000"/>
                <a:gd name="connsiteX74" fmla="*/ 7840 w 10000"/>
                <a:gd name="connsiteY74" fmla="*/ 5352 h 10000"/>
                <a:gd name="connsiteX75" fmla="*/ 8261 w 10000"/>
                <a:gd name="connsiteY75" fmla="*/ 5107 h 10000"/>
                <a:gd name="connsiteX76" fmla="*/ 8275 w 10000"/>
                <a:gd name="connsiteY76" fmla="*/ 4942 h 10000"/>
                <a:gd name="connsiteX77" fmla="*/ 8453 w 10000"/>
                <a:gd name="connsiteY77" fmla="*/ 4979 h 10000"/>
                <a:gd name="connsiteX78" fmla="*/ 8446 w 10000"/>
                <a:gd name="connsiteY78" fmla="*/ 5144 h 10000"/>
                <a:gd name="connsiteX79" fmla="*/ 8727 w 10000"/>
                <a:gd name="connsiteY79" fmla="*/ 5132 h 10000"/>
                <a:gd name="connsiteX80" fmla="*/ 8913 w 10000"/>
                <a:gd name="connsiteY80" fmla="*/ 4962 h 10000"/>
                <a:gd name="connsiteX81" fmla="*/ 9258 w 10000"/>
                <a:gd name="connsiteY81" fmla="*/ 4808 h 10000"/>
                <a:gd name="connsiteX82" fmla="*/ 9203 w 10000"/>
                <a:gd name="connsiteY82" fmla="*/ 4634 h 10000"/>
                <a:gd name="connsiteX83" fmla="*/ 9306 w 10000"/>
                <a:gd name="connsiteY83" fmla="*/ 4703 h 10000"/>
                <a:gd name="connsiteX84" fmla="*/ 9464 w 10000"/>
                <a:gd name="connsiteY84" fmla="*/ 4703 h 10000"/>
                <a:gd name="connsiteX85" fmla="*/ 9464 w 10000"/>
                <a:gd name="connsiteY85" fmla="*/ 4622 h 10000"/>
                <a:gd name="connsiteX86" fmla="*/ 9611 w 10000"/>
                <a:gd name="connsiteY86" fmla="*/ 4563 h 10000"/>
                <a:gd name="connsiteX87" fmla="*/ 9592 w 10000"/>
                <a:gd name="connsiteY87" fmla="*/ 4500 h 10000"/>
                <a:gd name="connsiteX88" fmla="*/ 8350 w 10000"/>
                <a:gd name="connsiteY88" fmla="*/ 4624 h 10000"/>
                <a:gd name="connsiteX89" fmla="*/ 8058 w 10000"/>
                <a:gd name="connsiteY89" fmla="*/ 4589 h 10000"/>
                <a:gd name="connsiteX90" fmla="*/ 7942 w 10000"/>
                <a:gd name="connsiteY90" fmla="*/ 4634 h 10000"/>
                <a:gd name="connsiteX91" fmla="*/ 7903 w 10000"/>
                <a:gd name="connsiteY91" fmla="*/ 4545 h 10000"/>
                <a:gd name="connsiteX92" fmla="*/ 7765 w 10000"/>
                <a:gd name="connsiteY92" fmla="*/ 4469 h 10000"/>
                <a:gd name="connsiteX93" fmla="*/ 7213 w 10000"/>
                <a:gd name="connsiteY93" fmla="*/ 4309 h 10000"/>
                <a:gd name="connsiteX94" fmla="*/ 6887 w 10000"/>
                <a:gd name="connsiteY94" fmla="*/ 4336 h 10000"/>
                <a:gd name="connsiteX95" fmla="*/ 6757 w 10000"/>
                <a:gd name="connsiteY95" fmla="*/ 4290 h 10000"/>
                <a:gd name="connsiteX96" fmla="*/ 6894 w 10000"/>
                <a:gd name="connsiteY96" fmla="*/ 4252 h 10000"/>
                <a:gd name="connsiteX97" fmla="*/ 6998 w 10000"/>
                <a:gd name="connsiteY97" fmla="*/ 4168 h 10000"/>
                <a:gd name="connsiteX98" fmla="*/ 7152 w 10000"/>
                <a:gd name="connsiteY98" fmla="*/ 4194 h 10000"/>
                <a:gd name="connsiteX99" fmla="*/ 7335 w 10000"/>
                <a:gd name="connsiteY99" fmla="*/ 4173 h 10000"/>
                <a:gd name="connsiteX100" fmla="*/ 7611 w 10000"/>
                <a:gd name="connsiteY100" fmla="*/ 4200 h 10000"/>
                <a:gd name="connsiteX101" fmla="*/ 7645 w 10000"/>
                <a:gd name="connsiteY101" fmla="*/ 4189 h 10000"/>
                <a:gd name="connsiteX102" fmla="*/ 7859 w 10000"/>
                <a:gd name="connsiteY102" fmla="*/ 4317 h 10000"/>
                <a:gd name="connsiteX103" fmla="*/ 8017 w 10000"/>
                <a:gd name="connsiteY103" fmla="*/ 4269 h 10000"/>
                <a:gd name="connsiteX104" fmla="*/ 8032 w 10000"/>
                <a:gd name="connsiteY104" fmla="*/ 4226 h 10000"/>
                <a:gd name="connsiteX105" fmla="*/ 8176 w 10000"/>
                <a:gd name="connsiteY105" fmla="*/ 4302 h 10000"/>
                <a:gd name="connsiteX106" fmla="*/ 8369 w 10000"/>
                <a:gd name="connsiteY106" fmla="*/ 4343 h 10000"/>
                <a:gd name="connsiteX107" fmla="*/ 8446 w 10000"/>
                <a:gd name="connsiteY107" fmla="*/ 4267 h 10000"/>
                <a:gd name="connsiteX108" fmla="*/ 8507 w 10000"/>
                <a:gd name="connsiteY108" fmla="*/ 4309 h 10000"/>
                <a:gd name="connsiteX109" fmla="*/ 8596 w 10000"/>
                <a:gd name="connsiteY109" fmla="*/ 4458 h 10000"/>
                <a:gd name="connsiteX110" fmla="*/ 8782 w 10000"/>
                <a:gd name="connsiteY110" fmla="*/ 4491 h 10000"/>
                <a:gd name="connsiteX111" fmla="*/ 9542 w 10000"/>
                <a:gd name="connsiteY111" fmla="*/ 4274 h 10000"/>
                <a:gd name="connsiteX112" fmla="*/ 9914 w 10000"/>
                <a:gd name="connsiteY112" fmla="*/ 3973 h 10000"/>
                <a:gd name="connsiteX113" fmla="*/ 10000 w 10000"/>
                <a:gd name="connsiteY113" fmla="*/ 3755 h 10000"/>
                <a:gd name="connsiteX114" fmla="*/ 9866 w 10000"/>
                <a:gd name="connsiteY114" fmla="*/ 3556 h 10000"/>
                <a:gd name="connsiteX115" fmla="*/ 9582 w 10000"/>
                <a:gd name="connsiteY115" fmla="*/ 3438 h 10000"/>
                <a:gd name="connsiteX116" fmla="*/ 9382 w 10000"/>
                <a:gd name="connsiteY116" fmla="*/ 3242 h 10000"/>
                <a:gd name="connsiteX117" fmla="*/ 9569 w 10000"/>
                <a:gd name="connsiteY117" fmla="*/ 3236 h 10000"/>
                <a:gd name="connsiteX118" fmla="*/ 9555 w 10000"/>
                <a:gd name="connsiteY118" fmla="*/ 3189 h 10000"/>
                <a:gd name="connsiteX119" fmla="*/ 9068 w 10000"/>
                <a:gd name="connsiteY119" fmla="*/ 3054 h 10000"/>
                <a:gd name="connsiteX120" fmla="*/ 9047 w 10000"/>
                <a:gd name="connsiteY120" fmla="*/ 2928 h 10000"/>
                <a:gd name="connsiteX121" fmla="*/ 8953 w 10000"/>
                <a:gd name="connsiteY121" fmla="*/ 2797 h 10000"/>
                <a:gd name="connsiteX122" fmla="*/ 8569 w 10000"/>
                <a:gd name="connsiteY122" fmla="*/ 2821 h 10000"/>
                <a:gd name="connsiteX123" fmla="*/ 8431 w 10000"/>
                <a:gd name="connsiteY123" fmla="*/ 2681 h 10000"/>
                <a:gd name="connsiteX124" fmla="*/ 8350 w 10000"/>
                <a:gd name="connsiteY124" fmla="*/ 2672 h 10000"/>
                <a:gd name="connsiteX125" fmla="*/ 8350 w 10000"/>
                <a:gd name="connsiteY125" fmla="*/ 2734 h 10000"/>
                <a:gd name="connsiteX126" fmla="*/ 8176 w 10000"/>
                <a:gd name="connsiteY126" fmla="*/ 2967 h 10000"/>
                <a:gd name="connsiteX127" fmla="*/ 7990 w 10000"/>
                <a:gd name="connsiteY127" fmla="*/ 3105 h 10000"/>
                <a:gd name="connsiteX128" fmla="*/ 7401 w 10000"/>
                <a:gd name="connsiteY128" fmla="*/ 3338 h 10000"/>
                <a:gd name="connsiteX129" fmla="*/ 7198 w 10000"/>
                <a:gd name="connsiteY129" fmla="*/ 3331 h 10000"/>
                <a:gd name="connsiteX130" fmla="*/ 6915 w 10000"/>
                <a:gd name="connsiteY130" fmla="*/ 3368 h 10000"/>
                <a:gd name="connsiteX131" fmla="*/ 6757 w 10000"/>
                <a:gd name="connsiteY131" fmla="*/ 3331 h 10000"/>
                <a:gd name="connsiteX132" fmla="*/ 6965 w 10000"/>
                <a:gd name="connsiteY132" fmla="*/ 3264 h 10000"/>
                <a:gd name="connsiteX133" fmla="*/ 7235 w 10000"/>
                <a:gd name="connsiteY133" fmla="*/ 3236 h 10000"/>
                <a:gd name="connsiteX134" fmla="*/ 7455 w 10000"/>
                <a:gd name="connsiteY134" fmla="*/ 3127 h 10000"/>
                <a:gd name="connsiteX135" fmla="*/ 7674 w 10000"/>
                <a:gd name="connsiteY135" fmla="*/ 3075 h 10000"/>
                <a:gd name="connsiteX136" fmla="*/ 8082 w 10000"/>
                <a:gd name="connsiteY136" fmla="*/ 2882 h 10000"/>
                <a:gd name="connsiteX137" fmla="*/ 8157 w 10000"/>
                <a:gd name="connsiteY137" fmla="*/ 2758 h 10000"/>
                <a:gd name="connsiteX138" fmla="*/ 8165 w 10000"/>
                <a:gd name="connsiteY138" fmla="*/ 2596 h 10000"/>
                <a:gd name="connsiteX139" fmla="*/ 7978 w 10000"/>
                <a:gd name="connsiteY139" fmla="*/ 2569 h 10000"/>
                <a:gd name="connsiteX140" fmla="*/ 8058 w 10000"/>
                <a:gd name="connsiteY140" fmla="*/ 2470 h 10000"/>
                <a:gd name="connsiteX141" fmla="*/ 8087 w 10000"/>
                <a:gd name="connsiteY141" fmla="*/ 2345 h 10000"/>
                <a:gd name="connsiteX142" fmla="*/ 8007 w 10000"/>
                <a:gd name="connsiteY142" fmla="*/ 2228 h 10000"/>
                <a:gd name="connsiteX143" fmla="*/ 7450 w 10000"/>
                <a:gd name="connsiteY143" fmla="*/ 2389 h 10000"/>
                <a:gd name="connsiteX144" fmla="*/ 6694 w 10000"/>
                <a:gd name="connsiteY144" fmla="*/ 2317 h 10000"/>
                <a:gd name="connsiteX145" fmla="*/ 6304 w 10000"/>
                <a:gd name="connsiteY145" fmla="*/ 1869 h 10000"/>
                <a:gd name="connsiteX146" fmla="*/ 5294 w 10000"/>
                <a:gd name="connsiteY146" fmla="*/ 1784 h 10000"/>
                <a:gd name="connsiteX147" fmla="*/ 4505 w 10000"/>
                <a:gd name="connsiteY147" fmla="*/ 1411 h 10000"/>
                <a:gd name="connsiteX148" fmla="*/ 3730 w 10000"/>
                <a:gd name="connsiteY148" fmla="*/ 965 h 10000"/>
                <a:gd name="connsiteX149" fmla="*/ 3154 w 10000"/>
                <a:gd name="connsiteY149" fmla="*/ 143 h 10000"/>
                <a:gd name="connsiteX150" fmla="*/ 2375 w 10000"/>
                <a:gd name="connsiteY150" fmla="*/ 0 h 10000"/>
                <a:gd name="connsiteX151" fmla="*/ 2226 w 10000"/>
                <a:gd name="connsiteY151" fmla="*/ 774 h 10000"/>
                <a:gd name="connsiteX152" fmla="*/ 2375 w 10000"/>
                <a:gd name="connsiteY152" fmla="*/ 970 h 10000"/>
                <a:gd name="connsiteX153" fmla="*/ 2791 w 10000"/>
                <a:gd name="connsiteY153" fmla="*/ 1188 h 10000"/>
                <a:gd name="connsiteX154" fmla="*/ 2808 w 10000"/>
                <a:gd name="connsiteY154" fmla="*/ 1450 h 10000"/>
                <a:gd name="connsiteX155" fmla="*/ 2632 w 10000"/>
                <a:gd name="connsiteY155" fmla="*/ 1670 h 10000"/>
                <a:gd name="connsiteX156" fmla="*/ 2375 w 10000"/>
                <a:gd name="connsiteY156" fmla="*/ 1803 h 10000"/>
                <a:gd name="connsiteX157" fmla="*/ 2039 w 10000"/>
                <a:gd name="connsiteY157" fmla="*/ 1856 h 10000"/>
                <a:gd name="connsiteX158" fmla="*/ 1950 w 10000"/>
                <a:gd name="connsiteY158" fmla="*/ 1934 h 10000"/>
                <a:gd name="connsiteX159" fmla="*/ 2148 w 10000"/>
                <a:gd name="connsiteY159" fmla="*/ 2116 h 10000"/>
                <a:gd name="connsiteX160" fmla="*/ 2261 w 10000"/>
                <a:gd name="connsiteY160" fmla="*/ 2548 h 10000"/>
                <a:gd name="connsiteX161" fmla="*/ 2005 w 10000"/>
                <a:gd name="connsiteY161" fmla="*/ 2918 h 10000"/>
                <a:gd name="connsiteX162" fmla="*/ 2094 w 10000"/>
                <a:gd name="connsiteY162" fmla="*/ 3030 h 10000"/>
                <a:gd name="connsiteX163" fmla="*/ 2012 w 10000"/>
                <a:gd name="connsiteY163" fmla="*/ 3223 h 10000"/>
                <a:gd name="connsiteX164" fmla="*/ 1850 w 10000"/>
                <a:gd name="connsiteY164" fmla="*/ 3358 h 10000"/>
                <a:gd name="connsiteX165" fmla="*/ 1199 w 10000"/>
                <a:gd name="connsiteY165" fmla="*/ 3460 h 10000"/>
                <a:gd name="connsiteX166" fmla="*/ 1158 w 10000"/>
                <a:gd name="connsiteY166" fmla="*/ 3639 h 10000"/>
                <a:gd name="connsiteX167" fmla="*/ 808 w 10000"/>
                <a:gd name="connsiteY167" fmla="*/ 3904 h 10000"/>
                <a:gd name="connsiteX168" fmla="*/ 854 w 10000"/>
                <a:gd name="connsiteY168" fmla="*/ 4288 h 10000"/>
                <a:gd name="connsiteX169" fmla="*/ 560 w 10000"/>
                <a:gd name="connsiteY169" fmla="*/ 4779 h 10000"/>
                <a:gd name="connsiteX170" fmla="*/ 358 w 10000"/>
                <a:gd name="connsiteY170" fmla="*/ 4836 h 10000"/>
                <a:gd name="connsiteX171" fmla="*/ 275 w 10000"/>
                <a:gd name="connsiteY171" fmla="*/ 4719 h 10000"/>
                <a:gd name="connsiteX172" fmla="*/ 174 w 10000"/>
                <a:gd name="connsiteY172" fmla="*/ 4896 h 10000"/>
                <a:gd name="connsiteX173" fmla="*/ 239 w 10000"/>
                <a:gd name="connsiteY173" fmla="*/ 4591 h 10000"/>
                <a:gd name="connsiteX174" fmla="*/ 197 w 10000"/>
                <a:gd name="connsiteY174" fmla="*/ 4534 h 10000"/>
                <a:gd name="connsiteX0" fmla="*/ 197 w 10000"/>
                <a:gd name="connsiteY0" fmla="*/ 4534 h 9929"/>
                <a:gd name="connsiteX1" fmla="*/ 0 w 10000"/>
                <a:gd name="connsiteY1" fmla="*/ 4692 h 9929"/>
                <a:gd name="connsiteX2" fmla="*/ 0 w 10000"/>
                <a:gd name="connsiteY2" fmla="*/ 5474 h 9929"/>
                <a:gd name="connsiteX3" fmla="*/ 109 w 10000"/>
                <a:gd name="connsiteY3" fmla="*/ 5495 h 9929"/>
                <a:gd name="connsiteX4" fmla="*/ 134 w 10000"/>
                <a:gd name="connsiteY4" fmla="*/ 5556 h 9929"/>
                <a:gd name="connsiteX5" fmla="*/ 130 w 10000"/>
                <a:gd name="connsiteY5" fmla="*/ 5663 h 9929"/>
                <a:gd name="connsiteX6" fmla="*/ 89 w 10000"/>
                <a:gd name="connsiteY6" fmla="*/ 5709 h 9929"/>
                <a:gd name="connsiteX7" fmla="*/ 255 w 10000"/>
                <a:gd name="connsiteY7" fmla="*/ 5618 h 9929"/>
                <a:gd name="connsiteX8" fmla="*/ 325 w 10000"/>
                <a:gd name="connsiteY8" fmla="*/ 5530 h 9929"/>
                <a:gd name="connsiteX9" fmla="*/ 413 w 10000"/>
                <a:gd name="connsiteY9" fmla="*/ 5590 h 9929"/>
                <a:gd name="connsiteX10" fmla="*/ 316 w 10000"/>
                <a:gd name="connsiteY10" fmla="*/ 5719 h 9929"/>
                <a:gd name="connsiteX11" fmla="*/ 419 w 10000"/>
                <a:gd name="connsiteY11" fmla="*/ 5722 h 9929"/>
                <a:gd name="connsiteX12" fmla="*/ 469 w 10000"/>
                <a:gd name="connsiteY12" fmla="*/ 5754 h 9929"/>
                <a:gd name="connsiteX13" fmla="*/ 337 w 10000"/>
                <a:gd name="connsiteY13" fmla="*/ 5795 h 9929"/>
                <a:gd name="connsiteX14" fmla="*/ 130 w 10000"/>
                <a:gd name="connsiteY14" fmla="*/ 5926 h 9929"/>
                <a:gd name="connsiteX15" fmla="*/ 497 w 10000"/>
                <a:gd name="connsiteY15" fmla="*/ 6030 h 9929"/>
                <a:gd name="connsiteX16" fmla="*/ 545 w 10000"/>
                <a:gd name="connsiteY16" fmla="*/ 6176 h 9929"/>
                <a:gd name="connsiteX17" fmla="*/ 419 w 10000"/>
                <a:gd name="connsiteY17" fmla="*/ 6391 h 9929"/>
                <a:gd name="connsiteX18" fmla="*/ 688 w 10000"/>
                <a:gd name="connsiteY18" fmla="*/ 6379 h 9929"/>
                <a:gd name="connsiteX19" fmla="*/ 709 w 10000"/>
                <a:gd name="connsiteY19" fmla="*/ 6539 h 9929"/>
                <a:gd name="connsiteX20" fmla="*/ 530 w 10000"/>
                <a:gd name="connsiteY20" fmla="*/ 6654 h 9929"/>
                <a:gd name="connsiteX21" fmla="*/ 560 w 10000"/>
                <a:gd name="connsiteY21" fmla="*/ 6865 h 9929"/>
                <a:gd name="connsiteX22" fmla="*/ 489 w 10000"/>
                <a:gd name="connsiteY22" fmla="*/ 7034 h 9929"/>
                <a:gd name="connsiteX23" fmla="*/ 703 w 10000"/>
                <a:gd name="connsiteY23" fmla="*/ 7050 h 9929"/>
                <a:gd name="connsiteX24" fmla="*/ 909 w 10000"/>
                <a:gd name="connsiteY24" fmla="*/ 7690 h 9929"/>
                <a:gd name="connsiteX25" fmla="*/ 1150 w 10000"/>
                <a:gd name="connsiteY25" fmla="*/ 7848 h 9929"/>
                <a:gd name="connsiteX26" fmla="*/ 1255 w 10000"/>
                <a:gd name="connsiteY26" fmla="*/ 8022 h 9929"/>
                <a:gd name="connsiteX27" fmla="*/ 1514 w 10000"/>
                <a:gd name="connsiteY27" fmla="*/ 8146 h 9929"/>
                <a:gd name="connsiteX28" fmla="*/ 1684 w 10000"/>
                <a:gd name="connsiteY28" fmla="*/ 8308 h 9929"/>
                <a:gd name="connsiteX29" fmla="*/ 1661 w 10000"/>
                <a:gd name="connsiteY29" fmla="*/ 8424 h 9929"/>
                <a:gd name="connsiteX30" fmla="*/ 1496 w 10000"/>
                <a:gd name="connsiteY30" fmla="*/ 8466 h 9929"/>
                <a:gd name="connsiteX31" fmla="*/ 1316 w 10000"/>
                <a:gd name="connsiteY31" fmla="*/ 8438 h 9929"/>
                <a:gd name="connsiteX32" fmla="*/ 1260 w 10000"/>
                <a:gd name="connsiteY32" fmla="*/ 8484 h 9929"/>
                <a:gd name="connsiteX33" fmla="*/ 1397 w 10000"/>
                <a:gd name="connsiteY33" fmla="*/ 8732 h 9929"/>
                <a:gd name="connsiteX34" fmla="*/ 1205 w 10000"/>
                <a:gd name="connsiteY34" fmla="*/ 8711 h 9929"/>
                <a:gd name="connsiteX35" fmla="*/ 1040 w 10000"/>
                <a:gd name="connsiteY35" fmla="*/ 8651 h 9929"/>
                <a:gd name="connsiteX36" fmla="*/ 1012 w 10000"/>
                <a:gd name="connsiteY36" fmla="*/ 8743 h 9929"/>
                <a:gd name="connsiteX37" fmla="*/ 1557 w 10000"/>
                <a:gd name="connsiteY37" fmla="*/ 9595 h 9929"/>
                <a:gd name="connsiteX38" fmla="*/ 1469 w 10000"/>
                <a:gd name="connsiteY38" fmla="*/ 9674 h 9929"/>
                <a:gd name="connsiteX39" fmla="*/ 1408 w 10000"/>
                <a:gd name="connsiteY39" fmla="*/ 9838 h 9929"/>
                <a:gd name="connsiteX40" fmla="*/ 1329 w 10000"/>
                <a:gd name="connsiteY40" fmla="*/ 9850 h 9929"/>
                <a:gd name="connsiteX41" fmla="*/ 1281 w 10000"/>
                <a:gd name="connsiteY41" fmla="*/ 9923 h 9929"/>
                <a:gd name="connsiteX42" fmla="*/ 1609 w 10000"/>
                <a:gd name="connsiteY42" fmla="*/ 9929 h 9929"/>
                <a:gd name="connsiteX43" fmla="*/ 6419 w 10000"/>
                <a:gd name="connsiteY43" fmla="*/ 8209 h 9929"/>
                <a:gd name="connsiteX44" fmla="*/ 6586 w 10000"/>
                <a:gd name="connsiteY44" fmla="*/ 7526 h 9929"/>
                <a:gd name="connsiteX45" fmla="*/ 6855 w 10000"/>
                <a:gd name="connsiteY45" fmla="*/ 7224 h 9929"/>
                <a:gd name="connsiteX46" fmla="*/ 6855 w 10000"/>
                <a:gd name="connsiteY46" fmla="*/ 7063 h 9929"/>
                <a:gd name="connsiteX47" fmla="*/ 6757 w 10000"/>
                <a:gd name="connsiteY47" fmla="*/ 6976 h 9929"/>
                <a:gd name="connsiteX48" fmla="*/ 6915 w 10000"/>
                <a:gd name="connsiteY48" fmla="*/ 6830 h 9929"/>
                <a:gd name="connsiteX49" fmla="*/ 6887 w 10000"/>
                <a:gd name="connsiteY49" fmla="*/ 6712 h 9929"/>
                <a:gd name="connsiteX50" fmla="*/ 6779 w 10000"/>
                <a:gd name="connsiteY50" fmla="*/ 6611 h 9929"/>
                <a:gd name="connsiteX51" fmla="*/ 6757 w 10000"/>
                <a:gd name="connsiteY51" fmla="*/ 6532 h 9929"/>
                <a:gd name="connsiteX52" fmla="*/ 6785 w 10000"/>
                <a:gd name="connsiteY52" fmla="*/ 6475 h 9929"/>
                <a:gd name="connsiteX53" fmla="*/ 6931 w 10000"/>
                <a:gd name="connsiteY53" fmla="*/ 6521 h 9929"/>
                <a:gd name="connsiteX54" fmla="*/ 7045 w 10000"/>
                <a:gd name="connsiteY54" fmla="*/ 6518 h 9929"/>
                <a:gd name="connsiteX55" fmla="*/ 6983 w 10000"/>
                <a:gd name="connsiteY55" fmla="*/ 6422 h 9929"/>
                <a:gd name="connsiteX56" fmla="*/ 7003 w 10000"/>
                <a:gd name="connsiteY56" fmla="*/ 6364 h 9929"/>
                <a:gd name="connsiteX57" fmla="*/ 7089 w 10000"/>
                <a:gd name="connsiteY57" fmla="*/ 6283 h 9929"/>
                <a:gd name="connsiteX58" fmla="*/ 7074 w 10000"/>
                <a:gd name="connsiteY58" fmla="*/ 6215 h 9929"/>
                <a:gd name="connsiteX59" fmla="*/ 7152 w 10000"/>
                <a:gd name="connsiteY59" fmla="*/ 5988 h 9929"/>
                <a:gd name="connsiteX60" fmla="*/ 7130 w 10000"/>
                <a:gd name="connsiteY60" fmla="*/ 5919 h 9929"/>
                <a:gd name="connsiteX61" fmla="*/ 6729 w 10000"/>
                <a:gd name="connsiteY61" fmla="*/ 5745 h 9929"/>
                <a:gd name="connsiteX62" fmla="*/ 6785 w 10000"/>
                <a:gd name="connsiteY62" fmla="*/ 5739 h 9929"/>
                <a:gd name="connsiteX63" fmla="*/ 6998 w 10000"/>
                <a:gd name="connsiteY63" fmla="*/ 5784 h 9929"/>
                <a:gd name="connsiteX64" fmla="*/ 7230 w 10000"/>
                <a:gd name="connsiteY64" fmla="*/ 5767 h 9929"/>
                <a:gd name="connsiteX65" fmla="*/ 7295 w 10000"/>
                <a:gd name="connsiteY65" fmla="*/ 5705 h 9929"/>
                <a:gd name="connsiteX66" fmla="*/ 7074 w 10000"/>
                <a:gd name="connsiteY66" fmla="*/ 5587 h 9929"/>
                <a:gd name="connsiteX67" fmla="*/ 6414 w 10000"/>
                <a:gd name="connsiteY67" fmla="*/ 5510 h 9929"/>
                <a:gd name="connsiteX68" fmla="*/ 6458 w 10000"/>
                <a:gd name="connsiteY68" fmla="*/ 5474 h 9929"/>
                <a:gd name="connsiteX69" fmla="*/ 6998 w 10000"/>
                <a:gd name="connsiteY69" fmla="*/ 5449 h 9929"/>
                <a:gd name="connsiteX70" fmla="*/ 7295 w 10000"/>
                <a:gd name="connsiteY70" fmla="*/ 5521 h 9929"/>
                <a:gd name="connsiteX71" fmla="*/ 7466 w 10000"/>
                <a:gd name="connsiteY71" fmla="*/ 5474 h 9929"/>
                <a:gd name="connsiteX72" fmla="*/ 7529 w 10000"/>
                <a:gd name="connsiteY72" fmla="*/ 5352 h 9929"/>
                <a:gd name="connsiteX73" fmla="*/ 7840 w 10000"/>
                <a:gd name="connsiteY73" fmla="*/ 5352 h 9929"/>
                <a:gd name="connsiteX74" fmla="*/ 8261 w 10000"/>
                <a:gd name="connsiteY74" fmla="*/ 5107 h 9929"/>
                <a:gd name="connsiteX75" fmla="*/ 8275 w 10000"/>
                <a:gd name="connsiteY75" fmla="*/ 4942 h 9929"/>
                <a:gd name="connsiteX76" fmla="*/ 8453 w 10000"/>
                <a:gd name="connsiteY76" fmla="*/ 4979 h 9929"/>
                <a:gd name="connsiteX77" fmla="*/ 8446 w 10000"/>
                <a:gd name="connsiteY77" fmla="*/ 5144 h 9929"/>
                <a:gd name="connsiteX78" fmla="*/ 8727 w 10000"/>
                <a:gd name="connsiteY78" fmla="*/ 5132 h 9929"/>
                <a:gd name="connsiteX79" fmla="*/ 8913 w 10000"/>
                <a:gd name="connsiteY79" fmla="*/ 4962 h 9929"/>
                <a:gd name="connsiteX80" fmla="*/ 9258 w 10000"/>
                <a:gd name="connsiteY80" fmla="*/ 4808 h 9929"/>
                <a:gd name="connsiteX81" fmla="*/ 9203 w 10000"/>
                <a:gd name="connsiteY81" fmla="*/ 4634 h 9929"/>
                <a:gd name="connsiteX82" fmla="*/ 9306 w 10000"/>
                <a:gd name="connsiteY82" fmla="*/ 4703 h 9929"/>
                <a:gd name="connsiteX83" fmla="*/ 9464 w 10000"/>
                <a:gd name="connsiteY83" fmla="*/ 4703 h 9929"/>
                <a:gd name="connsiteX84" fmla="*/ 9464 w 10000"/>
                <a:gd name="connsiteY84" fmla="*/ 4622 h 9929"/>
                <a:gd name="connsiteX85" fmla="*/ 9611 w 10000"/>
                <a:gd name="connsiteY85" fmla="*/ 4563 h 9929"/>
                <a:gd name="connsiteX86" fmla="*/ 9592 w 10000"/>
                <a:gd name="connsiteY86" fmla="*/ 4500 h 9929"/>
                <a:gd name="connsiteX87" fmla="*/ 8350 w 10000"/>
                <a:gd name="connsiteY87" fmla="*/ 4624 h 9929"/>
                <a:gd name="connsiteX88" fmla="*/ 8058 w 10000"/>
                <a:gd name="connsiteY88" fmla="*/ 4589 h 9929"/>
                <a:gd name="connsiteX89" fmla="*/ 7942 w 10000"/>
                <a:gd name="connsiteY89" fmla="*/ 4634 h 9929"/>
                <a:gd name="connsiteX90" fmla="*/ 7903 w 10000"/>
                <a:gd name="connsiteY90" fmla="*/ 4545 h 9929"/>
                <a:gd name="connsiteX91" fmla="*/ 7765 w 10000"/>
                <a:gd name="connsiteY91" fmla="*/ 4469 h 9929"/>
                <a:gd name="connsiteX92" fmla="*/ 7213 w 10000"/>
                <a:gd name="connsiteY92" fmla="*/ 4309 h 9929"/>
                <a:gd name="connsiteX93" fmla="*/ 6887 w 10000"/>
                <a:gd name="connsiteY93" fmla="*/ 4336 h 9929"/>
                <a:gd name="connsiteX94" fmla="*/ 6757 w 10000"/>
                <a:gd name="connsiteY94" fmla="*/ 4290 h 9929"/>
                <a:gd name="connsiteX95" fmla="*/ 6894 w 10000"/>
                <a:gd name="connsiteY95" fmla="*/ 4252 h 9929"/>
                <a:gd name="connsiteX96" fmla="*/ 6998 w 10000"/>
                <a:gd name="connsiteY96" fmla="*/ 4168 h 9929"/>
                <a:gd name="connsiteX97" fmla="*/ 7152 w 10000"/>
                <a:gd name="connsiteY97" fmla="*/ 4194 h 9929"/>
                <a:gd name="connsiteX98" fmla="*/ 7335 w 10000"/>
                <a:gd name="connsiteY98" fmla="*/ 4173 h 9929"/>
                <a:gd name="connsiteX99" fmla="*/ 7611 w 10000"/>
                <a:gd name="connsiteY99" fmla="*/ 4200 h 9929"/>
                <a:gd name="connsiteX100" fmla="*/ 7645 w 10000"/>
                <a:gd name="connsiteY100" fmla="*/ 4189 h 9929"/>
                <a:gd name="connsiteX101" fmla="*/ 7859 w 10000"/>
                <a:gd name="connsiteY101" fmla="*/ 4317 h 9929"/>
                <a:gd name="connsiteX102" fmla="*/ 8017 w 10000"/>
                <a:gd name="connsiteY102" fmla="*/ 4269 h 9929"/>
                <a:gd name="connsiteX103" fmla="*/ 8032 w 10000"/>
                <a:gd name="connsiteY103" fmla="*/ 4226 h 9929"/>
                <a:gd name="connsiteX104" fmla="*/ 8176 w 10000"/>
                <a:gd name="connsiteY104" fmla="*/ 4302 h 9929"/>
                <a:gd name="connsiteX105" fmla="*/ 8369 w 10000"/>
                <a:gd name="connsiteY105" fmla="*/ 4343 h 9929"/>
                <a:gd name="connsiteX106" fmla="*/ 8446 w 10000"/>
                <a:gd name="connsiteY106" fmla="*/ 4267 h 9929"/>
                <a:gd name="connsiteX107" fmla="*/ 8507 w 10000"/>
                <a:gd name="connsiteY107" fmla="*/ 4309 h 9929"/>
                <a:gd name="connsiteX108" fmla="*/ 8596 w 10000"/>
                <a:gd name="connsiteY108" fmla="*/ 4458 h 9929"/>
                <a:gd name="connsiteX109" fmla="*/ 8782 w 10000"/>
                <a:gd name="connsiteY109" fmla="*/ 4491 h 9929"/>
                <a:gd name="connsiteX110" fmla="*/ 9542 w 10000"/>
                <a:gd name="connsiteY110" fmla="*/ 4274 h 9929"/>
                <a:gd name="connsiteX111" fmla="*/ 9914 w 10000"/>
                <a:gd name="connsiteY111" fmla="*/ 3973 h 9929"/>
                <a:gd name="connsiteX112" fmla="*/ 10000 w 10000"/>
                <a:gd name="connsiteY112" fmla="*/ 3755 h 9929"/>
                <a:gd name="connsiteX113" fmla="*/ 9866 w 10000"/>
                <a:gd name="connsiteY113" fmla="*/ 3556 h 9929"/>
                <a:gd name="connsiteX114" fmla="*/ 9582 w 10000"/>
                <a:gd name="connsiteY114" fmla="*/ 3438 h 9929"/>
                <a:gd name="connsiteX115" fmla="*/ 9382 w 10000"/>
                <a:gd name="connsiteY115" fmla="*/ 3242 h 9929"/>
                <a:gd name="connsiteX116" fmla="*/ 9569 w 10000"/>
                <a:gd name="connsiteY116" fmla="*/ 3236 h 9929"/>
                <a:gd name="connsiteX117" fmla="*/ 9555 w 10000"/>
                <a:gd name="connsiteY117" fmla="*/ 3189 h 9929"/>
                <a:gd name="connsiteX118" fmla="*/ 9068 w 10000"/>
                <a:gd name="connsiteY118" fmla="*/ 3054 h 9929"/>
                <a:gd name="connsiteX119" fmla="*/ 9047 w 10000"/>
                <a:gd name="connsiteY119" fmla="*/ 2928 h 9929"/>
                <a:gd name="connsiteX120" fmla="*/ 8953 w 10000"/>
                <a:gd name="connsiteY120" fmla="*/ 2797 h 9929"/>
                <a:gd name="connsiteX121" fmla="*/ 8569 w 10000"/>
                <a:gd name="connsiteY121" fmla="*/ 2821 h 9929"/>
                <a:gd name="connsiteX122" fmla="*/ 8431 w 10000"/>
                <a:gd name="connsiteY122" fmla="*/ 2681 h 9929"/>
                <a:gd name="connsiteX123" fmla="*/ 8350 w 10000"/>
                <a:gd name="connsiteY123" fmla="*/ 2672 h 9929"/>
                <a:gd name="connsiteX124" fmla="*/ 8350 w 10000"/>
                <a:gd name="connsiteY124" fmla="*/ 2734 h 9929"/>
                <a:gd name="connsiteX125" fmla="*/ 8176 w 10000"/>
                <a:gd name="connsiteY125" fmla="*/ 2967 h 9929"/>
                <a:gd name="connsiteX126" fmla="*/ 7990 w 10000"/>
                <a:gd name="connsiteY126" fmla="*/ 3105 h 9929"/>
                <a:gd name="connsiteX127" fmla="*/ 7401 w 10000"/>
                <a:gd name="connsiteY127" fmla="*/ 3338 h 9929"/>
                <a:gd name="connsiteX128" fmla="*/ 7198 w 10000"/>
                <a:gd name="connsiteY128" fmla="*/ 3331 h 9929"/>
                <a:gd name="connsiteX129" fmla="*/ 6915 w 10000"/>
                <a:gd name="connsiteY129" fmla="*/ 3368 h 9929"/>
                <a:gd name="connsiteX130" fmla="*/ 6757 w 10000"/>
                <a:gd name="connsiteY130" fmla="*/ 3331 h 9929"/>
                <a:gd name="connsiteX131" fmla="*/ 6965 w 10000"/>
                <a:gd name="connsiteY131" fmla="*/ 3264 h 9929"/>
                <a:gd name="connsiteX132" fmla="*/ 7235 w 10000"/>
                <a:gd name="connsiteY132" fmla="*/ 3236 h 9929"/>
                <a:gd name="connsiteX133" fmla="*/ 7455 w 10000"/>
                <a:gd name="connsiteY133" fmla="*/ 3127 h 9929"/>
                <a:gd name="connsiteX134" fmla="*/ 7674 w 10000"/>
                <a:gd name="connsiteY134" fmla="*/ 3075 h 9929"/>
                <a:gd name="connsiteX135" fmla="*/ 8082 w 10000"/>
                <a:gd name="connsiteY135" fmla="*/ 2882 h 9929"/>
                <a:gd name="connsiteX136" fmla="*/ 8157 w 10000"/>
                <a:gd name="connsiteY136" fmla="*/ 2758 h 9929"/>
                <a:gd name="connsiteX137" fmla="*/ 8165 w 10000"/>
                <a:gd name="connsiteY137" fmla="*/ 2596 h 9929"/>
                <a:gd name="connsiteX138" fmla="*/ 7978 w 10000"/>
                <a:gd name="connsiteY138" fmla="*/ 2569 h 9929"/>
                <a:gd name="connsiteX139" fmla="*/ 8058 w 10000"/>
                <a:gd name="connsiteY139" fmla="*/ 2470 h 9929"/>
                <a:gd name="connsiteX140" fmla="*/ 8087 w 10000"/>
                <a:gd name="connsiteY140" fmla="*/ 2345 h 9929"/>
                <a:gd name="connsiteX141" fmla="*/ 8007 w 10000"/>
                <a:gd name="connsiteY141" fmla="*/ 2228 h 9929"/>
                <a:gd name="connsiteX142" fmla="*/ 7450 w 10000"/>
                <a:gd name="connsiteY142" fmla="*/ 2389 h 9929"/>
                <a:gd name="connsiteX143" fmla="*/ 6694 w 10000"/>
                <a:gd name="connsiteY143" fmla="*/ 2317 h 9929"/>
                <a:gd name="connsiteX144" fmla="*/ 6304 w 10000"/>
                <a:gd name="connsiteY144" fmla="*/ 1869 h 9929"/>
                <a:gd name="connsiteX145" fmla="*/ 5294 w 10000"/>
                <a:gd name="connsiteY145" fmla="*/ 1784 h 9929"/>
                <a:gd name="connsiteX146" fmla="*/ 4505 w 10000"/>
                <a:gd name="connsiteY146" fmla="*/ 1411 h 9929"/>
                <a:gd name="connsiteX147" fmla="*/ 3730 w 10000"/>
                <a:gd name="connsiteY147" fmla="*/ 965 h 9929"/>
                <a:gd name="connsiteX148" fmla="*/ 3154 w 10000"/>
                <a:gd name="connsiteY148" fmla="*/ 143 h 9929"/>
                <a:gd name="connsiteX149" fmla="*/ 2375 w 10000"/>
                <a:gd name="connsiteY149" fmla="*/ 0 h 9929"/>
                <a:gd name="connsiteX150" fmla="*/ 2226 w 10000"/>
                <a:gd name="connsiteY150" fmla="*/ 774 h 9929"/>
                <a:gd name="connsiteX151" fmla="*/ 2375 w 10000"/>
                <a:gd name="connsiteY151" fmla="*/ 970 h 9929"/>
                <a:gd name="connsiteX152" fmla="*/ 2791 w 10000"/>
                <a:gd name="connsiteY152" fmla="*/ 1188 h 9929"/>
                <a:gd name="connsiteX153" fmla="*/ 2808 w 10000"/>
                <a:gd name="connsiteY153" fmla="*/ 1450 h 9929"/>
                <a:gd name="connsiteX154" fmla="*/ 2632 w 10000"/>
                <a:gd name="connsiteY154" fmla="*/ 1670 h 9929"/>
                <a:gd name="connsiteX155" fmla="*/ 2375 w 10000"/>
                <a:gd name="connsiteY155" fmla="*/ 1803 h 9929"/>
                <a:gd name="connsiteX156" fmla="*/ 2039 w 10000"/>
                <a:gd name="connsiteY156" fmla="*/ 1856 h 9929"/>
                <a:gd name="connsiteX157" fmla="*/ 1950 w 10000"/>
                <a:gd name="connsiteY157" fmla="*/ 1934 h 9929"/>
                <a:gd name="connsiteX158" fmla="*/ 2148 w 10000"/>
                <a:gd name="connsiteY158" fmla="*/ 2116 h 9929"/>
                <a:gd name="connsiteX159" fmla="*/ 2261 w 10000"/>
                <a:gd name="connsiteY159" fmla="*/ 2548 h 9929"/>
                <a:gd name="connsiteX160" fmla="*/ 2005 w 10000"/>
                <a:gd name="connsiteY160" fmla="*/ 2918 h 9929"/>
                <a:gd name="connsiteX161" fmla="*/ 2094 w 10000"/>
                <a:gd name="connsiteY161" fmla="*/ 3030 h 9929"/>
                <a:gd name="connsiteX162" fmla="*/ 2012 w 10000"/>
                <a:gd name="connsiteY162" fmla="*/ 3223 h 9929"/>
                <a:gd name="connsiteX163" fmla="*/ 1850 w 10000"/>
                <a:gd name="connsiteY163" fmla="*/ 3358 h 9929"/>
                <a:gd name="connsiteX164" fmla="*/ 1199 w 10000"/>
                <a:gd name="connsiteY164" fmla="*/ 3460 h 9929"/>
                <a:gd name="connsiteX165" fmla="*/ 1158 w 10000"/>
                <a:gd name="connsiteY165" fmla="*/ 3639 h 9929"/>
                <a:gd name="connsiteX166" fmla="*/ 808 w 10000"/>
                <a:gd name="connsiteY166" fmla="*/ 3904 h 9929"/>
                <a:gd name="connsiteX167" fmla="*/ 854 w 10000"/>
                <a:gd name="connsiteY167" fmla="*/ 4288 h 9929"/>
                <a:gd name="connsiteX168" fmla="*/ 560 w 10000"/>
                <a:gd name="connsiteY168" fmla="*/ 4779 h 9929"/>
                <a:gd name="connsiteX169" fmla="*/ 358 w 10000"/>
                <a:gd name="connsiteY169" fmla="*/ 4836 h 9929"/>
                <a:gd name="connsiteX170" fmla="*/ 275 w 10000"/>
                <a:gd name="connsiteY170" fmla="*/ 4719 h 9929"/>
                <a:gd name="connsiteX171" fmla="*/ 174 w 10000"/>
                <a:gd name="connsiteY171" fmla="*/ 4896 h 9929"/>
                <a:gd name="connsiteX172" fmla="*/ 239 w 10000"/>
                <a:gd name="connsiteY172" fmla="*/ 4591 h 9929"/>
                <a:gd name="connsiteX173" fmla="*/ 197 w 10000"/>
                <a:gd name="connsiteY173" fmla="*/ 4534 h 9929"/>
                <a:gd name="connsiteX0" fmla="*/ 197 w 10000"/>
                <a:gd name="connsiteY0" fmla="*/ 4566 h 9994"/>
                <a:gd name="connsiteX1" fmla="*/ 0 w 10000"/>
                <a:gd name="connsiteY1" fmla="*/ 4726 h 9994"/>
                <a:gd name="connsiteX2" fmla="*/ 0 w 10000"/>
                <a:gd name="connsiteY2" fmla="*/ 5513 h 9994"/>
                <a:gd name="connsiteX3" fmla="*/ 109 w 10000"/>
                <a:gd name="connsiteY3" fmla="*/ 5534 h 9994"/>
                <a:gd name="connsiteX4" fmla="*/ 134 w 10000"/>
                <a:gd name="connsiteY4" fmla="*/ 5596 h 9994"/>
                <a:gd name="connsiteX5" fmla="*/ 130 w 10000"/>
                <a:gd name="connsiteY5" fmla="*/ 5703 h 9994"/>
                <a:gd name="connsiteX6" fmla="*/ 89 w 10000"/>
                <a:gd name="connsiteY6" fmla="*/ 5750 h 9994"/>
                <a:gd name="connsiteX7" fmla="*/ 255 w 10000"/>
                <a:gd name="connsiteY7" fmla="*/ 5658 h 9994"/>
                <a:gd name="connsiteX8" fmla="*/ 325 w 10000"/>
                <a:gd name="connsiteY8" fmla="*/ 5570 h 9994"/>
                <a:gd name="connsiteX9" fmla="*/ 413 w 10000"/>
                <a:gd name="connsiteY9" fmla="*/ 5630 h 9994"/>
                <a:gd name="connsiteX10" fmla="*/ 316 w 10000"/>
                <a:gd name="connsiteY10" fmla="*/ 5760 h 9994"/>
                <a:gd name="connsiteX11" fmla="*/ 419 w 10000"/>
                <a:gd name="connsiteY11" fmla="*/ 5763 h 9994"/>
                <a:gd name="connsiteX12" fmla="*/ 469 w 10000"/>
                <a:gd name="connsiteY12" fmla="*/ 5795 h 9994"/>
                <a:gd name="connsiteX13" fmla="*/ 337 w 10000"/>
                <a:gd name="connsiteY13" fmla="*/ 5836 h 9994"/>
                <a:gd name="connsiteX14" fmla="*/ 130 w 10000"/>
                <a:gd name="connsiteY14" fmla="*/ 5968 h 9994"/>
                <a:gd name="connsiteX15" fmla="*/ 497 w 10000"/>
                <a:gd name="connsiteY15" fmla="*/ 6073 h 9994"/>
                <a:gd name="connsiteX16" fmla="*/ 545 w 10000"/>
                <a:gd name="connsiteY16" fmla="*/ 6220 h 9994"/>
                <a:gd name="connsiteX17" fmla="*/ 419 w 10000"/>
                <a:gd name="connsiteY17" fmla="*/ 6437 h 9994"/>
                <a:gd name="connsiteX18" fmla="*/ 688 w 10000"/>
                <a:gd name="connsiteY18" fmla="*/ 6425 h 9994"/>
                <a:gd name="connsiteX19" fmla="*/ 709 w 10000"/>
                <a:gd name="connsiteY19" fmla="*/ 6586 h 9994"/>
                <a:gd name="connsiteX20" fmla="*/ 530 w 10000"/>
                <a:gd name="connsiteY20" fmla="*/ 6702 h 9994"/>
                <a:gd name="connsiteX21" fmla="*/ 560 w 10000"/>
                <a:gd name="connsiteY21" fmla="*/ 6914 h 9994"/>
                <a:gd name="connsiteX22" fmla="*/ 489 w 10000"/>
                <a:gd name="connsiteY22" fmla="*/ 7084 h 9994"/>
                <a:gd name="connsiteX23" fmla="*/ 703 w 10000"/>
                <a:gd name="connsiteY23" fmla="*/ 7100 h 9994"/>
                <a:gd name="connsiteX24" fmla="*/ 909 w 10000"/>
                <a:gd name="connsiteY24" fmla="*/ 7745 h 9994"/>
                <a:gd name="connsiteX25" fmla="*/ 1150 w 10000"/>
                <a:gd name="connsiteY25" fmla="*/ 7904 h 9994"/>
                <a:gd name="connsiteX26" fmla="*/ 1255 w 10000"/>
                <a:gd name="connsiteY26" fmla="*/ 8079 h 9994"/>
                <a:gd name="connsiteX27" fmla="*/ 1514 w 10000"/>
                <a:gd name="connsiteY27" fmla="*/ 8204 h 9994"/>
                <a:gd name="connsiteX28" fmla="*/ 1684 w 10000"/>
                <a:gd name="connsiteY28" fmla="*/ 8367 h 9994"/>
                <a:gd name="connsiteX29" fmla="*/ 1661 w 10000"/>
                <a:gd name="connsiteY29" fmla="*/ 8484 h 9994"/>
                <a:gd name="connsiteX30" fmla="*/ 1496 w 10000"/>
                <a:gd name="connsiteY30" fmla="*/ 8527 h 9994"/>
                <a:gd name="connsiteX31" fmla="*/ 1316 w 10000"/>
                <a:gd name="connsiteY31" fmla="*/ 8498 h 9994"/>
                <a:gd name="connsiteX32" fmla="*/ 1260 w 10000"/>
                <a:gd name="connsiteY32" fmla="*/ 8545 h 9994"/>
                <a:gd name="connsiteX33" fmla="*/ 1397 w 10000"/>
                <a:gd name="connsiteY33" fmla="*/ 8794 h 9994"/>
                <a:gd name="connsiteX34" fmla="*/ 1205 w 10000"/>
                <a:gd name="connsiteY34" fmla="*/ 8773 h 9994"/>
                <a:gd name="connsiteX35" fmla="*/ 1040 w 10000"/>
                <a:gd name="connsiteY35" fmla="*/ 8713 h 9994"/>
                <a:gd name="connsiteX36" fmla="*/ 1012 w 10000"/>
                <a:gd name="connsiteY36" fmla="*/ 8806 h 9994"/>
                <a:gd name="connsiteX37" fmla="*/ 1557 w 10000"/>
                <a:gd name="connsiteY37" fmla="*/ 9664 h 9994"/>
                <a:gd name="connsiteX38" fmla="*/ 1469 w 10000"/>
                <a:gd name="connsiteY38" fmla="*/ 9743 h 9994"/>
                <a:gd name="connsiteX39" fmla="*/ 1408 w 10000"/>
                <a:gd name="connsiteY39" fmla="*/ 9908 h 9994"/>
                <a:gd name="connsiteX40" fmla="*/ 1329 w 10000"/>
                <a:gd name="connsiteY40" fmla="*/ 9920 h 9994"/>
                <a:gd name="connsiteX41" fmla="*/ 1281 w 10000"/>
                <a:gd name="connsiteY41" fmla="*/ 9994 h 9994"/>
                <a:gd name="connsiteX42" fmla="*/ 6419 w 10000"/>
                <a:gd name="connsiteY42" fmla="*/ 8268 h 9994"/>
                <a:gd name="connsiteX43" fmla="*/ 6586 w 10000"/>
                <a:gd name="connsiteY43" fmla="*/ 7580 h 9994"/>
                <a:gd name="connsiteX44" fmla="*/ 6855 w 10000"/>
                <a:gd name="connsiteY44" fmla="*/ 7276 h 9994"/>
                <a:gd name="connsiteX45" fmla="*/ 6855 w 10000"/>
                <a:gd name="connsiteY45" fmla="*/ 7114 h 9994"/>
                <a:gd name="connsiteX46" fmla="*/ 6757 w 10000"/>
                <a:gd name="connsiteY46" fmla="*/ 7026 h 9994"/>
                <a:gd name="connsiteX47" fmla="*/ 6915 w 10000"/>
                <a:gd name="connsiteY47" fmla="*/ 6879 h 9994"/>
                <a:gd name="connsiteX48" fmla="*/ 6887 w 10000"/>
                <a:gd name="connsiteY48" fmla="*/ 6760 h 9994"/>
                <a:gd name="connsiteX49" fmla="*/ 6779 w 10000"/>
                <a:gd name="connsiteY49" fmla="*/ 6658 h 9994"/>
                <a:gd name="connsiteX50" fmla="*/ 6757 w 10000"/>
                <a:gd name="connsiteY50" fmla="*/ 6579 h 9994"/>
                <a:gd name="connsiteX51" fmla="*/ 6785 w 10000"/>
                <a:gd name="connsiteY51" fmla="*/ 6521 h 9994"/>
                <a:gd name="connsiteX52" fmla="*/ 6931 w 10000"/>
                <a:gd name="connsiteY52" fmla="*/ 6568 h 9994"/>
                <a:gd name="connsiteX53" fmla="*/ 7045 w 10000"/>
                <a:gd name="connsiteY53" fmla="*/ 6565 h 9994"/>
                <a:gd name="connsiteX54" fmla="*/ 6983 w 10000"/>
                <a:gd name="connsiteY54" fmla="*/ 6468 h 9994"/>
                <a:gd name="connsiteX55" fmla="*/ 7003 w 10000"/>
                <a:gd name="connsiteY55" fmla="*/ 6410 h 9994"/>
                <a:gd name="connsiteX56" fmla="*/ 7089 w 10000"/>
                <a:gd name="connsiteY56" fmla="*/ 6328 h 9994"/>
                <a:gd name="connsiteX57" fmla="*/ 7074 w 10000"/>
                <a:gd name="connsiteY57" fmla="*/ 6259 h 9994"/>
                <a:gd name="connsiteX58" fmla="*/ 7152 w 10000"/>
                <a:gd name="connsiteY58" fmla="*/ 6031 h 9994"/>
                <a:gd name="connsiteX59" fmla="*/ 7130 w 10000"/>
                <a:gd name="connsiteY59" fmla="*/ 5961 h 9994"/>
                <a:gd name="connsiteX60" fmla="*/ 6729 w 10000"/>
                <a:gd name="connsiteY60" fmla="*/ 5786 h 9994"/>
                <a:gd name="connsiteX61" fmla="*/ 6785 w 10000"/>
                <a:gd name="connsiteY61" fmla="*/ 5780 h 9994"/>
                <a:gd name="connsiteX62" fmla="*/ 6998 w 10000"/>
                <a:gd name="connsiteY62" fmla="*/ 5825 h 9994"/>
                <a:gd name="connsiteX63" fmla="*/ 7230 w 10000"/>
                <a:gd name="connsiteY63" fmla="*/ 5808 h 9994"/>
                <a:gd name="connsiteX64" fmla="*/ 7295 w 10000"/>
                <a:gd name="connsiteY64" fmla="*/ 5746 h 9994"/>
                <a:gd name="connsiteX65" fmla="*/ 7074 w 10000"/>
                <a:gd name="connsiteY65" fmla="*/ 5627 h 9994"/>
                <a:gd name="connsiteX66" fmla="*/ 6414 w 10000"/>
                <a:gd name="connsiteY66" fmla="*/ 5549 h 9994"/>
                <a:gd name="connsiteX67" fmla="*/ 6458 w 10000"/>
                <a:gd name="connsiteY67" fmla="*/ 5513 h 9994"/>
                <a:gd name="connsiteX68" fmla="*/ 6998 w 10000"/>
                <a:gd name="connsiteY68" fmla="*/ 5488 h 9994"/>
                <a:gd name="connsiteX69" fmla="*/ 7295 w 10000"/>
                <a:gd name="connsiteY69" fmla="*/ 5560 h 9994"/>
                <a:gd name="connsiteX70" fmla="*/ 7466 w 10000"/>
                <a:gd name="connsiteY70" fmla="*/ 5513 h 9994"/>
                <a:gd name="connsiteX71" fmla="*/ 7529 w 10000"/>
                <a:gd name="connsiteY71" fmla="*/ 5390 h 9994"/>
                <a:gd name="connsiteX72" fmla="*/ 7840 w 10000"/>
                <a:gd name="connsiteY72" fmla="*/ 5390 h 9994"/>
                <a:gd name="connsiteX73" fmla="*/ 8261 w 10000"/>
                <a:gd name="connsiteY73" fmla="*/ 5144 h 9994"/>
                <a:gd name="connsiteX74" fmla="*/ 8275 w 10000"/>
                <a:gd name="connsiteY74" fmla="*/ 4977 h 9994"/>
                <a:gd name="connsiteX75" fmla="*/ 8453 w 10000"/>
                <a:gd name="connsiteY75" fmla="*/ 5015 h 9994"/>
                <a:gd name="connsiteX76" fmla="*/ 8446 w 10000"/>
                <a:gd name="connsiteY76" fmla="*/ 5181 h 9994"/>
                <a:gd name="connsiteX77" fmla="*/ 8727 w 10000"/>
                <a:gd name="connsiteY77" fmla="*/ 5169 h 9994"/>
                <a:gd name="connsiteX78" fmla="*/ 8913 w 10000"/>
                <a:gd name="connsiteY78" fmla="*/ 4997 h 9994"/>
                <a:gd name="connsiteX79" fmla="*/ 9258 w 10000"/>
                <a:gd name="connsiteY79" fmla="*/ 4842 h 9994"/>
                <a:gd name="connsiteX80" fmla="*/ 9203 w 10000"/>
                <a:gd name="connsiteY80" fmla="*/ 4667 h 9994"/>
                <a:gd name="connsiteX81" fmla="*/ 9306 w 10000"/>
                <a:gd name="connsiteY81" fmla="*/ 4737 h 9994"/>
                <a:gd name="connsiteX82" fmla="*/ 9464 w 10000"/>
                <a:gd name="connsiteY82" fmla="*/ 4737 h 9994"/>
                <a:gd name="connsiteX83" fmla="*/ 9464 w 10000"/>
                <a:gd name="connsiteY83" fmla="*/ 4655 h 9994"/>
                <a:gd name="connsiteX84" fmla="*/ 9611 w 10000"/>
                <a:gd name="connsiteY84" fmla="*/ 4596 h 9994"/>
                <a:gd name="connsiteX85" fmla="*/ 9592 w 10000"/>
                <a:gd name="connsiteY85" fmla="*/ 4532 h 9994"/>
                <a:gd name="connsiteX86" fmla="*/ 8350 w 10000"/>
                <a:gd name="connsiteY86" fmla="*/ 4657 h 9994"/>
                <a:gd name="connsiteX87" fmla="*/ 8058 w 10000"/>
                <a:gd name="connsiteY87" fmla="*/ 4622 h 9994"/>
                <a:gd name="connsiteX88" fmla="*/ 7942 w 10000"/>
                <a:gd name="connsiteY88" fmla="*/ 4667 h 9994"/>
                <a:gd name="connsiteX89" fmla="*/ 7903 w 10000"/>
                <a:gd name="connsiteY89" fmla="*/ 4578 h 9994"/>
                <a:gd name="connsiteX90" fmla="*/ 7765 w 10000"/>
                <a:gd name="connsiteY90" fmla="*/ 4501 h 9994"/>
                <a:gd name="connsiteX91" fmla="*/ 7213 w 10000"/>
                <a:gd name="connsiteY91" fmla="*/ 4340 h 9994"/>
                <a:gd name="connsiteX92" fmla="*/ 6887 w 10000"/>
                <a:gd name="connsiteY92" fmla="*/ 4367 h 9994"/>
                <a:gd name="connsiteX93" fmla="*/ 6757 w 10000"/>
                <a:gd name="connsiteY93" fmla="*/ 4321 h 9994"/>
                <a:gd name="connsiteX94" fmla="*/ 6894 w 10000"/>
                <a:gd name="connsiteY94" fmla="*/ 4282 h 9994"/>
                <a:gd name="connsiteX95" fmla="*/ 6998 w 10000"/>
                <a:gd name="connsiteY95" fmla="*/ 4198 h 9994"/>
                <a:gd name="connsiteX96" fmla="*/ 7152 w 10000"/>
                <a:gd name="connsiteY96" fmla="*/ 4224 h 9994"/>
                <a:gd name="connsiteX97" fmla="*/ 7335 w 10000"/>
                <a:gd name="connsiteY97" fmla="*/ 4203 h 9994"/>
                <a:gd name="connsiteX98" fmla="*/ 7611 w 10000"/>
                <a:gd name="connsiteY98" fmla="*/ 4230 h 9994"/>
                <a:gd name="connsiteX99" fmla="*/ 7645 w 10000"/>
                <a:gd name="connsiteY99" fmla="*/ 4219 h 9994"/>
                <a:gd name="connsiteX100" fmla="*/ 7859 w 10000"/>
                <a:gd name="connsiteY100" fmla="*/ 4348 h 9994"/>
                <a:gd name="connsiteX101" fmla="*/ 8017 w 10000"/>
                <a:gd name="connsiteY101" fmla="*/ 4300 h 9994"/>
                <a:gd name="connsiteX102" fmla="*/ 8032 w 10000"/>
                <a:gd name="connsiteY102" fmla="*/ 4256 h 9994"/>
                <a:gd name="connsiteX103" fmla="*/ 8176 w 10000"/>
                <a:gd name="connsiteY103" fmla="*/ 4333 h 9994"/>
                <a:gd name="connsiteX104" fmla="*/ 8369 w 10000"/>
                <a:gd name="connsiteY104" fmla="*/ 4374 h 9994"/>
                <a:gd name="connsiteX105" fmla="*/ 8446 w 10000"/>
                <a:gd name="connsiteY105" fmla="*/ 4298 h 9994"/>
                <a:gd name="connsiteX106" fmla="*/ 8507 w 10000"/>
                <a:gd name="connsiteY106" fmla="*/ 4340 h 9994"/>
                <a:gd name="connsiteX107" fmla="*/ 8596 w 10000"/>
                <a:gd name="connsiteY107" fmla="*/ 4490 h 9994"/>
                <a:gd name="connsiteX108" fmla="*/ 8782 w 10000"/>
                <a:gd name="connsiteY108" fmla="*/ 4523 h 9994"/>
                <a:gd name="connsiteX109" fmla="*/ 9542 w 10000"/>
                <a:gd name="connsiteY109" fmla="*/ 4305 h 9994"/>
                <a:gd name="connsiteX110" fmla="*/ 9914 w 10000"/>
                <a:gd name="connsiteY110" fmla="*/ 4001 h 9994"/>
                <a:gd name="connsiteX111" fmla="*/ 10000 w 10000"/>
                <a:gd name="connsiteY111" fmla="*/ 3782 h 9994"/>
                <a:gd name="connsiteX112" fmla="*/ 9866 w 10000"/>
                <a:gd name="connsiteY112" fmla="*/ 3581 h 9994"/>
                <a:gd name="connsiteX113" fmla="*/ 9582 w 10000"/>
                <a:gd name="connsiteY113" fmla="*/ 3463 h 9994"/>
                <a:gd name="connsiteX114" fmla="*/ 9382 w 10000"/>
                <a:gd name="connsiteY114" fmla="*/ 3265 h 9994"/>
                <a:gd name="connsiteX115" fmla="*/ 9569 w 10000"/>
                <a:gd name="connsiteY115" fmla="*/ 3259 h 9994"/>
                <a:gd name="connsiteX116" fmla="*/ 9555 w 10000"/>
                <a:gd name="connsiteY116" fmla="*/ 3212 h 9994"/>
                <a:gd name="connsiteX117" fmla="*/ 9068 w 10000"/>
                <a:gd name="connsiteY117" fmla="*/ 3076 h 9994"/>
                <a:gd name="connsiteX118" fmla="*/ 9047 w 10000"/>
                <a:gd name="connsiteY118" fmla="*/ 2949 h 9994"/>
                <a:gd name="connsiteX119" fmla="*/ 8953 w 10000"/>
                <a:gd name="connsiteY119" fmla="*/ 2817 h 9994"/>
                <a:gd name="connsiteX120" fmla="*/ 8569 w 10000"/>
                <a:gd name="connsiteY120" fmla="*/ 2841 h 9994"/>
                <a:gd name="connsiteX121" fmla="*/ 8431 w 10000"/>
                <a:gd name="connsiteY121" fmla="*/ 2700 h 9994"/>
                <a:gd name="connsiteX122" fmla="*/ 8350 w 10000"/>
                <a:gd name="connsiteY122" fmla="*/ 2691 h 9994"/>
                <a:gd name="connsiteX123" fmla="*/ 8350 w 10000"/>
                <a:gd name="connsiteY123" fmla="*/ 2754 h 9994"/>
                <a:gd name="connsiteX124" fmla="*/ 8176 w 10000"/>
                <a:gd name="connsiteY124" fmla="*/ 2988 h 9994"/>
                <a:gd name="connsiteX125" fmla="*/ 7990 w 10000"/>
                <a:gd name="connsiteY125" fmla="*/ 3127 h 9994"/>
                <a:gd name="connsiteX126" fmla="*/ 7401 w 10000"/>
                <a:gd name="connsiteY126" fmla="*/ 3362 h 9994"/>
                <a:gd name="connsiteX127" fmla="*/ 7198 w 10000"/>
                <a:gd name="connsiteY127" fmla="*/ 3355 h 9994"/>
                <a:gd name="connsiteX128" fmla="*/ 6915 w 10000"/>
                <a:gd name="connsiteY128" fmla="*/ 3392 h 9994"/>
                <a:gd name="connsiteX129" fmla="*/ 6757 w 10000"/>
                <a:gd name="connsiteY129" fmla="*/ 3355 h 9994"/>
                <a:gd name="connsiteX130" fmla="*/ 6965 w 10000"/>
                <a:gd name="connsiteY130" fmla="*/ 3287 h 9994"/>
                <a:gd name="connsiteX131" fmla="*/ 7235 w 10000"/>
                <a:gd name="connsiteY131" fmla="*/ 3259 h 9994"/>
                <a:gd name="connsiteX132" fmla="*/ 7455 w 10000"/>
                <a:gd name="connsiteY132" fmla="*/ 3149 h 9994"/>
                <a:gd name="connsiteX133" fmla="*/ 7674 w 10000"/>
                <a:gd name="connsiteY133" fmla="*/ 3097 h 9994"/>
                <a:gd name="connsiteX134" fmla="*/ 8082 w 10000"/>
                <a:gd name="connsiteY134" fmla="*/ 2903 h 9994"/>
                <a:gd name="connsiteX135" fmla="*/ 8157 w 10000"/>
                <a:gd name="connsiteY135" fmla="*/ 2778 h 9994"/>
                <a:gd name="connsiteX136" fmla="*/ 8165 w 10000"/>
                <a:gd name="connsiteY136" fmla="*/ 2615 h 9994"/>
                <a:gd name="connsiteX137" fmla="*/ 7978 w 10000"/>
                <a:gd name="connsiteY137" fmla="*/ 2587 h 9994"/>
                <a:gd name="connsiteX138" fmla="*/ 8058 w 10000"/>
                <a:gd name="connsiteY138" fmla="*/ 2488 h 9994"/>
                <a:gd name="connsiteX139" fmla="*/ 8087 w 10000"/>
                <a:gd name="connsiteY139" fmla="*/ 2362 h 9994"/>
                <a:gd name="connsiteX140" fmla="*/ 8007 w 10000"/>
                <a:gd name="connsiteY140" fmla="*/ 2244 h 9994"/>
                <a:gd name="connsiteX141" fmla="*/ 7450 w 10000"/>
                <a:gd name="connsiteY141" fmla="*/ 2406 h 9994"/>
                <a:gd name="connsiteX142" fmla="*/ 6694 w 10000"/>
                <a:gd name="connsiteY142" fmla="*/ 2334 h 9994"/>
                <a:gd name="connsiteX143" fmla="*/ 6304 w 10000"/>
                <a:gd name="connsiteY143" fmla="*/ 1882 h 9994"/>
                <a:gd name="connsiteX144" fmla="*/ 5294 w 10000"/>
                <a:gd name="connsiteY144" fmla="*/ 1797 h 9994"/>
                <a:gd name="connsiteX145" fmla="*/ 4505 w 10000"/>
                <a:gd name="connsiteY145" fmla="*/ 1421 h 9994"/>
                <a:gd name="connsiteX146" fmla="*/ 3730 w 10000"/>
                <a:gd name="connsiteY146" fmla="*/ 972 h 9994"/>
                <a:gd name="connsiteX147" fmla="*/ 3154 w 10000"/>
                <a:gd name="connsiteY147" fmla="*/ 144 h 9994"/>
                <a:gd name="connsiteX148" fmla="*/ 2375 w 10000"/>
                <a:gd name="connsiteY148" fmla="*/ 0 h 9994"/>
                <a:gd name="connsiteX149" fmla="*/ 2226 w 10000"/>
                <a:gd name="connsiteY149" fmla="*/ 780 h 9994"/>
                <a:gd name="connsiteX150" fmla="*/ 2375 w 10000"/>
                <a:gd name="connsiteY150" fmla="*/ 977 h 9994"/>
                <a:gd name="connsiteX151" fmla="*/ 2791 w 10000"/>
                <a:gd name="connsiteY151" fmla="*/ 1196 h 9994"/>
                <a:gd name="connsiteX152" fmla="*/ 2808 w 10000"/>
                <a:gd name="connsiteY152" fmla="*/ 1460 h 9994"/>
                <a:gd name="connsiteX153" fmla="*/ 2632 w 10000"/>
                <a:gd name="connsiteY153" fmla="*/ 1682 h 9994"/>
                <a:gd name="connsiteX154" fmla="*/ 2375 w 10000"/>
                <a:gd name="connsiteY154" fmla="*/ 1816 h 9994"/>
                <a:gd name="connsiteX155" fmla="*/ 2039 w 10000"/>
                <a:gd name="connsiteY155" fmla="*/ 1869 h 9994"/>
                <a:gd name="connsiteX156" fmla="*/ 1950 w 10000"/>
                <a:gd name="connsiteY156" fmla="*/ 1948 h 9994"/>
                <a:gd name="connsiteX157" fmla="*/ 2148 w 10000"/>
                <a:gd name="connsiteY157" fmla="*/ 2131 h 9994"/>
                <a:gd name="connsiteX158" fmla="*/ 2261 w 10000"/>
                <a:gd name="connsiteY158" fmla="*/ 2566 h 9994"/>
                <a:gd name="connsiteX159" fmla="*/ 2005 w 10000"/>
                <a:gd name="connsiteY159" fmla="*/ 2939 h 9994"/>
                <a:gd name="connsiteX160" fmla="*/ 2094 w 10000"/>
                <a:gd name="connsiteY160" fmla="*/ 3052 h 9994"/>
                <a:gd name="connsiteX161" fmla="*/ 2012 w 10000"/>
                <a:gd name="connsiteY161" fmla="*/ 3246 h 9994"/>
                <a:gd name="connsiteX162" fmla="*/ 1850 w 10000"/>
                <a:gd name="connsiteY162" fmla="*/ 3382 h 9994"/>
                <a:gd name="connsiteX163" fmla="*/ 1199 w 10000"/>
                <a:gd name="connsiteY163" fmla="*/ 3485 h 9994"/>
                <a:gd name="connsiteX164" fmla="*/ 1158 w 10000"/>
                <a:gd name="connsiteY164" fmla="*/ 3665 h 9994"/>
                <a:gd name="connsiteX165" fmla="*/ 808 w 10000"/>
                <a:gd name="connsiteY165" fmla="*/ 3932 h 9994"/>
                <a:gd name="connsiteX166" fmla="*/ 854 w 10000"/>
                <a:gd name="connsiteY166" fmla="*/ 4319 h 9994"/>
                <a:gd name="connsiteX167" fmla="*/ 560 w 10000"/>
                <a:gd name="connsiteY167" fmla="*/ 4813 h 9994"/>
                <a:gd name="connsiteX168" fmla="*/ 358 w 10000"/>
                <a:gd name="connsiteY168" fmla="*/ 4871 h 9994"/>
                <a:gd name="connsiteX169" fmla="*/ 275 w 10000"/>
                <a:gd name="connsiteY169" fmla="*/ 4753 h 9994"/>
                <a:gd name="connsiteX170" fmla="*/ 174 w 10000"/>
                <a:gd name="connsiteY170" fmla="*/ 4931 h 9994"/>
                <a:gd name="connsiteX171" fmla="*/ 239 w 10000"/>
                <a:gd name="connsiteY171" fmla="*/ 4624 h 9994"/>
                <a:gd name="connsiteX172" fmla="*/ 197 w 10000"/>
                <a:gd name="connsiteY172" fmla="*/ 4566 h 9994"/>
                <a:gd name="connsiteX0" fmla="*/ 197 w 10000"/>
                <a:gd name="connsiteY0" fmla="*/ 4569 h 9926"/>
                <a:gd name="connsiteX1" fmla="*/ 0 w 10000"/>
                <a:gd name="connsiteY1" fmla="*/ 4729 h 9926"/>
                <a:gd name="connsiteX2" fmla="*/ 0 w 10000"/>
                <a:gd name="connsiteY2" fmla="*/ 5516 h 9926"/>
                <a:gd name="connsiteX3" fmla="*/ 109 w 10000"/>
                <a:gd name="connsiteY3" fmla="*/ 5537 h 9926"/>
                <a:gd name="connsiteX4" fmla="*/ 134 w 10000"/>
                <a:gd name="connsiteY4" fmla="*/ 5599 h 9926"/>
                <a:gd name="connsiteX5" fmla="*/ 130 w 10000"/>
                <a:gd name="connsiteY5" fmla="*/ 5706 h 9926"/>
                <a:gd name="connsiteX6" fmla="*/ 89 w 10000"/>
                <a:gd name="connsiteY6" fmla="*/ 5753 h 9926"/>
                <a:gd name="connsiteX7" fmla="*/ 255 w 10000"/>
                <a:gd name="connsiteY7" fmla="*/ 5661 h 9926"/>
                <a:gd name="connsiteX8" fmla="*/ 325 w 10000"/>
                <a:gd name="connsiteY8" fmla="*/ 5573 h 9926"/>
                <a:gd name="connsiteX9" fmla="*/ 413 w 10000"/>
                <a:gd name="connsiteY9" fmla="*/ 5633 h 9926"/>
                <a:gd name="connsiteX10" fmla="*/ 316 w 10000"/>
                <a:gd name="connsiteY10" fmla="*/ 5763 h 9926"/>
                <a:gd name="connsiteX11" fmla="*/ 419 w 10000"/>
                <a:gd name="connsiteY11" fmla="*/ 5766 h 9926"/>
                <a:gd name="connsiteX12" fmla="*/ 469 w 10000"/>
                <a:gd name="connsiteY12" fmla="*/ 5798 h 9926"/>
                <a:gd name="connsiteX13" fmla="*/ 337 w 10000"/>
                <a:gd name="connsiteY13" fmla="*/ 5840 h 9926"/>
                <a:gd name="connsiteX14" fmla="*/ 130 w 10000"/>
                <a:gd name="connsiteY14" fmla="*/ 5972 h 9926"/>
                <a:gd name="connsiteX15" fmla="*/ 497 w 10000"/>
                <a:gd name="connsiteY15" fmla="*/ 6077 h 9926"/>
                <a:gd name="connsiteX16" fmla="*/ 545 w 10000"/>
                <a:gd name="connsiteY16" fmla="*/ 6224 h 9926"/>
                <a:gd name="connsiteX17" fmla="*/ 419 w 10000"/>
                <a:gd name="connsiteY17" fmla="*/ 6441 h 9926"/>
                <a:gd name="connsiteX18" fmla="*/ 688 w 10000"/>
                <a:gd name="connsiteY18" fmla="*/ 6429 h 9926"/>
                <a:gd name="connsiteX19" fmla="*/ 709 w 10000"/>
                <a:gd name="connsiteY19" fmla="*/ 6590 h 9926"/>
                <a:gd name="connsiteX20" fmla="*/ 530 w 10000"/>
                <a:gd name="connsiteY20" fmla="*/ 6706 h 9926"/>
                <a:gd name="connsiteX21" fmla="*/ 560 w 10000"/>
                <a:gd name="connsiteY21" fmla="*/ 6918 h 9926"/>
                <a:gd name="connsiteX22" fmla="*/ 489 w 10000"/>
                <a:gd name="connsiteY22" fmla="*/ 7088 h 9926"/>
                <a:gd name="connsiteX23" fmla="*/ 703 w 10000"/>
                <a:gd name="connsiteY23" fmla="*/ 7104 h 9926"/>
                <a:gd name="connsiteX24" fmla="*/ 909 w 10000"/>
                <a:gd name="connsiteY24" fmla="*/ 7750 h 9926"/>
                <a:gd name="connsiteX25" fmla="*/ 1150 w 10000"/>
                <a:gd name="connsiteY25" fmla="*/ 7909 h 9926"/>
                <a:gd name="connsiteX26" fmla="*/ 1255 w 10000"/>
                <a:gd name="connsiteY26" fmla="*/ 8084 h 9926"/>
                <a:gd name="connsiteX27" fmla="*/ 1514 w 10000"/>
                <a:gd name="connsiteY27" fmla="*/ 8209 h 9926"/>
                <a:gd name="connsiteX28" fmla="*/ 1684 w 10000"/>
                <a:gd name="connsiteY28" fmla="*/ 8372 h 9926"/>
                <a:gd name="connsiteX29" fmla="*/ 1661 w 10000"/>
                <a:gd name="connsiteY29" fmla="*/ 8489 h 9926"/>
                <a:gd name="connsiteX30" fmla="*/ 1496 w 10000"/>
                <a:gd name="connsiteY30" fmla="*/ 8532 h 9926"/>
                <a:gd name="connsiteX31" fmla="*/ 1316 w 10000"/>
                <a:gd name="connsiteY31" fmla="*/ 8503 h 9926"/>
                <a:gd name="connsiteX32" fmla="*/ 1260 w 10000"/>
                <a:gd name="connsiteY32" fmla="*/ 8550 h 9926"/>
                <a:gd name="connsiteX33" fmla="*/ 1397 w 10000"/>
                <a:gd name="connsiteY33" fmla="*/ 8799 h 9926"/>
                <a:gd name="connsiteX34" fmla="*/ 1205 w 10000"/>
                <a:gd name="connsiteY34" fmla="*/ 8778 h 9926"/>
                <a:gd name="connsiteX35" fmla="*/ 1040 w 10000"/>
                <a:gd name="connsiteY35" fmla="*/ 8718 h 9926"/>
                <a:gd name="connsiteX36" fmla="*/ 1012 w 10000"/>
                <a:gd name="connsiteY36" fmla="*/ 8811 h 9926"/>
                <a:gd name="connsiteX37" fmla="*/ 1557 w 10000"/>
                <a:gd name="connsiteY37" fmla="*/ 9670 h 9926"/>
                <a:gd name="connsiteX38" fmla="*/ 1469 w 10000"/>
                <a:gd name="connsiteY38" fmla="*/ 9749 h 9926"/>
                <a:gd name="connsiteX39" fmla="*/ 1408 w 10000"/>
                <a:gd name="connsiteY39" fmla="*/ 9914 h 9926"/>
                <a:gd name="connsiteX40" fmla="*/ 1329 w 10000"/>
                <a:gd name="connsiteY40" fmla="*/ 9926 h 9926"/>
                <a:gd name="connsiteX41" fmla="*/ 6419 w 10000"/>
                <a:gd name="connsiteY41" fmla="*/ 8273 h 9926"/>
                <a:gd name="connsiteX42" fmla="*/ 6586 w 10000"/>
                <a:gd name="connsiteY42" fmla="*/ 7585 h 9926"/>
                <a:gd name="connsiteX43" fmla="*/ 6855 w 10000"/>
                <a:gd name="connsiteY43" fmla="*/ 7280 h 9926"/>
                <a:gd name="connsiteX44" fmla="*/ 6855 w 10000"/>
                <a:gd name="connsiteY44" fmla="*/ 7118 h 9926"/>
                <a:gd name="connsiteX45" fmla="*/ 6757 w 10000"/>
                <a:gd name="connsiteY45" fmla="*/ 7030 h 9926"/>
                <a:gd name="connsiteX46" fmla="*/ 6915 w 10000"/>
                <a:gd name="connsiteY46" fmla="*/ 6883 h 9926"/>
                <a:gd name="connsiteX47" fmla="*/ 6887 w 10000"/>
                <a:gd name="connsiteY47" fmla="*/ 6764 h 9926"/>
                <a:gd name="connsiteX48" fmla="*/ 6779 w 10000"/>
                <a:gd name="connsiteY48" fmla="*/ 6662 h 9926"/>
                <a:gd name="connsiteX49" fmla="*/ 6757 w 10000"/>
                <a:gd name="connsiteY49" fmla="*/ 6583 h 9926"/>
                <a:gd name="connsiteX50" fmla="*/ 6785 w 10000"/>
                <a:gd name="connsiteY50" fmla="*/ 6525 h 9926"/>
                <a:gd name="connsiteX51" fmla="*/ 6931 w 10000"/>
                <a:gd name="connsiteY51" fmla="*/ 6572 h 9926"/>
                <a:gd name="connsiteX52" fmla="*/ 7045 w 10000"/>
                <a:gd name="connsiteY52" fmla="*/ 6569 h 9926"/>
                <a:gd name="connsiteX53" fmla="*/ 6983 w 10000"/>
                <a:gd name="connsiteY53" fmla="*/ 6472 h 9926"/>
                <a:gd name="connsiteX54" fmla="*/ 7003 w 10000"/>
                <a:gd name="connsiteY54" fmla="*/ 6414 h 9926"/>
                <a:gd name="connsiteX55" fmla="*/ 7089 w 10000"/>
                <a:gd name="connsiteY55" fmla="*/ 6332 h 9926"/>
                <a:gd name="connsiteX56" fmla="*/ 7074 w 10000"/>
                <a:gd name="connsiteY56" fmla="*/ 6263 h 9926"/>
                <a:gd name="connsiteX57" fmla="*/ 7152 w 10000"/>
                <a:gd name="connsiteY57" fmla="*/ 6035 h 9926"/>
                <a:gd name="connsiteX58" fmla="*/ 7130 w 10000"/>
                <a:gd name="connsiteY58" fmla="*/ 5965 h 9926"/>
                <a:gd name="connsiteX59" fmla="*/ 6729 w 10000"/>
                <a:gd name="connsiteY59" fmla="*/ 5789 h 9926"/>
                <a:gd name="connsiteX60" fmla="*/ 6785 w 10000"/>
                <a:gd name="connsiteY60" fmla="*/ 5783 h 9926"/>
                <a:gd name="connsiteX61" fmla="*/ 6998 w 10000"/>
                <a:gd name="connsiteY61" fmla="*/ 5828 h 9926"/>
                <a:gd name="connsiteX62" fmla="*/ 7230 w 10000"/>
                <a:gd name="connsiteY62" fmla="*/ 5811 h 9926"/>
                <a:gd name="connsiteX63" fmla="*/ 7295 w 10000"/>
                <a:gd name="connsiteY63" fmla="*/ 5749 h 9926"/>
                <a:gd name="connsiteX64" fmla="*/ 7074 w 10000"/>
                <a:gd name="connsiteY64" fmla="*/ 5630 h 9926"/>
                <a:gd name="connsiteX65" fmla="*/ 6414 w 10000"/>
                <a:gd name="connsiteY65" fmla="*/ 5552 h 9926"/>
                <a:gd name="connsiteX66" fmla="*/ 6458 w 10000"/>
                <a:gd name="connsiteY66" fmla="*/ 5516 h 9926"/>
                <a:gd name="connsiteX67" fmla="*/ 6998 w 10000"/>
                <a:gd name="connsiteY67" fmla="*/ 5491 h 9926"/>
                <a:gd name="connsiteX68" fmla="*/ 7295 w 10000"/>
                <a:gd name="connsiteY68" fmla="*/ 5563 h 9926"/>
                <a:gd name="connsiteX69" fmla="*/ 7466 w 10000"/>
                <a:gd name="connsiteY69" fmla="*/ 5516 h 9926"/>
                <a:gd name="connsiteX70" fmla="*/ 7529 w 10000"/>
                <a:gd name="connsiteY70" fmla="*/ 5393 h 9926"/>
                <a:gd name="connsiteX71" fmla="*/ 7840 w 10000"/>
                <a:gd name="connsiteY71" fmla="*/ 5393 h 9926"/>
                <a:gd name="connsiteX72" fmla="*/ 8261 w 10000"/>
                <a:gd name="connsiteY72" fmla="*/ 5147 h 9926"/>
                <a:gd name="connsiteX73" fmla="*/ 8275 w 10000"/>
                <a:gd name="connsiteY73" fmla="*/ 4980 h 9926"/>
                <a:gd name="connsiteX74" fmla="*/ 8453 w 10000"/>
                <a:gd name="connsiteY74" fmla="*/ 5018 h 9926"/>
                <a:gd name="connsiteX75" fmla="*/ 8446 w 10000"/>
                <a:gd name="connsiteY75" fmla="*/ 5184 h 9926"/>
                <a:gd name="connsiteX76" fmla="*/ 8727 w 10000"/>
                <a:gd name="connsiteY76" fmla="*/ 5172 h 9926"/>
                <a:gd name="connsiteX77" fmla="*/ 8913 w 10000"/>
                <a:gd name="connsiteY77" fmla="*/ 5000 h 9926"/>
                <a:gd name="connsiteX78" fmla="*/ 9258 w 10000"/>
                <a:gd name="connsiteY78" fmla="*/ 4845 h 9926"/>
                <a:gd name="connsiteX79" fmla="*/ 9203 w 10000"/>
                <a:gd name="connsiteY79" fmla="*/ 4670 h 9926"/>
                <a:gd name="connsiteX80" fmla="*/ 9306 w 10000"/>
                <a:gd name="connsiteY80" fmla="*/ 4740 h 9926"/>
                <a:gd name="connsiteX81" fmla="*/ 9464 w 10000"/>
                <a:gd name="connsiteY81" fmla="*/ 4740 h 9926"/>
                <a:gd name="connsiteX82" fmla="*/ 9464 w 10000"/>
                <a:gd name="connsiteY82" fmla="*/ 4658 h 9926"/>
                <a:gd name="connsiteX83" fmla="*/ 9611 w 10000"/>
                <a:gd name="connsiteY83" fmla="*/ 4599 h 9926"/>
                <a:gd name="connsiteX84" fmla="*/ 9592 w 10000"/>
                <a:gd name="connsiteY84" fmla="*/ 4535 h 9926"/>
                <a:gd name="connsiteX85" fmla="*/ 8350 w 10000"/>
                <a:gd name="connsiteY85" fmla="*/ 4660 h 9926"/>
                <a:gd name="connsiteX86" fmla="*/ 8058 w 10000"/>
                <a:gd name="connsiteY86" fmla="*/ 4625 h 9926"/>
                <a:gd name="connsiteX87" fmla="*/ 7942 w 10000"/>
                <a:gd name="connsiteY87" fmla="*/ 4670 h 9926"/>
                <a:gd name="connsiteX88" fmla="*/ 7903 w 10000"/>
                <a:gd name="connsiteY88" fmla="*/ 4581 h 9926"/>
                <a:gd name="connsiteX89" fmla="*/ 7765 w 10000"/>
                <a:gd name="connsiteY89" fmla="*/ 4504 h 9926"/>
                <a:gd name="connsiteX90" fmla="*/ 7213 w 10000"/>
                <a:gd name="connsiteY90" fmla="*/ 4343 h 9926"/>
                <a:gd name="connsiteX91" fmla="*/ 6887 w 10000"/>
                <a:gd name="connsiteY91" fmla="*/ 4370 h 9926"/>
                <a:gd name="connsiteX92" fmla="*/ 6757 w 10000"/>
                <a:gd name="connsiteY92" fmla="*/ 4324 h 9926"/>
                <a:gd name="connsiteX93" fmla="*/ 6894 w 10000"/>
                <a:gd name="connsiteY93" fmla="*/ 4285 h 9926"/>
                <a:gd name="connsiteX94" fmla="*/ 6998 w 10000"/>
                <a:gd name="connsiteY94" fmla="*/ 4201 h 9926"/>
                <a:gd name="connsiteX95" fmla="*/ 7152 w 10000"/>
                <a:gd name="connsiteY95" fmla="*/ 4227 h 9926"/>
                <a:gd name="connsiteX96" fmla="*/ 7335 w 10000"/>
                <a:gd name="connsiteY96" fmla="*/ 4206 h 9926"/>
                <a:gd name="connsiteX97" fmla="*/ 7611 w 10000"/>
                <a:gd name="connsiteY97" fmla="*/ 4233 h 9926"/>
                <a:gd name="connsiteX98" fmla="*/ 7645 w 10000"/>
                <a:gd name="connsiteY98" fmla="*/ 4222 h 9926"/>
                <a:gd name="connsiteX99" fmla="*/ 7859 w 10000"/>
                <a:gd name="connsiteY99" fmla="*/ 4351 h 9926"/>
                <a:gd name="connsiteX100" fmla="*/ 8017 w 10000"/>
                <a:gd name="connsiteY100" fmla="*/ 4303 h 9926"/>
                <a:gd name="connsiteX101" fmla="*/ 8032 w 10000"/>
                <a:gd name="connsiteY101" fmla="*/ 4259 h 9926"/>
                <a:gd name="connsiteX102" fmla="*/ 8176 w 10000"/>
                <a:gd name="connsiteY102" fmla="*/ 4336 h 9926"/>
                <a:gd name="connsiteX103" fmla="*/ 8369 w 10000"/>
                <a:gd name="connsiteY103" fmla="*/ 4377 h 9926"/>
                <a:gd name="connsiteX104" fmla="*/ 8446 w 10000"/>
                <a:gd name="connsiteY104" fmla="*/ 4301 h 9926"/>
                <a:gd name="connsiteX105" fmla="*/ 8507 w 10000"/>
                <a:gd name="connsiteY105" fmla="*/ 4343 h 9926"/>
                <a:gd name="connsiteX106" fmla="*/ 8596 w 10000"/>
                <a:gd name="connsiteY106" fmla="*/ 4493 h 9926"/>
                <a:gd name="connsiteX107" fmla="*/ 8782 w 10000"/>
                <a:gd name="connsiteY107" fmla="*/ 4526 h 9926"/>
                <a:gd name="connsiteX108" fmla="*/ 9542 w 10000"/>
                <a:gd name="connsiteY108" fmla="*/ 4308 h 9926"/>
                <a:gd name="connsiteX109" fmla="*/ 9914 w 10000"/>
                <a:gd name="connsiteY109" fmla="*/ 4003 h 9926"/>
                <a:gd name="connsiteX110" fmla="*/ 10000 w 10000"/>
                <a:gd name="connsiteY110" fmla="*/ 3784 h 9926"/>
                <a:gd name="connsiteX111" fmla="*/ 9866 w 10000"/>
                <a:gd name="connsiteY111" fmla="*/ 3583 h 9926"/>
                <a:gd name="connsiteX112" fmla="*/ 9582 w 10000"/>
                <a:gd name="connsiteY112" fmla="*/ 3465 h 9926"/>
                <a:gd name="connsiteX113" fmla="*/ 9382 w 10000"/>
                <a:gd name="connsiteY113" fmla="*/ 3267 h 9926"/>
                <a:gd name="connsiteX114" fmla="*/ 9569 w 10000"/>
                <a:gd name="connsiteY114" fmla="*/ 3261 h 9926"/>
                <a:gd name="connsiteX115" fmla="*/ 9555 w 10000"/>
                <a:gd name="connsiteY115" fmla="*/ 3214 h 9926"/>
                <a:gd name="connsiteX116" fmla="*/ 9068 w 10000"/>
                <a:gd name="connsiteY116" fmla="*/ 3078 h 9926"/>
                <a:gd name="connsiteX117" fmla="*/ 9047 w 10000"/>
                <a:gd name="connsiteY117" fmla="*/ 2951 h 9926"/>
                <a:gd name="connsiteX118" fmla="*/ 8953 w 10000"/>
                <a:gd name="connsiteY118" fmla="*/ 2819 h 9926"/>
                <a:gd name="connsiteX119" fmla="*/ 8569 w 10000"/>
                <a:gd name="connsiteY119" fmla="*/ 2843 h 9926"/>
                <a:gd name="connsiteX120" fmla="*/ 8431 w 10000"/>
                <a:gd name="connsiteY120" fmla="*/ 2702 h 9926"/>
                <a:gd name="connsiteX121" fmla="*/ 8350 w 10000"/>
                <a:gd name="connsiteY121" fmla="*/ 2693 h 9926"/>
                <a:gd name="connsiteX122" fmla="*/ 8350 w 10000"/>
                <a:gd name="connsiteY122" fmla="*/ 2756 h 9926"/>
                <a:gd name="connsiteX123" fmla="*/ 8176 w 10000"/>
                <a:gd name="connsiteY123" fmla="*/ 2990 h 9926"/>
                <a:gd name="connsiteX124" fmla="*/ 7990 w 10000"/>
                <a:gd name="connsiteY124" fmla="*/ 3129 h 9926"/>
                <a:gd name="connsiteX125" fmla="*/ 7401 w 10000"/>
                <a:gd name="connsiteY125" fmla="*/ 3364 h 9926"/>
                <a:gd name="connsiteX126" fmla="*/ 7198 w 10000"/>
                <a:gd name="connsiteY126" fmla="*/ 3357 h 9926"/>
                <a:gd name="connsiteX127" fmla="*/ 6915 w 10000"/>
                <a:gd name="connsiteY127" fmla="*/ 3394 h 9926"/>
                <a:gd name="connsiteX128" fmla="*/ 6757 w 10000"/>
                <a:gd name="connsiteY128" fmla="*/ 3357 h 9926"/>
                <a:gd name="connsiteX129" fmla="*/ 6965 w 10000"/>
                <a:gd name="connsiteY129" fmla="*/ 3289 h 9926"/>
                <a:gd name="connsiteX130" fmla="*/ 7235 w 10000"/>
                <a:gd name="connsiteY130" fmla="*/ 3261 h 9926"/>
                <a:gd name="connsiteX131" fmla="*/ 7455 w 10000"/>
                <a:gd name="connsiteY131" fmla="*/ 3151 h 9926"/>
                <a:gd name="connsiteX132" fmla="*/ 7674 w 10000"/>
                <a:gd name="connsiteY132" fmla="*/ 3099 h 9926"/>
                <a:gd name="connsiteX133" fmla="*/ 8082 w 10000"/>
                <a:gd name="connsiteY133" fmla="*/ 2905 h 9926"/>
                <a:gd name="connsiteX134" fmla="*/ 8157 w 10000"/>
                <a:gd name="connsiteY134" fmla="*/ 2780 h 9926"/>
                <a:gd name="connsiteX135" fmla="*/ 8165 w 10000"/>
                <a:gd name="connsiteY135" fmla="*/ 2617 h 9926"/>
                <a:gd name="connsiteX136" fmla="*/ 7978 w 10000"/>
                <a:gd name="connsiteY136" fmla="*/ 2589 h 9926"/>
                <a:gd name="connsiteX137" fmla="*/ 8058 w 10000"/>
                <a:gd name="connsiteY137" fmla="*/ 2489 h 9926"/>
                <a:gd name="connsiteX138" fmla="*/ 8087 w 10000"/>
                <a:gd name="connsiteY138" fmla="*/ 2363 h 9926"/>
                <a:gd name="connsiteX139" fmla="*/ 8007 w 10000"/>
                <a:gd name="connsiteY139" fmla="*/ 2245 h 9926"/>
                <a:gd name="connsiteX140" fmla="*/ 7450 w 10000"/>
                <a:gd name="connsiteY140" fmla="*/ 2407 h 9926"/>
                <a:gd name="connsiteX141" fmla="*/ 6694 w 10000"/>
                <a:gd name="connsiteY141" fmla="*/ 2335 h 9926"/>
                <a:gd name="connsiteX142" fmla="*/ 6304 w 10000"/>
                <a:gd name="connsiteY142" fmla="*/ 1883 h 9926"/>
                <a:gd name="connsiteX143" fmla="*/ 5294 w 10000"/>
                <a:gd name="connsiteY143" fmla="*/ 1798 h 9926"/>
                <a:gd name="connsiteX144" fmla="*/ 4505 w 10000"/>
                <a:gd name="connsiteY144" fmla="*/ 1422 h 9926"/>
                <a:gd name="connsiteX145" fmla="*/ 3730 w 10000"/>
                <a:gd name="connsiteY145" fmla="*/ 973 h 9926"/>
                <a:gd name="connsiteX146" fmla="*/ 3154 w 10000"/>
                <a:gd name="connsiteY146" fmla="*/ 144 h 9926"/>
                <a:gd name="connsiteX147" fmla="*/ 2375 w 10000"/>
                <a:gd name="connsiteY147" fmla="*/ 0 h 9926"/>
                <a:gd name="connsiteX148" fmla="*/ 2226 w 10000"/>
                <a:gd name="connsiteY148" fmla="*/ 780 h 9926"/>
                <a:gd name="connsiteX149" fmla="*/ 2375 w 10000"/>
                <a:gd name="connsiteY149" fmla="*/ 978 h 9926"/>
                <a:gd name="connsiteX150" fmla="*/ 2791 w 10000"/>
                <a:gd name="connsiteY150" fmla="*/ 1197 h 9926"/>
                <a:gd name="connsiteX151" fmla="*/ 2808 w 10000"/>
                <a:gd name="connsiteY151" fmla="*/ 1461 h 9926"/>
                <a:gd name="connsiteX152" fmla="*/ 2632 w 10000"/>
                <a:gd name="connsiteY152" fmla="*/ 1683 h 9926"/>
                <a:gd name="connsiteX153" fmla="*/ 2375 w 10000"/>
                <a:gd name="connsiteY153" fmla="*/ 1817 h 9926"/>
                <a:gd name="connsiteX154" fmla="*/ 2039 w 10000"/>
                <a:gd name="connsiteY154" fmla="*/ 1870 h 9926"/>
                <a:gd name="connsiteX155" fmla="*/ 1950 w 10000"/>
                <a:gd name="connsiteY155" fmla="*/ 1949 h 9926"/>
                <a:gd name="connsiteX156" fmla="*/ 2148 w 10000"/>
                <a:gd name="connsiteY156" fmla="*/ 2132 h 9926"/>
                <a:gd name="connsiteX157" fmla="*/ 2261 w 10000"/>
                <a:gd name="connsiteY157" fmla="*/ 2568 h 9926"/>
                <a:gd name="connsiteX158" fmla="*/ 2005 w 10000"/>
                <a:gd name="connsiteY158" fmla="*/ 2941 h 9926"/>
                <a:gd name="connsiteX159" fmla="*/ 2094 w 10000"/>
                <a:gd name="connsiteY159" fmla="*/ 3054 h 9926"/>
                <a:gd name="connsiteX160" fmla="*/ 2012 w 10000"/>
                <a:gd name="connsiteY160" fmla="*/ 3248 h 9926"/>
                <a:gd name="connsiteX161" fmla="*/ 1850 w 10000"/>
                <a:gd name="connsiteY161" fmla="*/ 3384 h 9926"/>
                <a:gd name="connsiteX162" fmla="*/ 1199 w 10000"/>
                <a:gd name="connsiteY162" fmla="*/ 3487 h 9926"/>
                <a:gd name="connsiteX163" fmla="*/ 1158 w 10000"/>
                <a:gd name="connsiteY163" fmla="*/ 3667 h 9926"/>
                <a:gd name="connsiteX164" fmla="*/ 808 w 10000"/>
                <a:gd name="connsiteY164" fmla="*/ 3934 h 9926"/>
                <a:gd name="connsiteX165" fmla="*/ 854 w 10000"/>
                <a:gd name="connsiteY165" fmla="*/ 4322 h 9926"/>
                <a:gd name="connsiteX166" fmla="*/ 560 w 10000"/>
                <a:gd name="connsiteY166" fmla="*/ 4816 h 9926"/>
                <a:gd name="connsiteX167" fmla="*/ 358 w 10000"/>
                <a:gd name="connsiteY167" fmla="*/ 4874 h 9926"/>
                <a:gd name="connsiteX168" fmla="*/ 275 w 10000"/>
                <a:gd name="connsiteY168" fmla="*/ 4756 h 9926"/>
                <a:gd name="connsiteX169" fmla="*/ 174 w 10000"/>
                <a:gd name="connsiteY169" fmla="*/ 4934 h 9926"/>
                <a:gd name="connsiteX170" fmla="*/ 239 w 10000"/>
                <a:gd name="connsiteY170" fmla="*/ 4627 h 9926"/>
                <a:gd name="connsiteX171" fmla="*/ 197 w 10000"/>
                <a:gd name="connsiteY171" fmla="*/ 4569 h 9926"/>
                <a:gd name="connsiteX0" fmla="*/ 197 w 10000"/>
                <a:gd name="connsiteY0" fmla="*/ 4603 h 9988"/>
                <a:gd name="connsiteX1" fmla="*/ 0 w 10000"/>
                <a:gd name="connsiteY1" fmla="*/ 4764 h 9988"/>
                <a:gd name="connsiteX2" fmla="*/ 0 w 10000"/>
                <a:gd name="connsiteY2" fmla="*/ 5557 h 9988"/>
                <a:gd name="connsiteX3" fmla="*/ 109 w 10000"/>
                <a:gd name="connsiteY3" fmla="*/ 5578 h 9988"/>
                <a:gd name="connsiteX4" fmla="*/ 134 w 10000"/>
                <a:gd name="connsiteY4" fmla="*/ 5641 h 9988"/>
                <a:gd name="connsiteX5" fmla="*/ 130 w 10000"/>
                <a:gd name="connsiteY5" fmla="*/ 5749 h 9988"/>
                <a:gd name="connsiteX6" fmla="*/ 89 w 10000"/>
                <a:gd name="connsiteY6" fmla="*/ 5796 h 9988"/>
                <a:gd name="connsiteX7" fmla="*/ 255 w 10000"/>
                <a:gd name="connsiteY7" fmla="*/ 5703 h 9988"/>
                <a:gd name="connsiteX8" fmla="*/ 325 w 10000"/>
                <a:gd name="connsiteY8" fmla="*/ 5615 h 9988"/>
                <a:gd name="connsiteX9" fmla="*/ 413 w 10000"/>
                <a:gd name="connsiteY9" fmla="*/ 5675 h 9988"/>
                <a:gd name="connsiteX10" fmla="*/ 316 w 10000"/>
                <a:gd name="connsiteY10" fmla="*/ 5806 h 9988"/>
                <a:gd name="connsiteX11" fmla="*/ 419 w 10000"/>
                <a:gd name="connsiteY11" fmla="*/ 5809 h 9988"/>
                <a:gd name="connsiteX12" fmla="*/ 469 w 10000"/>
                <a:gd name="connsiteY12" fmla="*/ 5841 h 9988"/>
                <a:gd name="connsiteX13" fmla="*/ 337 w 10000"/>
                <a:gd name="connsiteY13" fmla="*/ 5884 h 9988"/>
                <a:gd name="connsiteX14" fmla="*/ 130 w 10000"/>
                <a:gd name="connsiteY14" fmla="*/ 6017 h 9988"/>
                <a:gd name="connsiteX15" fmla="*/ 497 w 10000"/>
                <a:gd name="connsiteY15" fmla="*/ 6122 h 9988"/>
                <a:gd name="connsiteX16" fmla="*/ 545 w 10000"/>
                <a:gd name="connsiteY16" fmla="*/ 6270 h 9988"/>
                <a:gd name="connsiteX17" fmla="*/ 419 w 10000"/>
                <a:gd name="connsiteY17" fmla="*/ 6489 h 9988"/>
                <a:gd name="connsiteX18" fmla="*/ 688 w 10000"/>
                <a:gd name="connsiteY18" fmla="*/ 6477 h 9988"/>
                <a:gd name="connsiteX19" fmla="*/ 709 w 10000"/>
                <a:gd name="connsiteY19" fmla="*/ 6639 h 9988"/>
                <a:gd name="connsiteX20" fmla="*/ 530 w 10000"/>
                <a:gd name="connsiteY20" fmla="*/ 6756 h 9988"/>
                <a:gd name="connsiteX21" fmla="*/ 560 w 10000"/>
                <a:gd name="connsiteY21" fmla="*/ 6970 h 9988"/>
                <a:gd name="connsiteX22" fmla="*/ 489 w 10000"/>
                <a:gd name="connsiteY22" fmla="*/ 7141 h 9988"/>
                <a:gd name="connsiteX23" fmla="*/ 703 w 10000"/>
                <a:gd name="connsiteY23" fmla="*/ 7157 h 9988"/>
                <a:gd name="connsiteX24" fmla="*/ 909 w 10000"/>
                <a:gd name="connsiteY24" fmla="*/ 7808 h 9988"/>
                <a:gd name="connsiteX25" fmla="*/ 1150 w 10000"/>
                <a:gd name="connsiteY25" fmla="*/ 7968 h 9988"/>
                <a:gd name="connsiteX26" fmla="*/ 1255 w 10000"/>
                <a:gd name="connsiteY26" fmla="*/ 8144 h 9988"/>
                <a:gd name="connsiteX27" fmla="*/ 1514 w 10000"/>
                <a:gd name="connsiteY27" fmla="*/ 8270 h 9988"/>
                <a:gd name="connsiteX28" fmla="*/ 1684 w 10000"/>
                <a:gd name="connsiteY28" fmla="*/ 8434 h 9988"/>
                <a:gd name="connsiteX29" fmla="*/ 1661 w 10000"/>
                <a:gd name="connsiteY29" fmla="*/ 8552 h 9988"/>
                <a:gd name="connsiteX30" fmla="*/ 1496 w 10000"/>
                <a:gd name="connsiteY30" fmla="*/ 8596 h 9988"/>
                <a:gd name="connsiteX31" fmla="*/ 1316 w 10000"/>
                <a:gd name="connsiteY31" fmla="*/ 8566 h 9988"/>
                <a:gd name="connsiteX32" fmla="*/ 1260 w 10000"/>
                <a:gd name="connsiteY32" fmla="*/ 8614 h 9988"/>
                <a:gd name="connsiteX33" fmla="*/ 1397 w 10000"/>
                <a:gd name="connsiteY33" fmla="*/ 8865 h 9988"/>
                <a:gd name="connsiteX34" fmla="*/ 1205 w 10000"/>
                <a:gd name="connsiteY34" fmla="*/ 8843 h 9988"/>
                <a:gd name="connsiteX35" fmla="*/ 1040 w 10000"/>
                <a:gd name="connsiteY35" fmla="*/ 8783 h 9988"/>
                <a:gd name="connsiteX36" fmla="*/ 1012 w 10000"/>
                <a:gd name="connsiteY36" fmla="*/ 8877 h 9988"/>
                <a:gd name="connsiteX37" fmla="*/ 1557 w 10000"/>
                <a:gd name="connsiteY37" fmla="*/ 9742 h 9988"/>
                <a:gd name="connsiteX38" fmla="*/ 1469 w 10000"/>
                <a:gd name="connsiteY38" fmla="*/ 9822 h 9988"/>
                <a:gd name="connsiteX39" fmla="*/ 1408 w 10000"/>
                <a:gd name="connsiteY39" fmla="*/ 9988 h 9988"/>
                <a:gd name="connsiteX40" fmla="*/ 6419 w 10000"/>
                <a:gd name="connsiteY40" fmla="*/ 8335 h 9988"/>
                <a:gd name="connsiteX41" fmla="*/ 6586 w 10000"/>
                <a:gd name="connsiteY41" fmla="*/ 7642 h 9988"/>
                <a:gd name="connsiteX42" fmla="*/ 6855 w 10000"/>
                <a:gd name="connsiteY42" fmla="*/ 7334 h 9988"/>
                <a:gd name="connsiteX43" fmla="*/ 6855 w 10000"/>
                <a:gd name="connsiteY43" fmla="*/ 7171 h 9988"/>
                <a:gd name="connsiteX44" fmla="*/ 6757 w 10000"/>
                <a:gd name="connsiteY44" fmla="*/ 7082 h 9988"/>
                <a:gd name="connsiteX45" fmla="*/ 6915 w 10000"/>
                <a:gd name="connsiteY45" fmla="*/ 6934 h 9988"/>
                <a:gd name="connsiteX46" fmla="*/ 6887 w 10000"/>
                <a:gd name="connsiteY46" fmla="*/ 6814 h 9988"/>
                <a:gd name="connsiteX47" fmla="*/ 6779 w 10000"/>
                <a:gd name="connsiteY47" fmla="*/ 6712 h 9988"/>
                <a:gd name="connsiteX48" fmla="*/ 6757 w 10000"/>
                <a:gd name="connsiteY48" fmla="*/ 6632 h 9988"/>
                <a:gd name="connsiteX49" fmla="*/ 6785 w 10000"/>
                <a:gd name="connsiteY49" fmla="*/ 6574 h 9988"/>
                <a:gd name="connsiteX50" fmla="*/ 6931 w 10000"/>
                <a:gd name="connsiteY50" fmla="*/ 6621 h 9988"/>
                <a:gd name="connsiteX51" fmla="*/ 7045 w 10000"/>
                <a:gd name="connsiteY51" fmla="*/ 6618 h 9988"/>
                <a:gd name="connsiteX52" fmla="*/ 6983 w 10000"/>
                <a:gd name="connsiteY52" fmla="*/ 6520 h 9988"/>
                <a:gd name="connsiteX53" fmla="*/ 7003 w 10000"/>
                <a:gd name="connsiteY53" fmla="*/ 6462 h 9988"/>
                <a:gd name="connsiteX54" fmla="*/ 7089 w 10000"/>
                <a:gd name="connsiteY54" fmla="*/ 6379 h 9988"/>
                <a:gd name="connsiteX55" fmla="*/ 7074 w 10000"/>
                <a:gd name="connsiteY55" fmla="*/ 6310 h 9988"/>
                <a:gd name="connsiteX56" fmla="*/ 7152 w 10000"/>
                <a:gd name="connsiteY56" fmla="*/ 6080 h 9988"/>
                <a:gd name="connsiteX57" fmla="*/ 7130 w 10000"/>
                <a:gd name="connsiteY57" fmla="*/ 6009 h 9988"/>
                <a:gd name="connsiteX58" fmla="*/ 6729 w 10000"/>
                <a:gd name="connsiteY58" fmla="*/ 5832 h 9988"/>
                <a:gd name="connsiteX59" fmla="*/ 6785 w 10000"/>
                <a:gd name="connsiteY59" fmla="*/ 5826 h 9988"/>
                <a:gd name="connsiteX60" fmla="*/ 6998 w 10000"/>
                <a:gd name="connsiteY60" fmla="*/ 5871 h 9988"/>
                <a:gd name="connsiteX61" fmla="*/ 7230 w 10000"/>
                <a:gd name="connsiteY61" fmla="*/ 5854 h 9988"/>
                <a:gd name="connsiteX62" fmla="*/ 7295 w 10000"/>
                <a:gd name="connsiteY62" fmla="*/ 5792 h 9988"/>
                <a:gd name="connsiteX63" fmla="*/ 7074 w 10000"/>
                <a:gd name="connsiteY63" fmla="*/ 5672 h 9988"/>
                <a:gd name="connsiteX64" fmla="*/ 6414 w 10000"/>
                <a:gd name="connsiteY64" fmla="*/ 5593 h 9988"/>
                <a:gd name="connsiteX65" fmla="*/ 6458 w 10000"/>
                <a:gd name="connsiteY65" fmla="*/ 5557 h 9988"/>
                <a:gd name="connsiteX66" fmla="*/ 6998 w 10000"/>
                <a:gd name="connsiteY66" fmla="*/ 5532 h 9988"/>
                <a:gd name="connsiteX67" fmla="*/ 7295 w 10000"/>
                <a:gd name="connsiteY67" fmla="*/ 5604 h 9988"/>
                <a:gd name="connsiteX68" fmla="*/ 7466 w 10000"/>
                <a:gd name="connsiteY68" fmla="*/ 5557 h 9988"/>
                <a:gd name="connsiteX69" fmla="*/ 7529 w 10000"/>
                <a:gd name="connsiteY69" fmla="*/ 5433 h 9988"/>
                <a:gd name="connsiteX70" fmla="*/ 7840 w 10000"/>
                <a:gd name="connsiteY70" fmla="*/ 5433 h 9988"/>
                <a:gd name="connsiteX71" fmla="*/ 8261 w 10000"/>
                <a:gd name="connsiteY71" fmla="*/ 5185 h 9988"/>
                <a:gd name="connsiteX72" fmla="*/ 8275 w 10000"/>
                <a:gd name="connsiteY72" fmla="*/ 5017 h 9988"/>
                <a:gd name="connsiteX73" fmla="*/ 8453 w 10000"/>
                <a:gd name="connsiteY73" fmla="*/ 5055 h 9988"/>
                <a:gd name="connsiteX74" fmla="*/ 8446 w 10000"/>
                <a:gd name="connsiteY74" fmla="*/ 5223 h 9988"/>
                <a:gd name="connsiteX75" fmla="*/ 8727 w 10000"/>
                <a:gd name="connsiteY75" fmla="*/ 5211 h 9988"/>
                <a:gd name="connsiteX76" fmla="*/ 8913 w 10000"/>
                <a:gd name="connsiteY76" fmla="*/ 5037 h 9988"/>
                <a:gd name="connsiteX77" fmla="*/ 9258 w 10000"/>
                <a:gd name="connsiteY77" fmla="*/ 4881 h 9988"/>
                <a:gd name="connsiteX78" fmla="*/ 9203 w 10000"/>
                <a:gd name="connsiteY78" fmla="*/ 4705 h 9988"/>
                <a:gd name="connsiteX79" fmla="*/ 9306 w 10000"/>
                <a:gd name="connsiteY79" fmla="*/ 4775 h 9988"/>
                <a:gd name="connsiteX80" fmla="*/ 9464 w 10000"/>
                <a:gd name="connsiteY80" fmla="*/ 4775 h 9988"/>
                <a:gd name="connsiteX81" fmla="*/ 9464 w 10000"/>
                <a:gd name="connsiteY81" fmla="*/ 4693 h 9988"/>
                <a:gd name="connsiteX82" fmla="*/ 9611 w 10000"/>
                <a:gd name="connsiteY82" fmla="*/ 4633 h 9988"/>
                <a:gd name="connsiteX83" fmla="*/ 9592 w 10000"/>
                <a:gd name="connsiteY83" fmla="*/ 4569 h 9988"/>
                <a:gd name="connsiteX84" fmla="*/ 8350 w 10000"/>
                <a:gd name="connsiteY84" fmla="*/ 4695 h 9988"/>
                <a:gd name="connsiteX85" fmla="*/ 8058 w 10000"/>
                <a:gd name="connsiteY85" fmla="*/ 4659 h 9988"/>
                <a:gd name="connsiteX86" fmla="*/ 7942 w 10000"/>
                <a:gd name="connsiteY86" fmla="*/ 4705 h 9988"/>
                <a:gd name="connsiteX87" fmla="*/ 7903 w 10000"/>
                <a:gd name="connsiteY87" fmla="*/ 4615 h 9988"/>
                <a:gd name="connsiteX88" fmla="*/ 7765 w 10000"/>
                <a:gd name="connsiteY88" fmla="*/ 4538 h 9988"/>
                <a:gd name="connsiteX89" fmla="*/ 7213 w 10000"/>
                <a:gd name="connsiteY89" fmla="*/ 4375 h 9988"/>
                <a:gd name="connsiteX90" fmla="*/ 6887 w 10000"/>
                <a:gd name="connsiteY90" fmla="*/ 4403 h 9988"/>
                <a:gd name="connsiteX91" fmla="*/ 6757 w 10000"/>
                <a:gd name="connsiteY91" fmla="*/ 4356 h 9988"/>
                <a:gd name="connsiteX92" fmla="*/ 6894 w 10000"/>
                <a:gd name="connsiteY92" fmla="*/ 4317 h 9988"/>
                <a:gd name="connsiteX93" fmla="*/ 6998 w 10000"/>
                <a:gd name="connsiteY93" fmla="*/ 4232 h 9988"/>
                <a:gd name="connsiteX94" fmla="*/ 7152 w 10000"/>
                <a:gd name="connsiteY94" fmla="*/ 4259 h 9988"/>
                <a:gd name="connsiteX95" fmla="*/ 7335 w 10000"/>
                <a:gd name="connsiteY95" fmla="*/ 4237 h 9988"/>
                <a:gd name="connsiteX96" fmla="*/ 7611 w 10000"/>
                <a:gd name="connsiteY96" fmla="*/ 4265 h 9988"/>
                <a:gd name="connsiteX97" fmla="*/ 7645 w 10000"/>
                <a:gd name="connsiteY97" fmla="*/ 4253 h 9988"/>
                <a:gd name="connsiteX98" fmla="*/ 7859 w 10000"/>
                <a:gd name="connsiteY98" fmla="*/ 4383 h 9988"/>
                <a:gd name="connsiteX99" fmla="*/ 8017 w 10000"/>
                <a:gd name="connsiteY99" fmla="*/ 4335 h 9988"/>
                <a:gd name="connsiteX100" fmla="*/ 8032 w 10000"/>
                <a:gd name="connsiteY100" fmla="*/ 4291 h 9988"/>
                <a:gd name="connsiteX101" fmla="*/ 8176 w 10000"/>
                <a:gd name="connsiteY101" fmla="*/ 4368 h 9988"/>
                <a:gd name="connsiteX102" fmla="*/ 8369 w 10000"/>
                <a:gd name="connsiteY102" fmla="*/ 4410 h 9988"/>
                <a:gd name="connsiteX103" fmla="*/ 8446 w 10000"/>
                <a:gd name="connsiteY103" fmla="*/ 4333 h 9988"/>
                <a:gd name="connsiteX104" fmla="*/ 8507 w 10000"/>
                <a:gd name="connsiteY104" fmla="*/ 4375 h 9988"/>
                <a:gd name="connsiteX105" fmla="*/ 8596 w 10000"/>
                <a:gd name="connsiteY105" fmla="*/ 4526 h 9988"/>
                <a:gd name="connsiteX106" fmla="*/ 8782 w 10000"/>
                <a:gd name="connsiteY106" fmla="*/ 4560 h 9988"/>
                <a:gd name="connsiteX107" fmla="*/ 9542 w 10000"/>
                <a:gd name="connsiteY107" fmla="*/ 4340 h 9988"/>
                <a:gd name="connsiteX108" fmla="*/ 9914 w 10000"/>
                <a:gd name="connsiteY108" fmla="*/ 4033 h 9988"/>
                <a:gd name="connsiteX109" fmla="*/ 10000 w 10000"/>
                <a:gd name="connsiteY109" fmla="*/ 3812 h 9988"/>
                <a:gd name="connsiteX110" fmla="*/ 9866 w 10000"/>
                <a:gd name="connsiteY110" fmla="*/ 3610 h 9988"/>
                <a:gd name="connsiteX111" fmla="*/ 9582 w 10000"/>
                <a:gd name="connsiteY111" fmla="*/ 3491 h 9988"/>
                <a:gd name="connsiteX112" fmla="*/ 9382 w 10000"/>
                <a:gd name="connsiteY112" fmla="*/ 3291 h 9988"/>
                <a:gd name="connsiteX113" fmla="*/ 9569 w 10000"/>
                <a:gd name="connsiteY113" fmla="*/ 3285 h 9988"/>
                <a:gd name="connsiteX114" fmla="*/ 9555 w 10000"/>
                <a:gd name="connsiteY114" fmla="*/ 3238 h 9988"/>
                <a:gd name="connsiteX115" fmla="*/ 9068 w 10000"/>
                <a:gd name="connsiteY115" fmla="*/ 3101 h 9988"/>
                <a:gd name="connsiteX116" fmla="*/ 9047 w 10000"/>
                <a:gd name="connsiteY116" fmla="*/ 2973 h 9988"/>
                <a:gd name="connsiteX117" fmla="*/ 8953 w 10000"/>
                <a:gd name="connsiteY117" fmla="*/ 2840 h 9988"/>
                <a:gd name="connsiteX118" fmla="*/ 8569 w 10000"/>
                <a:gd name="connsiteY118" fmla="*/ 2864 h 9988"/>
                <a:gd name="connsiteX119" fmla="*/ 8431 w 10000"/>
                <a:gd name="connsiteY119" fmla="*/ 2722 h 9988"/>
                <a:gd name="connsiteX120" fmla="*/ 8350 w 10000"/>
                <a:gd name="connsiteY120" fmla="*/ 2713 h 9988"/>
                <a:gd name="connsiteX121" fmla="*/ 8350 w 10000"/>
                <a:gd name="connsiteY121" fmla="*/ 2777 h 9988"/>
                <a:gd name="connsiteX122" fmla="*/ 8176 w 10000"/>
                <a:gd name="connsiteY122" fmla="*/ 3012 h 9988"/>
                <a:gd name="connsiteX123" fmla="*/ 7990 w 10000"/>
                <a:gd name="connsiteY123" fmla="*/ 3152 h 9988"/>
                <a:gd name="connsiteX124" fmla="*/ 7401 w 10000"/>
                <a:gd name="connsiteY124" fmla="*/ 3389 h 9988"/>
                <a:gd name="connsiteX125" fmla="*/ 7198 w 10000"/>
                <a:gd name="connsiteY125" fmla="*/ 3382 h 9988"/>
                <a:gd name="connsiteX126" fmla="*/ 6915 w 10000"/>
                <a:gd name="connsiteY126" fmla="*/ 3419 h 9988"/>
                <a:gd name="connsiteX127" fmla="*/ 6757 w 10000"/>
                <a:gd name="connsiteY127" fmla="*/ 3382 h 9988"/>
                <a:gd name="connsiteX128" fmla="*/ 6965 w 10000"/>
                <a:gd name="connsiteY128" fmla="*/ 3314 h 9988"/>
                <a:gd name="connsiteX129" fmla="*/ 7235 w 10000"/>
                <a:gd name="connsiteY129" fmla="*/ 3285 h 9988"/>
                <a:gd name="connsiteX130" fmla="*/ 7455 w 10000"/>
                <a:gd name="connsiteY130" fmla="*/ 3174 h 9988"/>
                <a:gd name="connsiteX131" fmla="*/ 7674 w 10000"/>
                <a:gd name="connsiteY131" fmla="*/ 3122 h 9988"/>
                <a:gd name="connsiteX132" fmla="*/ 8082 w 10000"/>
                <a:gd name="connsiteY132" fmla="*/ 2927 h 9988"/>
                <a:gd name="connsiteX133" fmla="*/ 8157 w 10000"/>
                <a:gd name="connsiteY133" fmla="*/ 2801 h 9988"/>
                <a:gd name="connsiteX134" fmla="*/ 8165 w 10000"/>
                <a:gd name="connsiteY134" fmla="*/ 2637 h 9988"/>
                <a:gd name="connsiteX135" fmla="*/ 7978 w 10000"/>
                <a:gd name="connsiteY135" fmla="*/ 2608 h 9988"/>
                <a:gd name="connsiteX136" fmla="*/ 8058 w 10000"/>
                <a:gd name="connsiteY136" fmla="*/ 2508 h 9988"/>
                <a:gd name="connsiteX137" fmla="*/ 8087 w 10000"/>
                <a:gd name="connsiteY137" fmla="*/ 2381 h 9988"/>
                <a:gd name="connsiteX138" fmla="*/ 8007 w 10000"/>
                <a:gd name="connsiteY138" fmla="*/ 2262 h 9988"/>
                <a:gd name="connsiteX139" fmla="*/ 7450 w 10000"/>
                <a:gd name="connsiteY139" fmla="*/ 2425 h 9988"/>
                <a:gd name="connsiteX140" fmla="*/ 6694 w 10000"/>
                <a:gd name="connsiteY140" fmla="*/ 2352 h 9988"/>
                <a:gd name="connsiteX141" fmla="*/ 6304 w 10000"/>
                <a:gd name="connsiteY141" fmla="*/ 1897 h 9988"/>
                <a:gd name="connsiteX142" fmla="*/ 5294 w 10000"/>
                <a:gd name="connsiteY142" fmla="*/ 1811 h 9988"/>
                <a:gd name="connsiteX143" fmla="*/ 4505 w 10000"/>
                <a:gd name="connsiteY143" fmla="*/ 1433 h 9988"/>
                <a:gd name="connsiteX144" fmla="*/ 3730 w 10000"/>
                <a:gd name="connsiteY144" fmla="*/ 980 h 9988"/>
                <a:gd name="connsiteX145" fmla="*/ 3154 w 10000"/>
                <a:gd name="connsiteY145" fmla="*/ 145 h 9988"/>
                <a:gd name="connsiteX146" fmla="*/ 2375 w 10000"/>
                <a:gd name="connsiteY146" fmla="*/ 0 h 9988"/>
                <a:gd name="connsiteX147" fmla="*/ 2226 w 10000"/>
                <a:gd name="connsiteY147" fmla="*/ 786 h 9988"/>
                <a:gd name="connsiteX148" fmla="*/ 2375 w 10000"/>
                <a:gd name="connsiteY148" fmla="*/ 985 h 9988"/>
                <a:gd name="connsiteX149" fmla="*/ 2791 w 10000"/>
                <a:gd name="connsiteY149" fmla="*/ 1206 h 9988"/>
                <a:gd name="connsiteX150" fmla="*/ 2808 w 10000"/>
                <a:gd name="connsiteY150" fmla="*/ 1472 h 9988"/>
                <a:gd name="connsiteX151" fmla="*/ 2632 w 10000"/>
                <a:gd name="connsiteY151" fmla="*/ 1696 h 9988"/>
                <a:gd name="connsiteX152" fmla="*/ 2375 w 10000"/>
                <a:gd name="connsiteY152" fmla="*/ 1831 h 9988"/>
                <a:gd name="connsiteX153" fmla="*/ 2039 w 10000"/>
                <a:gd name="connsiteY153" fmla="*/ 1884 h 9988"/>
                <a:gd name="connsiteX154" fmla="*/ 1950 w 10000"/>
                <a:gd name="connsiteY154" fmla="*/ 1964 h 9988"/>
                <a:gd name="connsiteX155" fmla="*/ 2148 w 10000"/>
                <a:gd name="connsiteY155" fmla="*/ 2148 h 9988"/>
                <a:gd name="connsiteX156" fmla="*/ 2261 w 10000"/>
                <a:gd name="connsiteY156" fmla="*/ 2587 h 9988"/>
                <a:gd name="connsiteX157" fmla="*/ 2005 w 10000"/>
                <a:gd name="connsiteY157" fmla="*/ 2963 h 9988"/>
                <a:gd name="connsiteX158" fmla="*/ 2094 w 10000"/>
                <a:gd name="connsiteY158" fmla="*/ 3077 h 9988"/>
                <a:gd name="connsiteX159" fmla="*/ 2012 w 10000"/>
                <a:gd name="connsiteY159" fmla="*/ 3272 h 9988"/>
                <a:gd name="connsiteX160" fmla="*/ 1850 w 10000"/>
                <a:gd name="connsiteY160" fmla="*/ 3409 h 9988"/>
                <a:gd name="connsiteX161" fmla="*/ 1199 w 10000"/>
                <a:gd name="connsiteY161" fmla="*/ 3513 h 9988"/>
                <a:gd name="connsiteX162" fmla="*/ 1158 w 10000"/>
                <a:gd name="connsiteY162" fmla="*/ 3694 h 9988"/>
                <a:gd name="connsiteX163" fmla="*/ 808 w 10000"/>
                <a:gd name="connsiteY163" fmla="*/ 3963 h 9988"/>
                <a:gd name="connsiteX164" fmla="*/ 854 w 10000"/>
                <a:gd name="connsiteY164" fmla="*/ 4354 h 9988"/>
                <a:gd name="connsiteX165" fmla="*/ 560 w 10000"/>
                <a:gd name="connsiteY165" fmla="*/ 4852 h 9988"/>
                <a:gd name="connsiteX166" fmla="*/ 358 w 10000"/>
                <a:gd name="connsiteY166" fmla="*/ 4910 h 9988"/>
                <a:gd name="connsiteX167" fmla="*/ 275 w 10000"/>
                <a:gd name="connsiteY167" fmla="*/ 4791 h 9988"/>
                <a:gd name="connsiteX168" fmla="*/ 174 w 10000"/>
                <a:gd name="connsiteY168" fmla="*/ 4971 h 9988"/>
                <a:gd name="connsiteX169" fmla="*/ 239 w 10000"/>
                <a:gd name="connsiteY169" fmla="*/ 4661 h 9988"/>
                <a:gd name="connsiteX170" fmla="*/ 197 w 10000"/>
                <a:gd name="connsiteY170" fmla="*/ 4603 h 9988"/>
                <a:gd name="connsiteX0" fmla="*/ 197 w 10000"/>
                <a:gd name="connsiteY0" fmla="*/ 4609 h 10086"/>
                <a:gd name="connsiteX1" fmla="*/ 0 w 10000"/>
                <a:gd name="connsiteY1" fmla="*/ 4770 h 10086"/>
                <a:gd name="connsiteX2" fmla="*/ 0 w 10000"/>
                <a:gd name="connsiteY2" fmla="*/ 5564 h 10086"/>
                <a:gd name="connsiteX3" fmla="*/ 109 w 10000"/>
                <a:gd name="connsiteY3" fmla="*/ 5585 h 10086"/>
                <a:gd name="connsiteX4" fmla="*/ 134 w 10000"/>
                <a:gd name="connsiteY4" fmla="*/ 5648 h 10086"/>
                <a:gd name="connsiteX5" fmla="*/ 130 w 10000"/>
                <a:gd name="connsiteY5" fmla="*/ 5756 h 10086"/>
                <a:gd name="connsiteX6" fmla="*/ 89 w 10000"/>
                <a:gd name="connsiteY6" fmla="*/ 5803 h 10086"/>
                <a:gd name="connsiteX7" fmla="*/ 255 w 10000"/>
                <a:gd name="connsiteY7" fmla="*/ 5710 h 10086"/>
                <a:gd name="connsiteX8" fmla="*/ 325 w 10000"/>
                <a:gd name="connsiteY8" fmla="*/ 5622 h 10086"/>
                <a:gd name="connsiteX9" fmla="*/ 413 w 10000"/>
                <a:gd name="connsiteY9" fmla="*/ 5682 h 10086"/>
                <a:gd name="connsiteX10" fmla="*/ 316 w 10000"/>
                <a:gd name="connsiteY10" fmla="*/ 5813 h 10086"/>
                <a:gd name="connsiteX11" fmla="*/ 419 w 10000"/>
                <a:gd name="connsiteY11" fmla="*/ 5816 h 10086"/>
                <a:gd name="connsiteX12" fmla="*/ 469 w 10000"/>
                <a:gd name="connsiteY12" fmla="*/ 5848 h 10086"/>
                <a:gd name="connsiteX13" fmla="*/ 337 w 10000"/>
                <a:gd name="connsiteY13" fmla="*/ 5891 h 10086"/>
                <a:gd name="connsiteX14" fmla="*/ 130 w 10000"/>
                <a:gd name="connsiteY14" fmla="*/ 6024 h 10086"/>
                <a:gd name="connsiteX15" fmla="*/ 497 w 10000"/>
                <a:gd name="connsiteY15" fmla="*/ 6129 h 10086"/>
                <a:gd name="connsiteX16" fmla="*/ 545 w 10000"/>
                <a:gd name="connsiteY16" fmla="*/ 6278 h 10086"/>
                <a:gd name="connsiteX17" fmla="*/ 419 w 10000"/>
                <a:gd name="connsiteY17" fmla="*/ 6497 h 10086"/>
                <a:gd name="connsiteX18" fmla="*/ 688 w 10000"/>
                <a:gd name="connsiteY18" fmla="*/ 6485 h 10086"/>
                <a:gd name="connsiteX19" fmla="*/ 709 w 10000"/>
                <a:gd name="connsiteY19" fmla="*/ 6647 h 10086"/>
                <a:gd name="connsiteX20" fmla="*/ 530 w 10000"/>
                <a:gd name="connsiteY20" fmla="*/ 6764 h 10086"/>
                <a:gd name="connsiteX21" fmla="*/ 560 w 10000"/>
                <a:gd name="connsiteY21" fmla="*/ 6978 h 10086"/>
                <a:gd name="connsiteX22" fmla="*/ 489 w 10000"/>
                <a:gd name="connsiteY22" fmla="*/ 7150 h 10086"/>
                <a:gd name="connsiteX23" fmla="*/ 703 w 10000"/>
                <a:gd name="connsiteY23" fmla="*/ 7166 h 10086"/>
                <a:gd name="connsiteX24" fmla="*/ 909 w 10000"/>
                <a:gd name="connsiteY24" fmla="*/ 7817 h 10086"/>
                <a:gd name="connsiteX25" fmla="*/ 1150 w 10000"/>
                <a:gd name="connsiteY25" fmla="*/ 7978 h 10086"/>
                <a:gd name="connsiteX26" fmla="*/ 1255 w 10000"/>
                <a:gd name="connsiteY26" fmla="*/ 8154 h 10086"/>
                <a:gd name="connsiteX27" fmla="*/ 1514 w 10000"/>
                <a:gd name="connsiteY27" fmla="*/ 8280 h 10086"/>
                <a:gd name="connsiteX28" fmla="*/ 1684 w 10000"/>
                <a:gd name="connsiteY28" fmla="*/ 8444 h 10086"/>
                <a:gd name="connsiteX29" fmla="*/ 1661 w 10000"/>
                <a:gd name="connsiteY29" fmla="*/ 8562 h 10086"/>
                <a:gd name="connsiteX30" fmla="*/ 1496 w 10000"/>
                <a:gd name="connsiteY30" fmla="*/ 8606 h 10086"/>
                <a:gd name="connsiteX31" fmla="*/ 1316 w 10000"/>
                <a:gd name="connsiteY31" fmla="*/ 8576 h 10086"/>
                <a:gd name="connsiteX32" fmla="*/ 1260 w 10000"/>
                <a:gd name="connsiteY32" fmla="*/ 8624 h 10086"/>
                <a:gd name="connsiteX33" fmla="*/ 1397 w 10000"/>
                <a:gd name="connsiteY33" fmla="*/ 8876 h 10086"/>
                <a:gd name="connsiteX34" fmla="*/ 1205 w 10000"/>
                <a:gd name="connsiteY34" fmla="*/ 8854 h 10086"/>
                <a:gd name="connsiteX35" fmla="*/ 1040 w 10000"/>
                <a:gd name="connsiteY35" fmla="*/ 8794 h 10086"/>
                <a:gd name="connsiteX36" fmla="*/ 1012 w 10000"/>
                <a:gd name="connsiteY36" fmla="*/ 8888 h 10086"/>
                <a:gd name="connsiteX37" fmla="*/ 1557 w 10000"/>
                <a:gd name="connsiteY37" fmla="*/ 9754 h 10086"/>
                <a:gd name="connsiteX38" fmla="*/ 1408 w 10000"/>
                <a:gd name="connsiteY38" fmla="*/ 10000 h 10086"/>
                <a:gd name="connsiteX39" fmla="*/ 6419 w 10000"/>
                <a:gd name="connsiteY39" fmla="*/ 8345 h 10086"/>
                <a:gd name="connsiteX40" fmla="*/ 6586 w 10000"/>
                <a:gd name="connsiteY40" fmla="*/ 7651 h 10086"/>
                <a:gd name="connsiteX41" fmla="*/ 6855 w 10000"/>
                <a:gd name="connsiteY41" fmla="*/ 7343 h 10086"/>
                <a:gd name="connsiteX42" fmla="*/ 6855 w 10000"/>
                <a:gd name="connsiteY42" fmla="*/ 7180 h 10086"/>
                <a:gd name="connsiteX43" fmla="*/ 6757 w 10000"/>
                <a:gd name="connsiteY43" fmla="*/ 7091 h 10086"/>
                <a:gd name="connsiteX44" fmla="*/ 6915 w 10000"/>
                <a:gd name="connsiteY44" fmla="*/ 6942 h 10086"/>
                <a:gd name="connsiteX45" fmla="*/ 6887 w 10000"/>
                <a:gd name="connsiteY45" fmla="*/ 6822 h 10086"/>
                <a:gd name="connsiteX46" fmla="*/ 6779 w 10000"/>
                <a:gd name="connsiteY46" fmla="*/ 6720 h 10086"/>
                <a:gd name="connsiteX47" fmla="*/ 6757 w 10000"/>
                <a:gd name="connsiteY47" fmla="*/ 6640 h 10086"/>
                <a:gd name="connsiteX48" fmla="*/ 6785 w 10000"/>
                <a:gd name="connsiteY48" fmla="*/ 6582 h 10086"/>
                <a:gd name="connsiteX49" fmla="*/ 6931 w 10000"/>
                <a:gd name="connsiteY49" fmla="*/ 6629 h 10086"/>
                <a:gd name="connsiteX50" fmla="*/ 7045 w 10000"/>
                <a:gd name="connsiteY50" fmla="*/ 6626 h 10086"/>
                <a:gd name="connsiteX51" fmla="*/ 6983 w 10000"/>
                <a:gd name="connsiteY51" fmla="*/ 6528 h 10086"/>
                <a:gd name="connsiteX52" fmla="*/ 7003 w 10000"/>
                <a:gd name="connsiteY52" fmla="*/ 6470 h 10086"/>
                <a:gd name="connsiteX53" fmla="*/ 7089 w 10000"/>
                <a:gd name="connsiteY53" fmla="*/ 6387 h 10086"/>
                <a:gd name="connsiteX54" fmla="*/ 7074 w 10000"/>
                <a:gd name="connsiteY54" fmla="*/ 6318 h 10086"/>
                <a:gd name="connsiteX55" fmla="*/ 7152 w 10000"/>
                <a:gd name="connsiteY55" fmla="*/ 6087 h 10086"/>
                <a:gd name="connsiteX56" fmla="*/ 7130 w 10000"/>
                <a:gd name="connsiteY56" fmla="*/ 6016 h 10086"/>
                <a:gd name="connsiteX57" fmla="*/ 6729 w 10000"/>
                <a:gd name="connsiteY57" fmla="*/ 5839 h 10086"/>
                <a:gd name="connsiteX58" fmla="*/ 6785 w 10000"/>
                <a:gd name="connsiteY58" fmla="*/ 5833 h 10086"/>
                <a:gd name="connsiteX59" fmla="*/ 6998 w 10000"/>
                <a:gd name="connsiteY59" fmla="*/ 5878 h 10086"/>
                <a:gd name="connsiteX60" fmla="*/ 7230 w 10000"/>
                <a:gd name="connsiteY60" fmla="*/ 5861 h 10086"/>
                <a:gd name="connsiteX61" fmla="*/ 7295 w 10000"/>
                <a:gd name="connsiteY61" fmla="*/ 5799 h 10086"/>
                <a:gd name="connsiteX62" fmla="*/ 7074 w 10000"/>
                <a:gd name="connsiteY62" fmla="*/ 5679 h 10086"/>
                <a:gd name="connsiteX63" fmla="*/ 6414 w 10000"/>
                <a:gd name="connsiteY63" fmla="*/ 5600 h 10086"/>
                <a:gd name="connsiteX64" fmla="*/ 6458 w 10000"/>
                <a:gd name="connsiteY64" fmla="*/ 5564 h 10086"/>
                <a:gd name="connsiteX65" fmla="*/ 6998 w 10000"/>
                <a:gd name="connsiteY65" fmla="*/ 5539 h 10086"/>
                <a:gd name="connsiteX66" fmla="*/ 7295 w 10000"/>
                <a:gd name="connsiteY66" fmla="*/ 5611 h 10086"/>
                <a:gd name="connsiteX67" fmla="*/ 7466 w 10000"/>
                <a:gd name="connsiteY67" fmla="*/ 5564 h 10086"/>
                <a:gd name="connsiteX68" fmla="*/ 7529 w 10000"/>
                <a:gd name="connsiteY68" fmla="*/ 5440 h 10086"/>
                <a:gd name="connsiteX69" fmla="*/ 7840 w 10000"/>
                <a:gd name="connsiteY69" fmla="*/ 5440 h 10086"/>
                <a:gd name="connsiteX70" fmla="*/ 8261 w 10000"/>
                <a:gd name="connsiteY70" fmla="*/ 5191 h 10086"/>
                <a:gd name="connsiteX71" fmla="*/ 8275 w 10000"/>
                <a:gd name="connsiteY71" fmla="*/ 5023 h 10086"/>
                <a:gd name="connsiteX72" fmla="*/ 8453 w 10000"/>
                <a:gd name="connsiteY72" fmla="*/ 5061 h 10086"/>
                <a:gd name="connsiteX73" fmla="*/ 8446 w 10000"/>
                <a:gd name="connsiteY73" fmla="*/ 5229 h 10086"/>
                <a:gd name="connsiteX74" fmla="*/ 8727 w 10000"/>
                <a:gd name="connsiteY74" fmla="*/ 5217 h 10086"/>
                <a:gd name="connsiteX75" fmla="*/ 8913 w 10000"/>
                <a:gd name="connsiteY75" fmla="*/ 5043 h 10086"/>
                <a:gd name="connsiteX76" fmla="*/ 9258 w 10000"/>
                <a:gd name="connsiteY76" fmla="*/ 4887 h 10086"/>
                <a:gd name="connsiteX77" fmla="*/ 9203 w 10000"/>
                <a:gd name="connsiteY77" fmla="*/ 4711 h 10086"/>
                <a:gd name="connsiteX78" fmla="*/ 9306 w 10000"/>
                <a:gd name="connsiteY78" fmla="*/ 4781 h 10086"/>
                <a:gd name="connsiteX79" fmla="*/ 9464 w 10000"/>
                <a:gd name="connsiteY79" fmla="*/ 4781 h 10086"/>
                <a:gd name="connsiteX80" fmla="*/ 9464 w 10000"/>
                <a:gd name="connsiteY80" fmla="*/ 4699 h 10086"/>
                <a:gd name="connsiteX81" fmla="*/ 9611 w 10000"/>
                <a:gd name="connsiteY81" fmla="*/ 4639 h 10086"/>
                <a:gd name="connsiteX82" fmla="*/ 9592 w 10000"/>
                <a:gd name="connsiteY82" fmla="*/ 4574 h 10086"/>
                <a:gd name="connsiteX83" fmla="*/ 8350 w 10000"/>
                <a:gd name="connsiteY83" fmla="*/ 4701 h 10086"/>
                <a:gd name="connsiteX84" fmla="*/ 8058 w 10000"/>
                <a:gd name="connsiteY84" fmla="*/ 4665 h 10086"/>
                <a:gd name="connsiteX85" fmla="*/ 7942 w 10000"/>
                <a:gd name="connsiteY85" fmla="*/ 4711 h 10086"/>
                <a:gd name="connsiteX86" fmla="*/ 7903 w 10000"/>
                <a:gd name="connsiteY86" fmla="*/ 4621 h 10086"/>
                <a:gd name="connsiteX87" fmla="*/ 7765 w 10000"/>
                <a:gd name="connsiteY87" fmla="*/ 4543 h 10086"/>
                <a:gd name="connsiteX88" fmla="*/ 7213 w 10000"/>
                <a:gd name="connsiteY88" fmla="*/ 4380 h 10086"/>
                <a:gd name="connsiteX89" fmla="*/ 6887 w 10000"/>
                <a:gd name="connsiteY89" fmla="*/ 4408 h 10086"/>
                <a:gd name="connsiteX90" fmla="*/ 6757 w 10000"/>
                <a:gd name="connsiteY90" fmla="*/ 4361 h 10086"/>
                <a:gd name="connsiteX91" fmla="*/ 6894 w 10000"/>
                <a:gd name="connsiteY91" fmla="*/ 4322 h 10086"/>
                <a:gd name="connsiteX92" fmla="*/ 6998 w 10000"/>
                <a:gd name="connsiteY92" fmla="*/ 4237 h 10086"/>
                <a:gd name="connsiteX93" fmla="*/ 7152 w 10000"/>
                <a:gd name="connsiteY93" fmla="*/ 4264 h 10086"/>
                <a:gd name="connsiteX94" fmla="*/ 7335 w 10000"/>
                <a:gd name="connsiteY94" fmla="*/ 4242 h 10086"/>
                <a:gd name="connsiteX95" fmla="*/ 7611 w 10000"/>
                <a:gd name="connsiteY95" fmla="*/ 4270 h 10086"/>
                <a:gd name="connsiteX96" fmla="*/ 7645 w 10000"/>
                <a:gd name="connsiteY96" fmla="*/ 4258 h 10086"/>
                <a:gd name="connsiteX97" fmla="*/ 7859 w 10000"/>
                <a:gd name="connsiteY97" fmla="*/ 4388 h 10086"/>
                <a:gd name="connsiteX98" fmla="*/ 8017 w 10000"/>
                <a:gd name="connsiteY98" fmla="*/ 4340 h 10086"/>
                <a:gd name="connsiteX99" fmla="*/ 8032 w 10000"/>
                <a:gd name="connsiteY99" fmla="*/ 4296 h 10086"/>
                <a:gd name="connsiteX100" fmla="*/ 8176 w 10000"/>
                <a:gd name="connsiteY100" fmla="*/ 4373 h 10086"/>
                <a:gd name="connsiteX101" fmla="*/ 8369 w 10000"/>
                <a:gd name="connsiteY101" fmla="*/ 4415 h 10086"/>
                <a:gd name="connsiteX102" fmla="*/ 8446 w 10000"/>
                <a:gd name="connsiteY102" fmla="*/ 4338 h 10086"/>
                <a:gd name="connsiteX103" fmla="*/ 8507 w 10000"/>
                <a:gd name="connsiteY103" fmla="*/ 4380 h 10086"/>
                <a:gd name="connsiteX104" fmla="*/ 8596 w 10000"/>
                <a:gd name="connsiteY104" fmla="*/ 4531 h 10086"/>
                <a:gd name="connsiteX105" fmla="*/ 8782 w 10000"/>
                <a:gd name="connsiteY105" fmla="*/ 4565 h 10086"/>
                <a:gd name="connsiteX106" fmla="*/ 9542 w 10000"/>
                <a:gd name="connsiteY106" fmla="*/ 4345 h 10086"/>
                <a:gd name="connsiteX107" fmla="*/ 9914 w 10000"/>
                <a:gd name="connsiteY107" fmla="*/ 4038 h 10086"/>
                <a:gd name="connsiteX108" fmla="*/ 10000 w 10000"/>
                <a:gd name="connsiteY108" fmla="*/ 3817 h 10086"/>
                <a:gd name="connsiteX109" fmla="*/ 9866 w 10000"/>
                <a:gd name="connsiteY109" fmla="*/ 3614 h 10086"/>
                <a:gd name="connsiteX110" fmla="*/ 9582 w 10000"/>
                <a:gd name="connsiteY110" fmla="*/ 3495 h 10086"/>
                <a:gd name="connsiteX111" fmla="*/ 9382 w 10000"/>
                <a:gd name="connsiteY111" fmla="*/ 3295 h 10086"/>
                <a:gd name="connsiteX112" fmla="*/ 9569 w 10000"/>
                <a:gd name="connsiteY112" fmla="*/ 3289 h 10086"/>
                <a:gd name="connsiteX113" fmla="*/ 9555 w 10000"/>
                <a:gd name="connsiteY113" fmla="*/ 3242 h 10086"/>
                <a:gd name="connsiteX114" fmla="*/ 9068 w 10000"/>
                <a:gd name="connsiteY114" fmla="*/ 3105 h 10086"/>
                <a:gd name="connsiteX115" fmla="*/ 9047 w 10000"/>
                <a:gd name="connsiteY115" fmla="*/ 2977 h 10086"/>
                <a:gd name="connsiteX116" fmla="*/ 8953 w 10000"/>
                <a:gd name="connsiteY116" fmla="*/ 2843 h 10086"/>
                <a:gd name="connsiteX117" fmla="*/ 8569 w 10000"/>
                <a:gd name="connsiteY117" fmla="*/ 2867 h 10086"/>
                <a:gd name="connsiteX118" fmla="*/ 8431 w 10000"/>
                <a:gd name="connsiteY118" fmla="*/ 2725 h 10086"/>
                <a:gd name="connsiteX119" fmla="*/ 8350 w 10000"/>
                <a:gd name="connsiteY119" fmla="*/ 2716 h 10086"/>
                <a:gd name="connsiteX120" fmla="*/ 8350 w 10000"/>
                <a:gd name="connsiteY120" fmla="*/ 2780 h 10086"/>
                <a:gd name="connsiteX121" fmla="*/ 8176 w 10000"/>
                <a:gd name="connsiteY121" fmla="*/ 3016 h 10086"/>
                <a:gd name="connsiteX122" fmla="*/ 7990 w 10000"/>
                <a:gd name="connsiteY122" fmla="*/ 3156 h 10086"/>
                <a:gd name="connsiteX123" fmla="*/ 7401 w 10000"/>
                <a:gd name="connsiteY123" fmla="*/ 3393 h 10086"/>
                <a:gd name="connsiteX124" fmla="*/ 7198 w 10000"/>
                <a:gd name="connsiteY124" fmla="*/ 3386 h 10086"/>
                <a:gd name="connsiteX125" fmla="*/ 6915 w 10000"/>
                <a:gd name="connsiteY125" fmla="*/ 3423 h 10086"/>
                <a:gd name="connsiteX126" fmla="*/ 6757 w 10000"/>
                <a:gd name="connsiteY126" fmla="*/ 3386 h 10086"/>
                <a:gd name="connsiteX127" fmla="*/ 6965 w 10000"/>
                <a:gd name="connsiteY127" fmla="*/ 3318 h 10086"/>
                <a:gd name="connsiteX128" fmla="*/ 7235 w 10000"/>
                <a:gd name="connsiteY128" fmla="*/ 3289 h 10086"/>
                <a:gd name="connsiteX129" fmla="*/ 7455 w 10000"/>
                <a:gd name="connsiteY129" fmla="*/ 3178 h 10086"/>
                <a:gd name="connsiteX130" fmla="*/ 7674 w 10000"/>
                <a:gd name="connsiteY130" fmla="*/ 3126 h 10086"/>
                <a:gd name="connsiteX131" fmla="*/ 8082 w 10000"/>
                <a:gd name="connsiteY131" fmla="*/ 2931 h 10086"/>
                <a:gd name="connsiteX132" fmla="*/ 8157 w 10000"/>
                <a:gd name="connsiteY132" fmla="*/ 2804 h 10086"/>
                <a:gd name="connsiteX133" fmla="*/ 8165 w 10000"/>
                <a:gd name="connsiteY133" fmla="*/ 2640 h 10086"/>
                <a:gd name="connsiteX134" fmla="*/ 7978 w 10000"/>
                <a:gd name="connsiteY134" fmla="*/ 2611 h 10086"/>
                <a:gd name="connsiteX135" fmla="*/ 8058 w 10000"/>
                <a:gd name="connsiteY135" fmla="*/ 2511 h 10086"/>
                <a:gd name="connsiteX136" fmla="*/ 8087 w 10000"/>
                <a:gd name="connsiteY136" fmla="*/ 2384 h 10086"/>
                <a:gd name="connsiteX137" fmla="*/ 8007 w 10000"/>
                <a:gd name="connsiteY137" fmla="*/ 2265 h 10086"/>
                <a:gd name="connsiteX138" fmla="*/ 7450 w 10000"/>
                <a:gd name="connsiteY138" fmla="*/ 2428 h 10086"/>
                <a:gd name="connsiteX139" fmla="*/ 6694 w 10000"/>
                <a:gd name="connsiteY139" fmla="*/ 2355 h 10086"/>
                <a:gd name="connsiteX140" fmla="*/ 6304 w 10000"/>
                <a:gd name="connsiteY140" fmla="*/ 1899 h 10086"/>
                <a:gd name="connsiteX141" fmla="*/ 5294 w 10000"/>
                <a:gd name="connsiteY141" fmla="*/ 1813 h 10086"/>
                <a:gd name="connsiteX142" fmla="*/ 4505 w 10000"/>
                <a:gd name="connsiteY142" fmla="*/ 1435 h 10086"/>
                <a:gd name="connsiteX143" fmla="*/ 3730 w 10000"/>
                <a:gd name="connsiteY143" fmla="*/ 981 h 10086"/>
                <a:gd name="connsiteX144" fmla="*/ 3154 w 10000"/>
                <a:gd name="connsiteY144" fmla="*/ 145 h 10086"/>
                <a:gd name="connsiteX145" fmla="*/ 2375 w 10000"/>
                <a:gd name="connsiteY145" fmla="*/ 0 h 10086"/>
                <a:gd name="connsiteX146" fmla="*/ 2226 w 10000"/>
                <a:gd name="connsiteY146" fmla="*/ 787 h 10086"/>
                <a:gd name="connsiteX147" fmla="*/ 2375 w 10000"/>
                <a:gd name="connsiteY147" fmla="*/ 986 h 10086"/>
                <a:gd name="connsiteX148" fmla="*/ 2791 w 10000"/>
                <a:gd name="connsiteY148" fmla="*/ 1207 h 10086"/>
                <a:gd name="connsiteX149" fmla="*/ 2808 w 10000"/>
                <a:gd name="connsiteY149" fmla="*/ 1474 h 10086"/>
                <a:gd name="connsiteX150" fmla="*/ 2632 w 10000"/>
                <a:gd name="connsiteY150" fmla="*/ 1698 h 10086"/>
                <a:gd name="connsiteX151" fmla="*/ 2375 w 10000"/>
                <a:gd name="connsiteY151" fmla="*/ 1833 h 10086"/>
                <a:gd name="connsiteX152" fmla="*/ 2039 w 10000"/>
                <a:gd name="connsiteY152" fmla="*/ 1886 h 10086"/>
                <a:gd name="connsiteX153" fmla="*/ 1950 w 10000"/>
                <a:gd name="connsiteY153" fmla="*/ 1966 h 10086"/>
                <a:gd name="connsiteX154" fmla="*/ 2148 w 10000"/>
                <a:gd name="connsiteY154" fmla="*/ 2151 h 10086"/>
                <a:gd name="connsiteX155" fmla="*/ 2261 w 10000"/>
                <a:gd name="connsiteY155" fmla="*/ 2590 h 10086"/>
                <a:gd name="connsiteX156" fmla="*/ 2005 w 10000"/>
                <a:gd name="connsiteY156" fmla="*/ 2967 h 10086"/>
                <a:gd name="connsiteX157" fmla="*/ 2094 w 10000"/>
                <a:gd name="connsiteY157" fmla="*/ 3081 h 10086"/>
                <a:gd name="connsiteX158" fmla="*/ 2012 w 10000"/>
                <a:gd name="connsiteY158" fmla="*/ 3276 h 10086"/>
                <a:gd name="connsiteX159" fmla="*/ 1850 w 10000"/>
                <a:gd name="connsiteY159" fmla="*/ 3413 h 10086"/>
                <a:gd name="connsiteX160" fmla="*/ 1199 w 10000"/>
                <a:gd name="connsiteY160" fmla="*/ 3517 h 10086"/>
                <a:gd name="connsiteX161" fmla="*/ 1158 w 10000"/>
                <a:gd name="connsiteY161" fmla="*/ 3698 h 10086"/>
                <a:gd name="connsiteX162" fmla="*/ 808 w 10000"/>
                <a:gd name="connsiteY162" fmla="*/ 3968 h 10086"/>
                <a:gd name="connsiteX163" fmla="*/ 854 w 10000"/>
                <a:gd name="connsiteY163" fmla="*/ 4359 h 10086"/>
                <a:gd name="connsiteX164" fmla="*/ 560 w 10000"/>
                <a:gd name="connsiteY164" fmla="*/ 4858 h 10086"/>
                <a:gd name="connsiteX165" fmla="*/ 358 w 10000"/>
                <a:gd name="connsiteY165" fmla="*/ 4916 h 10086"/>
                <a:gd name="connsiteX166" fmla="*/ 275 w 10000"/>
                <a:gd name="connsiteY166" fmla="*/ 4797 h 10086"/>
                <a:gd name="connsiteX167" fmla="*/ 174 w 10000"/>
                <a:gd name="connsiteY167" fmla="*/ 4977 h 10086"/>
                <a:gd name="connsiteX168" fmla="*/ 239 w 10000"/>
                <a:gd name="connsiteY168" fmla="*/ 4667 h 10086"/>
                <a:gd name="connsiteX169" fmla="*/ 197 w 10000"/>
                <a:gd name="connsiteY169" fmla="*/ 4609 h 10086"/>
                <a:gd name="connsiteX0" fmla="*/ 197 w 10000"/>
                <a:gd name="connsiteY0" fmla="*/ 4609 h 10000"/>
                <a:gd name="connsiteX1" fmla="*/ 0 w 10000"/>
                <a:gd name="connsiteY1" fmla="*/ 4770 h 10000"/>
                <a:gd name="connsiteX2" fmla="*/ 0 w 10000"/>
                <a:gd name="connsiteY2" fmla="*/ 5564 h 10000"/>
                <a:gd name="connsiteX3" fmla="*/ 109 w 10000"/>
                <a:gd name="connsiteY3" fmla="*/ 5585 h 10000"/>
                <a:gd name="connsiteX4" fmla="*/ 134 w 10000"/>
                <a:gd name="connsiteY4" fmla="*/ 5648 h 10000"/>
                <a:gd name="connsiteX5" fmla="*/ 130 w 10000"/>
                <a:gd name="connsiteY5" fmla="*/ 5756 h 10000"/>
                <a:gd name="connsiteX6" fmla="*/ 89 w 10000"/>
                <a:gd name="connsiteY6" fmla="*/ 5803 h 10000"/>
                <a:gd name="connsiteX7" fmla="*/ 255 w 10000"/>
                <a:gd name="connsiteY7" fmla="*/ 5710 h 10000"/>
                <a:gd name="connsiteX8" fmla="*/ 325 w 10000"/>
                <a:gd name="connsiteY8" fmla="*/ 5622 h 10000"/>
                <a:gd name="connsiteX9" fmla="*/ 413 w 10000"/>
                <a:gd name="connsiteY9" fmla="*/ 5682 h 10000"/>
                <a:gd name="connsiteX10" fmla="*/ 316 w 10000"/>
                <a:gd name="connsiteY10" fmla="*/ 5813 h 10000"/>
                <a:gd name="connsiteX11" fmla="*/ 419 w 10000"/>
                <a:gd name="connsiteY11" fmla="*/ 5816 h 10000"/>
                <a:gd name="connsiteX12" fmla="*/ 469 w 10000"/>
                <a:gd name="connsiteY12" fmla="*/ 5848 h 10000"/>
                <a:gd name="connsiteX13" fmla="*/ 337 w 10000"/>
                <a:gd name="connsiteY13" fmla="*/ 5891 h 10000"/>
                <a:gd name="connsiteX14" fmla="*/ 130 w 10000"/>
                <a:gd name="connsiteY14" fmla="*/ 6024 h 10000"/>
                <a:gd name="connsiteX15" fmla="*/ 497 w 10000"/>
                <a:gd name="connsiteY15" fmla="*/ 6129 h 10000"/>
                <a:gd name="connsiteX16" fmla="*/ 545 w 10000"/>
                <a:gd name="connsiteY16" fmla="*/ 6278 h 10000"/>
                <a:gd name="connsiteX17" fmla="*/ 419 w 10000"/>
                <a:gd name="connsiteY17" fmla="*/ 6497 h 10000"/>
                <a:gd name="connsiteX18" fmla="*/ 688 w 10000"/>
                <a:gd name="connsiteY18" fmla="*/ 6485 h 10000"/>
                <a:gd name="connsiteX19" fmla="*/ 709 w 10000"/>
                <a:gd name="connsiteY19" fmla="*/ 6647 h 10000"/>
                <a:gd name="connsiteX20" fmla="*/ 530 w 10000"/>
                <a:gd name="connsiteY20" fmla="*/ 6764 h 10000"/>
                <a:gd name="connsiteX21" fmla="*/ 560 w 10000"/>
                <a:gd name="connsiteY21" fmla="*/ 6978 h 10000"/>
                <a:gd name="connsiteX22" fmla="*/ 489 w 10000"/>
                <a:gd name="connsiteY22" fmla="*/ 7150 h 10000"/>
                <a:gd name="connsiteX23" fmla="*/ 703 w 10000"/>
                <a:gd name="connsiteY23" fmla="*/ 7166 h 10000"/>
                <a:gd name="connsiteX24" fmla="*/ 909 w 10000"/>
                <a:gd name="connsiteY24" fmla="*/ 7817 h 10000"/>
                <a:gd name="connsiteX25" fmla="*/ 1150 w 10000"/>
                <a:gd name="connsiteY25" fmla="*/ 7978 h 10000"/>
                <a:gd name="connsiteX26" fmla="*/ 1255 w 10000"/>
                <a:gd name="connsiteY26" fmla="*/ 8154 h 10000"/>
                <a:gd name="connsiteX27" fmla="*/ 1514 w 10000"/>
                <a:gd name="connsiteY27" fmla="*/ 8280 h 10000"/>
                <a:gd name="connsiteX28" fmla="*/ 1684 w 10000"/>
                <a:gd name="connsiteY28" fmla="*/ 8444 h 10000"/>
                <a:gd name="connsiteX29" fmla="*/ 1661 w 10000"/>
                <a:gd name="connsiteY29" fmla="*/ 8562 h 10000"/>
                <a:gd name="connsiteX30" fmla="*/ 1496 w 10000"/>
                <a:gd name="connsiteY30" fmla="*/ 8606 h 10000"/>
                <a:gd name="connsiteX31" fmla="*/ 1316 w 10000"/>
                <a:gd name="connsiteY31" fmla="*/ 8576 h 10000"/>
                <a:gd name="connsiteX32" fmla="*/ 1260 w 10000"/>
                <a:gd name="connsiteY32" fmla="*/ 8624 h 10000"/>
                <a:gd name="connsiteX33" fmla="*/ 1397 w 10000"/>
                <a:gd name="connsiteY33" fmla="*/ 8876 h 10000"/>
                <a:gd name="connsiteX34" fmla="*/ 1205 w 10000"/>
                <a:gd name="connsiteY34" fmla="*/ 8854 h 10000"/>
                <a:gd name="connsiteX35" fmla="*/ 1040 w 10000"/>
                <a:gd name="connsiteY35" fmla="*/ 8794 h 10000"/>
                <a:gd name="connsiteX36" fmla="*/ 1012 w 10000"/>
                <a:gd name="connsiteY36" fmla="*/ 8888 h 10000"/>
                <a:gd name="connsiteX37" fmla="*/ 1408 w 10000"/>
                <a:gd name="connsiteY37" fmla="*/ 10000 h 10000"/>
                <a:gd name="connsiteX38" fmla="*/ 6419 w 10000"/>
                <a:gd name="connsiteY38" fmla="*/ 8345 h 10000"/>
                <a:gd name="connsiteX39" fmla="*/ 6586 w 10000"/>
                <a:gd name="connsiteY39" fmla="*/ 7651 h 10000"/>
                <a:gd name="connsiteX40" fmla="*/ 6855 w 10000"/>
                <a:gd name="connsiteY40" fmla="*/ 7343 h 10000"/>
                <a:gd name="connsiteX41" fmla="*/ 6855 w 10000"/>
                <a:gd name="connsiteY41" fmla="*/ 7180 h 10000"/>
                <a:gd name="connsiteX42" fmla="*/ 6757 w 10000"/>
                <a:gd name="connsiteY42" fmla="*/ 7091 h 10000"/>
                <a:gd name="connsiteX43" fmla="*/ 6915 w 10000"/>
                <a:gd name="connsiteY43" fmla="*/ 6942 h 10000"/>
                <a:gd name="connsiteX44" fmla="*/ 6887 w 10000"/>
                <a:gd name="connsiteY44" fmla="*/ 6822 h 10000"/>
                <a:gd name="connsiteX45" fmla="*/ 6779 w 10000"/>
                <a:gd name="connsiteY45" fmla="*/ 6720 h 10000"/>
                <a:gd name="connsiteX46" fmla="*/ 6757 w 10000"/>
                <a:gd name="connsiteY46" fmla="*/ 6640 h 10000"/>
                <a:gd name="connsiteX47" fmla="*/ 6785 w 10000"/>
                <a:gd name="connsiteY47" fmla="*/ 6582 h 10000"/>
                <a:gd name="connsiteX48" fmla="*/ 6931 w 10000"/>
                <a:gd name="connsiteY48" fmla="*/ 6629 h 10000"/>
                <a:gd name="connsiteX49" fmla="*/ 7045 w 10000"/>
                <a:gd name="connsiteY49" fmla="*/ 6626 h 10000"/>
                <a:gd name="connsiteX50" fmla="*/ 6983 w 10000"/>
                <a:gd name="connsiteY50" fmla="*/ 6528 h 10000"/>
                <a:gd name="connsiteX51" fmla="*/ 7003 w 10000"/>
                <a:gd name="connsiteY51" fmla="*/ 6470 h 10000"/>
                <a:gd name="connsiteX52" fmla="*/ 7089 w 10000"/>
                <a:gd name="connsiteY52" fmla="*/ 6387 h 10000"/>
                <a:gd name="connsiteX53" fmla="*/ 7074 w 10000"/>
                <a:gd name="connsiteY53" fmla="*/ 6318 h 10000"/>
                <a:gd name="connsiteX54" fmla="*/ 7152 w 10000"/>
                <a:gd name="connsiteY54" fmla="*/ 6087 h 10000"/>
                <a:gd name="connsiteX55" fmla="*/ 7130 w 10000"/>
                <a:gd name="connsiteY55" fmla="*/ 6016 h 10000"/>
                <a:gd name="connsiteX56" fmla="*/ 6729 w 10000"/>
                <a:gd name="connsiteY56" fmla="*/ 5839 h 10000"/>
                <a:gd name="connsiteX57" fmla="*/ 6785 w 10000"/>
                <a:gd name="connsiteY57" fmla="*/ 5833 h 10000"/>
                <a:gd name="connsiteX58" fmla="*/ 6998 w 10000"/>
                <a:gd name="connsiteY58" fmla="*/ 5878 h 10000"/>
                <a:gd name="connsiteX59" fmla="*/ 7230 w 10000"/>
                <a:gd name="connsiteY59" fmla="*/ 5861 h 10000"/>
                <a:gd name="connsiteX60" fmla="*/ 7295 w 10000"/>
                <a:gd name="connsiteY60" fmla="*/ 5799 h 10000"/>
                <a:gd name="connsiteX61" fmla="*/ 7074 w 10000"/>
                <a:gd name="connsiteY61" fmla="*/ 5679 h 10000"/>
                <a:gd name="connsiteX62" fmla="*/ 6414 w 10000"/>
                <a:gd name="connsiteY62" fmla="*/ 5600 h 10000"/>
                <a:gd name="connsiteX63" fmla="*/ 6458 w 10000"/>
                <a:gd name="connsiteY63" fmla="*/ 5564 h 10000"/>
                <a:gd name="connsiteX64" fmla="*/ 6998 w 10000"/>
                <a:gd name="connsiteY64" fmla="*/ 5539 h 10000"/>
                <a:gd name="connsiteX65" fmla="*/ 7295 w 10000"/>
                <a:gd name="connsiteY65" fmla="*/ 5611 h 10000"/>
                <a:gd name="connsiteX66" fmla="*/ 7466 w 10000"/>
                <a:gd name="connsiteY66" fmla="*/ 5564 h 10000"/>
                <a:gd name="connsiteX67" fmla="*/ 7529 w 10000"/>
                <a:gd name="connsiteY67" fmla="*/ 5440 h 10000"/>
                <a:gd name="connsiteX68" fmla="*/ 7840 w 10000"/>
                <a:gd name="connsiteY68" fmla="*/ 5440 h 10000"/>
                <a:gd name="connsiteX69" fmla="*/ 8261 w 10000"/>
                <a:gd name="connsiteY69" fmla="*/ 5191 h 10000"/>
                <a:gd name="connsiteX70" fmla="*/ 8275 w 10000"/>
                <a:gd name="connsiteY70" fmla="*/ 5023 h 10000"/>
                <a:gd name="connsiteX71" fmla="*/ 8453 w 10000"/>
                <a:gd name="connsiteY71" fmla="*/ 5061 h 10000"/>
                <a:gd name="connsiteX72" fmla="*/ 8446 w 10000"/>
                <a:gd name="connsiteY72" fmla="*/ 5229 h 10000"/>
                <a:gd name="connsiteX73" fmla="*/ 8727 w 10000"/>
                <a:gd name="connsiteY73" fmla="*/ 5217 h 10000"/>
                <a:gd name="connsiteX74" fmla="*/ 8913 w 10000"/>
                <a:gd name="connsiteY74" fmla="*/ 5043 h 10000"/>
                <a:gd name="connsiteX75" fmla="*/ 9258 w 10000"/>
                <a:gd name="connsiteY75" fmla="*/ 4887 h 10000"/>
                <a:gd name="connsiteX76" fmla="*/ 9203 w 10000"/>
                <a:gd name="connsiteY76" fmla="*/ 4711 h 10000"/>
                <a:gd name="connsiteX77" fmla="*/ 9306 w 10000"/>
                <a:gd name="connsiteY77" fmla="*/ 4781 h 10000"/>
                <a:gd name="connsiteX78" fmla="*/ 9464 w 10000"/>
                <a:gd name="connsiteY78" fmla="*/ 4781 h 10000"/>
                <a:gd name="connsiteX79" fmla="*/ 9464 w 10000"/>
                <a:gd name="connsiteY79" fmla="*/ 4699 h 10000"/>
                <a:gd name="connsiteX80" fmla="*/ 9611 w 10000"/>
                <a:gd name="connsiteY80" fmla="*/ 4639 h 10000"/>
                <a:gd name="connsiteX81" fmla="*/ 9592 w 10000"/>
                <a:gd name="connsiteY81" fmla="*/ 4574 h 10000"/>
                <a:gd name="connsiteX82" fmla="*/ 8350 w 10000"/>
                <a:gd name="connsiteY82" fmla="*/ 4701 h 10000"/>
                <a:gd name="connsiteX83" fmla="*/ 8058 w 10000"/>
                <a:gd name="connsiteY83" fmla="*/ 4665 h 10000"/>
                <a:gd name="connsiteX84" fmla="*/ 7942 w 10000"/>
                <a:gd name="connsiteY84" fmla="*/ 4711 h 10000"/>
                <a:gd name="connsiteX85" fmla="*/ 7903 w 10000"/>
                <a:gd name="connsiteY85" fmla="*/ 4621 h 10000"/>
                <a:gd name="connsiteX86" fmla="*/ 7765 w 10000"/>
                <a:gd name="connsiteY86" fmla="*/ 4543 h 10000"/>
                <a:gd name="connsiteX87" fmla="*/ 7213 w 10000"/>
                <a:gd name="connsiteY87" fmla="*/ 4380 h 10000"/>
                <a:gd name="connsiteX88" fmla="*/ 6887 w 10000"/>
                <a:gd name="connsiteY88" fmla="*/ 4408 h 10000"/>
                <a:gd name="connsiteX89" fmla="*/ 6757 w 10000"/>
                <a:gd name="connsiteY89" fmla="*/ 4361 h 10000"/>
                <a:gd name="connsiteX90" fmla="*/ 6894 w 10000"/>
                <a:gd name="connsiteY90" fmla="*/ 4322 h 10000"/>
                <a:gd name="connsiteX91" fmla="*/ 6998 w 10000"/>
                <a:gd name="connsiteY91" fmla="*/ 4237 h 10000"/>
                <a:gd name="connsiteX92" fmla="*/ 7152 w 10000"/>
                <a:gd name="connsiteY92" fmla="*/ 4264 h 10000"/>
                <a:gd name="connsiteX93" fmla="*/ 7335 w 10000"/>
                <a:gd name="connsiteY93" fmla="*/ 4242 h 10000"/>
                <a:gd name="connsiteX94" fmla="*/ 7611 w 10000"/>
                <a:gd name="connsiteY94" fmla="*/ 4270 h 10000"/>
                <a:gd name="connsiteX95" fmla="*/ 7645 w 10000"/>
                <a:gd name="connsiteY95" fmla="*/ 4258 h 10000"/>
                <a:gd name="connsiteX96" fmla="*/ 7859 w 10000"/>
                <a:gd name="connsiteY96" fmla="*/ 4388 h 10000"/>
                <a:gd name="connsiteX97" fmla="*/ 8017 w 10000"/>
                <a:gd name="connsiteY97" fmla="*/ 4340 h 10000"/>
                <a:gd name="connsiteX98" fmla="*/ 8032 w 10000"/>
                <a:gd name="connsiteY98" fmla="*/ 4296 h 10000"/>
                <a:gd name="connsiteX99" fmla="*/ 8176 w 10000"/>
                <a:gd name="connsiteY99" fmla="*/ 4373 h 10000"/>
                <a:gd name="connsiteX100" fmla="*/ 8369 w 10000"/>
                <a:gd name="connsiteY100" fmla="*/ 4415 h 10000"/>
                <a:gd name="connsiteX101" fmla="*/ 8446 w 10000"/>
                <a:gd name="connsiteY101" fmla="*/ 4338 h 10000"/>
                <a:gd name="connsiteX102" fmla="*/ 8507 w 10000"/>
                <a:gd name="connsiteY102" fmla="*/ 4380 h 10000"/>
                <a:gd name="connsiteX103" fmla="*/ 8596 w 10000"/>
                <a:gd name="connsiteY103" fmla="*/ 4531 h 10000"/>
                <a:gd name="connsiteX104" fmla="*/ 8782 w 10000"/>
                <a:gd name="connsiteY104" fmla="*/ 4565 h 10000"/>
                <a:gd name="connsiteX105" fmla="*/ 9542 w 10000"/>
                <a:gd name="connsiteY105" fmla="*/ 4345 h 10000"/>
                <a:gd name="connsiteX106" fmla="*/ 9914 w 10000"/>
                <a:gd name="connsiteY106" fmla="*/ 4038 h 10000"/>
                <a:gd name="connsiteX107" fmla="*/ 10000 w 10000"/>
                <a:gd name="connsiteY107" fmla="*/ 3817 h 10000"/>
                <a:gd name="connsiteX108" fmla="*/ 9866 w 10000"/>
                <a:gd name="connsiteY108" fmla="*/ 3614 h 10000"/>
                <a:gd name="connsiteX109" fmla="*/ 9582 w 10000"/>
                <a:gd name="connsiteY109" fmla="*/ 3495 h 10000"/>
                <a:gd name="connsiteX110" fmla="*/ 9382 w 10000"/>
                <a:gd name="connsiteY110" fmla="*/ 3295 h 10000"/>
                <a:gd name="connsiteX111" fmla="*/ 9569 w 10000"/>
                <a:gd name="connsiteY111" fmla="*/ 3289 h 10000"/>
                <a:gd name="connsiteX112" fmla="*/ 9555 w 10000"/>
                <a:gd name="connsiteY112" fmla="*/ 3242 h 10000"/>
                <a:gd name="connsiteX113" fmla="*/ 9068 w 10000"/>
                <a:gd name="connsiteY113" fmla="*/ 3105 h 10000"/>
                <a:gd name="connsiteX114" fmla="*/ 9047 w 10000"/>
                <a:gd name="connsiteY114" fmla="*/ 2977 h 10000"/>
                <a:gd name="connsiteX115" fmla="*/ 8953 w 10000"/>
                <a:gd name="connsiteY115" fmla="*/ 2843 h 10000"/>
                <a:gd name="connsiteX116" fmla="*/ 8569 w 10000"/>
                <a:gd name="connsiteY116" fmla="*/ 2867 h 10000"/>
                <a:gd name="connsiteX117" fmla="*/ 8431 w 10000"/>
                <a:gd name="connsiteY117" fmla="*/ 2725 h 10000"/>
                <a:gd name="connsiteX118" fmla="*/ 8350 w 10000"/>
                <a:gd name="connsiteY118" fmla="*/ 2716 h 10000"/>
                <a:gd name="connsiteX119" fmla="*/ 8350 w 10000"/>
                <a:gd name="connsiteY119" fmla="*/ 2780 h 10000"/>
                <a:gd name="connsiteX120" fmla="*/ 8176 w 10000"/>
                <a:gd name="connsiteY120" fmla="*/ 3016 h 10000"/>
                <a:gd name="connsiteX121" fmla="*/ 7990 w 10000"/>
                <a:gd name="connsiteY121" fmla="*/ 3156 h 10000"/>
                <a:gd name="connsiteX122" fmla="*/ 7401 w 10000"/>
                <a:gd name="connsiteY122" fmla="*/ 3393 h 10000"/>
                <a:gd name="connsiteX123" fmla="*/ 7198 w 10000"/>
                <a:gd name="connsiteY123" fmla="*/ 3386 h 10000"/>
                <a:gd name="connsiteX124" fmla="*/ 6915 w 10000"/>
                <a:gd name="connsiteY124" fmla="*/ 3423 h 10000"/>
                <a:gd name="connsiteX125" fmla="*/ 6757 w 10000"/>
                <a:gd name="connsiteY125" fmla="*/ 3386 h 10000"/>
                <a:gd name="connsiteX126" fmla="*/ 6965 w 10000"/>
                <a:gd name="connsiteY126" fmla="*/ 3318 h 10000"/>
                <a:gd name="connsiteX127" fmla="*/ 7235 w 10000"/>
                <a:gd name="connsiteY127" fmla="*/ 3289 h 10000"/>
                <a:gd name="connsiteX128" fmla="*/ 7455 w 10000"/>
                <a:gd name="connsiteY128" fmla="*/ 3178 h 10000"/>
                <a:gd name="connsiteX129" fmla="*/ 7674 w 10000"/>
                <a:gd name="connsiteY129" fmla="*/ 3126 h 10000"/>
                <a:gd name="connsiteX130" fmla="*/ 8082 w 10000"/>
                <a:gd name="connsiteY130" fmla="*/ 2931 h 10000"/>
                <a:gd name="connsiteX131" fmla="*/ 8157 w 10000"/>
                <a:gd name="connsiteY131" fmla="*/ 2804 h 10000"/>
                <a:gd name="connsiteX132" fmla="*/ 8165 w 10000"/>
                <a:gd name="connsiteY132" fmla="*/ 2640 h 10000"/>
                <a:gd name="connsiteX133" fmla="*/ 7978 w 10000"/>
                <a:gd name="connsiteY133" fmla="*/ 2611 h 10000"/>
                <a:gd name="connsiteX134" fmla="*/ 8058 w 10000"/>
                <a:gd name="connsiteY134" fmla="*/ 2511 h 10000"/>
                <a:gd name="connsiteX135" fmla="*/ 8087 w 10000"/>
                <a:gd name="connsiteY135" fmla="*/ 2384 h 10000"/>
                <a:gd name="connsiteX136" fmla="*/ 8007 w 10000"/>
                <a:gd name="connsiteY136" fmla="*/ 2265 h 10000"/>
                <a:gd name="connsiteX137" fmla="*/ 7450 w 10000"/>
                <a:gd name="connsiteY137" fmla="*/ 2428 h 10000"/>
                <a:gd name="connsiteX138" fmla="*/ 6694 w 10000"/>
                <a:gd name="connsiteY138" fmla="*/ 2355 h 10000"/>
                <a:gd name="connsiteX139" fmla="*/ 6304 w 10000"/>
                <a:gd name="connsiteY139" fmla="*/ 1899 h 10000"/>
                <a:gd name="connsiteX140" fmla="*/ 5294 w 10000"/>
                <a:gd name="connsiteY140" fmla="*/ 1813 h 10000"/>
                <a:gd name="connsiteX141" fmla="*/ 4505 w 10000"/>
                <a:gd name="connsiteY141" fmla="*/ 1435 h 10000"/>
                <a:gd name="connsiteX142" fmla="*/ 3730 w 10000"/>
                <a:gd name="connsiteY142" fmla="*/ 981 h 10000"/>
                <a:gd name="connsiteX143" fmla="*/ 3154 w 10000"/>
                <a:gd name="connsiteY143" fmla="*/ 145 h 10000"/>
                <a:gd name="connsiteX144" fmla="*/ 2375 w 10000"/>
                <a:gd name="connsiteY144" fmla="*/ 0 h 10000"/>
                <a:gd name="connsiteX145" fmla="*/ 2226 w 10000"/>
                <a:gd name="connsiteY145" fmla="*/ 787 h 10000"/>
                <a:gd name="connsiteX146" fmla="*/ 2375 w 10000"/>
                <a:gd name="connsiteY146" fmla="*/ 986 h 10000"/>
                <a:gd name="connsiteX147" fmla="*/ 2791 w 10000"/>
                <a:gd name="connsiteY147" fmla="*/ 1207 h 10000"/>
                <a:gd name="connsiteX148" fmla="*/ 2808 w 10000"/>
                <a:gd name="connsiteY148" fmla="*/ 1474 h 10000"/>
                <a:gd name="connsiteX149" fmla="*/ 2632 w 10000"/>
                <a:gd name="connsiteY149" fmla="*/ 1698 h 10000"/>
                <a:gd name="connsiteX150" fmla="*/ 2375 w 10000"/>
                <a:gd name="connsiteY150" fmla="*/ 1833 h 10000"/>
                <a:gd name="connsiteX151" fmla="*/ 2039 w 10000"/>
                <a:gd name="connsiteY151" fmla="*/ 1886 h 10000"/>
                <a:gd name="connsiteX152" fmla="*/ 1950 w 10000"/>
                <a:gd name="connsiteY152" fmla="*/ 1966 h 10000"/>
                <a:gd name="connsiteX153" fmla="*/ 2148 w 10000"/>
                <a:gd name="connsiteY153" fmla="*/ 2151 h 10000"/>
                <a:gd name="connsiteX154" fmla="*/ 2261 w 10000"/>
                <a:gd name="connsiteY154" fmla="*/ 2590 h 10000"/>
                <a:gd name="connsiteX155" fmla="*/ 2005 w 10000"/>
                <a:gd name="connsiteY155" fmla="*/ 2967 h 10000"/>
                <a:gd name="connsiteX156" fmla="*/ 2094 w 10000"/>
                <a:gd name="connsiteY156" fmla="*/ 3081 h 10000"/>
                <a:gd name="connsiteX157" fmla="*/ 2012 w 10000"/>
                <a:gd name="connsiteY157" fmla="*/ 3276 h 10000"/>
                <a:gd name="connsiteX158" fmla="*/ 1850 w 10000"/>
                <a:gd name="connsiteY158" fmla="*/ 3413 h 10000"/>
                <a:gd name="connsiteX159" fmla="*/ 1199 w 10000"/>
                <a:gd name="connsiteY159" fmla="*/ 3517 h 10000"/>
                <a:gd name="connsiteX160" fmla="*/ 1158 w 10000"/>
                <a:gd name="connsiteY160" fmla="*/ 3698 h 10000"/>
                <a:gd name="connsiteX161" fmla="*/ 808 w 10000"/>
                <a:gd name="connsiteY161" fmla="*/ 3968 h 10000"/>
                <a:gd name="connsiteX162" fmla="*/ 854 w 10000"/>
                <a:gd name="connsiteY162" fmla="*/ 4359 h 10000"/>
                <a:gd name="connsiteX163" fmla="*/ 560 w 10000"/>
                <a:gd name="connsiteY163" fmla="*/ 4858 h 10000"/>
                <a:gd name="connsiteX164" fmla="*/ 358 w 10000"/>
                <a:gd name="connsiteY164" fmla="*/ 4916 h 10000"/>
                <a:gd name="connsiteX165" fmla="*/ 275 w 10000"/>
                <a:gd name="connsiteY165" fmla="*/ 4797 h 10000"/>
                <a:gd name="connsiteX166" fmla="*/ 174 w 10000"/>
                <a:gd name="connsiteY166" fmla="*/ 4977 h 10000"/>
                <a:gd name="connsiteX167" fmla="*/ 239 w 10000"/>
                <a:gd name="connsiteY167" fmla="*/ 4667 h 10000"/>
                <a:gd name="connsiteX168" fmla="*/ 197 w 10000"/>
                <a:gd name="connsiteY168" fmla="*/ 4609 h 10000"/>
                <a:gd name="connsiteX0" fmla="*/ 197 w 10000"/>
                <a:gd name="connsiteY0" fmla="*/ 4609 h 8888"/>
                <a:gd name="connsiteX1" fmla="*/ 0 w 10000"/>
                <a:gd name="connsiteY1" fmla="*/ 4770 h 8888"/>
                <a:gd name="connsiteX2" fmla="*/ 0 w 10000"/>
                <a:gd name="connsiteY2" fmla="*/ 5564 h 8888"/>
                <a:gd name="connsiteX3" fmla="*/ 109 w 10000"/>
                <a:gd name="connsiteY3" fmla="*/ 5585 h 8888"/>
                <a:gd name="connsiteX4" fmla="*/ 134 w 10000"/>
                <a:gd name="connsiteY4" fmla="*/ 5648 h 8888"/>
                <a:gd name="connsiteX5" fmla="*/ 130 w 10000"/>
                <a:gd name="connsiteY5" fmla="*/ 5756 h 8888"/>
                <a:gd name="connsiteX6" fmla="*/ 89 w 10000"/>
                <a:gd name="connsiteY6" fmla="*/ 5803 h 8888"/>
                <a:gd name="connsiteX7" fmla="*/ 255 w 10000"/>
                <a:gd name="connsiteY7" fmla="*/ 5710 h 8888"/>
                <a:gd name="connsiteX8" fmla="*/ 325 w 10000"/>
                <a:gd name="connsiteY8" fmla="*/ 5622 h 8888"/>
                <a:gd name="connsiteX9" fmla="*/ 413 w 10000"/>
                <a:gd name="connsiteY9" fmla="*/ 5682 h 8888"/>
                <a:gd name="connsiteX10" fmla="*/ 316 w 10000"/>
                <a:gd name="connsiteY10" fmla="*/ 5813 h 8888"/>
                <a:gd name="connsiteX11" fmla="*/ 419 w 10000"/>
                <a:gd name="connsiteY11" fmla="*/ 5816 h 8888"/>
                <a:gd name="connsiteX12" fmla="*/ 469 w 10000"/>
                <a:gd name="connsiteY12" fmla="*/ 5848 h 8888"/>
                <a:gd name="connsiteX13" fmla="*/ 337 w 10000"/>
                <a:gd name="connsiteY13" fmla="*/ 5891 h 8888"/>
                <a:gd name="connsiteX14" fmla="*/ 130 w 10000"/>
                <a:gd name="connsiteY14" fmla="*/ 6024 h 8888"/>
                <a:gd name="connsiteX15" fmla="*/ 497 w 10000"/>
                <a:gd name="connsiteY15" fmla="*/ 6129 h 8888"/>
                <a:gd name="connsiteX16" fmla="*/ 545 w 10000"/>
                <a:gd name="connsiteY16" fmla="*/ 6278 h 8888"/>
                <a:gd name="connsiteX17" fmla="*/ 419 w 10000"/>
                <a:gd name="connsiteY17" fmla="*/ 6497 h 8888"/>
                <a:gd name="connsiteX18" fmla="*/ 688 w 10000"/>
                <a:gd name="connsiteY18" fmla="*/ 6485 h 8888"/>
                <a:gd name="connsiteX19" fmla="*/ 709 w 10000"/>
                <a:gd name="connsiteY19" fmla="*/ 6647 h 8888"/>
                <a:gd name="connsiteX20" fmla="*/ 530 w 10000"/>
                <a:gd name="connsiteY20" fmla="*/ 6764 h 8888"/>
                <a:gd name="connsiteX21" fmla="*/ 560 w 10000"/>
                <a:gd name="connsiteY21" fmla="*/ 6978 h 8888"/>
                <a:gd name="connsiteX22" fmla="*/ 489 w 10000"/>
                <a:gd name="connsiteY22" fmla="*/ 7150 h 8888"/>
                <a:gd name="connsiteX23" fmla="*/ 703 w 10000"/>
                <a:gd name="connsiteY23" fmla="*/ 7166 h 8888"/>
                <a:gd name="connsiteX24" fmla="*/ 909 w 10000"/>
                <a:gd name="connsiteY24" fmla="*/ 7817 h 8888"/>
                <a:gd name="connsiteX25" fmla="*/ 1150 w 10000"/>
                <a:gd name="connsiteY25" fmla="*/ 7978 h 8888"/>
                <a:gd name="connsiteX26" fmla="*/ 1255 w 10000"/>
                <a:gd name="connsiteY26" fmla="*/ 8154 h 8888"/>
                <a:gd name="connsiteX27" fmla="*/ 1514 w 10000"/>
                <a:gd name="connsiteY27" fmla="*/ 8280 h 8888"/>
                <a:gd name="connsiteX28" fmla="*/ 1684 w 10000"/>
                <a:gd name="connsiteY28" fmla="*/ 8444 h 8888"/>
                <a:gd name="connsiteX29" fmla="*/ 1661 w 10000"/>
                <a:gd name="connsiteY29" fmla="*/ 8562 h 8888"/>
                <a:gd name="connsiteX30" fmla="*/ 1496 w 10000"/>
                <a:gd name="connsiteY30" fmla="*/ 8606 h 8888"/>
                <a:gd name="connsiteX31" fmla="*/ 1316 w 10000"/>
                <a:gd name="connsiteY31" fmla="*/ 8576 h 8888"/>
                <a:gd name="connsiteX32" fmla="*/ 1260 w 10000"/>
                <a:gd name="connsiteY32" fmla="*/ 8624 h 8888"/>
                <a:gd name="connsiteX33" fmla="*/ 1397 w 10000"/>
                <a:gd name="connsiteY33" fmla="*/ 8876 h 8888"/>
                <a:gd name="connsiteX34" fmla="*/ 1205 w 10000"/>
                <a:gd name="connsiteY34" fmla="*/ 8854 h 8888"/>
                <a:gd name="connsiteX35" fmla="*/ 1040 w 10000"/>
                <a:gd name="connsiteY35" fmla="*/ 8794 h 8888"/>
                <a:gd name="connsiteX36" fmla="*/ 1012 w 10000"/>
                <a:gd name="connsiteY36" fmla="*/ 8888 h 8888"/>
                <a:gd name="connsiteX37" fmla="*/ 6419 w 10000"/>
                <a:gd name="connsiteY37" fmla="*/ 8345 h 8888"/>
                <a:gd name="connsiteX38" fmla="*/ 6586 w 10000"/>
                <a:gd name="connsiteY38" fmla="*/ 7651 h 8888"/>
                <a:gd name="connsiteX39" fmla="*/ 6855 w 10000"/>
                <a:gd name="connsiteY39" fmla="*/ 7343 h 8888"/>
                <a:gd name="connsiteX40" fmla="*/ 6855 w 10000"/>
                <a:gd name="connsiteY40" fmla="*/ 7180 h 8888"/>
                <a:gd name="connsiteX41" fmla="*/ 6757 w 10000"/>
                <a:gd name="connsiteY41" fmla="*/ 7091 h 8888"/>
                <a:gd name="connsiteX42" fmla="*/ 6915 w 10000"/>
                <a:gd name="connsiteY42" fmla="*/ 6942 h 8888"/>
                <a:gd name="connsiteX43" fmla="*/ 6887 w 10000"/>
                <a:gd name="connsiteY43" fmla="*/ 6822 h 8888"/>
                <a:gd name="connsiteX44" fmla="*/ 6779 w 10000"/>
                <a:gd name="connsiteY44" fmla="*/ 6720 h 8888"/>
                <a:gd name="connsiteX45" fmla="*/ 6757 w 10000"/>
                <a:gd name="connsiteY45" fmla="*/ 6640 h 8888"/>
                <a:gd name="connsiteX46" fmla="*/ 6785 w 10000"/>
                <a:gd name="connsiteY46" fmla="*/ 6582 h 8888"/>
                <a:gd name="connsiteX47" fmla="*/ 6931 w 10000"/>
                <a:gd name="connsiteY47" fmla="*/ 6629 h 8888"/>
                <a:gd name="connsiteX48" fmla="*/ 7045 w 10000"/>
                <a:gd name="connsiteY48" fmla="*/ 6626 h 8888"/>
                <a:gd name="connsiteX49" fmla="*/ 6983 w 10000"/>
                <a:gd name="connsiteY49" fmla="*/ 6528 h 8888"/>
                <a:gd name="connsiteX50" fmla="*/ 7003 w 10000"/>
                <a:gd name="connsiteY50" fmla="*/ 6470 h 8888"/>
                <a:gd name="connsiteX51" fmla="*/ 7089 w 10000"/>
                <a:gd name="connsiteY51" fmla="*/ 6387 h 8888"/>
                <a:gd name="connsiteX52" fmla="*/ 7074 w 10000"/>
                <a:gd name="connsiteY52" fmla="*/ 6318 h 8888"/>
                <a:gd name="connsiteX53" fmla="*/ 7152 w 10000"/>
                <a:gd name="connsiteY53" fmla="*/ 6087 h 8888"/>
                <a:gd name="connsiteX54" fmla="*/ 7130 w 10000"/>
                <a:gd name="connsiteY54" fmla="*/ 6016 h 8888"/>
                <a:gd name="connsiteX55" fmla="*/ 6729 w 10000"/>
                <a:gd name="connsiteY55" fmla="*/ 5839 h 8888"/>
                <a:gd name="connsiteX56" fmla="*/ 6785 w 10000"/>
                <a:gd name="connsiteY56" fmla="*/ 5833 h 8888"/>
                <a:gd name="connsiteX57" fmla="*/ 6998 w 10000"/>
                <a:gd name="connsiteY57" fmla="*/ 5878 h 8888"/>
                <a:gd name="connsiteX58" fmla="*/ 7230 w 10000"/>
                <a:gd name="connsiteY58" fmla="*/ 5861 h 8888"/>
                <a:gd name="connsiteX59" fmla="*/ 7295 w 10000"/>
                <a:gd name="connsiteY59" fmla="*/ 5799 h 8888"/>
                <a:gd name="connsiteX60" fmla="*/ 7074 w 10000"/>
                <a:gd name="connsiteY60" fmla="*/ 5679 h 8888"/>
                <a:gd name="connsiteX61" fmla="*/ 6414 w 10000"/>
                <a:gd name="connsiteY61" fmla="*/ 5600 h 8888"/>
                <a:gd name="connsiteX62" fmla="*/ 6458 w 10000"/>
                <a:gd name="connsiteY62" fmla="*/ 5564 h 8888"/>
                <a:gd name="connsiteX63" fmla="*/ 6998 w 10000"/>
                <a:gd name="connsiteY63" fmla="*/ 5539 h 8888"/>
                <a:gd name="connsiteX64" fmla="*/ 7295 w 10000"/>
                <a:gd name="connsiteY64" fmla="*/ 5611 h 8888"/>
                <a:gd name="connsiteX65" fmla="*/ 7466 w 10000"/>
                <a:gd name="connsiteY65" fmla="*/ 5564 h 8888"/>
                <a:gd name="connsiteX66" fmla="*/ 7529 w 10000"/>
                <a:gd name="connsiteY66" fmla="*/ 5440 h 8888"/>
                <a:gd name="connsiteX67" fmla="*/ 7840 w 10000"/>
                <a:gd name="connsiteY67" fmla="*/ 5440 h 8888"/>
                <a:gd name="connsiteX68" fmla="*/ 8261 w 10000"/>
                <a:gd name="connsiteY68" fmla="*/ 5191 h 8888"/>
                <a:gd name="connsiteX69" fmla="*/ 8275 w 10000"/>
                <a:gd name="connsiteY69" fmla="*/ 5023 h 8888"/>
                <a:gd name="connsiteX70" fmla="*/ 8453 w 10000"/>
                <a:gd name="connsiteY70" fmla="*/ 5061 h 8888"/>
                <a:gd name="connsiteX71" fmla="*/ 8446 w 10000"/>
                <a:gd name="connsiteY71" fmla="*/ 5229 h 8888"/>
                <a:gd name="connsiteX72" fmla="*/ 8727 w 10000"/>
                <a:gd name="connsiteY72" fmla="*/ 5217 h 8888"/>
                <a:gd name="connsiteX73" fmla="*/ 8913 w 10000"/>
                <a:gd name="connsiteY73" fmla="*/ 5043 h 8888"/>
                <a:gd name="connsiteX74" fmla="*/ 9258 w 10000"/>
                <a:gd name="connsiteY74" fmla="*/ 4887 h 8888"/>
                <a:gd name="connsiteX75" fmla="*/ 9203 w 10000"/>
                <a:gd name="connsiteY75" fmla="*/ 4711 h 8888"/>
                <a:gd name="connsiteX76" fmla="*/ 9306 w 10000"/>
                <a:gd name="connsiteY76" fmla="*/ 4781 h 8888"/>
                <a:gd name="connsiteX77" fmla="*/ 9464 w 10000"/>
                <a:gd name="connsiteY77" fmla="*/ 4781 h 8888"/>
                <a:gd name="connsiteX78" fmla="*/ 9464 w 10000"/>
                <a:gd name="connsiteY78" fmla="*/ 4699 h 8888"/>
                <a:gd name="connsiteX79" fmla="*/ 9611 w 10000"/>
                <a:gd name="connsiteY79" fmla="*/ 4639 h 8888"/>
                <a:gd name="connsiteX80" fmla="*/ 9592 w 10000"/>
                <a:gd name="connsiteY80" fmla="*/ 4574 h 8888"/>
                <a:gd name="connsiteX81" fmla="*/ 8350 w 10000"/>
                <a:gd name="connsiteY81" fmla="*/ 4701 h 8888"/>
                <a:gd name="connsiteX82" fmla="*/ 8058 w 10000"/>
                <a:gd name="connsiteY82" fmla="*/ 4665 h 8888"/>
                <a:gd name="connsiteX83" fmla="*/ 7942 w 10000"/>
                <a:gd name="connsiteY83" fmla="*/ 4711 h 8888"/>
                <a:gd name="connsiteX84" fmla="*/ 7903 w 10000"/>
                <a:gd name="connsiteY84" fmla="*/ 4621 h 8888"/>
                <a:gd name="connsiteX85" fmla="*/ 7765 w 10000"/>
                <a:gd name="connsiteY85" fmla="*/ 4543 h 8888"/>
                <a:gd name="connsiteX86" fmla="*/ 7213 w 10000"/>
                <a:gd name="connsiteY86" fmla="*/ 4380 h 8888"/>
                <a:gd name="connsiteX87" fmla="*/ 6887 w 10000"/>
                <a:gd name="connsiteY87" fmla="*/ 4408 h 8888"/>
                <a:gd name="connsiteX88" fmla="*/ 6757 w 10000"/>
                <a:gd name="connsiteY88" fmla="*/ 4361 h 8888"/>
                <a:gd name="connsiteX89" fmla="*/ 6894 w 10000"/>
                <a:gd name="connsiteY89" fmla="*/ 4322 h 8888"/>
                <a:gd name="connsiteX90" fmla="*/ 6998 w 10000"/>
                <a:gd name="connsiteY90" fmla="*/ 4237 h 8888"/>
                <a:gd name="connsiteX91" fmla="*/ 7152 w 10000"/>
                <a:gd name="connsiteY91" fmla="*/ 4264 h 8888"/>
                <a:gd name="connsiteX92" fmla="*/ 7335 w 10000"/>
                <a:gd name="connsiteY92" fmla="*/ 4242 h 8888"/>
                <a:gd name="connsiteX93" fmla="*/ 7611 w 10000"/>
                <a:gd name="connsiteY93" fmla="*/ 4270 h 8888"/>
                <a:gd name="connsiteX94" fmla="*/ 7645 w 10000"/>
                <a:gd name="connsiteY94" fmla="*/ 4258 h 8888"/>
                <a:gd name="connsiteX95" fmla="*/ 7859 w 10000"/>
                <a:gd name="connsiteY95" fmla="*/ 4388 h 8888"/>
                <a:gd name="connsiteX96" fmla="*/ 8017 w 10000"/>
                <a:gd name="connsiteY96" fmla="*/ 4340 h 8888"/>
                <a:gd name="connsiteX97" fmla="*/ 8032 w 10000"/>
                <a:gd name="connsiteY97" fmla="*/ 4296 h 8888"/>
                <a:gd name="connsiteX98" fmla="*/ 8176 w 10000"/>
                <a:gd name="connsiteY98" fmla="*/ 4373 h 8888"/>
                <a:gd name="connsiteX99" fmla="*/ 8369 w 10000"/>
                <a:gd name="connsiteY99" fmla="*/ 4415 h 8888"/>
                <a:gd name="connsiteX100" fmla="*/ 8446 w 10000"/>
                <a:gd name="connsiteY100" fmla="*/ 4338 h 8888"/>
                <a:gd name="connsiteX101" fmla="*/ 8507 w 10000"/>
                <a:gd name="connsiteY101" fmla="*/ 4380 h 8888"/>
                <a:gd name="connsiteX102" fmla="*/ 8596 w 10000"/>
                <a:gd name="connsiteY102" fmla="*/ 4531 h 8888"/>
                <a:gd name="connsiteX103" fmla="*/ 8782 w 10000"/>
                <a:gd name="connsiteY103" fmla="*/ 4565 h 8888"/>
                <a:gd name="connsiteX104" fmla="*/ 9542 w 10000"/>
                <a:gd name="connsiteY104" fmla="*/ 4345 h 8888"/>
                <a:gd name="connsiteX105" fmla="*/ 9914 w 10000"/>
                <a:gd name="connsiteY105" fmla="*/ 4038 h 8888"/>
                <a:gd name="connsiteX106" fmla="*/ 10000 w 10000"/>
                <a:gd name="connsiteY106" fmla="*/ 3817 h 8888"/>
                <a:gd name="connsiteX107" fmla="*/ 9866 w 10000"/>
                <a:gd name="connsiteY107" fmla="*/ 3614 h 8888"/>
                <a:gd name="connsiteX108" fmla="*/ 9582 w 10000"/>
                <a:gd name="connsiteY108" fmla="*/ 3495 h 8888"/>
                <a:gd name="connsiteX109" fmla="*/ 9382 w 10000"/>
                <a:gd name="connsiteY109" fmla="*/ 3295 h 8888"/>
                <a:gd name="connsiteX110" fmla="*/ 9569 w 10000"/>
                <a:gd name="connsiteY110" fmla="*/ 3289 h 8888"/>
                <a:gd name="connsiteX111" fmla="*/ 9555 w 10000"/>
                <a:gd name="connsiteY111" fmla="*/ 3242 h 8888"/>
                <a:gd name="connsiteX112" fmla="*/ 9068 w 10000"/>
                <a:gd name="connsiteY112" fmla="*/ 3105 h 8888"/>
                <a:gd name="connsiteX113" fmla="*/ 9047 w 10000"/>
                <a:gd name="connsiteY113" fmla="*/ 2977 h 8888"/>
                <a:gd name="connsiteX114" fmla="*/ 8953 w 10000"/>
                <a:gd name="connsiteY114" fmla="*/ 2843 h 8888"/>
                <a:gd name="connsiteX115" fmla="*/ 8569 w 10000"/>
                <a:gd name="connsiteY115" fmla="*/ 2867 h 8888"/>
                <a:gd name="connsiteX116" fmla="*/ 8431 w 10000"/>
                <a:gd name="connsiteY116" fmla="*/ 2725 h 8888"/>
                <a:gd name="connsiteX117" fmla="*/ 8350 w 10000"/>
                <a:gd name="connsiteY117" fmla="*/ 2716 h 8888"/>
                <a:gd name="connsiteX118" fmla="*/ 8350 w 10000"/>
                <a:gd name="connsiteY118" fmla="*/ 2780 h 8888"/>
                <a:gd name="connsiteX119" fmla="*/ 8176 w 10000"/>
                <a:gd name="connsiteY119" fmla="*/ 3016 h 8888"/>
                <a:gd name="connsiteX120" fmla="*/ 7990 w 10000"/>
                <a:gd name="connsiteY120" fmla="*/ 3156 h 8888"/>
                <a:gd name="connsiteX121" fmla="*/ 7401 w 10000"/>
                <a:gd name="connsiteY121" fmla="*/ 3393 h 8888"/>
                <a:gd name="connsiteX122" fmla="*/ 7198 w 10000"/>
                <a:gd name="connsiteY122" fmla="*/ 3386 h 8888"/>
                <a:gd name="connsiteX123" fmla="*/ 6915 w 10000"/>
                <a:gd name="connsiteY123" fmla="*/ 3423 h 8888"/>
                <a:gd name="connsiteX124" fmla="*/ 6757 w 10000"/>
                <a:gd name="connsiteY124" fmla="*/ 3386 h 8888"/>
                <a:gd name="connsiteX125" fmla="*/ 6965 w 10000"/>
                <a:gd name="connsiteY125" fmla="*/ 3318 h 8888"/>
                <a:gd name="connsiteX126" fmla="*/ 7235 w 10000"/>
                <a:gd name="connsiteY126" fmla="*/ 3289 h 8888"/>
                <a:gd name="connsiteX127" fmla="*/ 7455 w 10000"/>
                <a:gd name="connsiteY127" fmla="*/ 3178 h 8888"/>
                <a:gd name="connsiteX128" fmla="*/ 7674 w 10000"/>
                <a:gd name="connsiteY128" fmla="*/ 3126 h 8888"/>
                <a:gd name="connsiteX129" fmla="*/ 8082 w 10000"/>
                <a:gd name="connsiteY129" fmla="*/ 2931 h 8888"/>
                <a:gd name="connsiteX130" fmla="*/ 8157 w 10000"/>
                <a:gd name="connsiteY130" fmla="*/ 2804 h 8888"/>
                <a:gd name="connsiteX131" fmla="*/ 8165 w 10000"/>
                <a:gd name="connsiteY131" fmla="*/ 2640 h 8888"/>
                <a:gd name="connsiteX132" fmla="*/ 7978 w 10000"/>
                <a:gd name="connsiteY132" fmla="*/ 2611 h 8888"/>
                <a:gd name="connsiteX133" fmla="*/ 8058 w 10000"/>
                <a:gd name="connsiteY133" fmla="*/ 2511 h 8888"/>
                <a:gd name="connsiteX134" fmla="*/ 8087 w 10000"/>
                <a:gd name="connsiteY134" fmla="*/ 2384 h 8888"/>
                <a:gd name="connsiteX135" fmla="*/ 8007 w 10000"/>
                <a:gd name="connsiteY135" fmla="*/ 2265 h 8888"/>
                <a:gd name="connsiteX136" fmla="*/ 7450 w 10000"/>
                <a:gd name="connsiteY136" fmla="*/ 2428 h 8888"/>
                <a:gd name="connsiteX137" fmla="*/ 6694 w 10000"/>
                <a:gd name="connsiteY137" fmla="*/ 2355 h 8888"/>
                <a:gd name="connsiteX138" fmla="*/ 6304 w 10000"/>
                <a:gd name="connsiteY138" fmla="*/ 1899 h 8888"/>
                <a:gd name="connsiteX139" fmla="*/ 5294 w 10000"/>
                <a:gd name="connsiteY139" fmla="*/ 1813 h 8888"/>
                <a:gd name="connsiteX140" fmla="*/ 4505 w 10000"/>
                <a:gd name="connsiteY140" fmla="*/ 1435 h 8888"/>
                <a:gd name="connsiteX141" fmla="*/ 3730 w 10000"/>
                <a:gd name="connsiteY141" fmla="*/ 981 h 8888"/>
                <a:gd name="connsiteX142" fmla="*/ 3154 w 10000"/>
                <a:gd name="connsiteY142" fmla="*/ 145 h 8888"/>
                <a:gd name="connsiteX143" fmla="*/ 2375 w 10000"/>
                <a:gd name="connsiteY143" fmla="*/ 0 h 8888"/>
                <a:gd name="connsiteX144" fmla="*/ 2226 w 10000"/>
                <a:gd name="connsiteY144" fmla="*/ 787 h 8888"/>
                <a:gd name="connsiteX145" fmla="*/ 2375 w 10000"/>
                <a:gd name="connsiteY145" fmla="*/ 986 h 8888"/>
                <a:gd name="connsiteX146" fmla="*/ 2791 w 10000"/>
                <a:gd name="connsiteY146" fmla="*/ 1207 h 8888"/>
                <a:gd name="connsiteX147" fmla="*/ 2808 w 10000"/>
                <a:gd name="connsiteY147" fmla="*/ 1474 h 8888"/>
                <a:gd name="connsiteX148" fmla="*/ 2632 w 10000"/>
                <a:gd name="connsiteY148" fmla="*/ 1698 h 8888"/>
                <a:gd name="connsiteX149" fmla="*/ 2375 w 10000"/>
                <a:gd name="connsiteY149" fmla="*/ 1833 h 8888"/>
                <a:gd name="connsiteX150" fmla="*/ 2039 w 10000"/>
                <a:gd name="connsiteY150" fmla="*/ 1886 h 8888"/>
                <a:gd name="connsiteX151" fmla="*/ 1950 w 10000"/>
                <a:gd name="connsiteY151" fmla="*/ 1966 h 8888"/>
                <a:gd name="connsiteX152" fmla="*/ 2148 w 10000"/>
                <a:gd name="connsiteY152" fmla="*/ 2151 h 8888"/>
                <a:gd name="connsiteX153" fmla="*/ 2261 w 10000"/>
                <a:gd name="connsiteY153" fmla="*/ 2590 h 8888"/>
                <a:gd name="connsiteX154" fmla="*/ 2005 w 10000"/>
                <a:gd name="connsiteY154" fmla="*/ 2967 h 8888"/>
                <a:gd name="connsiteX155" fmla="*/ 2094 w 10000"/>
                <a:gd name="connsiteY155" fmla="*/ 3081 h 8888"/>
                <a:gd name="connsiteX156" fmla="*/ 2012 w 10000"/>
                <a:gd name="connsiteY156" fmla="*/ 3276 h 8888"/>
                <a:gd name="connsiteX157" fmla="*/ 1850 w 10000"/>
                <a:gd name="connsiteY157" fmla="*/ 3413 h 8888"/>
                <a:gd name="connsiteX158" fmla="*/ 1199 w 10000"/>
                <a:gd name="connsiteY158" fmla="*/ 3517 h 8888"/>
                <a:gd name="connsiteX159" fmla="*/ 1158 w 10000"/>
                <a:gd name="connsiteY159" fmla="*/ 3698 h 8888"/>
                <a:gd name="connsiteX160" fmla="*/ 808 w 10000"/>
                <a:gd name="connsiteY160" fmla="*/ 3968 h 8888"/>
                <a:gd name="connsiteX161" fmla="*/ 854 w 10000"/>
                <a:gd name="connsiteY161" fmla="*/ 4359 h 8888"/>
                <a:gd name="connsiteX162" fmla="*/ 560 w 10000"/>
                <a:gd name="connsiteY162" fmla="*/ 4858 h 8888"/>
                <a:gd name="connsiteX163" fmla="*/ 358 w 10000"/>
                <a:gd name="connsiteY163" fmla="*/ 4916 h 8888"/>
                <a:gd name="connsiteX164" fmla="*/ 275 w 10000"/>
                <a:gd name="connsiteY164" fmla="*/ 4797 h 8888"/>
                <a:gd name="connsiteX165" fmla="*/ 174 w 10000"/>
                <a:gd name="connsiteY165" fmla="*/ 4977 h 8888"/>
                <a:gd name="connsiteX166" fmla="*/ 239 w 10000"/>
                <a:gd name="connsiteY166" fmla="*/ 4667 h 8888"/>
                <a:gd name="connsiteX167" fmla="*/ 197 w 10000"/>
                <a:gd name="connsiteY167" fmla="*/ 4609 h 8888"/>
                <a:gd name="connsiteX0" fmla="*/ 197 w 10000"/>
                <a:gd name="connsiteY0" fmla="*/ 5186 h 10000"/>
                <a:gd name="connsiteX1" fmla="*/ 0 w 10000"/>
                <a:gd name="connsiteY1" fmla="*/ 5367 h 10000"/>
                <a:gd name="connsiteX2" fmla="*/ 0 w 10000"/>
                <a:gd name="connsiteY2" fmla="*/ 6260 h 10000"/>
                <a:gd name="connsiteX3" fmla="*/ 109 w 10000"/>
                <a:gd name="connsiteY3" fmla="*/ 6284 h 10000"/>
                <a:gd name="connsiteX4" fmla="*/ 134 w 10000"/>
                <a:gd name="connsiteY4" fmla="*/ 6355 h 10000"/>
                <a:gd name="connsiteX5" fmla="*/ 130 w 10000"/>
                <a:gd name="connsiteY5" fmla="*/ 6476 h 10000"/>
                <a:gd name="connsiteX6" fmla="*/ 89 w 10000"/>
                <a:gd name="connsiteY6" fmla="*/ 6529 h 10000"/>
                <a:gd name="connsiteX7" fmla="*/ 255 w 10000"/>
                <a:gd name="connsiteY7" fmla="*/ 6424 h 10000"/>
                <a:gd name="connsiteX8" fmla="*/ 325 w 10000"/>
                <a:gd name="connsiteY8" fmla="*/ 6325 h 10000"/>
                <a:gd name="connsiteX9" fmla="*/ 413 w 10000"/>
                <a:gd name="connsiteY9" fmla="*/ 6393 h 10000"/>
                <a:gd name="connsiteX10" fmla="*/ 316 w 10000"/>
                <a:gd name="connsiteY10" fmla="*/ 6540 h 10000"/>
                <a:gd name="connsiteX11" fmla="*/ 419 w 10000"/>
                <a:gd name="connsiteY11" fmla="*/ 6544 h 10000"/>
                <a:gd name="connsiteX12" fmla="*/ 469 w 10000"/>
                <a:gd name="connsiteY12" fmla="*/ 6580 h 10000"/>
                <a:gd name="connsiteX13" fmla="*/ 337 w 10000"/>
                <a:gd name="connsiteY13" fmla="*/ 6628 h 10000"/>
                <a:gd name="connsiteX14" fmla="*/ 130 w 10000"/>
                <a:gd name="connsiteY14" fmla="*/ 6778 h 10000"/>
                <a:gd name="connsiteX15" fmla="*/ 497 w 10000"/>
                <a:gd name="connsiteY15" fmla="*/ 6896 h 10000"/>
                <a:gd name="connsiteX16" fmla="*/ 545 w 10000"/>
                <a:gd name="connsiteY16" fmla="*/ 7063 h 10000"/>
                <a:gd name="connsiteX17" fmla="*/ 419 w 10000"/>
                <a:gd name="connsiteY17" fmla="*/ 7310 h 10000"/>
                <a:gd name="connsiteX18" fmla="*/ 688 w 10000"/>
                <a:gd name="connsiteY18" fmla="*/ 7296 h 10000"/>
                <a:gd name="connsiteX19" fmla="*/ 709 w 10000"/>
                <a:gd name="connsiteY19" fmla="*/ 7479 h 10000"/>
                <a:gd name="connsiteX20" fmla="*/ 530 w 10000"/>
                <a:gd name="connsiteY20" fmla="*/ 7610 h 10000"/>
                <a:gd name="connsiteX21" fmla="*/ 560 w 10000"/>
                <a:gd name="connsiteY21" fmla="*/ 7851 h 10000"/>
                <a:gd name="connsiteX22" fmla="*/ 489 w 10000"/>
                <a:gd name="connsiteY22" fmla="*/ 8045 h 10000"/>
                <a:gd name="connsiteX23" fmla="*/ 703 w 10000"/>
                <a:gd name="connsiteY23" fmla="*/ 8063 h 10000"/>
                <a:gd name="connsiteX24" fmla="*/ 909 w 10000"/>
                <a:gd name="connsiteY24" fmla="*/ 8795 h 10000"/>
                <a:gd name="connsiteX25" fmla="*/ 1150 w 10000"/>
                <a:gd name="connsiteY25" fmla="*/ 8976 h 10000"/>
                <a:gd name="connsiteX26" fmla="*/ 1255 w 10000"/>
                <a:gd name="connsiteY26" fmla="*/ 9174 h 10000"/>
                <a:gd name="connsiteX27" fmla="*/ 1514 w 10000"/>
                <a:gd name="connsiteY27" fmla="*/ 9316 h 10000"/>
                <a:gd name="connsiteX28" fmla="*/ 1684 w 10000"/>
                <a:gd name="connsiteY28" fmla="*/ 9500 h 10000"/>
                <a:gd name="connsiteX29" fmla="*/ 1661 w 10000"/>
                <a:gd name="connsiteY29" fmla="*/ 9633 h 10000"/>
                <a:gd name="connsiteX30" fmla="*/ 1496 w 10000"/>
                <a:gd name="connsiteY30" fmla="*/ 9683 h 10000"/>
                <a:gd name="connsiteX31" fmla="*/ 1316 w 10000"/>
                <a:gd name="connsiteY31" fmla="*/ 9649 h 10000"/>
                <a:gd name="connsiteX32" fmla="*/ 1260 w 10000"/>
                <a:gd name="connsiteY32" fmla="*/ 9703 h 10000"/>
                <a:gd name="connsiteX33" fmla="*/ 1397 w 10000"/>
                <a:gd name="connsiteY33" fmla="*/ 9986 h 10000"/>
                <a:gd name="connsiteX34" fmla="*/ 1040 w 10000"/>
                <a:gd name="connsiteY34" fmla="*/ 9894 h 10000"/>
                <a:gd name="connsiteX35" fmla="*/ 1012 w 10000"/>
                <a:gd name="connsiteY35" fmla="*/ 10000 h 10000"/>
                <a:gd name="connsiteX36" fmla="*/ 6419 w 10000"/>
                <a:gd name="connsiteY36" fmla="*/ 9389 h 10000"/>
                <a:gd name="connsiteX37" fmla="*/ 6586 w 10000"/>
                <a:gd name="connsiteY37" fmla="*/ 8608 h 10000"/>
                <a:gd name="connsiteX38" fmla="*/ 6855 w 10000"/>
                <a:gd name="connsiteY38" fmla="*/ 8262 h 10000"/>
                <a:gd name="connsiteX39" fmla="*/ 6855 w 10000"/>
                <a:gd name="connsiteY39" fmla="*/ 8078 h 10000"/>
                <a:gd name="connsiteX40" fmla="*/ 6757 w 10000"/>
                <a:gd name="connsiteY40" fmla="*/ 7978 h 10000"/>
                <a:gd name="connsiteX41" fmla="*/ 6915 w 10000"/>
                <a:gd name="connsiteY41" fmla="*/ 7811 h 10000"/>
                <a:gd name="connsiteX42" fmla="*/ 6887 w 10000"/>
                <a:gd name="connsiteY42" fmla="*/ 7676 h 10000"/>
                <a:gd name="connsiteX43" fmla="*/ 6779 w 10000"/>
                <a:gd name="connsiteY43" fmla="*/ 7561 h 10000"/>
                <a:gd name="connsiteX44" fmla="*/ 6757 w 10000"/>
                <a:gd name="connsiteY44" fmla="*/ 7471 h 10000"/>
                <a:gd name="connsiteX45" fmla="*/ 6785 w 10000"/>
                <a:gd name="connsiteY45" fmla="*/ 7405 h 10000"/>
                <a:gd name="connsiteX46" fmla="*/ 6931 w 10000"/>
                <a:gd name="connsiteY46" fmla="*/ 7458 h 10000"/>
                <a:gd name="connsiteX47" fmla="*/ 7045 w 10000"/>
                <a:gd name="connsiteY47" fmla="*/ 7455 h 10000"/>
                <a:gd name="connsiteX48" fmla="*/ 6983 w 10000"/>
                <a:gd name="connsiteY48" fmla="*/ 7345 h 10000"/>
                <a:gd name="connsiteX49" fmla="*/ 7003 w 10000"/>
                <a:gd name="connsiteY49" fmla="*/ 7279 h 10000"/>
                <a:gd name="connsiteX50" fmla="*/ 7089 w 10000"/>
                <a:gd name="connsiteY50" fmla="*/ 7186 h 10000"/>
                <a:gd name="connsiteX51" fmla="*/ 7074 w 10000"/>
                <a:gd name="connsiteY51" fmla="*/ 7108 h 10000"/>
                <a:gd name="connsiteX52" fmla="*/ 7152 w 10000"/>
                <a:gd name="connsiteY52" fmla="*/ 6849 h 10000"/>
                <a:gd name="connsiteX53" fmla="*/ 7130 w 10000"/>
                <a:gd name="connsiteY53" fmla="*/ 6769 h 10000"/>
                <a:gd name="connsiteX54" fmla="*/ 6729 w 10000"/>
                <a:gd name="connsiteY54" fmla="*/ 6570 h 10000"/>
                <a:gd name="connsiteX55" fmla="*/ 6785 w 10000"/>
                <a:gd name="connsiteY55" fmla="*/ 6563 h 10000"/>
                <a:gd name="connsiteX56" fmla="*/ 6998 w 10000"/>
                <a:gd name="connsiteY56" fmla="*/ 6613 h 10000"/>
                <a:gd name="connsiteX57" fmla="*/ 7230 w 10000"/>
                <a:gd name="connsiteY57" fmla="*/ 6594 h 10000"/>
                <a:gd name="connsiteX58" fmla="*/ 7295 w 10000"/>
                <a:gd name="connsiteY58" fmla="*/ 6525 h 10000"/>
                <a:gd name="connsiteX59" fmla="*/ 7074 w 10000"/>
                <a:gd name="connsiteY59" fmla="*/ 6390 h 10000"/>
                <a:gd name="connsiteX60" fmla="*/ 6414 w 10000"/>
                <a:gd name="connsiteY60" fmla="*/ 6301 h 10000"/>
                <a:gd name="connsiteX61" fmla="*/ 6458 w 10000"/>
                <a:gd name="connsiteY61" fmla="*/ 6260 h 10000"/>
                <a:gd name="connsiteX62" fmla="*/ 6998 w 10000"/>
                <a:gd name="connsiteY62" fmla="*/ 6232 h 10000"/>
                <a:gd name="connsiteX63" fmla="*/ 7295 w 10000"/>
                <a:gd name="connsiteY63" fmla="*/ 6313 h 10000"/>
                <a:gd name="connsiteX64" fmla="*/ 7466 w 10000"/>
                <a:gd name="connsiteY64" fmla="*/ 6260 h 10000"/>
                <a:gd name="connsiteX65" fmla="*/ 7529 w 10000"/>
                <a:gd name="connsiteY65" fmla="*/ 6121 h 10000"/>
                <a:gd name="connsiteX66" fmla="*/ 7840 w 10000"/>
                <a:gd name="connsiteY66" fmla="*/ 6121 h 10000"/>
                <a:gd name="connsiteX67" fmla="*/ 8261 w 10000"/>
                <a:gd name="connsiteY67" fmla="*/ 5840 h 10000"/>
                <a:gd name="connsiteX68" fmla="*/ 8275 w 10000"/>
                <a:gd name="connsiteY68" fmla="*/ 5651 h 10000"/>
                <a:gd name="connsiteX69" fmla="*/ 8453 w 10000"/>
                <a:gd name="connsiteY69" fmla="*/ 5694 h 10000"/>
                <a:gd name="connsiteX70" fmla="*/ 8446 w 10000"/>
                <a:gd name="connsiteY70" fmla="*/ 5883 h 10000"/>
                <a:gd name="connsiteX71" fmla="*/ 8727 w 10000"/>
                <a:gd name="connsiteY71" fmla="*/ 5870 h 10000"/>
                <a:gd name="connsiteX72" fmla="*/ 8913 w 10000"/>
                <a:gd name="connsiteY72" fmla="*/ 5674 h 10000"/>
                <a:gd name="connsiteX73" fmla="*/ 9258 w 10000"/>
                <a:gd name="connsiteY73" fmla="*/ 5498 h 10000"/>
                <a:gd name="connsiteX74" fmla="*/ 9203 w 10000"/>
                <a:gd name="connsiteY74" fmla="*/ 5300 h 10000"/>
                <a:gd name="connsiteX75" fmla="*/ 9306 w 10000"/>
                <a:gd name="connsiteY75" fmla="*/ 5379 h 10000"/>
                <a:gd name="connsiteX76" fmla="*/ 9464 w 10000"/>
                <a:gd name="connsiteY76" fmla="*/ 5379 h 10000"/>
                <a:gd name="connsiteX77" fmla="*/ 9464 w 10000"/>
                <a:gd name="connsiteY77" fmla="*/ 5287 h 10000"/>
                <a:gd name="connsiteX78" fmla="*/ 9611 w 10000"/>
                <a:gd name="connsiteY78" fmla="*/ 5219 h 10000"/>
                <a:gd name="connsiteX79" fmla="*/ 9592 w 10000"/>
                <a:gd name="connsiteY79" fmla="*/ 5146 h 10000"/>
                <a:gd name="connsiteX80" fmla="*/ 8350 w 10000"/>
                <a:gd name="connsiteY80" fmla="*/ 5289 h 10000"/>
                <a:gd name="connsiteX81" fmla="*/ 8058 w 10000"/>
                <a:gd name="connsiteY81" fmla="*/ 5249 h 10000"/>
                <a:gd name="connsiteX82" fmla="*/ 7942 w 10000"/>
                <a:gd name="connsiteY82" fmla="*/ 5300 h 10000"/>
                <a:gd name="connsiteX83" fmla="*/ 7903 w 10000"/>
                <a:gd name="connsiteY83" fmla="*/ 5199 h 10000"/>
                <a:gd name="connsiteX84" fmla="*/ 7765 w 10000"/>
                <a:gd name="connsiteY84" fmla="*/ 5111 h 10000"/>
                <a:gd name="connsiteX85" fmla="*/ 7213 w 10000"/>
                <a:gd name="connsiteY85" fmla="*/ 4928 h 10000"/>
                <a:gd name="connsiteX86" fmla="*/ 6887 w 10000"/>
                <a:gd name="connsiteY86" fmla="*/ 4959 h 10000"/>
                <a:gd name="connsiteX87" fmla="*/ 6757 w 10000"/>
                <a:gd name="connsiteY87" fmla="*/ 4907 h 10000"/>
                <a:gd name="connsiteX88" fmla="*/ 6894 w 10000"/>
                <a:gd name="connsiteY88" fmla="*/ 4863 h 10000"/>
                <a:gd name="connsiteX89" fmla="*/ 6998 w 10000"/>
                <a:gd name="connsiteY89" fmla="*/ 4767 h 10000"/>
                <a:gd name="connsiteX90" fmla="*/ 7152 w 10000"/>
                <a:gd name="connsiteY90" fmla="*/ 4797 h 10000"/>
                <a:gd name="connsiteX91" fmla="*/ 7335 w 10000"/>
                <a:gd name="connsiteY91" fmla="*/ 4773 h 10000"/>
                <a:gd name="connsiteX92" fmla="*/ 7611 w 10000"/>
                <a:gd name="connsiteY92" fmla="*/ 4804 h 10000"/>
                <a:gd name="connsiteX93" fmla="*/ 7645 w 10000"/>
                <a:gd name="connsiteY93" fmla="*/ 4791 h 10000"/>
                <a:gd name="connsiteX94" fmla="*/ 7859 w 10000"/>
                <a:gd name="connsiteY94" fmla="*/ 4937 h 10000"/>
                <a:gd name="connsiteX95" fmla="*/ 8017 w 10000"/>
                <a:gd name="connsiteY95" fmla="*/ 4883 h 10000"/>
                <a:gd name="connsiteX96" fmla="*/ 8032 w 10000"/>
                <a:gd name="connsiteY96" fmla="*/ 4833 h 10000"/>
                <a:gd name="connsiteX97" fmla="*/ 8176 w 10000"/>
                <a:gd name="connsiteY97" fmla="*/ 4920 h 10000"/>
                <a:gd name="connsiteX98" fmla="*/ 8369 w 10000"/>
                <a:gd name="connsiteY98" fmla="*/ 4967 h 10000"/>
                <a:gd name="connsiteX99" fmla="*/ 8446 w 10000"/>
                <a:gd name="connsiteY99" fmla="*/ 4881 h 10000"/>
                <a:gd name="connsiteX100" fmla="*/ 8507 w 10000"/>
                <a:gd name="connsiteY100" fmla="*/ 4928 h 10000"/>
                <a:gd name="connsiteX101" fmla="*/ 8596 w 10000"/>
                <a:gd name="connsiteY101" fmla="*/ 5098 h 10000"/>
                <a:gd name="connsiteX102" fmla="*/ 8782 w 10000"/>
                <a:gd name="connsiteY102" fmla="*/ 5136 h 10000"/>
                <a:gd name="connsiteX103" fmla="*/ 9542 w 10000"/>
                <a:gd name="connsiteY103" fmla="*/ 4889 h 10000"/>
                <a:gd name="connsiteX104" fmla="*/ 9914 w 10000"/>
                <a:gd name="connsiteY104" fmla="*/ 4543 h 10000"/>
                <a:gd name="connsiteX105" fmla="*/ 10000 w 10000"/>
                <a:gd name="connsiteY105" fmla="*/ 4295 h 10000"/>
                <a:gd name="connsiteX106" fmla="*/ 9866 w 10000"/>
                <a:gd name="connsiteY106" fmla="*/ 4066 h 10000"/>
                <a:gd name="connsiteX107" fmla="*/ 9582 w 10000"/>
                <a:gd name="connsiteY107" fmla="*/ 3932 h 10000"/>
                <a:gd name="connsiteX108" fmla="*/ 9382 w 10000"/>
                <a:gd name="connsiteY108" fmla="*/ 3707 h 10000"/>
                <a:gd name="connsiteX109" fmla="*/ 9569 w 10000"/>
                <a:gd name="connsiteY109" fmla="*/ 3700 h 10000"/>
                <a:gd name="connsiteX110" fmla="*/ 9555 w 10000"/>
                <a:gd name="connsiteY110" fmla="*/ 3648 h 10000"/>
                <a:gd name="connsiteX111" fmla="*/ 9068 w 10000"/>
                <a:gd name="connsiteY111" fmla="*/ 3493 h 10000"/>
                <a:gd name="connsiteX112" fmla="*/ 9047 w 10000"/>
                <a:gd name="connsiteY112" fmla="*/ 3349 h 10000"/>
                <a:gd name="connsiteX113" fmla="*/ 8953 w 10000"/>
                <a:gd name="connsiteY113" fmla="*/ 3199 h 10000"/>
                <a:gd name="connsiteX114" fmla="*/ 8569 w 10000"/>
                <a:gd name="connsiteY114" fmla="*/ 3226 h 10000"/>
                <a:gd name="connsiteX115" fmla="*/ 8431 w 10000"/>
                <a:gd name="connsiteY115" fmla="*/ 3066 h 10000"/>
                <a:gd name="connsiteX116" fmla="*/ 8350 w 10000"/>
                <a:gd name="connsiteY116" fmla="*/ 3056 h 10000"/>
                <a:gd name="connsiteX117" fmla="*/ 8350 w 10000"/>
                <a:gd name="connsiteY117" fmla="*/ 3128 h 10000"/>
                <a:gd name="connsiteX118" fmla="*/ 8176 w 10000"/>
                <a:gd name="connsiteY118" fmla="*/ 3393 h 10000"/>
                <a:gd name="connsiteX119" fmla="*/ 7990 w 10000"/>
                <a:gd name="connsiteY119" fmla="*/ 3551 h 10000"/>
                <a:gd name="connsiteX120" fmla="*/ 7401 w 10000"/>
                <a:gd name="connsiteY120" fmla="*/ 3818 h 10000"/>
                <a:gd name="connsiteX121" fmla="*/ 7198 w 10000"/>
                <a:gd name="connsiteY121" fmla="*/ 3810 h 10000"/>
                <a:gd name="connsiteX122" fmla="*/ 6915 w 10000"/>
                <a:gd name="connsiteY122" fmla="*/ 3851 h 10000"/>
                <a:gd name="connsiteX123" fmla="*/ 6757 w 10000"/>
                <a:gd name="connsiteY123" fmla="*/ 3810 h 10000"/>
                <a:gd name="connsiteX124" fmla="*/ 6965 w 10000"/>
                <a:gd name="connsiteY124" fmla="*/ 3733 h 10000"/>
                <a:gd name="connsiteX125" fmla="*/ 7235 w 10000"/>
                <a:gd name="connsiteY125" fmla="*/ 3700 h 10000"/>
                <a:gd name="connsiteX126" fmla="*/ 7455 w 10000"/>
                <a:gd name="connsiteY126" fmla="*/ 3576 h 10000"/>
                <a:gd name="connsiteX127" fmla="*/ 7674 w 10000"/>
                <a:gd name="connsiteY127" fmla="*/ 3517 h 10000"/>
                <a:gd name="connsiteX128" fmla="*/ 8082 w 10000"/>
                <a:gd name="connsiteY128" fmla="*/ 3298 h 10000"/>
                <a:gd name="connsiteX129" fmla="*/ 8157 w 10000"/>
                <a:gd name="connsiteY129" fmla="*/ 3155 h 10000"/>
                <a:gd name="connsiteX130" fmla="*/ 8165 w 10000"/>
                <a:gd name="connsiteY130" fmla="*/ 2970 h 10000"/>
                <a:gd name="connsiteX131" fmla="*/ 7978 w 10000"/>
                <a:gd name="connsiteY131" fmla="*/ 2938 h 10000"/>
                <a:gd name="connsiteX132" fmla="*/ 8058 w 10000"/>
                <a:gd name="connsiteY132" fmla="*/ 2825 h 10000"/>
                <a:gd name="connsiteX133" fmla="*/ 8087 w 10000"/>
                <a:gd name="connsiteY133" fmla="*/ 2682 h 10000"/>
                <a:gd name="connsiteX134" fmla="*/ 8007 w 10000"/>
                <a:gd name="connsiteY134" fmla="*/ 2548 h 10000"/>
                <a:gd name="connsiteX135" fmla="*/ 7450 w 10000"/>
                <a:gd name="connsiteY135" fmla="*/ 2732 h 10000"/>
                <a:gd name="connsiteX136" fmla="*/ 6694 w 10000"/>
                <a:gd name="connsiteY136" fmla="*/ 2650 h 10000"/>
                <a:gd name="connsiteX137" fmla="*/ 6304 w 10000"/>
                <a:gd name="connsiteY137" fmla="*/ 2137 h 10000"/>
                <a:gd name="connsiteX138" fmla="*/ 5294 w 10000"/>
                <a:gd name="connsiteY138" fmla="*/ 2040 h 10000"/>
                <a:gd name="connsiteX139" fmla="*/ 4505 w 10000"/>
                <a:gd name="connsiteY139" fmla="*/ 1615 h 10000"/>
                <a:gd name="connsiteX140" fmla="*/ 3730 w 10000"/>
                <a:gd name="connsiteY140" fmla="*/ 1104 h 10000"/>
                <a:gd name="connsiteX141" fmla="*/ 3154 w 10000"/>
                <a:gd name="connsiteY141" fmla="*/ 163 h 10000"/>
                <a:gd name="connsiteX142" fmla="*/ 2375 w 10000"/>
                <a:gd name="connsiteY142" fmla="*/ 0 h 10000"/>
                <a:gd name="connsiteX143" fmla="*/ 2226 w 10000"/>
                <a:gd name="connsiteY143" fmla="*/ 885 h 10000"/>
                <a:gd name="connsiteX144" fmla="*/ 2375 w 10000"/>
                <a:gd name="connsiteY144" fmla="*/ 1109 h 10000"/>
                <a:gd name="connsiteX145" fmla="*/ 2791 w 10000"/>
                <a:gd name="connsiteY145" fmla="*/ 1358 h 10000"/>
                <a:gd name="connsiteX146" fmla="*/ 2808 w 10000"/>
                <a:gd name="connsiteY146" fmla="*/ 1658 h 10000"/>
                <a:gd name="connsiteX147" fmla="*/ 2632 w 10000"/>
                <a:gd name="connsiteY147" fmla="*/ 1910 h 10000"/>
                <a:gd name="connsiteX148" fmla="*/ 2375 w 10000"/>
                <a:gd name="connsiteY148" fmla="*/ 2062 h 10000"/>
                <a:gd name="connsiteX149" fmla="*/ 2039 w 10000"/>
                <a:gd name="connsiteY149" fmla="*/ 2122 h 10000"/>
                <a:gd name="connsiteX150" fmla="*/ 1950 w 10000"/>
                <a:gd name="connsiteY150" fmla="*/ 2212 h 10000"/>
                <a:gd name="connsiteX151" fmla="*/ 2148 w 10000"/>
                <a:gd name="connsiteY151" fmla="*/ 2420 h 10000"/>
                <a:gd name="connsiteX152" fmla="*/ 2261 w 10000"/>
                <a:gd name="connsiteY152" fmla="*/ 2914 h 10000"/>
                <a:gd name="connsiteX153" fmla="*/ 2005 w 10000"/>
                <a:gd name="connsiteY153" fmla="*/ 3338 h 10000"/>
                <a:gd name="connsiteX154" fmla="*/ 2094 w 10000"/>
                <a:gd name="connsiteY154" fmla="*/ 3466 h 10000"/>
                <a:gd name="connsiteX155" fmla="*/ 2012 w 10000"/>
                <a:gd name="connsiteY155" fmla="*/ 3686 h 10000"/>
                <a:gd name="connsiteX156" fmla="*/ 1850 w 10000"/>
                <a:gd name="connsiteY156" fmla="*/ 3840 h 10000"/>
                <a:gd name="connsiteX157" fmla="*/ 1199 w 10000"/>
                <a:gd name="connsiteY157" fmla="*/ 3957 h 10000"/>
                <a:gd name="connsiteX158" fmla="*/ 1158 w 10000"/>
                <a:gd name="connsiteY158" fmla="*/ 4161 h 10000"/>
                <a:gd name="connsiteX159" fmla="*/ 808 w 10000"/>
                <a:gd name="connsiteY159" fmla="*/ 4464 h 10000"/>
                <a:gd name="connsiteX160" fmla="*/ 854 w 10000"/>
                <a:gd name="connsiteY160" fmla="*/ 4904 h 10000"/>
                <a:gd name="connsiteX161" fmla="*/ 560 w 10000"/>
                <a:gd name="connsiteY161" fmla="*/ 5466 h 10000"/>
                <a:gd name="connsiteX162" fmla="*/ 358 w 10000"/>
                <a:gd name="connsiteY162" fmla="*/ 5531 h 10000"/>
                <a:gd name="connsiteX163" fmla="*/ 275 w 10000"/>
                <a:gd name="connsiteY163" fmla="*/ 5397 h 10000"/>
                <a:gd name="connsiteX164" fmla="*/ 174 w 10000"/>
                <a:gd name="connsiteY164" fmla="*/ 5600 h 10000"/>
                <a:gd name="connsiteX165" fmla="*/ 239 w 10000"/>
                <a:gd name="connsiteY165" fmla="*/ 5251 h 10000"/>
                <a:gd name="connsiteX166" fmla="*/ 197 w 10000"/>
                <a:gd name="connsiteY166" fmla="*/ 5186 h 10000"/>
                <a:gd name="connsiteX0" fmla="*/ 197 w 10000"/>
                <a:gd name="connsiteY0" fmla="*/ 5186 h 9986"/>
                <a:gd name="connsiteX1" fmla="*/ 0 w 10000"/>
                <a:gd name="connsiteY1" fmla="*/ 5367 h 9986"/>
                <a:gd name="connsiteX2" fmla="*/ 0 w 10000"/>
                <a:gd name="connsiteY2" fmla="*/ 6260 h 9986"/>
                <a:gd name="connsiteX3" fmla="*/ 109 w 10000"/>
                <a:gd name="connsiteY3" fmla="*/ 6284 h 9986"/>
                <a:gd name="connsiteX4" fmla="*/ 134 w 10000"/>
                <a:gd name="connsiteY4" fmla="*/ 6355 h 9986"/>
                <a:gd name="connsiteX5" fmla="*/ 130 w 10000"/>
                <a:gd name="connsiteY5" fmla="*/ 6476 h 9986"/>
                <a:gd name="connsiteX6" fmla="*/ 89 w 10000"/>
                <a:gd name="connsiteY6" fmla="*/ 6529 h 9986"/>
                <a:gd name="connsiteX7" fmla="*/ 255 w 10000"/>
                <a:gd name="connsiteY7" fmla="*/ 6424 h 9986"/>
                <a:gd name="connsiteX8" fmla="*/ 325 w 10000"/>
                <a:gd name="connsiteY8" fmla="*/ 6325 h 9986"/>
                <a:gd name="connsiteX9" fmla="*/ 413 w 10000"/>
                <a:gd name="connsiteY9" fmla="*/ 6393 h 9986"/>
                <a:gd name="connsiteX10" fmla="*/ 316 w 10000"/>
                <a:gd name="connsiteY10" fmla="*/ 6540 h 9986"/>
                <a:gd name="connsiteX11" fmla="*/ 419 w 10000"/>
                <a:gd name="connsiteY11" fmla="*/ 6544 h 9986"/>
                <a:gd name="connsiteX12" fmla="*/ 469 w 10000"/>
                <a:gd name="connsiteY12" fmla="*/ 6580 h 9986"/>
                <a:gd name="connsiteX13" fmla="*/ 337 w 10000"/>
                <a:gd name="connsiteY13" fmla="*/ 6628 h 9986"/>
                <a:gd name="connsiteX14" fmla="*/ 130 w 10000"/>
                <a:gd name="connsiteY14" fmla="*/ 6778 h 9986"/>
                <a:gd name="connsiteX15" fmla="*/ 497 w 10000"/>
                <a:gd name="connsiteY15" fmla="*/ 6896 h 9986"/>
                <a:gd name="connsiteX16" fmla="*/ 545 w 10000"/>
                <a:gd name="connsiteY16" fmla="*/ 7063 h 9986"/>
                <a:gd name="connsiteX17" fmla="*/ 419 w 10000"/>
                <a:gd name="connsiteY17" fmla="*/ 7310 h 9986"/>
                <a:gd name="connsiteX18" fmla="*/ 688 w 10000"/>
                <a:gd name="connsiteY18" fmla="*/ 7296 h 9986"/>
                <a:gd name="connsiteX19" fmla="*/ 709 w 10000"/>
                <a:gd name="connsiteY19" fmla="*/ 7479 h 9986"/>
                <a:gd name="connsiteX20" fmla="*/ 530 w 10000"/>
                <a:gd name="connsiteY20" fmla="*/ 7610 h 9986"/>
                <a:gd name="connsiteX21" fmla="*/ 560 w 10000"/>
                <a:gd name="connsiteY21" fmla="*/ 7851 h 9986"/>
                <a:gd name="connsiteX22" fmla="*/ 489 w 10000"/>
                <a:gd name="connsiteY22" fmla="*/ 8045 h 9986"/>
                <a:gd name="connsiteX23" fmla="*/ 703 w 10000"/>
                <a:gd name="connsiteY23" fmla="*/ 8063 h 9986"/>
                <a:gd name="connsiteX24" fmla="*/ 909 w 10000"/>
                <a:gd name="connsiteY24" fmla="*/ 8795 h 9986"/>
                <a:gd name="connsiteX25" fmla="*/ 1150 w 10000"/>
                <a:gd name="connsiteY25" fmla="*/ 8976 h 9986"/>
                <a:gd name="connsiteX26" fmla="*/ 1255 w 10000"/>
                <a:gd name="connsiteY26" fmla="*/ 9174 h 9986"/>
                <a:gd name="connsiteX27" fmla="*/ 1514 w 10000"/>
                <a:gd name="connsiteY27" fmla="*/ 9316 h 9986"/>
                <a:gd name="connsiteX28" fmla="*/ 1684 w 10000"/>
                <a:gd name="connsiteY28" fmla="*/ 9500 h 9986"/>
                <a:gd name="connsiteX29" fmla="*/ 1661 w 10000"/>
                <a:gd name="connsiteY29" fmla="*/ 9633 h 9986"/>
                <a:gd name="connsiteX30" fmla="*/ 1496 w 10000"/>
                <a:gd name="connsiteY30" fmla="*/ 9683 h 9986"/>
                <a:gd name="connsiteX31" fmla="*/ 1316 w 10000"/>
                <a:gd name="connsiteY31" fmla="*/ 9649 h 9986"/>
                <a:gd name="connsiteX32" fmla="*/ 1260 w 10000"/>
                <a:gd name="connsiteY32" fmla="*/ 9703 h 9986"/>
                <a:gd name="connsiteX33" fmla="*/ 1397 w 10000"/>
                <a:gd name="connsiteY33" fmla="*/ 9986 h 9986"/>
                <a:gd name="connsiteX34" fmla="*/ 1040 w 10000"/>
                <a:gd name="connsiteY34" fmla="*/ 9894 h 9986"/>
                <a:gd name="connsiteX35" fmla="*/ 6419 w 10000"/>
                <a:gd name="connsiteY35" fmla="*/ 9389 h 9986"/>
                <a:gd name="connsiteX36" fmla="*/ 6586 w 10000"/>
                <a:gd name="connsiteY36" fmla="*/ 8608 h 9986"/>
                <a:gd name="connsiteX37" fmla="*/ 6855 w 10000"/>
                <a:gd name="connsiteY37" fmla="*/ 8262 h 9986"/>
                <a:gd name="connsiteX38" fmla="*/ 6855 w 10000"/>
                <a:gd name="connsiteY38" fmla="*/ 8078 h 9986"/>
                <a:gd name="connsiteX39" fmla="*/ 6757 w 10000"/>
                <a:gd name="connsiteY39" fmla="*/ 7978 h 9986"/>
                <a:gd name="connsiteX40" fmla="*/ 6915 w 10000"/>
                <a:gd name="connsiteY40" fmla="*/ 7811 h 9986"/>
                <a:gd name="connsiteX41" fmla="*/ 6887 w 10000"/>
                <a:gd name="connsiteY41" fmla="*/ 7676 h 9986"/>
                <a:gd name="connsiteX42" fmla="*/ 6779 w 10000"/>
                <a:gd name="connsiteY42" fmla="*/ 7561 h 9986"/>
                <a:gd name="connsiteX43" fmla="*/ 6757 w 10000"/>
                <a:gd name="connsiteY43" fmla="*/ 7471 h 9986"/>
                <a:gd name="connsiteX44" fmla="*/ 6785 w 10000"/>
                <a:gd name="connsiteY44" fmla="*/ 7405 h 9986"/>
                <a:gd name="connsiteX45" fmla="*/ 6931 w 10000"/>
                <a:gd name="connsiteY45" fmla="*/ 7458 h 9986"/>
                <a:gd name="connsiteX46" fmla="*/ 7045 w 10000"/>
                <a:gd name="connsiteY46" fmla="*/ 7455 h 9986"/>
                <a:gd name="connsiteX47" fmla="*/ 6983 w 10000"/>
                <a:gd name="connsiteY47" fmla="*/ 7345 h 9986"/>
                <a:gd name="connsiteX48" fmla="*/ 7003 w 10000"/>
                <a:gd name="connsiteY48" fmla="*/ 7279 h 9986"/>
                <a:gd name="connsiteX49" fmla="*/ 7089 w 10000"/>
                <a:gd name="connsiteY49" fmla="*/ 7186 h 9986"/>
                <a:gd name="connsiteX50" fmla="*/ 7074 w 10000"/>
                <a:gd name="connsiteY50" fmla="*/ 7108 h 9986"/>
                <a:gd name="connsiteX51" fmla="*/ 7152 w 10000"/>
                <a:gd name="connsiteY51" fmla="*/ 6849 h 9986"/>
                <a:gd name="connsiteX52" fmla="*/ 7130 w 10000"/>
                <a:gd name="connsiteY52" fmla="*/ 6769 h 9986"/>
                <a:gd name="connsiteX53" fmla="*/ 6729 w 10000"/>
                <a:gd name="connsiteY53" fmla="*/ 6570 h 9986"/>
                <a:gd name="connsiteX54" fmla="*/ 6785 w 10000"/>
                <a:gd name="connsiteY54" fmla="*/ 6563 h 9986"/>
                <a:gd name="connsiteX55" fmla="*/ 6998 w 10000"/>
                <a:gd name="connsiteY55" fmla="*/ 6613 h 9986"/>
                <a:gd name="connsiteX56" fmla="*/ 7230 w 10000"/>
                <a:gd name="connsiteY56" fmla="*/ 6594 h 9986"/>
                <a:gd name="connsiteX57" fmla="*/ 7295 w 10000"/>
                <a:gd name="connsiteY57" fmla="*/ 6525 h 9986"/>
                <a:gd name="connsiteX58" fmla="*/ 7074 w 10000"/>
                <a:gd name="connsiteY58" fmla="*/ 6390 h 9986"/>
                <a:gd name="connsiteX59" fmla="*/ 6414 w 10000"/>
                <a:gd name="connsiteY59" fmla="*/ 6301 h 9986"/>
                <a:gd name="connsiteX60" fmla="*/ 6458 w 10000"/>
                <a:gd name="connsiteY60" fmla="*/ 6260 h 9986"/>
                <a:gd name="connsiteX61" fmla="*/ 6998 w 10000"/>
                <a:gd name="connsiteY61" fmla="*/ 6232 h 9986"/>
                <a:gd name="connsiteX62" fmla="*/ 7295 w 10000"/>
                <a:gd name="connsiteY62" fmla="*/ 6313 h 9986"/>
                <a:gd name="connsiteX63" fmla="*/ 7466 w 10000"/>
                <a:gd name="connsiteY63" fmla="*/ 6260 h 9986"/>
                <a:gd name="connsiteX64" fmla="*/ 7529 w 10000"/>
                <a:gd name="connsiteY64" fmla="*/ 6121 h 9986"/>
                <a:gd name="connsiteX65" fmla="*/ 7840 w 10000"/>
                <a:gd name="connsiteY65" fmla="*/ 6121 h 9986"/>
                <a:gd name="connsiteX66" fmla="*/ 8261 w 10000"/>
                <a:gd name="connsiteY66" fmla="*/ 5840 h 9986"/>
                <a:gd name="connsiteX67" fmla="*/ 8275 w 10000"/>
                <a:gd name="connsiteY67" fmla="*/ 5651 h 9986"/>
                <a:gd name="connsiteX68" fmla="*/ 8453 w 10000"/>
                <a:gd name="connsiteY68" fmla="*/ 5694 h 9986"/>
                <a:gd name="connsiteX69" fmla="*/ 8446 w 10000"/>
                <a:gd name="connsiteY69" fmla="*/ 5883 h 9986"/>
                <a:gd name="connsiteX70" fmla="*/ 8727 w 10000"/>
                <a:gd name="connsiteY70" fmla="*/ 5870 h 9986"/>
                <a:gd name="connsiteX71" fmla="*/ 8913 w 10000"/>
                <a:gd name="connsiteY71" fmla="*/ 5674 h 9986"/>
                <a:gd name="connsiteX72" fmla="*/ 9258 w 10000"/>
                <a:gd name="connsiteY72" fmla="*/ 5498 h 9986"/>
                <a:gd name="connsiteX73" fmla="*/ 9203 w 10000"/>
                <a:gd name="connsiteY73" fmla="*/ 5300 h 9986"/>
                <a:gd name="connsiteX74" fmla="*/ 9306 w 10000"/>
                <a:gd name="connsiteY74" fmla="*/ 5379 h 9986"/>
                <a:gd name="connsiteX75" fmla="*/ 9464 w 10000"/>
                <a:gd name="connsiteY75" fmla="*/ 5379 h 9986"/>
                <a:gd name="connsiteX76" fmla="*/ 9464 w 10000"/>
                <a:gd name="connsiteY76" fmla="*/ 5287 h 9986"/>
                <a:gd name="connsiteX77" fmla="*/ 9611 w 10000"/>
                <a:gd name="connsiteY77" fmla="*/ 5219 h 9986"/>
                <a:gd name="connsiteX78" fmla="*/ 9592 w 10000"/>
                <a:gd name="connsiteY78" fmla="*/ 5146 h 9986"/>
                <a:gd name="connsiteX79" fmla="*/ 8350 w 10000"/>
                <a:gd name="connsiteY79" fmla="*/ 5289 h 9986"/>
                <a:gd name="connsiteX80" fmla="*/ 8058 w 10000"/>
                <a:gd name="connsiteY80" fmla="*/ 5249 h 9986"/>
                <a:gd name="connsiteX81" fmla="*/ 7942 w 10000"/>
                <a:gd name="connsiteY81" fmla="*/ 5300 h 9986"/>
                <a:gd name="connsiteX82" fmla="*/ 7903 w 10000"/>
                <a:gd name="connsiteY82" fmla="*/ 5199 h 9986"/>
                <a:gd name="connsiteX83" fmla="*/ 7765 w 10000"/>
                <a:gd name="connsiteY83" fmla="*/ 5111 h 9986"/>
                <a:gd name="connsiteX84" fmla="*/ 7213 w 10000"/>
                <a:gd name="connsiteY84" fmla="*/ 4928 h 9986"/>
                <a:gd name="connsiteX85" fmla="*/ 6887 w 10000"/>
                <a:gd name="connsiteY85" fmla="*/ 4959 h 9986"/>
                <a:gd name="connsiteX86" fmla="*/ 6757 w 10000"/>
                <a:gd name="connsiteY86" fmla="*/ 4907 h 9986"/>
                <a:gd name="connsiteX87" fmla="*/ 6894 w 10000"/>
                <a:gd name="connsiteY87" fmla="*/ 4863 h 9986"/>
                <a:gd name="connsiteX88" fmla="*/ 6998 w 10000"/>
                <a:gd name="connsiteY88" fmla="*/ 4767 h 9986"/>
                <a:gd name="connsiteX89" fmla="*/ 7152 w 10000"/>
                <a:gd name="connsiteY89" fmla="*/ 4797 h 9986"/>
                <a:gd name="connsiteX90" fmla="*/ 7335 w 10000"/>
                <a:gd name="connsiteY90" fmla="*/ 4773 h 9986"/>
                <a:gd name="connsiteX91" fmla="*/ 7611 w 10000"/>
                <a:gd name="connsiteY91" fmla="*/ 4804 h 9986"/>
                <a:gd name="connsiteX92" fmla="*/ 7645 w 10000"/>
                <a:gd name="connsiteY92" fmla="*/ 4791 h 9986"/>
                <a:gd name="connsiteX93" fmla="*/ 7859 w 10000"/>
                <a:gd name="connsiteY93" fmla="*/ 4937 h 9986"/>
                <a:gd name="connsiteX94" fmla="*/ 8017 w 10000"/>
                <a:gd name="connsiteY94" fmla="*/ 4883 h 9986"/>
                <a:gd name="connsiteX95" fmla="*/ 8032 w 10000"/>
                <a:gd name="connsiteY95" fmla="*/ 4833 h 9986"/>
                <a:gd name="connsiteX96" fmla="*/ 8176 w 10000"/>
                <a:gd name="connsiteY96" fmla="*/ 4920 h 9986"/>
                <a:gd name="connsiteX97" fmla="*/ 8369 w 10000"/>
                <a:gd name="connsiteY97" fmla="*/ 4967 h 9986"/>
                <a:gd name="connsiteX98" fmla="*/ 8446 w 10000"/>
                <a:gd name="connsiteY98" fmla="*/ 4881 h 9986"/>
                <a:gd name="connsiteX99" fmla="*/ 8507 w 10000"/>
                <a:gd name="connsiteY99" fmla="*/ 4928 h 9986"/>
                <a:gd name="connsiteX100" fmla="*/ 8596 w 10000"/>
                <a:gd name="connsiteY100" fmla="*/ 5098 h 9986"/>
                <a:gd name="connsiteX101" fmla="*/ 8782 w 10000"/>
                <a:gd name="connsiteY101" fmla="*/ 5136 h 9986"/>
                <a:gd name="connsiteX102" fmla="*/ 9542 w 10000"/>
                <a:gd name="connsiteY102" fmla="*/ 4889 h 9986"/>
                <a:gd name="connsiteX103" fmla="*/ 9914 w 10000"/>
                <a:gd name="connsiteY103" fmla="*/ 4543 h 9986"/>
                <a:gd name="connsiteX104" fmla="*/ 10000 w 10000"/>
                <a:gd name="connsiteY104" fmla="*/ 4295 h 9986"/>
                <a:gd name="connsiteX105" fmla="*/ 9866 w 10000"/>
                <a:gd name="connsiteY105" fmla="*/ 4066 h 9986"/>
                <a:gd name="connsiteX106" fmla="*/ 9582 w 10000"/>
                <a:gd name="connsiteY106" fmla="*/ 3932 h 9986"/>
                <a:gd name="connsiteX107" fmla="*/ 9382 w 10000"/>
                <a:gd name="connsiteY107" fmla="*/ 3707 h 9986"/>
                <a:gd name="connsiteX108" fmla="*/ 9569 w 10000"/>
                <a:gd name="connsiteY108" fmla="*/ 3700 h 9986"/>
                <a:gd name="connsiteX109" fmla="*/ 9555 w 10000"/>
                <a:gd name="connsiteY109" fmla="*/ 3648 h 9986"/>
                <a:gd name="connsiteX110" fmla="*/ 9068 w 10000"/>
                <a:gd name="connsiteY110" fmla="*/ 3493 h 9986"/>
                <a:gd name="connsiteX111" fmla="*/ 9047 w 10000"/>
                <a:gd name="connsiteY111" fmla="*/ 3349 h 9986"/>
                <a:gd name="connsiteX112" fmla="*/ 8953 w 10000"/>
                <a:gd name="connsiteY112" fmla="*/ 3199 h 9986"/>
                <a:gd name="connsiteX113" fmla="*/ 8569 w 10000"/>
                <a:gd name="connsiteY113" fmla="*/ 3226 h 9986"/>
                <a:gd name="connsiteX114" fmla="*/ 8431 w 10000"/>
                <a:gd name="connsiteY114" fmla="*/ 3066 h 9986"/>
                <a:gd name="connsiteX115" fmla="*/ 8350 w 10000"/>
                <a:gd name="connsiteY115" fmla="*/ 3056 h 9986"/>
                <a:gd name="connsiteX116" fmla="*/ 8350 w 10000"/>
                <a:gd name="connsiteY116" fmla="*/ 3128 h 9986"/>
                <a:gd name="connsiteX117" fmla="*/ 8176 w 10000"/>
                <a:gd name="connsiteY117" fmla="*/ 3393 h 9986"/>
                <a:gd name="connsiteX118" fmla="*/ 7990 w 10000"/>
                <a:gd name="connsiteY118" fmla="*/ 3551 h 9986"/>
                <a:gd name="connsiteX119" fmla="*/ 7401 w 10000"/>
                <a:gd name="connsiteY119" fmla="*/ 3818 h 9986"/>
                <a:gd name="connsiteX120" fmla="*/ 7198 w 10000"/>
                <a:gd name="connsiteY120" fmla="*/ 3810 h 9986"/>
                <a:gd name="connsiteX121" fmla="*/ 6915 w 10000"/>
                <a:gd name="connsiteY121" fmla="*/ 3851 h 9986"/>
                <a:gd name="connsiteX122" fmla="*/ 6757 w 10000"/>
                <a:gd name="connsiteY122" fmla="*/ 3810 h 9986"/>
                <a:gd name="connsiteX123" fmla="*/ 6965 w 10000"/>
                <a:gd name="connsiteY123" fmla="*/ 3733 h 9986"/>
                <a:gd name="connsiteX124" fmla="*/ 7235 w 10000"/>
                <a:gd name="connsiteY124" fmla="*/ 3700 h 9986"/>
                <a:gd name="connsiteX125" fmla="*/ 7455 w 10000"/>
                <a:gd name="connsiteY125" fmla="*/ 3576 h 9986"/>
                <a:gd name="connsiteX126" fmla="*/ 7674 w 10000"/>
                <a:gd name="connsiteY126" fmla="*/ 3517 h 9986"/>
                <a:gd name="connsiteX127" fmla="*/ 8082 w 10000"/>
                <a:gd name="connsiteY127" fmla="*/ 3298 h 9986"/>
                <a:gd name="connsiteX128" fmla="*/ 8157 w 10000"/>
                <a:gd name="connsiteY128" fmla="*/ 3155 h 9986"/>
                <a:gd name="connsiteX129" fmla="*/ 8165 w 10000"/>
                <a:gd name="connsiteY129" fmla="*/ 2970 h 9986"/>
                <a:gd name="connsiteX130" fmla="*/ 7978 w 10000"/>
                <a:gd name="connsiteY130" fmla="*/ 2938 h 9986"/>
                <a:gd name="connsiteX131" fmla="*/ 8058 w 10000"/>
                <a:gd name="connsiteY131" fmla="*/ 2825 h 9986"/>
                <a:gd name="connsiteX132" fmla="*/ 8087 w 10000"/>
                <a:gd name="connsiteY132" fmla="*/ 2682 h 9986"/>
                <a:gd name="connsiteX133" fmla="*/ 8007 w 10000"/>
                <a:gd name="connsiteY133" fmla="*/ 2548 h 9986"/>
                <a:gd name="connsiteX134" fmla="*/ 7450 w 10000"/>
                <a:gd name="connsiteY134" fmla="*/ 2732 h 9986"/>
                <a:gd name="connsiteX135" fmla="*/ 6694 w 10000"/>
                <a:gd name="connsiteY135" fmla="*/ 2650 h 9986"/>
                <a:gd name="connsiteX136" fmla="*/ 6304 w 10000"/>
                <a:gd name="connsiteY136" fmla="*/ 2137 h 9986"/>
                <a:gd name="connsiteX137" fmla="*/ 5294 w 10000"/>
                <a:gd name="connsiteY137" fmla="*/ 2040 h 9986"/>
                <a:gd name="connsiteX138" fmla="*/ 4505 w 10000"/>
                <a:gd name="connsiteY138" fmla="*/ 1615 h 9986"/>
                <a:gd name="connsiteX139" fmla="*/ 3730 w 10000"/>
                <a:gd name="connsiteY139" fmla="*/ 1104 h 9986"/>
                <a:gd name="connsiteX140" fmla="*/ 3154 w 10000"/>
                <a:gd name="connsiteY140" fmla="*/ 163 h 9986"/>
                <a:gd name="connsiteX141" fmla="*/ 2375 w 10000"/>
                <a:gd name="connsiteY141" fmla="*/ 0 h 9986"/>
                <a:gd name="connsiteX142" fmla="*/ 2226 w 10000"/>
                <a:gd name="connsiteY142" fmla="*/ 885 h 9986"/>
                <a:gd name="connsiteX143" fmla="*/ 2375 w 10000"/>
                <a:gd name="connsiteY143" fmla="*/ 1109 h 9986"/>
                <a:gd name="connsiteX144" fmla="*/ 2791 w 10000"/>
                <a:gd name="connsiteY144" fmla="*/ 1358 h 9986"/>
                <a:gd name="connsiteX145" fmla="*/ 2808 w 10000"/>
                <a:gd name="connsiteY145" fmla="*/ 1658 h 9986"/>
                <a:gd name="connsiteX146" fmla="*/ 2632 w 10000"/>
                <a:gd name="connsiteY146" fmla="*/ 1910 h 9986"/>
                <a:gd name="connsiteX147" fmla="*/ 2375 w 10000"/>
                <a:gd name="connsiteY147" fmla="*/ 2062 h 9986"/>
                <a:gd name="connsiteX148" fmla="*/ 2039 w 10000"/>
                <a:gd name="connsiteY148" fmla="*/ 2122 h 9986"/>
                <a:gd name="connsiteX149" fmla="*/ 1950 w 10000"/>
                <a:gd name="connsiteY149" fmla="*/ 2212 h 9986"/>
                <a:gd name="connsiteX150" fmla="*/ 2148 w 10000"/>
                <a:gd name="connsiteY150" fmla="*/ 2420 h 9986"/>
                <a:gd name="connsiteX151" fmla="*/ 2261 w 10000"/>
                <a:gd name="connsiteY151" fmla="*/ 2914 h 9986"/>
                <a:gd name="connsiteX152" fmla="*/ 2005 w 10000"/>
                <a:gd name="connsiteY152" fmla="*/ 3338 h 9986"/>
                <a:gd name="connsiteX153" fmla="*/ 2094 w 10000"/>
                <a:gd name="connsiteY153" fmla="*/ 3466 h 9986"/>
                <a:gd name="connsiteX154" fmla="*/ 2012 w 10000"/>
                <a:gd name="connsiteY154" fmla="*/ 3686 h 9986"/>
                <a:gd name="connsiteX155" fmla="*/ 1850 w 10000"/>
                <a:gd name="connsiteY155" fmla="*/ 3840 h 9986"/>
                <a:gd name="connsiteX156" fmla="*/ 1199 w 10000"/>
                <a:gd name="connsiteY156" fmla="*/ 3957 h 9986"/>
                <a:gd name="connsiteX157" fmla="*/ 1158 w 10000"/>
                <a:gd name="connsiteY157" fmla="*/ 4161 h 9986"/>
                <a:gd name="connsiteX158" fmla="*/ 808 w 10000"/>
                <a:gd name="connsiteY158" fmla="*/ 4464 h 9986"/>
                <a:gd name="connsiteX159" fmla="*/ 854 w 10000"/>
                <a:gd name="connsiteY159" fmla="*/ 4904 h 9986"/>
                <a:gd name="connsiteX160" fmla="*/ 560 w 10000"/>
                <a:gd name="connsiteY160" fmla="*/ 5466 h 9986"/>
                <a:gd name="connsiteX161" fmla="*/ 358 w 10000"/>
                <a:gd name="connsiteY161" fmla="*/ 5531 h 9986"/>
                <a:gd name="connsiteX162" fmla="*/ 275 w 10000"/>
                <a:gd name="connsiteY162" fmla="*/ 5397 h 9986"/>
                <a:gd name="connsiteX163" fmla="*/ 174 w 10000"/>
                <a:gd name="connsiteY163" fmla="*/ 5600 h 9986"/>
                <a:gd name="connsiteX164" fmla="*/ 239 w 10000"/>
                <a:gd name="connsiteY164" fmla="*/ 5251 h 9986"/>
                <a:gd name="connsiteX165" fmla="*/ 197 w 10000"/>
                <a:gd name="connsiteY165" fmla="*/ 5186 h 9986"/>
                <a:gd name="connsiteX0" fmla="*/ 197 w 10000"/>
                <a:gd name="connsiteY0" fmla="*/ 5193 h 10000"/>
                <a:gd name="connsiteX1" fmla="*/ 0 w 10000"/>
                <a:gd name="connsiteY1" fmla="*/ 5375 h 10000"/>
                <a:gd name="connsiteX2" fmla="*/ 0 w 10000"/>
                <a:gd name="connsiteY2" fmla="*/ 6269 h 10000"/>
                <a:gd name="connsiteX3" fmla="*/ 109 w 10000"/>
                <a:gd name="connsiteY3" fmla="*/ 6293 h 10000"/>
                <a:gd name="connsiteX4" fmla="*/ 134 w 10000"/>
                <a:gd name="connsiteY4" fmla="*/ 6364 h 10000"/>
                <a:gd name="connsiteX5" fmla="*/ 130 w 10000"/>
                <a:gd name="connsiteY5" fmla="*/ 6485 h 10000"/>
                <a:gd name="connsiteX6" fmla="*/ 89 w 10000"/>
                <a:gd name="connsiteY6" fmla="*/ 6538 h 10000"/>
                <a:gd name="connsiteX7" fmla="*/ 255 w 10000"/>
                <a:gd name="connsiteY7" fmla="*/ 6433 h 10000"/>
                <a:gd name="connsiteX8" fmla="*/ 325 w 10000"/>
                <a:gd name="connsiteY8" fmla="*/ 6334 h 10000"/>
                <a:gd name="connsiteX9" fmla="*/ 413 w 10000"/>
                <a:gd name="connsiteY9" fmla="*/ 6402 h 10000"/>
                <a:gd name="connsiteX10" fmla="*/ 316 w 10000"/>
                <a:gd name="connsiteY10" fmla="*/ 6549 h 10000"/>
                <a:gd name="connsiteX11" fmla="*/ 419 w 10000"/>
                <a:gd name="connsiteY11" fmla="*/ 6553 h 10000"/>
                <a:gd name="connsiteX12" fmla="*/ 469 w 10000"/>
                <a:gd name="connsiteY12" fmla="*/ 6589 h 10000"/>
                <a:gd name="connsiteX13" fmla="*/ 337 w 10000"/>
                <a:gd name="connsiteY13" fmla="*/ 6637 h 10000"/>
                <a:gd name="connsiteX14" fmla="*/ 130 w 10000"/>
                <a:gd name="connsiteY14" fmla="*/ 6788 h 10000"/>
                <a:gd name="connsiteX15" fmla="*/ 497 w 10000"/>
                <a:gd name="connsiteY15" fmla="*/ 6906 h 10000"/>
                <a:gd name="connsiteX16" fmla="*/ 545 w 10000"/>
                <a:gd name="connsiteY16" fmla="*/ 7073 h 10000"/>
                <a:gd name="connsiteX17" fmla="*/ 419 w 10000"/>
                <a:gd name="connsiteY17" fmla="*/ 7320 h 10000"/>
                <a:gd name="connsiteX18" fmla="*/ 688 w 10000"/>
                <a:gd name="connsiteY18" fmla="*/ 7306 h 10000"/>
                <a:gd name="connsiteX19" fmla="*/ 709 w 10000"/>
                <a:gd name="connsiteY19" fmla="*/ 7489 h 10000"/>
                <a:gd name="connsiteX20" fmla="*/ 530 w 10000"/>
                <a:gd name="connsiteY20" fmla="*/ 7621 h 10000"/>
                <a:gd name="connsiteX21" fmla="*/ 560 w 10000"/>
                <a:gd name="connsiteY21" fmla="*/ 7862 h 10000"/>
                <a:gd name="connsiteX22" fmla="*/ 489 w 10000"/>
                <a:gd name="connsiteY22" fmla="*/ 8056 h 10000"/>
                <a:gd name="connsiteX23" fmla="*/ 703 w 10000"/>
                <a:gd name="connsiteY23" fmla="*/ 8074 h 10000"/>
                <a:gd name="connsiteX24" fmla="*/ 909 w 10000"/>
                <a:gd name="connsiteY24" fmla="*/ 8807 h 10000"/>
                <a:gd name="connsiteX25" fmla="*/ 1150 w 10000"/>
                <a:gd name="connsiteY25" fmla="*/ 8989 h 10000"/>
                <a:gd name="connsiteX26" fmla="*/ 1255 w 10000"/>
                <a:gd name="connsiteY26" fmla="*/ 9187 h 10000"/>
                <a:gd name="connsiteX27" fmla="*/ 1514 w 10000"/>
                <a:gd name="connsiteY27" fmla="*/ 9329 h 10000"/>
                <a:gd name="connsiteX28" fmla="*/ 1684 w 10000"/>
                <a:gd name="connsiteY28" fmla="*/ 9513 h 10000"/>
                <a:gd name="connsiteX29" fmla="*/ 1661 w 10000"/>
                <a:gd name="connsiteY29" fmla="*/ 9647 h 10000"/>
                <a:gd name="connsiteX30" fmla="*/ 1496 w 10000"/>
                <a:gd name="connsiteY30" fmla="*/ 9697 h 10000"/>
                <a:gd name="connsiteX31" fmla="*/ 1316 w 10000"/>
                <a:gd name="connsiteY31" fmla="*/ 9663 h 10000"/>
                <a:gd name="connsiteX32" fmla="*/ 1260 w 10000"/>
                <a:gd name="connsiteY32" fmla="*/ 9717 h 10000"/>
                <a:gd name="connsiteX33" fmla="*/ 1397 w 10000"/>
                <a:gd name="connsiteY33" fmla="*/ 10000 h 10000"/>
                <a:gd name="connsiteX34" fmla="*/ 6419 w 10000"/>
                <a:gd name="connsiteY34" fmla="*/ 9402 h 10000"/>
                <a:gd name="connsiteX35" fmla="*/ 6586 w 10000"/>
                <a:gd name="connsiteY35" fmla="*/ 8620 h 10000"/>
                <a:gd name="connsiteX36" fmla="*/ 6855 w 10000"/>
                <a:gd name="connsiteY36" fmla="*/ 8274 h 10000"/>
                <a:gd name="connsiteX37" fmla="*/ 6855 w 10000"/>
                <a:gd name="connsiteY37" fmla="*/ 8089 h 10000"/>
                <a:gd name="connsiteX38" fmla="*/ 6757 w 10000"/>
                <a:gd name="connsiteY38" fmla="*/ 7989 h 10000"/>
                <a:gd name="connsiteX39" fmla="*/ 6915 w 10000"/>
                <a:gd name="connsiteY39" fmla="*/ 7822 h 10000"/>
                <a:gd name="connsiteX40" fmla="*/ 6887 w 10000"/>
                <a:gd name="connsiteY40" fmla="*/ 7687 h 10000"/>
                <a:gd name="connsiteX41" fmla="*/ 6779 w 10000"/>
                <a:gd name="connsiteY41" fmla="*/ 7572 h 10000"/>
                <a:gd name="connsiteX42" fmla="*/ 6757 w 10000"/>
                <a:gd name="connsiteY42" fmla="*/ 7481 h 10000"/>
                <a:gd name="connsiteX43" fmla="*/ 6785 w 10000"/>
                <a:gd name="connsiteY43" fmla="*/ 7415 h 10000"/>
                <a:gd name="connsiteX44" fmla="*/ 6931 w 10000"/>
                <a:gd name="connsiteY44" fmla="*/ 7468 h 10000"/>
                <a:gd name="connsiteX45" fmla="*/ 7045 w 10000"/>
                <a:gd name="connsiteY45" fmla="*/ 7465 h 10000"/>
                <a:gd name="connsiteX46" fmla="*/ 6983 w 10000"/>
                <a:gd name="connsiteY46" fmla="*/ 7355 h 10000"/>
                <a:gd name="connsiteX47" fmla="*/ 7003 w 10000"/>
                <a:gd name="connsiteY47" fmla="*/ 7289 h 10000"/>
                <a:gd name="connsiteX48" fmla="*/ 7089 w 10000"/>
                <a:gd name="connsiteY48" fmla="*/ 7196 h 10000"/>
                <a:gd name="connsiteX49" fmla="*/ 7074 w 10000"/>
                <a:gd name="connsiteY49" fmla="*/ 7118 h 10000"/>
                <a:gd name="connsiteX50" fmla="*/ 7152 w 10000"/>
                <a:gd name="connsiteY50" fmla="*/ 6859 h 10000"/>
                <a:gd name="connsiteX51" fmla="*/ 7130 w 10000"/>
                <a:gd name="connsiteY51" fmla="*/ 6778 h 10000"/>
                <a:gd name="connsiteX52" fmla="*/ 6729 w 10000"/>
                <a:gd name="connsiteY52" fmla="*/ 6579 h 10000"/>
                <a:gd name="connsiteX53" fmla="*/ 6785 w 10000"/>
                <a:gd name="connsiteY53" fmla="*/ 6572 h 10000"/>
                <a:gd name="connsiteX54" fmla="*/ 6998 w 10000"/>
                <a:gd name="connsiteY54" fmla="*/ 6622 h 10000"/>
                <a:gd name="connsiteX55" fmla="*/ 7230 w 10000"/>
                <a:gd name="connsiteY55" fmla="*/ 6603 h 10000"/>
                <a:gd name="connsiteX56" fmla="*/ 7295 w 10000"/>
                <a:gd name="connsiteY56" fmla="*/ 6534 h 10000"/>
                <a:gd name="connsiteX57" fmla="*/ 7074 w 10000"/>
                <a:gd name="connsiteY57" fmla="*/ 6399 h 10000"/>
                <a:gd name="connsiteX58" fmla="*/ 6414 w 10000"/>
                <a:gd name="connsiteY58" fmla="*/ 6310 h 10000"/>
                <a:gd name="connsiteX59" fmla="*/ 6458 w 10000"/>
                <a:gd name="connsiteY59" fmla="*/ 6269 h 10000"/>
                <a:gd name="connsiteX60" fmla="*/ 6998 w 10000"/>
                <a:gd name="connsiteY60" fmla="*/ 6241 h 10000"/>
                <a:gd name="connsiteX61" fmla="*/ 7295 w 10000"/>
                <a:gd name="connsiteY61" fmla="*/ 6322 h 10000"/>
                <a:gd name="connsiteX62" fmla="*/ 7466 w 10000"/>
                <a:gd name="connsiteY62" fmla="*/ 6269 h 10000"/>
                <a:gd name="connsiteX63" fmla="*/ 7529 w 10000"/>
                <a:gd name="connsiteY63" fmla="*/ 6130 h 10000"/>
                <a:gd name="connsiteX64" fmla="*/ 7840 w 10000"/>
                <a:gd name="connsiteY64" fmla="*/ 6130 h 10000"/>
                <a:gd name="connsiteX65" fmla="*/ 8261 w 10000"/>
                <a:gd name="connsiteY65" fmla="*/ 5848 h 10000"/>
                <a:gd name="connsiteX66" fmla="*/ 8275 w 10000"/>
                <a:gd name="connsiteY66" fmla="*/ 5659 h 10000"/>
                <a:gd name="connsiteX67" fmla="*/ 8453 w 10000"/>
                <a:gd name="connsiteY67" fmla="*/ 5702 h 10000"/>
                <a:gd name="connsiteX68" fmla="*/ 8446 w 10000"/>
                <a:gd name="connsiteY68" fmla="*/ 5891 h 10000"/>
                <a:gd name="connsiteX69" fmla="*/ 8727 w 10000"/>
                <a:gd name="connsiteY69" fmla="*/ 5878 h 10000"/>
                <a:gd name="connsiteX70" fmla="*/ 8913 w 10000"/>
                <a:gd name="connsiteY70" fmla="*/ 5682 h 10000"/>
                <a:gd name="connsiteX71" fmla="*/ 9258 w 10000"/>
                <a:gd name="connsiteY71" fmla="*/ 5506 h 10000"/>
                <a:gd name="connsiteX72" fmla="*/ 9203 w 10000"/>
                <a:gd name="connsiteY72" fmla="*/ 5307 h 10000"/>
                <a:gd name="connsiteX73" fmla="*/ 9306 w 10000"/>
                <a:gd name="connsiteY73" fmla="*/ 5387 h 10000"/>
                <a:gd name="connsiteX74" fmla="*/ 9464 w 10000"/>
                <a:gd name="connsiteY74" fmla="*/ 5387 h 10000"/>
                <a:gd name="connsiteX75" fmla="*/ 9464 w 10000"/>
                <a:gd name="connsiteY75" fmla="*/ 5294 h 10000"/>
                <a:gd name="connsiteX76" fmla="*/ 9611 w 10000"/>
                <a:gd name="connsiteY76" fmla="*/ 5226 h 10000"/>
                <a:gd name="connsiteX77" fmla="*/ 9592 w 10000"/>
                <a:gd name="connsiteY77" fmla="*/ 5153 h 10000"/>
                <a:gd name="connsiteX78" fmla="*/ 8350 w 10000"/>
                <a:gd name="connsiteY78" fmla="*/ 5296 h 10000"/>
                <a:gd name="connsiteX79" fmla="*/ 8058 w 10000"/>
                <a:gd name="connsiteY79" fmla="*/ 5256 h 10000"/>
                <a:gd name="connsiteX80" fmla="*/ 7942 w 10000"/>
                <a:gd name="connsiteY80" fmla="*/ 5307 h 10000"/>
                <a:gd name="connsiteX81" fmla="*/ 7903 w 10000"/>
                <a:gd name="connsiteY81" fmla="*/ 5206 h 10000"/>
                <a:gd name="connsiteX82" fmla="*/ 7765 w 10000"/>
                <a:gd name="connsiteY82" fmla="*/ 5118 h 10000"/>
                <a:gd name="connsiteX83" fmla="*/ 7213 w 10000"/>
                <a:gd name="connsiteY83" fmla="*/ 4935 h 10000"/>
                <a:gd name="connsiteX84" fmla="*/ 6887 w 10000"/>
                <a:gd name="connsiteY84" fmla="*/ 4966 h 10000"/>
                <a:gd name="connsiteX85" fmla="*/ 6757 w 10000"/>
                <a:gd name="connsiteY85" fmla="*/ 4914 h 10000"/>
                <a:gd name="connsiteX86" fmla="*/ 6894 w 10000"/>
                <a:gd name="connsiteY86" fmla="*/ 4870 h 10000"/>
                <a:gd name="connsiteX87" fmla="*/ 6998 w 10000"/>
                <a:gd name="connsiteY87" fmla="*/ 4774 h 10000"/>
                <a:gd name="connsiteX88" fmla="*/ 7152 w 10000"/>
                <a:gd name="connsiteY88" fmla="*/ 4804 h 10000"/>
                <a:gd name="connsiteX89" fmla="*/ 7335 w 10000"/>
                <a:gd name="connsiteY89" fmla="*/ 4780 h 10000"/>
                <a:gd name="connsiteX90" fmla="*/ 7611 w 10000"/>
                <a:gd name="connsiteY90" fmla="*/ 4811 h 10000"/>
                <a:gd name="connsiteX91" fmla="*/ 7645 w 10000"/>
                <a:gd name="connsiteY91" fmla="*/ 4798 h 10000"/>
                <a:gd name="connsiteX92" fmla="*/ 7859 w 10000"/>
                <a:gd name="connsiteY92" fmla="*/ 4944 h 10000"/>
                <a:gd name="connsiteX93" fmla="*/ 8017 w 10000"/>
                <a:gd name="connsiteY93" fmla="*/ 4890 h 10000"/>
                <a:gd name="connsiteX94" fmla="*/ 8032 w 10000"/>
                <a:gd name="connsiteY94" fmla="*/ 4840 h 10000"/>
                <a:gd name="connsiteX95" fmla="*/ 8176 w 10000"/>
                <a:gd name="connsiteY95" fmla="*/ 4927 h 10000"/>
                <a:gd name="connsiteX96" fmla="*/ 8369 w 10000"/>
                <a:gd name="connsiteY96" fmla="*/ 4974 h 10000"/>
                <a:gd name="connsiteX97" fmla="*/ 8446 w 10000"/>
                <a:gd name="connsiteY97" fmla="*/ 4888 h 10000"/>
                <a:gd name="connsiteX98" fmla="*/ 8507 w 10000"/>
                <a:gd name="connsiteY98" fmla="*/ 4935 h 10000"/>
                <a:gd name="connsiteX99" fmla="*/ 8596 w 10000"/>
                <a:gd name="connsiteY99" fmla="*/ 5105 h 10000"/>
                <a:gd name="connsiteX100" fmla="*/ 8782 w 10000"/>
                <a:gd name="connsiteY100" fmla="*/ 5143 h 10000"/>
                <a:gd name="connsiteX101" fmla="*/ 9542 w 10000"/>
                <a:gd name="connsiteY101" fmla="*/ 4896 h 10000"/>
                <a:gd name="connsiteX102" fmla="*/ 9914 w 10000"/>
                <a:gd name="connsiteY102" fmla="*/ 4549 h 10000"/>
                <a:gd name="connsiteX103" fmla="*/ 10000 w 10000"/>
                <a:gd name="connsiteY103" fmla="*/ 4301 h 10000"/>
                <a:gd name="connsiteX104" fmla="*/ 9866 w 10000"/>
                <a:gd name="connsiteY104" fmla="*/ 4072 h 10000"/>
                <a:gd name="connsiteX105" fmla="*/ 9582 w 10000"/>
                <a:gd name="connsiteY105" fmla="*/ 3938 h 10000"/>
                <a:gd name="connsiteX106" fmla="*/ 9382 w 10000"/>
                <a:gd name="connsiteY106" fmla="*/ 3712 h 10000"/>
                <a:gd name="connsiteX107" fmla="*/ 9569 w 10000"/>
                <a:gd name="connsiteY107" fmla="*/ 3705 h 10000"/>
                <a:gd name="connsiteX108" fmla="*/ 9555 w 10000"/>
                <a:gd name="connsiteY108" fmla="*/ 3653 h 10000"/>
                <a:gd name="connsiteX109" fmla="*/ 9068 w 10000"/>
                <a:gd name="connsiteY109" fmla="*/ 3498 h 10000"/>
                <a:gd name="connsiteX110" fmla="*/ 9047 w 10000"/>
                <a:gd name="connsiteY110" fmla="*/ 3354 h 10000"/>
                <a:gd name="connsiteX111" fmla="*/ 8953 w 10000"/>
                <a:gd name="connsiteY111" fmla="*/ 3203 h 10000"/>
                <a:gd name="connsiteX112" fmla="*/ 8569 w 10000"/>
                <a:gd name="connsiteY112" fmla="*/ 3231 h 10000"/>
                <a:gd name="connsiteX113" fmla="*/ 8431 w 10000"/>
                <a:gd name="connsiteY113" fmla="*/ 3070 h 10000"/>
                <a:gd name="connsiteX114" fmla="*/ 8350 w 10000"/>
                <a:gd name="connsiteY114" fmla="*/ 3060 h 10000"/>
                <a:gd name="connsiteX115" fmla="*/ 8350 w 10000"/>
                <a:gd name="connsiteY115" fmla="*/ 3132 h 10000"/>
                <a:gd name="connsiteX116" fmla="*/ 8176 w 10000"/>
                <a:gd name="connsiteY116" fmla="*/ 3398 h 10000"/>
                <a:gd name="connsiteX117" fmla="*/ 7990 w 10000"/>
                <a:gd name="connsiteY117" fmla="*/ 3556 h 10000"/>
                <a:gd name="connsiteX118" fmla="*/ 7401 w 10000"/>
                <a:gd name="connsiteY118" fmla="*/ 3823 h 10000"/>
                <a:gd name="connsiteX119" fmla="*/ 7198 w 10000"/>
                <a:gd name="connsiteY119" fmla="*/ 3815 h 10000"/>
                <a:gd name="connsiteX120" fmla="*/ 6915 w 10000"/>
                <a:gd name="connsiteY120" fmla="*/ 3856 h 10000"/>
                <a:gd name="connsiteX121" fmla="*/ 6757 w 10000"/>
                <a:gd name="connsiteY121" fmla="*/ 3815 h 10000"/>
                <a:gd name="connsiteX122" fmla="*/ 6965 w 10000"/>
                <a:gd name="connsiteY122" fmla="*/ 3738 h 10000"/>
                <a:gd name="connsiteX123" fmla="*/ 7235 w 10000"/>
                <a:gd name="connsiteY123" fmla="*/ 3705 h 10000"/>
                <a:gd name="connsiteX124" fmla="*/ 7455 w 10000"/>
                <a:gd name="connsiteY124" fmla="*/ 3581 h 10000"/>
                <a:gd name="connsiteX125" fmla="*/ 7674 w 10000"/>
                <a:gd name="connsiteY125" fmla="*/ 3522 h 10000"/>
                <a:gd name="connsiteX126" fmla="*/ 8082 w 10000"/>
                <a:gd name="connsiteY126" fmla="*/ 3303 h 10000"/>
                <a:gd name="connsiteX127" fmla="*/ 8157 w 10000"/>
                <a:gd name="connsiteY127" fmla="*/ 3159 h 10000"/>
                <a:gd name="connsiteX128" fmla="*/ 8165 w 10000"/>
                <a:gd name="connsiteY128" fmla="*/ 2974 h 10000"/>
                <a:gd name="connsiteX129" fmla="*/ 7978 w 10000"/>
                <a:gd name="connsiteY129" fmla="*/ 2942 h 10000"/>
                <a:gd name="connsiteX130" fmla="*/ 8058 w 10000"/>
                <a:gd name="connsiteY130" fmla="*/ 2829 h 10000"/>
                <a:gd name="connsiteX131" fmla="*/ 8087 w 10000"/>
                <a:gd name="connsiteY131" fmla="*/ 2686 h 10000"/>
                <a:gd name="connsiteX132" fmla="*/ 8007 w 10000"/>
                <a:gd name="connsiteY132" fmla="*/ 2552 h 10000"/>
                <a:gd name="connsiteX133" fmla="*/ 7450 w 10000"/>
                <a:gd name="connsiteY133" fmla="*/ 2736 h 10000"/>
                <a:gd name="connsiteX134" fmla="*/ 6694 w 10000"/>
                <a:gd name="connsiteY134" fmla="*/ 2654 h 10000"/>
                <a:gd name="connsiteX135" fmla="*/ 6304 w 10000"/>
                <a:gd name="connsiteY135" fmla="*/ 2140 h 10000"/>
                <a:gd name="connsiteX136" fmla="*/ 5294 w 10000"/>
                <a:gd name="connsiteY136" fmla="*/ 2043 h 10000"/>
                <a:gd name="connsiteX137" fmla="*/ 4505 w 10000"/>
                <a:gd name="connsiteY137" fmla="*/ 1617 h 10000"/>
                <a:gd name="connsiteX138" fmla="*/ 3730 w 10000"/>
                <a:gd name="connsiteY138" fmla="*/ 1106 h 10000"/>
                <a:gd name="connsiteX139" fmla="*/ 3154 w 10000"/>
                <a:gd name="connsiteY139" fmla="*/ 163 h 10000"/>
                <a:gd name="connsiteX140" fmla="*/ 2375 w 10000"/>
                <a:gd name="connsiteY140" fmla="*/ 0 h 10000"/>
                <a:gd name="connsiteX141" fmla="*/ 2226 w 10000"/>
                <a:gd name="connsiteY141" fmla="*/ 886 h 10000"/>
                <a:gd name="connsiteX142" fmla="*/ 2375 w 10000"/>
                <a:gd name="connsiteY142" fmla="*/ 1111 h 10000"/>
                <a:gd name="connsiteX143" fmla="*/ 2791 w 10000"/>
                <a:gd name="connsiteY143" fmla="*/ 1360 h 10000"/>
                <a:gd name="connsiteX144" fmla="*/ 2808 w 10000"/>
                <a:gd name="connsiteY144" fmla="*/ 1660 h 10000"/>
                <a:gd name="connsiteX145" fmla="*/ 2632 w 10000"/>
                <a:gd name="connsiteY145" fmla="*/ 1913 h 10000"/>
                <a:gd name="connsiteX146" fmla="*/ 2375 w 10000"/>
                <a:gd name="connsiteY146" fmla="*/ 2065 h 10000"/>
                <a:gd name="connsiteX147" fmla="*/ 2039 w 10000"/>
                <a:gd name="connsiteY147" fmla="*/ 2125 h 10000"/>
                <a:gd name="connsiteX148" fmla="*/ 1950 w 10000"/>
                <a:gd name="connsiteY148" fmla="*/ 2215 h 10000"/>
                <a:gd name="connsiteX149" fmla="*/ 2148 w 10000"/>
                <a:gd name="connsiteY149" fmla="*/ 2423 h 10000"/>
                <a:gd name="connsiteX150" fmla="*/ 2261 w 10000"/>
                <a:gd name="connsiteY150" fmla="*/ 2918 h 10000"/>
                <a:gd name="connsiteX151" fmla="*/ 2005 w 10000"/>
                <a:gd name="connsiteY151" fmla="*/ 3343 h 10000"/>
                <a:gd name="connsiteX152" fmla="*/ 2094 w 10000"/>
                <a:gd name="connsiteY152" fmla="*/ 3471 h 10000"/>
                <a:gd name="connsiteX153" fmla="*/ 2012 w 10000"/>
                <a:gd name="connsiteY153" fmla="*/ 3691 h 10000"/>
                <a:gd name="connsiteX154" fmla="*/ 1850 w 10000"/>
                <a:gd name="connsiteY154" fmla="*/ 3845 h 10000"/>
                <a:gd name="connsiteX155" fmla="*/ 1199 w 10000"/>
                <a:gd name="connsiteY155" fmla="*/ 3963 h 10000"/>
                <a:gd name="connsiteX156" fmla="*/ 1158 w 10000"/>
                <a:gd name="connsiteY156" fmla="*/ 4167 h 10000"/>
                <a:gd name="connsiteX157" fmla="*/ 808 w 10000"/>
                <a:gd name="connsiteY157" fmla="*/ 4470 h 10000"/>
                <a:gd name="connsiteX158" fmla="*/ 854 w 10000"/>
                <a:gd name="connsiteY158" fmla="*/ 4911 h 10000"/>
                <a:gd name="connsiteX159" fmla="*/ 560 w 10000"/>
                <a:gd name="connsiteY159" fmla="*/ 5474 h 10000"/>
                <a:gd name="connsiteX160" fmla="*/ 358 w 10000"/>
                <a:gd name="connsiteY160" fmla="*/ 5539 h 10000"/>
                <a:gd name="connsiteX161" fmla="*/ 275 w 10000"/>
                <a:gd name="connsiteY161" fmla="*/ 5405 h 10000"/>
                <a:gd name="connsiteX162" fmla="*/ 174 w 10000"/>
                <a:gd name="connsiteY162" fmla="*/ 5608 h 10000"/>
                <a:gd name="connsiteX163" fmla="*/ 239 w 10000"/>
                <a:gd name="connsiteY163" fmla="*/ 5258 h 10000"/>
                <a:gd name="connsiteX164" fmla="*/ 197 w 10000"/>
                <a:gd name="connsiteY164" fmla="*/ 5193 h 10000"/>
                <a:gd name="connsiteX0" fmla="*/ 197 w 10000"/>
                <a:gd name="connsiteY0" fmla="*/ 5193 h 10003"/>
                <a:gd name="connsiteX1" fmla="*/ 0 w 10000"/>
                <a:gd name="connsiteY1" fmla="*/ 5375 h 10003"/>
                <a:gd name="connsiteX2" fmla="*/ 0 w 10000"/>
                <a:gd name="connsiteY2" fmla="*/ 6269 h 10003"/>
                <a:gd name="connsiteX3" fmla="*/ 109 w 10000"/>
                <a:gd name="connsiteY3" fmla="*/ 6293 h 10003"/>
                <a:gd name="connsiteX4" fmla="*/ 134 w 10000"/>
                <a:gd name="connsiteY4" fmla="*/ 6364 h 10003"/>
                <a:gd name="connsiteX5" fmla="*/ 130 w 10000"/>
                <a:gd name="connsiteY5" fmla="*/ 6485 h 10003"/>
                <a:gd name="connsiteX6" fmla="*/ 89 w 10000"/>
                <a:gd name="connsiteY6" fmla="*/ 6538 h 10003"/>
                <a:gd name="connsiteX7" fmla="*/ 255 w 10000"/>
                <a:gd name="connsiteY7" fmla="*/ 6433 h 10003"/>
                <a:gd name="connsiteX8" fmla="*/ 325 w 10000"/>
                <a:gd name="connsiteY8" fmla="*/ 6334 h 10003"/>
                <a:gd name="connsiteX9" fmla="*/ 413 w 10000"/>
                <a:gd name="connsiteY9" fmla="*/ 6402 h 10003"/>
                <a:gd name="connsiteX10" fmla="*/ 316 w 10000"/>
                <a:gd name="connsiteY10" fmla="*/ 6549 h 10003"/>
                <a:gd name="connsiteX11" fmla="*/ 419 w 10000"/>
                <a:gd name="connsiteY11" fmla="*/ 6553 h 10003"/>
                <a:gd name="connsiteX12" fmla="*/ 469 w 10000"/>
                <a:gd name="connsiteY12" fmla="*/ 6589 h 10003"/>
                <a:gd name="connsiteX13" fmla="*/ 337 w 10000"/>
                <a:gd name="connsiteY13" fmla="*/ 6637 h 10003"/>
                <a:gd name="connsiteX14" fmla="*/ 130 w 10000"/>
                <a:gd name="connsiteY14" fmla="*/ 6788 h 10003"/>
                <a:gd name="connsiteX15" fmla="*/ 497 w 10000"/>
                <a:gd name="connsiteY15" fmla="*/ 6906 h 10003"/>
                <a:gd name="connsiteX16" fmla="*/ 545 w 10000"/>
                <a:gd name="connsiteY16" fmla="*/ 7073 h 10003"/>
                <a:gd name="connsiteX17" fmla="*/ 419 w 10000"/>
                <a:gd name="connsiteY17" fmla="*/ 7320 h 10003"/>
                <a:gd name="connsiteX18" fmla="*/ 688 w 10000"/>
                <a:gd name="connsiteY18" fmla="*/ 7306 h 10003"/>
                <a:gd name="connsiteX19" fmla="*/ 709 w 10000"/>
                <a:gd name="connsiteY19" fmla="*/ 7489 h 10003"/>
                <a:gd name="connsiteX20" fmla="*/ 530 w 10000"/>
                <a:gd name="connsiteY20" fmla="*/ 7621 h 10003"/>
                <a:gd name="connsiteX21" fmla="*/ 560 w 10000"/>
                <a:gd name="connsiteY21" fmla="*/ 7862 h 10003"/>
                <a:gd name="connsiteX22" fmla="*/ 489 w 10000"/>
                <a:gd name="connsiteY22" fmla="*/ 8056 h 10003"/>
                <a:gd name="connsiteX23" fmla="*/ 703 w 10000"/>
                <a:gd name="connsiteY23" fmla="*/ 8074 h 10003"/>
                <a:gd name="connsiteX24" fmla="*/ 909 w 10000"/>
                <a:gd name="connsiteY24" fmla="*/ 8807 h 10003"/>
                <a:gd name="connsiteX25" fmla="*/ 1150 w 10000"/>
                <a:gd name="connsiteY25" fmla="*/ 8989 h 10003"/>
                <a:gd name="connsiteX26" fmla="*/ 1255 w 10000"/>
                <a:gd name="connsiteY26" fmla="*/ 9187 h 10003"/>
                <a:gd name="connsiteX27" fmla="*/ 1514 w 10000"/>
                <a:gd name="connsiteY27" fmla="*/ 9329 h 10003"/>
                <a:gd name="connsiteX28" fmla="*/ 1684 w 10000"/>
                <a:gd name="connsiteY28" fmla="*/ 9513 h 10003"/>
                <a:gd name="connsiteX29" fmla="*/ 1661 w 10000"/>
                <a:gd name="connsiteY29" fmla="*/ 9647 h 10003"/>
                <a:gd name="connsiteX30" fmla="*/ 1496 w 10000"/>
                <a:gd name="connsiteY30" fmla="*/ 9697 h 10003"/>
                <a:gd name="connsiteX31" fmla="*/ 1316 w 10000"/>
                <a:gd name="connsiteY31" fmla="*/ 9663 h 10003"/>
                <a:gd name="connsiteX32" fmla="*/ 1397 w 10000"/>
                <a:gd name="connsiteY32" fmla="*/ 10000 h 10003"/>
                <a:gd name="connsiteX33" fmla="*/ 6419 w 10000"/>
                <a:gd name="connsiteY33" fmla="*/ 9402 h 10003"/>
                <a:gd name="connsiteX34" fmla="*/ 6586 w 10000"/>
                <a:gd name="connsiteY34" fmla="*/ 8620 h 10003"/>
                <a:gd name="connsiteX35" fmla="*/ 6855 w 10000"/>
                <a:gd name="connsiteY35" fmla="*/ 8274 h 10003"/>
                <a:gd name="connsiteX36" fmla="*/ 6855 w 10000"/>
                <a:gd name="connsiteY36" fmla="*/ 8089 h 10003"/>
                <a:gd name="connsiteX37" fmla="*/ 6757 w 10000"/>
                <a:gd name="connsiteY37" fmla="*/ 7989 h 10003"/>
                <a:gd name="connsiteX38" fmla="*/ 6915 w 10000"/>
                <a:gd name="connsiteY38" fmla="*/ 7822 h 10003"/>
                <a:gd name="connsiteX39" fmla="*/ 6887 w 10000"/>
                <a:gd name="connsiteY39" fmla="*/ 7687 h 10003"/>
                <a:gd name="connsiteX40" fmla="*/ 6779 w 10000"/>
                <a:gd name="connsiteY40" fmla="*/ 7572 h 10003"/>
                <a:gd name="connsiteX41" fmla="*/ 6757 w 10000"/>
                <a:gd name="connsiteY41" fmla="*/ 7481 h 10003"/>
                <a:gd name="connsiteX42" fmla="*/ 6785 w 10000"/>
                <a:gd name="connsiteY42" fmla="*/ 7415 h 10003"/>
                <a:gd name="connsiteX43" fmla="*/ 6931 w 10000"/>
                <a:gd name="connsiteY43" fmla="*/ 7468 h 10003"/>
                <a:gd name="connsiteX44" fmla="*/ 7045 w 10000"/>
                <a:gd name="connsiteY44" fmla="*/ 7465 h 10003"/>
                <a:gd name="connsiteX45" fmla="*/ 6983 w 10000"/>
                <a:gd name="connsiteY45" fmla="*/ 7355 h 10003"/>
                <a:gd name="connsiteX46" fmla="*/ 7003 w 10000"/>
                <a:gd name="connsiteY46" fmla="*/ 7289 h 10003"/>
                <a:gd name="connsiteX47" fmla="*/ 7089 w 10000"/>
                <a:gd name="connsiteY47" fmla="*/ 7196 h 10003"/>
                <a:gd name="connsiteX48" fmla="*/ 7074 w 10000"/>
                <a:gd name="connsiteY48" fmla="*/ 7118 h 10003"/>
                <a:gd name="connsiteX49" fmla="*/ 7152 w 10000"/>
                <a:gd name="connsiteY49" fmla="*/ 6859 h 10003"/>
                <a:gd name="connsiteX50" fmla="*/ 7130 w 10000"/>
                <a:gd name="connsiteY50" fmla="*/ 6778 h 10003"/>
                <a:gd name="connsiteX51" fmla="*/ 6729 w 10000"/>
                <a:gd name="connsiteY51" fmla="*/ 6579 h 10003"/>
                <a:gd name="connsiteX52" fmla="*/ 6785 w 10000"/>
                <a:gd name="connsiteY52" fmla="*/ 6572 h 10003"/>
                <a:gd name="connsiteX53" fmla="*/ 6998 w 10000"/>
                <a:gd name="connsiteY53" fmla="*/ 6622 h 10003"/>
                <a:gd name="connsiteX54" fmla="*/ 7230 w 10000"/>
                <a:gd name="connsiteY54" fmla="*/ 6603 h 10003"/>
                <a:gd name="connsiteX55" fmla="*/ 7295 w 10000"/>
                <a:gd name="connsiteY55" fmla="*/ 6534 h 10003"/>
                <a:gd name="connsiteX56" fmla="*/ 7074 w 10000"/>
                <a:gd name="connsiteY56" fmla="*/ 6399 h 10003"/>
                <a:gd name="connsiteX57" fmla="*/ 6414 w 10000"/>
                <a:gd name="connsiteY57" fmla="*/ 6310 h 10003"/>
                <a:gd name="connsiteX58" fmla="*/ 6458 w 10000"/>
                <a:gd name="connsiteY58" fmla="*/ 6269 h 10003"/>
                <a:gd name="connsiteX59" fmla="*/ 6998 w 10000"/>
                <a:gd name="connsiteY59" fmla="*/ 6241 h 10003"/>
                <a:gd name="connsiteX60" fmla="*/ 7295 w 10000"/>
                <a:gd name="connsiteY60" fmla="*/ 6322 h 10003"/>
                <a:gd name="connsiteX61" fmla="*/ 7466 w 10000"/>
                <a:gd name="connsiteY61" fmla="*/ 6269 h 10003"/>
                <a:gd name="connsiteX62" fmla="*/ 7529 w 10000"/>
                <a:gd name="connsiteY62" fmla="*/ 6130 h 10003"/>
                <a:gd name="connsiteX63" fmla="*/ 7840 w 10000"/>
                <a:gd name="connsiteY63" fmla="*/ 6130 h 10003"/>
                <a:gd name="connsiteX64" fmla="*/ 8261 w 10000"/>
                <a:gd name="connsiteY64" fmla="*/ 5848 h 10003"/>
                <a:gd name="connsiteX65" fmla="*/ 8275 w 10000"/>
                <a:gd name="connsiteY65" fmla="*/ 5659 h 10003"/>
                <a:gd name="connsiteX66" fmla="*/ 8453 w 10000"/>
                <a:gd name="connsiteY66" fmla="*/ 5702 h 10003"/>
                <a:gd name="connsiteX67" fmla="*/ 8446 w 10000"/>
                <a:gd name="connsiteY67" fmla="*/ 5891 h 10003"/>
                <a:gd name="connsiteX68" fmla="*/ 8727 w 10000"/>
                <a:gd name="connsiteY68" fmla="*/ 5878 h 10003"/>
                <a:gd name="connsiteX69" fmla="*/ 8913 w 10000"/>
                <a:gd name="connsiteY69" fmla="*/ 5682 h 10003"/>
                <a:gd name="connsiteX70" fmla="*/ 9258 w 10000"/>
                <a:gd name="connsiteY70" fmla="*/ 5506 h 10003"/>
                <a:gd name="connsiteX71" fmla="*/ 9203 w 10000"/>
                <a:gd name="connsiteY71" fmla="*/ 5307 h 10003"/>
                <a:gd name="connsiteX72" fmla="*/ 9306 w 10000"/>
                <a:gd name="connsiteY72" fmla="*/ 5387 h 10003"/>
                <a:gd name="connsiteX73" fmla="*/ 9464 w 10000"/>
                <a:gd name="connsiteY73" fmla="*/ 5387 h 10003"/>
                <a:gd name="connsiteX74" fmla="*/ 9464 w 10000"/>
                <a:gd name="connsiteY74" fmla="*/ 5294 h 10003"/>
                <a:gd name="connsiteX75" fmla="*/ 9611 w 10000"/>
                <a:gd name="connsiteY75" fmla="*/ 5226 h 10003"/>
                <a:gd name="connsiteX76" fmla="*/ 9592 w 10000"/>
                <a:gd name="connsiteY76" fmla="*/ 5153 h 10003"/>
                <a:gd name="connsiteX77" fmla="*/ 8350 w 10000"/>
                <a:gd name="connsiteY77" fmla="*/ 5296 h 10003"/>
                <a:gd name="connsiteX78" fmla="*/ 8058 w 10000"/>
                <a:gd name="connsiteY78" fmla="*/ 5256 h 10003"/>
                <a:gd name="connsiteX79" fmla="*/ 7942 w 10000"/>
                <a:gd name="connsiteY79" fmla="*/ 5307 h 10003"/>
                <a:gd name="connsiteX80" fmla="*/ 7903 w 10000"/>
                <a:gd name="connsiteY80" fmla="*/ 5206 h 10003"/>
                <a:gd name="connsiteX81" fmla="*/ 7765 w 10000"/>
                <a:gd name="connsiteY81" fmla="*/ 5118 h 10003"/>
                <a:gd name="connsiteX82" fmla="*/ 7213 w 10000"/>
                <a:gd name="connsiteY82" fmla="*/ 4935 h 10003"/>
                <a:gd name="connsiteX83" fmla="*/ 6887 w 10000"/>
                <a:gd name="connsiteY83" fmla="*/ 4966 h 10003"/>
                <a:gd name="connsiteX84" fmla="*/ 6757 w 10000"/>
                <a:gd name="connsiteY84" fmla="*/ 4914 h 10003"/>
                <a:gd name="connsiteX85" fmla="*/ 6894 w 10000"/>
                <a:gd name="connsiteY85" fmla="*/ 4870 h 10003"/>
                <a:gd name="connsiteX86" fmla="*/ 6998 w 10000"/>
                <a:gd name="connsiteY86" fmla="*/ 4774 h 10003"/>
                <a:gd name="connsiteX87" fmla="*/ 7152 w 10000"/>
                <a:gd name="connsiteY87" fmla="*/ 4804 h 10003"/>
                <a:gd name="connsiteX88" fmla="*/ 7335 w 10000"/>
                <a:gd name="connsiteY88" fmla="*/ 4780 h 10003"/>
                <a:gd name="connsiteX89" fmla="*/ 7611 w 10000"/>
                <a:gd name="connsiteY89" fmla="*/ 4811 h 10003"/>
                <a:gd name="connsiteX90" fmla="*/ 7645 w 10000"/>
                <a:gd name="connsiteY90" fmla="*/ 4798 h 10003"/>
                <a:gd name="connsiteX91" fmla="*/ 7859 w 10000"/>
                <a:gd name="connsiteY91" fmla="*/ 4944 h 10003"/>
                <a:gd name="connsiteX92" fmla="*/ 8017 w 10000"/>
                <a:gd name="connsiteY92" fmla="*/ 4890 h 10003"/>
                <a:gd name="connsiteX93" fmla="*/ 8032 w 10000"/>
                <a:gd name="connsiteY93" fmla="*/ 4840 h 10003"/>
                <a:gd name="connsiteX94" fmla="*/ 8176 w 10000"/>
                <a:gd name="connsiteY94" fmla="*/ 4927 h 10003"/>
                <a:gd name="connsiteX95" fmla="*/ 8369 w 10000"/>
                <a:gd name="connsiteY95" fmla="*/ 4974 h 10003"/>
                <a:gd name="connsiteX96" fmla="*/ 8446 w 10000"/>
                <a:gd name="connsiteY96" fmla="*/ 4888 h 10003"/>
                <a:gd name="connsiteX97" fmla="*/ 8507 w 10000"/>
                <a:gd name="connsiteY97" fmla="*/ 4935 h 10003"/>
                <a:gd name="connsiteX98" fmla="*/ 8596 w 10000"/>
                <a:gd name="connsiteY98" fmla="*/ 5105 h 10003"/>
                <a:gd name="connsiteX99" fmla="*/ 8782 w 10000"/>
                <a:gd name="connsiteY99" fmla="*/ 5143 h 10003"/>
                <a:gd name="connsiteX100" fmla="*/ 9542 w 10000"/>
                <a:gd name="connsiteY100" fmla="*/ 4896 h 10003"/>
                <a:gd name="connsiteX101" fmla="*/ 9914 w 10000"/>
                <a:gd name="connsiteY101" fmla="*/ 4549 h 10003"/>
                <a:gd name="connsiteX102" fmla="*/ 10000 w 10000"/>
                <a:gd name="connsiteY102" fmla="*/ 4301 h 10003"/>
                <a:gd name="connsiteX103" fmla="*/ 9866 w 10000"/>
                <a:gd name="connsiteY103" fmla="*/ 4072 h 10003"/>
                <a:gd name="connsiteX104" fmla="*/ 9582 w 10000"/>
                <a:gd name="connsiteY104" fmla="*/ 3938 h 10003"/>
                <a:gd name="connsiteX105" fmla="*/ 9382 w 10000"/>
                <a:gd name="connsiteY105" fmla="*/ 3712 h 10003"/>
                <a:gd name="connsiteX106" fmla="*/ 9569 w 10000"/>
                <a:gd name="connsiteY106" fmla="*/ 3705 h 10003"/>
                <a:gd name="connsiteX107" fmla="*/ 9555 w 10000"/>
                <a:gd name="connsiteY107" fmla="*/ 3653 h 10003"/>
                <a:gd name="connsiteX108" fmla="*/ 9068 w 10000"/>
                <a:gd name="connsiteY108" fmla="*/ 3498 h 10003"/>
                <a:gd name="connsiteX109" fmla="*/ 9047 w 10000"/>
                <a:gd name="connsiteY109" fmla="*/ 3354 h 10003"/>
                <a:gd name="connsiteX110" fmla="*/ 8953 w 10000"/>
                <a:gd name="connsiteY110" fmla="*/ 3203 h 10003"/>
                <a:gd name="connsiteX111" fmla="*/ 8569 w 10000"/>
                <a:gd name="connsiteY111" fmla="*/ 3231 h 10003"/>
                <a:gd name="connsiteX112" fmla="*/ 8431 w 10000"/>
                <a:gd name="connsiteY112" fmla="*/ 3070 h 10003"/>
                <a:gd name="connsiteX113" fmla="*/ 8350 w 10000"/>
                <a:gd name="connsiteY113" fmla="*/ 3060 h 10003"/>
                <a:gd name="connsiteX114" fmla="*/ 8350 w 10000"/>
                <a:gd name="connsiteY114" fmla="*/ 3132 h 10003"/>
                <a:gd name="connsiteX115" fmla="*/ 8176 w 10000"/>
                <a:gd name="connsiteY115" fmla="*/ 3398 h 10003"/>
                <a:gd name="connsiteX116" fmla="*/ 7990 w 10000"/>
                <a:gd name="connsiteY116" fmla="*/ 3556 h 10003"/>
                <a:gd name="connsiteX117" fmla="*/ 7401 w 10000"/>
                <a:gd name="connsiteY117" fmla="*/ 3823 h 10003"/>
                <a:gd name="connsiteX118" fmla="*/ 7198 w 10000"/>
                <a:gd name="connsiteY118" fmla="*/ 3815 h 10003"/>
                <a:gd name="connsiteX119" fmla="*/ 6915 w 10000"/>
                <a:gd name="connsiteY119" fmla="*/ 3856 h 10003"/>
                <a:gd name="connsiteX120" fmla="*/ 6757 w 10000"/>
                <a:gd name="connsiteY120" fmla="*/ 3815 h 10003"/>
                <a:gd name="connsiteX121" fmla="*/ 6965 w 10000"/>
                <a:gd name="connsiteY121" fmla="*/ 3738 h 10003"/>
                <a:gd name="connsiteX122" fmla="*/ 7235 w 10000"/>
                <a:gd name="connsiteY122" fmla="*/ 3705 h 10003"/>
                <a:gd name="connsiteX123" fmla="*/ 7455 w 10000"/>
                <a:gd name="connsiteY123" fmla="*/ 3581 h 10003"/>
                <a:gd name="connsiteX124" fmla="*/ 7674 w 10000"/>
                <a:gd name="connsiteY124" fmla="*/ 3522 h 10003"/>
                <a:gd name="connsiteX125" fmla="*/ 8082 w 10000"/>
                <a:gd name="connsiteY125" fmla="*/ 3303 h 10003"/>
                <a:gd name="connsiteX126" fmla="*/ 8157 w 10000"/>
                <a:gd name="connsiteY126" fmla="*/ 3159 h 10003"/>
                <a:gd name="connsiteX127" fmla="*/ 8165 w 10000"/>
                <a:gd name="connsiteY127" fmla="*/ 2974 h 10003"/>
                <a:gd name="connsiteX128" fmla="*/ 7978 w 10000"/>
                <a:gd name="connsiteY128" fmla="*/ 2942 h 10003"/>
                <a:gd name="connsiteX129" fmla="*/ 8058 w 10000"/>
                <a:gd name="connsiteY129" fmla="*/ 2829 h 10003"/>
                <a:gd name="connsiteX130" fmla="*/ 8087 w 10000"/>
                <a:gd name="connsiteY130" fmla="*/ 2686 h 10003"/>
                <a:gd name="connsiteX131" fmla="*/ 8007 w 10000"/>
                <a:gd name="connsiteY131" fmla="*/ 2552 h 10003"/>
                <a:gd name="connsiteX132" fmla="*/ 7450 w 10000"/>
                <a:gd name="connsiteY132" fmla="*/ 2736 h 10003"/>
                <a:gd name="connsiteX133" fmla="*/ 6694 w 10000"/>
                <a:gd name="connsiteY133" fmla="*/ 2654 h 10003"/>
                <a:gd name="connsiteX134" fmla="*/ 6304 w 10000"/>
                <a:gd name="connsiteY134" fmla="*/ 2140 h 10003"/>
                <a:gd name="connsiteX135" fmla="*/ 5294 w 10000"/>
                <a:gd name="connsiteY135" fmla="*/ 2043 h 10003"/>
                <a:gd name="connsiteX136" fmla="*/ 4505 w 10000"/>
                <a:gd name="connsiteY136" fmla="*/ 1617 h 10003"/>
                <a:gd name="connsiteX137" fmla="*/ 3730 w 10000"/>
                <a:gd name="connsiteY137" fmla="*/ 1106 h 10003"/>
                <a:gd name="connsiteX138" fmla="*/ 3154 w 10000"/>
                <a:gd name="connsiteY138" fmla="*/ 163 h 10003"/>
                <a:gd name="connsiteX139" fmla="*/ 2375 w 10000"/>
                <a:gd name="connsiteY139" fmla="*/ 0 h 10003"/>
                <a:gd name="connsiteX140" fmla="*/ 2226 w 10000"/>
                <a:gd name="connsiteY140" fmla="*/ 886 h 10003"/>
                <a:gd name="connsiteX141" fmla="*/ 2375 w 10000"/>
                <a:gd name="connsiteY141" fmla="*/ 1111 h 10003"/>
                <a:gd name="connsiteX142" fmla="*/ 2791 w 10000"/>
                <a:gd name="connsiteY142" fmla="*/ 1360 h 10003"/>
                <a:gd name="connsiteX143" fmla="*/ 2808 w 10000"/>
                <a:gd name="connsiteY143" fmla="*/ 1660 h 10003"/>
                <a:gd name="connsiteX144" fmla="*/ 2632 w 10000"/>
                <a:gd name="connsiteY144" fmla="*/ 1913 h 10003"/>
                <a:gd name="connsiteX145" fmla="*/ 2375 w 10000"/>
                <a:gd name="connsiteY145" fmla="*/ 2065 h 10003"/>
                <a:gd name="connsiteX146" fmla="*/ 2039 w 10000"/>
                <a:gd name="connsiteY146" fmla="*/ 2125 h 10003"/>
                <a:gd name="connsiteX147" fmla="*/ 1950 w 10000"/>
                <a:gd name="connsiteY147" fmla="*/ 2215 h 10003"/>
                <a:gd name="connsiteX148" fmla="*/ 2148 w 10000"/>
                <a:gd name="connsiteY148" fmla="*/ 2423 h 10003"/>
                <a:gd name="connsiteX149" fmla="*/ 2261 w 10000"/>
                <a:gd name="connsiteY149" fmla="*/ 2918 h 10003"/>
                <a:gd name="connsiteX150" fmla="*/ 2005 w 10000"/>
                <a:gd name="connsiteY150" fmla="*/ 3343 h 10003"/>
                <a:gd name="connsiteX151" fmla="*/ 2094 w 10000"/>
                <a:gd name="connsiteY151" fmla="*/ 3471 h 10003"/>
                <a:gd name="connsiteX152" fmla="*/ 2012 w 10000"/>
                <a:gd name="connsiteY152" fmla="*/ 3691 h 10003"/>
                <a:gd name="connsiteX153" fmla="*/ 1850 w 10000"/>
                <a:gd name="connsiteY153" fmla="*/ 3845 h 10003"/>
                <a:gd name="connsiteX154" fmla="*/ 1199 w 10000"/>
                <a:gd name="connsiteY154" fmla="*/ 3963 h 10003"/>
                <a:gd name="connsiteX155" fmla="*/ 1158 w 10000"/>
                <a:gd name="connsiteY155" fmla="*/ 4167 h 10003"/>
                <a:gd name="connsiteX156" fmla="*/ 808 w 10000"/>
                <a:gd name="connsiteY156" fmla="*/ 4470 h 10003"/>
                <a:gd name="connsiteX157" fmla="*/ 854 w 10000"/>
                <a:gd name="connsiteY157" fmla="*/ 4911 h 10003"/>
                <a:gd name="connsiteX158" fmla="*/ 560 w 10000"/>
                <a:gd name="connsiteY158" fmla="*/ 5474 h 10003"/>
                <a:gd name="connsiteX159" fmla="*/ 358 w 10000"/>
                <a:gd name="connsiteY159" fmla="*/ 5539 h 10003"/>
                <a:gd name="connsiteX160" fmla="*/ 275 w 10000"/>
                <a:gd name="connsiteY160" fmla="*/ 5405 h 10003"/>
                <a:gd name="connsiteX161" fmla="*/ 174 w 10000"/>
                <a:gd name="connsiteY161" fmla="*/ 5608 h 10003"/>
                <a:gd name="connsiteX162" fmla="*/ 239 w 10000"/>
                <a:gd name="connsiteY162" fmla="*/ 5258 h 10003"/>
                <a:gd name="connsiteX163" fmla="*/ 197 w 10000"/>
                <a:gd name="connsiteY163" fmla="*/ 5193 h 10003"/>
                <a:gd name="connsiteX0" fmla="*/ 197 w 10000"/>
                <a:gd name="connsiteY0" fmla="*/ 5193 h 10003"/>
                <a:gd name="connsiteX1" fmla="*/ 0 w 10000"/>
                <a:gd name="connsiteY1" fmla="*/ 5375 h 10003"/>
                <a:gd name="connsiteX2" fmla="*/ 0 w 10000"/>
                <a:gd name="connsiteY2" fmla="*/ 6269 h 10003"/>
                <a:gd name="connsiteX3" fmla="*/ 109 w 10000"/>
                <a:gd name="connsiteY3" fmla="*/ 6293 h 10003"/>
                <a:gd name="connsiteX4" fmla="*/ 134 w 10000"/>
                <a:gd name="connsiteY4" fmla="*/ 6364 h 10003"/>
                <a:gd name="connsiteX5" fmla="*/ 130 w 10000"/>
                <a:gd name="connsiteY5" fmla="*/ 6485 h 10003"/>
                <a:gd name="connsiteX6" fmla="*/ 89 w 10000"/>
                <a:gd name="connsiteY6" fmla="*/ 6538 h 10003"/>
                <a:gd name="connsiteX7" fmla="*/ 255 w 10000"/>
                <a:gd name="connsiteY7" fmla="*/ 6433 h 10003"/>
                <a:gd name="connsiteX8" fmla="*/ 325 w 10000"/>
                <a:gd name="connsiteY8" fmla="*/ 6334 h 10003"/>
                <a:gd name="connsiteX9" fmla="*/ 413 w 10000"/>
                <a:gd name="connsiteY9" fmla="*/ 6402 h 10003"/>
                <a:gd name="connsiteX10" fmla="*/ 316 w 10000"/>
                <a:gd name="connsiteY10" fmla="*/ 6549 h 10003"/>
                <a:gd name="connsiteX11" fmla="*/ 419 w 10000"/>
                <a:gd name="connsiteY11" fmla="*/ 6553 h 10003"/>
                <a:gd name="connsiteX12" fmla="*/ 469 w 10000"/>
                <a:gd name="connsiteY12" fmla="*/ 6589 h 10003"/>
                <a:gd name="connsiteX13" fmla="*/ 337 w 10000"/>
                <a:gd name="connsiteY13" fmla="*/ 6637 h 10003"/>
                <a:gd name="connsiteX14" fmla="*/ 130 w 10000"/>
                <a:gd name="connsiteY14" fmla="*/ 6788 h 10003"/>
                <a:gd name="connsiteX15" fmla="*/ 497 w 10000"/>
                <a:gd name="connsiteY15" fmla="*/ 6906 h 10003"/>
                <a:gd name="connsiteX16" fmla="*/ 545 w 10000"/>
                <a:gd name="connsiteY16" fmla="*/ 7073 h 10003"/>
                <a:gd name="connsiteX17" fmla="*/ 419 w 10000"/>
                <a:gd name="connsiteY17" fmla="*/ 7320 h 10003"/>
                <a:gd name="connsiteX18" fmla="*/ 688 w 10000"/>
                <a:gd name="connsiteY18" fmla="*/ 7306 h 10003"/>
                <a:gd name="connsiteX19" fmla="*/ 709 w 10000"/>
                <a:gd name="connsiteY19" fmla="*/ 7489 h 10003"/>
                <a:gd name="connsiteX20" fmla="*/ 530 w 10000"/>
                <a:gd name="connsiteY20" fmla="*/ 7621 h 10003"/>
                <a:gd name="connsiteX21" fmla="*/ 560 w 10000"/>
                <a:gd name="connsiteY21" fmla="*/ 7862 h 10003"/>
                <a:gd name="connsiteX22" fmla="*/ 489 w 10000"/>
                <a:gd name="connsiteY22" fmla="*/ 8056 h 10003"/>
                <a:gd name="connsiteX23" fmla="*/ 703 w 10000"/>
                <a:gd name="connsiteY23" fmla="*/ 8074 h 10003"/>
                <a:gd name="connsiteX24" fmla="*/ 909 w 10000"/>
                <a:gd name="connsiteY24" fmla="*/ 8807 h 10003"/>
                <a:gd name="connsiteX25" fmla="*/ 1150 w 10000"/>
                <a:gd name="connsiteY25" fmla="*/ 8989 h 10003"/>
                <a:gd name="connsiteX26" fmla="*/ 1255 w 10000"/>
                <a:gd name="connsiteY26" fmla="*/ 9187 h 10003"/>
                <a:gd name="connsiteX27" fmla="*/ 1514 w 10000"/>
                <a:gd name="connsiteY27" fmla="*/ 9329 h 10003"/>
                <a:gd name="connsiteX28" fmla="*/ 1684 w 10000"/>
                <a:gd name="connsiteY28" fmla="*/ 9513 h 10003"/>
                <a:gd name="connsiteX29" fmla="*/ 1661 w 10000"/>
                <a:gd name="connsiteY29" fmla="*/ 9647 h 10003"/>
                <a:gd name="connsiteX30" fmla="*/ 1316 w 10000"/>
                <a:gd name="connsiteY30" fmla="*/ 9663 h 10003"/>
                <a:gd name="connsiteX31" fmla="*/ 1397 w 10000"/>
                <a:gd name="connsiteY31" fmla="*/ 10000 h 10003"/>
                <a:gd name="connsiteX32" fmla="*/ 6419 w 10000"/>
                <a:gd name="connsiteY32" fmla="*/ 9402 h 10003"/>
                <a:gd name="connsiteX33" fmla="*/ 6586 w 10000"/>
                <a:gd name="connsiteY33" fmla="*/ 8620 h 10003"/>
                <a:gd name="connsiteX34" fmla="*/ 6855 w 10000"/>
                <a:gd name="connsiteY34" fmla="*/ 8274 h 10003"/>
                <a:gd name="connsiteX35" fmla="*/ 6855 w 10000"/>
                <a:gd name="connsiteY35" fmla="*/ 8089 h 10003"/>
                <a:gd name="connsiteX36" fmla="*/ 6757 w 10000"/>
                <a:gd name="connsiteY36" fmla="*/ 7989 h 10003"/>
                <a:gd name="connsiteX37" fmla="*/ 6915 w 10000"/>
                <a:gd name="connsiteY37" fmla="*/ 7822 h 10003"/>
                <a:gd name="connsiteX38" fmla="*/ 6887 w 10000"/>
                <a:gd name="connsiteY38" fmla="*/ 7687 h 10003"/>
                <a:gd name="connsiteX39" fmla="*/ 6779 w 10000"/>
                <a:gd name="connsiteY39" fmla="*/ 7572 h 10003"/>
                <a:gd name="connsiteX40" fmla="*/ 6757 w 10000"/>
                <a:gd name="connsiteY40" fmla="*/ 7481 h 10003"/>
                <a:gd name="connsiteX41" fmla="*/ 6785 w 10000"/>
                <a:gd name="connsiteY41" fmla="*/ 7415 h 10003"/>
                <a:gd name="connsiteX42" fmla="*/ 6931 w 10000"/>
                <a:gd name="connsiteY42" fmla="*/ 7468 h 10003"/>
                <a:gd name="connsiteX43" fmla="*/ 7045 w 10000"/>
                <a:gd name="connsiteY43" fmla="*/ 7465 h 10003"/>
                <a:gd name="connsiteX44" fmla="*/ 6983 w 10000"/>
                <a:gd name="connsiteY44" fmla="*/ 7355 h 10003"/>
                <a:gd name="connsiteX45" fmla="*/ 7003 w 10000"/>
                <a:gd name="connsiteY45" fmla="*/ 7289 h 10003"/>
                <a:gd name="connsiteX46" fmla="*/ 7089 w 10000"/>
                <a:gd name="connsiteY46" fmla="*/ 7196 h 10003"/>
                <a:gd name="connsiteX47" fmla="*/ 7074 w 10000"/>
                <a:gd name="connsiteY47" fmla="*/ 7118 h 10003"/>
                <a:gd name="connsiteX48" fmla="*/ 7152 w 10000"/>
                <a:gd name="connsiteY48" fmla="*/ 6859 h 10003"/>
                <a:gd name="connsiteX49" fmla="*/ 7130 w 10000"/>
                <a:gd name="connsiteY49" fmla="*/ 6778 h 10003"/>
                <a:gd name="connsiteX50" fmla="*/ 6729 w 10000"/>
                <a:gd name="connsiteY50" fmla="*/ 6579 h 10003"/>
                <a:gd name="connsiteX51" fmla="*/ 6785 w 10000"/>
                <a:gd name="connsiteY51" fmla="*/ 6572 h 10003"/>
                <a:gd name="connsiteX52" fmla="*/ 6998 w 10000"/>
                <a:gd name="connsiteY52" fmla="*/ 6622 h 10003"/>
                <a:gd name="connsiteX53" fmla="*/ 7230 w 10000"/>
                <a:gd name="connsiteY53" fmla="*/ 6603 h 10003"/>
                <a:gd name="connsiteX54" fmla="*/ 7295 w 10000"/>
                <a:gd name="connsiteY54" fmla="*/ 6534 h 10003"/>
                <a:gd name="connsiteX55" fmla="*/ 7074 w 10000"/>
                <a:gd name="connsiteY55" fmla="*/ 6399 h 10003"/>
                <a:gd name="connsiteX56" fmla="*/ 6414 w 10000"/>
                <a:gd name="connsiteY56" fmla="*/ 6310 h 10003"/>
                <a:gd name="connsiteX57" fmla="*/ 6458 w 10000"/>
                <a:gd name="connsiteY57" fmla="*/ 6269 h 10003"/>
                <a:gd name="connsiteX58" fmla="*/ 6998 w 10000"/>
                <a:gd name="connsiteY58" fmla="*/ 6241 h 10003"/>
                <a:gd name="connsiteX59" fmla="*/ 7295 w 10000"/>
                <a:gd name="connsiteY59" fmla="*/ 6322 h 10003"/>
                <a:gd name="connsiteX60" fmla="*/ 7466 w 10000"/>
                <a:gd name="connsiteY60" fmla="*/ 6269 h 10003"/>
                <a:gd name="connsiteX61" fmla="*/ 7529 w 10000"/>
                <a:gd name="connsiteY61" fmla="*/ 6130 h 10003"/>
                <a:gd name="connsiteX62" fmla="*/ 7840 w 10000"/>
                <a:gd name="connsiteY62" fmla="*/ 6130 h 10003"/>
                <a:gd name="connsiteX63" fmla="*/ 8261 w 10000"/>
                <a:gd name="connsiteY63" fmla="*/ 5848 h 10003"/>
                <a:gd name="connsiteX64" fmla="*/ 8275 w 10000"/>
                <a:gd name="connsiteY64" fmla="*/ 5659 h 10003"/>
                <a:gd name="connsiteX65" fmla="*/ 8453 w 10000"/>
                <a:gd name="connsiteY65" fmla="*/ 5702 h 10003"/>
                <a:gd name="connsiteX66" fmla="*/ 8446 w 10000"/>
                <a:gd name="connsiteY66" fmla="*/ 5891 h 10003"/>
                <a:gd name="connsiteX67" fmla="*/ 8727 w 10000"/>
                <a:gd name="connsiteY67" fmla="*/ 5878 h 10003"/>
                <a:gd name="connsiteX68" fmla="*/ 8913 w 10000"/>
                <a:gd name="connsiteY68" fmla="*/ 5682 h 10003"/>
                <a:gd name="connsiteX69" fmla="*/ 9258 w 10000"/>
                <a:gd name="connsiteY69" fmla="*/ 5506 h 10003"/>
                <a:gd name="connsiteX70" fmla="*/ 9203 w 10000"/>
                <a:gd name="connsiteY70" fmla="*/ 5307 h 10003"/>
                <a:gd name="connsiteX71" fmla="*/ 9306 w 10000"/>
                <a:gd name="connsiteY71" fmla="*/ 5387 h 10003"/>
                <a:gd name="connsiteX72" fmla="*/ 9464 w 10000"/>
                <a:gd name="connsiteY72" fmla="*/ 5387 h 10003"/>
                <a:gd name="connsiteX73" fmla="*/ 9464 w 10000"/>
                <a:gd name="connsiteY73" fmla="*/ 5294 h 10003"/>
                <a:gd name="connsiteX74" fmla="*/ 9611 w 10000"/>
                <a:gd name="connsiteY74" fmla="*/ 5226 h 10003"/>
                <a:gd name="connsiteX75" fmla="*/ 9592 w 10000"/>
                <a:gd name="connsiteY75" fmla="*/ 5153 h 10003"/>
                <a:gd name="connsiteX76" fmla="*/ 8350 w 10000"/>
                <a:gd name="connsiteY76" fmla="*/ 5296 h 10003"/>
                <a:gd name="connsiteX77" fmla="*/ 8058 w 10000"/>
                <a:gd name="connsiteY77" fmla="*/ 5256 h 10003"/>
                <a:gd name="connsiteX78" fmla="*/ 7942 w 10000"/>
                <a:gd name="connsiteY78" fmla="*/ 5307 h 10003"/>
                <a:gd name="connsiteX79" fmla="*/ 7903 w 10000"/>
                <a:gd name="connsiteY79" fmla="*/ 5206 h 10003"/>
                <a:gd name="connsiteX80" fmla="*/ 7765 w 10000"/>
                <a:gd name="connsiteY80" fmla="*/ 5118 h 10003"/>
                <a:gd name="connsiteX81" fmla="*/ 7213 w 10000"/>
                <a:gd name="connsiteY81" fmla="*/ 4935 h 10003"/>
                <a:gd name="connsiteX82" fmla="*/ 6887 w 10000"/>
                <a:gd name="connsiteY82" fmla="*/ 4966 h 10003"/>
                <a:gd name="connsiteX83" fmla="*/ 6757 w 10000"/>
                <a:gd name="connsiteY83" fmla="*/ 4914 h 10003"/>
                <a:gd name="connsiteX84" fmla="*/ 6894 w 10000"/>
                <a:gd name="connsiteY84" fmla="*/ 4870 h 10003"/>
                <a:gd name="connsiteX85" fmla="*/ 6998 w 10000"/>
                <a:gd name="connsiteY85" fmla="*/ 4774 h 10003"/>
                <a:gd name="connsiteX86" fmla="*/ 7152 w 10000"/>
                <a:gd name="connsiteY86" fmla="*/ 4804 h 10003"/>
                <a:gd name="connsiteX87" fmla="*/ 7335 w 10000"/>
                <a:gd name="connsiteY87" fmla="*/ 4780 h 10003"/>
                <a:gd name="connsiteX88" fmla="*/ 7611 w 10000"/>
                <a:gd name="connsiteY88" fmla="*/ 4811 h 10003"/>
                <a:gd name="connsiteX89" fmla="*/ 7645 w 10000"/>
                <a:gd name="connsiteY89" fmla="*/ 4798 h 10003"/>
                <a:gd name="connsiteX90" fmla="*/ 7859 w 10000"/>
                <a:gd name="connsiteY90" fmla="*/ 4944 h 10003"/>
                <a:gd name="connsiteX91" fmla="*/ 8017 w 10000"/>
                <a:gd name="connsiteY91" fmla="*/ 4890 h 10003"/>
                <a:gd name="connsiteX92" fmla="*/ 8032 w 10000"/>
                <a:gd name="connsiteY92" fmla="*/ 4840 h 10003"/>
                <a:gd name="connsiteX93" fmla="*/ 8176 w 10000"/>
                <a:gd name="connsiteY93" fmla="*/ 4927 h 10003"/>
                <a:gd name="connsiteX94" fmla="*/ 8369 w 10000"/>
                <a:gd name="connsiteY94" fmla="*/ 4974 h 10003"/>
                <a:gd name="connsiteX95" fmla="*/ 8446 w 10000"/>
                <a:gd name="connsiteY95" fmla="*/ 4888 h 10003"/>
                <a:gd name="connsiteX96" fmla="*/ 8507 w 10000"/>
                <a:gd name="connsiteY96" fmla="*/ 4935 h 10003"/>
                <a:gd name="connsiteX97" fmla="*/ 8596 w 10000"/>
                <a:gd name="connsiteY97" fmla="*/ 5105 h 10003"/>
                <a:gd name="connsiteX98" fmla="*/ 8782 w 10000"/>
                <a:gd name="connsiteY98" fmla="*/ 5143 h 10003"/>
                <a:gd name="connsiteX99" fmla="*/ 9542 w 10000"/>
                <a:gd name="connsiteY99" fmla="*/ 4896 h 10003"/>
                <a:gd name="connsiteX100" fmla="*/ 9914 w 10000"/>
                <a:gd name="connsiteY100" fmla="*/ 4549 h 10003"/>
                <a:gd name="connsiteX101" fmla="*/ 10000 w 10000"/>
                <a:gd name="connsiteY101" fmla="*/ 4301 h 10003"/>
                <a:gd name="connsiteX102" fmla="*/ 9866 w 10000"/>
                <a:gd name="connsiteY102" fmla="*/ 4072 h 10003"/>
                <a:gd name="connsiteX103" fmla="*/ 9582 w 10000"/>
                <a:gd name="connsiteY103" fmla="*/ 3938 h 10003"/>
                <a:gd name="connsiteX104" fmla="*/ 9382 w 10000"/>
                <a:gd name="connsiteY104" fmla="*/ 3712 h 10003"/>
                <a:gd name="connsiteX105" fmla="*/ 9569 w 10000"/>
                <a:gd name="connsiteY105" fmla="*/ 3705 h 10003"/>
                <a:gd name="connsiteX106" fmla="*/ 9555 w 10000"/>
                <a:gd name="connsiteY106" fmla="*/ 3653 h 10003"/>
                <a:gd name="connsiteX107" fmla="*/ 9068 w 10000"/>
                <a:gd name="connsiteY107" fmla="*/ 3498 h 10003"/>
                <a:gd name="connsiteX108" fmla="*/ 9047 w 10000"/>
                <a:gd name="connsiteY108" fmla="*/ 3354 h 10003"/>
                <a:gd name="connsiteX109" fmla="*/ 8953 w 10000"/>
                <a:gd name="connsiteY109" fmla="*/ 3203 h 10003"/>
                <a:gd name="connsiteX110" fmla="*/ 8569 w 10000"/>
                <a:gd name="connsiteY110" fmla="*/ 3231 h 10003"/>
                <a:gd name="connsiteX111" fmla="*/ 8431 w 10000"/>
                <a:gd name="connsiteY111" fmla="*/ 3070 h 10003"/>
                <a:gd name="connsiteX112" fmla="*/ 8350 w 10000"/>
                <a:gd name="connsiteY112" fmla="*/ 3060 h 10003"/>
                <a:gd name="connsiteX113" fmla="*/ 8350 w 10000"/>
                <a:gd name="connsiteY113" fmla="*/ 3132 h 10003"/>
                <a:gd name="connsiteX114" fmla="*/ 8176 w 10000"/>
                <a:gd name="connsiteY114" fmla="*/ 3398 h 10003"/>
                <a:gd name="connsiteX115" fmla="*/ 7990 w 10000"/>
                <a:gd name="connsiteY115" fmla="*/ 3556 h 10003"/>
                <a:gd name="connsiteX116" fmla="*/ 7401 w 10000"/>
                <a:gd name="connsiteY116" fmla="*/ 3823 h 10003"/>
                <a:gd name="connsiteX117" fmla="*/ 7198 w 10000"/>
                <a:gd name="connsiteY117" fmla="*/ 3815 h 10003"/>
                <a:gd name="connsiteX118" fmla="*/ 6915 w 10000"/>
                <a:gd name="connsiteY118" fmla="*/ 3856 h 10003"/>
                <a:gd name="connsiteX119" fmla="*/ 6757 w 10000"/>
                <a:gd name="connsiteY119" fmla="*/ 3815 h 10003"/>
                <a:gd name="connsiteX120" fmla="*/ 6965 w 10000"/>
                <a:gd name="connsiteY120" fmla="*/ 3738 h 10003"/>
                <a:gd name="connsiteX121" fmla="*/ 7235 w 10000"/>
                <a:gd name="connsiteY121" fmla="*/ 3705 h 10003"/>
                <a:gd name="connsiteX122" fmla="*/ 7455 w 10000"/>
                <a:gd name="connsiteY122" fmla="*/ 3581 h 10003"/>
                <a:gd name="connsiteX123" fmla="*/ 7674 w 10000"/>
                <a:gd name="connsiteY123" fmla="*/ 3522 h 10003"/>
                <a:gd name="connsiteX124" fmla="*/ 8082 w 10000"/>
                <a:gd name="connsiteY124" fmla="*/ 3303 h 10003"/>
                <a:gd name="connsiteX125" fmla="*/ 8157 w 10000"/>
                <a:gd name="connsiteY125" fmla="*/ 3159 h 10003"/>
                <a:gd name="connsiteX126" fmla="*/ 8165 w 10000"/>
                <a:gd name="connsiteY126" fmla="*/ 2974 h 10003"/>
                <a:gd name="connsiteX127" fmla="*/ 7978 w 10000"/>
                <a:gd name="connsiteY127" fmla="*/ 2942 h 10003"/>
                <a:gd name="connsiteX128" fmla="*/ 8058 w 10000"/>
                <a:gd name="connsiteY128" fmla="*/ 2829 h 10003"/>
                <a:gd name="connsiteX129" fmla="*/ 8087 w 10000"/>
                <a:gd name="connsiteY129" fmla="*/ 2686 h 10003"/>
                <a:gd name="connsiteX130" fmla="*/ 8007 w 10000"/>
                <a:gd name="connsiteY130" fmla="*/ 2552 h 10003"/>
                <a:gd name="connsiteX131" fmla="*/ 7450 w 10000"/>
                <a:gd name="connsiteY131" fmla="*/ 2736 h 10003"/>
                <a:gd name="connsiteX132" fmla="*/ 6694 w 10000"/>
                <a:gd name="connsiteY132" fmla="*/ 2654 h 10003"/>
                <a:gd name="connsiteX133" fmla="*/ 6304 w 10000"/>
                <a:gd name="connsiteY133" fmla="*/ 2140 h 10003"/>
                <a:gd name="connsiteX134" fmla="*/ 5294 w 10000"/>
                <a:gd name="connsiteY134" fmla="*/ 2043 h 10003"/>
                <a:gd name="connsiteX135" fmla="*/ 4505 w 10000"/>
                <a:gd name="connsiteY135" fmla="*/ 1617 h 10003"/>
                <a:gd name="connsiteX136" fmla="*/ 3730 w 10000"/>
                <a:gd name="connsiteY136" fmla="*/ 1106 h 10003"/>
                <a:gd name="connsiteX137" fmla="*/ 3154 w 10000"/>
                <a:gd name="connsiteY137" fmla="*/ 163 h 10003"/>
                <a:gd name="connsiteX138" fmla="*/ 2375 w 10000"/>
                <a:gd name="connsiteY138" fmla="*/ 0 h 10003"/>
                <a:gd name="connsiteX139" fmla="*/ 2226 w 10000"/>
                <a:gd name="connsiteY139" fmla="*/ 886 h 10003"/>
                <a:gd name="connsiteX140" fmla="*/ 2375 w 10000"/>
                <a:gd name="connsiteY140" fmla="*/ 1111 h 10003"/>
                <a:gd name="connsiteX141" fmla="*/ 2791 w 10000"/>
                <a:gd name="connsiteY141" fmla="*/ 1360 h 10003"/>
                <a:gd name="connsiteX142" fmla="*/ 2808 w 10000"/>
                <a:gd name="connsiteY142" fmla="*/ 1660 h 10003"/>
                <a:gd name="connsiteX143" fmla="*/ 2632 w 10000"/>
                <a:gd name="connsiteY143" fmla="*/ 1913 h 10003"/>
                <a:gd name="connsiteX144" fmla="*/ 2375 w 10000"/>
                <a:gd name="connsiteY144" fmla="*/ 2065 h 10003"/>
                <a:gd name="connsiteX145" fmla="*/ 2039 w 10000"/>
                <a:gd name="connsiteY145" fmla="*/ 2125 h 10003"/>
                <a:gd name="connsiteX146" fmla="*/ 1950 w 10000"/>
                <a:gd name="connsiteY146" fmla="*/ 2215 h 10003"/>
                <a:gd name="connsiteX147" fmla="*/ 2148 w 10000"/>
                <a:gd name="connsiteY147" fmla="*/ 2423 h 10003"/>
                <a:gd name="connsiteX148" fmla="*/ 2261 w 10000"/>
                <a:gd name="connsiteY148" fmla="*/ 2918 h 10003"/>
                <a:gd name="connsiteX149" fmla="*/ 2005 w 10000"/>
                <a:gd name="connsiteY149" fmla="*/ 3343 h 10003"/>
                <a:gd name="connsiteX150" fmla="*/ 2094 w 10000"/>
                <a:gd name="connsiteY150" fmla="*/ 3471 h 10003"/>
                <a:gd name="connsiteX151" fmla="*/ 2012 w 10000"/>
                <a:gd name="connsiteY151" fmla="*/ 3691 h 10003"/>
                <a:gd name="connsiteX152" fmla="*/ 1850 w 10000"/>
                <a:gd name="connsiteY152" fmla="*/ 3845 h 10003"/>
                <a:gd name="connsiteX153" fmla="*/ 1199 w 10000"/>
                <a:gd name="connsiteY153" fmla="*/ 3963 h 10003"/>
                <a:gd name="connsiteX154" fmla="*/ 1158 w 10000"/>
                <a:gd name="connsiteY154" fmla="*/ 4167 h 10003"/>
                <a:gd name="connsiteX155" fmla="*/ 808 w 10000"/>
                <a:gd name="connsiteY155" fmla="*/ 4470 h 10003"/>
                <a:gd name="connsiteX156" fmla="*/ 854 w 10000"/>
                <a:gd name="connsiteY156" fmla="*/ 4911 h 10003"/>
                <a:gd name="connsiteX157" fmla="*/ 560 w 10000"/>
                <a:gd name="connsiteY157" fmla="*/ 5474 h 10003"/>
                <a:gd name="connsiteX158" fmla="*/ 358 w 10000"/>
                <a:gd name="connsiteY158" fmla="*/ 5539 h 10003"/>
                <a:gd name="connsiteX159" fmla="*/ 275 w 10000"/>
                <a:gd name="connsiteY159" fmla="*/ 5405 h 10003"/>
                <a:gd name="connsiteX160" fmla="*/ 174 w 10000"/>
                <a:gd name="connsiteY160" fmla="*/ 5608 h 10003"/>
                <a:gd name="connsiteX161" fmla="*/ 239 w 10000"/>
                <a:gd name="connsiteY161" fmla="*/ 5258 h 10003"/>
                <a:gd name="connsiteX162" fmla="*/ 197 w 10000"/>
                <a:gd name="connsiteY162" fmla="*/ 5193 h 10003"/>
                <a:gd name="connsiteX0" fmla="*/ 197 w 10000"/>
                <a:gd name="connsiteY0" fmla="*/ 5193 h 10003"/>
                <a:gd name="connsiteX1" fmla="*/ 0 w 10000"/>
                <a:gd name="connsiteY1" fmla="*/ 5375 h 10003"/>
                <a:gd name="connsiteX2" fmla="*/ 0 w 10000"/>
                <a:gd name="connsiteY2" fmla="*/ 6269 h 10003"/>
                <a:gd name="connsiteX3" fmla="*/ 109 w 10000"/>
                <a:gd name="connsiteY3" fmla="*/ 6293 h 10003"/>
                <a:gd name="connsiteX4" fmla="*/ 134 w 10000"/>
                <a:gd name="connsiteY4" fmla="*/ 6364 h 10003"/>
                <a:gd name="connsiteX5" fmla="*/ 130 w 10000"/>
                <a:gd name="connsiteY5" fmla="*/ 6485 h 10003"/>
                <a:gd name="connsiteX6" fmla="*/ 89 w 10000"/>
                <a:gd name="connsiteY6" fmla="*/ 6538 h 10003"/>
                <a:gd name="connsiteX7" fmla="*/ 255 w 10000"/>
                <a:gd name="connsiteY7" fmla="*/ 6433 h 10003"/>
                <a:gd name="connsiteX8" fmla="*/ 325 w 10000"/>
                <a:gd name="connsiteY8" fmla="*/ 6334 h 10003"/>
                <a:gd name="connsiteX9" fmla="*/ 413 w 10000"/>
                <a:gd name="connsiteY9" fmla="*/ 6402 h 10003"/>
                <a:gd name="connsiteX10" fmla="*/ 316 w 10000"/>
                <a:gd name="connsiteY10" fmla="*/ 6549 h 10003"/>
                <a:gd name="connsiteX11" fmla="*/ 419 w 10000"/>
                <a:gd name="connsiteY11" fmla="*/ 6553 h 10003"/>
                <a:gd name="connsiteX12" fmla="*/ 469 w 10000"/>
                <a:gd name="connsiteY12" fmla="*/ 6589 h 10003"/>
                <a:gd name="connsiteX13" fmla="*/ 337 w 10000"/>
                <a:gd name="connsiteY13" fmla="*/ 6637 h 10003"/>
                <a:gd name="connsiteX14" fmla="*/ 130 w 10000"/>
                <a:gd name="connsiteY14" fmla="*/ 6788 h 10003"/>
                <a:gd name="connsiteX15" fmla="*/ 497 w 10000"/>
                <a:gd name="connsiteY15" fmla="*/ 6906 h 10003"/>
                <a:gd name="connsiteX16" fmla="*/ 545 w 10000"/>
                <a:gd name="connsiteY16" fmla="*/ 7073 h 10003"/>
                <a:gd name="connsiteX17" fmla="*/ 419 w 10000"/>
                <a:gd name="connsiteY17" fmla="*/ 7320 h 10003"/>
                <a:gd name="connsiteX18" fmla="*/ 688 w 10000"/>
                <a:gd name="connsiteY18" fmla="*/ 7306 h 10003"/>
                <a:gd name="connsiteX19" fmla="*/ 709 w 10000"/>
                <a:gd name="connsiteY19" fmla="*/ 7489 h 10003"/>
                <a:gd name="connsiteX20" fmla="*/ 530 w 10000"/>
                <a:gd name="connsiteY20" fmla="*/ 7621 h 10003"/>
                <a:gd name="connsiteX21" fmla="*/ 560 w 10000"/>
                <a:gd name="connsiteY21" fmla="*/ 7862 h 10003"/>
                <a:gd name="connsiteX22" fmla="*/ 489 w 10000"/>
                <a:gd name="connsiteY22" fmla="*/ 8056 h 10003"/>
                <a:gd name="connsiteX23" fmla="*/ 703 w 10000"/>
                <a:gd name="connsiteY23" fmla="*/ 8074 h 10003"/>
                <a:gd name="connsiteX24" fmla="*/ 909 w 10000"/>
                <a:gd name="connsiteY24" fmla="*/ 8807 h 10003"/>
                <a:gd name="connsiteX25" fmla="*/ 1150 w 10000"/>
                <a:gd name="connsiteY25" fmla="*/ 8989 h 10003"/>
                <a:gd name="connsiteX26" fmla="*/ 1255 w 10000"/>
                <a:gd name="connsiteY26" fmla="*/ 9187 h 10003"/>
                <a:gd name="connsiteX27" fmla="*/ 1514 w 10000"/>
                <a:gd name="connsiteY27" fmla="*/ 9329 h 10003"/>
                <a:gd name="connsiteX28" fmla="*/ 1684 w 10000"/>
                <a:gd name="connsiteY28" fmla="*/ 9513 h 10003"/>
                <a:gd name="connsiteX29" fmla="*/ 1316 w 10000"/>
                <a:gd name="connsiteY29" fmla="*/ 9663 h 10003"/>
                <a:gd name="connsiteX30" fmla="*/ 1397 w 10000"/>
                <a:gd name="connsiteY30" fmla="*/ 10000 h 10003"/>
                <a:gd name="connsiteX31" fmla="*/ 6419 w 10000"/>
                <a:gd name="connsiteY31" fmla="*/ 9402 h 10003"/>
                <a:gd name="connsiteX32" fmla="*/ 6586 w 10000"/>
                <a:gd name="connsiteY32" fmla="*/ 8620 h 10003"/>
                <a:gd name="connsiteX33" fmla="*/ 6855 w 10000"/>
                <a:gd name="connsiteY33" fmla="*/ 8274 h 10003"/>
                <a:gd name="connsiteX34" fmla="*/ 6855 w 10000"/>
                <a:gd name="connsiteY34" fmla="*/ 8089 h 10003"/>
                <a:gd name="connsiteX35" fmla="*/ 6757 w 10000"/>
                <a:gd name="connsiteY35" fmla="*/ 7989 h 10003"/>
                <a:gd name="connsiteX36" fmla="*/ 6915 w 10000"/>
                <a:gd name="connsiteY36" fmla="*/ 7822 h 10003"/>
                <a:gd name="connsiteX37" fmla="*/ 6887 w 10000"/>
                <a:gd name="connsiteY37" fmla="*/ 7687 h 10003"/>
                <a:gd name="connsiteX38" fmla="*/ 6779 w 10000"/>
                <a:gd name="connsiteY38" fmla="*/ 7572 h 10003"/>
                <a:gd name="connsiteX39" fmla="*/ 6757 w 10000"/>
                <a:gd name="connsiteY39" fmla="*/ 7481 h 10003"/>
                <a:gd name="connsiteX40" fmla="*/ 6785 w 10000"/>
                <a:gd name="connsiteY40" fmla="*/ 7415 h 10003"/>
                <a:gd name="connsiteX41" fmla="*/ 6931 w 10000"/>
                <a:gd name="connsiteY41" fmla="*/ 7468 h 10003"/>
                <a:gd name="connsiteX42" fmla="*/ 7045 w 10000"/>
                <a:gd name="connsiteY42" fmla="*/ 7465 h 10003"/>
                <a:gd name="connsiteX43" fmla="*/ 6983 w 10000"/>
                <a:gd name="connsiteY43" fmla="*/ 7355 h 10003"/>
                <a:gd name="connsiteX44" fmla="*/ 7003 w 10000"/>
                <a:gd name="connsiteY44" fmla="*/ 7289 h 10003"/>
                <a:gd name="connsiteX45" fmla="*/ 7089 w 10000"/>
                <a:gd name="connsiteY45" fmla="*/ 7196 h 10003"/>
                <a:gd name="connsiteX46" fmla="*/ 7074 w 10000"/>
                <a:gd name="connsiteY46" fmla="*/ 7118 h 10003"/>
                <a:gd name="connsiteX47" fmla="*/ 7152 w 10000"/>
                <a:gd name="connsiteY47" fmla="*/ 6859 h 10003"/>
                <a:gd name="connsiteX48" fmla="*/ 7130 w 10000"/>
                <a:gd name="connsiteY48" fmla="*/ 6778 h 10003"/>
                <a:gd name="connsiteX49" fmla="*/ 6729 w 10000"/>
                <a:gd name="connsiteY49" fmla="*/ 6579 h 10003"/>
                <a:gd name="connsiteX50" fmla="*/ 6785 w 10000"/>
                <a:gd name="connsiteY50" fmla="*/ 6572 h 10003"/>
                <a:gd name="connsiteX51" fmla="*/ 6998 w 10000"/>
                <a:gd name="connsiteY51" fmla="*/ 6622 h 10003"/>
                <a:gd name="connsiteX52" fmla="*/ 7230 w 10000"/>
                <a:gd name="connsiteY52" fmla="*/ 6603 h 10003"/>
                <a:gd name="connsiteX53" fmla="*/ 7295 w 10000"/>
                <a:gd name="connsiteY53" fmla="*/ 6534 h 10003"/>
                <a:gd name="connsiteX54" fmla="*/ 7074 w 10000"/>
                <a:gd name="connsiteY54" fmla="*/ 6399 h 10003"/>
                <a:gd name="connsiteX55" fmla="*/ 6414 w 10000"/>
                <a:gd name="connsiteY55" fmla="*/ 6310 h 10003"/>
                <a:gd name="connsiteX56" fmla="*/ 6458 w 10000"/>
                <a:gd name="connsiteY56" fmla="*/ 6269 h 10003"/>
                <a:gd name="connsiteX57" fmla="*/ 6998 w 10000"/>
                <a:gd name="connsiteY57" fmla="*/ 6241 h 10003"/>
                <a:gd name="connsiteX58" fmla="*/ 7295 w 10000"/>
                <a:gd name="connsiteY58" fmla="*/ 6322 h 10003"/>
                <a:gd name="connsiteX59" fmla="*/ 7466 w 10000"/>
                <a:gd name="connsiteY59" fmla="*/ 6269 h 10003"/>
                <a:gd name="connsiteX60" fmla="*/ 7529 w 10000"/>
                <a:gd name="connsiteY60" fmla="*/ 6130 h 10003"/>
                <a:gd name="connsiteX61" fmla="*/ 7840 w 10000"/>
                <a:gd name="connsiteY61" fmla="*/ 6130 h 10003"/>
                <a:gd name="connsiteX62" fmla="*/ 8261 w 10000"/>
                <a:gd name="connsiteY62" fmla="*/ 5848 h 10003"/>
                <a:gd name="connsiteX63" fmla="*/ 8275 w 10000"/>
                <a:gd name="connsiteY63" fmla="*/ 5659 h 10003"/>
                <a:gd name="connsiteX64" fmla="*/ 8453 w 10000"/>
                <a:gd name="connsiteY64" fmla="*/ 5702 h 10003"/>
                <a:gd name="connsiteX65" fmla="*/ 8446 w 10000"/>
                <a:gd name="connsiteY65" fmla="*/ 5891 h 10003"/>
                <a:gd name="connsiteX66" fmla="*/ 8727 w 10000"/>
                <a:gd name="connsiteY66" fmla="*/ 5878 h 10003"/>
                <a:gd name="connsiteX67" fmla="*/ 8913 w 10000"/>
                <a:gd name="connsiteY67" fmla="*/ 5682 h 10003"/>
                <a:gd name="connsiteX68" fmla="*/ 9258 w 10000"/>
                <a:gd name="connsiteY68" fmla="*/ 5506 h 10003"/>
                <a:gd name="connsiteX69" fmla="*/ 9203 w 10000"/>
                <a:gd name="connsiteY69" fmla="*/ 5307 h 10003"/>
                <a:gd name="connsiteX70" fmla="*/ 9306 w 10000"/>
                <a:gd name="connsiteY70" fmla="*/ 5387 h 10003"/>
                <a:gd name="connsiteX71" fmla="*/ 9464 w 10000"/>
                <a:gd name="connsiteY71" fmla="*/ 5387 h 10003"/>
                <a:gd name="connsiteX72" fmla="*/ 9464 w 10000"/>
                <a:gd name="connsiteY72" fmla="*/ 5294 h 10003"/>
                <a:gd name="connsiteX73" fmla="*/ 9611 w 10000"/>
                <a:gd name="connsiteY73" fmla="*/ 5226 h 10003"/>
                <a:gd name="connsiteX74" fmla="*/ 9592 w 10000"/>
                <a:gd name="connsiteY74" fmla="*/ 5153 h 10003"/>
                <a:gd name="connsiteX75" fmla="*/ 8350 w 10000"/>
                <a:gd name="connsiteY75" fmla="*/ 5296 h 10003"/>
                <a:gd name="connsiteX76" fmla="*/ 8058 w 10000"/>
                <a:gd name="connsiteY76" fmla="*/ 5256 h 10003"/>
                <a:gd name="connsiteX77" fmla="*/ 7942 w 10000"/>
                <a:gd name="connsiteY77" fmla="*/ 5307 h 10003"/>
                <a:gd name="connsiteX78" fmla="*/ 7903 w 10000"/>
                <a:gd name="connsiteY78" fmla="*/ 5206 h 10003"/>
                <a:gd name="connsiteX79" fmla="*/ 7765 w 10000"/>
                <a:gd name="connsiteY79" fmla="*/ 5118 h 10003"/>
                <a:gd name="connsiteX80" fmla="*/ 7213 w 10000"/>
                <a:gd name="connsiteY80" fmla="*/ 4935 h 10003"/>
                <a:gd name="connsiteX81" fmla="*/ 6887 w 10000"/>
                <a:gd name="connsiteY81" fmla="*/ 4966 h 10003"/>
                <a:gd name="connsiteX82" fmla="*/ 6757 w 10000"/>
                <a:gd name="connsiteY82" fmla="*/ 4914 h 10003"/>
                <a:gd name="connsiteX83" fmla="*/ 6894 w 10000"/>
                <a:gd name="connsiteY83" fmla="*/ 4870 h 10003"/>
                <a:gd name="connsiteX84" fmla="*/ 6998 w 10000"/>
                <a:gd name="connsiteY84" fmla="*/ 4774 h 10003"/>
                <a:gd name="connsiteX85" fmla="*/ 7152 w 10000"/>
                <a:gd name="connsiteY85" fmla="*/ 4804 h 10003"/>
                <a:gd name="connsiteX86" fmla="*/ 7335 w 10000"/>
                <a:gd name="connsiteY86" fmla="*/ 4780 h 10003"/>
                <a:gd name="connsiteX87" fmla="*/ 7611 w 10000"/>
                <a:gd name="connsiteY87" fmla="*/ 4811 h 10003"/>
                <a:gd name="connsiteX88" fmla="*/ 7645 w 10000"/>
                <a:gd name="connsiteY88" fmla="*/ 4798 h 10003"/>
                <a:gd name="connsiteX89" fmla="*/ 7859 w 10000"/>
                <a:gd name="connsiteY89" fmla="*/ 4944 h 10003"/>
                <a:gd name="connsiteX90" fmla="*/ 8017 w 10000"/>
                <a:gd name="connsiteY90" fmla="*/ 4890 h 10003"/>
                <a:gd name="connsiteX91" fmla="*/ 8032 w 10000"/>
                <a:gd name="connsiteY91" fmla="*/ 4840 h 10003"/>
                <a:gd name="connsiteX92" fmla="*/ 8176 w 10000"/>
                <a:gd name="connsiteY92" fmla="*/ 4927 h 10003"/>
                <a:gd name="connsiteX93" fmla="*/ 8369 w 10000"/>
                <a:gd name="connsiteY93" fmla="*/ 4974 h 10003"/>
                <a:gd name="connsiteX94" fmla="*/ 8446 w 10000"/>
                <a:gd name="connsiteY94" fmla="*/ 4888 h 10003"/>
                <a:gd name="connsiteX95" fmla="*/ 8507 w 10000"/>
                <a:gd name="connsiteY95" fmla="*/ 4935 h 10003"/>
                <a:gd name="connsiteX96" fmla="*/ 8596 w 10000"/>
                <a:gd name="connsiteY96" fmla="*/ 5105 h 10003"/>
                <a:gd name="connsiteX97" fmla="*/ 8782 w 10000"/>
                <a:gd name="connsiteY97" fmla="*/ 5143 h 10003"/>
                <a:gd name="connsiteX98" fmla="*/ 9542 w 10000"/>
                <a:gd name="connsiteY98" fmla="*/ 4896 h 10003"/>
                <a:gd name="connsiteX99" fmla="*/ 9914 w 10000"/>
                <a:gd name="connsiteY99" fmla="*/ 4549 h 10003"/>
                <a:gd name="connsiteX100" fmla="*/ 10000 w 10000"/>
                <a:gd name="connsiteY100" fmla="*/ 4301 h 10003"/>
                <a:gd name="connsiteX101" fmla="*/ 9866 w 10000"/>
                <a:gd name="connsiteY101" fmla="*/ 4072 h 10003"/>
                <a:gd name="connsiteX102" fmla="*/ 9582 w 10000"/>
                <a:gd name="connsiteY102" fmla="*/ 3938 h 10003"/>
                <a:gd name="connsiteX103" fmla="*/ 9382 w 10000"/>
                <a:gd name="connsiteY103" fmla="*/ 3712 h 10003"/>
                <a:gd name="connsiteX104" fmla="*/ 9569 w 10000"/>
                <a:gd name="connsiteY104" fmla="*/ 3705 h 10003"/>
                <a:gd name="connsiteX105" fmla="*/ 9555 w 10000"/>
                <a:gd name="connsiteY105" fmla="*/ 3653 h 10003"/>
                <a:gd name="connsiteX106" fmla="*/ 9068 w 10000"/>
                <a:gd name="connsiteY106" fmla="*/ 3498 h 10003"/>
                <a:gd name="connsiteX107" fmla="*/ 9047 w 10000"/>
                <a:gd name="connsiteY107" fmla="*/ 3354 h 10003"/>
                <a:gd name="connsiteX108" fmla="*/ 8953 w 10000"/>
                <a:gd name="connsiteY108" fmla="*/ 3203 h 10003"/>
                <a:gd name="connsiteX109" fmla="*/ 8569 w 10000"/>
                <a:gd name="connsiteY109" fmla="*/ 3231 h 10003"/>
                <a:gd name="connsiteX110" fmla="*/ 8431 w 10000"/>
                <a:gd name="connsiteY110" fmla="*/ 3070 h 10003"/>
                <a:gd name="connsiteX111" fmla="*/ 8350 w 10000"/>
                <a:gd name="connsiteY111" fmla="*/ 3060 h 10003"/>
                <a:gd name="connsiteX112" fmla="*/ 8350 w 10000"/>
                <a:gd name="connsiteY112" fmla="*/ 3132 h 10003"/>
                <a:gd name="connsiteX113" fmla="*/ 8176 w 10000"/>
                <a:gd name="connsiteY113" fmla="*/ 3398 h 10003"/>
                <a:gd name="connsiteX114" fmla="*/ 7990 w 10000"/>
                <a:gd name="connsiteY114" fmla="*/ 3556 h 10003"/>
                <a:gd name="connsiteX115" fmla="*/ 7401 w 10000"/>
                <a:gd name="connsiteY115" fmla="*/ 3823 h 10003"/>
                <a:gd name="connsiteX116" fmla="*/ 7198 w 10000"/>
                <a:gd name="connsiteY116" fmla="*/ 3815 h 10003"/>
                <a:gd name="connsiteX117" fmla="*/ 6915 w 10000"/>
                <a:gd name="connsiteY117" fmla="*/ 3856 h 10003"/>
                <a:gd name="connsiteX118" fmla="*/ 6757 w 10000"/>
                <a:gd name="connsiteY118" fmla="*/ 3815 h 10003"/>
                <a:gd name="connsiteX119" fmla="*/ 6965 w 10000"/>
                <a:gd name="connsiteY119" fmla="*/ 3738 h 10003"/>
                <a:gd name="connsiteX120" fmla="*/ 7235 w 10000"/>
                <a:gd name="connsiteY120" fmla="*/ 3705 h 10003"/>
                <a:gd name="connsiteX121" fmla="*/ 7455 w 10000"/>
                <a:gd name="connsiteY121" fmla="*/ 3581 h 10003"/>
                <a:gd name="connsiteX122" fmla="*/ 7674 w 10000"/>
                <a:gd name="connsiteY122" fmla="*/ 3522 h 10003"/>
                <a:gd name="connsiteX123" fmla="*/ 8082 w 10000"/>
                <a:gd name="connsiteY123" fmla="*/ 3303 h 10003"/>
                <a:gd name="connsiteX124" fmla="*/ 8157 w 10000"/>
                <a:gd name="connsiteY124" fmla="*/ 3159 h 10003"/>
                <a:gd name="connsiteX125" fmla="*/ 8165 w 10000"/>
                <a:gd name="connsiteY125" fmla="*/ 2974 h 10003"/>
                <a:gd name="connsiteX126" fmla="*/ 7978 w 10000"/>
                <a:gd name="connsiteY126" fmla="*/ 2942 h 10003"/>
                <a:gd name="connsiteX127" fmla="*/ 8058 w 10000"/>
                <a:gd name="connsiteY127" fmla="*/ 2829 h 10003"/>
                <a:gd name="connsiteX128" fmla="*/ 8087 w 10000"/>
                <a:gd name="connsiteY128" fmla="*/ 2686 h 10003"/>
                <a:gd name="connsiteX129" fmla="*/ 8007 w 10000"/>
                <a:gd name="connsiteY129" fmla="*/ 2552 h 10003"/>
                <a:gd name="connsiteX130" fmla="*/ 7450 w 10000"/>
                <a:gd name="connsiteY130" fmla="*/ 2736 h 10003"/>
                <a:gd name="connsiteX131" fmla="*/ 6694 w 10000"/>
                <a:gd name="connsiteY131" fmla="*/ 2654 h 10003"/>
                <a:gd name="connsiteX132" fmla="*/ 6304 w 10000"/>
                <a:gd name="connsiteY132" fmla="*/ 2140 h 10003"/>
                <a:gd name="connsiteX133" fmla="*/ 5294 w 10000"/>
                <a:gd name="connsiteY133" fmla="*/ 2043 h 10003"/>
                <a:gd name="connsiteX134" fmla="*/ 4505 w 10000"/>
                <a:gd name="connsiteY134" fmla="*/ 1617 h 10003"/>
                <a:gd name="connsiteX135" fmla="*/ 3730 w 10000"/>
                <a:gd name="connsiteY135" fmla="*/ 1106 h 10003"/>
                <a:gd name="connsiteX136" fmla="*/ 3154 w 10000"/>
                <a:gd name="connsiteY136" fmla="*/ 163 h 10003"/>
                <a:gd name="connsiteX137" fmla="*/ 2375 w 10000"/>
                <a:gd name="connsiteY137" fmla="*/ 0 h 10003"/>
                <a:gd name="connsiteX138" fmla="*/ 2226 w 10000"/>
                <a:gd name="connsiteY138" fmla="*/ 886 h 10003"/>
                <a:gd name="connsiteX139" fmla="*/ 2375 w 10000"/>
                <a:gd name="connsiteY139" fmla="*/ 1111 h 10003"/>
                <a:gd name="connsiteX140" fmla="*/ 2791 w 10000"/>
                <a:gd name="connsiteY140" fmla="*/ 1360 h 10003"/>
                <a:gd name="connsiteX141" fmla="*/ 2808 w 10000"/>
                <a:gd name="connsiteY141" fmla="*/ 1660 h 10003"/>
                <a:gd name="connsiteX142" fmla="*/ 2632 w 10000"/>
                <a:gd name="connsiteY142" fmla="*/ 1913 h 10003"/>
                <a:gd name="connsiteX143" fmla="*/ 2375 w 10000"/>
                <a:gd name="connsiteY143" fmla="*/ 2065 h 10003"/>
                <a:gd name="connsiteX144" fmla="*/ 2039 w 10000"/>
                <a:gd name="connsiteY144" fmla="*/ 2125 h 10003"/>
                <a:gd name="connsiteX145" fmla="*/ 1950 w 10000"/>
                <a:gd name="connsiteY145" fmla="*/ 2215 h 10003"/>
                <a:gd name="connsiteX146" fmla="*/ 2148 w 10000"/>
                <a:gd name="connsiteY146" fmla="*/ 2423 h 10003"/>
                <a:gd name="connsiteX147" fmla="*/ 2261 w 10000"/>
                <a:gd name="connsiteY147" fmla="*/ 2918 h 10003"/>
                <a:gd name="connsiteX148" fmla="*/ 2005 w 10000"/>
                <a:gd name="connsiteY148" fmla="*/ 3343 h 10003"/>
                <a:gd name="connsiteX149" fmla="*/ 2094 w 10000"/>
                <a:gd name="connsiteY149" fmla="*/ 3471 h 10003"/>
                <a:gd name="connsiteX150" fmla="*/ 2012 w 10000"/>
                <a:gd name="connsiteY150" fmla="*/ 3691 h 10003"/>
                <a:gd name="connsiteX151" fmla="*/ 1850 w 10000"/>
                <a:gd name="connsiteY151" fmla="*/ 3845 h 10003"/>
                <a:gd name="connsiteX152" fmla="*/ 1199 w 10000"/>
                <a:gd name="connsiteY152" fmla="*/ 3963 h 10003"/>
                <a:gd name="connsiteX153" fmla="*/ 1158 w 10000"/>
                <a:gd name="connsiteY153" fmla="*/ 4167 h 10003"/>
                <a:gd name="connsiteX154" fmla="*/ 808 w 10000"/>
                <a:gd name="connsiteY154" fmla="*/ 4470 h 10003"/>
                <a:gd name="connsiteX155" fmla="*/ 854 w 10000"/>
                <a:gd name="connsiteY155" fmla="*/ 4911 h 10003"/>
                <a:gd name="connsiteX156" fmla="*/ 560 w 10000"/>
                <a:gd name="connsiteY156" fmla="*/ 5474 h 10003"/>
                <a:gd name="connsiteX157" fmla="*/ 358 w 10000"/>
                <a:gd name="connsiteY157" fmla="*/ 5539 h 10003"/>
                <a:gd name="connsiteX158" fmla="*/ 275 w 10000"/>
                <a:gd name="connsiteY158" fmla="*/ 5405 h 10003"/>
                <a:gd name="connsiteX159" fmla="*/ 174 w 10000"/>
                <a:gd name="connsiteY159" fmla="*/ 5608 h 10003"/>
                <a:gd name="connsiteX160" fmla="*/ 239 w 10000"/>
                <a:gd name="connsiteY160" fmla="*/ 5258 h 10003"/>
                <a:gd name="connsiteX161" fmla="*/ 197 w 10000"/>
                <a:gd name="connsiteY161" fmla="*/ 5193 h 10003"/>
                <a:gd name="connsiteX0" fmla="*/ 197 w 10000"/>
                <a:gd name="connsiteY0" fmla="*/ 5193 h 10000"/>
                <a:gd name="connsiteX1" fmla="*/ 0 w 10000"/>
                <a:gd name="connsiteY1" fmla="*/ 5375 h 10000"/>
                <a:gd name="connsiteX2" fmla="*/ 0 w 10000"/>
                <a:gd name="connsiteY2" fmla="*/ 6269 h 10000"/>
                <a:gd name="connsiteX3" fmla="*/ 109 w 10000"/>
                <a:gd name="connsiteY3" fmla="*/ 6293 h 10000"/>
                <a:gd name="connsiteX4" fmla="*/ 134 w 10000"/>
                <a:gd name="connsiteY4" fmla="*/ 6364 h 10000"/>
                <a:gd name="connsiteX5" fmla="*/ 130 w 10000"/>
                <a:gd name="connsiteY5" fmla="*/ 6485 h 10000"/>
                <a:gd name="connsiteX6" fmla="*/ 89 w 10000"/>
                <a:gd name="connsiteY6" fmla="*/ 6538 h 10000"/>
                <a:gd name="connsiteX7" fmla="*/ 255 w 10000"/>
                <a:gd name="connsiteY7" fmla="*/ 6433 h 10000"/>
                <a:gd name="connsiteX8" fmla="*/ 325 w 10000"/>
                <a:gd name="connsiteY8" fmla="*/ 6334 h 10000"/>
                <a:gd name="connsiteX9" fmla="*/ 413 w 10000"/>
                <a:gd name="connsiteY9" fmla="*/ 6402 h 10000"/>
                <a:gd name="connsiteX10" fmla="*/ 316 w 10000"/>
                <a:gd name="connsiteY10" fmla="*/ 6549 h 10000"/>
                <a:gd name="connsiteX11" fmla="*/ 419 w 10000"/>
                <a:gd name="connsiteY11" fmla="*/ 6553 h 10000"/>
                <a:gd name="connsiteX12" fmla="*/ 469 w 10000"/>
                <a:gd name="connsiteY12" fmla="*/ 6589 h 10000"/>
                <a:gd name="connsiteX13" fmla="*/ 337 w 10000"/>
                <a:gd name="connsiteY13" fmla="*/ 6637 h 10000"/>
                <a:gd name="connsiteX14" fmla="*/ 130 w 10000"/>
                <a:gd name="connsiteY14" fmla="*/ 6788 h 10000"/>
                <a:gd name="connsiteX15" fmla="*/ 497 w 10000"/>
                <a:gd name="connsiteY15" fmla="*/ 6906 h 10000"/>
                <a:gd name="connsiteX16" fmla="*/ 545 w 10000"/>
                <a:gd name="connsiteY16" fmla="*/ 7073 h 10000"/>
                <a:gd name="connsiteX17" fmla="*/ 419 w 10000"/>
                <a:gd name="connsiteY17" fmla="*/ 7320 h 10000"/>
                <a:gd name="connsiteX18" fmla="*/ 688 w 10000"/>
                <a:gd name="connsiteY18" fmla="*/ 7306 h 10000"/>
                <a:gd name="connsiteX19" fmla="*/ 709 w 10000"/>
                <a:gd name="connsiteY19" fmla="*/ 7489 h 10000"/>
                <a:gd name="connsiteX20" fmla="*/ 530 w 10000"/>
                <a:gd name="connsiteY20" fmla="*/ 7621 h 10000"/>
                <a:gd name="connsiteX21" fmla="*/ 560 w 10000"/>
                <a:gd name="connsiteY21" fmla="*/ 7862 h 10000"/>
                <a:gd name="connsiteX22" fmla="*/ 489 w 10000"/>
                <a:gd name="connsiteY22" fmla="*/ 8056 h 10000"/>
                <a:gd name="connsiteX23" fmla="*/ 703 w 10000"/>
                <a:gd name="connsiteY23" fmla="*/ 8074 h 10000"/>
                <a:gd name="connsiteX24" fmla="*/ 909 w 10000"/>
                <a:gd name="connsiteY24" fmla="*/ 8807 h 10000"/>
                <a:gd name="connsiteX25" fmla="*/ 1150 w 10000"/>
                <a:gd name="connsiteY25" fmla="*/ 8989 h 10000"/>
                <a:gd name="connsiteX26" fmla="*/ 1255 w 10000"/>
                <a:gd name="connsiteY26" fmla="*/ 9187 h 10000"/>
                <a:gd name="connsiteX27" fmla="*/ 1514 w 10000"/>
                <a:gd name="connsiteY27" fmla="*/ 9329 h 10000"/>
                <a:gd name="connsiteX28" fmla="*/ 1684 w 10000"/>
                <a:gd name="connsiteY28" fmla="*/ 9513 h 10000"/>
                <a:gd name="connsiteX29" fmla="*/ 1397 w 10000"/>
                <a:gd name="connsiteY29" fmla="*/ 10000 h 10000"/>
                <a:gd name="connsiteX30" fmla="*/ 6419 w 10000"/>
                <a:gd name="connsiteY30" fmla="*/ 9402 h 10000"/>
                <a:gd name="connsiteX31" fmla="*/ 6586 w 10000"/>
                <a:gd name="connsiteY31" fmla="*/ 8620 h 10000"/>
                <a:gd name="connsiteX32" fmla="*/ 6855 w 10000"/>
                <a:gd name="connsiteY32" fmla="*/ 8274 h 10000"/>
                <a:gd name="connsiteX33" fmla="*/ 6855 w 10000"/>
                <a:gd name="connsiteY33" fmla="*/ 8089 h 10000"/>
                <a:gd name="connsiteX34" fmla="*/ 6757 w 10000"/>
                <a:gd name="connsiteY34" fmla="*/ 7989 h 10000"/>
                <a:gd name="connsiteX35" fmla="*/ 6915 w 10000"/>
                <a:gd name="connsiteY35" fmla="*/ 7822 h 10000"/>
                <a:gd name="connsiteX36" fmla="*/ 6887 w 10000"/>
                <a:gd name="connsiteY36" fmla="*/ 7687 h 10000"/>
                <a:gd name="connsiteX37" fmla="*/ 6779 w 10000"/>
                <a:gd name="connsiteY37" fmla="*/ 7572 h 10000"/>
                <a:gd name="connsiteX38" fmla="*/ 6757 w 10000"/>
                <a:gd name="connsiteY38" fmla="*/ 7481 h 10000"/>
                <a:gd name="connsiteX39" fmla="*/ 6785 w 10000"/>
                <a:gd name="connsiteY39" fmla="*/ 7415 h 10000"/>
                <a:gd name="connsiteX40" fmla="*/ 6931 w 10000"/>
                <a:gd name="connsiteY40" fmla="*/ 7468 h 10000"/>
                <a:gd name="connsiteX41" fmla="*/ 7045 w 10000"/>
                <a:gd name="connsiteY41" fmla="*/ 7465 h 10000"/>
                <a:gd name="connsiteX42" fmla="*/ 6983 w 10000"/>
                <a:gd name="connsiteY42" fmla="*/ 7355 h 10000"/>
                <a:gd name="connsiteX43" fmla="*/ 7003 w 10000"/>
                <a:gd name="connsiteY43" fmla="*/ 7289 h 10000"/>
                <a:gd name="connsiteX44" fmla="*/ 7089 w 10000"/>
                <a:gd name="connsiteY44" fmla="*/ 7196 h 10000"/>
                <a:gd name="connsiteX45" fmla="*/ 7074 w 10000"/>
                <a:gd name="connsiteY45" fmla="*/ 7118 h 10000"/>
                <a:gd name="connsiteX46" fmla="*/ 7152 w 10000"/>
                <a:gd name="connsiteY46" fmla="*/ 6859 h 10000"/>
                <a:gd name="connsiteX47" fmla="*/ 7130 w 10000"/>
                <a:gd name="connsiteY47" fmla="*/ 6778 h 10000"/>
                <a:gd name="connsiteX48" fmla="*/ 6729 w 10000"/>
                <a:gd name="connsiteY48" fmla="*/ 6579 h 10000"/>
                <a:gd name="connsiteX49" fmla="*/ 6785 w 10000"/>
                <a:gd name="connsiteY49" fmla="*/ 6572 h 10000"/>
                <a:gd name="connsiteX50" fmla="*/ 6998 w 10000"/>
                <a:gd name="connsiteY50" fmla="*/ 6622 h 10000"/>
                <a:gd name="connsiteX51" fmla="*/ 7230 w 10000"/>
                <a:gd name="connsiteY51" fmla="*/ 6603 h 10000"/>
                <a:gd name="connsiteX52" fmla="*/ 7295 w 10000"/>
                <a:gd name="connsiteY52" fmla="*/ 6534 h 10000"/>
                <a:gd name="connsiteX53" fmla="*/ 7074 w 10000"/>
                <a:gd name="connsiteY53" fmla="*/ 6399 h 10000"/>
                <a:gd name="connsiteX54" fmla="*/ 6414 w 10000"/>
                <a:gd name="connsiteY54" fmla="*/ 6310 h 10000"/>
                <a:gd name="connsiteX55" fmla="*/ 6458 w 10000"/>
                <a:gd name="connsiteY55" fmla="*/ 6269 h 10000"/>
                <a:gd name="connsiteX56" fmla="*/ 6998 w 10000"/>
                <a:gd name="connsiteY56" fmla="*/ 6241 h 10000"/>
                <a:gd name="connsiteX57" fmla="*/ 7295 w 10000"/>
                <a:gd name="connsiteY57" fmla="*/ 6322 h 10000"/>
                <a:gd name="connsiteX58" fmla="*/ 7466 w 10000"/>
                <a:gd name="connsiteY58" fmla="*/ 6269 h 10000"/>
                <a:gd name="connsiteX59" fmla="*/ 7529 w 10000"/>
                <a:gd name="connsiteY59" fmla="*/ 6130 h 10000"/>
                <a:gd name="connsiteX60" fmla="*/ 7840 w 10000"/>
                <a:gd name="connsiteY60" fmla="*/ 6130 h 10000"/>
                <a:gd name="connsiteX61" fmla="*/ 8261 w 10000"/>
                <a:gd name="connsiteY61" fmla="*/ 5848 h 10000"/>
                <a:gd name="connsiteX62" fmla="*/ 8275 w 10000"/>
                <a:gd name="connsiteY62" fmla="*/ 5659 h 10000"/>
                <a:gd name="connsiteX63" fmla="*/ 8453 w 10000"/>
                <a:gd name="connsiteY63" fmla="*/ 5702 h 10000"/>
                <a:gd name="connsiteX64" fmla="*/ 8446 w 10000"/>
                <a:gd name="connsiteY64" fmla="*/ 5891 h 10000"/>
                <a:gd name="connsiteX65" fmla="*/ 8727 w 10000"/>
                <a:gd name="connsiteY65" fmla="*/ 5878 h 10000"/>
                <a:gd name="connsiteX66" fmla="*/ 8913 w 10000"/>
                <a:gd name="connsiteY66" fmla="*/ 5682 h 10000"/>
                <a:gd name="connsiteX67" fmla="*/ 9258 w 10000"/>
                <a:gd name="connsiteY67" fmla="*/ 5506 h 10000"/>
                <a:gd name="connsiteX68" fmla="*/ 9203 w 10000"/>
                <a:gd name="connsiteY68" fmla="*/ 5307 h 10000"/>
                <a:gd name="connsiteX69" fmla="*/ 9306 w 10000"/>
                <a:gd name="connsiteY69" fmla="*/ 5387 h 10000"/>
                <a:gd name="connsiteX70" fmla="*/ 9464 w 10000"/>
                <a:gd name="connsiteY70" fmla="*/ 5387 h 10000"/>
                <a:gd name="connsiteX71" fmla="*/ 9464 w 10000"/>
                <a:gd name="connsiteY71" fmla="*/ 5294 h 10000"/>
                <a:gd name="connsiteX72" fmla="*/ 9611 w 10000"/>
                <a:gd name="connsiteY72" fmla="*/ 5226 h 10000"/>
                <a:gd name="connsiteX73" fmla="*/ 9592 w 10000"/>
                <a:gd name="connsiteY73" fmla="*/ 5153 h 10000"/>
                <a:gd name="connsiteX74" fmla="*/ 8350 w 10000"/>
                <a:gd name="connsiteY74" fmla="*/ 5296 h 10000"/>
                <a:gd name="connsiteX75" fmla="*/ 8058 w 10000"/>
                <a:gd name="connsiteY75" fmla="*/ 5256 h 10000"/>
                <a:gd name="connsiteX76" fmla="*/ 7942 w 10000"/>
                <a:gd name="connsiteY76" fmla="*/ 5307 h 10000"/>
                <a:gd name="connsiteX77" fmla="*/ 7903 w 10000"/>
                <a:gd name="connsiteY77" fmla="*/ 5206 h 10000"/>
                <a:gd name="connsiteX78" fmla="*/ 7765 w 10000"/>
                <a:gd name="connsiteY78" fmla="*/ 5118 h 10000"/>
                <a:gd name="connsiteX79" fmla="*/ 7213 w 10000"/>
                <a:gd name="connsiteY79" fmla="*/ 4935 h 10000"/>
                <a:gd name="connsiteX80" fmla="*/ 6887 w 10000"/>
                <a:gd name="connsiteY80" fmla="*/ 4966 h 10000"/>
                <a:gd name="connsiteX81" fmla="*/ 6757 w 10000"/>
                <a:gd name="connsiteY81" fmla="*/ 4914 h 10000"/>
                <a:gd name="connsiteX82" fmla="*/ 6894 w 10000"/>
                <a:gd name="connsiteY82" fmla="*/ 4870 h 10000"/>
                <a:gd name="connsiteX83" fmla="*/ 6998 w 10000"/>
                <a:gd name="connsiteY83" fmla="*/ 4774 h 10000"/>
                <a:gd name="connsiteX84" fmla="*/ 7152 w 10000"/>
                <a:gd name="connsiteY84" fmla="*/ 4804 h 10000"/>
                <a:gd name="connsiteX85" fmla="*/ 7335 w 10000"/>
                <a:gd name="connsiteY85" fmla="*/ 4780 h 10000"/>
                <a:gd name="connsiteX86" fmla="*/ 7611 w 10000"/>
                <a:gd name="connsiteY86" fmla="*/ 4811 h 10000"/>
                <a:gd name="connsiteX87" fmla="*/ 7645 w 10000"/>
                <a:gd name="connsiteY87" fmla="*/ 4798 h 10000"/>
                <a:gd name="connsiteX88" fmla="*/ 7859 w 10000"/>
                <a:gd name="connsiteY88" fmla="*/ 4944 h 10000"/>
                <a:gd name="connsiteX89" fmla="*/ 8017 w 10000"/>
                <a:gd name="connsiteY89" fmla="*/ 4890 h 10000"/>
                <a:gd name="connsiteX90" fmla="*/ 8032 w 10000"/>
                <a:gd name="connsiteY90" fmla="*/ 4840 h 10000"/>
                <a:gd name="connsiteX91" fmla="*/ 8176 w 10000"/>
                <a:gd name="connsiteY91" fmla="*/ 4927 h 10000"/>
                <a:gd name="connsiteX92" fmla="*/ 8369 w 10000"/>
                <a:gd name="connsiteY92" fmla="*/ 4974 h 10000"/>
                <a:gd name="connsiteX93" fmla="*/ 8446 w 10000"/>
                <a:gd name="connsiteY93" fmla="*/ 4888 h 10000"/>
                <a:gd name="connsiteX94" fmla="*/ 8507 w 10000"/>
                <a:gd name="connsiteY94" fmla="*/ 4935 h 10000"/>
                <a:gd name="connsiteX95" fmla="*/ 8596 w 10000"/>
                <a:gd name="connsiteY95" fmla="*/ 5105 h 10000"/>
                <a:gd name="connsiteX96" fmla="*/ 8782 w 10000"/>
                <a:gd name="connsiteY96" fmla="*/ 5143 h 10000"/>
                <a:gd name="connsiteX97" fmla="*/ 9542 w 10000"/>
                <a:gd name="connsiteY97" fmla="*/ 4896 h 10000"/>
                <a:gd name="connsiteX98" fmla="*/ 9914 w 10000"/>
                <a:gd name="connsiteY98" fmla="*/ 4549 h 10000"/>
                <a:gd name="connsiteX99" fmla="*/ 10000 w 10000"/>
                <a:gd name="connsiteY99" fmla="*/ 4301 h 10000"/>
                <a:gd name="connsiteX100" fmla="*/ 9866 w 10000"/>
                <a:gd name="connsiteY100" fmla="*/ 4072 h 10000"/>
                <a:gd name="connsiteX101" fmla="*/ 9582 w 10000"/>
                <a:gd name="connsiteY101" fmla="*/ 3938 h 10000"/>
                <a:gd name="connsiteX102" fmla="*/ 9382 w 10000"/>
                <a:gd name="connsiteY102" fmla="*/ 3712 h 10000"/>
                <a:gd name="connsiteX103" fmla="*/ 9569 w 10000"/>
                <a:gd name="connsiteY103" fmla="*/ 3705 h 10000"/>
                <a:gd name="connsiteX104" fmla="*/ 9555 w 10000"/>
                <a:gd name="connsiteY104" fmla="*/ 3653 h 10000"/>
                <a:gd name="connsiteX105" fmla="*/ 9068 w 10000"/>
                <a:gd name="connsiteY105" fmla="*/ 3498 h 10000"/>
                <a:gd name="connsiteX106" fmla="*/ 9047 w 10000"/>
                <a:gd name="connsiteY106" fmla="*/ 3354 h 10000"/>
                <a:gd name="connsiteX107" fmla="*/ 8953 w 10000"/>
                <a:gd name="connsiteY107" fmla="*/ 3203 h 10000"/>
                <a:gd name="connsiteX108" fmla="*/ 8569 w 10000"/>
                <a:gd name="connsiteY108" fmla="*/ 3231 h 10000"/>
                <a:gd name="connsiteX109" fmla="*/ 8431 w 10000"/>
                <a:gd name="connsiteY109" fmla="*/ 3070 h 10000"/>
                <a:gd name="connsiteX110" fmla="*/ 8350 w 10000"/>
                <a:gd name="connsiteY110" fmla="*/ 3060 h 10000"/>
                <a:gd name="connsiteX111" fmla="*/ 8350 w 10000"/>
                <a:gd name="connsiteY111" fmla="*/ 3132 h 10000"/>
                <a:gd name="connsiteX112" fmla="*/ 8176 w 10000"/>
                <a:gd name="connsiteY112" fmla="*/ 3398 h 10000"/>
                <a:gd name="connsiteX113" fmla="*/ 7990 w 10000"/>
                <a:gd name="connsiteY113" fmla="*/ 3556 h 10000"/>
                <a:gd name="connsiteX114" fmla="*/ 7401 w 10000"/>
                <a:gd name="connsiteY114" fmla="*/ 3823 h 10000"/>
                <a:gd name="connsiteX115" fmla="*/ 7198 w 10000"/>
                <a:gd name="connsiteY115" fmla="*/ 3815 h 10000"/>
                <a:gd name="connsiteX116" fmla="*/ 6915 w 10000"/>
                <a:gd name="connsiteY116" fmla="*/ 3856 h 10000"/>
                <a:gd name="connsiteX117" fmla="*/ 6757 w 10000"/>
                <a:gd name="connsiteY117" fmla="*/ 3815 h 10000"/>
                <a:gd name="connsiteX118" fmla="*/ 6965 w 10000"/>
                <a:gd name="connsiteY118" fmla="*/ 3738 h 10000"/>
                <a:gd name="connsiteX119" fmla="*/ 7235 w 10000"/>
                <a:gd name="connsiteY119" fmla="*/ 3705 h 10000"/>
                <a:gd name="connsiteX120" fmla="*/ 7455 w 10000"/>
                <a:gd name="connsiteY120" fmla="*/ 3581 h 10000"/>
                <a:gd name="connsiteX121" fmla="*/ 7674 w 10000"/>
                <a:gd name="connsiteY121" fmla="*/ 3522 h 10000"/>
                <a:gd name="connsiteX122" fmla="*/ 8082 w 10000"/>
                <a:gd name="connsiteY122" fmla="*/ 3303 h 10000"/>
                <a:gd name="connsiteX123" fmla="*/ 8157 w 10000"/>
                <a:gd name="connsiteY123" fmla="*/ 3159 h 10000"/>
                <a:gd name="connsiteX124" fmla="*/ 8165 w 10000"/>
                <a:gd name="connsiteY124" fmla="*/ 2974 h 10000"/>
                <a:gd name="connsiteX125" fmla="*/ 7978 w 10000"/>
                <a:gd name="connsiteY125" fmla="*/ 2942 h 10000"/>
                <a:gd name="connsiteX126" fmla="*/ 8058 w 10000"/>
                <a:gd name="connsiteY126" fmla="*/ 2829 h 10000"/>
                <a:gd name="connsiteX127" fmla="*/ 8087 w 10000"/>
                <a:gd name="connsiteY127" fmla="*/ 2686 h 10000"/>
                <a:gd name="connsiteX128" fmla="*/ 8007 w 10000"/>
                <a:gd name="connsiteY128" fmla="*/ 2552 h 10000"/>
                <a:gd name="connsiteX129" fmla="*/ 7450 w 10000"/>
                <a:gd name="connsiteY129" fmla="*/ 2736 h 10000"/>
                <a:gd name="connsiteX130" fmla="*/ 6694 w 10000"/>
                <a:gd name="connsiteY130" fmla="*/ 2654 h 10000"/>
                <a:gd name="connsiteX131" fmla="*/ 6304 w 10000"/>
                <a:gd name="connsiteY131" fmla="*/ 2140 h 10000"/>
                <a:gd name="connsiteX132" fmla="*/ 5294 w 10000"/>
                <a:gd name="connsiteY132" fmla="*/ 2043 h 10000"/>
                <a:gd name="connsiteX133" fmla="*/ 4505 w 10000"/>
                <a:gd name="connsiteY133" fmla="*/ 1617 h 10000"/>
                <a:gd name="connsiteX134" fmla="*/ 3730 w 10000"/>
                <a:gd name="connsiteY134" fmla="*/ 1106 h 10000"/>
                <a:gd name="connsiteX135" fmla="*/ 3154 w 10000"/>
                <a:gd name="connsiteY135" fmla="*/ 163 h 10000"/>
                <a:gd name="connsiteX136" fmla="*/ 2375 w 10000"/>
                <a:gd name="connsiteY136" fmla="*/ 0 h 10000"/>
                <a:gd name="connsiteX137" fmla="*/ 2226 w 10000"/>
                <a:gd name="connsiteY137" fmla="*/ 886 h 10000"/>
                <a:gd name="connsiteX138" fmla="*/ 2375 w 10000"/>
                <a:gd name="connsiteY138" fmla="*/ 1111 h 10000"/>
                <a:gd name="connsiteX139" fmla="*/ 2791 w 10000"/>
                <a:gd name="connsiteY139" fmla="*/ 1360 h 10000"/>
                <a:gd name="connsiteX140" fmla="*/ 2808 w 10000"/>
                <a:gd name="connsiteY140" fmla="*/ 1660 h 10000"/>
                <a:gd name="connsiteX141" fmla="*/ 2632 w 10000"/>
                <a:gd name="connsiteY141" fmla="*/ 1913 h 10000"/>
                <a:gd name="connsiteX142" fmla="*/ 2375 w 10000"/>
                <a:gd name="connsiteY142" fmla="*/ 2065 h 10000"/>
                <a:gd name="connsiteX143" fmla="*/ 2039 w 10000"/>
                <a:gd name="connsiteY143" fmla="*/ 2125 h 10000"/>
                <a:gd name="connsiteX144" fmla="*/ 1950 w 10000"/>
                <a:gd name="connsiteY144" fmla="*/ 2215 h 10000"/>
                <a:gd name="connsiteX145" fmla="*/ 2148 w 10000"/>
                <a:gd name="connsiteY145" fmla="*/ 2423 h 10000"/>
                <a:gd name="connsiteX146" fmla="*/ 2261 w 10000"/>
                <a:gd name="connsiteY146" fmla="*/ 2918 h 10000"/>
                <a:gd name="connsiteX147" fmla="*/ 2005 w 10000"/>
                <a:gd name="connsiteY147" fmla="*/ 3343 h 10000"/>
                <a:gd name="connsiteX148" fmla="*/ 2094 w 10000"/>
                <a:gd name="connsiteY148" fmla="*/ 3471 h 10000"/>
                <a:gd name="connsiteX149" fmla="*/ 2012 w 10000"/>
                <a:gd name="connsiteY149" fmla="*/ 3691 h 10000"/>
                <a:gd name="connsiteX150" fmla="*/ 1850 w 10000"/>
                <a:gd name="connsiteY150" fmla="*/ 3845 h 10000"/>
                <a:gd name="connsiteX151" fmla="*/ 1199 w 10000"/>
                <a:gd name="connsiteY151" fmla="*/ 3963 h 10000"/>
                <a:gd name="connsiteX152" fmla="*/ 1158 w 10000"/>
                <a:gd name="connsiteY152" fmla="*/ 4167 h 10000"/>
                <a:gd name="connsiteX153" fmla="*/ 808 w 10000"/>
                <a:gd name="connsiteY153" fmla="*/ 4470 h 10000"/>
                <a:gd name="connsiteX154" fmla="*/ 854 w 10000"/>
                <a:gd name="connsiteY154" fmla="*/ 4911 h 10000"/>
                <a:gd name="connsiteX155" fmla="*/ 560 w 10000"/>
                <a:gd name="connsiteY155" fmla="*/ 5474 h 10000"/>
                <a:gd name="connsiteX156" fmla="*/ 358 w 10000"/>
                <a:gd name="connsiteY156" fmla="*/ 5539 h 10000"/>
                <a:gd name="connsiteX157" fmla="*/ 275 w 10000"/>
                <a:gd name="connsiteY157" fmla="*/ 5405 h 10000"/>
                <a:gd name="connsiteX158" fmla="*/ 174 w 10000"/>
                <a:gd name="connsiteY158" fmla="*/ 5608 h 10000"/>
                <a:gd name="connsiteX159" fmla="*/ 239 w 10000"/>
                <a:gd name="connsiteY159" fmla="*/ 5258 h 10000"/>
                <a:gd name="connsiteX160" fmla="*/ 197 w 10000"/>
                <a:gd name="connsiteY160" fmla="*/ 5193 h 10000"/>
                <a:gd name="connsiteX0" fmla="*/ 197 w 10000"/>
                <a:gd name="connsiteY0" fmla="*/ 5193 h 10000"/>
                <a:gd name="connsiteX1" fmla="*/ 0 w 10000"/>
                <a:gd name="connsiteY1" fmla="*/ 5375 h 10000"/>
                <a:gd name="connsiteX2" fmla="*/ 0 w 10000"/>
                <a:gd name="connsiteY2" fmla="*/ 6269 h 10000"/>
                <a:gd name="connsiteX3" fmla="*/ 109 w 10000"/>
                <a:gd name="connsiteY3" fmla="*/ 6293 h 10000"/>
                <a:gd name="connsiteX4" fmla="*/ 134 w 10000"/>
                <a:gd name="connsiteY4" fmla="*/ 6364 h 10000"/>
                <a:gd name="connsiteX5" fmla="*/ 130 w 10000"/>
                <a:gd name="connsiteY5" fmla="*/ 6485 h 10000"/>
                <a:gd name="connsiteX6" fmla="*/ 89 w 10000"/>
                <a:gd name="connsiteY6" fmla="*/ 6538 h 10000"/>
                <a:gd name="connsiteX7" fmla="*/ 255 w 10000"/>
                <a:gd name="connsiteY7" fmla="*/ 6433 h 10000"/>
                <a:gd name="connsiteX8" fmla="*/ 325 w 10000"/>
                <a:gd name="connsiteY8" fmla="*/ 6334 h 10000"/>
                <a:gd name="connsiteX9" fmla="*/ 413 w 10000"/>
                <a:gd name="connsiteY9" fmla="*/ 6402 h 10000"/>
                <a:gd name="connsiteX10" fmla="*/ 316 w 10000"/>
                <a:gd name="connsiteY10" fmla="*/ 6549 h 10000"/>
                <a:gd name="connsiteX11" fmla="*/ 419 w 10000"/>
                <a:gd name="connsiteY11" fmla="*/ 6553 h 10000"/>
                <a:gd name="connsiteX12" fmla="*/ 469 w 10000"/>
                <a:gd name="connsiteY12" fmla="*/ 6589 h 10000"/>
                <a:gd name="connsiteX13" fmla="*/ 337 w 10000"/>
                <a:gd name="connsiteY13" fmla="*/ 6637 h 10000"/>
                <a:gd name="connsiteX14" fmla="*/ 130 w 10000"/>
                <a:gd name="connsiteY14" fmla="*/ 6788 h 10000"/>
                <a:gd name="connsiteX15" fmla="*/ 497 w 10000"/>
                <a:gd name="connsiteY15" fmla="*/ 6906 h 10000"/>
                <a:gd name="connsiteX16" fmla="*/ 545 w 10000"/>
                <a:gd name="connsiteY16" fmla="*/ 7073 h 10000"/>
                <a:gd name="connsiteX17" fmla="*/ 419 w 10000"/>
                <a:gd name="connsiteY17" fmla="*/ 7320 h 10000"/>
                <a:gd name="connsiteX18" fmla="*/ 688 w 10000"/>
                <a:gd name="connsiteY18" fmla="*/ 7306 h 10000"/>
                <a:gd name="connsiteX19" fmla="*/ 709 w 10000"/>
                <a:gd name="connsiteY19" fmla="*/ 7489 h 10000"/>
                <a:gd name="connsiteX20" fmla="*/ 530 w 10000"/>
                <a:gd name="connsiteY20" fmla="*/ 7621 h 10000"/>
                <a:gd name="connsiteX21" fmla="*/ 560 w 10000"/>
                <a:gd name="connsiteY21" fmla="*/ 7862 h 10000"/>
                <a:gd name="connsiteX22" fmla="*/ 489 w 10000"/>
                <a:gd name="connsiteY22" fmla="*/ 8056 h 10000"/>
                <a:gd name="connsiteX23" fmla="*/ 703 w 10000"/>
                <a:gd name="connsiteY23" fmla="*/ 8074 h 10000"/>
                <a:gd name="connsiteX24" fmla="*/ 909 w 10000"/>
                <a:gd name="connsiteY24" fmla="*/ 8807 h 10000"/>
                <a:gd name="connsiteX25" fmla="*/ 1150 w 10000"/>
                <a:gd name="connsiteY25" fmla="*/ 8989 h 10000"/>
                <a:gd name="connsiteX26" fmla="*/ 1255 w 10000"/>
                <a:gd name="connsiteY26" fmla="*/ 9187 h 10000"/>
                <a:gd name="connsiteX27" fmla="*/ 1514 w 10000"/>
                <a:gd name="connsiteY27" fmla="*/ 9329 h 10000"/>
                <a:gd name="connsiteX28" fmla="*/ 1397 w 10000"/>
                <a:gd name="connsiteY28" fmla="*/ 10000 h 10000"/>
                <a:gd name="connsiteX29" fmla="*/ 6419 w 10000"/>
                <a:gd name="connsiteY29" fmla="*/ 9402 h 10000"/>
                <a:gd name="connsiteX30" fmla="*/ 6586 w 10000"/>
                <a:gd name="connsiteY30" fmla="*/ 8620 h 10000"/>
                <a:gd name="connsiteX31" fmla="*/ 6855 w 10000"/>
                <a:gd name="connsiteY31" fmla="*/ 8274 h 10000"/>
                <a:gd name="connsiteX32" fmla="*/ 6855 w 10000"/>
                <a:gd name="connsiteY32" fmla="*/ 8089 h 10000"/>
                <a:gd name="connsiteX33" fmla="*/ 6757 w 10000"/>
                <a:gd name="connsiteY33" fmla="*/ 7989 h 10000"/>
                <a:gd name="connsiteX34" fmla="*/ 6915 w 10000"/>
                <a:gd name="connsiteY34" fmla="*/ 7822 h 10000"/>
                <a:gd name="connsiteX35" fmla="*/ 6887 w 10000"/>
                <a:gd name="connsiteY35" fmla="*/ 7687 h 10000"/>
                <a:gd name="connsiteX36" fmla="*/ 6779 w 10000"/>
                <a:gd name="connsiteY36" fmla="*/ 7572 h 10000"/>
                <a:gd name="connsiteX37" fmla="*/ 6757 w 10000"/>
                <a:gd name="connsiteY37" fmla="*/ 7481 h 10000"/>
                <a:gd name="connsiteX38" fmla="*/ 6785 w 10000"/>
                <a:gd name="connsiteY38" fmla="*/ 7415 h 10000"/>
                <a:gd name="connsiteX39" fmla="*/ 6931 w 10000"/>
                <a:gd name="connsiteY39" fmla="*/ 7468 h 10000"/>
                <a:gd name="connsiteX40" fmla="*/ 7045 w 10000"/>
                <a:gd name="connsiteY40" fmla="*/ 7465 h 10000"/>
                <a:gd name="connsiteX41" fmla="*/ 6983 w 10000"/>
                <a:gd name="connsiteY41" fmla="*/ 7355 h 10000"/>
                <a:gd name="connsiteX42" fmla="*/ 7003 w 10000"/>
                <a:gd name="connsiteY42" fmla="*/ 7289 h 10000"/>
                <a:gd name="connsiteX43" fmla="*/ 7089 w 10000"/>
                <a:gd name="connsiteY43" fmla="*/ 7196 h 10000"/>
                <a:gd name="connsiteX44" fmla="*/ 7074 w 10000"/>
                <a:gd name="connsiteY44" fmla="*/ 7118 h 10000"/>
                <a:gd name="connsiteX45" fmla="*/ 7152 w 10000"/>
                <a:gd name="connsiteY45" fmla="*/ 6859 h 10000"/>
                <a:gd name="connsiteX46" fmla="*/ 7130 w 10000"/>
                <a:gd name="connsiteY46" fmla="*/ 6778 h 10000"/>
                <a:gd name="connsiteX47" fmla="*/ 6729 w 10000"/>
                <a:gd name="connsiteY47" fmla="*/ 6579 h 10000"/>
                <a:gd name="connsiteX48" fmla="*/ 6785 w 10000"/>
                <a:gd name="connsiteY48" fmla="*/ 6572 h 10000"/>
                <a:gd name="connsiteX49" fmla="*/ 6998 w 10000"/>
                <a:gd name="connsiteY49" fmla="*/ 6622 h 10000"/>
                <a:gd name="connsiteX50" fmla="*/ 7230 w 10000"/>
                <a:gd name="connsiteY50" fmla="*/ 6603 h 10000"/>
                <a:gd name="connsiteX51" fmla="*/ 7295 w 10000"/>
                <a:gd name="connsiteY51" fmla="*/ 6534 h 10000"/>
                <a:gd name="connsiteX52" fmla="*/ 7074 w 10000"/>
                <a:gd name="connsiteY52" fmla="*/ 6399 h 10000"/>
                <a:gd name="connsiteX53" fmla="*/ 6414 w 10000"/>
                <a:gd name="connsiteY53" fmla="*/ 6310 h 10000"/>
                <a:gd name="connsiteX54" fmla="*/ 6458 w 10000"/>
                <a:gd name="connsiteY54" fmla="*/ 6269 h 10000"/>
                <a:gd name="connsiteX55" fmla="*/ 6998 w 10000"/>
                <a:gd name="connsiteY55" fmla="*/ 6241 h 10000"/>
                <a:gd name="connsiteX56" fmla="*/ 7295 w 10000"/>
                <a:gd name="connsiteY56" fmla="*/ 6322 h 10000"/>
                <a:gd name="connsiteX57" fmla="*/ 7466 w 10000"/>
                <a:gd name="connsiteY57" fmla="*/ 6269 h 10000"/>
                <a:gd name="connsiteX58" fmla="*/ 7529 w 10000"/>
                <a:gd name="connsiteY58" fmla="*/ 6130 h 10000"/>
                <a:gd name="connsiteX59" fmla="*/ 7840 w 10000"/>
                <a:gd name="connsiteY59" fmla="*/ 6130 h 10000"/>
                <a:gd name="connsiteX60" fmla="*/ 8261 w 10000"/>
                <a:gd name="connsiteY60" fmla="*/ 5848 h 10000"/>
                <a:gd name="connsiteX61" fmla="*/ 8275 w 10000"/>
                <a:gd name="connsiteY61" fmla="*/ 5659 h 10000"/>
                <a:gd name="connsiteX62" fmla="*/ 8453 w 10000"/>
                <a:gd name="connsiteY62" fmla="*/ 5702 h 10000"/>
                <a:gd name="connsiteX63" fmla="*/ 8446 w 10000"/>
                <a:gd name="connsiteY63" fmla="*/ 5891 h 10000"/>
                <a:gd name="connsiteX64" fmla="*/ 8727 w 10000"/>
                <a:gd name="connsiteY64" fmla="*/ 5878 h 10000"/>
                <a:gd name="connsiteX65" fmla="*/ 8913 w 10000"/>
                <a:gd name="connsiteY65" fmla="*/ 5682 h 10000"/>
                <a:gd name="connsiteX66" fmla="*/ 9258 w 10000"/>
                <a:gd name="connsiteY66" fmla="*/ 5506 h 10000"/>
                <a:gd name="connsiteX67" fmla="*/ 9203 w 10000"/>
                <a:gd name="connsiteY67" fmla="*/ 5307 h 10000"/>
                <a:gd name="connsiteX68" fmla="*/ 9306 w 10000"/>
                <a:gd name="connsiteY68" fmla="*/ 5387 h 10000"/>
                <a:gd name="connsiteX69" fmla="*/ 9464 w 10000"/>
                <a:gd name="connsiteY69" fmla="*/ 5387 h 10000"/>
                <a:gd name="connsiteX70" fmla="*/ 9464 w 10000"/>
                <a:gd name="connsiteY70" fmla="*/ 5294 h 10000"/>
                <a:gd name="connsiteX71" fmla="*/ 9611 w 10000"/>
                <a:gd name="connsiteY71" fmla="*/ 5226 h 10000"/>
                <a:gd name="connsiteX72" fmla="*/ 9592 w 10000"/>
                <a:gd name="connsiteY72" fmla="*/ 5153 h 10000"/>
                <a:gd name="connsiteX73" fmla="*/ 8350 w 10000"/>
                <a:gd name="connsiteY73" fmla="*/ 5296 h 10000"/>
                <a:gd name="connsiteX74" fmla="*/ 8058 w 10000"/>
                <a:gd name="connsiteY74" fmla="*/ 5256 h 10000"/>
                <a:gd name="connsiteX75" fmla="*/ 7942 w 10000"/>
                <a:gd name="connsiteY75" fmla="*/ 5307 h 10000"/>
                <a:gd name="connsiteX76" fmla="*/ 7903 w 10000"/>
                <a:gd name="connsiteY76" fmla="*/ 5206 h 10000"/>
                <a:gd name="connsiteX77" fmla="*/ 7765 w 10000"/>
                <a:gd name="connsiteY77" fmla="*/ 5118 h 10000"/>
                <a:gd name="connsiteX78" fmla="*/ 7213 w 10000"/>
                <a:gd name="connsiteY78" fmla="*/ 4935 h 10000"/>
                <a:gd name="connsiteX79" fmla="*/ 6887 w 10000"/>
                <a:gd name="connsiteY79" fmla="*/ 4966 h 10000"/>
                <a:gd name="connsiteX80" fmla="*/ 6757 w 10000"/>
                <a:gd name="connsiteY80" fmla="*/ 4914 h 10000"/>
                <a:gd name="connsiteX81" fmla="*/ 6894 w 10000"/>
                <a:gd name="connsiteY81" fmla="*/ 4870 h 10000"/>
                <a:gd name="connsiteX82" fmla="*/ 6998 w 10000"/>
                <a:gd name="connsiteY82" fmla="*/ 4774 h 10000"/>
                <a:gd name="connsiteX83" fmla="*/ 7152 w 10000"/>
                <a:gd name="connsiteY83" fmla="*/ 4804 h 10000"/>
                <a:gd name="connsiteX84" fmla="*/ 7335 w 10000"/>
                <a:gd name="connsiteY84" fmla="*/ 4780 h 10000"/>
                <a:gd name="connsiteX85" fmla="*/ 7611 w 10000"/>
                <a:gd name="connsiteY85" fmla="*/ 4811 h 10000"/>
                <a:gd name="connsiteX86" fmla="*/ 7645 w 10000"/>
                <a:gd name="connsiteY86" fmla="*/ 4798 h 10000"/>
                <a:gd name="connsiteX87" fmla="*/ 7859 w 10000"/>
                <a:gd name="connsiteY87" fmla="*/ 4944 h 10000"/>
                <a:gd name="connsiteX88" fmla="*/ 8017 w 10000"/>
                <a:gd name="connsiteY88" fmla="*/ 4890 h 10000"/>
                <a:gd name="connsiteX89" fmla="*/ 8032 w 10000"/>
                <a:gd name="connsiteY89" fmla="*/ 4840 h 10000"/>
                <a:gd name="connsiteX90" fmla="*/ 8176 w 10000"/>
                <a:gd name="connsiteY90" fmla="*/ 4927 h 10000"/>
                <a:gd name="connsiteX91" fmla="*/ 8369 w 10000"/>
                <a:gd name="connsiteY91" fmla="*/ 4974 h 10000"/>
                <a:gd name="connsiteX92" fmla="*/ 8446 w 10000"/>
                <a:gd name="connsiteY92" fmla="*/ 4888 h 10000"/>
                <a:gd name="connsiteX93" fmla="*/ 8507 w 10000"/>
                <a:gd name="connsiteY93" fmla="*/ 4935 h 10000"/>
                <a:gd name="connsiteX94" fmla="*/ 8596 w 10000"/>
                <a:gd name="connsiteY94" fmla="*/ 5105 h 10000"/>
                <a:gd name="connsiteX95" fmla="*/ 8782 w 10000"/>
                <a:gd name="connsiteY95" fmla="*/ 5143 h 10000"/>
                <a:gd name="connsiteX96" fmla="*/ 9542 w 10000"/>
                <a:gd name="connsiteY96" fmla="*/ 4896 h 10000"/>
                <a:gd name="connsiteX97" fmla="*/ 9914 w 10000"/>
                <a:gd name="connsiteY97" fmla="*/ 4549 h 10000"/>
                <a:gd name="connsiteX98" fmla="*/ 10000 w 10000"/>
                <a:gd name="connsiteY98" fmla="*/ 4301 h 10000"/>
                <a:gd name="connsiteX99" fmla="*/ 9866 w 10000"/>
                <a:gd name="connsiteY99" fmla="*/ 4072 h 10000"/>
                <a:gd name="connsiteX100" fmla="*/ 9582 w 10000"/>
                <a:gd name="connsiteY100" fmla="*/ 3938 h 10000"/>
                <a:gd name="connsiteX101" fmla="*/ 9382 w 10000"/>
                <a:gd name="connsiteY101" fmla="*/ 3712 h 10000"/>
                <a:gd name="connsiteX102" fmla="*/ 9569 w 10000"/>
                <a:gd name="connsiteY102" fmla="*/ 3705 h 10000"/>
                <a:gd name="connsiteX103" fmla="*/ 9555 w 10000"/>
                <a:gd name="connsiteY103" fmla="*/ 3653 h 10000"/>
                <a:gd name="connsiteX104" fmla="*/ 9068 w 10000"/>
                <a:gd name="connsiteY104" fmla="*/ 3498 h 10000"/>
                <a:gd name="connsiteX105" fmla="*/ 9047 w 10000"/>
                <a:gd name="connsiteY105" fmla="*/ 3354 h 10000"/>
                <a:gd name="connsiteX106" fmla="*/ 8953 w 10000"/>
                <a:gd name="connsiteY106" fmla="*/ 3203 h 10000"/>
                <a:gd name="connsiteX107" fmla="*/ 8569 w 10000"/>
                <a:gd name="connsiteY107" fmla="*/ 3231 h 10000"/>
                <a:gd name="connsiteX108" fmla="*/ 8431 w 10000"/>
                <a:gd name="connsiteY108" fmla="*/ 3070 h 10000"/>
                <a:gd name="connsiteX109" fmla="*/ 8350 w 10000"/>
                <a:gd name="connsiteY109" fmla="*/ 3060 h 10000"/>
                <a:gd name="connsiteX110" fmla="*/ 8350 w 10000"/>
                <a:gd name="connsiteY110" fmla="*/ 3132 h 10000"/>
                <a:gd name="connsiteX111" fmla="*/ 8176 w 10000"/>
                <a:gd name="connsiteY111" fmla="*/ 3398 h 10000"/>
                <a:gd name="connsiteX112" fmla="*/ 7990 w 10000"/>
                <a:gd name="connsiteY112" fmla="*/ 3556 h 10000"/>
                <a:gd name="connsiteX113" fmla="*/ 7401 w 10000"/>
                <a:gd name="connsiteY113" fmla="*/ 3823 h 10000"/>
                <a:gd name="connsiteX114" fmla="*/ 7198 w 10000"/>
                <a:gd name="connsiteY114" fmla="*/ 3815 h 10000"/>
                <a:gd name="connsiteX115" fmla="*/ 6915 w 10000"/>
                <a:gd name="connsiteY115" fmla="*/ 3856 h 10000"/>
                <a:gd name="connsiteX116" fmla="*/ 6757 w 10000"/>
                <a:gd name="connsiteY116" fmla="*/ 3815 h 10000"/>
                <a:gd name="connsiteX117" fmla="*/ 6965 w 10000"/>
                <a:gd name="connsiteY117" fmla="*/ 3738 h 10000"/>
                <a:gd name="connsiteX118" fmla="*/ 7235 w 10000"/>
                <a:gd name="connsiteY118" fmla="*/ 3705 h 10000"/>
                <a:gd name="connsiteX119" fmla="*/ 7455 w 10000"/>
                <a:gd name="connsiteY119" fmla="*/ 3581 h 10000"/>
                <a:gd name="connsiteX120" fmla="*/ 7674 w 10000"/>
                <a:gd name="connsiteY120" fmla="*/ 3522 h 10000"/>
                <a:gd name="connsiteX121" fmla="*/ 8082 w 10000"/>
                <a:gd name="connsiteY121" fmla="*/ 3303 h 10000"/>
                <a:gd name="connsiteX122" fmla="*/ 8157 w 10000"/>
                <a:gd name="connsiteY122" fmla="*/ 3159 h 10000"/>
                <a:gd name="connsiteX123" fmla="*/ 8165 w 10000"/>
                <a:gd name="connsiteY123" fmla="*/ 2974 h 10000"/>
                <a:gd name="connsiteX124" fmla="*/ 7978 w 10000"/>
                <a:gd name="connsiteY124" fmla="*/ 2942 h 10000"/>
                <a:gd name="connsiteX125" fmla="*/ 8058 w 10000"/>
                <a:gd name="connsiteY125" fmla="*/ 2829 h 10000"/>
                <a:gd name="connsiteX126" fmla="*/ 8087 w 10000"/>
                <a:gd name="connsiteY126" fmla="*/ 2686 h 10000"/>
                <a:gd name="connsiteX127" fmla="*/ 8007 w 10000"/>
                <a:gd name="connsiteY127" fmla="*/ 2552 h 10000"/>
                <a:gd name="connsiteX128" fmla="*/ 7450 w 10000"/>
                <a:gd name="connsiteY128" fmla="*/ 2736 h 10000"/>
                <a:gd name="connsiteX129" fmla="*/ 6694 w 10000"/>
                <a:gd name="connsiteY129" fmla="*/ 2654 h 10000"/>
                <a:gd name="connsiteX130" fmla="*/ 6304 w 10000"/>
                <a:gd name="connsiteY130" fmla="*/ 2140 h 10000"/>
                <a:gd name="connsiteX131" fmla="*/ 5294 w 10000"/>
                <a:gd name="connsiteY131" fmla="*/ 2043 h 10000"/>
                <a:gd name="connsiteX132" fmla="*/ 4505 w 10000"/>
                <a:gd name="connsiteY132" fmla="*/ 1617 h 10000"/>
                <a:gd name="connsiteX133" fmla="*/ 3730 w 10000"/>
                <a:gd name="connsiteY133" fmla="*/ 1106 h 10000"/>
                <a:gd name="connsiteX134" fmla="*/ 3154 w 10000"/>
                <a:gd name="connsiteY134" fmla="*/ 163 h 10000"/>
                <a:gd name="connsiteX135" fmla="*/ 2375 w 10000"/>
                <a:gd name="connsiteY135" fmla="*/ 0 h 10000"/>
                <a:gd name="connsiteX136" fmla="*/ 2226 w 10000"/>
                <a:gd name="connsiteY136" fmla="*/ 886 h 10000"/>
                <a:gd name="connsiteX137" fmla="*/ 2375 w 10000"/>
                <a:gd name="connsiteY137" fmla="*/ 1111 h 10000"/>
                <a:gd name="connsiteX138" fmla="*/ 2791 w 10000"/>
                <a:gd name="connsiteY138" fmla="*/ 1360 h 10000"/>
                <a:gd name="connsiteX139" fmla="*/ 2808 w 10000"/>
                <a:gd name="connsiteY139" fmla="*/ 1660 h 10000"/>
                <a:gd name="connsiteX140" fmla="*/ 2632 w 10000"/>
                <a:gd name="connsiteY140" fmla="*/ 1913 h 10000"/>
                <a:gd name="connsiteX141" fmla="*/ 2375 w 10000"/>
                <a:gd name="connsiteY141" fmla="*/ 2065 h 10000"/>
                <a:gd name="connsiteX142" fmla="*/ 2039 w 10000"/>
                <a:gd name="connsiteY142" fmla="*/ 2125 h 10000"/>
                <a:gd name="connsiteX143" fmla="*/ 1950 w 10000"/>
                <a:gd name="connsiteY143" fmla="*/ 2215 h 10000"/>
                <a:gd name="connsiteX144" fmla="*/ 2148 w 10000"/>
                <a:gd name="connsiteY144" fmla="*/ 2423 h 10000"/>
                <a:gd name="connsiteX145" fmla="*/ 2261 w 10000"/>
                <a:gd name="connsiteY145" fmla="*/ 2918 h 10000"/>
                <a:gd name="connsiteX146" fmla="*/ 2005 w 10000"/>
                <a:gd name="connsiteY146" fmla="*/ 3343 h 10000"/>
                <a:gd name="connsiteX147" fmla="*/ 2094 w 10000"/>
                <a:gd name="connsiteY147" fmla="*/ 3471 h 10000"/>
                <a:gd name="connsiteX148" fmla="*/ 2012 w 10000"/>
                <a:gd name="connsiteY148" fmla="*/ 3691 h 10000"/>
                <a:gd name="connsiteX149" fmla="*/ 1850 w 10000"/>
                <a:gd name="connsiteY149" fmla="*/ 3845 h 10000"/>
                <a:gd name="connsiteX150" fmla="*/ 1199 w 10000"/>
                <a:gd name="connsiteY150" fmla="*/ 3963 h 10000"/>
                <a:gd name="connsiteX151" fmla="*/ 1158 w 10000"/>
                <a:gd name="connsiteY151" fmla="*/ 4167 h 10000"/>
                <a:gd name="connsiteX152" fmla="*/ 808 w 10000"/>
                <a:gd name="connsiteY152" fmla="*/ 4470 h 10000"/>
                <a:gd name="connsiteX153" fmla="*/ 854 w 10000"/>
                <a:gd name="connsiteY153" fmla="*/ 4911 h 10000"/>
                <a:gd name="connsiteX154" fmla="*/ 560 w 10000"/>
                <a:gd name="connsiteY154" fmla="*/ 5474 h 10000"/>
                <a:gd name="connsiteX155" fmla="*/ 358 w 10000"/>
                <a:gd name="connsiteY155" fmla="*/ 5539 h 10000"/>
                <a:gd name="connsiteX156" fmla="*/ 275 w 10000"/>
                <a:gd name="connsiteY156" fmla="*/ 5405 h 10000"/>
                <a:gd name="connsiteX157" fmla="*/ 174 w 10000"/>
                <a:gd name="connsiteY157" fmla="*/ 5608 h 10000"/>
                <a:gd name="connsiteX158" fmla="*/ 239 w 10000"/>
                <a:gd name="connsiteY158" fmla="*/ 5258 h 10000"/>
                <a:gd name="connsiteX159" fmla="*/ 197 w 10000"/>
                <a:gd name="connsiteY159" fmla="*/ 5193 h 10000"/>
                <a:gd name="connsiteX0" fmla="*/ 197 w 10000"/>
                <a:gd name="connsiteY0" fmla="*/ 5193 h 10000"/>
                <a:gd name="connsiteX1" fmla="*/ 0 w 10000"/>
                <a:gd name="connsiteY1" fmla="*/ 5375 h 10000"/>
                <a:gd name="connsiteX2" fmla="*/ 0 w 10000"/>
                <a:gd name="connsiteY2" fmla="*/ 6269 h 10000"/>
                <a:gd name="connsiteX3" fmla="*/ 109 w 10000"/>
                <a:gd name="connsiteY3" fmla="*/ 6293 h 10000"/>
                <a:gd name="connsiteX4" fmla="*/ 134 w 10000"/>
                <a:gd name="connsiteY4" fmla="*/ 6364 h 10000"/>
                <a:gd name="connsiteX5" fmla="*/ 130 w 10000"/>
                <a:gd name="connsiteY5" fmla="*/ 6485 h 10000"/>
                <a:gd name="connsiteX6" fmla="*/ 89 w 10000"/>
                <a:gd name="connsiteY6" fmla="*/ 6538 h 10000"/>
                <a:gd name="connsiteX7" fmla="*/ 255 w 10000"/>
                <a:gd name="connsiteY7" fmla="*/ 6433 h 10000"/>
                <a:gd name="connsiteX8" fmla="*/ 325 w 10000"/>
                <a:gd name="connsiteY8" fmla="*/ 6334 h 10000"/>
                <a:gd name="connsiteX9" fmla="*/ 413 w 10000"/>
                <a:gd name="connsiteY9" fmla="*/ 6402 h 10000"/>
                <a:gd name="connsiteX10" fmla="*/ 316 w 10000"/>
                <a:gd name="connsiteY10" fmla="*/ 6549 h 10000"/>
                <a:gd name="connsiteX11" fmla="*/ 419 w 10000"/>
                <a:gd name="connsiteY11" fmla="*/ 6553 h 10000"/>
                <a:gd name="connsiteX12" fmla="*/ 469 w 10000"/>
                <a:gd name="connsiteY12" fmla="*/ 6589 h 10000"/>
                <a:gd name="connsiteX13" fmla="*/ 337 w 10000"/>
                <a:gd name="connsiteY13" fmla="*/ 6637 h 10000"/>
                <a:gd name="connsiteX14" fmla="*/ 130 w 10000"/>
                <a:gd name="connsiteY14" fmla="*/ 6788 h 10000"/>
                <a:gd name="connsiteX15" fmla="*/ 497 w 10000"/>
                <a:gd name="connsiteY15" fmla="*/ 6906 h 10000"/>
                <a:gd name="connsiteX16" fmla="*/ 545 w 10000"/>
                <a:gd name="connsiteY16" fmla="*/ 7073 h 10000"/>
                <a:gd name="connsiteX17" fmla="*/ 419 w 10000"/>
                <a:gd name="connsiteY17" fmla="*/ 7320 h 10000"/>
                <a:gd name="connsiteX18" fmla="*/ 688 w 10000"/>
                <a:gd name="connsiteY18" fmla="*/ 7306 h 10000"/>
                <a:gd name="connsiteX19" fmla="*/ 709 w 10000"/>
                <a:gd name="connsiteY19" fmla="*/ 7489 h 10000"/>
                <a:gd name="connsiteX20" fmla="*/ 530 w 10000"/>
                <a:gd name="connsiteY20" fmla="*/ 7621 h 10000"/>
                <a:gd name="connsiteX21" fmla="*/ 560 w 10000"/>
                <a:gd name="connsiteY21" fmla="*/ 7862 h 10000"/>
                <a:gd name="connsiteX22" fmla="*/ 489 w 10000"/>
                <a:gd name="connsiteY22" fmla="*/ 8056 h 10000"/>
                <a:gd name="connsiteX23" fmla="*/ 703 w 10000"/>
                <a:gd name="connsiteY23" fmla="*/ 8074 h 10000"/>
                <a:gd name="connsiteX24" fmla="*/ 909 w 10000"/>
                <a:gd name="connsiteY24" fmla="*/ 8807 h 10000"/>
                <a:gd name="connsiteX25" fmla="*/ 1150 w 10000"/>
                <a:gd name="connsiteY25" fmla="*/ 8989 h 10000"/>
                <a:gd name="connsiteX26" fmla="*/ 1255 w 10000"/>
                <a:gd name="connsiteY26" fmla="*/ 9187 h 10000"/>
                <a:gd name="connsiteX27" fmla="*/ 1397 w 10000"/>
                <a:gd name="connsiteY27" fmla="*/ 10000 h 10000"/>
                <a:gd name="connsiteX28" fmla="*/ 6419 w 10000"/>
                <a:gd name="connsiteY28" fmla="*/ 9402 h 10000"/>
                <a:gd name="connsiteX29" fmla="*/ 6586 w 10000"/>
                <a:gd name="connsiteY29" fmla="*/ 8620 h 10000"/>
                <a:gd name="connsiteX30" fmla="*/ 6855 w 10000"/>
                <a:gd name="connsiteY30" fmla="*/ 8274 h 10000"/>
                <a:gd name="connsiteX31" fmla="*/ 6855 w 10000"/>
                <a:gd name="connsiteY31" fmla="*/ 8089 h 10000"/>
                <a:gd name="connsiteX32" fmla="*/ 6757 w 10000"/>
                <a:gd name="connsiteY32" fmla="*/ 7989 h 10000"/>
                <a:gd name="connsiteX33" fmla="*/ 6915 w 10000"/>
                <a:gd name="connsiteY33" fmla="*/ 7822 h 10000"/>
                <a:gd name="connsiteX34" fmla="*/ 6887 w 10000"/>
                <a:gd name="connsiteY34" fmla="*/ 7687 h 10000"/>
                <a:gd name="connsiteX35" fmla="*/ 6779 w 10000"/>
                <a:gd name="connsiteY35" fmla="*/ 7572 h 10000"/>
                <a:gd name="connsiteX36" fmla="*/ 6757 w 10000"/>
                <a:gd name="connsiteY36" fmla="*/ 7481 h 10000"/>
                <a:gd name="connsiteX37" fmla="*/ 6785 w 10000"/>
                <a:gd name="connsiteY37" fmla="*/ 7415 h 10000"/>
                <a:gd name="connsiteX38" fmla="*/ 6931 w 10000"/>
                <a:gd name="connsiteY38" fmla="*/ 7468 h 10000"/>
                <a:gd name="connsiteX39" fmla="*/ 7045 w 10000"/>
                <a:gd name="connsiteY39" fmla="*/ 7465 h 10000"/>
                <a:gd name="connsiteX40" fmla="*/ 6983 w 10000"/>
                <a:gd name="connsiteY40" fmla="*/ 7355 h 10000"/>
                <a:gd name="connsiteX41" fmla="*/ 7003 w 10000"/>
                <a:gd name="connsiteY41" fmla="*/ 7289 h 10000"/>
                <a:gd name="connsiteX42" fmla="*/ 7089 w 10000"/>
                <a:gd name="connsiteY42" fmla="*/ 7196 h 10000"/>
                <a:gd name="connsiteX43" fmla="*/ 7074 w 10000"/>
                <a:gd name="connsiteY43" fmla="*/ 7118 h 10000"/>
                <a:gd name="connsiteX44" fmla="*/ 7152 w 10000"/>
                <a:gd name="connsiteY44" fmla="*/ 6859 h 10000"/>
                <a:gd name="connsiteX45" fmla="*/ 7130 w 10000"/>
                <a:gd name="connsiteY45" fmla="*/ 6778 h 10000"/>
                <a:gd name="connsiteX46" fmla="*/ 6729 w 10000"/>
                <a:gd name="connsiteY46" fmla="*/ 6579 h 10000"/>
                <a:gd name="connsiteX47" fmla="*/ 6785 w 10000"/>
                <a:gd name="connsiteY47" fmla="*/ 6572 h 10000"/>
                <a:gd name="connsiteX48" fmla="*/ 6998 w 10000"/>
                <a:gd name="connsiteY48" fmla="*/ 6622 h 10000"/>
                <a:gd name="connsiteX49" fmla="*/ 7230 w 10000"/>
                <a:gd name="connsiteY49" fmla="*/ 6603 h 10000"/>
                <a:gd name="connsiteX50" fmla="*/ 7295 w 10000"/>
                <a:gd name="connsiteY50" fmla="*/ 6534 h 10000"/>
                <a:gd name="connsiteX51" fmla="*/ 7074 w 10000"/>
                <a:gd name="connsiteY51" fmla="*/ 6399 h 10000"/>
                <a:gd name="connsiteX52" fmla="*/ 6414 w 10000"/>
                <a:gd name="connsiteY52" fmla="*/ 6310 h 10000"/>
                <a:gd name="connsiteX53" fmla="*/ 6458 w 10000"/>
                <a:gd name="connsiteY53" fmla="*/ 6269 h 10000"/>
                <a:gd name="connsiteX54" fmla="*/ 6998 w 10000"/>
                <a:gd name="connsiteY54" fmla="*/ 6241 h 10000"/>
                <a:gd name="connsiteX55" fmla="*/ 7295 w 10000"/>
                <a:gd name="connsiteY55" fmla="*/ 6322 h 10000"/>
                <a:gd name="connsiteX56" fmla="*/ 7466 w 10000"/>
                <a:gd name="connsiteY56" fmla="*/ 6269 h 10000"/>
                <a:gd name="connsiteX57" fmla="*/ 7529 w 10000"/>
                <a:gd name="connsiteY57" fmla="*/ 6130 h 10000"/>
                <a:gd name="connsiteX58" fmla="*/ 7840 w 10000"/>
                <a:gd name="connsiteY58" fmla="*/ 6130 h 10000"/>
                <a:gd name="connsiteX59" fmla="*/ 8261 w 10000"/>
                <a:gd name="connsiteY59" fmla="*/ 5848 h 10000"/>
                <a:gd name="connsiteX60" fmla="*/ 8275 w 10000"/>
                <a:gd name="connsiteY60" fmla="*/ 5659 h 10000"/>
                <a:gd name="connsiteX61" fmla="*/ 8453 w 10000"/>
                <a:gd name="connsiteY61" fmla="*/ 5702 h 10000"/>
                <a:gd name="connsiteX62" fmla="*/ 8446 w 10000"/>
                <a:gd name="connsiteY62" fmla="*/ 5891 h 10000"/>
                <a:gd name="connsiteX63" fmla="*/ 8727 w 10000"/>
                <a:gd name="connsiteY63" fmla="*/ 5878 h 10000"/>
                <a:gd name="connsiteX64" fmla="*/ 8913 w 10000"/>
                <a:gd name="connsiteY64" fmla="*/ 5682 h 10000"/>
                <a:gd name="connsiteX65" fmla="*/ 9258 w 10000"/>
                <a:gd name="connsiteY65" fmla="*/ 5506 h 10000"/>
                <a:gd name="connsiteX66" fmla="*/ 9203 w 10000"/>
                <a:gd name="connsiteY66" fmla="*/ 5307 h 10000"/>
                <a:gd name="connsiteX67" fmla="*/ 9306 w 10000"/>
                <a:gd name="connsiteY67" fmla="*/ 5387 h 10000"/>
                <a:gd name="connsiteX68" fmla="*/ 9464 w 10000"/>
                <a:gd name="connsiteY68" fmla="*/ 5387 h 10000"/>
                <a:gd name="connsiteX69" fmla="*/ 9464 w 10000"/>
                <a:gd name="connsiteY69" fmla="*/ 5294 h 10000"/>
                <a:gd name="connsiteX70" fmla="*/ 9611 w 10000"/>
                <a:gd name="connsiteY70" fmla="*/ 5226 h 10000"/>
                <a:gd name="connsiteX71" fmla="*/ 9592 w 10000"/>
                <a:gd name="connsiteY71" fmla="*/ 5153 h 10000"/>
                <a:gd name="connsiteX72" fmla="*/ 8350 w 10000"/>
                <a:gd name="connsiteY72" fmla="*/ 5296 h 10000"/>
                <a:gd name="connsiteX73" fmla="*/ 8058 w 10000"/>
                <a:gd name="connsiteY73" fmla="*/ 5256 h 10000"/>
                <a:gd name="connsiteX74" fmla="*/ 7942 w 10000"/>
                <a:gd name="connsiteY74" fmla="*/ 5307 h 10000"/>
                <a:gd name="connsiteX75" fmla="*/ 7903 w 10000"/>
                <a:gd name="connsiteY75" fmla="*/ 5206 h 10000"/>
                <a:gd name="connsiteX76" fmla="*/ 7765 w 10000"/>
                <a:gd name="connsiteY76" fmla="*/ 5118 h 10000"/>
                <a:gd name="connsiteX77" fmla="*/ 7213 w 10000"/>
                <a:gd name="connsiteY77" fmla="*/ 4935 h 10000"/>
                <a:gd name="connsiteX78" fmla="*/ 6887 w 10000"/>
                <a:gd name="connsiteY78" fmla="*/ 4966 h 10000"/>
                <a:gd name="connsiteX79" fmla="*/ 6757 w 10000"/>
                <a:gd name="connsiteY79" fmla="*/ 4914 h 10000"/>
                <a:gd name="connsiteX80" fmla="*/ 6894 w 10000"/>
                <a:gd name="connsiteY80" fmla="*/ 4870 h 10000"/>
                <a:gd name="connsiteX81" fmla="*/ 6998 w 10000"/>
                <a:gd name="connsiteY81" fmla="*/ 4774 h 10000"/>
                <a:gd name="connsiteX82" fmla="*/ 7152 w 10000"/>
                <a:gd name="connsiteY82" fmla="*/ 4804 h 10000"/>
                <a:gd name="connsiteX83" fmla="*/ 7335 w 10000"/>
                <a:gd name="connsiteY83" fmla="*/ 4780 h 10000"/>
                <a:gd name="connsiteX84" fmla="*/ 7611 w 10000"/>
                <a:gd name="connsiteY84" fmla="*/ 4811 h 10000"/>
                <a:gd name="connsiteX85" fmla="*/ 7645 w 10000"/>
                <a:gd name="connsiteY85" fmla="*/ 4798 h 10000"/>
                <a:gd name="connsiteX86" fmla="*/ 7859 w 10000"/>
                <a:gd name="connsiteY86" fmla="*/ 4944 h 10000"/>
                <a:gd name="connsiteX87" fmla="*/ 8017 w 10000"/>
                <a:gd name="connsiteY87" fmla="*/ 4890 h 10000"/>
                <a:gd name="connsiteX88" fmla="*/ 8032 w 10000"/>
                <a:gd name="connsiteY88" fmla="*/ 4840 h 10000"/>
                <a:gd name="connsiteX89" fmla="*/ 8176 w 10000"/>
                <a:gd name="connsiteY89" fmla="*/ 4927 h 10000"/>
                <a:gd name="connsiteX90" fmla="*/ 8369 w 10000"/>
                <a:gd name="connsiteY90" fmla="*/ 4974 h 10000"/>
                <a:gd name="connsiteX91" fmla="*/ 8446 w 10000"/>
                <a:gd name="connsiteY91" fmla="*/ 4888 h 10000"/>
                <a:gd name="connsiteX92" fmla="*/ 8507 w 10000"/>
                <a:gd name="connsiteY92" fmla="*/ 4935 h 10000"/>
                <a:gd name="connsiteX93" fmla="*/ 8596 w 10000"/>
                <a:gd name="connsiteY93" fmla="*/ 5105 h 10000"/>
                <a:gd name="connsiteX94" fmla="*/ 8782 w 10000"/>
                <a:gd name="connsiteY94" fmla="*/ 5143 h 10000"/>
                <a:gd name="connsiteX95" fmla="*/ 9542 w 10000"/>
                <a:gd name="connsiteY95" fmla="*/ 4896 h 10000"/>
                <a:gd name="connsiteX96" fmla="*/ 9914 w 10000"/>
                <a:gd name="connsiteY96" fmla="*/ 4549 h 10000"/>
                <a:gd name="connsiteX97" fmla="*/ 10000 w 10000"/>
                <a:gd name="connsiteY97" fmla="*/ 4301 h 10000"/>
                <a:gd name="connsiteX98" fmla="*/ 9866 w 10000"/>
                <a:gd name="connsiteY98" fmla="*/ 4072 h 10000"/>
                <a:gd name="connsiteX99" fmla="*/ 9582 w 10000"/>
                <a:gd name="connsiteY99" fmla="*/ 3938 h 10000"/>
                <a:gd name="connsiteX100" fmla="*/ 9382 w 10000"/>
                <a:gd name="connsiteY100" fmla="*/ 3712 h 10000"/>
                <a:gd name="connsiteX101" fmla="*/ 9569 w 10000"/>
                <a:gd name="connsiteY101" fmla="*/ 3705 h 10000"/>
                <a:gd name="connsiteX102" fmla="*/ 9555 w 10000"/>
                <a:gd name="connsiteY102" fmla="*/ 3653 h 10000"/>
                <a:gd name="connsiteX103" fmla="*/ 9068 w 10000"/>
                <a:gd name="connsiteY103" fmla="*/ 3498 h 10000"/>
                <a:gd name="connsiteX104" fmla="*/ 9047 w 10000"/>
                <a:gd name="connsiteY104" fmla="*/ 3354 h 10000"/>
                <a:gd name="connsiteX105" fmla="*/ 8953 w 10000"/>
                <a:gd name="connsiteY105" fmla="*/ 3203 h 10000"/>
                <a:gd name="connsiteX106" fmla="*/ 8569 w 10000"/>
                <a:gd name="connsiteY106" fmla="*/ 3231 h 10000"/>
                <a:gd name="connsiteX107" fmla="*/ 8431 w 10000"/>
                <a:gd name="connsiteY107" fmla="*/ 3070 h 10000"/>
                <a:gd name="connsiteX108" fmla="*/ 8350 w 10000"/>
                <a:gd name="connsiteY108" fmla="*/ 3060 h 10000"/>
                <a:gd name="connsiteX109" fmla="*/ 8350 w 10000"/>
                <a:gd name="connsiteY109" fmla="*/ 3132 h 10000"/>
                <a:gd name="connsiteX110" fmla="*/ 8176 w 10000"/>
                <a:gd name="connsiteY110" fmla="*/ 3398 h 10000"/>
                <a:gd name="connsiteX111" fmla="*/ 7990 w 10000"/>
                <a:gd name="connsiteY111" fmla="*/ 3556 h 10000"/>
                <a:gd name="connsiteX112" fmla="*/ 7401 w 10000"/>
                <a:gd name="connsiteY112" fmla="*/ 3823 h 10000"/>
                <a:gd name="connsiteX113" fmla="*/ 7198 w 10000"/>
                <a:gd name="connsiteY113" fmla="*/ 3815 h 10000"/>
                <a:gd name="connsiteX114" fmla="*/ 6915 w 10000"/>
                <a:gd name="connsiteY114" fmla="*/ 3856 h 10000"/>
                <a:gd name="connsiteX115" fmla="*/ 6757 w 10000"/>
                <a:gd name="connsiteY115" fmla="*/ 3815 h 10000"/>
                <a:gd name="connsiteX116" fmla="*/ 6965 w 10000"/>
                <a:gd name="connsiteY116" fmla="*/ 3738 h 10000"/>
                <a:gd name="connsiteX117" fmla="*/ 7235 w 10000"/>
                <a:gd name="connsiteY117" fmla="*/ 3705 h 10000"/>
                <a:gd name="connsiteX118" fmla="*/ 7455 w 10000"/>
                <a:gd name="connsiteY118" fmla="*/ 3581 h 10000"/>
                <a:gd name="connsiteX119" fmla="*/ 7674 w 10000"/>
                <a:gd name="connsiteY119" fmla="*/ 3522 h 10000"/>
                <a:gd name="connsiteX120" fmla="*/ 8082 w 10000"/>
                <a:gd name="connsiteY120" fmla="*/ 3303 h 10000"/>
                <a:gd name="connsiteX121" fmla="*/ 8157 w 10000"/>
                <a:gd name="connsiteY121" fmla="*/ 3159 h 10000"/>
                <a:gd name="connsiteX122" fmla="*/ 8165 w 10000"/>
                <a:gd name="connsiteY122" fmla="*/ 2974 h 10000"/>
                <a:gd name="connsiteX123" fmla="*/ 7978 w 10000"/>
                <a:gd name="connsiteY123" fmla="*/ 2942 h 10000"/>
                <a:gd name="connsiteX124" fmla="*/ 8058 w 10000"/>
                <a:gd name="connsiteY124" fmla="*/ 2829 h 10000"/>
                <a:gd name="connsiteX125" fmla="*/ 8087 w 10000"/>
                <a:gd name="connsiteY125" fmla="*/ 2686 h 10000"/>
                <a:gd name="connsiteX126" fmla="*/ 8007 w 10000"/>
                <a:gd name="connsiteY126" fmla="*/ 2552 h 10000"/>
                <a:gd name="connsiteX127" fmla="*/ 7450 w 10000"/>
                <a:gd name="connsiteY127" fmla="*/ 2736 h 10000"/>
                <a:gd name="connsiteX128" fmla="*/ 6694 w 10000"/>
                <a:gd name="connsiteY128" fmla="*/ 2654 h 10000"/>
                <a:gd name="connsiteX129" fmla="*/ 6304 w 10000"/>
                <a:gd name="connsiteY129" fmla="*/ 2140 h 10000"/>
                <a:gd name="connsiteX130" fmla="*/ 5294 w 10000"/>
                <a:gd name="connsiteY130" fmla="*/ 2043 h 10000"/>
                <a:gd name="connsiteX131" fmla="*/ 4505 w 10000"/>
                <a:gd name="connsiteY131" fmla="*/ 1617 h 10000"/>
                <a:gd name="connsiteX132" fmla="*/ 3730 w 10000"/>
                <a:gd name="connsiteY132" fmla="*/ 1106 h 10000"/>
                <a:gd name="connsiteX133" fmla="*/ 3154 w 10000"/>
                <a:gd name="connsiteY133" fmla="*/ 163 h 10000"/>
                <a:gd name="connsiteX134" fmla="*/ 2375 w 10000"/>
                <a:gd name="connsiteY134" fmla="*/ 0 h 10000"/>
                <a:gd name="connsiteX135" fmla="*/ 2226 w 10000"/>
                <a:gd name="connsiteY135" fmla="*/ 886 h 10000"/>
                <a:gd name="connsiteX136" fmla="*/ 2375 w 10000"/>
                <a:gd name="connsiteY136" fmla="*/ 1111 h 10000"/>
                <a:gd name="connsiteX137" fmla="*/ 2791 w 10000"/>
                <a:gd name="connsiteY137" fmla="*/ 1360 h 10000"/>
                <a:gd name="connsiteX138" fmla="*/ 2808 w 10000"/>
                <a:gd name="connsiteY138" fmla="*/ 1660 h 10000"/>
                <a:gd name="connsiteX139" fmla="*/ 2632 w 10000"/>
                <a:gd name="connsiteY139" fmla="*/ 1913 h 10000"/>
                <a:gd name="connsiteX140" fmla="*/ 2375 w 10000"/>
                <a:gd name="connsiteY140" fmla="*/ 2065 h 10000"/>
                <a:gd name="connsiteX141" fmla="*/ 2039 w 10000"/>
                <a:gd name="connsiteY141" fmla="*/ 2125 h 10000"/>
                <a:gd name="connsiteX142" fmla="*/ 1950 w 10000"/>
                <a:gd name="connsiteY142" fmla="*/ 2215 h 10000"/>
                <a:gd name="connsiteX143" fmla="*/ 2148 w 10000"/>
                <a:gd name="connsiteY143" fmla="*/ 2423 h 10000"/>
                <a:gd name="connsiteX144" fmla="*/ 2261 w 10000"/>
                <a:gd name="connsiteY144" fmla="*/ 2918 h 10000"/>
                <a:gd name="connsiteX145" fmla="*/ 2005 w 10000"/>
                <a:gd name="connsiteY145" fmla="*/ 3343 h 10000"/>
                <a:gd name="connsiteX146" fmla="*/ 2094 w 10000"/>
                <a:gd name="connsiteY146" fmla="*/ 3471 h 10000"/>
                <a:gd name="connsiteX147" fmla="*/ 2012 w 10000"/>
                <a:gd name="connsiteY147" fmla="*/ 3691 h 10000"/>
                <a:gd name="connsiteX148" fmla="*/ 1850 w 10000"/>
                <a:gd name="connsiteY148" fmla="*/ 3845 h 10000"/>
                <a:gd name="connsiteX149" fmla="*/ 1199 w 10000"/>
                <a:gd name="connsiteY149" fmla="*/ 3963 h 10000"/>
                <a:gd name="connsiteX150" fmla="*/ 1158 w 10000"/>
                <a:gd name="connsiteY150" fmla="*/ 4167 h 10000"/>
                <a:gd name="connsiteX151" fmla="*/ 808 w 10000"/>
                <a:gd name="connsiteY151" fmla="*/ 4470 h 10000"/>
                <a:gd name="connsiteX152" fmla="*/ 854 w 10000"/>
                <a:gd name="connsiteY152" fmla="*/ 4911 h 10000"/>
                <a:gd name="connsiteX153" fmla="*/ 560 w 10000"/>
                <a:gd name="connsiteY153" fmla="*/ 5474 h 10000"/>
                <a:gd name="connsiteX154" fmla="*/ 358 w 10000"/>
                <a:gd name="connsiteY154" fmla="*/ 5539 h 10000"/>
                <a:gd name="connsiteX155" fmla="*/ 275 w 10000"/>
                <a:gd name="connsiteY155" fmla="*/ 5405 h 10000"/>
                <a:gd name="connsiteX156" fmla="*/ 174 w 10000"/>
                <a:gd name="connsiteY156" fmla="*/ 5608 h 10000"/>
                <a:gd name="connsiteX157" fmla="*/ 239 w 10000"/>
                <a:gd name="connsiteY157" fmla="*/ 5258 h 10000"/>
                <a:gd name="connsiteX158" fmla="*/ 197 w 10000"/>
                <a:gd name="connsiteY158" fmla="*/ 5193 h 10000"/>
                <a:gd name="connsiteX0" fmla="*/ 197 w 10000"/>
                <a:gd name="connsiteY0" fmla="*/ 5193 h 9423"/>
                <a:gd name="connsiteX1" fmla="*/ 0 w 10000"/>
                <a:gd name="connsiteY1" fmla="*/ 5375 h 9423"/>
                <a:gd name="connsiteX2" fmla="*/ 0 w 10000"/>
                <a:gd name="connsiteY2" fmla="*/ 6269 h 9423"/>
                <a:gd name="connsiteX3" fmla="*/ 109 w 10000"/>
                <a:gd name="connsiteY3" fmla="*/ 6293 h 9423"/>
                <a:gd name="connsiteX4" fmla="*/ 134 w 10000"/>
                <a:gd name="connsiteY4" fmla="*/ 6364 h 9423"/>
                <a:gd name="connsiteX5" fmla="*/ 130 w 10000"/>
                <a:gd name="connsiteY5" fmla="*/ 6485 h 9423"/>
                <a:gd name="connsiteX6" fmla="*/ 89 w 10000"/>
                <a:gd name="connsiteY6" fmla="*/ 6538 h 9423"/>
                <a:gd name="connsiteX7" fmla="*/ 255 w 10000"/>
                <a:gd name="connsiteY7" fmla="*/ 6433 h 9423"/>
                <a:gd name="connsiteX8" fmla="*/ 325 w 10000"/>
                <a:gd name="connsiteY8" fmla="*/ 6334 h 9423"/>
                <a:gd name="connsiteX9" fmla="*/ 413 w 10000"/>
                <a:gd name="connsiteY9" fmla="*/ 6402 h 9423"/>
                <a:gd name="connsiteX10" fmla="*/ 316 w 10000"/>
                <a:gd name="connsiteY10" fmla="*/ 6549 h 9423"/>
                <a:gd name="connsiteX11" fmla="*/ 419 w 10000"/>
                <a:gd name="connsiteY11" fmla="*/ 6553 h 9423"/>
                <a:gd name="connsiteX12" fmla="*/ 469 w 10000"/>
                <a:gd name="connsiteY12" fmla="*/ 6589 h 9423"/>
                <a:gd name="connsiteX13" fmla="*/ 337 w 10000"/>
                <a:gd name="connsiteY13" fmla="*/ 6637 h 9423"/>
                <a:gd name="connsiteX14" fmla="*/ 130 w 10000"/>
                <a:gd name="connsiteY14" fmla="*/ 6788 h 9423"/>
                <a:gd name="connsiteX15" fmla="*/ 497 w 10000"/>
                <a:gd name="connsiteY15" fmla="*/ 6906 h 9423"/>
                <a:gd name="connsiteX16" fmla="*/ 545 w 10000"/>
                <a:gd name="connsiteY16" fmla="*/ 7073 h 9423"/>
                <a:gd name="connsiteX17" fmla="*/ 419 w 10000"/>
                <a:gd name="connsiteY17" fmla="*/ 7320 h 9423"/>
                <a:gd name="connsiteX18" fmla="*/ 688 w 10000"/>
                <a:gd name="connsiteY18" fmla="*/ 7306 h 9423"/>
                <a:gd name="connsiteX19" fmla="*/ 709 w 10000"/>
                <a:gd name="connsiteY19" fmla="*/ 7489 h 9423"/>
                <a:gd name="connsiteX20" fmla="*/ 530 w 10000"/>
                <a:gd name="connsiteY20" fmla="*/ 7621 h 9423"/>
                <a:gd name="connsiteX21" fmla="*/ 560 w 10000"/>
                <a:gd name="connsiteY21" fmla="*/ 7862 h 9423"/>
                <a:gd name="connsiteX22" fmla="*/ 489 w 10000"/>
                <a:gd name="connsiteY22" fmla="*/ 8056 h 9423"/>
                <a:gd name="connsiteX23" fmla="*/ 703 w 10000"/>
                <a:gd name="connsiteY23" fmla="*/ 8074 h 9423"/>
                <a:gd name="connsiteX24" fmla="*/ 909 w 10000"/>
                <a:gd name="connsiteY24" fmla="*/ 8807 h 9423"/>
                <a:gd name="connsiteX25" fmla="*/ 1150 w 10000"/>
                <a:gd name="connsiteY25" fmla="*/ 8989 h 9423"/>
                <a:gd name="connsiteX26" fmla="*/ 1255 w 10000"/>
                <a:gd name="connsiteY26" fmla="*/ 9187 h 9423"/>
                <a:gd name="connsiteX27" fmla="*/ 6419 w 10000"/>
                <a:gd name="connsiteY27" fmla="*/ 9402 h 9423"/>
                <a:gd name="connsiteX28" fmla="*/ 6586 w 10000"/>
                <a:gd name="connsiteY28" fmla="*/ 8620 h 9423"/>
                <a:gd name="connsiteX29" fmla="*/ 6855 w 10000"/>
                <a:gd name="connsiteY29" fmla="*/ 8274 h 9423"/>
                <a:gd name="connsiteX30" fmla="*/ 6855 w 10000"/>
                <a:gd name="connsiteY30" fmla="*/ 8089 h 9423"/>
                <a:gd name="connsiteX31" fmla="*/ 6757 w 10000"/>
                <a:gd name="connsiteY31" fmla="*/ 7989 h 9423"/>
                <a:gd name="connsiteX32" fmla="*/ 6915 w 10000"/>
                <a:gd name="connsiteY32" fmla="*/ 7822 h 9423"/>
                <a:gd name="connsiteX33" fmla="*/ 6887 w 10000"/>
                <a:gd name="connsiteY33" fmla="*/ 7687 h 9423"/>
                <a:gd name="connsiteX34" fmla="*/ 6779 w 10000"/>
                <a:gd name="connsiteY34" fmla="*/ 7572 h 9423"/>
                <a:gd name="connsiteX35" fmla="*/ 6757 w 10000"/>
                <a:gd name="connsiteY35" fmla="*/ 7481 h 9423"/>
                <a:gd name="connsiteX36" fmla="*/ 6785 w 10000"/>
                <a:gd name="connsiteY36" fmla="*/ 7415 h 9423"/>
                <a:gd name="connsiteX37" fmla="*/ 6931 w 10000"/>
                <a:gd name="connsiteY37" fmla="*/ 7468 h 9423"/>
                <a:gd name="connsiteX38" fmla="*/ 7045 w 10000"/>
                <a:gd name="connsiteY38" fmla="*/ 7465 h 9423"/>
                <a:gd name="connsiteX39" fmla="*/ 6983 w 10000"/>
                <a:gd name="connsiteY39" fmla="*/ 7355 h 9423"/>
                <a:gd name="connsiteX40" fmla="*/ 7003 w 10000"/>
                <a:gd name="connsiteY40" fmla="*/ 7289 h 9423"/>
                <a:gd name="connsiteX41" fmla="*/ 7089 w 10000"/>
                <a:gd name="connsiteY41" fmla="*/ 7196 h 9423"/>
                <a:gd name="connsiteX42" fmla="*/ 7074 w 10000"/>
                <a:gd name="connsiteY42" fmla="*/ 7118 h 9423"/>
                <a:gd name="connsiteX43" fmla="*/ 7152 w 10000"/>
                <a:gd name="connsiteY43" fmla="*/ 6859 h 9423"/>
                <a:gd name="connsiteX44" fmla="*/ 7130 w 10000"/>
                <a:gd name="connsiteY44" fmla="*/ 6778 h 9423"/>
                <a:gd name="connsiteX45" fmla="*/ 6729 w 10000"/>
                <a:gd name="connsiteY45" fmla="*/ 6579 h 9423"/>
                <a:gd name="connsiteX46" fmla="*/ 6785 w 10000"/>
                <a:gd name="connsiteY46" fmla="*/ 6572 h 9423"/>
                <a:gd name="connsiteX47" fmla="*/ 6998 w 10000"/>
                <a:gd name="connsiteY47" fmla="*/ 6622 h 9423"/>
                <a:gd name="connsiteX48" fmla="*/ 7230 w 10000"/>
                <a:gd name="connsiteY48" fmla="*/ 6603 h 9423"/>
                <a:gd name="connsiteX49" fmla="*/ 7295 w 10000"/>
                <a:gd name="connsiteY49" fmla="*/ 6534 h 9423"/>
                <a:gd name="connsiteX50" fmla="*/ 7074 w 10000"/>
                <a:gd name="connsiteY50" fmla="*/ 6399 h 9423"/>
                <a:gd name="connsiteX51" fmla="*/ 6414 w 10000"/>
                <a:gd name="connsiteY51" fmla="*/ 6310 h 9423"/>
                <a:gd name="connsiteX52" fmla="*/ 6458 w 10000"/>
                <a:gd name="connsiteY52" fmla="*/ 6269 h 9423"/>
                <a:gd name="connsiteX53" fmla="*/ 6998 w 10000"/>
                <a:gd name="connsiteY53" fmla="*/ 6241 h 9423"/>
                <a:gd name="connsiteX54" fmla="*/ 7295 w 10000"/>
                <a:gd name="connsiteY54" fmla="*/ 6322 h 9423"/>
                <a:gd name="connsiteX55" fmla="*/ 7466 w 10000"/>
                <a:gd name="connsiteY55" fmla="*/ 6269 h 9423"/>
                <a:gd name="connsiteX56" fmla="*/ 7529 w 10000"/>
                <a:gd name="connsiteY56" fmla="*/ 6130 h 9423"/>
                <a:gd name="connsiteX57" fmla="*/ 7840 w 10000"/>
                <a:gd name="connsiteY57" fmla="*/ 6130 h 9423"/>
                <a:gd name="connsiteX58" fmla="*/ 8261 w 10000"/>
                <a:gd name="connsiteY58" fmla="*/ 5848 h 9423"/>
                <a:gd name="connsiteX59" fmla="*/ 8275 w 10000"/>
                <a:gd name="connsiteY59" fmla="*/ 5659 h 9423"/>
                <a:gd name="connsiteX60" fmla="*/ 8453 w 10000"/>
                <a:gd name="connsiteY60" fmla="*/ 5702 h 9423"/>
                <a:gd name="connsiteX61" fmla="*/ 8446 w 10000"/>
                <a:gd name="connsiteY61" fmla="*/ 5891 h 9423"/>
                <a:gd name="connsiteX62" fmla="*/ 8727 w 10000"/>
                <a:gd name="connsiteY62" fmla="*/ 5878 h 9423"/>
                <a:gd name="connsiteX63" fmla="*/ 8913 w 10000"/>
                <a:gd name="connsiteY63" fmla="*/ 5682 h 9423"/>
                <a:gd name="connsiteX64" fmla="*/ 9258 w 10000"/>
                <a:gd name="connsiteY64" fmla="*/ 5506 h 9423"/>
                <a:gd name="connsiteX65" fmla="*/ 9203 w 10000"/>
                <a:gd name="connsiteY65" fmla="*/ 5307 h 9423"/>
                <a:gd name="connsiteX66" fmla="*/ 9306 w 10000"/>
                <a:gd name="connsiteY66" fmla="*/ 5387 h 9423"/>
                <a:gd name="connsiteX67" fmla="*/ 9464 w 10000"/>
                <a:gd name="connsiteY67" fmla="*/ 5387 h 9423"/>
                <a:gd name="connsiteX68" fmla="*/ 9464 w 10000"/>
                <a:gd name="connsiteY68" fmla="*/ 5294 h 9423"/>
                <a:gd name="connsiteX69" fmla="*/ 9611 w 10000"/>
                <a:gd name="connsiteY69" fmla="*/ 5226 h 9423"/>
                <a:gd name="connsiteX70" fmla="*/ 9592 w 10000"/>
                <a:gd name="connsiteY70" fmla="*/ 5153 h 9423"/>
                <a:gd name="connsiteX71" fmla="*/ 8350 w 10000"/>
                <a:gd name="connsiteY71" fmla="*/ 5296 h 9423"/>
                <a:gd name="connsiteX72" fmla="*/ 8058 w 10000"/>
                <a:gd name="connsiteY72" fmla="*/ 5256 h 9423"/>
                <a:gd name="connsiteX73" fmla="*/ 7942 w 10000"/>
                <a:gd name="connsiteY73" fmla="*/ 5307 h 9423"/>
                <a:gd name="connsiteX74" fmla="*/ 7903 w 10000"/>
                <a:gd name="connsiteY74" fmla="*/ 5206 h 9423"/>
                <a:gd name="connsiteX75" fmla="*/ 7765 w 10000"/>
                <a:gd name="connsiteY75" fmla="*/ 5118 h 9423"/>
                <a:gd name="connsiteX76" fmla="*/ 7213 w 10000"/>
                <a:gd name="connsiteY76" fmla="*/ 4935 h 9423"/>
                <a:gd name="connsiteX77" fmla="*/ 6887 w 10000"/>
                <a:gd name="connsiteY77" fmla="*/ 4966 h 9423"/>
                <a:gd name="connsiteX78" fmla="*/ 6757 w 10000"/>
                <a:gd name="connsiteY78" fmla="*/ 4914 h 9423"/>
                <a:gd name="connsiteX79" fmla="*/ 6894 w 10000"/>
                <a:gd name="connsiteY79" fmla="*/ 4870 h 9423"/>
                <a:gd name="connsiteX80" fmla="*/ 6998 w 10000"/>
                <a:gd name="connsiteY80" fmla="*/ 4774 h 9423"/>
                <a:gd name="connsiteX81" fmla="*/ 7152 w 10000"/>
                <a:gd name="connsiteY81" fmla="*/ 4804 h 9423"/>
                <a:gd name="connsiteX82" fmla="*/ 7335 w 10000"/>
                <a:gd name="connsiteY82" fmla="*/ 4780 h 9423"/>
                <a:gd name="connsiteX83" fmla="*/ 7611 w 10000"/>
                <a:gd name="connsiteY83" fmla="*/ 4811 h 9423"/>
                <a:gd name="connsiteX84" fmla="*/ 7645 w 10000"/>
                <a:gd name="connsiteY84" fmla="*/ 4798 h 9423"/>
                <a:gd name="connsiteX85" fmla="*/ 7859 w 10000"/>
                <a:gd name="connsiteY85" fmla="*/ 4944 h 9423"/>
                <a:gd name="connsiteX86" fmla="*/ 8017 w 10000"/>
                <a:gd name="connsiteY86" fmla="*/ 4890 h 9423"/>
                <a:gd name="connsiteX87" fmla="*/ 8032 w 10000"/>
                <a:gd name="connsiteY87" fmla="*/ 4840 h 9423"/>
                <a:gd name="connsiteX88" fmla="*/ 8176 w 10000"/>
                <a:gd name="connsiteY88" fmla="*/ 4927 h 9423"/>
                <a:gd name="connsiteX89" fmla="*/ 8369 w 10000"/>
                <a:gd name="connsiteY89" fmla="*/ 4974 h 9423"/>
                <a:gd name="connsiteX90" fmla="*/ 8446 w 10000"/>
                <a:gd name="connsiteY90" fmla="*/ 4888 h 9423"/>
                <a:gd name="connsiteX91" fmla="*/ 8507 w 10000"/>
                <a:gd name="connsiteY91" fmla="*/ 4935 h 9423"/>
                <a:gd name="connsiteX92" fmla="*/ 8596 w 10000"/>
                <a:gd name="connsiteY92" fmla="*/ 5105 h 9423"/>
                <a:gd name="connsiteX93" fmla="*/ 8782 w 10000"/>
                <a:gd name="connsiteY93" fmla="*/ 5143 h 9423"/>
                <a:gd name="connsiteX94" fmla="*/ 9542 w 10000"/>
                <a:gd name="connsiteY94" fmla="*/ 4896 h 9423"/>
                <a:gd name="connsiteX95" fmla="*/ 9914 w 10000"/>
                <a:gd name="connsiteY95" fmla="*/ 4549 h 9423"/>
                <a:gd name="connsiteX96" fmla="*/ 10000 w 10000"/>
                <a:gd name="connsiteY96" fmla="*/ 4301 h 9423"/>
                <a:gd name="connsiteX97" fmla="*/ 9866 w 10000"/>
                <a:gd name="connsiteY97" fmla="*/ 4072 h 9423"/>
                <a:gd name="connsiteX98" fmla="*/ 9582 w 10000"/>
                <a:gd name="connsiteY98" fmla="*/ 3938 h 9423"/>
                <a:gd name="connsiteX99" fmla="*/ 9382 w 10000"/>
                <a:gd name="connsiteY99" fmla="*/ 3712 h 9423"/>
                <a:gd name="connsiteX100" fmla="*/ 9569 w 10000"/>
                <a:gd name="connsiteY100" fmla="*/ 3705 h 9423"/>
                <a:gd name="connsiteX101" fmla="*/ 9555 w 10000"/>
                <a:gd name="connsiteY101" fmla="*/ 3653 h 9423"/>
                <a:gd name="connsiteX102" fmla="*/ 9068 w 10000"/>
                <a:gd name="connsiteY102" fmla="*/ 3498 h 9423"/>
                <a:gd name="connsiteX103" fmla="*/ 9047 w 10000"/>
                <a:gd name="connsiteY103" fmla="*/ 3354 h 9423"/>
                <a:gd name="connsiteX104" fmla="*/ 8953 w 10000"/>
                <a:gd name="connsiteY104" fmla="*/ 3203 h 9423"/>
                <a:gd name="connsiteX105" fmla="*/ 8569 w 10000"/>
                <a:gd name="connsiteY105" fmla="*/ 3231 h 9423"/>
                <a:gd name="connsiteX106" fmla="*/ 8431 w 10000"/>
                <a:gd name="connsiteY106" fmla="*/ 3070 h 9423"/>
                <a:gd name="connsiteX107" fmla="*/ 8350 w 10000"/>
                <a:gd name="connsiteY107" fmla="*/ 3060 h 9423"/>
                <a:gd name="connsiteX108" fmla="*/ 8350 w 10000"/>
                <a:gd name="connsiteY108" fmla="*/ 3132 h 9423"/>
                <a:gd name="connsiteX109" fmla="*/ 8176 w 10000"/>
                <a:gd name="connsiteY109" fmla="*/ 3398 h 9423"/>
                <a:gd name="connsiteX110" fmla="*/ 7990 w 10000"/>
                <a:gd name="connsiteY110" fmla="*/ 3556 h 9423"/>
                <a:gd name="connsiteX111" fmla="*/ 7401 w 10000"/>
                <a:gd name="connsiteY111" fmla="*/ 3823 h 9423"/>
                <a:gd name="connsiteX112" fmla="*/ 7198 w 10000"/>
                <a:gd name="connsiteY112" fmla="*/ 3815 h 9423"/>
                <a:gd name="connsiteX113" fmla="*/ 6915 w 10000"/>
                <a:gd name="connsiteY113" fmla="*/ 3856 h 9423"/>
                <a:gd name="connsiteX114" fmla="*/ 6757 w 10000"/>
                <a:gd name="connsiteY114" fmla="*/ 3815 h 9423"/>
                <a:gd name="connsiteX115" fmla="*/ 6965 w 10000"/>
                <a:gd name="connsiteY115" fmla="*/ 3738 h 9423"/>
                <a:gd name="connsiteX116" fmla="*/ 7235 w 10000"/>
                <a:gd name="connsiteY116" fmla="*/ 3705 h 9423"/>
                <a:gd name="connsiteX117" fmla="*/ 7455 w 10000"/>
                <a:gd name="connsiteY117" fmla="*/ 3581 h 9423"/>
                <a:gd name="connsiteX118" fmla="*/ 7674 w 10000"/>
                <a:gd name="connsiteY118" fmla="*/ 3522 h 9423"/>
                <a:gd name="connsiteX119" fmla="*/ 8082 w 10000"/>
                <a:gd name="connsiteY119" fmla="*/ 3303 h 9423"/>
                <a:gd name="connsiteX120" fmla="*/ 8157 w 10000"/>
                <a:gd name="connsiteY120" fmla="*/ 3159 h 9423"/>
                <a:gd name="connsiteX121" fmla="*/ 8165 w 10000"/>
                <a:gd name="connsiteY121" fmla="*/ 2974 h 9423"/>
                <a:gd name="connsiteX122" fmla="*/ 7978 w 10000"/>
                <a:gd name="connsiteY122" fmla="*/ 2942 h 9423"/>
                <a:gd name="connsiteX123" fmla="*/ 8058 w 10000"/>
                <a:gd name="connsiteY123" fmla="*/ 2829 h 9423"/>
                <a:gd name="connsiteX124" fmla="*/ 8087 w 10000"/>
                <a:gd name="connsiteY124" fmla="*/ 2686 h 9423"/>
                <a:gd name="connsiteX125" fmla="*/ 8007 w 10000"/>
                <a:gd name="connsiteY125" fmla="*/ 2552 h 9423"/>
                <a:gd name="connsiteX126" fmla="*/ 7450 w 10000"/>
                <a:gd name="connsiteY126" fmla="*/ 2736 h 9423"/>
                <a:gd name="connsiteX127" fmla="*/ 6694 w 10000"/>
                <a:gd name="connsiteY127" fmla="*/ 2654 h 9423"/>
                <a:gd name="connsiteX128" fmla="*/ 6304 w 10000"/>
                <a:gd name="connsiteY128" fmla="*/ 2140 h 9423"/>
                <a:gd name="connsiteX129" fmla="*/ 5294 w 10000"/>
                <a:gd name="connsiteY129" fmla="*/ 2043 h 9423"/>
                <a:gd name="connsiteX130" fmla="*/ 4505 w 10000"/>
                <a:gd name="connsiteY130" fmla="*/ 1617 h 9423"/>
                <a:gd name="connsiteX131" fmla="*/ 3730 w 10000"/>
                <a:gd name="connsiteY131" fmla="*/ 1106 h 9423"/>
                <a:gd name="connsiteX132" fmla="*/ 3154 w 10000"/>
                <a:gd name="connsiteY132" fmla="*/ 163 h 9423"/>
                <a:gd name="connsiteX133" fmla="*/ 2375 w 10000"/>
                <a:gd name="connsiteY133" fmla="*/ 0 h 9423"/>
                <a:gd name="connsiteX134" fmla="*/ 2226 w 10000"/>
                <a:gd name="connsiteY134" fmla="*/ 886 h 9423"/>
                <a:gd name="connsiteX135" fmla="*/ 2375 w 10000"/>
                <a:gd name="connsiteY135" fmla="*/ 1111 h 9423"/>
                <a:gd name="connsiteX136" fmla="*/ 2791 w 10000"/>
                <a:gd name="connsiteY136" fmla="*/ 1360 h 9423"/>
                <a:gd name="connsiteX137" fmla="*/ 2808 w 10000"/>
                <a:gd name="connsiteY137" fmla="*/ 1660 h 9423"/>
                <a:gd name="connsiteX138" fmla="*/ 2632 w 10000"/>
                <a:gd name="connsiteY138" fmla="*/ 1913 h 9423"/>
                <a:gd name="connsiteX139" fmla="*/ 2375 w 10000"/>
                <a:gd name="connsiteY139" fmla="*/ 2065 h 9423"/>
                <a:gd name="connsiteX140" fmla="*/ 2039 w 10000"/>
                <a:gd name="connsiteY140" fmla="*/ 2125 h 9423"/>
                <a:gd name="connsiteX141" fmla="*/ 1950 w 10000"/>
                <a:gd name="connsiteY141" fmla="*/ 2215 h 9423"/>
                <a:gd name="connsiteX142" fmla="*/ 2148 w 10000"/>
                <a:gd name="connsiteY142" fmla="*/ 2423 h 9423"/>
                <a:gd name="connsiteX143" fmla="*/ 2261 w 10000"/>
                <a:gd name="connsiteY143" fmla="*/ 2918 h 9423"/>
                <a:gd name="connsiteX144" fmla="*/ 2005 w 10000"/>
                <a:gd name="connsiteY144" fmla="*/ 3343 h 9423"/>
                <a:gd name="connsiteX145" fmla="*/ 2094 w 10000"/>
                <a:gd name="connsiteY145" fmla="*/ 3471 h 9423"/>
                <a:gd name="connsiteX146" fmla="*/ 2012 w 10000"/>
                <a:gd name="connsiteY146" fmla="*/ 3691 h 9423"/>
                <a:gd name="connsiteX147" fmla="*/ 1850 w 10000"/>
                <a:gd name="connsiteY147" fmla="*/ 3845 h 9423"/>
                <a:gd name="connsiteX148" fmla="*/ 1199 w 10000"/>
                <a:gd name="connsiteY148" fmla="*/ 3963 h 9423"/>
                <a:gd name="connsiteX149" fmla="*/ 1158 w 10000"/>
                <a:gd name="connsiteY149" fmla="*/ 4167 h 9423"/>
                <a:gd name="connsiteX150" fmla="*/ 808 w 10000"/>
                <a:gd name="connsiteY150" fmla="*/ 4470 h 9423"/>
                <a:gd name="connsiteX151" fmla="*/ 854 w 10000"/>
                <a:gd name="connsiteY151" fmla="*/ 4911 h 9423"/>
                <a:gd name="connsiteX152" fmla="*/ 560 w 10000"/>
                <a:gd name="connsiteY152" fmla="*/ 5474 h 9423"/>
                <a:gd name="connsiteX153" fmla="*/ 358 w 10000"/>
                <a:gd name="connsiteY153" fmla="*/ 5539 h 9423"/>
                <a:gd name="connsiteX154" fmla="*/ 275 w 10000"/>
                <a:gd name="connsiteY154" fmla="*/ 5405 h 9423"/>
                <a:gd name="connsiteX155" fmla="*/ 174 w 10000"/>
                <a:gd name="connsiteY155" fmla="*/ 5608 h 9423"/>
                <a:gd name="connsiteX156" fmla="*/ 239 w 10000"/>
                <a:gd name="connsiteY156" fmla="*/ 5258 h 9423"/>
                <a:gd name="connsiteX157" fmla="*/ 197 w 10000"/>
                <a:gd name="connsiteY157" fmla="*/ 5193 h 9423"/>
                <a:gd name="connsiteX0" fmla="*/ 197 w 10000"/>
                <a:gd name="connsiteY0" fmla="*/ 5511 h 9985"/>
                <a:gd name="connsiteX1" fmla="*/ 0 w 10000"/>
                <a:gd name="connsiteY1" fmla="*/ 5704 h 9985"/>
                <a:gd name="connsiteX2" fmla="*/ 0 w 10000"/>
                <a:gd name="connsiteY2" fmla="*/ 6653 h 9985"/>
                <a:gd name="connsiteX3" fmla="*/ 109 w 10000"/>
                <a:gd name="connsiteY3" fmla="*/ 6678 h 9985"/>
                <a:gd name="connsiteX4" fmla="*/ 134 w 10000"/>
                <a:gd name="connsiteY4" fmla="*/ 6754 h 9985"/>
                <a:gd name="connsiteX5" fmla="*/ 130 w 10000"/>
                <a:gd name="connsiteY5" fmla="*/ 6882 h 9985"/>
                <a:gd name="connsiteX6" fmla="*/ 89 w 10000"/>
                <a:gd name="connsiteY6" fmla="*/ 6938 h 9985"/>
                <a:gd name="connsiteX7" fmla="*/ 255 w 10000"/>
                <a:gd name="connsiteY7" fmla="*/ 6827 h 9985"/>
                <a:gd name="connsiteX8" fmla="*/ 325 w 10000"/>
                <a:gd name="connsiteY8" fmla="*/ 6722 h 9985"/>
                <a:gd name="connsiteX9" fmla="*/ 413 w 10000"/>
                <a:gd name="connsiteY9" fmla="*/ 6794 h 9985"/>
                <a:gd name="connsiteX10" fmla="*/ 316 w 10000"/>
                <a:gd name="connsiteY10" fmla="*/ 6950 h 9985"/>
                <a:gd name="connsiteX11" fmla="*/ 419 w 10000"/>
                <a:gd name="connsiteY11" fmla="*/ 6954 h 9985"/>
                <a:gd name="connsiteX12" fmla="*/ 469 w 10000"/>
                <a:gd name="connsiteY12" fmla="*/ 6992 h 9985"/>
                <a:gd name="connsiteX13" fmla="*/ 337 w 10000"/>
                <a:gd name="connsiteY13" fmla="*/ 7043 h 9985"/>
                <a:gd name="connsiteX14" fmla="*/ 130 w 10000"/>
                <a:gd name="connsiteY14" fmla="*/ 7204 h 9985"/>
                <a:gd name="connsiteX15" fmla="*/ 497 w 10000"/>
                <a:gd name="connsiteY15" fmla="*/ 7329 h 9985"/>
                <a:gd name="connsiteX16" fmla="*/ 545 w 10000"/>
                <a:gd name="connsiteY16" fmla="*/ 7506 h 9985"/>
                <a:gd name="connsiteX17" fmla="*/ 419 w 10000"/>
                <a:gd name="connsiteY17" fmla="*/ 7768 h 9985"/>
                <a:gd name="connsiteX18" fmla="*/ 688 w 10000"/>
                <a:gd name="connsiteY18" fmla="*/ 7753 h 9985"/>
                <a:gd name="connsiteX19" fmla="*/ 709 w 10000"/>
                <a:gd name="connsiteY19" fmla="*/ 7948 h 9985"/>
                <a:gd name="connsiteX20" fmla="*/ 530 w 10000"/>
                <a:gd name="connsiteY20" fmla="*/ 8088 h 9985"/>
                <a:gd name="connsiteX21" fmla="*/ 560 w 10000"/>
                <a:gd name="connsiteY21" fmla="*/ 8343 h 9985"/>
                <a:gd name="connsiteX22" fmla="*/ 489 w 10000"/>
                <a:gd name="connsiteY22" fmla="*/ 8549 h 9985"/>
                <a:gd name="connsiteX23" fmla="*/ 703 w 10000"/>
                <a:gd name="connsiteY23" fmla="*/ 8568 h 9985"/>
                <a:gd name="connsiteX24" fmla="*/ 909 w 10000"/>
                <a:gd name="connsiteY24" fmla="*/ 9346 h 9985"/>
                <a:gd name="connsiteX25" fmla="*/ 1150 w 10000"/>
                <a:gd name="connsiteY25" fmla="*/ 9539 h 9985"/>
                <a:gd name="connsiteX26" fmla="*/ 6419 w 10000"/>
                <a:gd name="connsiteY26" fmla="*/ 9978 h 9985"/>
                <a:gd name="connsiteX27" fmla="*/ 6586 w 10000"/>
                <a:gd name="connsiteY27" fmla="*/ 9148 h 9985"/>
                <a:gd name="connsiteX28" fmla="*/ 6855 w 10000"/>
                <a:gd name="connsiteY28" fmla="*/ 8781 h 9985"/>
                <a:gd name="connsiteX29" fmla="*/ 6855 w 10000"/>
                <a:gd name="connsiteY29" fmla="*/ 8584 h 9985"/>
                <a:gd name="connsiteX30" fmla="*/ 6757 w 10000"/>
                <a:gd name="connsiteY30" fmla="*/ 8478 h 9985"/>
                <a:gd name="connsiteX31" fmla="*/ 6915 w 10000"/>
                <a:gd name="connsiteY31" fmla="*/ 8301 h 9985"/>
                <a:gd name="connsiteX32" fmla="*/ 6887 w 10000"/>
                <a:gd name="connsiteY32" fmla="*/ 8158 h 9985"/>
                <a:gd name="connsiteX33" fmla="*/ 6779 w 10000"/>
                <a:gd name="connsiteY33" fmla="*/ 8036 h 9985"/>
                <a:gd name="connsiteX34" fmla="*/ 6757 w 10000"/>
                <a:gd name="connsiteY34" fmla="*/ 7939 h 9985"/>
                <a:gd name="connsiteX35" fmla="*/ 6785 w 10000"/>
                <a:gd name="connsiteY35" fmla="*/ 7869 h 9985"/>
                <a:gd name="connsiteX36" fmla="*/ 6931 w 10000"/>
                <a:gd name="connsiteY36" fmla="*/ 7925 h 9985"/>
                <a:gd name="connsiteX37" fmla="*/ 7045 w 10000"/>
                <a:gd name="connsiteY37" fmla="*/ 7922 h 9985"/>
                <a:gd name="connsiteX38" fmla="*/ 6983 w 10000"/>
                <a:gd name="connsiteY38" fmla="*/ 7805 h 9985"/>
                <a:gd name="connsiteX39" fmla="*/ 7003 w 10000"/>
                <a:gd name="connsiteY39" fmla="*/ 7735 h 9985"/>
                <a:gd name="connsiteX40" fmla="*/ 7089 w 10000"/>
                <a:gd name="connsiteY40" fmla="*/ 7637 h 9985"/>
                <a:gd name="connsiteX41" fmla="*/ 7074 w 10000"/>
                <a:gd name="connsiteY41" fmla="*/ 7554 h 9985"/>
                <a:gd name="connsiteX42" fmla="*/ 7152 w 10000"/>
                <a:gd name="connsiteY42" fmla="*/ 7279 h 9985"/>
                <a:gd name="connsiteX43" fmla="*/ 7130 w 10000"/>
                <a:gd name="connsiteY43" fmla="*/ 7193 h 9985"/>
                <a:gd name="connsiteX44" fmla="*/ 6729 w 10000"/>
                <a:gd name="connsiteY44" fmla="*/ 6982 h 9985"/>
                <a:gd name="connsiteX45" fmla="*/ 6785 w 10000"/>
                <a:gd name="connsiteY45" fmla="*/ 6974 h 9985"/>
                <a:gd name="connsiteX46" fmla="*/ 6998 w 10000"/>
                <a:gd name="connsiteY46" fmla="*/ 7027 h 9985"/>
                <a:gd name="connsiteX47" fmla="*/ 7230 w 10000"/>
                <a:gd name="connsiteY47" fmla="*/ 7007 h 9985"/>
                <a:gd name="connsiteX48" fmla="*/ 7295 w 10000"/>
                <a:gd name="connsiteY48" fmla="*/ 6934 h 9985"/>
                <a:gd name="connsiteX49" fmla="*/ 7074 w 10000"/>
                <a:gd name="connsiteY49" fmla="*/ 6791 h 9985"/>
                <a:gd name="connsiteX50" fmla="*/ 6414 w 10000"/>
                <a:gd name="connsiteY50" fmla="*/ 6696 h 9985"/>
                <a:gd name="connsiteX51" fmla="*/ 6458 w 10000"/>
                <a:gd name="connsiteY51" fmla="*/ 6653 h 9985"/>
                <a:gd name="connsiteX52" fmla="*/ 6998 w 10000"/>
                <a:gd name="connsiteY52" fmla="*/ 6623 h 9985"/>
                <a:gd name="connsiteX53" fmla="*/ 7295 w 10000"/>
                <a:gd name="connsiteY53" fmla="*/ 6709 h 9985"/>
                <a:gd name="connsiteX54" fmla="*/ 7466 w 10000"/>
                <a:gd name="connsiteY54" fmla="*/ 6653 h 9985"/>
                <a:gd name="connsiteX55" fmla="*/ 7529 w 10000"/>
                <a:gd name="connsiteY55" fmla="*/ 6505 h 9985"/>
                <a:gd name="connsiteX56" fmla="*/ 7840 w 10000"/>
                <a:gd name="connsiteY56" fmla="*/ 6505 h 9985"/>
                <a:gd name="connsiteX57" fmla="*/ 8261 w 10000"/>
                <a:gd name="connsiteY57" fmla="*/ 6206 h 9985"/>
                <a:gd name="connsiteX58" fmla="*/ 8275 w 10000"/>
                <a:gd name="connsiteY58" fmla="*/ 6006 h 9985"/>
                <a:gd name="connsiteX59" fmla="*/ 8453 w 10000"/>
                <a:gd name="connsiteY59" fmla="*/ 6051 h 9985"/>
                <a:gd name="connsiteX60" fmla="*/ 8446 w 10000"/>
                <a:gd name="connsiteY60" fmla="*/ 6252 h 9985"/>
                <a:gd name="connsiteX61" fmla="*/ 8727 w 10000"/>
                <a:gd name="connsiteY61" fmla="*/ 6238 h 9985"/>
                <a:gd name="connsiteX62" fmla="*/ 8913 w 10000"/>
                <a:gd name="connsiteY62" fmla="*/ 6030 h 9985"/>
                <a:gd name="connsiteX63" fmla="*/ 9258 w 10000"/>
                <a:gd name="connsiteY63" fmla="*/ 5843 h 9985"/>
                <a:gd name="connsiteX64" fmla="*/ 9203 w 10000"/>
                <a:gd name="connsiteY64" fmla="*/ 5632 h 9985"/>
                <a:gd name="connsiteX65" fmla="*/ 9306 w 10000"/>
                <a:gd name="connsiteY65" fmla="*/ 5717 h 9985"/>
                <a:gd name="connsiteX66" fmla="*/ 9464 w 10000"/>
                <a:gd name="connsiteY66" fmla="*/ 5717 h 9985"/>
                <a:gd name="connsiteX67" fmla="*/ 9464 w 10000"/>
                <a:gd name="connsiteY67" fmla="*/ 5618 h 9985"/>
                <a:gd name="connsiteX68" fmla="*/ 9611 w 10000"/>
                <a:gd name="connsiteY68" fmla="*/ 5546 h 9985"/>
                <a:gd name="connsiteX69" fmla="*/ 9592 w 10000"/>
                <a:gd name="connsiteY69" fmla="*/ 5469 h 9985"/>
                <a:gd name="connsiteX70" fmla="*/ 8350 w 10000"/>
                <a:gd name="connsiteY70" fmla="*/ 5620 h 9985"/>
                <a:gd name="connsiteX71" fmla="*/ 8058 w 10000"/>
                <a:gd name="connsiteY71" fmla="*/ 5578 h 9985"/>
                <a:gd name="connsiteX72" fmla="*/ 7942 w 10000"/>
                <a:gd name="connsiteY72" fmla="*/ 5632 h 9985"/>
                <a:gd name="connsiteX73" fmla="*/ 7903 w 10000"/>
                <a:gd name="connsiteY73" fmla="*/ 5525 h 9985"/>
                <a:gd name="connsiteX74" fmla="*/ 7765 w 10000"/>
                <a:gd name="connsiteY74" fmla="*/ 5431 h 9985"/>
                <a:gd name="connsiteX75" fmla="*/ 7213 w 10000"/>
                <a:gd name="connsiteY75" fmla="*/ 5237 h 9985"/>
                <a:gd name="connsiteX76" fmla="*/ 6887 w 10000"/>
                <a:gd name="connsiteY76" fmla="*/ 5270 h 9985"/>
                <a:gd name="connsiteX77" fmla="*/ 6757 w 10000"/>
                <a:gd name="connsiteY77" fmla="*/ 5215 h 9985"/>
                <a:gd name="connsiteX78" fmla="*/ 6894 w 10000"/>
                <a:gd name="connsiteY78" fmla="*/ 5168 h 9985"/>
                <a:gd name="connsiteX79" fmla="*/ 6998 w 10000"/>
                <a:gd name="connsiteY79" fmla="*/ 5066 h 9985"/>
                <a:gd name="connsiteX80" fmla="*/ 7152 w 10000"/>
                <a:gd name="connsiteY80" fmla="*/ 5098 h 9985"/>
                <a:gd name="connsiteX81" fmla="*/ 7335 w 10000"/>
                <a:gd name="connsiteY81" fmla="*/ 5073 h 9985"/>
                <a:gd name="connsiteX82" fmla="*/ 7611 w 10000"/>
                <a:gd name="connsiteY82" fmla="*/ 5106 h 9985"/>
                <a:gd name="connsiteX83" fmla="*/ 7645 w 10000"/>
                <a:gd name="connsiteY83" fmla="*/ 5092 h 9985"/>
                <a:gd name="connsiteX84" fmla="*/ 7859 w 10000"/>
                <a:gd name="connsiteY84" fmla="*/ 5247 h 9985"/>
                <a:gd name="connsiteX85" fmla="*/ 8017 w 10000"/>
                <a:gd name="connsiteY85" fmla="*/ 5189 h 9985"/>
                <a:gd name="connsiteX86" fmla="*/ 8032 w 10000"/>
                <a:gd name="connsiteY86" fmla="*/ 5136 h 9985"/>
                <a:gd name="connsiteX87" fmla="*/ 8176 w 10000"/>
                <a:gd name="connsiteY87" fmla="*/ 5229 h 9985"/>
                <a:gd name="connsiteX88" fmla="*/ 8369 w 10000"/>
                <a:gd name="connsiteY88" fmla="*/ 5279 h 9985"/>
                <a:gd name="connsiteX89" fmla="*/ 8446 w 10000"/>
                <a:gd name="connsiteY89" fmla="*/ 5187 h 9985"/>
                <a:gd name="connsiteX90" fmla="*/ 8507 w 10000"/>
                <a:gd name="connsiteY90" fmla="*/ 5237 h 9985"/>
                <a:gd name="connsiteX91" fmla="*/ 8596 w 10000"/>
                <a:gd name="connsiteY91" fmla="*/ 5418 h 9985"/>
                <a:gd name="connsiteX92" fmla="*/ 8782 w 10000"/>
                <a:gd name="connsiteY92" fmla="*/ 5458 h 9985"/>
                <a:gd name="connsiteX93" fmla="*/ 9542 w 10000"/>
                <a:gd name="connsiteY93" fmla="*/ 5196 h 9985"/>
                <a:gd name="connsiteX94" fmla="*/ 9914 w 10000"/>
                <a:gd name="connsiteY94" fmla="*/ 4828 h 9985"/>
                <a:gd name="connsiteX95" fmla="*/ 10000 w 10000"/>
                <a:gd name="connsiteY95" fmla="*/ 4564 h 9985"/>
                <a:gd name="connsiteX96" fmla="*/ 9866 w 10000"/>
                <a:gd name="connsiteY96" fmla="*/ 4321 h 9985"/>
                <a:gd name="connsiteX97" fmla="*/ 9582 w 10000"/>
                <a:gd name="connsiteY97" fmla="*/ 4179 h 9985"/>
                <a:gd name="connsiteX98" fmla="*/ 9382 w 10000"/>
                <a:gd name="connsiteY98" fmla="*/ 3939 h 9985"/>
                <a:gd name="connsiteX99" fmla="*/ 9569 w 10000"/>
                <a:gd name="connsiteY99" fmla="*/ 3932 h 9985"/>
                <a:gd name="connsiteX100" fmla="*/ 9555 w 10000"/>
                <a:gd name="connsiteY100" fmla="*/ 3877 h 9985"/>
                <a:gd name="connsiteX101" fmla="*/ 9068 w 10000"/>
                <a:gd name="connsiteY101" fmla="*/ 3712 h 9985"/>
                <a:gd name="connsiteX102" fmla="*/ 9047 w 10000"/>
                <a:gd name="connsiteY102" fmla="*/ 3559 h 9985"/>
                <a:gd name="connsiteX103" fmla="*/ 8953 w 10000"/>
                <a:gd name="connsiteY103" fmla="*/ 3399 h 9985"/>
                <a:gd name="connsiteX104" fmla="*/ 8569 w 10000"/>
                <a:gd name="connsiteY104" fmla="*/ 3429 h 9985"/>
                <a:gd name="connsiteX105" fmla="*/ 8431 w 10000"/>
                <a:gd name="connsiteY105" fmla="*/ 3258 h 9985"/>
                <a:gd name="connsiteX106" fmla="*/ 8350 w 10000"/>
                <a:gd name="connsiteY106" fmla="*/ 3247 h 9985"/>
                <a:gd name="connsiteX107" fmla="*/ 8350 w 10000"/>
                <a:gd name="connsiteY107" fmla="*/ 3324 h 9985"/>
                <a:gd name="connsiteX108" fmla="*/ 8176 w 10000"/>
                <a:gd name="connsiteY108" fmla="*/ 3606 h 9985"/>
                <a:gd name="connsiteX109" fmla="*/ 7990 w 10000"/>
                <a:gd name="connsiteY109" fmla="*/ 3774 h 9985"/>
                <a:gd name="connsiteX110" fmla="*/ 7401 w 10000"/>
                <a:gd name="connsiteY110" fmla="*/ 4057 h 9985"/>
                <a:gd name="connsiteX111" fmla="*/ 7198 w 10000"/>
                <a:gd name="connsiteY111" fmla="*/ 4049 h 9985"/>
                <a:gd name="connsiteX112" fmla="*/ 6915 w 10000"/>
                <a:gd name="connsiteY112" fmla="*/ 4092 h 9985"/>
                <a:gd name="connsiteX113" fmla="*/ 6757 w 10000"/>
                <a:gd name="connsiteY113" fmla="*/ 4049 h 9985"/>
                <a:gd name="connsiteX114" fmla="*/ 6965 w 10000"/>
                <a:gd name="connsiteY114" fmla="*/ 3967 h 9985"/>
                <a:gd name="connsiteX115" fmla="*/ 7235 w 10000"/>
                <a:gd name="connsiteY115" fmla="*/ 3932 h 9985"/>
                <a:gd name="connsiteX116" fmla="*/ 7455 w 10000"/>
                <a:gd name="connsiteY116" fmla="*/ 3800 h 9985"/>
                <a:gd name="connsiteX117" fmla="*/ 7674 w 10000"/>
                <a:gd name="connsiteY117" fmla="*/ 3738 h 9985"/>
                <a:gd name="connsiteX118" fmla="*/ 8082 w 10000"/>
                <a:gd name="connsiteY118" fmla="*/ 3505 h 9985"/>
                <a:gd name="connsiteX119" fmla="*/ 8157 w 10000"/>
                <a:gd name="connsiteY119" fmla="*/ 3352 h 9985"/>
                <a:gd name="connsiteX120" fmla="*/ 8165 w 10000"/>
                <a:gd name="connsiteY120" fmla="*/ 3156 h 9985"/>
                <a:gd name="connsiteX121" fmla="*/ 7978 w 10000"/>
                <a:gd name="connsiteY121" fmla="*/ 3122 h 9985"/>
                <a:gd name="connsiteX122" fmla="*/ 8058 w 10000"/>
                <a:gd name="connsiteY122" fmla="*/ 3002 h 9985"/>
                <a:gd name="connsiteX123" fmla="*/ 8087 w 10000"/>
                <a:gd name="connsiteY123" fmla="*/ 2850 h 9985"/>
                <a:gd name="connsiteX124" fmla="*/ 8007 w 10000"/>
                <a:gd name="connsiteY124" fmla="*/ 2708 h 9985"/>
                <a:gd name="connsiteX125" fmla="*/ 7450 w 10000"/>
                <a:gd name="connsiteY125" fmla="*/ 2904 h 9985"/>
                <a:gd name="connsiteX126" fmla="*/ 6694 w 10000"/>
                <a:gd name="connsiteY126" fmla="*/ 2817 h 9985"/>
                <a:gd name="connsiteX127" fmla="*/ 6304 w 10000"/>
                <a:gd name="connsiteY127" fmla="*/ 2271 h 9985"/>
                <a:gd name="connsiteX128" fmla="*/ 5294 w 10000"/>
                <a:gd name="connsiteY128" fmla="*/ 2168 h 9985"/>
                <a:gd name="connsiteX129" fmla="*/ 4505 w 10000"/>
                <a:gd name="connsiteY129" fmla="*/ 1716 h 9985"/>
                <a:gd name="connsiteX130" fmla="*/ 3730 w 10000"/>
                <a:gd name="connsiteY130" fmla="*/ 1174 h 9985"/>
                <a:gd name="connsiteX131" fmla="*/ 3154 w 10000"/>
                <a:gd name="connsiteY131" fmla="*/ 173 h 9985"/>
                <a:gd name="connsiteX132" fmla="*/ 2375 w 10000"/>
                <a:gd name="connsiteY132" fmla="*/ 0 h 9985"/>
                <a:gd name="connsiteX133" fmla="*/ 2226 w 10000"/>
                <a:gd name="connsiteY133" fmla="*/ 940 h 9985"/>
                <a:gd name="connsiteX134" fmla="*/ 2375 w 10000"/>
                <a:gd name="connsiteY134" fmla="*/ 1179 h 9985"/>
                <a:gd name="connsiteX135" fmla="*/ 2791 w 10000"/>
                <a:gd name="connsiteY135" fmla="*/ 1443 h 9985"/>
                <a:gd name="connsiteX136" fmla="*/ 2808 w 10000"/>
                <a:gd name="connsiteY136" fmla="*/ 1762 h 9985"/>
                <a:gd name="connsiteX137" fmla="*/ 2632 w 10000"/>
                <a:gd name="connsiteY137" fmla="*/ 2030 h 9985"/>
                <a:gd name="connsiteX138" fmla="*/ 2375 w 10000"/>
                <a:gd name="connsiteY138" fmla="*/ 2191 h 9985"/>
                <a:gd name="connsiteX139" fmla="*/ 2039 w 10000"/>
                <a:gd name="connsiteY139" fmla="*/ 2255 h 9985"/>
                <a:gd name="connsiteX140" fmla="*/ 1950 w 10000"/>
                <a:gd name="connsiteY140" fmla="*/ 2351 h 9985"/>
                <a:gd name="connsiteX141" fmla="*/ 2148 w 10000"/>
                <a:gd name="connsiteY141" fmla="*/ 2571 h 9985"/>
                <a:gd name="connsiteX142" fmla="*/ 2261 w 10000"/>
                <a:gd name="connsiteY142" fmla="*/ 3097 h 9985"/>
                <a:gd name="connsiteX143" fmla="*/ 2005 w 10000"/>
                <a:gd name="connsiteY143" fmla="*/ 3548 h 9985"/>
                <a:gd name="connsiteX144" fmla="*/ 2094 w 10000"/>
                <a:gd name="connsiteY144" fmla="*/ 3684 h 9985"/>
                <a:gd name="connsiteX145" fmla="*/ 2012 w 10000"/>
                <a:gd name="connsiteY145" fmla="*/ 3917 h 9985"/>
                <a:gd name="connsiteX146" fmla="*/ 1850 w 10000"/>
                <a:gd name="connsiteY146" fmla="*/ 4080 h 9985"/>
                <a:gd name="connsiteX147" fmla="*/ 1199 w 10000"/>
                <a:gd name="connsiteY147" fmla="*/ 4206 h 9985"/>
                <a:gd name="connsiteX148" fmla="*/ 1158 w 10000"/>
                <a:gd name="connsiteY148" fmla="*/ 4422 h 9985"/>
                <a:gd name="connsiteX149" fmla="*/ 808 w 10000"/>
                <a:gd name="connsiteY149" fmla="*/ 4744 h 9985"/>
                <a:gd name="connsiteX150" fmla="*/ 854 w 10000"/>
                <a:gd name="connsiteY150" fmla="*/ 5212 h 9985"/>
                <a:gd name="connsiteX151" fmla="*/ 560 w 10000"/>
                <a:gd name="connsiteY151" fmla="*/ 5809 h 9985"/>
                <a:gd name="connsiteX152" fmla="*/ 358 w 10000"/>
                <a:gd name="connsiteY152" fmla="*/ 5878 h 9985"/>
                <a:gd name="connsiteX153" fmla="*/ 275 w 10000"/>
                <a:gd name="connsiteY153" fmla="*/ 5736 h 9985"/>
                <a:gd name="connsiteX154" fmla="*/ 174 w 10000"/>
                <a:gd name="connsiteY154" fmla="*/ 5951 h 9985"/>
                <a:gd name="connsiteX155" fmla="*/ 239 w 10000"/>
                <a:gd name="connsiteY155" fmla="*/ 5580 h 9985"/>
                <a:gd name="connsiteX156" fmla="*/ 197 w 10000"/>
                <a:gd name="connsiteY156" fmla="*/ 5511 h 9985"/>
                <a:gd name="connsiteX0" fmla="*/ 197 w 10000"/>
                <a:gd name="connsiteY0" fmla="*/ 5519 h 9996"/>
                <a:gd name="connsiteX1" fmla="*/ 0 w 10000"/>
                <a:gd name="connsiteY1" fmla="*/ 5713 h 9996"/>
                <a:gd name="connsiteX2" fmla="*/ 0 w 10000"/>
                <a:gd name="connsiteY2" fmla="*/ 6663 h 9996"/>
                <a:gd name="connsiteX3" fmla="*/ 109 w 10000"/>
                <a:gd name="connsiteY3" fmla="*/ 6688 h 9996"/>
                <a:gd name="connsiteX4" fmla="*/ 134 w 10000"/>
                <a:gd name="connsiteY4" fmla="*/ 6764 h 9996"/>
                <a:gd name="connsiteX5" fmla="*/ 130 w 10000"/>
                <a:gd name="connsiteY5" fmla="*/ 6892 h 9996"/>
                <a:gd name="connsiteX6" fmla="*/ 89 w 10000"/>
                <a:gd name="connsiteY6" fmla="*/ 6948 h 9996"/>
                <a:gd name="connsiteX7" fmla="*/ 255 w 10000"/>
                <a:gd name="connsiteY7" fmla="*/ 6837 h 9996"/>
                <a:gd name="connsiteX8" fmla="*/ 325 w 10000"/>
                <a:gd name="connsiteY8" fmla="*/ 6732 h 9996"/>
                <a:gd name="connsiteX9" fmla="*/ 413 w 10000"/>
                <a:gd name="connsiteY9" fmla="*/ 6804 h 9996"/>
                <a:gd name="connsiteX10" fmla="*/ 316 w 10000"/>
                <a:gd name="connsiteY10" fmla="*/ 6960 h 9996"/>
                <a:gd name="connsiteX11" fmla="*/ 419 w 10000"/>
                <a:gd name="connsiteY11" fmla="*/ 6964 h 9996"/>
                <a:gd name="connsiteX12" fmla="*/ 469 w 10000"/>
                <a:gd name="connsiteY12" fmla="*/ 7003 h 9996"/>
                <a:gd name="connsiteX13" fmla="*/ 337 w 10000"/>
                <a:gd name="connsiteY13" fmla="*/ 7054 h 9996"/>
                <a:gd name="connsiteX14" fmla="*/ 130 w 10000"/>
                <a:gd name="connsiteY14" fmla="*/ 7215 h 9996"/>
                <a:gd name="connsiteX15" fmla="*/ 497 w 10000"/>
                <a:gd name="connsiteY15" fmla="*/ 7340 h 9996"/>
                <a:gd name="connsiteX16" fmla="*/ 545 w 10000"/>
                <a:gd name="connsiteY16" fmla="*/ 7517 h 9996"/>
                <a:gd name="connsiteX17" fmla="*/ 419 w 10000"/>
                <a:gd name="connsiteY17" fmla="*/ 7780 h 9996"/>
                <a:gd name="connsiteX18" fmla="*/ 688 w 10000"/>
                <a:gd name="connsiteY18" fmla="*/ 7765 h 9996"/>
                <a:gd name="connsiteX19" fmla="*/ 709 w 10000"/>
                <a:gd name="connsiteY19" fmla="*/ 7960 h 9996"/>
                <a:gd name="connsiteX20" fmla="*/ 530 w 10000"/>
                <a:gd name="connsiteY20" fmla="*/ 8100 h 9996"/>
                <a:gd name="connsiteX21" fmla="*/ 560 w 10000"/>
                <a:gd name="connsiteY21" fmla="*/ 8356 h 9996"/>
                <a:gd name="connsiteX22" fmla="*/ 489 w 10000"/>
                <a:gd name="connsiteY22" fmla="*/ 8562 h 9996"/>
                <a:gd name="connsiteX23" fmla="*/ 703 w 10000"/>
                <a:gd name="connsiteY23" fmla="*/ 8581 h 9996"/>
                <a:gd name="connsiteX24" fmla="*/ 909 w 10000"/>
                <a:gd name="connsiteY24" fmla="*/ 9360 h 9996"/>
                <a:gd name="connsiteX25" fmla="*/ 1675 w 10000"/>
                <a:gd name="connsiteY25" fmla="*/ 9165 h 9996"/>
                <a:gd name="connsiteX26" fmla="*/ 6419 w 10000"/>
                <a:gd name="connsiteY26" fmla="*/ 9993 h 9996"/>
                <a:gd name="connsiteX27" fmla="*/ 6586 w 10000"/>
                <a:gd name="connsiteY27" fmla="*/ 9162 h 9996"/>
                <a:gd name="connsiteX28" fmla="*/ 6855 w 10000"/>
                <a:gd name="connsiteY28" fmla="*/ 8794 h 9996"/>
                <a:gd name="connsiteX29" fmla="*/ 6855 w 10000"/>
                <a:gd name="connsiteY29" fmla="*/ 8597 h 9996"/>
                <a:gd name="connsiteX30" fmla="*/ 6757 w 10000"/>
                <a:gd name="connsiteY30" fmla="*/ 8491 h 9996"/>
                <a:gd name="connsiteX31" fmla="*/ 6915 w 10000"/>
                <a:gd name="connsiteY31" fmla="*/ 8313 h 9996"/>
                <a:gd name="connsiteX32" fmla="*/ 6887 w 10000"/>
                <a:gd name="connsiteY32" fmla="*/ 8170 h 9996"/>
                <a:gd name="connsiteX33" fmla="*/ 6779 w 10000"/>
                <a:gd name="connsiteY33" fmla="*/ 8048 h 9996"/>
                <a:gd name="connsiteX34" fmla="*/ 6757 w 10000"/>
                <a:gd name="connsiteY34" fmla="*/ 7951 h 9996"/>
                <a:gd name="connsiteX35" fmla="*/ 6785 w 10000"/>
                <a:gd name="connsiteY35" fmla="*/ 7881 h 9996"/>
                <a:gd name="connsiteX36" fmla="*/ 6931 w 10000"/>
                <a:gd name="connsiteY36" fmla="*/ 7937 h 9996"/>
                <a:gd name="connsiteX37" fmla="*/ 7045 w 10000"/>
                <a:gd name="connsiteY37" fmla="*/ 7934 h 9996"/>
                <a:gd name="connsiteX38" fmla="*/ 6983 w 10000"/>
                <a:gd name="connsiteY38" fmla="*/ 7817 h 9996"/>
                <a:gd name="connsiteX39" fmla="*/ 7003 w 10000"/>
                <a:gd name="connsiteY39" fmla="*/ 7747 h 9996"/>
                <a:gd name="connsiteX40" fmla="*/ 7089 w 10000"/>
                <a:gd name="connsiteY40" fmla="*/ 7648 h 9996"/>
                <a:gd name="connsiteX41" fmla="*/ 7074 w 10000"/>
                <a:gd name="connsiteY41" fmla="*/ 7565 h 9996"/>
                <a:gd name="connsiteX42" fmla="*/ 7152 w 10000"/>
                <a:gd name="connsiteY42" fmla="*/ 7290 h 9996"/>
                <a:gd name="connsiteX43" fmla="*/ 7130 w 10000"/>
                <a:gd name="connsiteY43" fmla="*/ 7204 h 9996"/>
                <a:gd name="connsiteX44" fmla="*/ 6729 w 10000"/>
                <a:gd name="connsiteY44" fmla="*/ 6992 h 9996"/>
                <a:gd name="connsiteX45" fmla="*/ 6785 w 10000"/>
                <a:gd name="connsiteY45" fmla="*/ 6984 h 9996"/>
                <a:gd name="connsiteX46" fmla="*/ 6998 w 10000"/>
                <a:gd name="connsiteY46" fmla="*/ 7038 h 9996"/>
                <a:gd name="connsiteX47" fmla="*/ 7230 w 10000"/>
                <a:gd name="connsiteY47" fmla="*/ 7018 h 9996"/>
                <a:gd name="connsiteX48" fmla="*/ 7295 w 10000"/>
                <a:gd name="connsiteY48" fmla="*/ 6944 h 9996"/>
                <a:gd name="connsiteX49" fmla="*/ 7074 w 10000"/>
                <a:gd name="connsiteY49" fmla="*/ 6801 h 9996"/>
                <a:gd name="connsiteX50" fmla="*/ 6414 w 10000"/>
                <a:gd name="connsiteY50" fmla="*/ 6706 h 9996"/>
                <a:gd name="connsiteX51" fmla="*/ 6458 w 10000"/>
                <a:gd name="connsiteY51" fmla="*/ 6663 h 9996"/>
                <a:gd name="connsiteX52" fmla="*/ 6998 w 10000"/>
                <a:gd name="connsiteY52" fmla="*/ 6633 h 9996"/>
                <a:gd name="connsiteX53" fmla="*/ 7295 w 10000"/>
                <a:gd name="connsiteY53" fmla="*/ 6719 h 9996"/>
                <a:gd name="connsiteX54" fmla="*/ 7466 w 10000"/>
                <a:gd name="connsiteY54" fmla="*/ 6663 h 9996"/>
                <a:gd name="connsiteX55" fmla="*/ 7529 w 10000"/>
                <a:gd name="connsiteY55" fmla="*/ 6515 h 9996"/>
                <a:gd name="connsiteX56" fmla="*/ 7840 w 10000"/>
                <a:gd name="connsiteY56" fmla="*/ 6515 h 9996"/>
                <a:gd name="connsiteX57" fmla="*/ 8261 w 10000"/>
                <a:gd name="connsiteY57" fmla="*/ 6215 h 9996"/>
                <a:gd name="connsiteX58" fmla="*/ 8275 w 10000"/>
                <a:gd name="connsiteY58" fmla="*/ 6015 h 9996"/>
                <a:gd name="connsiteX59" fmla="*/ 8453 w 10000"/>
                <a:gd name="connsiteY59" fmla="*/ 6060 h 9996"/>
                <a:gd name="connsiteX60" fmla="*/ 8446 w 10000"/>
                <a:gd name="connsiteY60" fmla="*/ 6261 h 9996"/>
                <a:gd name="connsiteX61" fmla="*/ 8727 w 10000"/>
                <a:gd name="connsiteY61" fmla="*/ 6247 h 9996"/>
                <a:gd name="connsiteX62" fmla="*/ 8913 w 10000"/>
                <a:gd name="connsiteY62" fmla="*/ 6039 h 9996"/>
                <a:gd name="connsiteX63" fmla="*/ 9258 w 10000"/>
                <a:gd name="connsiteY63" fmla="*/ 5852 h 9996"/>
                <a:gd name="connsiteX64" fmla="*/ 9203 w 10000"/>
                <a:gd name="connsiteY64" fmla="*/ 5640 h 9996"/>
                <a:gd name="connsiteX65" fmla="*/ 9306 w 10000"/>
                <a:gd name="connsiteY65" fmla="*/ 5726 h 9996"/>
                <a:gd name="connsiteX66" fmla="*/ 9464 w 10000"/>
                <a:gd name="connsiteY66" fmla="*/ 5726 h 9996"/>
                <a:gd name="connsiteX67" fmla="*/ 9464 w 10000"/>
                <a:gd name="connsiteY67" fmla="*/ 5626 h 9996"/>
                <a:gd name="connsiteX68" fmla="*/ 9611 w 10000"/>
                <a:gd name="connsiteY68" fmla="*/ 5554 h 9996"/>
                <a:gd name="connsiteX69" fmla="*/ 9592 w 10000"/>
                <a:gd name="connsiteY69" fmla="*/ 5477 h 9996"/>
                <a:gd name="connsiteX70" fmla="*/ 8350 w 10000"/>
                <a:gd name="connsiteY70" fmla="*/ 5628 h 9996"/>
                <a:gd name="connsiteX71" fmla="*/ 8058 w 10000"/>
                <a:gd name="connsiteY71" fmla="*/ 5586 h 9996"/>
                <a:gd name="connsiteX72" fmla="*/ 7942 w 10000"/>
                <a:gd name="connsiteY72" fmla="*/ 5640 h 9996"/>
                <a:gd name="connsiteX73" fmla="*/ 7903 w 10000"/>
                <a:gd name="connsiteY73" fmla="*/ 5533 h 9996"/>
                <a:gd name="connsiteX74" fmla="*/ 7765 w 10000"/>
                <a:gd name="connsiteY74" fmla="*/ 5439 h 9996"/>
                <a:gd name="connsiteX75" fmla="*/ 7213 w 10000"/>
                <a:gd name="connsiteY75" fmla="*/ 5245 h 9996"/>
                <a:gd name="connsiteX76" fmla="*/ 6887 w 10000"/>
                <a:gd name="connsiteY76" fmla="*/ 5278 h 9996"/>
                <a:gd name="connsiteX77" fmla="*/ 6757 w 10000"/>
                <a:gd name="connsiteY77" fmla="*/ 5223 h 9996"/>
                <a:gd name="connsiteX78" fmla="*/ 6894 w 10000"/>
                <a:gd name="connsiteY78" fmla="*/ 5176 h 9996"/>
                <a:gd name="connsiteX79" fmla="*/ 6998 w 10000"/>
                <a:gd name="connsiteY79" fmla="*/ 5074 h 9996"/>
                <a:gd name="connsiteX80" fmla="*/ 7152 w 10000"/>
                <a:gd name="connsiteY80" fmla="*/ 5106 h 9996"/>
                <a:gd name="connsiteX81" fmla="*/ 7335 w 10000"/>
                <a:gd name="connsiteY81" fmla="*/ 5081 h 9996"/>
                <a:gd name="connsiteX82" fmla="*/ 7611 w 10000"/>
                <a:gd name="connsiteY82" fmla="*/ 5114 h 9996"/>
                <a:gd name="connsiteX83" fmla="*/ 7645 w 10000"/>
                <a:gd name="connsiteY83" fmla="*/ 5100 h 9996"/>
                <a:gd name="connsiteX84" fmla="*/ 7859 w 10000"/>
                <a:gd name="connsiteY84" fmla="*/ 5255 h 9996"/>
                <a:gd name="connsiteX85" fmla="*/ 8017 w 10000"/>
                <a:gd name="connsiteY85" fmla="*/ 5197 h 9996"/>
                <a:gd name="connsiteX86" fmla="*/ 8032 w 10000"/>
                <a:gd name="connsiteY86" fmla="*/ 5144 h 9996"/>
                <a:gd name="connsiteX87" fmla="*/ 8176 w 10000"/>
                <a:gd name="connsiteY87" fmla="*/ 5237 h 9996"/>
                <a:gd name="connsiteX88" fmla="*/ 8369 w 10000"/>
                <a:gd name="connsiteY88" fmla="*/ 5287 h 9996"/>
                <a:gd name="connsiteX89" fmla="*/ 8446 w 10000"/>
                <a:gd name="connsiteY89" fmla="*/ 5195 h 9996"/>
                <a:gd name="connsiteX90" fmla="*/ 8507 w 10000"/>
                <a:gd name="connsiteY90" fmla="*/ 5245 h 9996"/>
                <a:gd name="connsiteX91" fmla="*/ 8596 w 10000"/>
                <a:gd name="connsiteY91" fmla="*/ 5426 h 9996"/>
                <a:gd name="connsiteX92" fmla="*/ 8782 w 10000"/>
                <a:gd name="connsiteY92" fmla="*/ 5466 h 9996"/>
                <a:gd name="connsiteX93" fmla="*/ 9542 w 10000"/>
                <a:gd name="connsiteY93" fmla="*/ 5204 h 9996"/>
                <a:gd name="connsiteX94" fmla="*/ 9914 w 10000"/>
                <a:gd name="connsiteY94" fmla="*/ 4835 h 9996"/>
                <a:gd name="connsiteX95" fmla="*/ 10000 w 10000"/>
                <a:gd name="connsiteY95" fmla="*/ 4571 h 9996"/>
                <a:gd name="connsiteX96" fmla="*/ 9866 w 10000"/>
                <a:gd name="connsiteY96" fmla="*/ 4327 h 9996"/>
                <a:gd name="connsiteX97" fmla="*/ 9582 w 10000"/>
                <a:gd name="connsiteY97" fmla="*/ 4185 h 9996"/>
                <a:gd name="connsiteX98" fmla="*/ 9382 w 10000"/>
                <a:gd name="connsiteY98" fmla="*/ 3945 h 9996"/>
                <a:gd name="connsiteX99" fmla="*/ 9569 w 10000"/>
                <a:gd name="connsiteY99" fmla="*/ 3938 h 9996"/>
                <a:gd name="connsiteX100" fmla="*/ 9555 w 10000"/>
                <a:gd name="connsiteY100" fmla="*/ 3883 h 9996"/>
                <a:gd name="connsiteX101" fmla="*/ 9068 w 10000"/>
                <a:gd name="connsiteY101" fmla="*/ 3718 h 9996"/>
                <a:gd name="connsiteX102" fmla="*/ 9047 w 10000"/>
                <a:gd name="connsiteY102" fmla="*/ 3564 h 9996"/>
                <a:gd name="connsiteX103" fmla="*/ 8953 w 10000"/>
                <a:gd name="connsiteY103" fmla="*/ 3404 h 9996"/>
                <a:gd name="connsiteX104" fmla="*/ 8569 w 10000"/>
                <a:gd name="connsiteY104" fmla="*/ 3434 h 9996"/>
                <a:gd name="connsiteX105" fmla="*/ 8431 w 10000"/>
                <a:gd name="connsiteY105" fmla="*/ 3263 h 9996"/>
                <a:gd name="connsiteX106" fmla="*/ 8350 w 10000"/>
                <a:gd name="connsiteY106" fmla="*/ 3252 h 9996"/>
                <a:gd name="connsiteX107" fmla="*/ 8350 w 10000"/>
                <a:gd name="connsiteY107" fmla="*/ 3329 h 9996"/>
                <a:gd name="connsiteX108" fmla="*/ 8176 w 10000"/>
                <a:gd name="connsiteY108" fmla="*/ 3611 h 9996"/>
                <a:gd name="connsiteX109" fmla="*/ 7990 w 10000"/>
                <a:gd name="connsiteY109" fmla="*/ 3780 h 9996"/>
                <a:gd name="connsiteX110" fmla="*/ 7401 w 10000"/>
                <a:gd name="connsiteY110" fmla="*/ 4063 h 9996"/>
                <a:gd name="connsiteX111" fmla="*/ 7198 w 10000"/>
                <a:gd name="connsiteY111" fmla="*/ 4055 h 9996"/>
                <a:gd name="connsiteX112" fmla="*/ 6915 w 10000"/>
                <a:gd name="connsiteY112" fmla="*/ 4098 h 9996"/>
                <a:gd name="connsiteX113" fmla="*/ 6757 w 10000"/>
                <a:gd name="connsiteY113" fmla="*/ 4055 h 9996"/>
                <a:gd name="connsiteX114" fmla="*/ 6965 w 10000"/>
                <a:gd name="connsiteY114" fmla="*/ 3973 h 9996"/>
                <a:gd name="connsiteX115" fmla="*/ 7235 w 10000"/>
                <a:gd name="connsiteY115" fmla="*/ 3938 h 9996"/>
                <a:gd name="connsiteX116" fmla="*/ 7455 w 10000"/>
                <a:gd name="connsiteY116" fmla="*/ 3806 h 9996"/>
                <a:gd name="connsiteX117" fmla="*/ 7674 w 10000"/>
                <a:gd name="connsiteY117" fmla="*/ 3744 h 9996"/>
                <a:gd name="connsiteX118" fmla="*/ 8082 w 10000"/>
                <a:gd name="connsiteY118" fmla="*/ 3510 h 9996"/>
                <a:gd name="connsiteX119" fmla="*/ 8157 w 10000"/>
                <a:gd name="connsiteY119" fmla="*/ 3357 h 9996"/>
                <a:gd name="connsiteX120" fmla="*/ 8165 w 10000"/>
                <a:gd name="connsiteY120" fmla="*/ 3161 h 9996"/>
                <a:gd name="connsiteX121" fmla="*/ 7978 w 10000"/>
                <a:gd name="connsiteY121" fmla="*/ 3127 h 9996"/>
                <a:gd name="connsiteX122" fmla="*/ 8058 w 10000"/>
                <a:gd name="connsiteY122" fmla="*/ 3007 h 9996"/>
                <a:gd name="connsiteX123" fmla="*/ 8087 w 10000"/>
                <a:gd name="connsiteY123" fmla="*/ 2854 h 9996"/>
                <a:gd name="connsiteX124" fmla="*/ 8007 w 10000"/>
                <a:gd name="connsiteY124" fmla="*/ 2712 h 9996"/>
                <a:gd name="connsiteX125" fmla="*/ 7450 w 10000"/>
                <a:gd name="connsiteY125" fmla="*/ 2908 h 9996"/>
                <a:gd name="connsiteX126" fmla="*/ 6694 w 10000"/>
                <a:gd name="connsiteY126" fmla="*/ 2821 h 9996"/>
                <a:gd name="connsiteX127" fmla="*/ 6304 w 10000"/>
                <a:gd name="connsiteY127" fmla="*/ 2274 h 9996"/>
                <a:gd name="connsiteX128" fmla="*/ 5294 w 10000"/>
                <a:gd name="connsiteY128" fmla="*/ 2171 h 9996"/>
                <a:gd name="connsiteX129" fmla="*/ 4505 w 10000"/>
                <a:gd name="connsiteY129" fmla="*/ 1719 h 9996"/>
                <a:gd name="connsiteX130" fmla="*/ 3730 w 10000"/>
                <a:gd name="connsiteY130" fmla="*/ 1176 h 9996"/>
                <a:gd name="connsiteX131" fmla="*/ 3154 w 10000"/>
                <a:gd name="connsiteY131" fmla="*/ 173 h 9996"/>
                <a:gd name="connsiteX132" fmla="*/ 2375 w 10000"/>
                <a:gd name="connsiteY132" fmla="*/ 0 h 9996"/>
                <a:gd name="connsiteX133" fmla="*/ 2226 w 10000"/>
                <a:gd name="connsiteY133" fmla="*/ 941 h 9996"/>
                <a:gd name="connsiteX134" fmla="*/ 2375 w 10000"/>
                <a:gd name="connsiteY134" fmla="*/ 1181 h 9996"/>
                <a:gd name="connsiteX135" fmla="*/ 2791 w 10000"/>
                <a:gd name="connsiteY135" fmla="*/ 1445 h 9996"/>
                <a:gd name="connsiteX136" fmla="*/ 2808 w 10000"/>
                <a:gd name="connsiteY136" fmla="*/ 1765 h 9996"/>
                <a:gd name="connsiteX137" fmla="*/ 2632 w 10000"/>
                <a:gd name="connsiteY137" fmla="*/ 2033 h 9996"/>
                <a:gd name="connsiteX138" fmla="*/ 2375 w 10000"/>
                <a:gd name="connsiteY138" fmla="*/ 2194 h 9996"/>
                <a:gd name="connsiteX139" fmla="*/ 2039 w 10000"/>
                <a:gd name="connsiteY139" fmla="*/ 2258 h 9996"/>
                <a:gd name="connsiteX140" fmla="*/ 1950 w 10000"/>
                <a:gd name="connsiteY140" fmla="*/ 2355 h 9996"/>
                <a:gd name="connsiteX141" fmla="*/ 2148 w 10000"/>
                <a:gd name="connsiteY141" fmla="*/ 2575 h 9996"/>
                <a:gd name="connsiteX142" fmla="*/ 2261 w 10000"/>
                <a:gd name="connsiteY142" fmla="*/ 3102 h 9996"/>
                <a:gd name="connsiteX143" fmla="*/ 2005 w 10000"/>
                <a:gd name="connsiteY143" fmla="*/ 3553 h 9996"/>
                <a:gd name="connsiteX144" fmla="*/ 2094 w 10000"/>
                <a:gd name="connsiteY144" fmla="*/ 3690 h 9996"/>
                <a:gd name="connsiteX145" fmla="*/ 2012 w 10000"/>
                <a:gd name="connsiteY145" fmla="*/ 3923 h 9996"/>
                <a:gd name="connsiteX146" fmla="*/ 1850 w 10000"/>
                <a:gd name="connsiteY146" fmla="*/ 4086 h 9996"/>
                <a:gd name="connsiteX147" fmla="*/ 1199 w 10000"/>
                <a:gd name="connsiteY147" fmla="*/ 4212 h 9996"/>
                <a:gd name="connsiteX148" fmla="*/ 1158 w 10000"/>
                <a:gd name="connsiteY148" fmla="*/ 4429 h 9996"/>
                <a:gd name="connsiteX149" fmla="*/ 808 w 10000"/>
                <a:gd name="connsiteY149" fmla="*/ 4751 h 9996"/>
                <a:gd name="connsiteX150" fmla="*/ 854 w 10000"/>
                <a:gd name="connsiteY150" fmla="*/ 5220 h 9996"/>
                <a:gd name="connsiteX151" fmla="*/ 560 w 10000"/>
                <a:gd name="connsiteY151" fmla="*/ 5818 h 9996"/>
                <a:gd name="connsiteX152" fmla="*/ 358 w 10000"/>
                <a:gd name="connsiteY152" fmla="*/ 5887 h 9996"/>
                <a:gd name="connsiteX153" fmla="*/ 275 w 10000"/>
                <a:gd name="connsiteY153" fmla="*/ 5745 h 9996"/>
                <a:gd name="connsiteX154" fmla="*/ 174 w 10000"/>
                <a:gd name="connsiteY154" fmla="*/ 5960 h 9996"/>
                <a:gd name="connsiteX155" fmla="*/ 239 w 10000"/>
                <a:gd name="connsiteY155" fmla="*/ 5588 h 9996"/>
                <a:gd name="connsiteX156" fmla="*/ 197 w 10000"/>
                <a:gd name="connsiteY156" fmla="*/ 5519 h 9996"/>
                <a:gd name="connsiteX0" fmla="*/ 197 w 10000"/>
                <a:gd name="connsiteY0" fmla="*/ 5521 h 9997"/>
                <a:gd name="connsiteX1" fmla="*/ 0 w 10000"/>
                <a:gd name="connsiteY1" fmla="*/ 5715 h 9997"/>
                <a:gd name="connsiteX2" fmla="*/ 0 w 10000"/>
                <a:gd name="connsiteY2" fmla="*/ 6666 h 9997"/>
                <a:gd name="connsiteX3" fmla="*/ 109 w 10000"/>
                <a:gd name="connsiteY3" fmla="*/ 6691 h 9997"/>
                <a:gd name="connsiteX4" fmla="*/ 134 w 10000"/>
                <a:gd name="connsiteY4" fmla="*/ 6767 h 9997"/>
                <a:gd name="connsiteX5" fmla="*/ 130 w 10000"/>
                <a:gd name="connsiteY5" fmla="*/ 6895 h 9997"/>
                <a:gd name="connsiteX6" fmla="*/ 89 w 10000"/>
                <a:gd name="connsiteY6" fmla="*/ 6951 h 9997"/>
                <a:gd name="connsiteX7" fmla="*/ 255 w 10000"/>
                <a:gd name="connsiteY7" fmla="*/ 6840 h 9997"/>
                <a:gd name="connsiteX8" fmla="*/ 325 w 10000"/>
                <a:gd name="connsiteY8" fmla="*/ 6735 h 9997"/>
                <a:gd name="connsiteX9" fmla="*/ 413 w 10000"/>
                <a:gd name="connsiteY9" fmla="*/ 6807 h 9997"/>
                <a:gd name="connsiteX10" fmla="*/ 316 w 10000"/>
                <a:gd name="connsiteY10" fmla="*/ 6963 h 9997"/>
                <a:gd name="connsiteX11" fmla="*/ 419 w 10000"/>
                <a:gd name="connsiteY11" fmla="*/ 6967 h 9997"/>
                <a:gd name="connsiteX12" fmla="*/ 469 w 10000"/>
                <a:gd name="connsiteY12" fmla="*/ 7006 h 9997"/>
                <a:gd name="connsiteX13" fmla="*/ 337 w 10000"/>
                <a:gd name="connsiteY13" fmla="*/ 7057 h 9997"/>
                <a:gd name="connsiteX14" fmla="*/ 130 w 10000"/>
                <a:gd name="connsiteY14" fmla="*/ 7218 h 9997"/>
                <a:gd name="connsiteX15" fmla="*/ 497 w 10000"/>
                <a:gd name="connsiteY15" fmla="*/ 7343 h 9997"/>
                <a:gd name="connsiteX16" fmla="*/ 545 w 10000"/>
                <a:gd name="connsiteY16" fmla="*/ 7520 h 9997"/>
                <a:gd name="connsiteX17" fmla="*/ 419 w 10000"/>
                <a:gd name="connsiteY17" fmla="*/ 7783 h 9997"/>
                <a:gd name="connsiteX18" fmla="*/ 688 w 10000"/>
                <a:gd name="connsiteY18" fmla="*/ 7768 h 9997"/>
                <a:gd name="connsiteX19" fmla="*/ 709 w 10000"/>
                <a:gd name="connsiteY19" fmla="*/ 7963 h 9997"/>
                <a:gd name="connsiteX20" fmla="*/ 530 w 10000"/>
                <a:gd name="connsiteY20" fmla="*/ 8103 h 9997"/>
                <a:gd name="connsiteX21" fmla="*/ 560 w 10000"/>
                <a:gd name="connsiteY21" fmla="*/ 8359 h 9997"/>
                <a:gd name="connsiteX22" fmla="*/ 489 w 10000"/>
                <a:gd name="connsiteY22" fmla="*/ 8565 h 9997"/>
                <a:gd name="connsiteX23" fmla="*/ 703 w 10000"/>
                <a:gd name="connsiteY23" fmla="*/ 8584 h 9997"/>
                <a:gd name="connsiteX24" fmla="*/ 909 w 10000"/>
                <a:gd name="connsiteY24" fmla="*/ 9364 h 9997"/>
                <a:gd name="connsiteX25" fmla="*/ 1675 w 10000"/>
                <a:gd name="connsiteY25" fmla="*/ 9169 h 9997"/>
                <a:gd name="connsiteX26" fmla="*/ 6419 w 10000"/>
                <a:gd name="connsiteY26" fmla="*/ 9997 h 9997"/>
                <a:gd name="connsiteX27" fmla="*/ 6586 w 10000"/>
                <a:gd name="connsiteY27" fmla="*/ 9166 h 9997"/>
                <a:gd name="connsiteX28" fmla="*/ 6855 w 10000"/>
                <a:gd name="connsiteY28" fmla="*/ 8798 h 9997"/>
                <a:gd name="connsiteX29" fmla="*/ 6855 w 10000"/>
                <a:gd name="connsiteY29" fmla="*/ 8600 h 9997"/>
                <a:gd name="connsiteX30" fmla="*/ 6757 w 10000"/>
                <a:gd name="connsiteY30" fmla="*/ 8494 h 9997"/>
                <a:gd name="connsiteX31" fmla="*/ 6915 w 10000"/>
                <a:gd name="connsiteY31" fmla="*/ 8316 h 9997"/>
                <a:gd name="connsiteX32" fmla="*/ 6887 w 10000"/>
                <a:gd name="connsiteY32" fmla="*/ 8173 h 9997"/>
                <a:gd name="connsiteX33" fmla="*/ 6779 w 10000"/>
                <a:gd name="connsiteY33" fmla="*/ 8051 h 9997"/>
                <a:gd name="connsiteX34" fmla="*/ 6757 w 10000"/>
                <a:gd name="connsiteY34" fmla="*/ 7954 h 9997"/>
                <a:gd name="connsiteX35" fmla="*/ 6785 w 10000"/>
                <a:gd name="connsiteY35" fmla="*/ 7884 h 9997"/>
                <a:gd name="connsiteX36" fmla="*/ 6931 w 10000"/>
                <a:gd name="connsiteY36" fmla="*/ 7940 h 9997"/>
                <a:gd name="connsiteX37" fmla="*/ 7045 w 10000"/>
                <a:gd name="connsiteY37" fmla="*/ 7937 h 9997"/>
                <a:gd name="connsiteX38" fmla="*/ 6983 w 10000"/>
                <a:gd name="connsiteY38" fmla="*/ 7820 h 9997"/>
                <a:gd name="connsiteX39" fmla="*/ 7003 w 10000"/>
                <a:gd name="connsiteY39" fmla="*/ 7750 h 9997"/>
                <a:gd name="connsiteX40" fmla="*/ 7089 w 10000"/>
                <a:gd name="connsiteY40" fmla="*/ 7651 h 9997"/>
                <a:gd name="connsiteX41" fmla="*/ 7074 w 10000"/>
                <a:gd name="connsiteY41" fmla="*/ 7568 h 9997"/>
                <a:gd name="connsiteX42" fmla="*/ 7152 w 10000"/>
                <a:gd name="connsiteY42" fmla="*/ 7293 h 9997"/>
                <a:gd name="connsiteX43" fmla="*/ 7130 w 10000"/>
                <a:gd name="connsiteY43" fmla="*/ 7207 h 9997"/>
                <a:gd name="connsiteX44" fmla="*/ 6729 w 10000"/>
                <a:gd name="connsiteY44" fmla="*/ 6995 h 9997"/>
                <a:gd name="connsiteX45" fmla="*/ 6785 w 10000"/>
                <a:gd name="connsiteY45" fmla="*/ 6987 h 9997"/>
                <a:gd name="connsiteX46" fmla="*/ 6998 w 10000"/>
                <a:gd name="connsiteY46" fmla="*/ 7041 h 9997"/>
                <a:gd name="connsiteX47" fmla="*/ 7230 w 10000"/>
                <a:gd name="connsiteY47" fmla="*/ 7021 h 9997"/>
                <a:gd name="connsiteX48" fmla="*/ 7295 w 10000"/>
                <a:gd name="connsiteY48" fmla="*/ 6947 h 9997"/>
                <a:gd name="connsiteX49" fmla="*/ 7074 w 10000"/>
                <a:gd name="connsiteY49" fmla="*/ 6804 h 9997"/>
                <a:gd name="connsiteX50" fmla="*/ 6414 w 10000"/>
                <a:gd name="connsiteY50" fmla="*/ 6709 h 9997"/>
                <a:gd name="connsiteX51" fmla="*/ 6458 w 10000"/>
                <a:gd name="connsiteY51" fmla="*/ 6666 h 9997"/>
                <a:gd name="connsiteX52" fmla="*/ 6998 w 10000"/>
                <a:gd name="connsiteY52" fmla="*/ 6636 h 9997"/>
                <a:gd name="connsiteX53" fmla="*/ 7295 w 10000"/>
                <a:gd name="connsiteY53" fmla="*/ 6722 h 9997"/>
                <a:gd name="connsiteX54" fmla="*/ 7466 w 10000"/>
                <a:gd name="connsiteY54" fmla="*/ 6666 h 9997"/>
                <a:gd name="connsiteX55" fmla="*/ 7529 w 10000"/>
                <a:gd name="connsiteY55" fmla="*/ 6518 h 9997"/>
                <a:gd name="connsiteX56" fmla="*/ 7840 w 10000"/>
                <a:gd name="connsiteY56" fmla="*/ 6518 h 9997"/>
                <a:gd name="connsiteX57" fmla="*/ 8261 w 10000"/>
                <a:gd name="connsiteY57" fmla="*/ 6217 h 9997"/>
                <a:gd name="connsiteX58" fmla="*/ 8275 w 10000"/>
                <a:gd name="connsiteY58" fmla="*/ 6017 h 9997"/>
                <a:gd name="connsiteX59" fmla="*/ 8453 w 10000"/>
                <a:gd name="connsiteY59" fmla="*/ 6062 h 9997"/>
                <a:gd name="connsiteX60" fmla="*/ 8446 w 10000"/>
                <a:gd name="connsiteY60" fmla="*/ 6264 h 9997"/>
                <a:gd name="connsiteX61" fmla="*/ 8727 w 10000"/>
                <a:gd name="connsiteY61" fmla="*/ 6249 h 9997"/>
                <a:gd name="connsiteX62" fmla="*/ 8913 w 10000"/>
                <a:gd name="connsiteY62" fmla="*/ 6041 h 9997"/>
                <a:gd name="connsiteX63" fmla="*/ 9258 w 10000"/>
                <a:gd name="connsiteY63" fmla="*/ 5854 h 9997"/>
                <a:gd name="connsiteX64" fmla="*/ 9203 w 10000"/>
                <a:gd name="connsiteY64" fmla="*/ 5642 h 9997"/>
                <a:gd name="connsiteX65" fmla="*/ 9306 w 10000"/>
                <a:gd name="connsiteY65" fmla="*/ 5728 h 9997"/>
                <a:gd name="connsiteX66" fmla="*/ 9464 w 10000"/>
                <a:gd name="connsiteY66" fmla="*/ 5728 h 9997"/>
                <a:gd name="connsiteX67" fmla="*/ 9464 w 10000"/>
                <a:gd name="connsiteY67" fmla="*/ 5628 h 9997"/>
                <a:gd name="connsiteX68" fmla="*/ 9611 w 10000"/>
                <a:gd name="connsiteY68" fmla="*/ 5556 h 9997"/>
                <a:gd name="connsiteX69" fmla="*/ 9592 w 10000"/>
                <a:gd name="connsiteY69" fmla="*/ 5479 h 9997"/>
                <a:gd name="connsiteX70" fmla="*/ 8350 w 10000"/>
                <a:gd name="connsiteY70" fmla="*/ 5630 h 9997"/>
                <a:gd name="connsiteX71" fmla="*/ 8058 w 10000"/>
                <a:gd name="connsiteY71" fmla="*/ 5588 h 9997"/>
                <a:gd name="connsiteX72" fmla="*/ 7942 w 10000"/>
                <a:gd name="connsiteY72" fmla="*/ 5642 h 9997"/>
                <a:gd name="connsiteX73" fmla="*/ 7903 w 10000"/>
                <a:gd name="connsiteY73" fmla="*/ 5535 h 9997"/>
                <a:gd name="connsiteX74" fmla="*/ 7765 w 10000"/>
                <a:gd name="connsiteY74" fmla="*/ 5441 h 9997"/>
                <a:gd name="connsiteX75" fmla="*/ 7213 w 10000"/>
                <a:gd name="connsiteY75" fmla="*/ 5247 h 9997"/>
                <a:gd name="connsiteX76" fmla="*/ 6887 w 10000"/>
                <a:gd name="connsiteY76" fmla="*/ 5280 h 9997"/>
                <a:gd name="connsiteX77" fmla="*/ 6757 w 10000"/>
                <a:gd name="connsiteY77" fmla="*/ 5225 h 9997"/>
                <a:gd name="connsiteX78" fmla="*/ 6894 w 10000"/>
                <a:gd name="connsiteY78" fmla="*/ 5178 h 9997"/>
                <a:gd name="connsiteX79" fmla="*/ 6998 w 10000"/>
                <a:gd name="connsiteY79" fmla="*/ 5076 h 9997"/>
                <a:gd name="connsiteX80" fmla="*/ 7152 w 10000"/>
                <a:gd name="connsiteY80" fmla="*/ 5108 h 9997"/>
                <a:gd name="connsiteX81" fmla="*/ 7335 w 10000"/>
                <a:gd name="connsiteY81" fmla="*/ 5083 h 9997"/>
                <a:gd name="connsiteX82" fmla="*/ 7611 w 10000"/>
                <a:gd name="connsiteY82" fmla="*/ 5116 h 9997"/>
                <a:gd name="connsiteX83" fmla="*/ 7645 w 10000"/>
                <a:gd name="connsiteY83" fmla="*/ 5102 h 9997"/>
                <a:gd name="connsiteX84" fmla="*/ 7859 w 10000"/>
                <a:gd name="connsiteY84" fmla="*/ 5257 h 9997"/>
                <a:gd name="connsiteX85" fmla="*/ 8017 w 10000"/>
                <a:gd name="connsiteY85" fmla="*/ 5199 h 9997"/>
                <a:gd name="connsiteX86" fmla="*/ 8032 w 10000"/>
                <a:gd name="connsiteY86" fmla="*/ 5146 h 9997"/>
                <a:gd name="connsiteX87" fmla="*/ 8176 w 10000"/>
                <a:gd name="connsiteY87" fmla="*/ 5239 h 9997"/>
                <a:gd name="connsiteX88" fmla="*/ 8369 w 10000"/>
                <a:gd name="connsiteY88" fmla="*/ 5289 h 9997"/>
                <a:gd name="connsiteX89" fmla="*/ 8446 w 10000"/>
                <a:gd name="connsiteY89" fmla="*/ 5197 h 9997"/>
                <a:gd name="connsiteX90" fmla="*/ 8507 w 10000"/>
                <a:gd name="connsiteY90" fmla="*/ 5247 h 9997"/>
                <a:gd name="connsiteX91" fmla="*/ 8596 w 10000"/>
                <a:gd name="connsiteY91" fmla="*/ 5428 h 9997"/>
                <a:gd name="connsiteX92" fmla="*/ 8782 w 10000"/>
                <a:gd name="connsiteY92" fmla="*/ 5468 h 9997"/>
                <a:gd name="connsiteX93" fmla="*/ 9542 w 10000"/>
                <a:gd name="connsiteY93" fmla="*/ 5206 h 9997"/>
                <a:gd name="connsiteX94" fmla="*/ 9914 w 10000"/>
                <a:gd name="connsiteY94" fmla="*/ 4837 h 9997"/>
                <a:gd name="connsiteX95" fmla="*/ 10000 w 10000"/>
                <a:gd name="connsiteY95" fmla="*/ 4573 h 9997"/>
                <a:gd name="connsiteX96" fmla="*/ 9866 w 10000"/>
                <a:gd name="connsiteY96" fmla="*/ 4329 h 9997"/>
                <a:gd name="connsiteX97" fmla="*/ 9582 w 10000"/>
                <a:gd name="connsiteY97" fmla="*/ 4187 h 9997"/>
                <a:gd name="connsiteX98" fmla="*/ 9382 w 10000"/>
                <a:gd name="connsiteY98" fmla="*/ 3947 h 9997"/>
                <a:gd name="connsiteX99" fmla="*/ 9569 w 10000"/>
                <a:gd name="connsiteY99" fmla="*/ 3940 h 9997"/>
                <a:gd name="connsiteX100" fmla="*/ 9555 w 10000"/>
                <a:gd name="connsiteY100" fmla="*/ 3885 h 9997"/>
                <a:gd name="connsiteX101" fmla="*/ 9068 w 10000"/>
                <a:gd name="connsiteY101" fmla="*/ 3719 h 9997"/>
                <a:gd name="connsiteX102" fmla="*/ 9047 w 10000"/>
                <a:gd name="connsiteY102" fmla="*/ 3565 h 9997"/>
                <a:gd name="connsiteX103" fmla="*/ 8953 w 10000"/>
                <a:gd name="connsiteY103" fmla="*/ 3405 h 9997"/>
                <a:gd name="connsiteX104" fmla="*/ 8569 w 10000"/>
                <a:gd name="connsiteY104" fmla="*/ 3435 h 9997"/>
                <a:gd name="connsiteX105" fmla="*/ 8431 w 10000"/>
                <a:gd name="connsiteY105" fmla="*/ 3264 h 9997"/>
                <a:gd name="connsiteX106" fmla="*/ 8350 w 10000"/>
                <a:gd name="connsiteY106" fmla="*/ 3253 h 9997"/>
                <a:gd name="connsiteX107" fmla="*/ 8350 w 10000"/>
                <a:gd name="connsiteY107" fmla="*/ 3330 h 9997"/>
                <a:gd name="connsiteX108" fmla="*/ 8176 w 10000"/>
                <a:gd name="connsiteY108" fmla="*/ 3612 h 9997"/>
                <a:gd name="connsiteX109" fmla="*/ 7990 w 10000"/>
                <a:gd name="connsiteY109" fmla="*/ 3782 h 9997"/>
                <a:gd name="connsiteX110" fmla="*/ 7401 w 10000"/>
                <a:gd name="connsiteY110" fmla="*/ 4065 h 9997"/>
                <a:gd name="connsiteX111" fmla="*/ 7198 w 10000"/>
                <a:gd name="connsiteY111" fmla="*/ 4057 h 9997"/>
                <a:gd name="connsiteX112" fmla="*/ 6915 w 10000"/>
                <a:gd name="connsiteY112" fmla="*/ 4100 h 9997"/>
                <a:gd name="connsiteX113" fmla="*/ 6757 w 10000"/>
                <a:gd name="connsiteY113" fmla="*/ 4057 h 9997"/>
                <a:gd name="connsiteX114" fmla="*/ 6965 w 10000"/>
                <a:gd name="connsiteY114" fmla="*/ 3975 h 9997"/>
                <a:gd name="connsiteX115" fmla="*/ 7235 w 10000"/>
                <a:gd name="connsiteY115" fmla="*/ 3940 h 9997"/>
                <a:gd name="connsiteX116" fmla="*/ 7455 w 10000"/>
                <a:gd name="connsiteY116" fmla="*/ 3808 h 9997"/>
                <a:gd name="connsiteX117" fmla="*/ 7674 w 10000"/>
                <a:gd name="connsiteY117" fmla="*/ 3745 h 9997"/>
                <a:gd name="connsiteX118" fmla="*/ 8082 w 10000"/>
                <a:gd name="connsiteY118" fmla="*/ 3511 h 9997"/>
                <a:gd name="connsiteX119" fmla="*/ 8157 w 10000"/>
                <a:gd name="connsiteY119" fmla="*/ 3358 h 9997"/>
                <a:gd name="connsiteX120" fmla="*/ 8165 w 10000"/>
                <a:gd name="connsiteY120" fmla="*/ 3162 h 9997"/>
                <a:gd name="connsiteX121" fmla="*/ 7978 w 10000"/>
                <a:gd name="connsiteY121" fmla="*/ 3128 h 9997"/>
                <a:gd name="connsiteX122" fmla="*/ 8058 w 10000"/>
                <a:gd name="connsiteY122" fmla="*/ 3008 h 9997"/>
                <a:gd name="connsiteX123" fmla="*/ 8087 w 10000"/>
                <a:gd name="connsiteY123" fmla="*/ 2855 h 9997"/>
                <a:gd name="connsiteX124" fmla="*/ 8007 w 10000"/>
                <a:gd name="connsiteY124" fmla="*/ 2713 h 9997"/>
                <a:gd name="connsiteX125" fmla="*/ 7450 w 10000"/>
                <a:gd name="connsiteY125" fmla="*/ 2909 h 9997"/>
                <a:gd name="connsiteX126" fmla="*/ 6694 w 10000"/>
                <a:gd name="connsiteY126" fmla="*/ 2822 h 9997"/>
                <a:gd name="connsiteX127" fmla="*/ 6304 w 10000"/>
                <a:gd name="connsiteY127" fmla="*/ 2275 h 9997"/>
                <a:gd name="connsiteX128" fmla="*/ 5294 w 10000"/>
                <a:gd name="connsiteY128" fmla="*/ 2172 h 9997"/>
                <a:gd name="connsiteX129" fmla="*/ 4505 w 10000"/>
                <a:gd name="connsiteY129" fmla="*/ 1720 h 9997"/>
                <a:gd name="connsiteX130" fmla="*/ 3730 w 10000"/>
                <a:gd name="connsiteY130" fmla="*/ 1176 h 9997"/>
                <a:gd name="connsiteX131" fmla="*/ 3154 w 10000"/>
                <a:gd name="connsiteY131" fmla="*/ 173 h 9997"/>
                <a:gd name="connsiteX132" fmla="*/ 2375 w 10000"/>
                <a:gd name="connsiteY132" fmla="*/ 0 h 9997"/>
                <a:gd name="connsiteX133" fmla="*/ 2226 w 10000"/>
                <a:gd name="connsiteY133" fmla="*/ 941 h 9997"/>
                <a:gd name="connsiteX134" fmla="*/ 2375 w 10000"/>
                <a:gd name="connsiteY134" fmla="*/ 1181 h 9997"/>
                <a:gd name="connsiteX135" fmla="*/ 2791 w 10000"/>
                <a:gd name="connsiteY135" fmla="*/ 1446 h 9997"/>
                <a:gd name="connsiteX136" fmla="*/ 2808 w 10000"/>
                <a:gd name="connsiteY136" fmla="*/ 1766 h 9997"/>
                <a:gd name="connsiteX137" fmla="*/ 2632 w 10000"/>
                <a:gd name="connsiteY137" fmla="*/ 2034 h 9997"/>
                <a:gd name="connsiteX138" fmla="*/ 2375 w 10000"/>
                <a:gd name="connsiteY138" fmla="*/ 2195 h 9997"/>
                <a:gd name="connsiteX139" fmla="*/ 2039 w 10000"/>
                <a:gd name="connsiteY139" fmla="*/ 2259 h 9997"/>
                <a:gd name="connsiteX140" fmla="*/ 1950 w 10000"/>
                <a:gd name="connsiteY140" fmla="*/ 2356 h 9997"/>
                <a:gd name="connsiteX141" fmla="*/ 2148 w 10000"/>
                <a:gd name="connsiteY141" fmla="*/ 2576 h 9997"/>
                <a:gd name="connsiteX142" fmla="*/ 2261 w 10000"/>
                <a:gd name="connsiteY142" fmla="*/ 3103 h 9997"/>
                <a:gd name="connsiteX143" fmla="*/ 2005 w 10000"/>
                <a:gd name="connsiteY143" fmla="*/ 3554 h 9997"/>
                <a:gd name="connsiteX144" fmla="*/ 2094 w 10000"/>
                <a:gd name="connsiteY144" fmla="*/ 3691 h 9997"/>
                <a:gd name="connsiteX145" fmla="*/ 2012 w 10000"/>
                <a:gd name="connsiteY145" fmla="*/ 3925 h 9997"/>
                <a:gd name="connsiteX146" fmla="*/ 1850 w 10000"/>
                <a:gd name="connsiteY146" fmla="*/ 4088 h 9997"/>
                <a:gd name="connsiteX147" fmla="*/ 1199 w 10000"/>
                <a:gd name="connsiteY147" fmla="*/ 4214 h 9997"/>
                <a:gd name="connsiteX148" fmla="*/ 1158 w 10000"/>
                <a:gd name="connsiteY148" fmla="*/ 4431 h 9997"/>
                <a:gd name="connsiteX149" fmla="*/ 808 w 10000"/>
                <a:gd name="connsiteY149" fmla="*/ 4753 h 9997"/>
                <a:gd name="connsiteX150" fmla="*/ 854 w 10000"/>
                <a:gd name="connsiteY150" fmla="*/ 5222 h 9997"/>
                <a:gd name="connsiteX151" fmla="*/ 560 w 10000"/>
                <a:gd name="connsiteY151" fmla="*/ 5820 h 9997"/>
                <a:gd name="connsiteX152" fmla="*/ 358 w 10000"/>
                <a:gd name="connsiteY152" fmla="*/ 5889 h 9997"/>
                <a:gd name="connsiteX153" fmla="*/ 275 w 10000"/>
                <a:gd name="connsiteY153" fmla="*/ 5747 h 9997"/>
                <a:gd name="connsiteX154" fmla="*/ 174 w 10000"/>
                <a:gd name="connsiteY154" fmla="*/ 5962 h 9997"/>
                <a:gd name="connsiteX155" fmla="*/ 239 w 10000"/>
                <a:gd name="connsiteY155" fmla="*/ 5590 h 9997"/>
                <a:gd name="connsiteX156" fmla="*/ 197 w 10000"/>
                <a:gd name="connsiteY156" fmla="*/ 5521 h 9997"/>
                <a:gd name="connsiteX0" fmla="*/ 197 w 10000"/>
                <a:gd name="connsiteY0" fmla="*/ 5523 h 10000"/>
                <a:gd name="connsiteX1" fmla="*/ 0 w 10000"/>
                <a:gd name="connsiteY1" fmla="*/ 5717 h 10000"/>
                <a:gd name="connsiteX2" fmla="*/ 0 w 10000"/>
                <a:gd name="connsiteY2" fmla="*/ 6668 h 10000"/>
                <a:gd name="connsiteX3" fmla="*/ 109 w 10000"/>
                <a:gd name="connsiteY3" fmla="*/ 6693 h 10000"/>
                <a:gd name="connsiteX4" fmla="*/ 134 w 10000"/>
                <a:gd name="connsiteY4" fmla="*/ 6769 h 10000"/>
                <a:gd name="connsiteX5" fmla="*/ 130 w 10000"/>
                <a:gd name="connsiteY5" fmla="*/ 6897 h 10000"/>
                <a:gd name="connsiteX6" fmla="*/ 89 w 10000"/>
                <a:gd name="connsiteY6" fmla="*/ 6953 h 10000"/>
                <a:gd name="connsiteX7" fmla="*/ 255 w 10000"/>
                <a:gd name="connsiteY7" fmla="*/ 6842 h 10000"/>
                <a:gd name="connsiteX8" fmla="*/ 325 w 10000"/>
                <a:gd name="connsiteY8" fmla="*/ 6737 h 10000"/>
                <a:gd name="connsiteX9" fmla="*/ 413 w 10000"/>
                <a:gd name="connsiteY9" fmla="*/ 6809 h 10000"/>
                <a:gd name="connsiteX10" fmla="*/ 316 w 10000"/>
                <a:gd name="connsiteY10" fmla="*/ 6965 h 10000"/>
                <a:gd name="connsiteX11" fmla="*/ 419 w 10000"/>
                <a:gd name="connsiteY11" fmla="*/ 6969 h 10000"/>
                <a:gd name="connsiteX12" fmla="*/ 469 w 10000"/>
                <a:gd name="connsiteY12" fmla="*/ 7008 h 10000"/>
                <a:gd name="connsiteX13" fmla="*/ 337 w 10000"/>
                <a:gd name="connsiteY13" fmla="*/ 7059 h 10000"/>
                <a:gd name="connsiteX14" fmla="*/ 130 w 10000"/>
                <a:gd name="connsiteY14" fmla="*/ 7220 h 10000"/>
                <a:gd name="connsiteX15" fmla="*/ 497 w 10000"/>
                <a:gd name="connsiteY15" fmla="*/ 7345 h 10000"/>
                <a:gd name="connsiteX16" fmla="*/ 545 w 10000"/>
                <a:gd name="connsiteY16" fmla="*/ 7522 h 10000"/>
                <a:gd name="connsiteX17" fmla="*/ 419 w 10000"/>
                <a:gd name="connsiteY17" fmla="*/ 7785 h 10000"/>
                <a:gd name="connsiteX18" fmla="*/ 688 w 10000"/>
                <a:gd name="connsiteY18" fmla="*/ 7770 h 10000"/>
                <a:gd name="connsiteX19" fmla="*/ 709 w 10000"/>
                <a:gd name="connsiteY19" fmla="*/ 7965 h 10000"/>
                <a:gd name="connsiteX20" fmla="*/ 530 w 10000"/>
                <a:gd name="connsiteY20" fmla="*/ 8105 h 10000"/>
                <a:gd name="connsiteX21" fmla="*/ 560 w 10000"/>
                <a:gd name="connsiteY21" fmla="*/ 8362 h 10000"/>
                <a:gd name="connsiteX22" fmla="*/ 489 w 10000"/>
                <a:gd name="connsiteY22" fmla="*/ 8568 h 10000"/>
                <a:gd name="connsiteX23" fmla="*/ 703 w 10000"/>
                <a:gd name="connsiteY23" fmla="*/ 8587 h 10000"/>
                <a:gd name="connsiteX24" fmla="*/ 909 w 10000"/>
                <a:gd name="connsiteY24" fmla="*/ 9367 h 10000"/>
                <a:gd name="connsiteX25" fmla="*/ 1616 w 10000"/>
                <a:gd name="connsiteY25" fmla="*/ 8985 h 10000"/>
                <a:gd name="connsiteX26" fmla="*/ 6419 w 10000"/>
                <a:gd name="connsiteY26" fmla="*/ 10000 h 10000"/>
                <a:gd name="connsiteX27" fmla="*/ 6586 w 10000"/>
                <a:gd name="connsiteY27" fmla="*/ 9169 h 10000"/>
                <a:gd name="connsiteX28" fmla="*/ 6855 w 10000"/>
                <a:gd name="connsiteY28" fmla="*/ 8801 h 10000"/>
                <a:gd name="connsiteX29" fmla="*/ 6855 w 10000"/>
                <a:gd name="connsiteY29" fmla="*/ 8603 h 10000"/>
                <a:gd name="connsiteX30" fmla="*/ 6757 w 10000"/>
                <a:gd name="connsiteY30" fmla="*/ 8497 h 10000"/>
                <a:gd name="connsiteX31" fmla="*/ 6915 w 10000"/>
                <a:gd name="connsiteY31" fmla="*/ 8318 h 10000"/>
                <a:gd name="connsiteX32" fmla="*/ 6887 w 10000"/>
                <a:gd name="connsiteY32" fmla="*/ 8175 h 10000"/>
                <a:gd name="connsiteX33" fmla="*/ 6779 w 10000"/>
                <a:gd name="connsiteY33" fmla="*/ 8053 h 10000"/>
                <a:gd name="connsiteX34" fmla="*/ 6757 w 10000"/>
                <a:gd name="connsiteY34" fmla="*/ 7956 h 10000"/>
                <a:gd name="connsiteX35" fmla="*/ 6785 w 10000"/>
                <a:gd name="connsiteY35" fmla="*/ 7886 h 10000"/>
                <a:gd name="connsiteX36" fmla="*/ 6931 w 10000"/>
                <a:gd name="connsiteY36" fmla="*/ 7942 h 10000"/>
                <a:gd name="connsiteX37" fmla="*/ 7045 w 10000"/>
                <a:gd name="connsiteY37" fmla="*/ 7939 h 10000"/>
                <a:gd name="connsiteX38" fmla="*/ 6983 w 10000"/>
                <a:gd name="connsiteY38" fmla="*/ 7822 h 10000"/>
                <a:gd name="connsiteX39" fmla="*/ 7003 w 10000"/>
                <a:gd name="connsiteY39" fmla="*/ 7752 h 10000"/>
                <a:gd name="connsiteX40" fmla="*/ 7089 w 10000"/>
                <a:gd name="connsiteY40" fmla="*/ 7653 h 10000"/>
                <a:gd name="connsiteX41" fmla="*/ 7074 w 10000"/>
                <a:gd name="connsiteY41" fmla="*/ 7570 h 10000"/>
                <a:gd name="connsiteX42" fmla="*/ 7152 w 10000"/>
                <a:gd name="connsiteY42" fmla="*/ 7295 h 10000"/>
                <a:gd name="connsiteX43" fmla="*/ 7130 w 10000"/>
                <a:gd name="connsiteY43" fmla="*/ 7209 h 10000"/>
                <a:gd name="connsiteX44" fmla="*/ 6729 w 10000"/>
                <a:gd name="connsiteY44" fmla="*/ 6997 h 10000"/>
                <a:gd name="connsiteX45" fmla="*/ 6785 w 10000"/>
                <a:gd name="connsiteY45" fmla="*/ 6989 h 10000"/>
                <a:gd name="connsiteX46" fmla="*/ 6998 w 10000"/>
                <a:gd name="connsiteY46" fmla="*/ 7043 h 10000"/>
                <a:gd name="connsiteX47" fmla="*/ 7230 w 10000"/>
                <a:gd name="connsiteY47" fmla="*/ 7023 h 10000"/>
                <a:gd name="connsiteX48" fmla="*/ 7295 w 10000"/>
                <a:gd name="connsiteY48" fmla="*/ 6949 h 10000"/>
                <a:gd name="connsiteX49" fmla="*/ 7074 w 10000"/>
                <a:gd name="connsiteY49" fmla="*/ 6806 h 10000"/>
                <a:gd name="connsiteX50" fmla="*/ 6414 w 10000"/>
                <a:gd name="connsiteY50" fmla="*/ 6711 h 10000"/>
                <a:gd name="connsiteX51" fmla="*/ 6458 w 10000"/>
                <a:gd name="connsiteY51" fmla="*/ 6668 h 10000"/>
                <a:gd name="connsiteX52" fmla="*/ 6998 w 10000"/>
                <a:gd name="connsiteY52" fmla="*/ 6638 h 10000"/>
                <a:gd name="connsiteX53" fmla="*/ 7295 w 10000"/>
                <a:gd name="connsiteY53" fmla="*/ 6724 h 10000"/>
                <a:gd name="connsiteX54" fmla="*/ 7466 w 10000"/>
                <a:gd name="connsiteY54" fmla="*/ 6668 h 10000"/>
                <a:gd name="connsiteX55" fmla="*/ 7529 w 10000"/>
                <a:gd name="connsiteY55" fmla="*/ 6520 h 10000"/>
                <a:gd name="connsiteX56" fmla="*/ 7840 w 10000"/>
                <a:gd name="connsiteY56" fmla="*/ 6520 h 10000"/>
                <a:gd name="connsiteX57" fmla="*/ 8261 w 10000"/>
                <a:gd name="connsiteY57" fmla="*/ 6219 h 10000"/>
                <a:gd name="connsiteX58" fmla="*/ 8275 w 10000"/>
                <a:gd name="connsiteY58" fmla="*/ 6019 h 10000"/>
                <a:gd name="connsiteX59" fmla="*/ 8453 w 10000"/>
                <a:gd name="connsiteY59" fmla="*/ 6064 h 10000"/>
                <a:gd name="connsiteX60" fmla="*/ 8446 w 10000"/>
                <a:gd name="connsiteY60" fmla="*/ 6266 h 10000"/>
                <a:gd name="connsiteX61" fmla="*/ 8727 w 10000"/>
                <a:gd name="connsiteY61" fmla="*/ 6251 h 10000"/>
                <a:gd name="connsiteX62" fmla="*/ 8913 w 10000"/>
                <a:gd name="connsiteY62" fmla="*/ 6043 h 10000"/>
                <a:gd name="connsiteX63" fmla="*/ 9258 w 10000"/>
                <a:gd name="connsiteY63" fmla="*/ 5856 h 10000"/>
                <a:gd name="connsiteX64" fmla="*/ 9203 w 10000"/>
                <a:gd name="connsiteY64" fmla="*/ 5644 h 10000"/>
                <a:gd name="connsiteX65" fmla="*/ 9306 w 10000"/>
                <a:gd name="connsiteY65" fmla="*/ 5730 h 10000"/>
                <a:gd name="connsiteX66" fmla="*/ 9464 w 10000"/>
                <a:gd name="connsiteY66" fmla="*/ 5730 h 10000"/>
                <a:gd name="connsiteX67" fmla="*/ 9464 w 10000"/>
                <a:gd name="connsiteY67" fmla="*/ 5630 h 10000"/>
                <a:gd name="connsiteX68" fmla="*/ 9611 w 10000"/>
                <a:gd name="connsiteY68" fmla="*/ 5558 h 10000"/>
                <a:gd name="connsiteX69" fmla="*/ 9592 w 10000"/>
                <a:gd name="connsiteY69" fmla="*/ 5481 h 10000"/>
                <a:gd name="connsiteX70" fmla="*/ 8350 w 10000"/>
                <a:gd name="connsiteY70" fmla="*/ 5632 h 10000"/>
                <a:gd name="connsiteX71" fmla="*/ 8058 w 10000"/>
                <a:gd name="connsiteY71" fmla="*/ 5590 h 10000"/>
                <a:gd name="connsiteX72" fmla="*/ 7942 w 10000"/>
                <a:gd name="connsiteY72" fmla="*/ 5644 h 10000"/>
                <a:gd name="connsiteX73" fmla="*/ 7903 w 10000"/>
                <a:gd name="connsiteY73" fmla="*/ 5537 h 10000"/>
                <a:gd name="connsiteX74" fmla="*/ 7765 w 10000"/>
                <a:gd name="connsiteY74" fmla="*/ 5443 h 10000"/>
                <a:gd name="connsiteX75" fmla="*/ 7213 w 10000"/>
                <a:gd name="connsiteY75" fmla="*/ 5249 h 10000"/>
                <a:gd name="connsiteX76" fmla="*/ 6887 w 10000"/>
                <a:gd name="connsiteY76" fmla="*/ 5282 h 10000"/>
                <a:gd name="connsiteX77" fmla="*/ 6757 w 10000"/>
                <a:gd name="connsiteY77" fmla="*/ 5227 h 10000"/>
                <a:gd name="connsiteX78" fmla="*/ 6894 w 10000"/>
                <a:gd name="connsiteY78" fmla="*/ 5180 h 10000"/>
                <a:gd name="connsiteX79" fmla="*/ 6998 w 10000"/>
                <a:gd name="connsiteY79" fmla="*/ 5078 h 10000"/>
                <a:gd name="connsiteX80" fmla="*/ 7152 w 10000"/>
                <a:gd name="connsiteY80" fmla="*/ 5110 h 10000"/>
                <a:gd name="connsiteX81" fmla="*/ 7335 w 10000"/>
                <a:gd name="connsiteY81" fmla="*/ 5085 h 10000"/>
                <a:gd name="connsiteX82" fmla="*/ 7611 w 10000"/>
                <a:gd name="connsiteY82" fmla="*/ 5118 h 10000"/>
                <a:gd name="connsiteX83" fmla="*/ 7645 w 10000"/>
                <a:gd name="connsiteY83" fmla="*/ 5104 h 10000"/>
                <a:gd name="connsiteX84" fmla="*/ 7859 w 10000"/>
                <a:gd name="connsiteY84" fmla="*/ 5259 h 10000"/>
                <a:gd name="connsiteX85" fmla="*/ 8017 w 10000"/>
                <a:gd name="connsiteY85" fmla="*/ 5201 h 10000"/>
                <a:gd name="connsiteX86" fmla="*/ 8032 w 10000"/>
                <a:gd name="connsiteY86" fmla="*/ 5148 h 10000"/>
                <a:gd name="connsiteX87" fmla="*/ 8176 w 10000"/>
                <a:gd name="connsiteY87" fmla="*/ 5241 h 10000"/>
                <a:gd name="connsiteX88" fmla="*/ 8369 w 10000"/>
                <a:gd name="connsiteY88" fmla="*/ 5291 h 10000"/>
                <a:gd name="connsiteX89" fmla="*/ 8446 w 10000"/>
                <a:gd name="connsiteY89" fmla="*/ 5199 h 10000"/>
                <a:gd name="connsiteX90" fmla="*/ 8507 w 10000"/>
                <a:gd name="connsiteY90" fmla="*/ 5249 h 10000"/>
                <a:gd name="connsiteX91" fmla="*/ 8596 w 10000"/>
                <a:gd name="connsiteY91" fmla="*/ 5430 h 10000"/>
                <a:gd name="connsiteX92" fmla="*/ 8782 w 10000"/>
                <a:gd name="connsiteY92" fmla="*/ 5470 h 10000"/>
                <a:gd name="connsiteX93" fmla="*/ 9542 w 10000"/>
                <a:gd name="connsiteY93" fmla="*/ 5208 h 10000"/>
                <a:gd name="connsiteX94" fmla="*/ 9914 w 10000"/>
                <a:gd name="connsiteY94" fmla="*/ 4838 h 10000"/>
                <a:gd name="connsiteX95" fmla="*/ 10000 w 10000"/>
                <a:gd name="connsiteY95" fmla="*/ 4574 h 10000"/>
                <a:gd name="connsiteX96" fmla="*/ 9866 w 10000"/>
                <a:gd name="connsiteY96" fmla="*/ 4330 h 10000"/>
                <a:gd name="connsiteX97" fmla="*/ 9582 w 10000"/>
                <a:gd name="connsiteY97" fmla="*/ 4188 h 10000"/>
                <a:gd name="connsiteX98" fmla="*/ 9382 w 10000"/>
                <a:gd name="connsiteY98" fmla="*/ 3948 h 10000"/>
                <a:gd name="connsiteX99" fmla="*/ 9569 w 10000"/>
                <a:gd name="connsiteY99" fmla="*/ 3941 h 10000"/>
                <a:gd name="connsiteX100" fmla="*/ 9555 w 10000"/>
                <a:gd name="connsiteY100" fmla="*/ 3886 h 10000"/>
                <a:gd name="connsiteX101" fmla="*/ 9068 w 10000"/>
                <a:gd name="connsiteY101" fmla="*/ 3720 h 10000"/>
                <a:gd name="connsiteX102" fmla="*/ 9047 w 10000"/>
                <a:gd name="connsiteY102" fmla="*/ 3566 h 10000"/>
                <a:gd name="connsiteX103" fmla="*/ 8953 w 10000"/>
                <a:gd name="connsiteY103" fmla="*/ 3406 h 10000"/>
                <a:gd name="connsiteX104" fmla="*/ 8569 w 10000"/>
                <a:gd name="connsiteY104" fmla="*/ 3436 h 10000"/>
                <a:gd name="connsiteX105" fmla="*/ 8431 w 10000"/>
                <a:gd name="connsiteY105" fmla="*/ 3265 h 10000"/>
                <a:gd name="connsiteX106" fmla="*/ 8350 w 10000"/>
                <a:gd name="connsiteY106" fmla="*/ 3254 h 10000"/>
                <a:gd name="connsiteX107" fmla="*/ 8350 w 10000"/>
                <a:gd name="connsiteY107" fmla="*/ 3331 h 10000"/>
                <a:gd name="connsiteX108" fmla="*/ 8176 w 10000"/>
                <a:gd name="connsiteY108" fmla="*/ 3613 h 10000"/>
                <a:gd name="connsiteX109" fmla="*/ 7990 w 10000"/>
                <a:gd name="connsiteY109" fmla="*/ 3783 h 10000"/>
                <a:gd name="connsiteX110" fmla="*/ 7401 w 10000"/>
                <a:gd name="connsiteY110" fmla="*/ 4066 h 10000"/>
                <a:gd name="connsiteX111" fmla="*/ 7198 w 10000"/>
                <a:gd name="connsiteY111" fmla="*/ 4058 h 10000"/>
                <a:gd name="connsiteX112" fmla="*/ 6915 w 10000"/>
                <a:gd name="connsiteY112" fmla="*/ 4101 h 10000"/>
                <a:gd name="connsiteX113" fmla="*/ 6757 w 10000"/>
                <a:gd name="connsiteY113" fmla="*/ 4058 h 10000"/>
                <a:gd name="connsiteX114" fmla="*/ 6965 w 10000"/>
                <a:gd name="connsiteY114" fmla="*/ 3976 h 10000"/>
                <a:gd name="connsiteX115" fmla="*/ 7235 w 10000"/>
                <a:gd name="connsiteY115" fmla="*/ 3941 h 10000"/>
                <a:gd name="connsiteX116" fmla="*/ 7455 w 10000"/>
                <a:gd name="connsiteY116" fmla="*/ 3809 h 10000"/>
                <a:gd name="connsiteX117" fmla="*/ 7674 w 10000"/>
                <a:gd name="connsiteY117" fmla="*/ 3746 h 10000"/>
                <a:gd name="connsiteX118" fmla="*/ 8082 w 10000"/>
                <a:gd name="connsiteY118" fmla="*/ 3512 h 10000"/>
                <a:gd name="connsiteX119" fmla="*/ 8157 w 10000"/>
                <a:gd name="connsiteY119" fmla="*/ 3359 h 10000"/>
                <a:gd name="connsiteX120" fmla="*/ 8165 w 10000"/>
                <a:gd name="connsiteY120" fmla="*/ 3163 h 10000"/>
                <a:gd name="connsiteX121" fmla="*/ 7978 w 10000"/>
                <a:gd name="connsiteY121" fmla="*/ 3129 h 10000"/>
                <a:gd name="connsiteX122" fmla="*/ 8058 w 10000"/>
                <a:gd name="connsiteY122" fmla="*/ 3009 h 10000"/>
                <a:gd name="connsiteX123" fmla="*/ 8087 w 10000"/>
                <a:gd name="connsiteY123" fmla="*/ 2856 h 10000"/>
                <a:gd name="connsiteX124" fmla="*/ 8007 w 10000"/>
                <a:gd name="connsiteY124" fmla="*/ 2714 h 10000"/>
                <a:gd name="connsiteX125" fmla="*/ 7450 w 10000"/>
                <a:gd name="connsiteY125" fmla="*/ 2910 h 10000"/>
                <a:gd name="connsiteX126" fmla="*/ 6694 w 10000"/>
                <a:gd name="connsiteY126" fmla="*/ 2823 h 10000"/>
                <a:gd name="connsiteX127" fmla="*/ 6304 w 10000"/>
                <a:gd name="connsiteY127" fmla="*/ 2276 h 10000"/>
                <a:gd name="connsiteX128" fmla="*/ 5294 w 10000"/>
                <a:gd name="connsiteY128" fmla="*/ 2173 h 10000"/>
                <a:gd name="connsiteX129" fmla="*/ 4505 w 10000"/>
                <a:gd name="connsiteY129" fmla="*/ 1721 h 10000"/>
                <a:gd name="connsiteX130" fmla="*/ 3730 w 10000"/>
                <a:gd name="connsiteY130" fmla="*/ 1176 h 10000"/>
                <a:gd name="connsiteX131" fmla="*/ 3154 w 10000"/>
                <a:gd name="connsiteY131" fmla="*/ 173 h 10000"/>
                <a:gd name="connsiteX132" fmla="*/ 2375 w 10000"/>
                <a:gd name="connsiteY132" fmla="*/ 0 h 10000"/>
                <a:gd name="connsiteX133" fmla="*/ 2226 w 10000"/>
                <a:gd name="connsiteY133" fmla="*/ 941 h 10000"/>
                <a:gd name="connsiteX134" fmla="*/ 2375 w 10000"/>
                <a:gd name="connsiteY134" fmla="*/ 1181 h 10000"/>
                <a:gd name="connsiteX135" fmla="*/ 2791 w 10000"/>
                <a:gd name="connsiteY135" fmla="*/ 1446 h 10000"/>
                <a:gd name="connsiteX136" fmla="*/ 2808 w 10000"/>
                <a:gd name="connsiteY136" fmla="*/ 1767 h 10000"/>
                <a:gd name="connsiteX137" fmla="*/ 2632 w 10000"/>
                <a:gd name="connsiteY137" fmla="*/ 2035 h 10000"/>
                <a:gd name="connsiteX138" fmla="*/ 2375 w 10000"/>
                <a:gd name="connsiteY138" fmla="*/ 2196 h 10000"/>
                <a:gd name="connsiteX139" fmla="*/ 2039 w 10000"/>
                <a:gd name="connsiteY139" fmla="*/ 2260 h 10000"/>
                <a:gd name="connsiteX140" fmla="*/ 1950 w 10000"/>
                <a:gd name="connsiteY140" fmla="*/ 2357 h 10000"/>
                <a:gd name="connsiteX141" fmla="*/ 2148 w 10000"/>
                <a:gd name="connsiteY141" fmla="*/ 2577 h 10000"/>
                <a:gd name="connsiteX142" fmla="*/ 2261 w 10000"/>
                <a:gd name="connsiteY142" fmla="*/ 3104 h 10000"/>
                <a:gd name="connsiteX143" fmla="*/ 2005 w 10000"/>
                <a:gd name="connsiteY143" fmla="*/ 3555 h 10000"/>
                <a:gd name="connsiteX144" fmla="*/ 2094 w 10000"/>
                <a:gd name="connsiteY144" fmla="*/ 3692 h 10000"/>
                <a:gd name="connsiteX145" fmla="*/ 2012 w 10000"/>
                <a:gd name="connsiteY145" fmla="*/ 3926 h 10000"/>
                <a:gd name="connsiteX146" fmla="*/ 1850 w 10000"/>
                <a:gd name="connsiteY146" fmla="*/ 4089 h 10000"/>
                <a:gd name="connsiteX147" fmla="*/ 1199 w 10000"/>
                <a:gd name="connsiteY147" fmla="*/ 4215 h 10000"/>
                <a:gd name="connsiteX148" fmla="*/ 1158 w 10000"/>
                <a:gd name="connsiteY148" fmla="*/ 4432 h 10000"/>
                <a:gd name="connsiteX149" fmla="*/ 808 w 10000"/>
                <a:gd name="connsiteY149" fmla="*/ 4754 h 10000"/>
                <a:gd name="connsiteX150" fmla="*/ 854 w 10000"/>
                <a:gd name="connsiteY150" fmla="*/ 5224 h 10000"/>
                <a:gd name="connsiteX151" fmla="*/ 560 w 10000"/>
                <a:gd name="connsiteY151" fmla="*/ 5822 h 10000"/>
                <a:gd name="connsiteX152" fmla="*/ 358 w 10000"/>
                <a:gd name="connsiteY152" fmla="*/ 5891 h 10000"/>
                <a:gd name="connsiteX153" fmla="*/ 275 w 10000"/>
                <a:gd name="connsiteY153" fmla="*/ 5749 h 10000"/>
                <a:gd name="connsiteX154" fmla="*/ 174 w 10000"/>
                <a:gd name="connsiteY154" fmla="*/ 5964 h 10000"/>
                <a:gd name="connsiteX155" fmla="*/ 239 w 10000"/>
                <a:gd name="connsiteY155" fmla="*/ 5592 h 10000"/>
                <a:gd name="connsiteX156" fmla="*/ 197 w 10000"/>
                <a:gd name="connsiteY156" fmla="*/ 5523 h 10000"/>
                <a:gd name="connsiteX0" fmla="*/ 197 w 10000"/>
                <a:gd name="connsiteY0" fmla="*/ 5523 h 10000"/>
                <a:gd name="connsiteX1" fmla="*/ 0 w 10000"/>
                <a:gd name="connsiteY1" fmla="*/ 5717 h 10000"/>
                <a:gd name="connsiteX2" fmla="*/ 0 w 10000"/>
                <a:gd name="connsiteY2" fmla="*/ 6668 h 10000"/>
                <a:gd name="connsiteX3" fmla="*/ 109 w 10000"/>
                <a:gd name="connsiteY3" fmla="*/ 6693 h 10000"/>
                <a:gd name="connsiteX4" fmla="*/ 134 w 10000"/>
                <a:gd name="connsiteY4" fmla="*/ 6769 h 10000"/>
                <a:gd name="connsiteX5" fmla="*/ 130 w 10000"/>
                <a:gd name="connsiteY5" fmla="*/ 6897 h 10000"/>
                <a:gd name="connsiteX6" fmla="*/ 89 w 10000"/>
                <a:gd name="connsiteY6" fmla="*/ 6953 h 10000"/>
                <a:gd name="connsiteX7" fmla="*/ 255 w 10000"/>
                <a:gd name="connsiteY7" fmla="*/ 6842 h 10000"/>
                <a:gd name="connsiteX8" fmla="*/ 325 w 10000"/>
                <a:gd name="connsiteY8" fmla="*/ 6737 h 10000"/>
                <a:gd name="connsiteX9" fmla="*/ 413 w 10000"/>
                <a:gd name="connsiteY9" fmla="*/ 6809 h 10000"/>
                <a:gd name="connsiteX10" fmla="*/ 316 w 10000"/>
                <a:gd name="connsiteY10" fmla="*/ 6965 h 10000"/>
                <a:gd name="connsiteX11" fmla="*/ 419 w 10000"/>
                <a:gd name="connsiteY11" fmla="*/ 6969 h 10000"/>
                <a:gd name="connsiteX12" fmla="*/ 469 w 10000"/>
                <a:gd name="connsiteY12" fmla="*/ 7008 h 10000"/>
                <a:gd name="connsiteX13" fmla="*/ 337 w 10000"/>
                <a:gd name="connsiteY13" fmla="*/ 7059 h 10000"/>
                <a:gd name="connsiteX14" fmla="*/ 130 w 10000"/>
                <a:gd name="connsiteY14" fmla="*/ 7220 h 10000"/>
                <a:gd name="connsiteX15" fmla="*/ 497 w 10000"/>
                <a:gd name="connsiteY15" fmla="*/ 7345 h 10000"/>
                <a:gd name="connsiteX16" fmla="*/ 545 w 10000"/>
                <a:gd name="connsiteY16" fmla="*/ 7522 h 10000"/>
                <a:gd name="connsiteX17" fmla="*/ 419 w 10000"/>
                <a:gd name="connsiteY17" fmla="*/ 7785 h 10000"/>
                <a:gd name="connsiteX18" fmla="*/ 688 w 10000"/>
                <a:gd name="connsiteY18" fmla="*/ 7770 h 10000"/>
                <a:gd name="connsiteX19" fmla="*/ 709 w 10000"/>
                <a:gd name="connsiteY19" fmla="*/ 7965 h 10000"/>
                <a:gd name="connsiteX20" fmla="*/ 530 w 10000"/>
                <a:gd name="connsiteY20" fmla="*/ 8105 h 10000"/>
                <a:gd name="connsiteX21" fmla="*/ 560 w 10000"/>
                <a:gd name="connsiteY21" fmla="*/ 8362 h 10000"/>
                <a:gd name="connsiteX22" fmla="*/ 489 w 10000"/>
                <a:gd name="connsiteY22" fmla="*/ 8568 h 10000"/>
                <a:gd name="connsiteX23" fmla="*/ 703 w 10000"/>
                <a:gd name="connsiteY23" fmla="*/ 8587 h 10000"/>
                <a:gd name="connsiteX24" fmla="*/ 909 w 10000"/>
                <a:gd name="connsiteY24" fmla="*/ 9367 h 10000"/>
                <a:gd name="connsiteX25" fmla="*/ 1616 w 10000"/>
                <a:gd name="connsiteY25" fmla="*/ 8985 h 10000"/>
                <a:gd name="connsiteX26" fmla="*/ 2514 w 10000"/>
                <a:gd name="connsiteY26" fmla="*/ 9170 h 10000"/>
                <a:gd name="connsiteX27" fmla="*/ 6419 w 10000"/>
                <a:gd name="connsiteY27" fmla="*/ 10000 h 10000"/>
                <a:gd name="connsiteX28" fmla="*/ 6586 w 10000"/>
                <a:gd name="connsiteY28" fmla="*/ 9169 h 10000"/>
                <a:gd name="connsiteX29" fmla="*/ 6855 w 10000"/>
                <a:gd name="connsiteY29" fmla="*/ 8801 h 10000"/>
                <a:gd name="connsiteX30" fmla="*/ 6855 w 10000"/>
                <a:gd name="connsiteY30" fmla="*/ 8603 h 10000"/>
                <a:gd name="connsiteX31" fmla="*/ 6757 w 10000"/>
                <a:gd name="connsiteY31" fmla="*/ 8497 h 10000"/>
                <a:gd name="connsiteX32" fmla="*/ 6915 w 10000"/>
                <a:gd name="connsiteY32" fmla="*/ 8318 h 10000"/>
                <a:gd name="connsiteX33" fmla="*/ 6887 w 10000"/>
                <a:gd name="connsiteY33" fmla="*/ 8175 h 10000"/>
                <a:gd name="connsiteX34" fmla="*/ 6779 w 10000"/>
                <a:gd name="connsiteY34" fmla="*/ 8053 h 10000"/>
                <a:gd name="connsiteX35" fmla="*/ 6757 w 10000"/>
                <a:gd name="connsiteY35" fmla="*/ 7956 h 10000"/>
                <a:gd name="connsiteX36" fmla="*/ 6785 w 10000"/>
                <a:gd name="connsiteY36" fmla="*/ 7886 h 10000"/>
                <a:gd name="connsiteX37" fmla="*/ 6931 w 10000"/>
                <a:gd name="connsiteY37" fmla="*/ 7942 h 10000"/>
                <a:gd name="connsiteX38" fmla="*/ 7045 w 10000"/>
                <a:gd name="connsiteY38" fmla="*/ 7939 h 10000"/>
                <a:gd name="connsiteX39" fmla="*/ 6983 w 10000"/>
                <a:gd name="connsiteY39" fmla="*/ 7822 h 10000"/>
                <a:gd name="connsiteX40" fmla="*/ 7003 w 10000"/>
                <a:gd name="connsiteY40" fmla="*/ 7752 h 10000"/>
                <a:gd name="connsiteX41" fmla="*/ 7089 w 10000"/>
                <a:gd name="connsiteY41" fmla="*/ 7653 h 10000"/>
                <a:gd name="connsiteX42" fmla="*/ 7074 w 10000"/>
                <a:gd name="connsiteY42" fmla="*/ 7570 h 10000"/>
                <a:gd name="connsiteX43" fmla="*/ 7152 w 10000"/>
                <a:gd name="connsiteY43" fmla="*/ 7295 h 10000"/>
                <a:gd name="connsiteX44" fmla="*/ 7130 w 10000"/>
                <a:gd name="connsiteY44" fmla="*/ 7209 h 10000"/>
                <a:gd name="connsiteX45" fmla="*/ 6729 w 10000"/>
                <a:gd name="connsiteY45" fmla="*/ 6997 h 10000"/>
                <a:gd name="connsiteX46" fmla="*/ 6785 w 10000"/>
                <a:gd name="connsiteY46" fmla="*/ 6989 h 10000"/>
                <a:gd name="connsiteX47" fmla="*/ 6998 w 10000"/>
                <a:gd name="connsiteY47" fmla="*/ 7043 h 10000"/>
                <a:gd name="connsiteX48" fmla="*/ 7230 w 10000"/>
                <a:gd name="connsiteY48" fmla="*/ 7023 h 10000"/>
                <a:gd name="connsiteX49" fmla="*/ 7295 w 10000"/>
                <a:gd name="connsiteY49" fmla="*/ 6949 h 10000"/>
                <a:gd name="connsiteX50" fmla="*/ 7074 w 10000"/>
                <a:gd name="connsiteY50" fmla="*/ 6806 h 10000"/>
                <a:gd name="connsiteX51" fmla="*/ 6414 w 10000"/>
                <a:gd name="connsiteY51" fmla="*/ 6711 h 10000"/>
                <a:gd name="connsiteX52" fmla="*/ 6458 w 10000"/>
                <a:gd name="connsiteY52" fmla="*/ 6668 h 10000"/>
                <a:gd name="connsiteX53" fmla="*/ 6998 w 10000"/>
                <a:gd name="connsiteY53" fmla="*/ 6638 h 10000"/>
                <a:gd name="connsiteX54" fmla="*/ 7295 w 10000"/>
                <a:gd name="connsiteY54" fmla="*/ 6724 h 10000"/>
                <a:gd name="connsiteX55" fmla="*/ 7466 w 10000"/>
                <a:gd name="connsiteY55" fmla="*/ 6668 h 10000"/>
                <a:gd name="connsiteX56" fmla="*/ 7529 w 10000"/>
                <a:gd name="connsiteY56" fmla="*/ 6520 h 10000"/>
                <a:gd name="connsiteX57" fmla="*/ 7840 w 10000"/>
                <a:gd name="connsiteY57" fmla="*/ 6520 h 10000"/>
                <a:gd name="connsiteX58" fmla="*/ 8261 w 10000"/>
                <a:gd name="connsiteY58" fmla="*/ 6219 h 10000"/>
                <a:gd name="connsiteX59" fmla="*/ 8275 w 10000"/>
                <a:gd name="connsiteY59" fmla="*/ 6019 h 10000"/>
                <a:gd name="connsiteX60" fmla="*/ 8453 w 10000"/>
                <a:gd name="connsiteY60" fmla="*/ 6064 h 10000"/>
                <a:gd name="connsiteX61" fmla="*/ 8446 w 10000"/>
                <a:gd name="connsiteY61" fmla="*/ 6266 h 10000"/>
                <a:gd name="connsiteX62" fmla="*/ 8727 w 10000"/>
                <a:gd name="connsiteY62" fmla="*/ 6251 h 10000"/>
                <a:gd name="connsiteX63" fmla="*/ 8913 w 10000"/>
                <a:gd name="connsiteY63" fmla="*/ 6043 h 10000"/>
                <a:gd name="connsiteX64" fmla="*/ 9258 w 10000"/>
                <a:gd name="connsiteY64" fmla="*/ 5856 h 10000"/>
                <a:gd name="connsiteX65" fmla="*/ 9203 w 10000"/>
                <a:gd name="connsiteY65" fmla="*/ 5644 h 10000"/>
                <a:gd name="connsiteX66" fmla="*/ 9306 w 10000"/>
                <a:gd name="connsiteY66" fmla="*/ 5730 h 10000"/>
                <a:gd name="connsiteX67" fmla="*/ 9464 w 10000"/>
                <a:gd name="connsiteY67" fmla="*/ 5730 h 10000"/>
                <a:gd name="connsiteX68" fmla="*/ 9464 w 10000"/>
                <a:gd name="connsiteY68" fmla="*/ 5630 h 10000"/>
                <a:gd name="connsiteX69" fmla="*/ 9611 w 10000"/>
                <a:gd name="connsiteY69" fmla="*/ 5558 h 10000"/>
                <a:gd name="connsiteX70" fmla="*/ 9592 w 10000"/>
                <a:gd name="connsiteY70" fmla="*/ 5481 h 10000"/>
                <a:gd name="connsiteX71" fmla="*/ 8350 w 10000"/>
                <a:gd name="connsiteY71" fmla="*/ 5632 h 10000"/>
                <a:gd name="connsiteX72" fmla="*/ 8058 w 10000"/>
                <a:gd name="connsiteY72" fmla="*/ 5590 h 10000"/>
                <a:gd name="connsiteX73" fmla="*/ 7942 w 10000"/>
                <a:gd name="connsiteY73" fmla="*/ 5644 h 10000"/>
                <a:gd name="connsiteX74" fmla="*/ 7903 w 10000"/>
                <a:gd name="connsiteY74" fmla="*/ 5537 h 10000"/>
                <a:gd name="connsiteX75" fmla="*/ 7765 w 10000"/>
                <a:gd name="connsiteY75" fmla="*/ 5443 h 10000"/>
                <a:gd name="connsiteX76" fmla="*/ 7213 w 10000"/>
                <a:gd name="connsiteY76" fmla="*/ 5249 h 10000"/>
                <a:gd name="connsiteX77" fmla="*/ 6887 w 10000"/>
                <a:gd name="connsiteY77" fmla="*/ 5282 h 10000"/>
                <a:gd name="connsiteX78" fmla="*/ 6757 w 10000"/>
                <a:gd name="connsiteY78" fmla="*/ 5227 h 10000"/>
                <a:gd name="connsiteX79" fmla="*/ 6894 w 10000"/>
                <a:gd name="connsiteY79" fmla="*/ 5180 h 10000"/>
                <a:gd name="connsiteX80" fmla="*/ 6998 w 10000"/>
                <a:gd name="connsiteY80" fmla="*/ 5078 h 10000"/>
                <a:gd name="connsiteX81" fmla="*/ 7152 w 10000"/>
                <a:gd name="connsiteY81" fmla="*/ 5110 h 10000"/>
                <a:gd name="connsiteX82" fmla="*/ 7335 w 10000"/>
                <a:gd name="connsiteY82" fmla="*/ 5085 h 10000"/>
                <a:gd name="connsiteX83" fmla="*/ 7611 w 10000"/>
                <a:gd name="connsiteY83" fmla="*/ 5118 h 10000"/>
                <a:gd name="connsiteX84" fmla="*/ 7645 w 10000"/>
                <a:gd name="connsiteY84" fmla="*/ 5104 h 10000"/>
                <a:gd name="connsiteX85" fmla="*/ 7859 w 10000"/>
                <a:gd name="connsiteY85" fmla="*/ 5259 h 10000"/>
                <a:gd name="connsiteX86" fmla="*/ 8017 w 10000"/>
                <a:gd name="connsiteY86" fmla="*/ 5201 h 10000"/>
                <a:gd name="connsiteX87" fmla="*/ 8032 w 10000"/>
                <a:gd name="connsiteY87" fmla="*/ 5148 h 10000"/>
                <a:gd name="connsiteX88" fmla="*/ 8176 w 10000"/>
                <a:gd name="connsiteY88" fmla="*/ 5241 h 10000"/>
                <a:gd name="connsiteX89" fmla="*/ 8369 w 10000"/>
                <a:gd name="connsiteY89" fmla="*/ 5291 h 10000"/>
                <a:gd name="connsiteX90" fmla="*/ 8446 w 10000"/>
                <a:gd name="connsiteY90" fmla="*/ 5199 h 10000"/>
                <a:gd name="connsiteX91" fmla="*/ 8507 w 10000"/>
                <a:gd name="connsiteY91" fmla="*/ 5249 h 10000"/>
                <a:gd name="connsiteX92" fmla="*/ 8596 w 10000"/>
                <a:gd name="connsiteY92" fmla="*/ 5430 h 10000"/>
                <a:gd name="connsiteX93" fmla="*/ 8782 w 10000"/>
                <a:gd name="connsiteY93" fmla="*/ 5470 h 10000"/>
                <a:gd name="connsiteX94" fmla="*/ 9542 w 10000"/>
                <a:gd name="connsiteY94" fmla="*/ 5208 h 10000"/>
                <a:gd name="connsiteX95" fmla="*/ 9914 w 10000"/>
                <a:gd name="connsiteY95" fmla="*/ 4838 h 10000"/>
                <a:gd name="connsiteX96" fmla="*/ 10000 w 10000"/>
                <a:gd name="connsiteY96" fmla="*/ 4574 h 10000"/>
                <a:gd name="connsiteX97" fmla="*/ 9866 w 10000"/>
                <a:gd name="connsiteY97" fmla="*/ 4330 h 10000"/>
                <a:gd name="connsiteX98" fmla="*/ 9582 w 10000"/>
                <a:gd name="connsiteY98" fmla="*/ 4188 h 10000"/>
                <a:gd name="connsiteX99" fmla="*/ 9382 w 10000"/>
                <a:gd name="connsiteY99" fmla="*/ 3948 h 10000"/>
                <a:gd name="connsiteX100" fmla="*/ 9569 w 10000"/>
                <a:gd name="connsiteY100" fmla="*/ 3941 h 10000"/>
                <a:gd name="connsiteX101" fmla="*/ 9555 w 10000"/>
                <a:gd name="connsiteY101" fmla="*/ 3886 h 10000"/>
                <a:gd name="connsiteX102" fmla="*/ 9068 w 10000"/>
                <a:gd name="connsiteY102" fmla="*/ 3720 h 10000"/>
                <a:gd name="connsiteX103" fmla="*/ 9047 w 10000"/>
                <a:gd name="connsiteY103" fmla="*/ 3566 h 10000"/>
                <a:gd name="connsiteX104" fmla="*/ 8953 w 10000"/>
                <a:gd name="connsiteY104" fmla="*/ 3406 h 10000"/>
                <a:gd name="connsiteX105" fmla="*/ 8569 w 10000"/>
                <a:gd name="connsiteY105" fmla="*/ 3436 h 10000"/>
                <a:gd name="connsiteX106" fmla="*/ 8431 w 10000"/>
                <a:gd name="connsiteY106" fmla="*/ 3265 h 10000"/>
                <a:gd name="connsiteX107" fmla="*/ 8350 w 10000"/>
                <a:gd name="connsiteY107" fmla="*/ 3254 h 10000"/>
                <a:gd name="connsiteX108" fmla="*/ 8350 w 10000"/>
                <a:gd name="connsiteY108" fmla="*/ 3331 h 10000"/>
                <a:gd name="connsiteX109" fmla="*/ 8176 w 10000"/>
                <a:gd name="connsiteY109" fmla="*/ 3613 h 10000"/>
                <a:gd name="connsiteX110" fmla="*/ 7990 w 10000"/>
                <a:gd name="connsiteY110" fmla="*/ 3783 h 10000"/>
                <a:gd name="connsiteX111" fmla="*/ 7401 w 10000"/>
                <a:gd name="connsiteY111" fmla="*/ 4066 h 10000"/>
                <a:gd name="connsiteX112" fmla="*/ 7198 w 10000"/>
                <a:gd name="connsiteY112" fmla="*/ 4058 h 10000"/>
                <a:gd name="connsiteX113" fmla="*/ 6915 w 10000"/>
                <a:gd name="connsiteY113" fmla="*/ 4101 h 10000"/>
                <a:gd name="connsiteX114" fmla="*/ 6757 w 10000"/>
                <a:gd name="connsiteY114" fmla="*/ 4058 h 10000"/>
                <a:gd name="connsiteX115" fmla="*/ 6965 w 10000"/>
                <a:gd name="connsiteY115" fmla="*/ 3976 h 10000"/>
                <a:gd name="connsiteX116" fmla="*/ 7235 w 10000"/>
                <a:gd name="connsiteY116" fmla="*/ 3941 h 10000"/>
                <a:gd name="connsiteX117" fmla="*/ 7455 w 10000"/>
                <a:gd name="connsiteY117" fmla="*/ 3809 h 10000"/>
                <a:gd name="connsiteX118" fmla="*/ 7674 w 10000"/>
                <a:gd name="connsiteY118" fmla="*/ 3746 h 10000"/>
                <a:gd name="connsiteX119" fmla="*/ 8082 w 10000"/>
                <a:gd name="connsiteY119" fmla="*/ 3512 h 10000"/>
                <a:gd name="connsiteX120" fmla="*/ 8157 w 10000"/>
                <a:gd name="connsiteY120" fmla="*/ 3359 h 10000"/>
                <a:gd name="connsiteX121" fmla="*/ 8165 w 10000"/>
                <a:gd name="connsiteY121" fmla="*/ 3163 h 10000"/>
                <a:gd name="connsiteX122" fmla="*/ 7978 w 10000"/>
                <a:gd name="connsiteY122" fmla="*/ 3129 h 10000"/>
                <a:gd name="connsiteX123" fmla="*/ 8058 w 10000"/>
                <a:gd name="connsiteY123" fmla="*/ 3009 h 10000"/>
                <a:gd name="connsiteX124" fmla="*/ 8087 w 10000"/>
                <a:gd name="connsiteY124" fmla="*/ 2856 h 10000"/>
                <a:gd name="connsiteX125" fmla="*/ 8007 w 10000"/>
                <a:gd name="connsiteY125" fmla="*/ 2714 h 10000"/>
                <a:gd name="connsiteX126" fmla="*/ 7450 w 10000"/>
                <a:gd name="connsiteY126" fmla="*/ 2910 h 10000"/>
                <a:gd name="connsiteX127" fmla="*/ 6694 w 10000"/>
                <a:gd name="connsiteY127" fmla="*/ 2823 h 10000"/>
                <a:gd name="connsiteX128" fmla="*/ 6304 w 10000"/>
                <a:gd name="connsiteY128" fmla="*/ 2276 h 10000"/>
                <a:gd name="connsiteX129" fmla="*/ 5294 w 10000"/>
                <a:gd name="connsiteY129" fmla="*/ 2173 h 10000"/>
                <a:gd name="connsiteX130" fmla="*/ 4505 w 10000"/>
                <a:gd name="connsiteY130" fmla="*/ 1721 h 10000"/>
                <a:gd name="connsiteX131" fmla="*/ 3730 w 10000"/>
                <a:gd name="connsiteY131" fmla="*/ 1176 h 10000"/>
                <a:gd name="connsiteX132" fmla="*/ 3154 w 10000"/>
                <a:gd name="connsiteY132" fmla="*/ 173 h 10000"/>
                <a:gd name="connsiteX133" fmla="*/ 2375 w 10000"/>
                <a:gd name="connsiteY133" fmla="*/ 0 h 10000"/>
                <a:gd name="connsiteX134" fmla="*/ 2226 w 10000"/>
                <a:gd name="connsiteY134" fmla="*/ 941 h 10000"/>
                <a:gd name="connsiteX135" fmla="*/ 2375 w 10000"/>
                <a:gd name="connsiteY135" fmla="*/ 1181 h 10000"/>
                <a:gd name="connsiteX136" fmla="*/ 2791 w 10000"/>
                <a:gd name="connsiteY136" fmla="*/ 1446 h 10000"/>
                <a:gd name="connsiteX137" fmla="*/ 2808 w 10000"/>
                <a:gd name="connsiteY137" fmla="*/ 1767 h 10000"/>
                <a:gd name="connsiteX138" fmla="*/ 2632 w 10000"/>
                <a:gd name="connsiteY138" fmla="*/ 2035 h 10000"/>
                <a:gd name="connsiteX139" fmla="*/ 2375 w 10000"/>
                <a:gd name="connsiteY139" fmla="*/ 2196 h 10000"/>
                <a:gd name="connsiteX140" fmla="*/ 2039 w 10000"/>
                <a:gd name="connsiteY140" fmla="*/ 2260 h 10000"/>
                <a:gd name="connsiteX141" fmla="*/ 1950 w 10000"/>
                <a:gd name="connsiteY141" fmla="*/ 2357 h 10000"/>
                <a:gd name="connsiteX142" fmla="*/ 2148 w 10000"/>
                <a:gd name="connsiteY142" fmla="*/ 2577 h 10000"/>
                <a:gd name="connsiteX143" fmla="*/ 2261 w 10000"/>
                <a:gd name="connsiteY143" fmla="*/ 3104 h 10000"/>
                <a:gd name="connsiteX144" fmla="*/ 2005 w 10000"/>
                <a:gd name="connsiteY144" fmla="*/ 3555 h 10000"/>
                <a:gd name="connsiteX145" fmla="*/ 2094 w 10000"/>
                <a:gd name="connsiteY145" fmla="*/ 3692 h 10000"/>
                <a:gd name="connsiteX146" fmla="*/ 2012 w 10000"/>
                <a:gd name="connsiteY146" fmla="*/ 3926 h 10000"/>
                <a:gd name="connsiteX147" fmla="*/ 1850 w 10000"/>
                <a:gd name="connsiteY147" fmla="*/ 4089 h 10000"/>
                <a:gd name="connsiteX148" fmla="*/ 1199 w 10000"/>
                <a:gd name="connsiteY148" fmla="*/ 4215 h 10000"/>
                <a:gd name="connsiteX149" fmla="*/ 1158 w 10000"/>
                <a:gd name="connsiteY149" fmla="*/ 4432 h 10000"/>
                <a:gd name="connsiteX150" fmla="*/ 808 w 10000"/>
                <a:gd name="connsiteY150" fmla="*/ 4754 h 10000"/>
                <a:gd name="connsiteX151" fmla="*/ 854 w 10000"/>
                <a:gd name="connsiteY151" fmla="*/ 5224 h 10000"/>
                <a:gd name="connsiteX152" fmla="*/ 560 w 10000"/>
                <a:gd name="connsiteY152" fmla="*/ 5822 h 10000"/>
                <a:gd name="connsiteX153" fmla="*/ 358 w 10000"/>
                <a:gd name="connsiteY153" fmla="*/ 5891 h 10000"/>
                <a:gd name="connsiteX154" fmla="*/ 275 w 10000"/>
                <a:gd name="connsiteY154" fmla="*/ 5749 h 10000"/>
                <a:gd name="connsiteX155" fmla="*/ 174 w 10000"/>
                <a:gd name="connsiteY155" fmla="*/ 5964 h 10000"/>
                <a:gd name="connsiteX156" fmla="*/ 239 w 10000"/>
                <a:gd name="connsiteY156" fmla="*/ 5592 h 10000"/>
                <a:gd name="connsiteX157" fmla="*/ 197 w 10000"/>
                <a:gd name="connsiteY157" fmla="*/ 5523 h 10000"/>
                <a:gd name="connsiteX0" fmla="*/ 197 w 10000"/>
                <a:gd name="connsiteY0" fmla="*/ 5523 h 10000"/>
                <a:gd name="connsiteX1" fmla="*/ 0 w 10000"/>
                <a:gd name="connsiteY1" fmla="*/ 5717 h 10000"/>
                <a:gd name="connsiteX2" fmla="*/ 0 w 10000"/>
                <a:gd name="connsiteY2" fmla="*/ 6668 h 10000"/>
                <a:gd name="connsiteX3" fmla="*/ 109 w 10000"/>
                <a:gd name="connsiteY3" fmla="*/ 6693 h 10000"/>
                <a:gd name="connsiteX4" fmla="*/ 134 w 10000"/>
                <a:gd name="connsiteY4" fmla="*/ 6769 h 10000"/>
                <a:gd name="connsiteX5" fmla="*/ 130 w 10000"/>
                <a:gd name="connsiteY5" fmla="*/ 6897 h 10000"/>
                <a:gd name="connsiteX6" fmla="*/ 89 w 10000"/>
                <a:gd name="connsiteY6" fmla="*/ 6953 h 10000"/>
                <a:gd name="connsiteX7" fmla="*/ 255 w 10000"/>
                <a:gd name="connsiteY7" fmla="*/ 6842 h 10000"/>
                <a:gd name="connsiteX8" fmla="*/ 325 w 10000"/>
                <a:gd name="connsiteY8" fmla="*/ 6737 h 10000"/>
                <a:gd name="connsiteX9" fmla="*/ 413 w 10000"/>
                <a:gd name="connsiteY9" fmla="*/ 6809 h 10000"/>
                <a:gd name="connsiteX10" fmla="*/ 316 w 10000"/>
                <a:gd name="connsiteY10" fmla="*/ 6965 h 10000"/>
                <a:gd name="connsiteX11" fmla="*/ 419 w 10000"/>
                <a:gd name="connsiteY11" fmla="*/ 6969 h 10000"/>
                <a:gd name="connsiteX12" fmla="*/ 469 w 10000"/>
                <a:gd name="connsiteY12" fmla="*/ 7008 h 10000"/>
                <a:gd name="connsiteX13" fmla="*/ 337 w 10000"/>
                <a:gd name="connsiteY13" fmla="*/ 7059 h 10000"/>
                <a:gd name="connsiteX14" fmla="*/ 130 w 10000"/>
                <a:gd name="connsiteY14" fmla="*/ 7220 h 10000"/>
                <a:gd name="connsiteX15" fmla="*/ 497 w 10000"/>
                <a:gd name="connsiteY15" fmla="*/ 7345 h 10000"/>
                <a:gd name="connsiteX16" fmla="*/ 545 w 10000"/>
                <a:gd name="connsiteY16" fmla="*/ 7522 h 10000"/>
                <a:gd name="connsiteX17" fmla="*/ 419 w 10000"/>
                <a:gd name="connsiteY17" fmla="*/ 7785 h 10000"/>
                <a:gd name="connsiteX18" fmla="*/ 688 w 10000"/>
                <a:gd name="connsiteY18" fmla="*/ 7770 h 10000"/>
                <a:gd name="connsiteX19" fmla="*/ 709 w 10000"/>
                <a:gd name="connsiteY19" fmla="*/ 7965 h 10000"/>
                <a:gd name="connsiteX20" fmla="*/ 530 w 10000"/>
                <a:gd name="connsiteY20" fmla="*/ 8105 h 10000"/>
                <a:gd name="connsiteX21" fmla="*/ 560 w 10000"/>
                <a:gd name="connsiteY21" fmla="*/ 8362 h 10000"/>
                <a:gd name="connsiteX22" fmla="*/ 489 w 10000"/>
                <a:gd name="connsiteY22" fmla="*/ 8568 h 10000"/>
                <a:gd name="connsiteX23" fmla="*/ 703 w 10000"/>
                <a:gd name="connsiteY23" fmla="*/ 8587 h 10000"/>
                <a:gd name="connsiteX24" fmla="*/ 909 w 10000"/>
                <a:gd name="connsiteY24" fmla="*/ 9367 h 10000"/>
                <a:gd name="connsiteX25" fmla="*/ 1616 w 10000"/>
                <a:gd name="connsiteY25" fmla="*/ 8985 h 10000"/>
                <a:gd name="connsiteX26" fmla="*/ 1990 w 10000"/>
                <a:gd name="connsiteY26" fmla="*/ 9254 h 10000"/>
                <a:gd name="connsiteX27" fmla="*/ 6419 w 10000"/>
                <a:gd name="connsiteY27" fmla="*/ 10000 h 10000"/>
                <a:gd name="connsiteX28" fmla="*/ 6586 w 10000"/>
                <a:gd name="connsiteY28" fmla="*/ 9169 h 10000"/>
                <a:gd name="connsiteX29" fmla="*/ 6855 w 10000"/>
                <a:gd name="connsiteY29" fmla="*/ 8801 h 10000"/>
                <a:gd name="connsiteX30" fmla="*/ 6855 w 10000"/>
                <a:gd name="connsiteY30" fmla="*/ 8603 h 10000"/>
                <a:gd name="connsiteX31" fmla="*/ 6757 w 10000"/>
                <a:gd name="connsiteY31" fmla="*/ 8497 h 10000"/>
                <a:gd name="connsiteX32" fmla="*/ 6915 w 10000"/>
                <a:gd name="connsiteY32" fmla="*/ 8318 h 10000"/>
                <a:gd name="connsiteX33" fmla="*/ 6887 w 10000"/>
                <a:gd name="connsiteY33" fmla="*/ 8175 h 10000"/>
                <a:gd name="connsiteX34" fmla="*/ 6779 w 10000"/>
                <a:gd name="connsiteY34" fmla="*/ 8053 h 10000"/>
                <a:gd name="connsiteX35" fmla="*/ 6757 w 10000"/>
                <a:gd name="connsiteY35" fmla="*/ 7956 h 10000"/>
                <a:gd name="connsiteX36" fmla="*/ 6785 w 10000"/>
                <a:gd name="connsiteY36" fmla="*/ 7886 h 10000"/>
                <a:gd name="connsiteX37" fmla="*/ 6931 w 10000"/>
                <a:gd name="connsiteY37" fmla="*/ 7942 h 10000"/>
                <a:gd name="connsiteX38" fmla="*/ 7045 w 10000"/>
                <a:gd name="connsiteY38" fmla="*/ 7939 h 10000"/>
                <a:gd name="connsiteX39" fmla="*/ 6983 w 10000"/>
                <a:gd name="connsiteY39" fmla="*/ 7822 h 10000"/>
                <a:gd name="connsiteX40" fmla="*/ 7003 w 10000"/>
                <a:gd name="connsiteY40" fmla="*/ 7752 h 10000"/>
                <a:gd name="connsiteX41" fmla="*/ 7089 w 10000"/>
                <a:gd name="connsiteY41" fmla="*/ 7653 h 10000"/>
                <a:gd name="connsiteX42" fmla="*/ 7074 w 10000"/>
                <a:gd name="connsiteY42" fmla="*/ 7570 h 10000"/>
                <a:gd name="connsiteX43" fmla="*/ 7152 w 10000"/>
                <a:gd name="connsiteY43" fmla="*/ 7295 h 10000"/>
                <a:gd name="connsiteX44" fmla="*/ 7130 w 10000"/>
                <a:gd name="connsiteY44" fmla="*/ 7209 h 10000"/>
                <a:gd name="connsiteX45" fmla="*/ 6729 w 10000"/>
                <a:gd name="connsiteY45" fmla="*/ 6997 h 10000"/>
                <a:gd name="connsiteX46" fmla="*/ 6785 w 10000"/>
                <a:gd name="connsiteY46" fmla="*/ 6989 h 10000"/>
                <a:gd name="connsiteX47" fmla="*/ 6998 w 10000"/>
                <a:gd name="connsiteY47" fmla="*/ 7043 h 10000"/>
                <a:gd name="connsiteX48" fmla="*/ 7230 w 10000"/>
                <a:gd name="connsiteY48" fmla="*/ 7023 h 10000"/>
                <a:gd name="connsiteX49" fmla="*/ 7295 w 10000"/>
                <a:gd name="connsiteY49" fmla="*/ 6949 h 10000"/>
                <a:gd name="connsiteX50" fmla="*/ 7074 w 10000"/>
                <a:gd name="connsiteY50" fmla="*/ 6806 h 10000"/>
                <a:gd name="connsiteX51" fmla="*/ 6414 w 10000"/>
                <a:gd name="connsiteY51" fmla="*/ 6711 h 10000"/>
                <a:gd name="connsiteX52" fmla="*/ 6458 w 10000"/>
                <a:gd name="connsiteY52" fmla="*/ 6668 h 10000"/>
                <a:gd name="connsiteX53" fmla="*/ 6998 w 10000"/>
                <a:gd name="connsiteY53" fmla="*/ 6638 h 10000"/>
                <a:gd name="connsiteX54" fmla="*/ 7295 w 10000"/>
                <a:gd name="connsiteY54" fmla="*/ 6724 h 10000"/>
                <a:gd name="connsiteX55" fmla="*/ 7466 w 10000"/>
                <a:gd name="connsiteY55" fmla="*/ 6668 h 10000"/>
                <a:gd name="connsiteX56" fmla="*/ 7529 w 10000"/>
                <a:gd name="connsiteY56" fmla="*/ 6520 h 10000"/>
                <a:gd name="connsiteX57" fmla="*/ 7840 w 10000"/>
                <a:gd name="connsiteY57" fmla="*/ 6520 h 10000"/>
                <a:gd name="connsiteX58" fmla="*/ 8261 w 10000"/>
                <a:gd name="connsiteY58" fmla="*/ 6219 h 10000"/>
                <a:gd name="connsiteX59" fmla="*/ 8275 w 10000"/>
                <a:gd name="connsiteY59" fmla="*/ 6019 h 10000"/>
                <a:gd name="connsiteX60" fmla="*/ 8453 w 10000"/>
                <a:gd name="connsiteY60" fmla="*/ 6064 h 10000"/>
                <a:gd name="connsiteX61" fmla="*/ 8446 w 10000"/>
                <a:gd name="connsiteY61" fmla="*/ 6266 h 10000"/>
                <a:gd name="connsiteX62" fmla="*/ 8727 w 10000"/>
                <a:gd name="connsiteY62" fmla="*/ 6251 h 10000"/>
                <a:gd name="connsiteX63" fmla="*/ 8913 w 10000"/>
                <a:gd name="connsiteY63" fmla="*/ 6043 h 10000"/>
                <a:gd name="connsiteX64" fmla="*/ 9258 w 10000"/>
                <a:gd name="connsiteY64" fmla="*/ 5856 h 10000"/>
                <a:gd name="connsiteX65" fmla="*/ 9203 w 10000"/>
                <a:gd name="connsiteY65" fmla="*/ 5644 h 10000"/>
                <a:gd name="connsiteX66" fmla="*/ 9306 w 10000"/>
                <a:gd name="connsiteY66" fmla="*/ 5730 h 10000"/>
                <a:gd name="connsiteX67" fmla="*/ 9464 w 10000"/>
                <a:gd name="connsiteY67" fmla="*/ 5730 h 10000"/>
                <a:gd name="connsiteX68" fmla="*/ 9464 w 10000"/>
                <a:gd name="connsiteY68" fmla="*/ 5630 h 10000"/>
                <a:gd name="connsiteX69" fmla="*/ 9611 w 10000"/>
                <a:gd name="connsiteY69" fmla="*/ 5558 h 10000"/>
                <a:gd name="connsiteX70" fmla="*/ 9592 w 10000"/>
                <a:gd name="connsiteY70" fmla="*/ 5481 h 10000"/>
                <a:gd name="connsiteX71" fmla="*/ 8350 w 10000"/>
                <a:gd name="connsiteY71" fmla="*/ 5632 h 10000"/>
                <a:gd name="connsiteX72" fmla="*/ 8058 w 10000"/>
                <a:gd name="connsiteY72" fmla="*/ 5590 h 10000"/>
                <a:gd name="connsiteX73" fmla="*/ 7942 w 10000"/>
                <a:gd name="connsiteY73" fmla="*/ 5644 h 10000"/>
                <a:gd name="connsiteX74" fmla="*/ 7903 w 10000"/>
                <a:gd name="connsiteY74" fmla="*/ 5537 h 10000"/>
                <a:gd name="connsiteX75" fmla="*/ 7765 w 10000"/>
                <a:gd name="connsiteY75" fmla="*/ 5443 h 10000"/>
                <a:gd name="connsiteX76" fmla="*/ 7213 w 10000"/>
                <a:gd name="connsiteY76" fmla="*/ 5249 h 10000"/>
                <a:gd name="connsiteX77" fmla="*/ 6887 w 10000"/>
                <a:gd name="connsiteY77" fmla="*/ 5282 h 10000"/>
                <a:gd name="connsiteX78" fmla="*/ 6757 w 10000"/>
                <a:gd name="connsiteY78" fmla="*/ 5227 h 10000"/>
                <a:gd name="connsiteX79" fmla="*/ 6894 w 10000"/>
                <a:gd name="connsiteY79" fmla="*/ 5180 h 10000"/>
                <a:gd name="connsiteX80" fmla="*/ 6998 w 10000"/>
                <a:gd name="connsiteY80" fmla="*/ 5078 h 10000"/>
                <a:gd name="connsiteX81" fmla="*/ 7152 w 10000"/>
                <a:gd name="connsiteY81" fmla="*/ 5110 h 10000"/>
                <a:gd name="connsiteX82" fmla="*/ 7335 w 10000"/>
                <a:gd name="connsiteY82" fmla="*/ 5085 h 10000"/>
                <a:gd name="connsiteX83" fmla="*/ 7611 w 10000"/>
                <a:gd name="connsiteY83" fmla="*/ 5118 h 10000"/>
                <a:gd name="connsiteX84" fmla="*/ 7645 w 10000"/>
                <a:gd name="connsiteY84" fmla="*/ 5104 h 10000"/>
                <a:gd name="connsiteX85" fmla="*/ 7859 w 10000"/>
                <a:gd name="connsiteY85" fmla="*/ 5259 h 10000"/>
                <a:gd name="connsiteX86" fmla="*/ 8017 w 10000"/>
                <a:gd name="connsiteY86" fmla="*/ 5201 h 10000"/>
                <a:gd name="connsiteX87" fmla="*/ 8032 w 10000"/>
                <a:gd name="connsiteY87" fmla="*/ 5148 h 10000"/>
                <a:gd name="connsiteX88" fmla="*/ 8176 w 10000"/>
                <a:gd name="connsiteY88" fmla="*/ 5241 h 10000"/>
                <a:gd name="connsiteX89" fmla="*/ 8369 w 10000"/>
                <a:gd name="connsiteY89" fmla="*/ 5291 h 10000"/>
                <a:gd name="connsiteX90" fmla="*/ 8446 w 10000"/>
                <a:gd name="connsiteY90" fmla="*/ 5199 h 10000"/>
                <a:gd name="connsiteX91" fmla="*/ 8507 w 10000"/>
                <a:gd name="connsiteY91" fmla="*/ 5249 h 10000"/>
                <a:gd name="connsiteX92" fmla="*/ 8596 w 10000"/>
                <a:gd name="connsiteY92" fmla="*/ 5430 h 10000"/>
                <a:gd name="connsiteX93" fmla="*/ 8782 w 10000"/>
                <a:gd name="connsiteY93" fmla="*/ 5470 h 10000"/>
                <a:gd name="connsiteX94" fmla="*/ 9542 w 10000"/>
                <a:gd name="connsiteY94" fmla="*/ 5208 h 10000"/>
                <a:gd name="connsiteX95" fmla="*/ 9914 w 10000"/>
                <a:gd name="connsiteY95" fmla="*/ 4838 h 10000"/>
                <a:gd name="connsiteX96" fmla="*/ 10000 w 10000"/>
                <a:gd name="connsiteY96" fmla="*/ 4574 h 10000"/>
                <a:gd name="connsiteX97" fmla="*/ 9866 w 10000"/>
                <a:gd name="connsiteY97" fmla="*/ 4330 h 10000"/>
                <a:gd name="connsiteX98" fmla="*/ 9582 w 10000"/>
                <a:gd name="connsiteY98" fmla="*/ 4188 h 10000"/>
                <a:gd name="connsiteX99" fmla="*/ 9382 w 10000"/>
                <a:gd name="connsiteY99" fmla="*/ 3948 h 10000"/>
                <a:gd name="connsiteX100" fmla="*/ 9569 w 10000"/>
                <a:gd name="connsiteY100" fmla="*/ 3941 h 10000"/>
                <a:gd name="connsiteX101" fmla="*/ 9555 w 10000"/>
                <a:gd name="connsiteY101" fmla="*/ 3886 h 10000"/>
                <a:gd name="connsiteX102" fmla="*/ 9068 w 10000"/>
                <a:gd name="connsiteY102" fmla="*/ 3720 h 10000"/>
                <a:gd name="connsiteX103" fmla="*/ 9047 w 10000"/>
                <a:gd name="connsiteY103" fmla="*/ 3566 h 10000"/>
                <a:gd name="connsiteX104" fmla="*/ 8953 w 10000"/>
                <a:gd name="connsiteY104" fmla="*/ 3406 h 10000"/>
                <a:gd name="connsiteX105" fmla="*/ 8569 w 10000"/>
                <a:gd name="connsiteY105" fmla="*/ 3436 h 10000"/>
                <a:gd name="connsiteX106" fmla="*/ 8431 w 10000"/>
                <a:gd name="connsiteY106" fmla="*/ 3265 h 10000"/>
                <a:gd name="connsiteX107" fmla="*/ 8350 w 10000"/>
                <a:gd name="connsiteY107" fmla="*/ 3254 h 10000"/>
                <a:gd name="connsiteX108" fmla="*/ 8350 w 10000"/>
                <a:gd name="connsiteY108" fmla="*/ 3331 h 10000"/>
                <a:gd name="connsiteX109" fmla="*/ 8176 w 10000"/>
                <a:gd name="connsiteY109" fmla="*/ 3613 h 10000"/>
                <a:gd name="connsiteX110" fmla="*/ 7990 w 10000"/>
                <a:gd name="connsiteY110" fmla="*/ 3783 h 10000"/>
                <a:gd name="connsiteX111" fmla="*/ 7401 w 10000"/>
                <a:gd name="connsiteY111" fmla="*/ 4066 h 10000"/>
                <a:gd name="connsiteX112" fmla="*/ 7198 w 10000"/>
                <a:gd name="connsiteY112" fmla="*/ 4058 h 10000"/>
                <a:gd name="connsiteX113" fmla="*/ 6915 w 10000"/>
                <a:gd name="connsiteY113" fmla="*/ 4101 h 10000"/>
                <a:gd name="connsiteX114" fmla="*/ 6757 w 10000"/>
                <a:gd name="connsiteY114" fmla="*/ 4058 h 10000"/>
                <a:gd name="connsiteX115" fmla="*/ 6965 w 10000"/>
                <a:gd name="connsiteY115" fmla="*/ 3976 h 10000"/>
                <a:gd name="connsiteX116" fmla="*/ 7235 w 10000"/>
                <a:gd name="connsiteY116" fmla="*/ 3941 h 10000"/>
                <a:gd name="connsiteX117" fmla="*/ 7455 w 10000"/>
                <a:gd name="connsiteY117" fmla="*/ 3809 h 10000"/>
                <a:gd name="connsiteX118" fmla="*/ 7674 w 10000"/>
                <a:gd name="connsiteY118" fmla="*/ 3746 h 10000"/>
                <a:gd name="connsiteX119" fmla="*/ 8082 w 10000"/>
                <a:gd name="connsiteY119" fmla="*/ 3512 h 10000"/>
                <a:gd name="connsiteX120" fmla="*/ 8157 w 10000"/>
                <a:gd name="connsiteY120" fmla="*/ 3359 h 10000"/>
                <a:gd name="connsiteX121" fmla="*/ 8165 w 10000"/>
                <a:gd name="connsiteY121" fmla="*/ 3163 h 10000"/>
                <a:gd name="connsiteX122" fmla="*/ 7978 w 10000"/>
                <a:gd name="connsiteY122" fmla="*/ 3129 h 10000"/>
                <a:gd name="connsiteX123" fmla="*/ 8058 w 10000"/>
                <a:gd name="connsiteY123" fmla="*/ 3009 h 10000"/>
                <a:gd name="connsiteX124" fmla="*/ 8087 w 10000"/>
                <a:gd name="connsiteY124" fmla="*/ 2856 h 10000"/>
                <a:gd name="connsiteX125" fmla="*/ 8007 w 10000"/>
                <a:gd name="connsiteY125" fmla="*/ 2714 h 10000"/>
                <a:gd name="connsiteX126" fmla="*/ 7450 w 10000"/>
                <a:gd name="connsiteY126" fmla="*/ 2910 h 10000"/>
                <a:gd name="connsiteX127" fmla="*/ 6694 w 10000"/>
                <a:gd name="connsiteY127" fmla="*/ 2823 h 10000"/>
                <a:gd name="connsiteX128" fmla="*/ 6304 w 10000"/>
                <a:gd name="connsiteY128" fmla="*/ 2276 h 10000"/>
                <a:gd name="connsiteX129" fmla="*/ 5294 w 10000"/>
                <a:gd name="connsiteY129" fmla="*/ 2173 h 10000"/>
                <a:gd name="connsiteX130" fmla="*/ 4505 w 10000"/>
                <a:gd name="connsiteY130" fmla="*/ 1721 h 10000"/>
                <a:gd name="connsiteX131" fmla="*/ 3730 w 10000"/>
                <a:gd name="connsiteY131" fmla="*/ 1176 h 10000"/>
                <a:gd name="connsiteX132" fmla="*/ 3154 w 10000"/>
                <a:gd name="connsiteY132" fmla="*/ 173 h 10000"/>
                <a:gd name="connsiteX133" fmla="*/ 2375 w 10000"/>
                <a:gd name="connsiteY133" fmla="*/ 0 h 10000"/>
                <a:gd name="connsiteX134" fmla="*/ 2226 w 10000"/>
                <a:gd name="connsiteY134" fmla="*/ 941 h 10000"/>
                <a:gd name="connsiteX135" fmla="*/ 2375 w 10000"/>
                <a:gd name="connsiteY135" fmla="*/ 1181 h 10000"/>
                <a:gd name="connsiteX136" fmla="*/ 2791 w 10000"/>
                <a:gd name="connsiteY136" fmla="*/ 1446 h 10000"/>
                <a:gd name="connsiteX137" fmla="*/ 2808 w 10000"/>
                <a:gd name="connsiteY137" fmla="*/ 1767 h 10000"/>
                <a:gd name="connsiteX138" fmla="*/ 2632 w 10000"/>
                <a:gd name="connsiteY138" fmla="*/ 2035 h 10000"/>
                <a:gd name="connsiteX139" fmla="*/ 2375 w 10000"/>
                <a:gd name="connsiteY139" fmla="*/ 2196 h 10000"/>
                <a:gd name="connsiteX140" fmla="*/ 2039 w 10000"/>
                <a:gd name="connsiteY140" fmla="*/ 2260 h 10000"/>
                <a:gd name="connsiteX141" fmla="*/ 1950 w 10000"/>
                <a:gd name="connsiteY141" fmla="*/ 2357 h 10000"/>
                <a:gd name="connsiteX142" fmla="*/ 2148 w 10000"/>
                <a:gd name="connsiteY142" fmla="*/ 2577 h 10000"/>
                <a:gd name="connsiteX143" fmla="*/ 2261 w 10000"/>
                <a:gd name="connsiteY143" fmla="*/ 3104 h 10000"/>
                <a:gd name="connsiteX144" fmla="*/ 2005 w 10000"/>
                <a:gd name="connsiteY144" fmla="*/ 3555 h 10000"/>
                <a:gd name="connsiteX145" fmla="*/ 2094 w 10000"/>
                <a:gd name="connsiteY145" fmla="*/ 3692 h 10000"/>
                <a:gd name="connsiteX146" fmla="*/ 2012 w 10000"/>
                <a:gd name="connsiteY146" fmla="*/ 3926 h 10000"/>
                <a:gd name="connsiteX147" fmla="*/ 1850 w 10000"/>
                <a:gd name="connsiteY147" fmla="*/ 4089 h 10000"/>
                <a:gd name="connsiteX148" fmla="*/ 1199 w 10000"/>
                <a:gd name="connsiteY148" fmla="*/ 4215 h 10000"/>
                <a:gd name="connsiteX149" fmla="*/ 1158 w 10000"/>
                <a:gd name="connsiteY149" fmla="*/ 4432 h 10000"/>
                <a:gd name="connsiteX150" fmla="*/ 808 w 10000"/>
                <a:gd name="connsiteY150" fmla="*/ 4754 h 10000"/>
                <a:gd name="connsiteX151" fmla="*/ 854 w 10000"/>
                <a:gd name="connsiteY151" fmla="*/ 5224 h 10000"/>
                <a:gd name="connsiteX152" fmla="*/ 560 w 10000"/>
                <a:gd name="connsiteY152" fmla="*/ 5822 h 10000"/>
                <a:gd name="connsiteX153" fmla="*/ 358 w 10000"/>
                <a:gd name="connsiteY153" fmla="*/ 5891 h 10000"/>
                <a:gd name="connsiteX154" fmla="*/ 275 w 10000"/>
                <a:gd name="connsiteY154" fmla="*/ 5749 h 10000"/>
                <a:gd name="connsiteX155" fmla="*/ 174 w 10000"/>
                <a:gd name="connsiteY155" fmla="*/ 5964 h 10000"/>
                <a:gd name="connsiteX156" fmla="*/ 239 w 10000"/>
                <a:gd name="connsiteY156" fmla="*/ 5592 h 10000"/>
                <a:gd name="connsiteX157" fmla="*/ 197 w 10000"/>
                <a:gd name="connsiteY157" fmla="*/ 5523 h 10000"/>
                <a:gd name="connsiteX0" fmla="*/ 197 w 10000"/>
                <a:gd name="connsiteY0" fmla="*/ 5523 h 10000"/>
                <a:gd name="connsiteX1" fmla="*/ 0 w 10000"/>
                <a:gd name="connsiteY1" fmla="*/ 5717 h 10000"/>
                <a:gd name="connsiteX2" fmla="*/ 0 w 10000"/>
                <a:gd name="connsiteY2" fmla="*/ 6668 h 10000"/>
                <a:gd name="connsiteX3" fmla="*/ 109 w 10000"/>
                <a:gd name="connsiteY3" fmla="*/ 6693 h 10000"/>
                <a:gd name="connsiteX4" fmla="*/ 134 w 10000"/>
                <a:gd name="connsiteY4" fmla="*/ 6769 h 10000"/>
                <a:gd name="connsiteX5" fmla="*/ 130 w 10000"/>
                <a:gd name="connsiteY5" fmla="*/ 6897 h 10000"/>
                <a:gd name="connsiteX6" fmla="*/ 89 w 10000"/>
                <a:gd name="connsiteY6" fmla="*/ 6953 h 10000"/>
                <a:gd name="connsiteX7" fmla="*/ 255 w 10000"/>
                <a:gd name="connsiteY7" fmla="*/ 6842 h 10000"/>
                <a:gd name="connsiteX8" fmla="*/ 325 w 10000"/>
                <a:gd name="connsiteY8" fmla="*/ 6737 h 10000"/>
                <a:gd name="connsiteX9" fmla="*/ 413 w 10000"/>
                <a:gd name="connsiteY9" fmla="*/ 6809 h 10000"/>
                <a:gd name="connsiteX10" fmla="*/ 316 w 10000"/>
                <a:gd name="connsiteY10" fmla="*/ 6965 h 10000"/>
                <a:gd name="connsiteX11" fmla="*/ 419 w 10000"/>
                <a:gd name="connsiteY11" fmla="*/ 6969 h 10000"/>
                <a:gd name="connsiteX12" fmla="*/ 469 w 10000"/>
                <a:gd name="connsiteY12" fmla="*/ 7008 h 10000"/>
                <a:gd name="connsiteX13" fmla="*/ 337 w 10000"/>
                <a:gd name="connsiteY13" fmla="*/ 7059 h 10000"/>
                <a:gd name="connsiteX14" fmla="*/ 130 w 10000"/>
                <a:gd name="connsiteY14" fmla="*/ 7220 h 10000"/>
                <a:gd name="connsiteX15" fmla="*/ 497 w 10000"/>
                <a:gd name="connsiteY15" fmla="*/ 7345 h 10000"/>
                <a:gd name="connsiteX16" fmla="*/ 545 w 10000"/>
                <a:gd name="connsiteY16" fmla="*/ 7522 h 10000"/>
                <a:gd name="connsiteX17" fmla="*/ 419 w 10000"/>
                <a:gd name="connsiteY17" fmla="*/ 7785 h 10000"/>
                <a:gd name="connsiteX18" fmla="*/ 688 w 10000"/>
                <a:gd name="connsiteY18" fmla="*/ 7770 h 10000"/>
                <a:gd name="connsiteX19" fmla="*/ 709 w 10000"/>
                <a:gd name="connsiteY19" fmla="*/ 7965 h 10000"/>
                <a:gd name="connsiteX20" fmla="*/ 530 w 10000"/>
                <a:gd name="connsiteY20" fmla="*/ 8105 h 10000"/>
                <a:gd name="connsiteX21" fmla="*/ 560 w 10000"/>
                <a:gd name="connsiteY21" fmla="*/ 8362 h 10000"/>
                <a:gd name="connsiteX22" fmla="*/ 489 w 10000"/>
                <a:gd name="connsiteY22" fmla="*/ 8568 h 10000"/>
                <a:gd name="connsiteX23" fmla="*/ 703 w 10000"/>
                <a:gd name="connsiteY23" fmla="*/ 8587 h 10000"/>
                <a:gd name="connsiteX24" fmla="*/ 909 w 10000"/>
                <a:gd name="connsiteY24" fmla="*/ 9367 h 10000"/>
                <a:gd name="connsiteX25" fmla="*/ 1616 w 10000"/>
                <a:gd name="connsiteY25" fmla="*/ 8985 h 10000"/>
                <a:gd name="connsiteX26" fmla="*/ 1990 w 10000"/>
                <a:gd name="connsiteY26" fmla="*/ 9254 h 10000"/>
                <a:gd name="connsiteX27" fmla="*/ 2657 w 10000"/>
                <a:gd name="connsiteY27" fmla="*/ 9363 h 10000"/>
                <a:gd name="connsiteX28" fmla="*/ 6419 w 10000"/>
                <a:gd name="connsiteY28" fmla="*/ 10000 h 10000"/>
                <a:gd name="connsiteX29" fmla="*/ 6586 w 10000"/>
                <a:gd name="connsiteY29" fmla="*/ 9169 h 10000"/>
                <a:gd name="connsiteX30" fmla="*/ 6855 w 10000"/>
                <a:gd name="connsiteY30" fmla="*/ 8801 h 10000"/>
                <a:gd name="connsiteX31" fmla="*/ 6855 w 10000"/>
                <a:gd name="connsiteY31" fmla="*/ 8603 h 10000"/>
                <a:gd name="connsiteX32" fmla="*/ 6757 w 10000"/>
                <a:gd name="connsiteY32" fmla="*/ 8497 h 10000"/>
                <a:gd name="connsiteX33" fmla="*/ 6915 w 10000"/>
                <a:gd name="connsiteY33" fmla="*/ 8318 h 10000"/>
                <a:gd name="connsiteX34" fmla="*/ 6887 w 10000"/>
                <a:gd name="connsiteY34" fmla="*/ 8175 h 10000"/>
                <a:gd name="connsiteX35" fmla="*/ 6779 w 10000"/>
                <a:gd name="connsiteY35" fmla="*/ 8053 h 10000"/>
                <a:gd name="connsiteX36" fmla="*/ 6757 w 10000"/>
                <a:gd name="connsiteY36" fmla="*/ 7956 h 10000"/>
                <a:gd name="connsiteX37" fmla="*/ 6785 w 10000"/>
                <a:gd name="connsiteY37" fmla="*/ 7886 h 10000"/>
                <a:gd name="connsiteX38" fmla="*/ 6931 w 10000"/>
                <a:gd name="connsiteY38" fmla="*/ 7942 h 10000"/>
                <a:gd name="connsiteX39" fmla="*/ 7045 w 10000"/>
                <a:gd name="connsiteY39" fmla="*/ 7939 h 10000"/>
                <a:gd name="connsiteX40" fmla="*/ 6983 w 10000"/>
                <a:gd name="connsiteY40" fmla="*/ 7822 h 10000"/>
                <a:gd name="connsiteX41" fmla="*/ 7003 w 10000"/>
                <a:gd name="connsiteY41" fmla="*/ 7752 h 10000"/>
                <a:gd name="connsiteX42" fmla="*/ 7089 w 10000"/>
                <a:gd name="connsiteY42" fmla="*/ 7653 h 10000"/>
                <a:gd name="connsiteX43" fmla="*/ 7074 w 10000"/>
                <a:gd name="connsiteY43" fmla="*/ 7570 h 10000"/>
                <a:gd name="connsiteX44" fmla="*/ 7152 w 10000"/>
                <a:gd name="connsiteY44" fmla="*/ 7295 h 10000"/>
                <a:gd name="connsiteX45" fmla="*/ 7130 w 10000"/>
                <a:gd name="connsiteY45" fmla="*/ 7209 h 10000"/>
                <a:gd name="connsiteX46" fmla="*/ 6729 w 10000"/>
                <a:gd name="connsiteY46" fmla="*/ 6997 h 10000"/>
                <a:gd name="connsiteX47" fmla="*/ 6785 w 10000"/>
                <a:gd name="connsiteY47" fmla="*/ 6989 h 10000"/>
                <a:gd name="connsiteX48" fmla="*/ 6998 w 10000"/>
                <a:gd name="connsiteY48" fmla="*/ 7043 h 10000"/>
                <a:gd name="connsiteX49" fmla="*/ 7230 w 10000"/>
                <a:gd name="connsiteY49" fmla="*/ 7023 h 10000"/>
                <a:gd name="connsiteX50" fmla="*/ 7295 w 10000"/>
                <a:gd name="connsiteY50" fmla="*/ 6949 h 10000"/>
                <a:gd name="connsiteX51" fmla="*/ 7074 w 10000"/>
                <a:gd name="connsiteY51" fmla="*/ 6806 h 10000"/>
                <a:gd name="connsiteX52" fmla="*/ 6414 w 10000"/>
                <a:gd name="connsiteY52" fmla="*/ 6711 h 10000"/>
                <a:gd name="connsiteX53" fmla="*/ 6458 w 10000"/>
                <a:gd name="connsiteY53" fmla="*/ 6668 h 10000"/>
                <a:gd name="connsiteX54" fmla="*/ 6998 w 10000"/>
                <a:gd name="connsiteY54" fmla="*/ 6638 h 10000"/>
                <a:gd name="connsiteX55" fmla="*/ 7295 w 10000"/>
                <a:gd name="connsiteY55" fmla="*/ 6724 h 10000"/>
                <a:gd name="connsiteX56" fmla="*/ 7466 w 10000"/>
                <a:gd name="connsiteY56" fmla="*/ 6668 h 10000"/>
                <a:gd name="connsiteX57" fmla="*/ 7529 w 10000"/>
                <a:gd name="connsiteY57" fmla="*/ 6520 h 10000"/>
                <a:gd name="connsiteX58" fmla="*/ 7840 w 10000"/>
                <a:gd name="connsiteY58" fmla="*/ 6520 h 10000"/>
                <a:gd name="connsiteX59" fmla="*/ 8261 w 10000"/>
                <a:gd name="connsiteY59" fmla="*/ 6219 h 10000"/>
                <a:gd name="connsiteX60" fmla="*/ 8275 w 10000"/>
                <a:gd name="connsiteY60" fmla="*/ 6019 h 10000"/>
                <a:gd name="connsiteX61" fmla="*/ 8453 w 10000"/>
                <a:gd name="connsiteY61" fmla="*/ 6064 h 10000"/>
                <a:gd name="connsiteX62" fmla="*/ 8446 w 10000"/>
                <a:gd name="connsiteY62" fmla="*/ 6266 h 10000"/>
                <a:gd name="connsiteX63" fmla="*/ 8727 w 10000"/>
                <a:gd name="connsiteY63" fmla="*/ 6251 h 10000"/>
                <a:gd name="connsiteX64" fmla="*/ 8913 w 10000"/>
                <a:gd name="connsiteY64" fmla="*/ 6043 h 10000"/>
                <a:gd name="connsiteX65" fmla="*/ 9258 w 10000"/>
                <a:gd name="connsiteY65" fmla="*/ 5856 h 10000"/>
                <a:gd name="connsiteX66" fmla="*/ 9203 w 10000"/>
                <a:gd name="connsiteY66" fmla="*/ 5644 h 10000"/>
                <a:gd name="connsiteX67" fmla="*/ 9306 w 10000"/>
                <a:gd name="connsiteY67" fmla="*/ 5730 h 10000"/>
                <a:gd name="connsiteX68" fmla="*/ 9464 w 10000"/>
                <a:gd name="connsiteY68" fmla="*/ 5730 h 10000"/>
                <a:gd name="connsiteX69" fmla="*/ 9464 w 10000"/>
                <a:gd name="connsiteY69" fmla="*/ 5630 h 10000"/>
                <a:gd name="connsiteX70" fmla="*/ 9611 w 10000"/>
                <a:gd name="connsiteY70" fmla="*/ 5558 h 10000"/>
                <a:gd name="connsiteX71" fmla="*/ 9592 w 10000"/>
                <a:gd name="connsiteY71" fmla="*/ 5481 h 10000"/>
                <a:gd name="connsiteX72" fmla="*/ 8350 w 10000"/>
                <a:gd name="connsiteY72" fmla="*/ 5632 h 10000"/>
                <a:gd name="connsiteX73" fmla="*/ 8058 w 10000"/>
                <a:gd name="connsiteY73" fmla="*/ 5590 h 10000"/>
                <a:gd name="connsiteX74" fmla="*/ 7942 w 10000"/>
                <a:gd name="connsiteY74" fmla="*/ 5644 h 10000"/>
                <a:gd name="connsiteX75" fmla="*/ 7903 w 10000"/>
                <a:gd name="connsiteY75" fmla="*/ 5537 h 10000"/>
                <a:gd name="connsiteX76" fmla="*/ 7765 w 10000"/>
                <a:gd name="connsiteY76" fmla="*/ 5443 h 10000"/>
                <a:gd name="connsiteX77" fmla="*/ 7213 w 10000"/>
                <a:gd name="connsiteY77" fmla="*/ 5249 h 10000"/>
                <a:gd name="connsiteX78" fmla="*/ 6887 w 10000"/>
                <a:gd name="connsiteY78" fmla="*/ 5282 h 10000"/>
                <a:gd name="connsiteX79" fmla="*/ 6757 w 10000"/>
                <a:gd name="connsiteY79" fmla="*/ 5227 h 10000"/>
                <a:gd name="connsiteX80" fmla="*/ 6894 w 10000"/>
                <a:gd name="connsiteY80" fmla="*/ 5180 h 10000"/>
                <a:gd name="connsiteX81" fmla="*/ 6998 w 10000"/>
                <a:gd name="connsiteY81" fmla="*/ 5078 h 10000"/>
                <a:gd name="connsiteX82" fmla="*/ 7152 w 10000"/>
                <a:gd name="connsiteY82" fmla="*/ 5110 h 10000"/>
                <a:gd name="connsiteX83" fmla="*/ 7335 w 10000"/>
                <a:gd name="connsiteY83" fmla="*/ 5085 h 10000"/>
                <a:gd name="connsiteX84" fmla="*/ 7611 w 10000"/>
                <a:gd name="connsiteY84" fmla="*/ 5118 h 10000"/>
                <a:gd name="connsiteX85" fmla="*/ 7645 w 10000"/>
                <a:gd name="connsiteY85" fmla="*/ 5104 h 10000"/>
                <a:gd name="connsiteX86" fmla="*/ 7859 w 10000"/>
                <a:gd name="connsiteY86" fmla="*/ 5259 h 10000"/>
                <a:gd name="connsiteX87" fmla="*/ 8017 w 10000"/>
                <a:gd name="connsiteY87" fmla="*/ 5201 h 10000"/>
                <a:gd name="connsiteX88" fmla="*/ 8032 w 10000"/>
                <a:gd name="connsiteY88" fmla="*/ 5148 h 10000"/>
                <a:gd name="connsiteX89" fmla="*/ 8176 w 10000"/>
                <a:gd name="connsiteY89" fmla="*/ 5241 h 10000"/>
                <a:gd name="connsiteX90" fmla="*/ 8369 w 10000"/>
                <a:gd name="connsiteY90" fmla="*/ 5291 h 10000"/>
                <a:gd name="connsiteX91" fmla="*/ 8446 w 10000"/>
                <a:gd name="connsiteY91" fmla="*/ 5199 h 10000"/>
                <a:gd name="connsiteX92" fmla="*/ 8507 w 10000"/>
                <a:gd name="connsiteY92" fmla="*/ 5249 h 10000"/>
                <a:gd name="connsiteX93" fmla="*/ 8596 w 10000"/>
                <a:gd name="connsiteY93" fmla="*/ 5430 h 10000"/>
                <a:gd name="connsiteX94" fmla="*/ 8782 w 10000"/>
                <a:gd name="connsiteY94" fmla="*/ 5470 h 10000"/>
                <a:gd name="connsiteX95" fmla="*/ 9542 w 10000"/>
                <a:gd name="connsiteY95" fmla="*/ 5208 h 10000"/>
                <a:gd name="connsiteX96" fmla="*/ 9914 w 10000"/>
                <a:gd name="connsiteY96" fmla="*/ 4838 h 10000"/>
                <a:gd name="connsiteX97" fmla="*/ 10000 w 10000"/>
                <a:gd name="connsiteY97" fmla="*/ 4574 h 10000"/>
                <a:gd name="connsiteX98" fmla="*/ 9866 w 10000"/>
                <a:gd name="connsiteY98" fmla="*/ 4330 h 10000"/>
                <a:gd name="connsiteX99" fmla="*/ 9582 w 10000"/>
                <a:gd name="connsiteY99" fmla="*/ 4188 h 10000"/>
                <a:gd name="connsiteX100" fmla="*/ 9382 w 10000"/>
                <a:gd name="connsiteY100" fmla="*/ 3948 h 10000"/>
                <a:gd name="connsiteX101" fmla="*/ 9569 w 10000"/>
                <a:gd name="connsiteY101" fmla="*/ 3941 h 10000"/>
                <a:gd name="connsiteX102" fmla="*/ 9555 w 10000"/>
                <a:gd name="connsiteY102" fmla="*/ 3886 h 10000"/>
                <a:gd name="connsiteX103" fmla="*/ 9068 w 10000"/>
                <a:gd name="connsiteY103" fmla="*/ 3720 h 10000"/>
                <a:gd name="connsiteX104" fmla="*/ 9047 w 10000"/>
                <a:gd name="connsiteY104" fmla="*/ 3566 h 10000"/>
                <a:gd name="connsiteX105" fmla="*/ 8953 w 10000"/>
                <a:gd name="connsiteY105" fmla="*/ 3406 h 10000"/>
                <a:gd name="connsiteX106" fmla="*/ 8569 w 10000"/>
                <a:gd name="connsiteY106" fmla="*/ 3436 h 10000"/>
                <a:gd name="connsiteX107" fmla="*/ 8431 w 10000"/>
                <a:gd name="connsiteY107" fmla="*/ 3265 h 10000"/>
                <a:gd name="connsiteX108" fmla="*/ 8350 w 10000"/>
                <a:gd name="connsiteY108" fmla="*/ 3254 h 10000"/>
                <a:gd name="connsiteX109" fmla="*/ 8350 w 10000"/>
                <a:gd name="connsiteY109" fmla="*/ 3331 h 10000"/>
                <a:gd name="connsiteX110" fmla="*/ 8176 w 10000"/>
                <a:gd name="connsiteY110" fmla="*/ 3613 h 10000"/>
                <a:gd name="connsiteX111" fmla="*/ 7990 w 10000"/>
                <a:gd name="connsiteY111" fmla="*/ 3783 h 10000"/>
                <a:gd name="connsiteX112" fmla="*/ 7401 w 10000"/>
                <a:gd name="connsiteY112" fmla="*/ 4066 h 10000"/>
                <a:gd name="connsiteX113" fmla="*/ 7198 w 10000"/>
                <a:gd name="connsiteY113" fmla="*/ 4058 h 10000"/>
                <a:gd name="connsiteX114" fmla="*/ 6915 w 10000"/>
                <a:gd name="connsiteY114" fmla="*/ 4101 h 10000"/>
                <a:gd name="connsiteX115" fmla="*/ 6757 w 10000"/>
                <a:gd name="connsiteY115" fmla="*/ 4058 h 10000"/>
                <a:gd name="connsiteX116" fmla="*/ 6965 w 10000"/>
                <a:gd name="connsiteY116" fmla="*/ 3976 h 10000"/>
                <a:gd name="connsiteX117" fmla="*/ 7235 w 10000"/>
                <a:gd name="connsiteY117" fmla="*/ 3941 h 10000"/>
                <a:gd name="connsiteX118" fmla="*/ 7455 w 10000"/>
                <a:gd name="connsiteY118" fmla="*/ 3809 h 10000"/>
                <a:gd name="connsiteX119" fmla="*/ 7674 w 10000"/>
                <a:gd name="connsiteY119" fmla="*/ 3746 h 10000"/>
                <a:gd name="connsiteX120" fmla="*/ 8082 w 10000"/>
                <a:gd name="connsiteY120" fmla="*/ 3512 h 10000"/>
                <a:gd name="connsiteX121" fmla="*/ 8157 w 10000"/>
                <a:gd name="connsiteY121" fmla="*/ 3359 h 10000"/>
                <a:gd name="connsiteX122" fmla="*/ 8165 w 10000"/>
                <a:gd name="connsiteY122" fmla="*/ 3163 h 10000"/>
                <a:gd name="connsiteX123" fmla="*/ 7978 w 10000"/>
                <a:gd name="connsiteY123" fmla="*/ 3129 h 10000"/>
                <a:gd name="connsiteX124" fmla="*/ 8058 w 10000"/>
                <a:gd name="connsiteY124" fmla="*/ 3009 h 10000"/>
                <a:gd name="connsiteX125" fmla="*/ 8087 w 10000"/>
                <a:gd name="connsiteY125" fmla="*/ 2856 h 10000"/>
                <a:gd name="connsiteX126" fmla="*/ 8007 w 10000"/>
                <a:gd name="connsiteY126" fmla="*/ 2714 h 10000"/>
                <a:gd name="connsiteX127" fmla="*/ 7450 w 10000"/>
                <a:gd name="connsiteY127" fmla="*/ 2910 h 10000"/>
                <a:gd name="connsiteX128" fmla="*/ 6694 w 10000"/>
                <a:gd name="connsiteY128" fmla="*/ 2823 h 10000"/>
                <a:gd name="connsiteX129" fmla="*/ 6304 w 10000"/>
                <a:gd name="connsiteY129" fmla="*/ 2276 h 10000"/>
                <a:gd name="connsiteX130" fmla="*/ 5294 w 10000"/>
                <a:gd name="connsiteY130" fmla="*/ 2173 h 10000"/>
                <a:gd name="connsiteX131" fmla="*/ 4505 w 10000"/>
                <a:gd name="connsiteY131" fmla="*/ 1721 h 10000"/>
                <a:gd name="connsiteX132" fmla="*/ 3730 w 10000"/>
                <a:gd name="connsiteY132" fmla="*/ 1176 h 10000"/>
                <a:gd name="connsiteX133" fmla="*/ 3154 w 10000"/>
                <a:gd name="connsiteY133" fmla="*/ 173 h 10000"/>
                <a:gd name="connsiteX134" fmla="*/ 2375 w 10000"/>
                <a:gd name="connsiteY134" fmla="*/ 0 h 10000"/>
                <a:gd name="connsiteX135" fmla="*/ 2226 w 10000"/>
                <a:gd name="connsiteY135" fmla="*/ 941 h 10000"/>
                <a:gd name="connsiteX136" fmla="*/ 2375 w 10000"/>
                <a:gd name="connsiteY136" fmla="*/ 1181 h 10000"/>
                <a:gd name="connsiteX137" fmla="*/ 2791 w 10000"/>
                <a:gd name="connsiteY137" fmla="*/ 1446 h 10000"/>
                <a:gd name="connsiteX138" fmla="*/ 2808 w 10000"/>
                <a:gd name="connsiteY138" fmla="*/ 1767 h 10000"/>
                <a:gd name="connsiteX139" fmla="*/ 2632 w 10000"/>
                <a:gd name="connsiteY139" fmla="*/ 2035 h 10000"/>
                <a:gd name="connsiteX140" fmla="*/ 2375 w 10000"/>
                <a:gd name="connsiteY140" fmla="*/ 2196 h 10000"/>
                <a:gd name="connsiteX141" fmla="*/ 2039 w 10000"/>
                <a:gd name="connsiteY141" fmla="*/ 2260 h 10000"/>
                <a:gd name="connsiteX142" fmla="*/ 1950 w 10000"/>
                <a:gd name="connsiteY142" fmla="*/ 2357 h 10000"/>
                <a:gd name="connsiteX143" fmla="*/ 2148 w 10000"/>
                <a:gd name="connsiteY143" fmla="*/ 2577 h 10000"/>
                <a:gd name="connsiteX144" fmla="*/ 2261 w 10000"/>
                <a:gd name="connsiteY144" fmla="*/ 3104 h 10000"/>
                <a:gd name="connsiteX145" fmla="*/ 2005 w 10000"/>
                <a:gd name="connsiteY145" fmla="*/ 3555 h 10000"/>
                <a:gd name="connsiteX146" fmla="*/ 2094 w 10000"/>
                <a:gd name="connsiteY146" fmla="*/ 3692 h 10000"/>
                <a:gd name="connsiteX147" fmla="*/ 2012 w 10000"/>
                <a:gd name="connsiteY147" fmla="*/ 3926 h 10000"/>
                <a:gd name="connsiteX148" fmla="*/ 1850 w 10000"/>
                <a:gd name="connsiteY148" fmla="*/ 4089 h 10000"/>
                <a:gd name="connsiteX149" fmla="*/ 1199 w 10000"/>
                <a:gd name="connsiteY149" fmla="*/ 4215 h 10000"/>
                <a:gd name="connsiteX150" fmla="*/ 1158 w 10000"/>
                <a:gd name="connsiteY150" fmla="*/ 4432 h 10000"/>
                <a:gd name="connsiteX151" fmla="*/ 808 w 10000"/>
                <a:gd name="connsiteY151" fmla="*/ 4754 h 10000"/>
                <a:gd name="connsiteX152" fmla="*/ 854 w 10000"/>
                <a:gd name="connsiteY152" fmla="*/ 5224 h 10000"/>
                <a:gd name="connsiteX153" fmla="*/ 560 w 10000"/>
                <a:gd name="connsiteY153" fmla="*/ 5822 h 10000"/>
                <a:gd name="connsiteX154" fmla="*/ 358 w 10000"/>
                <a:gd name="connsiteY154" fmla="*/ 5891 h 10000"/>
                <a:gd name="connsiteX155" fmla="*/ 275 w 10000"/>
                <a:gd name="connsiteY155" fmla="*/ 5749 h 10000"/>
                <a:gd name="connsiteX156" fmla="*/ 174 w 10000"/>
                <a:gd name="connsiteY156" fmla="*/ 5964 h 10000"/>
                <a:gd name="connsiteX157" fmla="*/ 239 w 10000"/>
                <a:gd name="connsiteY157" fmla="*/ 5592 h 10000"/>
                <a:gd name="connsiteX158" fmla="*/ 197 w 10000"/>
                <a:gd name="connsiteY158" fmla="*/ 5523 h 10000"/>
                <a:gd name="connsiteX0" fmla="*/ 197 w 10000"/>
                <a:gd name="connsiteY0" fmla="*/ 5523 h 10000"/>
                <a:gd name="connsiteX1" fmla="*/ 0 w 10000"/>
                <a:gd name="connsiteY1" fmla="*/ 5717 h 10000"/>
                <a:gd name="connsiteX2" fmla="*/ 0 w 10000"/>
                <a:gd name="connsiteY2" fmla="*/ 6668 h 10000"/>
                <a:gd name="connsiteX3" fmla="*/ 109 w 10000"/>
                <a:gd name="connsiteY3" fmla="*/ 6693 h 10000"/>
                <a:gd name="connsiteX4" fmla="*/ 134 w 10000"/>
                <a:gd name="connsiteY4" fmla="*/ 6769 h 10000"/>
                <a:gd name="connsiteX5" fmla="*/ 130 w 10000"/>
                <a:gd name="connsiteY5" fmla="*/ 6897 h 10000"/>
                <a:gd name="connsiteX6" fmla="*/ 89 w 10000"/>
                <a:gd name="connsiteY6" fmla="*/ 6953 h 10000"/>
                <a:gd name="connsiteX7" fmla="*/ 255 w 10000"/>
                <a:gd name="connsiteY7" fmla="*/ 6842 h 10000"/>
                <a:gd name="connsiteX8" fmla="*/ 325 w 10000"/>
                <a:gd name="connsiteY8" fmla="*/ 6737 h 10000"/>
                <a:gd name="connsiteX9" fmla="*/ 413 w 10000"/>
                <a:gd name="connsiteY9" fmla="*/ 6809 h 10000"/>
                <a:gd name="connsiteX10" fmla="*/ 316 w 10000"/>
                <a:gd name="connsiteY10" fmla="*/ 6965 h 10000"/>
                <a:gd name="connsiteX11" fmla="*/ 419 w 10000"/>
                <a:gd name="connsiteY11" fmla="*/ 6969 h 10000"/>
                <a:gd name="connsiteX12" fmla="*/ 469 w 10000"/>
                <a:gd name="connsiteY12" fmla="*/ 7008 h 10000"/>
                <a:gd name="connsiteX13" fmla="*/ 337 w 10000"/>
                <a:gd name="connsiteY13" fmla="*/ 7059 h 10000"/>
                <a:gd name="connsiteX14" fmla="*/ 130 w 10000"/>
                <a:gd name="connsiteY14" fmla="*/ 7220 h 10000"/>
                <a:gd name="connsiteX15" fmla="*/ 497 w 10000"/>
                <a:gd name="connsiteY15" fmla="*/ 7345 h 10000"/>
                <a:gd name="connsiteX16" fmla="*/ 545 w 10000"/>
                <a:gd name="connsiteY16" fmla="*/ 7522 h 10000"/>
                <a:gd name="connsiteX17" fmla="*/ 419 w 10000"/>
                <a:gd name="connsiteY17" fmla="*/ 7785 h 10000"/>
                <a:gd name="connsiteX18" fmla="*/ 688 w 10000"/>
                <a:gd name="connsiteY18" fmla="*/ 7770 h 10000"/>
                <a:gd name="connsiteX19" fmla="*/ 709 w 10000"/>
                <a:gd name="connsiteY19" fmla="*/ 7965 h 10000"/>
                <a:gd name="connsiteX20" fmla="*/ 530 w 10000"/>
                <a:gd name="connsiteY20" fmla="*/ 8105 h 10000"/>
                <a:gd name="connsiteX21" fmla="*/ 560 w 10000"/>
                <a:gd name="connsiteY21" fmla="*/ 8362 h 10000"/>
                <a:gd name="connsiteX22" fmla="*/ 489 w 10000"/>
                <a:gd name="connsiteY22" fmla="*/ 8568 h 10000"/>
                <a:gd name="connsiteX23" fmla="*/ 703 w 10000"/>
                <a:gd name="connsiteY23" fmla="*/ 8587 h 10000"/>
                <a:gd name="connsiteX24" fmla="*/ 909 w 10000"/>
                <a:gd name="connsiteY24" fmla="*/ 9367 h 10000"/>
                <a:gd name="connsiteX25" fmla="*/ 1616 w 10000"/>
                <a:gd name="connsiteY25" fmla="*/ 8985 h 10000"/>
                <a:gd name="connsiteX26" fmla="*/ 1990 w 10000"/>
                <a:gd name="connsiteY26" fmla="*/ 9254 h 10000"/>
                <a:gd name="connsiteX27" fmla="*/ 2633 w 10000"/>
                <a:gd name="connsiteY27" fmla="*/ 8935 h 10000"/>
                <a:gd name="connsiteX28" fmla="*/ 6419 w 10000"/>
                <a:gd name="connsiteY28" fmla="*/ 10000 h 10000"/>
                <a:gd name="connsiteX29" fmla="*/ 6586 w 10000"/>
                <a:gd name="connsiteY29" fmla="*/ 9169 h 10000"/>
                <a:gd name="connsiteX30" fmla="*/ 6855 w 10000"/>
                <a:gd name="connsiteY30" fmla="*/ 8801 h 10000"/>
                <a:gd name="connsiteX31" fmla="*/ 6855 w 10000"/>
                <a:gd name="connsiteY31" fmla="*/ 8603 h 10000"/>
                <a:gd name="connsiteX32" fmla="*/ 6757 w 10000"/>
                <a:gd name="connsiteY32" fmla="*/ 8497 h 10000"/>
                <a:gd name="connsiteX33" fmla="*/ 6915 w 10000"/>
                <a:gd name="connsiteY33" fmla="*/ 8318 h 10000"/>
                <a:gd name="connsiteX34" fmla="*/ 6887 w 10000"/>
                <a:gd name="connsiteY34" fmla="*/ 8175 h 10000"/>
                <a:gd name="connsiteX35" fmla="*/ 6779 w 10000"/>
                <a:gd name="connsiteY35" fmla="*/ 8053 h 10000"/>
                <a:gd name="connsiteX36" fmla="*/ 6757 w 10000"/>
                <a:gd name="connsiteY36" fmla="*/ 7956 h 10000"/>
                <a:gd name="connsiteX37" fmla="*/ 6785 w 10000"/>
                <a:gd name="connsiteY37" fmla="*/ 7886 h 10000"/>
                <a:gd name="connsiteX38" fmla="*/ 6931 w 10000"/>
                <a:gd name="connsiteY38" fmla="*/ 7942 h 10000"/>
                <a:gd name="connsiteX39" fmla="*/ 7045 w 10000"/>
                <a:gd name="connsiteY39" fmla="*/ 7939 h 10000"/>
                <a:gd name="connsiteX40" fmla="*/ 6983 w 10000"/>
                <a:gd name="connsiteY40" fmla="*/ 7822 h 10000"/>
                <a:gd name="connsiteX41" fmla="*/ 7003 w 10000"/>
                <a:gd name="connsiteY41" fmla="*/ 7752 h 10000"/>
                <a:gd name="connsiteX42" fmla="*/ 7089 w 10000"/>
                <a:gd name="connsiteY42" fmla="*/ 7653 h 10000"/>
                <a:gd name="connsiteX43" fmla="*/ 7074 w 10000"/>
                <a:gd name="connsiteY43" fmla="*/ 7570 h 10000"/>
                <a:gd name="connsiteX44" fmla="*/ 7152 w 10000"/>
                <a:gd name="connsiteY44" fmla="*/ 7295 h 10000"/>
                <a:gd name="connsiteX45" fmla="*/ 7130 w 10000"/>
                <a:gd name="connsiteY45" fmla="*/ 7209 h 10000"/>
                <a:gd name="connsiteX46" fmla="*/ 6729 w 10000"/>
                <a:gd name="connsiteY46" fmla="*/ 6997 h 10000"/>
                <a:gd name="connsiteX47" fmla="*/ 6785 w 10000"/>
                <a:gd name="connsiteY47" fmla="*/ 6989 h 10000"/>
                <a:gd name="connsiteX48" fmla="*/ 6998 w 10000"/>
                <a:gd name="connsiteY48" fmla="*/ 7043 h 10000"/>
                <a:gd name="connsiteX49" fmla="*/ 7230 w 10000"/>
                <a:gd name="connsiteY49" fmla="*/ 7023 h 10000"/>
                <a:gd name="connsiteX50" fmla="*/ 7295 w 10000"/>
                <a:gd name="connsiteY50" fmla="*/ 6949 h 10000"/>
                <a:gd name="connsiteX51" fmla="*/ 7074 w 10000"/>
                <a:gd name="connsiteY51" fmla="*/ 6806 h 10000"/>
                <a:gd name="connsiteX52" fmla="*/ 6414 w 10000"/>
                <a:gd name="connsiteY52" fmla="*/ 6711 h 10000"/>
                <a:gd name="connsiteX53" fmla="*/ 6458 w 10000"/>
                <a:gd name="connsiteY53" fmla="*/ 6668 h 10000"/>
                <a:gd name="connsiteX54" fmla="*/ 6998 w 10000"/>
                <a:gd name="connsiteY54" fmla="*/ 6638 h 10000"/>
                <a:gd name="connsiteX55" fmla="*/ 7295 w 10000"/>
                <a:gd name="connsiteY55" fmla="*/ 6724 h 10000"/>
                <a:gd name="connsiteX56" fmla="*/ 7466 w 10000"/>
                <a:gd name="connsiteY56" fmla="*/ 6668 h 10000"/>
                <a:gd name="connsiteX57" fmla="*/ 7529 w 10000"/>
                <a:gd name="connsiteY57" fmla="*/ 6520 h 10000"/>
                <a:gd name="connsiteX58" fmla="*/ 7840 w 10000"/>
                <a:gd name="connsiteY58" fmla="*/ 6520 h 10000"/>
                <a:gd name="connsiteX59" fmla="*/ 8261 w 10000"/>
                <a:gd name="connsiteY59" fmla="*/ 6219 h 10000"/>
                <a:gd name="connsiteX60" fmla="*/ 8275 w 10000"/>
                <a:gd name="connsiteY60" fmla="*/ 6019 h 10000"/>
                <a:gd name="connsiteX61" fmla="*/ 8453 w 10000"/>
                <a:gd name="connsiteY61" fmla="*/ 6064 h 10000"/>
                <a:gd name="connsiteX62" fmla="*/ 8446 w 10000"/>
                <a:gd name="connsiteY62" fmla="*/ 6266 h 10000"/>
                <a:gd name="connsiteX63" fmla="*/ 8727 w 10000"/>
                <a:gd name="connsiteY63" fmla="*/ 6251 h 10000"/>
                <a:gd name="connsiteX64" fmla="*/ 8913 w 10000"/>
                <a:gd name="connsiteY64" fmla="*/ 6043 h 10000"/>
                <a:gd name="connsiteX65" fmla="*/ 9258 w 10000"/>
                <a:gd name="connsiteY65" fmla="*/ 5856 h 10000"/>
                <a:gd name="connsiteX66" fmla="*/ 9203 w 10000"/>
                <a:gd name="connsiteY66" fmla="*/ 5644 h 10000"/>
                <a:gd name="connsiteX67" fmla="*/ 9306 w 10000"/>
                <a:gd name="connsiteY67" fmla="*/ 5730 h 10000"/>
                <a:gd name="connsiteX68" fmla="*/ 9464 w 10000"/>
                <a:gd name="connsiteY68" fmla="*/ 5730 h 10000"/>
                <a:gd name="connsiteX69" fmla="*/ 9464 w 10000"/>
                <a:gd name="connsiteY69" fmla="*/ 5630 h 10000"/>
                <a:gd name="connsiteX70" fmla="*/ 9611 w 10000"/>
                <a:gd name="connsiteY70" fmla="*/ 5558 h 10000"/>
                <a:gd name="connsiteX71" fmla="*/ 9592 w 10000"/>
                <a:gd name="connsiteY71" fmla="*/ 5481 h 10000"/>
                <a:gd name="connsiteX72" fmla="*/ 8350 w 10000"/>
                <a:gd name="connsiteY72" fmla="*/ 5632 h 10000"/>
                <a:gd name="connsiteX73" fmla="*/ 8058 w 10000"/>
                <a:gd name="connsiteY73" fmla="*/ 5590 h 10000"/>
                <a:gd name="connsiteX74" fmla="*/ 7942 w 10000"/>
                <a:gd name="connsiteY74" fmla="*/ 5644 h 10000"/>
                <a:gd name="connsiteX75" fmla="*/ 7903 w 10000"/>
                <a:gd name="connsiteY75" fmla="*/ 5537 h 10000"/>
                <a:gd name="connsiteX76" fmla="*/ 7765 w 10000"/>
                <a:gd name="connsiteY76" fmla="*/ 5443 h 10000"/>
                <a:gd name="connsiteX77" fmla="*/ 7213 w 10000"/>
                <a:gd name="connsiteY77" fmla="*/ 5249 h 10000"/>
                <a:gd name="connsiteX78" fmla="*/ 6887 w 10000"/>
                <a:gd name="connsiteY78" fmla="*/ 5282 h 10000"/>
                <a:gd name="connsiteX79" fmla="*/ 6757 w 10000"/>
                <a:gd name="connsiteY79" fmla="*/ 5227 h 10000"/>
                <a:gd name="connsiteX80" fmla="*/ 6894 w 10000"/>
                <a:gd name="connsiteY80" fmla="*/ 5180 h 10000"/>
                <a:gd name="connsiteX81" fmla="*/ 6998 w 10000"/>
                <a:gd name="connsiteY81" fmla="*/ 5078 h 10000"/>
                <a:gd name="connsiteX82" fmla="*/ 7152 w 10000"/>
                <a:gd name="connsiteY82" fmla="*/ 5110 h 10000"/>
                <a:gd name="connsiteX83" fmla="*/ 7335 w 10000"/>
                <a:gd name="connsiteY83" fmla="*/ 5085 h 10000"/>
                <a:gd name="connsiteX84" fmla="*/ 7611 w 10000"/>
                <a:gd name="connsiteY84" fmla="*/ 5118 h 10000"/>
                <a:gd name="connsiteX85" fmla="*/ 7645 w 10000"/>
                <a:gd name="connsiteY85" fmla="*/ 5104 h 10000"/>
                <a:gd name="connsiteX86" fmla="*/ 7859 w 10000"/>
                <a:gd name="connsiteY86" fmla="*/ 5259 h 10000"/>
                <a:gd name="connsiteX87" fmla="*/ 8017 w 10000"/>
                <a:gd name="connsiteY87" fmla="*/ 5201 h 10000"/>
                <a:gd name="connsiteX88" fmla="*/ 8032 w 10000"/>
                <a:gd name="connsiteY88" fmla="*/ 5148 h 10000"/>
                <a:gd name="connsiteX89" fmla="*/ 8176 w 10000"/>
                <a:gd name="connsiteY89" fmla="*/ 5241 h 10000"/>
                <a:gd name="connsiteX90" fmla="*/ 8369 w 10000"/>
                <a:gd name="connsiteY90" fmla="*/ 5291 h 10000"/>
                <a:gd name="connsiteX91" fmla="*/ 8446 w 10000"/>
                <a:gd name="connsiteY91" fmla="*/ 5199 h 10000"/>
                <a:gd name="connsiteX92" fmla="*/ 8507 w 10000"/>
                <a:gd name="connsiteY92" fmla="*/ 5249 h 10000"/>
                <a:gd name="connsiteX93" fmla="*/ 8596 w 10000"/>
                <a:gd name="connsiteY93" fmla="*/ 5430 h 10000"/>
                <a:gd name="connsiteX94" fmla="*/ 8782 w 10000"/>
                <a:gd name="connsiteY94" fmla="*/ 5470 h 10000"/>
                <a:gd name="connsiteX95" fmla="*/ 9542 w 10000"/>
                <a:gd name="connsiteY95" fmla="*/ 5208 h 10000"/>
                <a:gd name="connsiteX96" fmla="*/ 9914 w 10000"/>
                <a:gd name="connsiteY96" fmla="*/ 4838 h 10000"/>
                <a:gd name="connsiteX97" fmla="*/ 10000 w 10000"/>
                <a:gd name="connsiteY97" fmla="*/ 4574 h 10000"/>
                <a:gd name="connsiteX98" fmla="*/ 9866 w 10000"/>
                <a:gd name="connsiteY98" fmla="*/ 4330 h 10000"/>
                <a:gd name="connsiteX99" fmla="*/ 9582 w 10000"/>
                <a:gd name="connsiteY99" fmla="*/ 4188 h 10000"/>
                <a:gd name="connsiteX100" fmla="*/ 9382 w 10000"/>
                <a:gd name="connsiteY100" fmla="*/ 3948 h 10000"/>
                <a:gd name="connsiteX101" fmla="*/ 9569 w 10000"/>
                <a:gd name="connsiteY101" fmla="*/ 3941 h 10000"/>
                <a:gd name="connsiteX102" fmla="*/ 9555 w 10000"/>
                <a:gd name="connsiteY102" fmla="*/ 3886 h 10000"/>
                <a:gd name="connsiteX103" fmla="*/ 9068 w 10000"/>
                <a:gd name="connsiteY103" fmla="*/ 3720 h 10000"/>
                <a:gd name="connsiteX104" fmla="*/ 9047 w 10000"/>
                <a:gd name="connsiteY104" fmla="*/ 3566 h 10000"/>
                <a:gd name="connsiteX105" fmla="*/ 8953 w 10000"/>
                <a:gd name="connsiteY105" fmla="*/ 3406 h 10000"/>
                <a:gd name="connsiteX106" fmla="*/ 8569 w 10000"/>
                <a:gd name="connsiteY106" fmla="*/ 3436 h 10000"/>
                <a:gd name="connsiteX107" fmla="*/ 8431 w 10000"/>
                <a:gd name="connsiteY107" fmla="*/ 3265 h 10000"/>
                <a:gd name="connsiteX108" fmla="*/ 8350 w 10000"/>
                <a:gd name="connsiteY108" fmla="*/ 3254 h 10000"/>
                <a:gd name="connsiteX109" fmla="*/ 8350 w 10000"/>
                <a:gd name="connsiteY109" fmla="*/ 3331 h 10000"/>
                <a:gd name="connsiteX110" fmla="*/ 8176 w 10000"/>
                <a:gd name="connsiteY110" fmla="*/ 3613 h 10000"/>
                <a:gd name="connsiteX111" fmla="*/ 7990 w 10000"/>
                <a:gd name="connsiteY111" fmla="*/ 3783 h 10000"/>
                <a:gd name="connsiteX112" fmla="*/ 7401 w 10000"/>
                <a:gd name="connsiteY112" fmla="*/ 4066 h 10000"/>
                <a:gd name="connsiteX113" fmla="*/ 7198 w 10000"/>
                <a:gd name="connsiteY113" fmla="*/ 4058 h 10000"/>
                <a:gd name="connsiteX114" fmla="*/ 6915 w 10000"/>
                <a:gd name="connsiteY114" fmla="*/ 4101 h 10000"/>
                <a:gd name="connsiteX115" fmla="*/ 6757 w 10000"/>
                <a:gd name="connsiteY115" fmla="*/ 4058 h 10000"/>
                <a:gd name="connsiteX116" fmla="*/ 6965 w 10000"/>
                <a:gd name="connsiteY116" fmla="*/ 3976 h 10000"/>
                <a:gd name="connsiteX117" fmla="*/ 7235 w 10000"/>
                <a:gd name="connsiteY117" fmla="*/ 3941 h 10000"/>
                <a:gd name="connsiteX118" fmla="*/ 7455 w 10000"/>
                <a:gd name="connsiteY118" fmla="*/ 3809 h 10000"/>
                <a:gd name="connsiteX119" fmla="*/ 7674 w 10000"/>
                <a:gd name="connsiteY119" fmla="*/ 3746 h 10000"/>
                <a:gd name="connsiteX120" fmla="*/ 8082 w 10000"/>
                <a:gd name="connsiteY120" fmla="*/ 3512 h 10000"/>
                <a:gd name="connsiteX121" fmla="*/ 8157 w 10000"/>
                <a:gd name="connsiteY121" fmla="*/ 3359 h 10000"/>
                <a:gd name="connsiteX122" fmla="*/ 8165 w 10000"/>
                <a:gd name="connsiteY122" fmla="*/ 3163 h 10000"/>
                <a:gd name="connsiteX123" fmla="*/ 7978 w 10000"/>
                <a:gd name="connsiteY123" fmla="*/ 3129 h 10000"/>
                <a:gd name="connsiteX124" fmla="*/ 8058 w 10000"/>
                <a:gd name="connsiteY124" fmla="*/ 3009 h 10000"/>
                <a:gd name="connsiteX125" fmla="*/ 8087 w 10000"/>
                <a:gd name="connsiteY125" fmla="*/ 2856 h 10000"/>
                <a:gd name="connsiteX126" fmla="*/ 8007 w 10000"/>
                <a:gd name="connsiteY126" fmla="*/ 2714 h 10000"/>
                <a:gd name="connsiteX127" fmla="*/ 7450 w 10000"/>
                <a:gd name="connsiteY127" fmla="*/ 2910 h 10000"/>
                <a:gd name="connsiteX128" fmla="*/ 6694 w 10000"/>
                <a:gd name="connsiteY128" fmla="*/ 2823 h 10000"/>
                <a:gd name="connsiteX129" fmla="*/ 6304 w 10000"/>
                <a:gd name="connsiteY129" fmla="*/ 2276 h 10000"/>
                <a:gd name="connsiteX130" fmla="*/ 5294 w 10000"/>
                <a:gd name="connsiteY130" fmla="*/ 2173 h 10000"/>
                <a:gd name="connsiteX131" fmla="*/ 4505 w 10000"/>
                <a:gd name="connsiteY131" fmla="*/ 1721 h 10000"/>
                <a:gd name="connsiteX132" fmla="*/ 3730 w 10000"/>
                <a:gd name="connsiteY132" fmla="*/ 1176 h 10000"/>
                <a:gd name="connsiteX133" fmla="*/ 3154 w 10000"/>
                <a:gd name="connsiteY133" fmla="*/ 173 h 10000"/>
                <a:gd name="connsiteX134" fmla="*/ 2375 w 10000"/>
                <a:gd name="connsiteY134" fmla="*/ 0 h 10000"/>
                <a:gd name="connsiteX135" fmla="*/ 2226 w 10000"/>
                <a:gd name="connsiteY135" fmla="*/ 941 h 10000"/>
                <a:gd name="connsiteX136" fmla="*/ 2375 w 10000"/>
                <a:gd name="connsiteY136" fmla="*/ 1181 h 10000"/>
                <a:gd name="connsiteX137" fmla="*/ 2791 w 10000"/>
                <a:gd name="connsiteY137" fmla="*/ 1446 h 10000"/>
                <a:gd name="connsiteX138" fmla="*/ 2808 w 10000"/>
                <a:gd name="connsiteY138" fmla="*/ 1767 h 10000"/>
                <a:gd name="connsiteX139" fmla="*/ 2632 w 10000"/>
                <a:gd name="connsiteY139" fmla="*/ 2035 h 10000"/>
                <a:gd name="connsiteX140" fmla="*/ 2375 w 10000"/>
                <a:gd name="connsiteY140" fmla="*/ 2196 h 10000"/>
                <a:gd name="connsiteX141" fmla="*/ 2039 w 10000"/>
                <a:gd name="connsiteY141" fmla="*/ 2260 h 10000"/>
                <a:gd name="connsiteX142" fmla="*/ 1950 w 10000"/>
                <a:gd name="connsiteY142" fmla="*/ 2357 h 10000"/>
                <a:gd name="connsiteX143" fmla="*/ 2148 w 10000"/>
                <a:gd name="connsiteY143" fmla="*/ 2577 h 10000"/>
                <a:gd name="connsiteX144" fmla="*/ 2261 w 10000"/>
                <a:gd name="connsiteY144" fmla="*/ 3104 h 10000"/>
                <a:gd name="connsiteX145" fmla="*/ 2005 w 10000"/>
                <a:gd name="connsiteY145" fmla="*/ 3555 h 10000"/>
                <a:gd name="connsiteX146" fmla="*/ 2094 w 10000"/>
                <a:gd name="connsiteY146" fmla="*/ 3692 h 10000"/>
                <a:gd name="connsiteX147" fmla="*/ 2012 w 10000"/>
                <a:gd name="connsiteY147" fmla="*/ 3926 h 10000"/>
                <a:gd name="connsiteX148" fmla="*/ 1850 w 10000"/>
                <a:gd name="connsiteY148" fmla="*/ 4089 h 10000"/>
                <a:gd name="connsiteX149" fmla="*/ 1199 w 10000"/>
                <a:gd name="connsiteY149" fmla="*/ 4215 h 10000"/>
                <a:gd name="connsiteX150" fmla="*/ 1158 w 10000"/>
                <a:gd name="connsiteY150" fmla="*/ 4432 h 10000"/>
                <a:gd name="connsiteX151" fmla="*/ 808 w 10000"/>
                <a:gd name="connsiteY151" fmla="*/ 4754 h 10000"/>
                <a:gd name="connsiteX152" fmla="*/ 854 w 10000"/>
                <a:gd name="connsiteY152" fmla="*/ 5224 h 10000"/>
                <a:gd name="connsiteX153" fmla="*/ 560 w 10000"/>
                <a:gd name="connsiteY153" fmla="*/ 5822 h 10000"/>
                <a:gd name="connsiteX154" fmla="*/ 358 w 10000"/>
                <a:gd name="connsiteY154" fmla="*/ 5891 h 10000"/>
                <a:gd name="connsiteX155" fmla="*/ 275 w 10000"/>
                <a:gd name="connsiteY155" fmla="*/ 5749 h 10000"/>
                <a:gd name="connsiteX156" fmla="*/ 174 w 10000"/>
                <a:gd name="connsiteY156" fmla="*/ 5964 h 10000"/>
                <a:gd name="connsiteX157" fmla="*/ 239 w 10000"/>
                <a:gd name="connsiteY157" fmla="*/ 5592 h 10000"/>
                <a:gd name="connsiteX158" fmla="*/ 197 w 10000"/>
                <a:gd name="connsiteY158" fmla="*/ 5523 h 10000"/>
                <a:gd name="connsiteX0" fmla="*/ 197 w 10000"/>
                <a:gd name="connsiteY0" fmla="*/ 5523 h 10000"/>
                <a:gd name="connsiteX1" fmla="*/ 0 w 10000"/>
                <a:gd name="connsiteY1" fmla="*/ 5717 h 10000"/>
                <a:gd name="connsiteX2" fmla="*/ 0 w 10000"/>
                <a:gd name="connsiteY2" fmla="*/ 6668 h 10000"/>
                <a:gd name="connsiteX3" fmla="*/ 109 w 10000"/>
                <a:gd name="connsiteY3" fmla="*/ 6693 h 10000"/>
                <a:gd name="connsiteX4" fmla="*/ 134 w 10000"/>
                <a:gd name="connsiteY4" fmla="*/ 6769 h 10000"/>
                <a:gd name="connsiteX5" fmla="*/ 130 w 10000"/>
                <a:gd name="connsiteY5" fmla="*/ 6897 h 10000"/>
                <a:gd name="connsiteX6" fmla="*/ 89 w 10000"/>
                <a:gd name="connsiteY6" fmla="*/ 6953 h 10000"/>
                <a:gd name="connsiteX7" fmla="*/ 255 w 10000"/>
                <a:gd name="connsiteY7" fmla="*/ 6842 h 10000"/>
                <a:gd name="connsiteX8" fmla="*/ 325 w 10000"/>
                <a:gd name="connsiteY8" fmla="*/ 6737 h 10000"/>
                <a:gd name="connsiteX9" fmla="*/ 413 w 10000"/>
                <a:gd name="connsiteY9" fmla="*/ 6809 h 10000"/>
                <a:gd name="connsiteX10" fmla="*/ 316 w 10000"/>
                <a:gd name="connsiteY10" fmla="*/ 6965 h 10000"/>
                <a:gd name="connsiteX11" fmla="*/ 419 w 10000"/>
                <a:gd name="connsiteY11" fmla="*/ 6969 h 10000"/>
                <a:gd name="connsiteX12" fmla="*/ 469 w 10000"/>
                <a:gd name="connsiteY12" fmla="*/ 7008 h 10000"/>
                <a:gd name="connsiteX13" fmla="*/ 337 w 10000"/>
                <a:gd name="connsiteY13" fmla="*/ 7059 h 10000"/>
                <a:gd name="connsiteX14" fmla="*/ 130 w 10000"/>
                <a:gd name="connsiteY14" fmla="*/ 7220 h 10000"/>
                <a:gd name="connsiteX15" fmla="*/ 497 w 10000"/>
                <a:gd name="connsiteY15" fmla="*/ 7345 h 10000"/>
                <a:gd name="connsiteX16" fmla="*/ 545 w 10000"/>
                <a:gd name="connsiteY16" fmla="*/ 7522 h 10000"/>
                <a:gd name="connsiteX17" fmla="*/ 419 w 10000"/>
                <a:gd name="connsiteY17" fmla="*/ 7785 h 10000"/>
                <a:gd name="connsiteX18" fmla="*/ 688 w 10000"/>
                <a:gd name="connsiteY18" fmla="*/ 7770 h 10000"/>
                <a:gd name="connsiteX19" fmla="*/ 709 w 10000"/>
                <a:gd name="connsiteY19" fmla="*/ 7965 h 10000"/>
                <a:gd name="connsiteX20" fmla="*/ 530 w 10000"/>
                <a:gd name="connsiteY20" fmla="*/ 8105 h 10000"/>
                <a:gd name="connsiteX21" fmla="*/ 560 w 10000"/>
                <a:gd name="connsiteY21" fmla="*/ 8362 h 10000"/>
                <a:gd name="connsiteX22" fmla="*/ 489 w 10000"/>
                <a:gd name="connsiteY22" fmla="*/ 8568 h 10000"/>
                <a:gd name="connsiteX23" fmla="*/ 703 w 10000"/>
                <a:gd name="connsiteY23" fmla="*/ 8587 h 10000"/>
                <a:gd name="connsiteX24" fmla="*/ 909 w 10000"/>
                <a:gd name="connsiteY24" fmla="*/ 9367 h 10000"/>
                <a:gd name="connsiteX25" fmla="*/ 1616 w 10000"/>
                <a:gd name="connsiteY25" fmla="*/ 8985 h 10000"/>
                <a:gd name="connsiteX26" fmla="*/ 1990 w 10000"/>
                <a:gd name="connsiteY26" fmla="*/ 9254 h 10000"/>
                <a:gd name="connsiteX27" fmla="*/ 2443 w 10000"/>
                <a:gd name="connsiteY27" fmla="*/ 8769 h 10000"/>
                <a:gd name="connsiteX28" fmla="*/ 6419 w 10000"/>
                <a:gd name="connsiteY28" fmla="*/ 10000 h 10000"/>
                <a:gd name="connsiteX29" fmla="*/ 6586 w 10000"/>
                <a:gd name="connsiteY29" fmla="*/ 9169 h 10000"/>
                <a:gd name="connsiteX30" fmla="*/ 6855 w 10000"/>
                <a:gd name="connsiteY30" fmla="*/ 8801 h 10000"/>
                <a:gd name="connsiteX31" fmla="*/ 6855 w 10000"/>
                <a:gd name="connsiteY31" fmla="*/ 8603 h 10000"/>
                <a:gd name="connsiteX32" fmla="*/ 6757 w 10000"/>
                <a:gd name="connsiteY32" fmla="*/ 8497 h 10000"/>
                <a:gd name="connsiteX33" fmla="*/ 6915 w 10000"/>
                <a:gd name="connsiteY33" fmla="*/ 8318 h 10000"/>
                <a:gd name="connsiteX34" fmla="*/ 6887 w 10000"/>
                <a:gd name="connsiteY34" fmla="*/ 8175 h 10000"/>
                <a:gd name="connsiteX35" fmla="*/ 6779 w 10000"/>
                <a:gd name="connsiteY35" fmla="*/ 8053 h 10000"/>
                <a:gd name="connsiteX36" fmla="*/ 6757 w 10000"/>
                <a:gd name="connsiteY36" fmla="*/ 7956 h 10000"/>
                <a:gd name="connsiteX37" fmla="*/ 6785 w 10000"/>
                <a:gd name="connsiteY37" fmla="*/ 7886 h 10000"/>
                <a:gd name="connsiteX38" fmla="*/ 6931 w 10000"/>
                <a:gd name="connsiteY38" fmla="*/ 7942 h 10000"/>
                <a:gd name="connsiteX39" fmla="*/ 7045 w 10000"/>
                <a:gd name="connsiteY39" fmla="*/ 7939 h 10000"/>
                <a:gd name="connsiteX40" fmla="*/ 6983 w 10000"/>
                <a:gd name="connsiteY40" fmla="*/ 7822 h 10000"/>
                <a:gd name="connsiteX41" fmla="*/ 7003 w 10000"/>
                <a:gd name="connsiteY41" fmla="*/ 7752 h 10000"/>
                <a:gd name="connsiteX42" fmla="*/ 7089 w 10000"/>
                <a:gd name="connsiteY42" fmla="*/ 7653 h 10000"/>
                <a:gd name="connsiteX43" fmla="*/ 7074 w 10000"/>
                <a:gd name="connsiteY43" fmla="*/ 7570 h 10000"/>
                <a:gd name="connsiteX44" fmla="*/ 7152 w 10000"/>
                <a:gd name="connsiteY44" fmla="*/ 7295 h 10000"/>
                <a:gd name="connsiteX45" fmla="*/ 7130 w 10000"/>
                <a:gd name="connsiteY45" fmla="*/ 7209 h 10000"/>
                <a:gd name="connsiteX46" fmla="*/ 6729 w 10000"/>
                <a:gd name="connsiteY46" fmla="*/ 6997 h 10000"/>
                <a:gd name="connsiteX47" fmla="*/ 6785 w 10000"/>
                <a:gd name="connsiteY47" fmla="*/ 6989 h 10000"/>
                <a:gd name="connsiteX48" fmla="*/ 6998 w 10000"/>
                <a:gd name="connsiteY48" fmla="*/ 7043 h 10000"/>
                <a:gd name="connsiteX49" fmla="*/ 7230 w 10000"/>
                <a:gd name="connsiteY49" fmla="*/ 7023 h 10000"/>
                <a:gd name="connsiteX50" fmla="*/ 7295 w 10000"/>
                <a:gd name="connsiteY50" fmla="*/ 6949 h 10000"/>
                <a:gd name="connsiteX51" fmla="*/ 7074 w 10000"/>
                <a:gd name="connsiteY51" fmla="*/ 6806 h 10000"/>
                <a:gd name="connsiteX52" fmla="*/ 6414 w 10000"/>
                <a:gd name="connsiteY52" fmla="*/ 6711 h 10000"/>
                <a:gd name="connsiteX53" fmla="*/ 6458 w 10000"/>
                <a:gd name="connsiteY53" fmla="*/ 6668 h 10000"/>
                <a:gd name="connsiteX54" fmla="*/ 6998 w 10000"/>
                <a:gd name="connsiteY54" fmla="*/ 6638 h 10000"/>
                <a:gd name="connsiteX55" fmla="*/ 7295 w 10000"/>
                <a:gd name="connsiteY55" fmla="*/ 6724 h 10000"/>
                <a:gd name="connsiteX56" fmla="*/ 7466 w 10000"/>
                <a:gd name="connsiteY56" fmla="*/ 6668 h 10000"/>
                <a:gd name="connsiteX57" fmla="*/ 7529 w 10000"/>
                <a:gd name="connsiteY57" fmla="*/ 6520 h 10000"/>
                <a:gd name="connsiteX58" fmla="*/ 7840 w 10000"/>
                <a:gd name="connsiteY58" fmla="*/ 6520 h 10000"/>
                <a:gd name="connsiteX59" fmla="*/ 8261 w 10000"/>
                <a:gd name="connsiteY59" fmla="*/ 6219 h 10000"/>
                <a:gd name="connsiteX60" fmla="*/ 8275 w 10000"/>
                <a:gd name="connsiteY60" fmla="*/ 6019 h 10000"/>
                <a:gd name="connsiteX61" fmla="*/ 8453 w 10000"/>
                <a:gd name="connsiteY61" fmla="*/ 6064 h 10000"/>
                <a:gd name="connsiteX62" fmla="*/ 8446 w 10000"/>
                <a:gd name="connsiteY62" fmla="*/ 6266 h 10000"/>
                <a:gd name="connsiteX63" fmla="*/ 8727 w 10000"/>
                <a:gd name="connsiteY63" fmla="*/ 6251 h 10000"/>
                <a:gd name="connsiteX64" fmla="*/ 8913 w 10000"/>
                <a:gd name="connsiteY64" fmla="*/ 6043 h 10000"/>
                <a:gd name="connsiteX65" fmla="*/ 9258 w 10000"/>
                <a:gd name="connsiteY65" fmla="*/ 5856 h 10000"/>
                <a:gd name="connsiteX66" fmla="*/ 9203 w 10000"/>
                <a:gd name="connsiteY66" fmla="*/ 5644 h 10000"/>
                <a:gd name="connsiteX67" fmla="*/ 9306 w 10000"/>
                <a:gd name="connsiteY67" fmla="*/ 5730 h 10000"/>
                <a:gd name="connsiteX68" fmla="*/ 9464 w 10000"/>
                <a:gd name="connsiteY68" fmla="*/ 5730 h 10000"/>
                <a:gd name="connsiteX69" fmla="*/ 9464 w 10000"/>
                <a:gd name="connsiteY69" fmla="*/ 5630 h 10000"/>
                <a:gd name="connsiteX70" fmla="*/ 9611 w 10000"/>
                <a:gd name="connsiteY70" fmla="*/ 5558 h 10000"/>
                <a:gd name="connsiteX71" fmla="*/ 9592 w 10000"/>
                <a:gd name="connsiteY71" fmla="*/ 5481 h 10000"/>
                <a:gd name="connsiteX72" fmla="*/ 8350 w 10000"/>
                <a:gd name="connsiteY72" fmla="*/ 5632 h 10000"/>
                <a:gd name="connsiteX73" fmla="*/ 8058 w 10000"/>
                <a:gd name="connsiteY73" fmla="*/ 5590 h 10000"/>
                <a:gd name="connsiteX74" fmla="*/ 7942 w 10000"/>
                <a:gd name="connsiteY74" fmla="*/ 5644 h 10000"/>
                <a:gd name="connsiteX75" fmla="*/ 7903 w 10000"/>
                <a:gd name="connsiteY75" fmla="*/ 5537 h 10000"/>
                <a:gd name="connsiteX76" fmla="*/ 7765 w 10000"/>
                <a:gd name="connsiteY76" fmla="*/ 5443 h 10000"/>
                <a:gd name="connsiteX77" fmla="*/ 7213 w 10000"/>
                <a:gd name="connsiteY77" fmla="*/ 5249 h 10000"/>
                <a:gd name="connsiteX78" fmla="*/ 6887 w 10000"/>
                <a:gd name="connsiteY78" fmla="*/ 5282 h 10000"/>
                <a:gd name="connsiteX79" fmla="*/ 6757 w 10000"/>
                <a:gd name="connsiteY79" fmla="*/ 5227 h 10000"/>
                <a:gd name="connsiteX80" fmla="*/ 6894 w 10000"/>
                <a:gd name="connsiteY80" fmla="*/ 5180 h 10000"/>
                <a:gd name="connsiteX81" fmla="*/ 6998 w 10000"/>
                <a:gd name="connsiteY81" fmla="*/ 5078 h 10000"/>
                <a:gd name="connsiteX82" fmla="*/ 7152 w 10000"/>
                <a:gd name="connsiteY82" fmla="*/ 5110 h 10000"/>
                <a:gd name="connsiteX83" fmla="*/ 7335 w 10000"/>
                <a:gd name="connsiteY83" fmla="*/ 5085 h 10000"/>
                <a:gd name="connsiteX84" fmla="*/ 7611 w 10000"/>
                <a:gd name="connsiteY84" fmla="*/ 5118 h 10000"/>
                <a:gd name="connsiteX85" fmla="*/ 7645 w 10000"/>
                <a:gd name="connsiteY85" fmla="*/ 5104 h 10000"/>
                <a:gd name="connsiteX86" fmla="*/ 7859 w 10000"/>
                <a:gd name="connsiteY86" fmla="*/ 5259 h 10000"/>
                <a:gd name="connsiteX87" fmla="*/ 8017 w 10000"/>
                <a:gd name="connsiteY87" fmla="*/ 5201 h 10000"/>
                <a:gd name="connsiteX88" fmla="*/ 8032 w 10000"/>
                <a:gd name="connsiteY88" fmla="*/ 5148 h 10000"/>
                <a:gd name="connsiteX89" fmla="*/ 8176 w 10000"/>
                <a:gd name="connsiteY89" fmla="*/ 5241 h 10000"/>
                <a:gd name="connsiteX90" fmla="*/ 8369 w 10000"/>
                <a:gd name="connsiteY90" fmla="*/ 5291 h 10000"/>
                <a:gd name="connsiteX91" fmla="*/ 8446 w 10000"/>
                <a:gd name="connsiteY91" fmla="*/ 5199 h 10000"/>
                <a:gd name="connsiteX92" fmla="*/ 8507 w 10000"/>
                <a:gd name="connsiteY92" fmla="*/ 5249 h 10000"/>
                <a:gd name="connsiteX93" fmla="*/ 8596 w 10000"/>
                <a:gd name="connsiteY93" fmla="*/ 5430 h 10000"/>
                <a:gd name="connsiteX94" fmla="*/ 8782 w 10000"/>
                <a:gd name="connsiteY94" fmla="*/ 5470 h 10000"/>
                <a:gd name="connsiteX95" fmla="*/ 9542 w 10000"/>
                <a:gd name="connsiteY95" fmla="*/ 5208 h 10000"/>
                <a:gd name="connsiteX96" fmla="*/ 9914 w 10000"/>
                <a:gd name="connsiteY96" fmla="*/ 4838 h 10000"/>
                <a:gd name="connsiteX97" fmla="*/ 10000 w 10000"/>
                <a:gd name="connsiteY97" fmla="*/ 4574 h 10000"/>
                <a:gd name="connsiteX98" fmla="*/ 9866 w 10000"/>
                <a:gd name="connsiteY98" fmla="*/ 4330 h 10000"/>
                <a:gd name="connsiteX99" fmla="*/ 9582 w 10000"/>
                <a:gd name="connsiteY99" fmla="*/ 4188 h 10000"/>
                <a:gd name="connsiteX100" fmla="*/ 9382 w 10000"/>
                <a:gd name="connsiteY100" fmla="*/ 3948 h 10000"/>
                <a:gd name="connsiteX101" fmla="*/ 9569 w 10000"/>
                <a:gd name="connsiteY101" fmla="*/ 3941 h 10000"/>
                <a:gd name="connsiteX102" fmla="*/ 9555 w 10000"/>
                <a:gd name="connsiteY102" fmla="*/ 3886 h 10000"/>
                <a:gd name="connsiteX103" fmla="*/ 9068 w 10000"/>
                <a:gd name="connsiteY103" fmla="*/ 3720 h 10000"/>
                <a:gd name="connsiteX104" fmla="*/ 9047 w 10000"/>
                <a:gd name="connsiteY104" fmla="*/ 3566 h 10000"/>
                <a:gd name="connsiteX105" fmla="*/ 8953 w 10000"/>
                <a:gd name="connsiteY105" fmla="*/ 3406 h 10000"/>
                <a:gd name="connsiteX106" fmla="*/ 8569 w 10000"/>
                <a:gd name="connsiteY106" fmla="*/ 3436 h 10000"/>
                <a:gd name="connsiteX107" fmla="*/ 8431 w 10000"/>
                <a:gd name="connsiteY107" fmla="*/ 3265 h 10000"/>
                <a:gd name="connsiteX108" fmla="*/ 8350 w 10000"/>
                <a:gd name="connsiteY108" fmla="*/ 3254 h 10000"/>
                <a:gd name="connsiteX109" fmla="*/ 8350 w 10000"/>
                <a:gd name="connsiteY109" fmla="*/ 3331 h 10000"/>
                <a:gd name="connsiteX110" fmla="*/ 8176 w 10000"/>
                <a:gd name="connsiteY110" fmla="*/ 3613 h 10000"/>
                <a:gd name="connsiteX111" fmla="*/ 7990 w 10000"/>
                <a:gd name="connsiteY111" fmla="*/ 3783 h 10000"/>
                <a:gd name="connsiteX112" fmla="*/ 7401 w 10000"/>
                <a:gd name="connsiteY112" fmla="*/ 4066 h 10000"/>
                <a:gd name="connsiteX113" fmla="*/ 7198 w 10000"/>
                <a:gd name="connsiteY113" fmla="*/ 4058 h 10000"/>
                <a:gd name="connsiteX114" fmla="*/ 6915 w 10000"/>
                <a:gd name="connsiteY114" fmla="*/ 4101 h 10000"/>
                <a:gd name="connsiteX115" fmla="*/ 6757 w 10000"/>
                <a:gd name="connsiteY115" fmla="*/ 4058 h 10000"/>
                <a:gd name="connsiteX116" fmla="*/ 6965 w 10000"/>
                <a:gd name="connsiteY116" fmla="*/ 3976 h 10000"/>
                <a:gd name="connsiteX117" fmla="*/ 7235 w 10000"/>
                <a:gd name="connsiteY117" fmla="*/ 3941 h 10000"/>
                <a:gd name="connsiteX118" fmla="*/ 7455 w 10000"/>
                <a:gd name="connsiteY118" fmla="*/ 3809 h 10000"/>
                <a:gd name="connsiteX119" fmla="*/ 7674 w 10000"/>
                <a:gd name="connsiteY119" fmla="*/ 3746 h 10000"/>
                <a:gd name="connsiteX120" fmla="*/ 8082 w 10000"/>
                <a:gd name="connsiteY120" fmla="*/ 3512 h 10000"/>
                <a:gd name="connsiteX121" fmla="*/ 8157 w 10000"/>
                <a:gd name="connsiteY121" fmla="*/ 3359 h 10000"/>
                <a:gd name="connsiteX122" fmla="*/ 8165 w 10000"/>
                <a:gd name="connsiteY122" fmla="*/ 3163 h 10000"/>
                <a:gd name="connsiteX123" fmla="*/ 7978 w 10000"/>
                <a:gd name="connsiteY123" fmla="*/ 3129 h 10000"/>
                <a:gd name="connsiteX124" fmla="*/ 8058 w 10000"/>
                <a:gd name="connsiteY124" fmla="*/ 3009 h 10000"/>
                <a:gd name="connsiteX125" fmla="*/ 8087 w 10000"/>
                <a:gd name="connsiteY125" fmla="*/ 2856 h 10000"/>
                <a:gd name="connsiteX126" fmla="*/ 8007 w 10000"/>
                <a:gd name="connsiteY126" fmla="*/ 2714 h 10000"/>
                <a:gd name="connsiteX127" fmla="*/ 7450 w 10000"/>
                <a:gd name="connsiteY127" fmla="*/ 2910 h 10000"/>
                <a:gd name="connsiteX128" fmla="*/ 6694 w 10000"/>
                <a:gd name="connsiteY128" fmla="*/ 2823 h 10000"/>
                <a:gd name="connsiteX129" fmla="*/ 6304 w 10000"/>
                <a:gd name="connsiteY129" fmla="*/ 2276 h 10000"/>
                <a:gd name="connsiteX130" fmla="*/ 5294 w 10000"/>
                <a:gd name="connsiteY130" fmla="*/ 2173 h 10000"/>
                <a:gd name="connsiteX131" fmla="*/ 4505 w 10000"/>
                <a:gd name="connsiteY131" fmla="*/ 1721 h 10000"/>
                <a:gd name="connsiteX132" fmla="*/ 3730 w 10000"/>
                <a:gd name="connsiteY132" fmla="*/ 1176 h 10000"/>
                <a:gd name="connsiteX133" fmla="*/ 3154 w 10000"/>
                <a:gd name="connsiteY133" fmla="*/ 173 h 10000"/>
                <a:gd name="connsiteX134" fmla="*/ 2375 w 10000"/>
                <a:gd name="connsiteY134" fmla="*/ 0 h 10000"/>
                <a:gd name="connsiteX135" fmla="*/ 2226 w 10000"/>
                <a:gd name="connsiteY135" fmla="*/ 941 h 10000"/>
                <a:gd name="connsiteX136" fmla="*/ 2375 w 10000"/>
                <a:gd name="connsiteY136" fmla="*/ 1181 h 10000"/>
                <a:gd name="connsiteX137" fmla="*/ 2791 w 10000"/>
                <a:gd name="connsiteY137" fmla="*/ 1446 h 10000"/>
                <a:gd name="connsiteX138" fmla="*/ 2808 w 10000"/>
                <a:gd name="connsiteY138" fmla="*/ 1767 h 10000"/>
                <a:gd name="connsiteX139" fmla="*/ 2632 w 10000"/>
                <a:gd name="connsiteY139" fmla="*/ 2035 h 10000"/>
                <a:gd name="connsiteX140" fmla="*/ 2375 w 10000"/>
                <a:gd name="connsiteY140" fmla="*/ 2196 h 10000"/>
                <a:gd name="connsiteX141" fmla="*/ 2039 w 10000"/>
                <a:gd name="connsiteY141" fmla="*/ 2260 h 10000"/>
                <a:gd name="connsiteX142" fmla="*/ 1950 w 10000"/>
                <a:gd name="connsiteY142" fmla="*/ 2357 h 10000"/>
                <a:gd name="connsiteX143" fmla="*/ 2148 w 10000"/>
                <a:gd name="connsiteY143" fmla="*/ 2577 h 10000"/>
                <a:gd name="connsiteX144" fmla="*/ 2261 w 10000"/>
                <a:gd name="connsiteY144" fmla="*/ 3104 h 10000"/>
                <a:gd name="connsiteX145" fmla="*/ 2005 w 10000"/>
                <a:gd name="connsiteY145" fmla="*/ 3555 h 10000"/>
                <a:gd name="connsiteX146" fmla="*/ 2094 w 10000"/>
                <a:gd name="connsiteY146" fmla="*/ 3692 h 10000"/>
                <a:gd name="connsiteX147" fmla="*/ 2012 w 10000"/>
                <a:gd name="connsiteY147" fmla="*/ 3926 h 10000"/>
                <a:gd name="connsiteX148" fmla="*/ 1850 w 10000"/>
                <a:gd name="connsiteY148" fmla="*/ 4089 h 10000"/>
                <a:gd name="connsiteX149" fmla="*/ 1199 w 10000"/>
                <a:gd name="connsiteY149" fmla="*/ 4215 h 10000"/>
                <a:gd name="connsiteX150" fmla="*/ 1158 w 10000"/>
                <a:gd name="connsiteY150" fmla="*/ 4432 h 10000"/>
                <a:gd name="connsiteX151" fmla="*/ 808 w 10000"/>
                <a:gd name="connsiteY151" fmla="*/ 4754 h 10000"/>
                <a:gd name="connsiteX152" fmla="*/ 854 w 10000"/>
                <a:gd name="connsiteY152" fmla="*/ 5224 h 10000"/>
                <a:gd name="connsiteX153" fmla="*/ 560 w 10000"/>
                <a:gd name="connsiteY153" fmla="*/ 5822 h 10000"/>
                <a:gd name="connsiteX154" fmla="*/ 358 w 10000"/>
                <a:gd name="connsiteY154" fmla="*/ 5891 h 10000"/>
                <a:gd name="connsiteX155" fmla="*/ 275 w 10000"/>
                <a:gd name="connsiteY155" fmla="*/ 5749 h 10000"/>
                <a:gd name="connsiteX156" fmla="*/ 174 w 10000"/>
                <a:gd name="connsiteY156" fmla="*/ 5964 h 10000"/>
                <a:gd name="connsiteX157" fmla="*/ 239 w 10000"/>
                <a:gd name="connsiteY157" fmla="*/ 5592 h 10000"/>
                <a:gd name="connsiteX158" fmla="*/ 197 w 10000"/>
                <a:gd name="connsiteY158" fmla="*/ 5523 h 10000"/>
                <a:gd name="connsiteX0" fmla="*/ 197 w 10000"/>
                <a:gd name="connsiteY0" fmla="*/ 5523 h 10000"/>
                <a:gd name="connsiteX1" fmla="*/ 0 w 10000"/>
                <a:gd name="connsiteY1" fmla="*/ 5717 h 10000"/>
                <a:gd name="connsiteX2" fmla="*/ 0 w 10000"/>
                <a:gd name="connsiteY2" fmla="*/ 6668 h 10000"/>
                <a:gd name="connsiteX3" fmla="*/ 109 w 10000"/>
                <a:gd name="connsiteY3" fmla="*/ 6693 h 10000"/>
                <a:gd name="connsiteX4" fmla="*/ 134 w 10000"/>
                <a:gd name="connsiteY4" fmla="*/ 6769 h 10000"/>
                <a:gd name="connsiteX5" fmla="*/ 130 w 10000"/>
                <a:gd name="connsiteY5" fmla="*/ 6897 h 10000"/>
                <a:gd name="connsiteX6" fmla="*/ 89 w 10000"/>
                <a:gd name="connsiteY6" fmla="*/ 6953 h 10000"/>
                <a:gd name="connsiteX7" fmla="*/ 255 w 10000"/>
                <a:gd name="connsiteY7" fmla="*/ 6842 h 10000"/>
                <a:gd name="connsiteX8" fmla="*/ 325 w 10000"/>
                <a:gd name="connsiteY8" fmla="*/ 6737 h 10000"/>
                <a:gd name="connsiteX9" fmla="*/ 413 w 10000"/>
                <a:gd name="connsiteY9" fmla="*/ 6809 h 10000"/>
                <a:gd name="connsiteX10" fmla="*/ 316 w 10000"/>
                <a:gd name="connsiteY10" fmla="*/ 6965 h 10000"/>
                <a:gd name="connsiteX11" fmla="*/ 419 w 10000"/>
                <a:gd name="connsiteY11" fmla="*/ 6969 h 10000"/>
                <a:gd name="connsiteX12" fmla="*/ 469 w 10000"/>
                <a:gd name="connsiteY12" fmla="*/ 7008 h 10000"/>
                <a:gd name="connsiteX13" fmla="*/ 337 w 10000"/>
                <a:gd name="connsiteY13" fmla="*/ 7059 h 10000"/>
                <a:gd name="connsiteX14" fmla="*/ 130 w 10000"/>
                <a:gd name="connsiteY14" fmla="*/ 7220 h 10000"/>
                <a:gd name="connsiteX15" fmla="*/ 497 w 10000"/>
                <a:gd name="connsiteY15" fmla="*/ 7345 h 10000"/>
                <a:gd name="connsiteX16" fmla="*/ 545 w 10000"/>
                <a:gd name="connsiteY16" fmla="*/ 7522 h 10000"/>
                <a:gd name="connsiteX17" fmla="*/ 419 w 10000"/>
                <a:gd name="connsiteY17" fmla="*/ 7785 h 10000"/>
                <a:gd name="connsiteX18" fmla="*/ 688 w 10000"/>
                <a:gd name="connsiteY18" fmla="*/ 7770 h 10000"/>
                <a:gd name="connsiteX19" fmla="*/ 709 w 10000"/>
                <a:gd name="connsiteY19" fmla="*/ 7965 h 10000"/>
                <a:gd name="connsiteX20" fmla="*/ 530 w 10000"/>
                <a:gd name="connsiteY20" fmla="*/ 8105 h 10000"/>
                <a:gd name="connsiteX21" fmla="*/ 560 w 10000"/>
                <a:gd name="connsiteY21" fmla="*/ 8362 h 10000"/>
                <a:gd name="connsiteX22" fmla="*/ 489 w 10000"/>
                <a:gd name="connsiteY22" fmla="*/ 8568 h 10000"/>
                <a:gd name="connsiteX23" fmla="*/ 703 w 10000"/>
                <a:gd name="connsiteY23" fmla="*/ 8587 h 10000"/>
                <a:gd name="connsiteX24" fmla="*/ 909 w 10000"/>
                <a:gd name="connsiteY24" fmla="*/ 9367 h 10000"/>
                <a:gd name="connsiteX25" fmla="*/ 1616 w 10000"/>
                <a:gd name="connsiteY25" fmla="*/ 8985 h 10000"/>
                <a:gd name="connsiteX26" fmla="*/ 1990 w 10000"/>
                <a:gd name="connsiteY26" fmla="*/ 9254 h 10000"/>
                <a:gd name="connsiteX27" fmla="*/ 2443 w 10000"/>
                <a:gd name="connsiteY27" fmla="*/ 8769 h 10000"/>
                <a:gd name="connsiteX28" fmla="*/ 3106 w 10000"/>
                <a:gd name="connsiteY28" fmla="*/ 8909 h 10000"/>
                <a:gd name="connsiteX29" fmla="*/ 6419 w 10000"/>
                <a:gd name="connsiteY29" fmla="*/ 10000 h 10000"/>
                <a:gd name="connsiteX30" fmla="*/ 6586 w 10000"/>
                <a:gd name="connsiteY30" fmla="*/ 9169 h 10000"/>
                <a:gd name="connsiteX31" fmla="*/ 6855 w 10000"/>
                <a:gd name="connsiteY31" fmla="*/ 8801 h 10000"/>
                <a:gd name="connsiteX32" fmla="*/ 6855 w 10000"/>
                <a:gd name="connsiteY32" fmla="*/ 8603 h 10000"/>
                <a:gd name="connsiteX33" fmla="*/ 6757 w 10000"/>
                <a:gd name="connsiteY33" fmla="*/ 8497 h 10000"/>
                <a:gd name="connsiteX34" fmla="*/ 6915 w 10000"/>
                <a:gd name="connsiteY34" fmla="*/ 8318 h 10000"/>
                <a:gd name="connsiteX35" fmla="*/ 6887 w 10000"/>
                <a:gd name="connsiteY35" fmla="*/ 8175 h 10000"/>
                <a:gd name="connsiteX36" fmla="*/ 6779 w 10000"/>
                <a:gd name="connsiteY36" fmla="*/ 8053 h 10000"/>
                <a:gd name="connsiteX37" fmla="*/ 6757 w 10000"/>
                <a:gd name="connsiteY37" fmla="*/ 7956 h 10000"/>
                <a:gd name="connsiteX38" fmla="*/ 6785 w 10000"/>
                <a:gd name="connsiteY38" fmla="*/ 7886 h 10000"/>
                <a:gd name="connsiteX39" fmla="*/ 6931 w 10000"/>
                <a:gd name="connsiteY39" fmla="*/ 7942 h 10000"/>
                <a:gd name="connsiteX40" fmla="*/ 7045 w 10000"/>
                <a:gd name="connsiteY40" fmla="*/ 7939 h 10000"/>
                <a:gd name="connsiteX41" fmla="*/ 6983 w 10000"/>
                <a:gd name="connsiteY41" fmla="*/ 7822 h 10000"/>
                <a:gd name="connsiteX42" fmla="*/ 7003 w 10000"/>
                <a:gd name="connsiteY42" fmla="*/ 7752 h 10000"/>
                <a:gd name="connsiteX43" fmla="*/ 7089 w 10000"/>
                <a:gd name="connsiteY43" fmla="*/ 7653 h 10000"/>
                <a:gd name="connsiteX44" fmla="*/ 7074 w 10000"/>
                <a:gd name="connsiteY44" fmla="*/ 7570 h 10000"/>
                <a:gd name="connsiteX45" fmla="*/ 7152 w 10000"/>
                <a:gd name="connsiteY45" fmla="*/ 7295 h 10000"/>
                <a:gd name="connsiteX46" fmla="*/ 7130 w 10000"/>
                <a:gd name="connsiteY46" fmla="*/ 7209 h 10000"/>
                <a:gd name="connsiteX47" fmla="*/ 6729 w 10000"/>
                <a:gd name="connsiteY47" fmla="*/ 6997 h 10000"/>
                <a:gd name="connsiteX48" fmla="*/ 6785 w 10000"/>
                <a:gd name="connsiteY48" fmla="*/ 6989 h 10000"/>
                <a:gd name="connsiteX49" fmla="*/ 6998 w 10000"/>
                <a:gd name="connsiteY49" fmla="*/ 7043 h 10000"/>
                <a:gd name="connsiteX50" fmla="*/ 7230 w 10000"/>
                <a:gd name="connsiteY50" fmla="*/ 7023 h 10000"/>
                <a:gd name="connsiteX51" fmla="*/ 7295 w 10000"/>
                <a:gd name="connsiteY51" fmla="*/ 6949 h 10000"/>
                <a:gd name="connsiteX52" fmla="*/ 7074 w 10000"/>
                <a:gd name="connsiteY52" fmla="*/ 6806 h 10000"/>
                <a:gd name="connsiteX53" fmla="*/ 6414 w 10000"/>
                <a:gd name="connsiteY53" fmla="*/ 6711 h 10000"/>
                <a:gd name="connsiteX54" fmla="*/ 6458 w 10000"/>
                <a:gd name="connsiteY54" fmla="*/ 6668 h 10000"/>
                <a:gd name="connsiteX55" fmla="*/ 6998 w 10000"/>
                <a:gd name="connsiteY55" fmla="*/ 6638 h 10000"/>
                <a:gd name="connsiteX56" fmla="*/ 7295 w 10000"/>
                <a:gd name="connsiteY56" fmla="*/ 6724 h 10000"/>
                <a:gd name="connsiteX57" fmla="*/ 7466 w 10000"/>
                <a:gd name="connsiteY57" fmla="*/ 6668 h 10000"/>
                <a:gd name="connsiteX58" fmla="*/ 7529 w 10000"/>
                <a:gd name="connsiteY58" fmla="*/ 6520 h 10000"/>
                <a:gd name="connsiteX59" fmla="*/ 7840 w 10000"/>
                <a:gd name="connsiteY59" fmla="*/ 6520 h 10000"/>
                <a:gd name="connsiteX60" fmla="*/ 8261 w 10000"/>
                <a:gd name="connsiteY60" fmla="*/ 6219 h 10000"/>
                <a:gd name="connsiteX61" fmla="*/ 8275 w 10000"/>
                <a:gd name="connsiteY61" fmla="*/ 6019 h 10000"/>
                <a:gd name="connsiteX62" fmla="*/ 8453 w 10000"/>
                <a:gd name="connsiteY62" fmla="*/ 6064 h 10000"/>
                <a:gd name="connsiteX63" fmla="*/ 8446 w 10000"/>
                <a:gd name="connsiteY63" fmla="*/ 6266 h 10000"/>
                <a:gd name="connsiteX64" fmla="*/ 8727 w 10000"/>
                <a:gd name="connsiteY64" fmla="*/ 6251 h 10000"/>
                <a:gd name="connsiteX65" fmla="*/ 8913 w 10000"/>
                <a:gd name="connsiteY65" fmla="*/ 6043 h 10000"/>
                <a:gd name="connsiteX66" fmla="*/ 9258 w 10000"/>
                <a:gd name="connsiteY66" fmla="*/ 5856 h 10000"/>
                <a:gd name="connsiteX67" fmla="*/ 9203 w 10000"/>
                <a:gd name="connsiteY67" fmla="*/ 5644 h 10000"/>
                <a:gd name="connsiteX68" fmla="*/ 9306 w 10000"/>
                <a:gd name="connsiteY68" fmla="*/ 5730 h 10000"/>
                <a:gd name="connsiteX69" fmla="*/ 9464 w 10000"/>
                <a:gd name="connsiteY69" fmla="*/ 5730 h 10000"/>
                <a:gd name="connsiteX70" fmla="*/ 9464 w 10000"/>
                <a:gd name="connsiteY70" fmla="*/ 5630 h 10000"/>
                <a:gd name="connsiteX71" fmla="*/ 9611 w 10000"/>
                <a:gd name="connsiteY71" fmla="*/ 5558 h 10000"/>
                <a:gd name="connsiteX72" fmla="*/ 9592 w 10000"/>
                <a:gd name="connsiteY72" fmla="*/ 5481 h 10000"/>
                <a:gd name="connsiteX73" fmla="*/ 8350 w 10000"/>
                <a:gd name="connsiteY73" fmla="*/ 5632 h 10000"/>
                <a:gd name="connsiteX74" fmla="*/ 8058 w 10000"/>
                <a:gd name="connsiteY74" fmla="*/ 5590 h 10000"/>
                <a:gd name="connsiteX75" fmla="*/ 7942 w 10000"/>
                <a:gd name="connsiteY75" fmla="*/ 5644 h 10000"/>
                <a:gd name="connsiteX76" fmla="*/ 7903 w 10000"/>
                <a:gd name="connsiteY76" fmla="*/ 5537 h 10000"/>
                <a:gd name="connsiteX77" fmla="*/ 7765 w 10000"/>
                <a:gd name="connsiteY77" fmla="*/ 5443 h 10000"/>
                <a:gd name="connsiteX78" fmla="*/ 7213 w 10000"/>
                <a:gd name="connsiteY78" fmla="*/ 5249 h 10000"/>
                <a:gd name="connsiteX79" fmla="*/ 6887 w 10000"/>
                <a:gd name="connsiteY79" fmla="*/ 5282 h 10000"/>
                <a:gd name="connsiteX80" fmla="*/ 6757 w 10000"/>
                <a:gd name="connsiteY80" fmla="*/ 5227 h 10000"/>
                <a:gd name="connsiteX81" fmla="*/ 6894 w 10000"/>
                <a:gd name="connsiteY81" fmla="*/ 5180 h 10000"/>
                <a:gd name="connsiteX82" fmla="*/ 6998 w 10000"/>
                <a:gd name="connsiteY82" fmla="*/ 5078 h 10000"/>
                <a:gd name="connsiteX83" fmla="*/ 7152 w 10000"/>
                <a:gd name="connsiteY83" fmla="*/ 5110 h 10000"/>
                <a:gd name="connsiteX84" fmla="*/ 7335 w 10000"/>
                <a:gd name="connsiteY84" fmla="*/ 5085 h 10000"/>
                <a:gd name="connsiteX85" fmla="*/ 7611 w 10000"/>
                <a:gd name="connsiteY85" fmla="*/ 5118 h 10000"/>
                <a:gd name="connsiteX86" fmla="*/ 7645 w 10000"/>
                <a:gd name="connsiteY86" fmla="*/ 5104 h 10000"/>
                <a:gd name="connsiteX87" fmla="*/ 7859 w 10000"/>
                <a:gd name="connsiteY87" fmla="*/ 5259 h 10000"/>
                <a:gd name="connsiteX88" fmla="*/ 8017 w 10000"/>
                <a:gd name="connsiteY88" fmla="*/ 5201 h 10000"/>
                <a:gd name="connsiteX89" fmla="*/ 8032 w 10000"/>
                <a:gd name="connsiteY89" fmla="*/ 5148 h 10000"/>
                <a:gd name="connsiteX90" fmla="*/ 8176 w 10000"/>
                <a:gd name="connsiteY90" fmla="*/ 5241 h 10000"/>
                <a:gd name="connsiteX91" fmla="*/ 8369 w 10000"/>
                <a:gd name="connsiteY91" fmla="*/ 5291 h 10000"/>
                <a:gd name="connsiteX92" fmla="*/ 8446 w 10000"/>
                <a:gd name="connsiteY92" fmla="*/ 5199 h 10000"/>
                <a:gd name="connsiteX93" fmla="*/ 8507 w 10000"/>
                <a:gd name="connsiteY93" fmla="*/ 5249 h 10000"/>
                <a:gd name="connsiteX94" fmla="*/ 8596 w 10000"/>
                <a:gd name="connsiteY94" fmla="*/ 5430 h 10000"/>
                <a:gd name="connsiteX95" fmla="*/ 8782 w 10000"/>
                <a:gd name="connsiteY95" fmla="*/ 5470 h 10000"/>
                <a:gd name="connsiteX96" fmla="*/ 9542 w 10000"/>
                <a:gd name="connsiteY96" fmla="*/ 5208 h 10000"/>
                <a:gd name="connsiteX97" fmla="*/ 9914 w 10000"/>
                <a:gd name="connsiteY97" fmla="*/ 4838 h 10000"/>
                <a:gd name="connsiteX98" fmla="*/ 10000 w 10000"/>
                <a:gd name="connsiteY98" fmla="*/ 4574 h 10000"/>
                <a:gd name="connsiteX99" fmla="*/ 9866 w 10000"/>
                <a:gd name="connsiteY99" fmla="*/ 4330 h 10000"/>
                <a:gd name="connsiteX100" fmla="*/ 9582 w 10000"/>
                <a:gd name="connsiteY100" fmla="*/ 4188 h 10000"/>
                <a:gd name="connsiteX101" fmla="*/ 9382 w 10000"/>
                <a:gd name="connsiteY101" fmla="*/ 3948 h 10000"/>
                <a:gd name="connsiteX102" fmla="*/ 9569 w 10000"/>
                <a:gd name="connsiteY102" fmla="*/ 3941 h 10000"/>
                <a:gd name="connsiteX103" fmla="*/ 9555 w 10000"/>
                <a:gd name="connsiteY103" fmla="*/ 3886 h 10000"/>
                <a:gd name="connsiteX104" fmla="*/ 9068 w 10000"/>
                <a:gd name="connsiteY104" fmla="*/ 3720 h 10000"/>
                <a:gd name="connsiteX105" fmla="*/ 9047 w 10000"/>
                <a:gd name="connsiteY105" fmla="*/ 3566 h 10000"/>
                <a:gd name="connsiteX106" fmla="*/ 8953 w 10000"/>
                <a:gd name="connsiteY106" fmla="*/ 3406 h 10000"/>
                <a:gd name="connsiteX107" fmla="*/ 8569 w 10000"/>
                <a:gd name="connsiteY107" fmla="*/ 3436 h 10000"/>
                <a:gd name="connsiteX108" fmla="*/ 8431 w 10000"/>
                <a:gd name="connsiteY108" fmla="*/ 3265 h 10000"/>
                <a:gd name="connsiteX109" fmla="*/ 8350 w 10000"/>
                <a:gd name="connsiteY109" fmla="*/ 3254 h 10000"/>
                <a:gd name="connsiteX110" fmla="*/ 8350 w 10000"/>
                <a:gd name="connsiteY110" fmla="*/ 3331 h 10000"/>
                <a:gd name="connsiteX111" fmla="*/ 8176 w 10000"/>
                <a:gd name="connsiteY111" fmla="*/ 3613 h 10000"/>
                <a:gd name="connsiteX112" fmla="*/ 7990 w 10000"/>
                <a:gd name="connsiteY112" fmla="*/ 3783 h 10000"/>
                <a:gd name="connsiteX113" fmla="*/ 7401 w 10000"/>
                <a:gd name="connsiteY113" fmla="*/ 4066 h 10000"/>
                <a:gd name="connsiteX114" fmla="*/ 7198 w 10000"/>
                <a:gd name="connsiteY114" fmla="*/ 4058 h 10000"/>
                <a:gd name="connsiteX115" fmla="*/ 6915 w 10000"/>
                <a:gd name="connsiteY115" fmla="*/ 4101 h 10000"/>
                <a:gd name="connsiteX116" fmla="*/ 6757 w 10000"/>
                <a:gd name="connsiteY116" fmla="*/ 4058 h 10000"/>
                <a:gd name="connsiteX117" fmla="*/ 6965 w 10000"/>
                <a:gd name="connsiteY117" fmla="*/ 3976 h 10000"/>
                <a:gd name="connsiteX118" fmla="*/ 7235 w 10000"/>
                <a:gd name="connsiteY118" fmla="*/ 3941 h 10000"/>
                <a:gd name="connsiteX119" fmla="*/ 7455 w 10000"/>
                <a:gd name="connsiteY119" fmla="*/ 3809 h 10000"/>
                <a:gd name="connsiteX120" fmla="*/ 7674 w 10000"/>
                <a:gd name="connsiteY120" fmla="*/ 3746 h 10000"/>
                <a:gd name="connsiteX121" fmla="*/ 8082 w 10000"/>
                <a:gd name="connsiteY121" fmla="*/ 3512 h 10000"/>
                <a:gd name="connsiteX122" fmla="*/ 8157 w 10000"/>
                <a:gd name="connsiteY122" fmla="*/ 3359 h 10000"/>
                <a:gd name="connsiteX123" fmla="*/ 8165 w 10000"/>
                <a:gd name="connsiteY123" fmla="*/ 3163 h 10000"/>
                <a:gd name="connsiteX124" fmla="*/ 7978 w 10000"/>
                <a:gd name="connsiteY124" fmla="*/ 3129 h 10000"/>
                <a:gd name="connsiteX125" fmla="*/ 8058 w 10000"/>
                <a:gd name="connsiteY125" fmla="*/ 3009 h 10000"/>
                <a:gd name="connsiteX126" fmla="*/ 8087 w 10000"/>
                <a:gd name="connsiteY126" fmla="*/ 2856 h 10000"/>
                <a:gd name="connsiteX127" fmla="*/ 8007 w 10000"/>
                <a:gd name="connsiteY127" fmla="*/ 2714 h 10000"/>
                <a:gd name="connsiteX128" fmla="*/ 7450 w 10000"/>
                <a:gd name="connsiteY128" fmla="*/ 2910 h 10000"/>
                <a:gd name="connsiteX129" fmla="*/ 6694 w 10000"/>
                <a:gd name="connsiteY129" fmla="*/ 2823 h 10000"/>
                <a:gd name="connsiteX130" fmla="*/ 6304 w 10000"/>
                <a:gd name="connsiteY130" fmla="*/ 2276 h 10000"/>
                <a:gd name="connsiteX131" fmla="*/ 5294 w 10000"/>
                <a:gd name="connsiteY131" fmla="*/ 2173 h 10000"/>
                <a:gd name="connsiteX132" fmla="*/ 4505 w 10000"/>
                <a:gd name="connsiteY132" fmla="*/ 1721 h 10000"/>
                <a:gd name="connsiteX133" fmla="*/ 3730 w 10000"/>
                <a:gd name="connsiteY133" fmla="*/ 1176 h 10000"/>
                <a:gd name="connsiteX134" fmla="*/ 3154 w 10000"/>
                <a:gd name="connsiteY134" fmla="*/ 173 h 10000"/>
                <a:gd name="connsiteX135" fmla="*/ 2375 w 10000"/>
                <a:gd name="connsiteY135" fmla="*/ 0 h 10000"/>
                <a:gd name="connsiteX136" fmla="*/ 2226 w 10000"/>
                <a:gd name="connsiteY136" fmla="*/ 941 h 10000"/>
                <a:gd name="connsiteX137" fmla="*/ 2375 w 10000"/>
                <a:gd name="connsiteY137" fmla="*/ 1181 h 10000"/>
                <a:gd name="connsiteX138" fmla="*/ 2791 w 10000"/>
                <a:gd name="connsiteY138" fmla="*/ 1446 h 10000"/>
                <a:gd name="connsiteX139" fmla="*/ 2808 w 10000"/>
                <a:gd name="connsiteY139" fmla="*/ 1767 h 10000"/>
                <a:gd name="connsiteX140" fmla="*/ 2632 w 10000"/>
                <a:gd name="connsiteY140" fmla="*/ 2035 h 10000"/>
                <a:gd name="connsiteX141" fmla="*/ 2375 w 10000"/>
                <a:gd name="connsiteY141" fmla="*/ 2196 h 10000"/>
                <a:gd name="connsiteX142" fmla="*/ 2039 w 10000"/>
                <a:gd name="connsiteY142" fmla="*/ 2260 h 10000"/>
                <a:gd name="connsiteX143" fmla="*/ 1950 w 10000"/>
                <a:gd name="connsiteY143" fmla="*/ 2357 h 10000"/>
                <a:gd name="connsiteX144" fmla="*/ 2148 w 10000"/>
                <a:gd name="connsiteY144" fmla="*/ 2577 h 10000"/>
                <a:gd name="connsiteX145" fmla="*/ 2261 w 10000"/>
                <a:gd name="connsiteY145" fmla="*/ 3104 h 10000"/>
                <a:gd name="connsiteX146" fmla="*/ 2005 w 10000"/>
                <a:gd name="connsiteY146" fmla="*/ 3555 h 10000"/>
                <a:gd name="connsiteX147" fmla="*/ 2094 w 10000"/>
                <a:gd name="connsiteY147" fmla="*/ 3692 h 10000"/>
                <a:gd name="connsiteX148" fmla="*/ 2012 w 10000"/>
                <a:gd name="connsiteY148" fmla="*/ 3926 h 10000"/>
                <a:gd name="connsiteX149" fmla="*/ 1850 w 10000"/>
                <a:gd name="connsiteY149" fmla="*/ 4089 h 10000"/>
                <a:gd name="connsiteX150" fmla="*/ 1199 w 10000"/>
                <a:gd name="connsiteY150" fmla="*/ 4215 h 10000"/>
                <a:gd name="connsiteX151" fmla="*/ 1158 w 10000"/>
                <a:gd name="connsiteY151" fmla="*/ 4432 h 10000"/>
                <a:gd name="connsiteX152" fmla="*/ 808 w 10000"/>
                <a:gd name="connsiteY152" fmla="*/ 4754 h 10000"/>
                <a:gd name="connsiteX153" fmla="*/ 854 w 10000"/>
                <a:gd name="connsiteY153" fmla="*/ 5224 h 10000"/>
                <a:gd name="connsiteX154" fmla="*/ 560 w 10000"/>
                <a:gd name="connsiteY154" fmla="*/ 5822 h 10000"/>
                <a:gd name="connsiteX155" fmla="*/ 358 w 10000"/>
                <a:gd name="connsiteY155" fmla="*/ 5891 h 10000"/>
                <a:gd name="connsiteX156" fmla="*/ 275 w 10000"/>
                <a:gd name="connsiteY156" fmla="*/ 5749 h 10000"/>
                <a:gd name="connsiteX157" fmla="*/ 174 w 10000"/>
                <a:gd name="connsiteY157" fmla="*/ 5964 h 10000"/>
                <a:gd name="connsiteX158" fmla="*/ 239 w 10000"/>
                <a:gd name="connsiteY158" fmla="*/ 5592 h 10000"/>
                <a:gd name="connsiteX159" fmla="*/ 197 w 10000"/>
                <a:gd name="connsiteY159" fmla="*/ 5523 h 10000"/>
                <a:gd name="connsiteX0" fmla="*/ 197 w 10000"/>
                <a:gd name="connsiteY0" fmla="*/ 5523 h 10000"/>
                <a:gd name="connsiteX1" fmla="*/ 0 w 10000"/>
                <a:gd name="connsiteY1" fmla="*/ 5717 h 10000"/>
                <a:gd name="connsiteX2" fmla="*/ 0 w 10000"/>
                <a:gd name="connsiteY2" fmla="*/ 6668 h 10000"/>
                <a:gd name="connsiteX3" fmla="*/ 109 w 10000"/>
                <a:gd name="connsiteY3" fmla="*/ 6693 h 10000"/>
                <a:gd name="connsiteX4" fmla="*/ 134 w 10000"/>
                <a:gd name="connsiteY4" fmla="*/ 6769 h 10000"/>
                <a:gd name="connsiteX5" fmla="*/ 130 w 10000"/>
                <a:gd name="connsiteY5" fmla="*/ 6897 h 10000"/>
                <a:gd name="connsiteX6" fmla="*/ 89 w 10000"/>
                <a:gd name="connsiteY6" fmla="*/ 6953 h 10000"/>
                <a:gd name="connsiteX7" fmla="*/ 255 w 10000"/>
                <a:gd name="connsiteY7" fmla="*/ 6842 h 10000"/>
                <a:gd name="connsiteX8" fmla="*/ 325 w 10000"/>
                <a:gd name="connsiteY8" fmla="*/ 6737 h 10000"/>
                <a:gd name="connsiteX9" fmla="*/ 413 w 10000"/>
                <a:gd name="connsiteY9" fmla="*/ 6809 h 10000"/>
                <a:gd name="connsiteX10" fmla="*/ 316 w 10000"/>
                <a:gd name="connsiteY10" fmla="*/ 6965 h 10000"/>
                <a:gd name="connsiteX11" fmla="*/ 419 w 10000"/>
                <a:gd name="connsiteY11" fmla="*/ 6969 h 10000"/>
                <a:gd name="connsiteX12" fmla="*/ 469 w 10000"/>
                <a:gd name="connsiteY12" fmla="*/ 7008 h 10000"/>
                <a:gd name="connsiteX13" fmla="*/ 337 w 10000"/>
                <a:gd name="connsiteY13" fmla="*/ 7059 h 10000"/>
                <a:gd name="connsiteX14" fmla="*/ 130 w 10000"/>
                <a:gd name="connsiteY14" fmla="*/ 7220 h 10000"/>
                <a:gd name="connsiteX15" fmla="*/ 497 w 10000"/>
                <a:gd name="connsiteY15" fmla="*/ 7345 h 10000"/>
                <a:gd name="connsiteX16" fmla="*/ 545 w 10000"/>
                <a:gd name="connsiteY16" fmla="*/ 7522 h 10000"/>
                <a:gd name="connsiteX17" fmla="*/ 419 w 10000"/>
                <a:gd name="connsiteY17" fmla="*/ 7785 h 10000"/>
                <a:gd name="connsiteX18" fmla="*/ 688 w 10000"/>
                <a:gd name="connsiteY18" fmla="*/ 7770 h 10000"/>
                <a:gd name="connsiteX19" fmla="*/ 709 w 10000"/>
                <a:gd name="connsiteY19" fmla="*/ 7965 h 10000"/>
                <a:gd name="connsiteX20" fmla="*/ 530 w 10000"/>
                <a:gd name="connsiteY20" fmla="*/ 8105 h 10000"/>
                <a:gd name="connsiteX21" fmla="*/ 560 w 10000"/>
                <a:gd name="connsiteY21" fmla="*/ 8362 h 10000"/>
                <a:gd name="connsiteX22" fmla="*/ 489 w 10000"/>
                <a:gd name="connsiteY22" fmla="*/ 8568 h 10000"/>
                <a:gd name="connsiteX23" fmla="*/ 703 w 10000"/>
                <a:gd name="connsiteY23" fmla="*/ 8587 h 10000"/>
                <a:gd name="connsiteX24" fmla="*/ 909 w 10000"/>
                <a:gd name="connsiteY24" fmla="*/ 9367 h 10000"/>
                <a:gd name="connsiteX25" fmla="*/ 1616 w 10000"/>
                <a:gd name="connsiteY25" fmla="*/ 8985 h 10000"/>
                <a:gd name="connsiteX26" fmla="*/ 1990 w 10000"/>
                <a:gd name="connsiteY26" fmla="*/ 9254 h 10000"/>
                <a:gd name="connsiteX27" fmla="*/ 2443 w 10000"/>
                <a:gd name="connsiteY27" fmla="*/ 8769 h 10000"/>
                <a:gd name="connsiteX28" fmla="*/ 4144 w 10000"/>
                <a:gd name="connsiteY28" fmla="*/ 9411 h 10000"/>
                <a:gd name="connsiteX29" fmla="*/ 6419 w 10000"/>
                <a:gd name="connsiteY29" fmla="*/ 10000 h 10000"/>
                <a:gd name="connsiteX30" fmla="*/ 6586 w 10000"/>
                <a:gd name="connsiteY30" fmla="*/ 9169 h 10000"/>
                <a:gd name="connsiteX31" fmla="*/ 6855 w 10000"/>
                <a:gd name="connsiteY31" fmla="*/ 8801 h 10000"/>
                <a:gd name="connsiteX32" fmla="*/ 6855 w 10000"/>
                <a:gd name="connsiteY32" fmla="*/ 8603 h 10000"/>
                <a:gd name="connsiteX33" fmla="*/ 6757 w 10000"/>
                <a:gd name="connsiteY33" fmla="*/ 8497 h 10000"/>
                <a:gd name="connsiteX34" fmla="*/ 6915 w 10000"/>
                <a:gd name="connsiteY34" fmla="*/ 8318 h 10000"/>
                <a:gd name="connsiteX35" fmla="*/ 6887 w 10000"/>
                <a:gd name="connsiteY35" fmla="*/ 8175 h 10000"/>
                <a:gd name="connsiteX36" fmla="*/ 6779 w 10000"/>
                <a:gd name="connsiteY36" fmla="*/ 8053 h 10000"/>
                <a:gd name="connsiteX37" fmla="*/ 6757 w 10000"/>
                <a:gd name="connsiteY37" fmla="*/ 7956 h 10000"/>
                <a:gd name="connsiteX38" fmla="*/ 6785 w 10000"/>
                <a:gd name="connsiteY38" fmla="*/ 7886 h 10000"/>
                <a:gd name="connsiteX39" fmla="*/ 6931 w 10000"/>
                <a:gd name="connsiteY39" fmla="*/ 7942 h 10000"/>
                <a:gd name="connsiteX40" fmla="*/ 7045 w 10000"/>
                <a:gd name="connsiteY40" fmla="*/ 7939 h 10000"/>
                <a:gd name="connsiteX41" fmla="*/ 6983 w 10000"/>
                <a:gd name="connsiteY41" fmla="*/ 7822 h 10000"/>
                <a:gd name="connsiteX42" fmla="*/ 7003 w 10000"/>
                <a:gd name="connsiteY42" fmla="*/ 7752 h 10000"/>
                <a:gd name="connsiteX43" fmla="*/ 7089 w 10000"/>
                <a:gd name="connsiteY43" fmla="*/ 7653 h 10000"/>
                <a:gd name="connsiteX44" fmla="*/ 7074 w 10000"/>
                <a:gd name="connsiteY44" fmla="*/ 7570 h 10000"/>
                <a:gd name="connsiteX45" fmla="*/ 7152 w 10000"/>
                <a:gd name="connsiteY45" fmla="*/ 7295 h 10000"/>
                <a:gd name="connsiteX46" fmla="*/ 7130 w 10000"/>
                <a:gd name="connsiteY46" fmla="*/ 7209 h 10000"/>
                <a:gd name="connsiteX47" fmla="*/ 6729 w 10000"/>
                <a:gd name="connsiteY47" fmla="*/ 6997 h 10000"/>
                <a:gd name="connsiteX48" fmla="*/ 6785 w 10000"/>
                <a:gd name="connsiteY48" fmla="*/ 6989 h 10000"/>
                <a:gd name="connsiteX49" fmla="*/ 6998 w 10000"/>
                <a:gd name="connsiteY49" fmla="*/ 7043 h 10000"/>
                <a:gd name="connsiteX50" fmla="*/ 7230 w 10000"/>
                <a:gd name="connsiteY50" fmla="*/ 7023 h 10000"/>
                <a:gd name="connsiteX51" fmla="*/ 7295 w 10000"/>
                <a:gd name="connsiteY51" fmla="*/ 6949 h 10000"/>
                <a:gd name="connsiteX52" fmla="*/ 7074 w 10000"/>
                <a:gd name="connsiteY52" fmla="*/ 6806 h 10000"/>
                <a:gd name="connsiteX53" fmla="*/ 6414 w 10000"/>
                <a:gd name="connsiteY53" fmla="*/ 6711 h 10000"/>
                <a:gd name="connsiteX54" fmla="*/ 6458 w 10000"/>
                <a:gd name="connsiteY54" fmla="*/ 6668 h 10000"/>
                <a:gd name="connsiteX55" fmla="*/ 6998 w 10000"/>
                <a:gd name="connsiteY55" fmla="*/ 6638 h 10000"/>
                <a:gd name="connsiteX56" fmla="*/ 7295 w 10000"/>
                <a:gd name="connsiteY56" fmla="*/ 6724 h 10000"/>
                <a:gd name="connsiteX57" fmla="*/ 7466 w 10000"/>
                <a:gd name="connsiteY57" fmla="*/ 6668 h 10000"/>
                <a:gd name="connsiteX58" fmla="*/ 7529 w 10000"/>
                <a:gd name="connsiteY58" fmla="*/ 6520 h 10000"/>
                <a:gd name="connsiteX59" fmla="*/ 7840 w 10000"/>
                <a:gd name="connsiteY59" fmla="*/ 6520 h 10000"/>
                <a:gd name="connsiteX60" fmla="*/ 8261 w 10000"/>
                <a:gd name="connsiteY60" fmla="*/ 6219 h 10000"/>
                <a:gd name="connsiteX61" fmla="*/ 8275 w 10000"/>
                <a:gd name="connsiteY61" fmla="*/ 6019 h 10000"/>
                <a:gd name="connsiteX62" fmla="*/ 8453 w 10000"/>
                <a:gd name="connsiteY62" fmla="*/ 6064 h 10000"/>
                <a:gd name="connsiteX63" fmla="*/ 8446 w 10000"/>
                <a:gd name="connsiteY63" fmla="*/ 6266 h 10000"/>
                <a:gd name="connsiteX64" fmla="*/ 8727 w 10000"/>
                <a:gd name="connsiteY64" fmla="*/ 6251 h 10000"/>
                <a:gd name="connsiteX65" fmla="*/ 8913 w 10000"/>
                <a:gd name="connsiteY65" fmla="*/ 6043 h 10000"/>
                <a:gd name="connsiteX66" fmla="*/ 9258 w 10000"/>
                <a:gd name="connsiteY66" fmla="*/ 5856 h 10000"/>
                <a:gd name="connsiteX67" fmla="*/ 9203 w 10000"/>
                <a:gd name="connsiteY67" fmla="*/ 5644 h 10000"/>
                <a:gd name="connsiteX68" fmla="*/ 9306 w 10000"/>
                <a:gd name="connsiteY68" fmla="*/ 5730 h 10000"/>
                <a:gd name="connsiteX69" fmla="*/ 9464 w 10000"/>
                <a:gd name="connsiteY69" fmla="*/ 5730 h 10000"/>
                <a:gd name="connsiteX70" fmla="*/ 9464 w 10000"/>
                <a:gd name="connsiteY70" fmla="*/ 5630 h 10000"/>
                <a:gd name="connsiteX71" fmla="*/ 9611 w 10000"/>
                <a:gd name="connsiteY71" fmla="*/ 5558 h 10000"/>
                <a:gd name="connsiteX72" fmla="*/ 9592 w 10000"/>
                <a:gd name="connsiteY72" fmla="*/ 5481 h 10000"/>
                <a:gd name="connsiteX73" fmla="*/ 8350 w 10000"/>
                <a:gd name="connsiteY73" fmla="*/ 5632 h 10000"/>
                <a:gd name="connsiteX74" fmla="*/ 8058 w 10000"/>
                <a:gd name="connsiteY74" fmla="*/ 5590 h 10000"/>
                <a:gd name="connsiteX75" fmla="*/ 7942 w 10000"/>
                <a:gd name="connsiteY75" fmla="*/ 5644 h 10000"/>
                <a:gd name="connsiteX76" fmla="*/ 7903 w 10000"/>
                <a:gd name="connsiteY76" fmla="*/ 5537 h 10000"/>
                <a:gd name="connsiteX77" fmla="*/ 7765 w 10000"/>
                <a:gd name="connsiteY77" fmla="*/ 5443 h 10000"/>
                <a:gd name="connsiteX78" fmla="*/ 7213 w 10000"/>
                <a:gd name="connsiteY78" fmla="*/ 5249 h 10000"/>
                <a:gd name="connsiteX79" fmla="*/ 6887 w 10000"/>
                <a:gd name="connsiteY79" fmla="*/ 5282 h 10000"/>
                <a:gd name="connsiteX80" fmla="*/ 6757 w 10000"/>
                <a:gd name="connsiteY80" fmla="*/ 5227 h 10000"/>
                <a:gd name="connsiteX81" fmla="*/ 6894 w 10000"/>
                <a:gd name="connsiteY81" fmla="*/ 5180 h 10000"/>
                <a:gd name="connsiteX82" fmla="*/ 6998 w 10000"/>
                <a:gd name="connsiteY82" fmla="*/ 5078 h 10000"/>
                <a:gd name="connsiteX83" fmla="*/ 7152 w 10000"/>
                <a:gd name="connsiteY83" fmla="*/ 5110 h 10000"/>
                <a:gd name="connsiteX84" fmla="*/ 7335 w 10000"/>
                <a:gd name="connsiteY84" fmla="*/ 5085 h 10000"/>
                <a:gd name="connsiteX85" fmla="*/ 7611 w 10000"/>
                <a:gd name="connsiteY85" fmla="*/ 5118 h 10000"/>
                <a:gd name="connsiteX86" fmla="*/ 7645 w 10000"/>
                <a:gd name="connsiteY86" fmla="*/ 5104 h 10000"/>
                <a:gd name="connsiteX87" fmla="*/ 7859 w 10000"/>
                <a:gd name="connsiteY87" fmla="*/ 5259 h 10000"/>
                <a:gd name="connsiteX88" fmla="*/ 8017 w 10000"/>
                <a:gd name="connsiteY88" fmla="*/ 5201 h 10000"/>
                <a:gd name="connsiteX89" fmla="*/ 8032 w 10000"/>
                <a:gd name="connsiteY89" fmla="*/ 5148 h 10000"/>
                <a:gd name="connsiteX90" fmla="*/ 8176 w 10000"/>
                <a:gd name="connsiteY90" fmla="*/ 5241 h 10000"/>
                <a:gd name="connsiteX91" fmla="*/ 8369 w 10000"/>
                <a:gd name="connsiteY91" fmla="*/ 5291 h 10000"/>
                <a:gd name="connsiteX92" fmla="*/ 8446 w 10000"/>
                <a:gd name="connsiteY92" fmla="*/ 5199 h 10000"/>
                <a:gd name="connsiteX93" fmla="*/ 8507 w 10000"/>
                <a:gd name="connsiteY93" fmla="*/ 5249 h 10000"/>
                <a:gd name="connsiteX94" fmla="*/ 8596 w 10000"/>
                <a:gd name="connsiteY94" fmla="*/ 5430 h 10000"/>
                <a:gd name="connsiteX95" fmla="*/ 8782 w 10000"/>
                <a:gd name="connsiteY95" fmla="*/ 5470 h 10000"/>
                <a:gd name="connsiteX96" fmla="*/ 9542 w 10000"/>
                <a:gd name="connsiteY96" fmla="*/ 5208 h 10000"/>
                <a:gd name="connsiteX97" fmla="*/ 9914 w 10000"/>
                <a:gd name="connsiteY97" fmla="*/ 4838 h 10000"/>
                <a:gd name="connsiteX98" fmla="*/ 10000 w 10000"/>
                <a:gd name="connsiteY98" fmla="*/ 4574 h 10000"/>
                <a:gd name="connsiteX99" fmla="*/ 9866 w 10000"/>
                <a:gd name="connsiteY99" fmla="*/ 4330 h 10000"/>
                <a:gd name="connsiteX100" fmla="*/ 9582 w 10000"/>
                <a:gd name="connsiteY100" fmla="*/ 4188 h 10000"/>
                <a:gd name="connsiteX101" fmla="*/ 9382 w 10000"/>
                <a:gd name="connsiteY101" fmla="*/ 3948 h 10000"/>
                <a:gd name="connsiteX102" fmla="*/ 9569 w 10000"/>
                <a:gd name="connsiteY102" fmla="*/ 3941 h 10000"/>
                <a:gd name="connsiteX103" fmla="*/ 9555 w 10000"/>
                <a:gd name="connsiteY103" fmla="*/ 3886 h 10000"/>
                <a:gd name="connsiteX104" fmla="*/ 9068 w 10000"/>
                <a:gd name="connsiteY104" fmla="*/ 3720 h 10000"/>
                <a:gd name="connsiteX105" fmla="*/ 9047 w 10000"/>
                <a:gd name="connsiteY105" fmla="*/ 3566 h 10000"/>
                <a:gd name="connsiteX106" fmla="*/ 8953 w 10000"/>
                <a:gd name="connsiteY106" fmla="*/ 3406 h 10000"/>
                <a:gd name="connsiteX107" fmla="*/ 8569 w 10000"/>
                <a:gd name="connsiteY107" fmla="*/ 3436 h 10000"/>
                <a:gd name="connsiteX108" fmla="*/ 8431 w 10000"/>
                <a:gd name="connsiteY108" fmla="*/ 3265 h 10000"/>
                <a:gd name="connsiteX109" fmla="*/ 8350 w 10000"/>
                <a:gd name="connsiteY109" fmla="*/ 3254 h 10000"/>
                <a:gd name="connsiteX110" fmla="*/ 8350 w 10000"/>
                <a:gd name="connsiteY110" fmla="*/ 3331 h 10000"/>
                <a:gd name="connsiteX111" fmla="*/ 8176 w 10000"/>
                <a:gd name="connsiteY111" fmla="*/ 3613 h 10000"/>
                <a:gd name="connsiteX112" fmla="*/ 7990 w 10000"/>
                <a:gd name="connsiteY112" fmla="*/ 3783 h 10000"/>
                <a:gd name="connsiteX113" fmla="*/ 7401 w 10000"/>
                <a:gd name="connsiteY113" fmla="*/ 4066 h 10000"/>
                <a:gd name="connsiteX114" fmla="*/ 7198 w 10000"/>
                <a:gd name="connsiteY114" fmla="*/ 4058 h 10000"/>
                <a:gd name="connsiteX115" fmla="*/ 6915 w 10000"/>
                <a:gd name="connsiteY115" fmla="*/ 4101 h 10000"/>
                <a:gd name="connsiteX116" fmla="*/ 6757 w 10000"/>
                <a:gd name="connsiteY116" fmla="*/ 4058 h 10000"/>
                <a:gd name="connsiteX117" fmla="*/ 6965 w 10000"/>
                <a:gd name="connsiteY117" fmla="*/ 3976 h 10000"/>
                <a:gd name="connsiteX118" fmla="*/ 7235 w 10000"/>
                <a:gd name="connsiteY118" fmla="*/ 3941 h 10000"/>
                <a:gd name="connsiteX119" fmla="*/ 7455 w 10000"/>
                <a:gd name="connsiteY119" fmla="*/ 3809 h 10000"/>
                <a:gd name="connsiteX120" fmla="*/ 7674 w 10000"/>
                <a:gd name="connsiteY120" fmla="*/ 3746 h 10000"/>
                <a:gd name="connsiteX121" fmla="*/ 8082 w 10000"/>
                <a:gd name="connsiteY121" fmla="*/ 3512 h 10000"/>
                <a:gd name="connsiteX122" fmla="*/ 8157 w 10000"/>
                <a:gd name="connsiteY122" fmla="*/ 3359 h 10000"/>
                <a:gd name="connsiteX123" fmla="*/ 8165 w 10000"/>
                <a:gd name="connsiteY123" fmla="*/ 3163 h 10000"/>
                <a:gd name="connsiteX124" fmla="*/ 7978 w 10000"/>
                <a:gd name="connsiteY124" fmla="*/ 3129 h 10000"/>
                <a:gd name="connsiteX125" fmla="*/ 8058 w 10000"/>
                <a:gd name="connsiteY125" fmla="*/ 3009 h 10000"/>
                <a:gd name="connsiteX126" fmla="*/ 8087 w 10000"/>
                <a:gd name="connsiteY126" fmla="*/ 2856 h 10000"/>
                <a:gd name="connsiteX127" fmla="*/ 8007 w 10000"/>
                <a:gd name="connsiteY127" fmla="*/ 2714 h 10000"/>
                <a:gd name="connsiteX128" fmla="*/ 7450 w 10000"/>
                <a:gd name="connsiteY128" fmla="*/ 2910 h 10000"/>
                <a:gd name="connsiteX129" fmla="*/ 6694 w 10000"/>
                <a:gd name="connsiteY129" fmla="*/ 2823 h 10000"/>
                <a:gd name="connsiteX130" fmla="*/ 6304 w 10000"/>
                <a:gd name="connsiteY130" fmla="*/ 2276 h 10000"/>
                <a:gd name="connsiteX131" fmla="*/ 5294 w 10000"/>
                <a:gd name="connsiteY131" fmla="*/ 2173 h 10000"/>
                <a:gd name="connsiteX132" fmla="*/ 4505 w 10000"/>
                <a:gd name="connsiteY132" fmla="*/ 1721 h 10000"/>
                <a:gd name="connsiteX133" fmla="*/ 3730 w 10000"/>
                <a:gd name="connsiteY133" fmla="*/ 1176 h 10000"/>
                <a:gd name="connsiteX134" fmla="*/ 3154 w 10000"/>
                <a:gd name="connsiteY134" fmla="*/ 173 h 10000"/>
                <a:gd name="connsiteX135" fmla="*/ 2375 w 10000"/>
                <a:gd name="connsiteY135" fmla="*/ 0 h 10000"/>
                <a:gd name="connsiteX136" fmla="*/ 2226 w 10000"/>
                <a:gd name="connsiteY136" fmla="*/ 941 h 10000"/>
                <a:gd name="connsiteX137" fmla="*/ 2375 w 10000"/>
                <a:gd name="connsiteY137" fmla="*/ 1181 h 10000"/>
                <a:gd name="connsiteX138" fmla="*/ 2791 w 10000"/>
                <a:gd name="connsiteY138" fmla="*/ 1446 h 10000"/>
                <a:gd name="connsiteX139" fmla="*/ 2808 w 10000"/>
                <a:gd name="connsiteY139" fmla="*/ 1767 h 10000"/>
                <a:gd name="connsiteX140" fmla="*/ 2632 w 10000"/>
                <a:gd name="connsiteY140" fmla="*/ 2035 h 10000"/>
                <a:gd name="connsiteX141" fmla="*/ 2375 w 10000"/>
                <a:gd name="connsiteY141" fmla="*/ 2196 h 10000"/>
                <a:gd name="connsiteX142" fmla="*/ 2039 w 10000"/>
                <a:gd name="connsiteY142" fmla="*/ 2260 h 10000"/>
                <a:gd name="connsiteX143" fmla="*/ 1950 w 10000"/>
                <a:gd name="connsiteY143" fmla="*/ 2357 h 10000"/>
                <a:gd name="connsiteX144" fmla="*/ 2148 w 10000"/>
                <a:gd name="connsiteY144" fmla="*/ 2577 h 10000"/>
                <a:gd name="connsiteX145" fmla="*/ 2261 w 10000"/>
                <a:gd name="connsiteY145" fmla="*/ 3104 h 10000"/>
                <a:gd name="connsiteX146" fmla="*/ 2005 w 10000"/>
                <a:gd name="connsiteY146" fmla="*/ 3555 h 10000"/>
                <a:gd name="connsiteX147" fmla="*/ 2094 w 10000"/>
                <a:gd name="connsiteY147" fmla="*/ 3692 h 10000"/>
                <a:gd name="connsiteX148" fmla="*/ 2012 w 10000"/>
                <a:gd name="connsiteY148" fmla="*/ 3926 h 10000"/>
                <a:gd name="connsiteX149" fmla="*/ 1850 w 10000"/>
                <a:gd name="connsiteY149" fmla="*/ 4089 h 10000"/>
                <a:gd name="connsiteX150" fmla="*/ 1199 w 10000"/>
                <a:gd name="connsiteY150" fmla="*/ 4215 h 10000"/>
                <a:gd name="connsiteX151" fmla="*/ 1158 w 10000"/>
                <a:gd name="connsiteY151" fmla="*/ 4432 h 10000"/>
                <a:gd name="connsiteX152" fmla="*/ 808 w 10000"/>
                <a:gd name="connsiteY152" fmla="*/ 4754 h 10000"/>
                <a:gd name="connsiteX153" fmla="*/ 854 w 10000"/>
                <a:gd name="connsiteY153" fmla="*/ 5224 h 10000"/>
                <a:gd name="connsiteX154" fmla="*/ 560 w 10000"/>
                <a:gd name="connsiteY154" fmla="*/ 5822 h 10000"/>
                <a:gd name="connsiteX155" fmla="*/ 358 w 10000"/>
                <a:gd name="connsiteY155" fmla="*/ 5891 h 10000"/>
                <a:gd name="connsiteX156" fmla="*/ 275 w 10000"/>
                <a:gd name="connsiteY156" fmla="*/ 5749 h 10000"/>
                <a:gd name="connsiteX157" fmla="*/ 174 w 10000"/>
                <a:gd name="connsiteY157" fmla="*/ 5964 h 10000"/>
                <a:gd name="connsiteX158" fmla="*/ 239 w 10000"/>
                <a:gd name="connsiteY158" fmla="*/ 5592 h 10000"/>
                <a:gd name="connsiteX159" fmla="*/ 197 w 10000"/>
                <a:gd name="connsiteY159" fmla="*/ 5523 h 10000"/>
                <a:gd name="connsiteX0" fmla="*/ 197 w 10000"/>
                <a:gd name="connsiteY0" fmla="*/ 5523 h 10000"/>
                <a:gd name="connsiteX1" fmla="*/ 0 w 10000"/>
                <a:gd name="connsiteY1" fmla="*/ 5717 h 10000"/>
                <a:gd name="connsiteX2" fmla="*/ 0 w 10000"/>
                <a:gd name="connsiteY2" fmla="*/ 6668 h 10000"/>
                <a:gd name="connsiteX3" fmla="*/ 109 w 10000"/>
                <a:gd name="connsiteY3" fmla="*/ 6693 h 10000"/>
                <a:gd name="connsiteX4" fmla="*/ 134 w 10000"/>
                <a:gd name="connsiteY4" fmla="*/ 6769 h 10000"/>
                <a:gd name="connsiteX5" fmla="*/ 130 w 10000"/>
                <a:gd name="connsiteY5" fmla="*/ 6897 h 10000"/>
                <a:gd name="connsiteX6" fmla="*/ 89 w 10000"/>
                <a:gd name="connsiteY6" fmla="*/ 6953 h 10000"/>
                <a:gd name="connsiteX7" fmla="*/ 255 w 10000"/>
                <a:gd name="connsiteY7" fmla="*/ 6842 h 10000"/>
                <a:gd name="connsiteX8" fmla="*/ 325 w 10000"/>
                <a:gd name="connsiteY8" fmla="*/ 6737 h 10000"/>
                <a:gd name="connsiteX9" fmla="*/ 413 w 10000"/>
                <a:gd name="connsiteY9" fmla="*/ 6809 h 10000"/>
                <a:gd name="connsiteX10" fmla="*/ 316 w 10000"/>
                <a:gd name="connsiteY10" fmla="*/ 6965 h 10000"/>
                <a:gd name="connsiteX11" fmla="*/ 419 w 10000"/>
                <a:gd name="connsiteY11" fmla="*/ 6969 h 10000"/>
                <a:gd name="connsiteX12" fmla="*/ 469 w 10000"/>
                <a:gd name="connsiteY12" fmla="*/ 7008 h 10000"/>
                <a:gd name="connsiteX13" fmla="*/ 337 w 10000"/>
                <a:gd name="connsiteY13" fmla="*/ 7059 h 10000"/>
                <a:gd name="connsiteX14" fmla="*/ 130 w 10000"/>
                <a:gd name="connsiteY14" fmla="*/ 7220 h 10000"/>
                <a:gd name="connsiteX15" fmla="*/ 497 w 10000"/>
                <a:gd name="connsiteY15" fmla="*/ 7345 h 10000"/>
                <a:gd name="connsiteX16" fmla="*/ 545 w 10000"/>
                <a:gd name="connsiteY16" fmla="*/ 7522 h 10000"/>
                <a:gd name="connsiteX17" fmla="*/ 419 w 10000"/>
                <a:gd name="connsiteY17" fmla="*/ 7785 h 10000"/>
                <a:gd name="connsiteX18" fmla="*/ 688 w 10000"/>
                <a:gd name="connsiteY18" fmla="*/ 7770 h 10000"/>
                <a:gd name="connsiteX19" fmla="*/ 709 w 10000"/>
                <a:gd name="connsiteY19" fmla="*/ 7965 h 10000"/>
                <a:gd name="connsiteX20" fmla="*/ 530 w 10000"/>
                <a:gd name="connsiteY20" fmla="*/ 8105 h 10000"/>
                <a:gd name="connsiteX21" fmla="*/ 560 w 10000"/>
                <a:gd name="connsiteY21" fmla="*/ 8362 h 10000"/>
                <a:gd name="connsiteX22" fmla="*/ 489 w 10000"/>
                <a:gd name="connsiteY22" fmla="*/ 8568 h 10000"/>
                <a:gd name="connsiteX23" fmla="*/ 703 w 10000"/>
                <a:gd name="connsiteY23" fmla="*/ 8587 h 10000"/>
                <a:gd name="connsiteX24" fmla="*/ 909 w 10000"/>
                <a:gd name="connsiteY24" fmla="*/ 9367 h 10000"/>
                <a:gd name="connsiteX25" fmla="*/ 1616 w 10000"/>
                <a:gd name="connsiteY25" fmla="*/ 8985 h 10000"/>
                <a:gd name="connsiteX26" fmla="*/ 1990 w 10000"/>
                <a:gd name="connsiteY26" fmla="*/ 9254 h 10000"/>
                <a:gd name="connsiteX27" fmla="*/ 2443 w 10000"/>
                <a:gd name="connsiteY27" fmla="*/ 8769 h 10000"/>
                <a:gd name="connsiteX28" fmla="*/ 4144 w 10000"/>
                <a:gd name="connsiteY28" fmla="*/ 9411 h 10000"/>
                <a:gd name="connsiteX29" fmla="*/ 5258 w 10000"/>
                <a:gd name="connsiteY29" fmla="*/ 9675 h 10000"/>
                <a:gd name="connsiteX30" fmla="*/ 6419 w 10000"/>
                <a:gd name="connsiteY30" fmla="*/ 10000 h 10000"/>
                <a:gd name="connsiteX31" fmla="*/ 6586 w 10000"/>
                <a:gd name="connsiteY31" fmla="*/ 9169 h 10000"/>
                <a:gd name="connsiteX32" fmla="*/ 6855 w 10000"/>
                <a:gd name="connsiteY32" fmla="*/ 8801 h 10000"/>
                <a:gd name="connsiteX33" fmla="*/ 6855 w 10000"/>
                <a:gd name="connsiteY33" fmla="*/ 8603 h 10000"/>
                <a:gd name="connsiteX34" fmla="*/ 6757 w 10000"/>
                <a:gd name="connsiteY34" fmla="*/ 8497 h 10000"/>
                <a:gd name="connsiteX35" fmla="*/ 6915 w 10000"/>
                <a:gd name="connsiteY35" fmla="*/ 8318 h 10000"/>
                <a:gd name="connsiteX36" fmla="*/ 6887 w 10000"/>
                <a:gd name="connsiteY36" fmla="*/ 8175 h 10000"/>
                <a:gd name="connsiteX37" fmla="*/ 6779 w 10000"/>
                <a:gd name="connsiteY37" fmla="*/ 8053 h 10000"/>
                <a:gd name="connsiteX38" fmla="*/ 6757 w 10000"/>
                <a:gd name="connsiteY38" fmla="*/ 7956 h 10000"/>
                <a:gd name="connsiteX39" fmla="*/ 6785 w 10000"/>
                <a:gd name="connsiteY39" fmla="*/ 7886 h 10000"/>
                <a:gd name="connsiteX40" fmla="*/ 6931 w 10000"/>
                <a:gd name="connsiteY40" fmla="*/ 7942 h 10000"/>
                <a:gd name="connsiteX41" fmla="*/ 7045 w 10000"/>
                <a:gd name="connsiteY41" fmla="*/ 7939 h 10000"/>
                <a:gd name="connsiteX42" fmla="*/ 6983 w 10000"/>
                <a:gd name="connsiteY42" fmla="*/ 7822 h 10000"/>
                <a:gd name="connsiteX43" fmla="*/ 7003 w 10000"/>
                <a:gd name="connsiteY43" fmla="*/ 7752 h 10000"/>
                <a:gd name="connsiteX44" fmla="*/ 7089 w 10000"/>
                <a:gd name="connsiteY44" fmla="*/ 7653 h 10000"/>
                <a:gd name="connsiteX45" fmla="*/ 7074 w 10000"/>
                <a:gd name="connsiteY45" fmla="*/ 7570 h 10000"/>
                <a:gd name="connsiteX46" fmla="*/ 7152 w 10000"/>
                <a:gd name="connsiteY46" fmla="*/ 7295 h 10000"/>
                <a:gd name="connsiteX47" fmla="*/ 7130 w 10000"/>
                <a:gd name="connsiteY47" fmla="*/ 7209 h 10000"/>
                <a:gd name="connsiteX48" fmla="*/ 6729 w 10000"/>
                <a:gd name="connsiteY48" fmla="*/ 6997 h 10000"/>
                <a:gd name="connsiteX49" fmla="*/ 6785 w 10000"/>
                <a:gd name="connsiteY49" fmla="*/ 6989 h 10000"/>
                <a:gd name="connsiteX50" fmla="*/ 6998 w 10000"/>
                <a:gd name="connsiteY50" fmla="*/ 7043 h 10000"/>
                <a:gd name="connsiteX51" fmla="*/ 7230 w 10000"/>
                <a:gd name="connsiteY51" fmla="*/ 7023 h 10000"/>
                <a:gd name="connsiteX52" fmla="*/ 7295 w 10000"/>
                <a:gd name="connsiteY52" fmla="*/ 6949 h 10000"/>
                <a:gd name="connsiteX53" fmla="*/ 7074 w 10000"/>
                <a:gd name="connsiteY53" fmla="*/ 6806 h 10000"/>
                <a:gd name="connsiteX54" fmla="*/ 6414 w 10000"/>
                <a:gd name="connsiteY54" fmla="*/ 6711 h 10000"/>
                <a:gd name="connsiteX55" fmla="*/ 6458 w 10000"/>
                <a:gd name="connsiteY55" fmla="*/ 6668 h 10000"/>
                <a:gd name="connsiteX56" fmla="*/ 6998 w 10000"/>
                <a:gd name="connsiteY56" fmla="*/ 6638 h 10000"/>
                <a:gd name="connsiteX57" fmla="*/ 7295 w 10000"/>
                <a:gd name="connsiteY57" fmla="*/ 6724 h 10000"/>
                <a:gd name="connsiteX58" fmla="*/ 7466 w 10000"/>
                <a:gd name="connsiteY58" fmla="*/ 6668 h 10000"/>
                <a:gd name="connsiteX59" fmla="*/ 7529 w 10000"/>
                <a:gd name="connsiteY59" fmla="*/ 6520 h 10000"/>
                <a:gd name="connsiteX60" fmla="*/ 7840 w 10000"/>
                <a:gd name="connsiteY60" fmla="*/ 6520 h 10000"/>
                <a:gd name="connsiteX61" fmla="*/ 8261 w 10000"/>
                <a:gd name="connsiteY61" fmla="*/ 6219 h 10000"/>
                <a:gd name="connsiteX62" fmla="*/ 8275 w 10000"/>
                <a:gd name="connsiteY62" fmla="*/ 6019 h 10000"/>
                <a:gd name="connsiteX63" fmla="*/ 8453 w 10000"/>
                <a:gd name="connsiteY63" fmla="*/ 6064 h 10000"/>
                <a:gd name="connsiteX64" fmla="*/ 8446 w 10000"/>
                <a:gd name="connsiteY64" fmla="*/ 6266 h 10000"/>
                <a:gd name="connsiteX65" fmla="*/ 8727 w 10000"/>
                <a:gd name="connsiteY65" fmla="*/ 6251 h 10000"/>
                <a:gd name="connsiteX66" fmla="*/ 8913 w 10000"/>
                <a:gd name="connsiteY66" fmla="*/ 6043 h 10000"/>
                <a:gd name="connsiteX67" fmla="*/ 9258 w 10000"/>
                <a:gd name="connsiteY67" fmla="*/ 5856 h 10000"/>
                <a:gd name="connsiteX68" fmla="*/ 9203 w 10000"/>
                <a:gd name="connsiteY68" fmla="*/ 5644 h 10000"/>
                <a:gd name="connsiteX69" fmla="*/ 9306 w 10000"/>
                <a:gd name="connsiteY69" fmla="*/ 5730 h 10000"/>
                <a:gd name="connsiteX70" fmla="*/ 9464 w 10000"/>
                <a:gd name="connsiteY70" fmla="*/ 5730 h 10000"/>
                <a:gd name="connsiteX71" fmla="*/ 9464 w 10000"/>
                <a:gd name="connsiteY71" fmla="*/ 5630 h 10000"/>
                <a:gd name="connsiteX72" fmla="*/ 9611 w 10000"/>
                <a:gd name="connsiteY72" fmla="*/ 5558 h 10000"/>
                <a:gd name="connsiteX73" fmla="*/ 9592 w 10000"/>
                <a:gd name="connsiteY73" fmla="*/ 5481 h 10000"/>
                <a:gd name="connsiteX74" fmla="*/ 8350 w 10000"/>
                <a:gd name="connsiteY74" fmla="*/ 5632 h 10000"/>
                <a:gd name="connsiteX75" fmla="*/ 8058 w 10000"/>
                <a:gd name="connsiteY75" fmla="*/ 5590 h 10000"/>
                <a:gd name="connsiteX76" fmla="*/ 7942 w 10000"/>
                <a:gd name="connsiteY76" fmla="*/ 5644 h 10000"/>
                <a:gd name="connsiteX77" fmla="*/ 7903 w 10000"/>
                <a:gd name="connsiteY77" fmla="*/ 5537 h 10000"/>
                <a:gd name="connsiteX78" fmla="*/ 7765 w 10000"/>
                <a:gd name="connsiteY78" fmla="*/ 5443 h 10000"/>
                <a:gd name="connsiteX79" fmla="*/ 7213 w 10000"/>
                <a:gd name="connsiteY79" fmla="*/ 5249 h 10000"/>
                <a:gd name="connsiteX80" fmla="*/ 6887 w 10000"/>
                <a:gd name="connsiteY80" fmla="*/ 5282 h 10000"/>
                <a:gd name="connsiteX81" fmla="*/ 6757 w 10000"/>
                <a:gd name="connsiteY81" fmla="*/ 5227 h 10000"/>
                <a:gd name="connsiteX82" fmla="*/ 6894 w 10000"/>
                <a:gd name="connsiteY82" fmla="*/ 5180 h 10000"/>
                <a:gd name="connsiteX83" fmla="*/ 6998 w 10000"/>
                <a:gd name="connsiteY83" fmla="*/ 5078 h 10000"/>
                <a:gd name="connsiteX84" fmla="*/ 7152 w 10000"/>
                <a:gd name="connsiteY84" fmla="*/ 5110 h 10000"/>
                <a:gd name="connsiteX85" fmla="*/ 7335 w 10000"/>
                <a:gd name="connsiteY85" fmla="*/ 5085 h 10000"/>
                <a:gd name="connsiteX86" fmla="*/ 7611 w 10000"/>
                <a:gd name="connsiteY86" fmla="*/ 5118 h 10000"/>
                <a:gd name="connsiteX87" fmla="*/ 7645 w 10000"/>
                <a:gd name="connsiteY87" fmla="*/ 5104 h 10000"/>
                <a:gd name="connsiteX88" fmla="*/ 7859 w 10000"/>
                <a:gd name="connsiteY88" fmla="*/ 5259 h 10000"/>
                <a:gd name="connsiteX89" fmla="*/ 8017 w 10000"/>
                <a:gd name="connsiteY89" fmla="*/ 5201 h 10000"/>
                <a:gd name="connsiteX90" fmla="*/ 8032 w 10000"/>
                <a:gd name="connsiteY90" fmla="*/ 5148 h 10000"/>
                <a:gd name="connsiteX91" fmla="*/ 8176 w 10000"/>
                <a:gd name="connsiteY91" fmla="*/ 5241 h 10000"/>
                <a:gd name="connsiteX92" fmla="*/ 8369 w 10000"/>
                <a:gd name="connsiteY92" fmla="*/ 5291 h 10000"/>
                <a:gd name="connsiteX93" fmla="*/ 8446 w 10000"/>
                <a:gd name="connsiteY93" fmla="*/ 5199 h 10000"/>
                <a:gd name="connsiteX94" fmla="*/ 8507 w 10000"/>
                <a:gd name="connsiteY94" fmla="*/ 5249 h 10000"/>
                <a:gd name="connsiteX95" fmla="*/ 8596 w 10000"/>
                <a:gd name="connsiteY95" fmla="*/ 5430 h 10000"/>
                <a:gd name="connsiteX96" fmla="*/ 8782 w 10000"/>
                <a:gd name="connsiteY96" fmla="*/ 5470 h 10000"/>
                <a:gd name="connsiteX97" fmla="*/ 9542 w 10000"/>
                <a:gd name="connsiteY97" fmla="*/ 5208 h 10000"/>
                <a:gd name="connsiteX98" fmla="*/ 9914 w 10000"/>
                <a:gd name="connsiteY98" fmla="*/ 4838 h 10000"/>
                <a:gd name="connsiteX99" fmla="*/ 10000 w 10000"/>
                <a:gd name="connsiteY99" fmla="*/ 4574 h 10000"/>
                <a:gd name="connsiteX100" fmla="*/ 9866 w 10000"/>
                <a:gd name="connsiteY100" fmla="*/ 4330 h 10000"/>
                <a:gd name="connsiteX101" fmla="*/ 9582 w 10000"/>
                <a:gd name="connsiteY101" fmla="*/ 4188 h 10000"/>
                <a:gd name="connsiteX102" fmla="*/ 9382 w 10000"/>
                <a:gd name="connsiteY102" fmla="*/ 3948 h 10000"/>
                <a:gd name="connsiteX103" fmla="*/ 9569 w 10000"/>
                <a:gd name="connsiteY103" fmla="*/ 3941 h 10000"/>
                <a:gd name="connsiteX104" fmla="*/ 9555 w 10000"/>
                <a:gd name="connsiteY104" fmla="*/ 3886 h 10000"/>
                <a:gd name="connsiteX105" fmla="*/ 9068 w 10000"/>
                <a:gd name="connsiteY105" fmla="*/ 3720 h 10000"/>
                <a:gd name="connsiteX106" fmla="*/ 9047 w 10000"/>
                <a:gd name="connsiteY106" fmla="*/ 3566 h 10000"/>
                <a:gd name="connsiteX107" fmla="*/ 8953 w 10000"/>
                <a:gd name="connsiteY107" fmla="*/ 3406 h 10000"/>
                <a:gd name="connsiteX108" fmla="*/ 8569 w 10000"/>
                <a:gd name="connsiteY108" fmla="*/ 3436 h 10000"/>
                <a:gd name="connsiteX109" fmla="*/ 8431 w 10000"/>
                <a:gd name="connsiteY109" fmla="*/ 3265 h 10000"/>
                <a:gd name="connsiteX110" fmla="*/ 8350 w 10000"/>
                <a:gd name="connsiteY110" fmla="*/ 3254 h 10000"/>
                <a:gd name="connsiteX111" fmla="*/ 8350 w 10000"/>
                <a:gd name="connsiteY111" fmla="*/ 3331 h 10000"/>
                <a:gd name="connsiteX112" fmla="*/ 8176 w 10000"/>
                <a:gd name="connsiteY112" fmla="*/ 3613 h 10000"/>
                <a:gd name="connsiteX113" fmla="*/ 7990 w 10000"/>
                <a:gd name="connsiteY113" fmla="*/ 3783 h 10000"/>
                <a:gd name="connsiteX114" fmla="*/ 7401 w 10000"/>
                <a:gd name="connsiteY114" fmla="*/ 4066 h 10000"/>
                <a:gd name="connsiteX115" fmla="*/ 7198 w 10000"/>
                <a:gd name="connsiteY115" fmla="*/ 4058 h 10000"/>
                <a:gd name="connsiteX116" fmla="*/ 6915 w 10000"/>
                <a:gd name="connsiteY116" fmla="*/ 4101 h 10000"/>
                <a:gd name="connsiteX117" fmla="*/ 6757 w 10000"/>
                <a:gd name="connsiteY117" fmla="*/ 4058 h 10000"/>
                <a:gd name="connsiteX118" fmla="*/ 6965 w 10000"/>
                <a:gd name="connsiteY118" fmla="*/ 3976 h 10000"/>
                <a:gd name="connsiteX119" fmla="*/ 7235 w 10000"/>
                <a:gd name="connsiteY119" fmla="*/ 3941 h 10000"/>
                <a:gd name="connsiteX120" fmla="*/ 7455 w 10000"/>
                <a:gd name="connsiteY120" fmla="*/ 3809 h 10000"/>
                <a:gd name="connsiteX121" fmla="*/ 7674 w 10000"/>
                <a:gd name="connsiteY121" fmla="*/ 3746 h 10000"/>
                <a:gd name="connsiteX122" fmla="*/ 8082 w 10000"/>
                <a:gd name="connsiteY122" fmla="*/ 3512 h 10000"/>
                <a:gd name="connsiteX123" fmla="*/ 8157 w 10000"/>
                <a:gd name="connsiteY123" fmla="*/ 3359 h 10000"/>
                <a:gd name="connsiteX124" fmla="*/ 8165 w 10000"/>
                <a:gd name="connsiteY124" fmla="*/ 3163 h 10000"/>
                <a:gd name="connsiteX125" fmla="*/ 7978 w 10000"/>
                <a:gd name="connsiteY125" fmla="*/ 3129 h 10000"/>
                <a:gd name="connsiteX126" fmla="*/ 8058 w 10000"/>
                <a:gd name="connsiteY126" fmla="*/ 3009 h 10000"/>
                <a:gd name="connsiteX127" fmla="*/ 8087 w 10000"/>
                <a:gd name="connsiteY127" fmla="*/ 2856 h 10000"/>
                <a:gd name="connsiteX128" fmla="*/ 8007 w 10000"/>
                <a:gd name="connsiteY128" fmla="*/ 2714 h 10000"/>
                <a:gd name="connsiteX129" fmla="*/ 7450 w 10000"/>
                <a:gd name="connsiteY129" fmla="*/ 2910 h 10000"/>
                <a:gd name="connsiteX130" fmla="*/ 6694 w 10000"/>
                <a:gd name="connsiteY130" fmla="*/ 2823 h 10000"/>
                <a:gd name="connsiteX131" fmla="*/ 6304 w 10000"/>
                <a:gd name="connsiteY131" fmla="*/ 2276 h 10000"/>
                <a:gd name="connsiteX132" fmla="*/ 5294 w 10000"/>
                <a:gd name="connsiteY132" fmla="*/ 2173 h 10000"/>
                <a:gd name="connsiteX133" fmla="*/ 4505 w 10000"/>
                <a:gd name="connsiteY133" fmla="*/ 1721 h 10000"/>
                <a:gd name="connsiteX134" fmla="*/ 3730 w 10000"/>
                <a:gd name="connsiteY134" fmla="*/ 1176 h 10000"/>
                <a:gd name="connsiteX135" fmla="*/ 3154 w 10000"/>
                <a:gd name="connsiteY135" fmla="*/ 173 h 10000"/>
                <a:gd name="connsiteX136" fmla="*/ 2375 w 10000"/>
                <a:gd name="connsiteY136" fmla="*/ 0 h 10000"/>
                <a:gd name="connsiteX137" fmla="*/ 2226 w 10000"/>
                <a:gd name="connsiteY137" fmla="*/ 941 h 10000"/>
                <a:gd name="connsiteX138" fmla="*/ 2375 w 10000"/>
                <a:gd name="connsiteY138" fmla="*/ 1181 h 10000"/>
                <a:gd name="connsiteX139" fmla="*/ 2791 w 10000"/>
                <a:gd name="connsiteY139" fmla="*/ 1446 h 10000"/>
                <a:gd name="connsiteX140" fmla="*/ 2808 w 10000"/>
                <a:gd name="connsiteY140" fmla="*/ 1767 h 10000"/>
                <a:gd name="connsiteX141" fmla="*/ 2632 w 10000"/>
                <a:gd name="connsiteY141" fmla="*/ 2035 h 10000"/>
                <a:gd name="connsiteX142" fmla="*/ 2375 w 10000"/>
                <a:gd name="connsiteY142" fmla="*/ 2196 h 10000"/>
                <a:gd name="connsiteX143" fmla="*/ 2039 w 10000"/>
                <a:gd name="connsiteY143" fmla="*/ 2260 h 10000"/>
                <a:gd name="connsiteX144" fmla="*/ 1950 w 10000"/>
                <a:gd name="connsiteY144" fmla="*/ 2357 h 10000"/>
                <a:gd name="connsiteX145" fmla="*/ 2148 w 10000"/>
                <a:gd name="connsiteY145" fmla="*/ 2577 h 10000"/>
                <a:gd name="connsiteX146" fmla="*/ 2261 w 10000"/>
                <a:gd name="connsiteY146" fmla="*/ 3104 h 10000"/>
                <a:gd name="connsiteX147" fmla="*/ 2005 w 10000"/>
                <a:gd name="connsiteY147" fmla="*/ 3555 h 10000"/>
                <a:gd name="connsiteX148" fmla="*/ 2094 w 10000"/>
                <a:gd name="connsiteY148" fmla="*/ 3692 h 10000"/>
                <a:gd name="connsiteX149" fmla="*/ 2012 w 10000"/>
                <a:gd name="connsiteY149" fmla="*/ 3926 h 10000"/>
                <a:gd name="connsiteX150" fmla="*/ 1850 w 10000"/>
                <a:gd name="connsiteY150" fmla="*/ 4089 h 10000"/>
                <a:gd name="connsiteX151" fmla="*/ 1199 w 10000"/>
                <a:gd name="connsiteY151" fmla="*/ 4215 h 10000"/>
                <a:gd name="connsiteX152" fmla="*/ 1158 w 10000"/>
                <a:gd name="connsiteY152" fmla="*/ 4432 h 10000"/>
                <a:gd name="connsiteX153" fmla="*/ 808 w 10000"/>
                <a:gd name="connsiteY153" fmla="*/ 4754 h 10000"/>
                <a:gd name="connsiteX154" fmla="*/ 854 w 10000"/>
                <a:gd name="connsiteY154" fmla="*/ 5224 h 10000"/>
                <a:gd name="connsiteX155" fmla="*/ 560 w 10000"/>
                <a:gd name="connsiteY155" fmla="*/ 5822 h 10000"/>
                <a:gd name="connsiteX156" fmla="*/ 358 w 10000"/>
                <a:gd name="connsiteY156" fmla="*/ 5891 h 10000"/>
                <a:gd name="connsiteX157" fmla="*/ 275 w 10000"/>
                <a:gd name="connsiteY157" fmla="*/ 5749 h 10000"/>
                <a:gd name="connsiteX158" fmla="*/ 174 w 10000"/>
                <a:gd name="connsiteY158" fmla="*/ 5964 h 10000"/>
                <a:gd name="connsiteX159" fmla="*/ 239 w 10000"/>
                <a:gd name="connsiteY159" fmla="*/ 5592 h 10000"/>
                <a:gd name="connsiteX160" fmla="*/ 197 w 10000"/>
                <a:gd name="connsiteY160" fmla="*/ 5523 h 10000"/>
                <a:gd name="connsiteX0" fmla="*/ 197 w 10000"/>
                <a:gd name="connsiteY0" fmla="*/ 5523 h 10000"/>
                <a:gd name="connsiteX1" fmla="*/ 0 w 10000"/>
                <a:gd name="connsiteY1" fmla="*/ 5717 h 10000"/>
                <a:gd name="connsiteX2" fmla="*/ 0 w 10000"/>
                <a:gd name="connsiteY2" fmla="*/ 6668 h 10000"/>
                <a:gd name="connsiteX3" fmla="*/ 109 w 10000"/>
                <a:gd name="connsiteY3" fmla="*/ 6693 h 10000"/>
                <a:gd name="connsiteX4" fmla="*/ 134 w 10000"/>
                <a:gd name="connsiteY4" fmla="*/ 6769 h 10000"/>
                <a:gd name="connsiteX5" fmla="*/ 130 w 10000"/>
                <a:gd name="connsiteY5" fmla="*/ 6897 h 10000"/>
                <a:gd name="connsiteX6" fmla="*/ 89 w 10000"/>
                <a:gd name="connsiteY6" fmla="*/ 6953 h 10000"/>
                <a:gd name="connsiteX7" fmla="*/ 255 w 10000"/>
                <a:gd name="connsiteY7" fmla="*/ 6842 h 10000"/>
                <a:gd name="connsiteX8" fmla="*/ 325 w 10000"/>
                <a:gd name="connsiteY8" fmla="*/ 6737 h 10000"/>
                <a:gd name="connsiteX9" fmla="*/ 413 w 10000"/>
                <a:gd name="connsiteY9" fmla="*/ 6809 h 10000"/>
                <a:gd name="connsiteX10" fmla="*/ 316 w 10000"/>
                <a:gd name="connsiteY10" fmla="*/ 6965 h 10000"/>
                <a:gd name="connsiteX11" fmla="*/ 419 w 10000"/>
                <a:gd name="connsiteY11" fmla="*/ 6969 h 10000"/>
                <a:gd name="connsiteX12" fmla="*/ 469 w 10000"/>
                <a:gd name="connsiteY12" fmla="*/ 7008 h 10000"/>
                <a:gd name="connsiteX13" fmla="*/ 337 w 10000"/>
                <a:gd name="connsiteY13" fmla="*/ 7059 h 10000"/>
                <a:gd name="connsiteX14" fmla="*/ 130 w 10000"/>
                <a:gd name="connsiteY14" fmla="*/ 7220 h 10000"/>
                <a:gd name="connsiteX15" fmla="*/ 497 w 10000"/>
                <a:gd name="connsiteY15" fmla="*/ 7345 h 10000"/>
                <a:gd name="connsiteX16" fmla="*/ 545 w 10000"/>
                <a:gd name="connsiteY16" fmla="*/ 7522 h 10000"/>
                <a:gd name="connsiteX17" fmla="*/ 419 w 10000"/>
                <a:gd name="connsiteY17" fmla="*/ 7785 h 10000"/>
                <a:gd name="connsiteX18" fmla="*/ 688 w 10000"/>
                <a:gd name="connsiteY18" fmla="*/ 7770 h 10000"/>
                <a:gd name="connsiteX19" fmla="*/ 709 w 10000"/>
                <a:gd name="connsiteY19" fmla="*/ 7965 h 10000"/>
                <a:gd name="connsiteX20" fmla="*/ 530 w 10000"/>
                <a:gd name="connsiteY20" fmla="*/ 8105 h 10000"/>
                <a:gd name="connsiteX21" fmla="*/ 560 w 10000"/>
                <a:gd name="connsiteY21" fmla="*/ 8362 h 10000"/>
                <a:gd name="connsiteX22" fmla="*/ 489 w 10000"/>
                <a:gd name="connsiteY22" fmla="*/ 8568 h 10000"/>
                <a:gd name="connsiteX23" fmla="*/ 703 w 10000"/>
                <a:gd name="connsiteY23" fmla="*/ 8587 h 10000"/>
                <a:gd name="connsiteX24" fmla="*/ 909 w 10000"/>
                <a:gd name="connsiteY24" fmla="*/ 9367 h 10000"/>
                <a:gd name="connsiteX25" fmla="*/ 1616 w 10000"/>
                <a:gd name="connsiteY25" fmla="*/ 8985 h 10000"/>
                <a:gd name="connsiteX26" fmla="*/ 1990 w 10000"/>
                <a:gd name="connsiteY26" fmla="*/ 9254 h 10000"/>
                <a:gd name="connsiteX27" fmla="*/ 2443 w 10000"/>
                <a:gd name="connsiteY27" fmla="*/ 8769 h 10000"/>
                <a:gd name="connsiteX28" fmla="*/ 3819 w 10000"/>
                <a:gd name="connsiteY28" fmla="*/ 9296 h 10000"/>
                <a:gd name="connsiteX29" fmla="*/ 5258 w 10000"/>
                <a:gd name="connsiteY29" fmla="*/ 9675 h 10000"/>
                <a:gd name="connsiteX30" fmla="*/ 6419 w 10000"/>
                <a:gd name="connsiteY30" fmla="*/ 10000 h 10000"/>
                <a:gd name="connsiteX31" fmla="*/ 6586 w 10000"/>
                <a:gd name="connsiteY31" fmla="*/ 9169 h 10000"/>
                <a:gd name="connsiteX32" fmla="*/ 6855 w 10000"/>
                <a:gd name="connsiteY32" fmla="*/ 8801 h 10000"/>
                <a:gd name="connsiteX33" fmla="*/ 6855 w 10000"/>
                <a:gd name="connsiteY33" fmla="*/ 8603 h 10000"/>
                <a:gd name="connsiteX34" fmla="*/ 6757 w 10000"/>
                <a:gd name="connsiteY34" fmla="*/ 8497 h 10000"/>
                <a:gd name="connsiteX35" fmla="*/ 6915 w 10000"/>
                <a:gd name="connsiteY35" fmla="*/ 8318 h 10000"/>
                <a:gd name="connsiteX36" fmla="*/ 6887 w 10000"/>
                <a:gd name="connsiteY36" fmla="*/ 8175 h 10000"/>
                <a:gd name="connsiteX37" fmla="*/ 6779 w 10000"/>
                <a:gd name="connsiteY37" fmla="*/ 8053 h 10000"/>
                <a:gd name="connsiteX38" fmla="*/ 6757 w 10000"/>
                <a:gd name="connsiteY38" fmla="*/ 7956 h 10000"/>
                <a:gd name="connsiteX39" fmla="*/ 6785 w 10000"/>
                <a:gd name="connsiteY39" fmla="*/ 7886 h 10000"/>
                <a:gd name="connsiteX40" fmla="*/ 6931 w 10000"/>
                <a:gd name="connsiteY40" fmla="*/ 7942 h 10000"/>
                <a:gd name="connsiteX41" fmla="*/ 7045 w 10000"/>
                <a:gd name="connsiteY41" fmla="*/ 7939 h 10000"/>
                <a:gd name="connsiteX42" fmla="*/ 6983 w 10000"/>
                <a:gd name="connsiteY42" fmla="*/ 7822 h 10000"/>
                <a:gd name="connsiteX43" fmla="*/ 7003 w 10000"/>
                <a:gd name="connsiteY43" fmla="*/ 7752 h 10000"/>
                <a:gd name="connsiteX44" fmla="*/ 7089 w 10000"/>
                <a:gd name="connsiteY44" fmla="*/ 7653 h 10000"/>
                <a:gd name="connsiteX45" fmla="*/ 7074 w 10000"/>
                <a:gd name="connsiteY45" fmla="*/ 7570 h 10000"/>
                <a:gd name="connsiteX46" fmla="*/ 7152 w 10000"/>
                <a:gd name="connsiteY46" fmla="*/ 7295 h 10000"/>
                <a:gd name="connsiteX47" fmla="*/ 7130 w 10000"/>
                <a:gd name="connsiteY47" fmla="*/ 7209 h 10000"/>
                <a:gd name="connsiteX48" fmla="*/ 6729 w 10000"/>
                <a:gd name="connsiteY48" fmla="*/ 6997 h 10000"/>
                <a:gd name="connsiteX49" fmla="*/ 6785 w 10000"/>
                <a:gd name="connsiteY49" fmla="*/ 6989 h 10000"/>
                <a:gd name="connsiteX50" fmla="*/ 6998 w 10000"/>
                <a:gd name="connsiteY50" fmla="*/ 7043 h 10000"/>
                <a:gd name="connsiteX51" fmla="*/ 7230 w 10000"/>
                <a:gd name="connsiteY51" fmla="*/ 7023 h 10000"/>
                <a:gd name="connsiteX52" fmla="*/ 7295 w 10000"/>
                <a:gd name="connsiteY52" fmla="*/ 6949 h 10000"/>
                <a:gd name="connsiteX53" fmla="*/ 7074 w 10000"/>
                <a:gd name="connsiteY53" fmla="*/ 6806 h 10000"/>
                <a:gd name="connsiteX54" fmla="*/ 6414 w 10000"/>
                <a:gd name="connsiteY54" fmla="*/ 6711 h 10000"/>
                <a:gd name="connsiteX55" fmla="*/ 6458 w 10000"/>
                <a:gd name="connsiteY55" fmla="*/ 6668 h 10000"/>
                <a:gd name="connsiteX56" fmla="*/ 6998 w 10000"/>
                <a:gd name="connsiteY56" fmla="*/ 6638 h 10000"/>
                <a:gd name="connsiteX57" fmla="*/ 7295 w 10000"/>
                <a:gd name="connsiteY57" fmla="*/ 6724 h 10000"/>
                <a:gd name="connsiteX58" fmla="*/ 7466 w 10000"/>
                <a:gd name="connsiteY58" fmla="*/ 6668 h 10000"/>
                <a:gd name="connsiteX59" fmla="*/ 7529 w 10000"/>
                <a:gd name="connsiteY59" fmla="*/ 6520 h 10000"/>
                <a:gd name="connsiteX60" fmla="*/ 7840 w 10000"/>
                <a:gd name="connsiteY60" fmla="*/ 6520 h 10000"/>
                <a:gd name="connsiteX61" fmla="*/ 8261 w 10000"/>
                <a:gd name="connsiteY61" fmla="*/ 6219 h 10000"/>
                <a:gd name="connsiteX62" fmla="*/ 8275 w 10000"/>
                <a:gd name="connsiteY62" fmla="*/ 6019 h 10000"/>
                <a:gd name="connsiteX63" fmla="*/ 8453 w 10000"/>
                <a:gd name="connsiteY63" fmla="*/ 6064 h 10000"/>
                <a:gd name="connsiteX64" fmla="*/ 8446 w 10000"/>
                <a:gd name="connsiteY64" fmla="*/ 6266 h 10000"/>
                <a:gd name="connsiteX65" fmla="*/ 8727 w 10000"/>
                <a:gd name="connsiteY65" fmla="*/ 6251 h 10000"/>
                <a:gd name="connsiteX66" fmla="*/ 8913 w 10000"/>
                <a:gd name="connsiteY66" fmla="*/ 6043 h 10000"/>
                <a:gd name="connsiteX67" fmla="*/ 9258 w 10000"/>
                <a:gd name="connsiteY67" fmla="*/ 5856 h 10000"/>
                <a:gd name="connsiteX68" fmla="*/ 9203 w 10000"/>
                <a:gd name="connsiteY68" fmla="*/ 5644 h 10000"/>
                <a:gd name="connsiteX69" fmla="*/ 9306 w 10000"/>
                <a:gd name="connsiteY69" fmla="*/ 5730 h 10000"/>
                <a:gd name="connsiteX70" fmla="*/ 9464 w 10000"/>
                <a:gd name="connsiteY70" fmla="*/ 5730 h 10000"/>
                <a:gd name="connsiteX71" fmla="*/ 9464 w 10000"/>
                <a:gd name="connsiteY71" fmla="*/ 5630 h 10000"/>
                <a:gd name="connsiteX72" fmla="*/ 9611 w 10000"/>
                <a:gd name="connsiteY72" fmla="*/ 5558 h 10000"/>
                <a:gd name="connsiteX73" fmla="*/ 9592 w 10000"/>
                <a:gd name="connsiteY73" fmla="*/ 5481 h 10000"/>
                <a:gd name="connsiteX74" fmla="*/ 8350 w 10000"/>
                <a:gd name="connsiteY74" fmla="*/ 5632 h 10000"/>
                <a:gd name="connsiteX75" fmla="*/ 8058 w 10000"/>
                <a:gd name="connsiteY75" fmla="*/ 5590 h 10000"/>
                <a:gd name="connsiteX76" fmla="*/ 7942 w 10000"/>
                <a:gd name="connsiteY76" fmla="*/ 5644 h 10000"/>
                <a:gd name="connsiteX77" fmla="*/ 7903 w 10000"/>
                <a:gd name="connsiteY77" fmla="*/ 5537 h 10000"/>
                <a:gd name="connsiteX78" fmla="*/ 7765 w 10000"/>
                <a:gd name="connsiteY78" fmla="*/ 5443 h 10000"/>
                <a:gd name="connsiteX79" fmla="*/ 7213 w 10000"/>
                <a:gd name="connsiteY79" fmla="*/ 5249 h 10000"/>
                <a:gd name="connsiteX80" fmla="*/ 6887 w 10000"/>
                <a:gd name="connsiteY80" fmla="*/ 5282 h 10000"/>
                <a:gd name="connsiteX81" fmla="*/ 6757 w 10000"/>
                <a:gd name="connsiteY81" fmla="*/ 5227 h 10000"/>
                <a:gd name="connsiteX82" fmla="*/ 6894 w 10000"/>
                <a:gd name="connsiteY82" fmla="*/ 5180 h 10000"/>
                <a:gd name="connsiteX83" fmla="*/ 6998 w 10000"/>
                <a:gd name="connsiteY83" fmla="*/ 5078 h 10000"/>
                <a:gd name="connsiteX84" fmla="*/ 7152 w 10000"/>
                <a:gd name="connsiteY84" fmla="*/ 5110 h 10000"/>
                <a:gd name="connsiteX85" fmla="*/ 7335 w 10000"/>
                <a:gd name="connsiteY85" fmla="*/ 5085 h 10000"/>
                <a:gd name="connsiteX86" fmla="*/ 7611 w 10000"/>
                <a:gd name="connsiteY86" fmla="*/ 5118 h 10000"/>
                <a:gd name="connsiteX87" fmla="*/ 7645 w 10000"/>
                <a:gd name="connsiteY87" fmla="*/ 5104 h 10000"/>
                <a:gd name="connsiteX88" fmla="*/ 7859 w 10000"/>
                <a:gd name="connsiteY88" fmla="*/ 5259 h 10000"/>
                <a:gd name="connsiteX89" fmla="*/ 8017 w 10000"/>
                <a:gd name="connsiteY89" fmla="*/ 5201 h 10000"/>
                <a:gd name="connsiteX90" fmla="*/ 8032 w 10000"/>
                <a:gd name="connsiteY90" fmla="*/ 5148 h 10000"/>
                <a:gd name="connsiteX91" fmla="*/ 8176 w 10000"/>
                <a:gd name="connsiteY91" fmla="*/ 5241 h 10000"/>
                <a:gd name="connsiteX92" fmla="*/ 8369 w 10000"/>
                <a:gd name="connsiteY92" fmla="*/ 5291 h 10000"/>
                <a:gd name="connsiteX93" fmla="*/ 8446 w 10000"/>
                <a:gd name="connsiteY93" fmla="*/ 5199 h 10000"/>
                <a:gd name="connsiteX94" fmla="*/ 8507 w 10000"/>
                <a:gd name="connsiteY94" fmla="*/ 5249 h 10000"/>
                <a:gd name="connsiteX95" fmla="*/ 8596 w 10000"/>
                <a:gd name="connsiteY95" fmla="*/ 5430 h 10000"/>
                <a:gd name="connsiteX96" fmla="*/ 8782 w 10000"/>
                <a:gd name="connsiteY96" fmla="*/ 5470 h 10000"/>
                <a:gd name="connsiteX97" fmla="*/ 9542 w 10000"/>
                <a:gd name="connsiteY97" fmla="*/ 5208 h 10000"/>
                <a:gd name="connsiteX98" fmla="*/ 9914 w 10000"/>
                <a:gd name="connsiteY98" fmla="*/ 4838 h 10000"/>
                <a:gd name="connsiteX99" fmla="*/ 10000 w 10000"/>
                <a:gd name="connsiteY99" fmla="*/ 4574 h 10000"/>
                <a:gd name="connsiteX100" fmla="*/ 9866 w 10000"/>
                <a:gd name="connsiteY100" fmla="*/ 4330 h 10000"/>
                <a:gd name="connsiteX101" fmla="*/ 9582 w 10000"/>
                <a:gd name="connsiteY101" fmla="*/ 4188 h 10000"/>
                <a:gd name="connsiteX102" fmla="*/ 9382 w 10000"/>
                <a:gd name="connsiteY102" fmla="*/ 3948 h 10000"/>
                <a:gd name="connsiteX103" fmla="*/ 9569 w 10000"/>
                <a:gd name="connsiteY103" fmla="*/ 3941 h 10000"/>
                <a:gd name="connsiteX104" fmla="*/ 9555 w 10000"/>
                <a:gd name="connsiteY104" fmla="*/ 3886 h 10000"/>
                <a:gd name="connsiteX105" fmla="*/ 9068 w 10000"/>
                <a:gd name="connsiteY105" fmla="*/ 3720 h 10000"/>
                <a:gd name="connsiteX106" fmla="*/ 9047 w 10000"/>
                <a:gd name="connsiteY106" fmla="*/ 3566 h 10000"/>
                <a:gd name="connsiteX107" fmla="*/ 8953 w 10000"/>
                <a:gd name="connsiteY107" fmla="*/ 3406 h 10000"/>
                <a:gd name="connsiteX108" fmla="*/ 8569 w 10000"/>
                <a:gd name="connsiteY108" fmla="*/ 3436 h 10000"/>
                <a:gd name="connsiteX109" fmla="*/ 8431 w 10000"/>
                <a:gd name="connsiteY109" fmla="*/ 3265 h 10000"/>
                <a:gd name="connsiteX110" fmla="*/ 8350 w 10000"/>
                <a:gd name="connsiteY110" fmla="*/ 3254 h 10000"/>
                <a:gd name="connsiteX111" fmla="*/ 8350 w 10000"/>
                <a:gd name="connsiteY111" fmla="*/ 3331 h 10000"/>
                <a:gd name="connsiteX112" fmla="*/ 8176 w 10000"/>
                <a:gd name="connsiteY112" fmla="*/ 3613 h 10000"/>
                <a:gd name="connsiteX113" fmla="*/ 7990 w 10000"/>
                <a:gd name="connsiteY113" fmla="*/ 3783 h 10000"/>
                <a:gd name="connsiteX114" fmla="*/ 7401 w 10000"/>
                <a:gd name="connsiteY114" fmla="*/ 4066 h 10000"/>
                <a:gd name="connsiteX115" fmla="*/ 7198 w 10000"/>
                <a:gd name="connsiteY115" fmla="*/ 4058 h 10000"/>
                <a:gd name="connsiteX116" fmla="*/ 6915 w 10000"/>
                <a:gd name="connsiteY116" fmla="*/ 4101 h 10000"/>
                <a:gd name="connsiteX117" fmla="*/ 6757 w 10000"/>
                <a:gd name="connsiteY117" fmla="*/ 4058 h 10000"/>
                <a:gd name="connsiteX118" fmla="*/ 6965 w 10000"/>
                <a:gd name="connsiteY118" fmla="*/ 3976 h 10000"/>
                <a:gd name="connsiteX119" fmla="*/ 7235 w 10000"/>
                <a:gd name="connsiteY119" fmla="*/ 3941 h 10000"/>
                <a:gd name="connsiteX120" fmla="*/ 7455 w 10000"/>
                <a:gd name="connsiteY120" fmla="*/ 3809 h 10000"/>
                <a:gd name="connsiteX121" fmla="*/ 7674 w 10000"/>
                <a:gd name="connsiteY121" fmla="*/ 3746 h 10000"/>
                <a:gd name="connsiteX122" fmla="*/ 8082 w 10000"/>
                <a:gd name="connsiteY122" fmla="*/ 3512 h 10000"/>
                <a:gd name="connsiteX123" fmla="*/ 8157 w 10000"/>
                <a:gd name="connsiteY123" fmla="*/ 3359 h 10000"/>
                <a:gd name="connsiteX124" fmla="*/ 8165 w 10000"/>
                <a:gd name="connsiteY124" fmla="*/ 3163 h 10000"/>
                <a:gd name="connsiteX125" fmla="*/ 7978 w 10000"/>
                <a:gd name="connsiteY125" fmla="*/ 3129 h 10000"/>
                <a:gd name="connsiteX126" fmla="*/ 8058 w 10000"/>
                <a:gd name="connsiteY126" fmla="*/ 3009 h 10000"/>
                <a:gd name="connsiteX127" fmla="*/ 8087 w 10000"/>
                <a:gd name="connsiteY127" fmla="*/ 2856 h 10000"/>
                <a:gd name="connsiteX128" fmla="*/ 8007 w 10000"/>
                <a:gd name="connsiteY128" fmla="*/ 2714 h 10000"/>
                <a:gd name="connsiteX129" fmla="*/ 7450 w 10000"/>
                <a:gd name="connsiteY129" fmla="*/ 2910 h 10000"/>
                <a:gd name="connsiteX130" fmla="*/ 6694 w 10000"/>
                <a:gd name="connsiteY130" fmla="*/ 2823 h 10000"/>
                <a:gd name="connsiteX131" fmla="*/ 6304 w 10000"/>
                <a:gd name="connsiteY131" fmla="*/ 2276 h 10000"/>
                <a:gd name="connsiteX132" fmla="*/ 5294 w 10000"/>
                <a:gd name="connsiteY132" fmla="*/ 2173 h 10000"/>
                <a:gd name="connsiteX133" fmla="*/ 4505 w 10000"/>
                <a:gd name="connsiteY133" fmla="*/ 1721 h 10000"/>
                <a:gd name="connsiteX134" fmla="*/ 3730 w 10000"/>
                <a:gd name="connsiteY134" fmla="*/ 1176 h 10000"/>
                <a:gd name="connsiteX135" fmla="*/ 3154 w 10000"/>
                <a:gd name="connsiteY135" fmla="*/ 173 h 10000"/>
                <a:gd name="connsiteX136" fmla="*/ 2375 w 10000"/>
                <a:gd name="connsiteY136" fmla="*/ 0 h 10000"/>
                <a:gd name="connsiteX137" fmla="*/ 2226 w 10000"/>
                <a:gd name="connsiteY137" fmla="*/ 941 h 10000"/>
                <a:gd name="connsiteX138" fmla="*/ 2375 w 10000"/>
                <a:gd name="connsiteY138" fmla="*/ 1181 h 10000"/>
                <a:gd name="connsiteX139" fmla="*/ 2791 w 10000"/>
                <a:gd name="connsiteY139" fmla="*/ 1446 h 10000"/>
                <a:gd name="connsiteX140" fmla="*/ 2808 w 10000"/>
                <a:gd name="connsiteY140" fmla="*/ 1767 h 10000"/>
                <a:gd name="connsiteX141" fmla="*/ 2632 w 10000"/>
                <a:gd name="connsiteY141" fmla="*/ 2035 h 10000"/>
                <a:gd name="connsiteX142" fmla="*/ 2375 w 10000"/>
                <a:gd name="connsiteY142" fmla="*/ 2196 h 10000"/>
                <a:gd name="connsiteX143" fmla="*/ 2039 w 10000"/>
                <a:gd name="connsiteY143" fmla="*/ 2260 h 10000"/>
                <a:gd name="connsiteX144" fmla="*/ 1950 w 10000"/>
                <a:gd name="connsiteY144" fmla="*/ 2357 h 10000"/>
                <a:gd name="connsiteX145" fmla="*/ 2148 w 10000"/>
                <a:gd name="connsiteY145" fmla="*/ 2577 h 10000"/>
                <a:gd name="connsiteX146" fmla="*/ 2261 w 10000"/>
                <a:gd name="connsiteY146" fmla="*/ 3104 h 10000"/>
                <a:gd name="connsiteX147" fmla="*/ 2005 w 10000"/>
                <a:gd name="connsiteY147" fmla="*/ 3555 h 10000"/>
                <a:gd name="connsiteX148" fmla="*/ 2094 w 10000"/>
                <a:gd name="connsiteY148" fmla="*/ 3692 h 10000"/>
                <a:gd name="connsiteX149" fmla="*/ 2012 w 10000"/>
                <a:gd name="connsiteY149" fmla="*/ 3926 h 10000"/>
                <a:gd name="connsiteX150" fmla="*/ 1850 w 10000"/>
                <a:gd name="connsiteY150" fmla="*/ 4089 h 10000"/>
                <a:gd name="connsiteX151" fmla="*/ 1199 w 10000"/>
                <a:gd name="connsiteY151" fmla="*/ 4215 h 10000"/>
                <a:gd name="connsiteX152" fmla="*/ 1158 w 10000"/>
                <a:gd name="connsiteY152" fmla="*/ 4432 h 10000"/>
                <a:gd name="connsiteX153" fmla="*/ 808 w 10000"/>
                <a:gd name="connsiteY153" fmla="*/ 4754 h 10000"/>
                <a:gd name="connsiteX154" fmla="*/ 854 w 10000"/>
                <a:gd name="connsiteY154" fmla="*/ 5224 h 10000"/>
                <a:gd name="connsiteX155" fmla="*/ 560 w 10000"/>
                <a:gd name="connsiteY155" fmla="*/ 5822 h 10000"/>
                <a:gd name="connsiteX156" fmla="*/ 358 w 10000"/>
                <a:gd name="connsiteY156" fmla="*/ 5891 h 10000"/>
                <a:gd name="connsiteX157" fmla="*/ 275 w 10000"/>
                <a:gd name="connsiteY157" fmla="*/ 5749 h 10000"/>
                <a:gd name="connsiteX158" fmla="*/ 174 w 10000"/>
                <a:gd name="connsiteY158" fmla="*/ 5964 h 10000"/>
                <a:gd name="connsiteX159" fmla="*/ 239 w 10000"/>
                <a:gd name="connsiteY159" fmla="*/ 5592 h 10000"/>
                <a:gd name="connsiteX160" fmla="*/ 197 w 10000"/>
                <a:gd name="connsiteY160" fmla="*/ 5523 h 10000"/>
                <a:gd name="connsiteX0" fmla="*/ 197 w 10000"/>
                <a:gd name="connsiteY0" fmla="*/ 5523 h 10000"/>
                <a:gd name="connsiteX1" fmla="*/ 0 w 10000"/>
                <a:gd name="connsiteY1" fmla="*/ 5717 h 10000"/>
                <a:gd name="connsiteX2" fmla="*/ 0 w 10000"/>
                <a:gd name="connsiteY2" fmla="*/ 6668 h 10000"/>
                <a:gd name="connsiteX3" fmla="*/ 109 w 10000"/>
                <a:gd name="connsiteY3" fmla="*/ 6693 h 10000"/>
                <a:gd name="connsiteX4" fmla="*/ 134 w 10000"/>
                <a:gd name="connsiteY4" fmla="*/ 6769 h 10000"/>
                <a:gd name="connsiteX5" fmla="*/ 130 w 10000"/>
                <a:gd name="connsiteY5" fmla="*/ 6897 h 10000"/>
                <a:gd name="connsiteX6" fmla="*/ 89 w 10000"/>
                <a:gd name="connsiteY6" fmla="*/ 6953 h 10000"/>
                <a:gd name="connsiteX7" fmla="*/ 255 w 10000"/>
                <a:gd name="connsiteY7" fmla="*/ 6842 h 10000"/>
                <a:gd name="connsiteX8" fmla="*/ 325 w 10000"/>
                <a:gd name="connsiteY8" fmla="*/ 6737 h 10000"/>
                <a:gd name="connsiteX9" fmla="*/ 413 w 10000"/>
                <a:gd name="connsiteY9" fmla="*/ 6809 h 10000"/>
                <a:gd name="connsiteX10" fmla="*/ 316 w 10000"/>
                <a:gd name="connsiteY10" fmla="*/ 6965 h 10000"/>
                <a:gd name="connsiteX11" fmla="*/ 419 w 10000"/>
                <a:gd name="connsiteY11" fmla="*/ 6969 h 10000"/>
                <a:gd name="connsiteX12" fmla="*/ 469 w 10000"/>
                <a:gd name="connsiteY12" fmla="*/ 7008 h 10000"/>
                <a:gd name="connsiteX13" fmla="*/ 337 w 10000"/>
                <a:gd name="connsiteY13" fmla="*/ 7059 h 10000"/>
                <a:gd name="connsiteX14" fmla="*/ 130 w 10000"/>
                <a:gd name="connsiteY14" fmla="*/ 7220 h 10000"/>
                <a:gd name="connsiteX15" fmla="*/ 497 w 10000"/>
                <a:gd name="connsiteY15" fmla="*/ 7345 h 10000"/>
                <a:gd name="connsiteX16" fmla="*/ 545 w 10000"/>
                <a:gd name="connsiteY16" fmla="*/ 7522 h 10000"/>
                <a:gd name="connsiteX17" fmla="*/ 419 w 10000"/>
                <a:gd name="connsiteY17" fmla="*/ 7785 h 10000"/>
                <a:gd name="connsiteX18" fmla="*/ 688 w 10000"/>
                <a:gd name="connsiteY18" fmla="*/ 7770 h 10000"/>
                <a:gd name="connsiteX19" fmla="*/ 709 w 10000"/>
                <a:gd name="connsiteY19" fmla="*/ 7965 h 10000"/>
                <a:gd name="connsiteX20" fmla="*/ 530 w 10000"/>
                <a:gd name="connsiteY20" fmla="*/ 8105 h 10000"/>
                <a:gd name="connsiteX21" fmla="*/ 560 w 10000"/>
                <a:gd name="connsiteY21" fmla="*/ 8362 h 10000"/>
                <a:gd name="connsiteX22" fmla="*/ 489 w 10000"/>
                <a:gd name="connsiteY22" fmla="*/ 8568 h 10000"/>
                <a:gd name="connsiteX23" fmla="*/ 703 w 10000"/>
                <a:gd name="connsiteY23" fmla="*/ 8587 h 10000"/>
                <a:gd name="connsiteX24" fmla="*/ 909 w 10000"/>
                <a:gd name="connsiteY24" fmla="*/ 9367 h 10000"/>
                <a:gd name="connsiteX25" fmla="*/ 1616 w 10000"/>
                <a:gd name="connsiteY25" fmla="*/ 8985 h 10000"/>
                <a:gd name="connsiteX26" fmla="*/ 1990 w 10000"/>
                <a:gd name="connsiteY26" fmla="*/ 9254 h 10000"/>
                <a:gd name="connsiteX27" fmla="*/ 2443 w 10000"/>
                <a:gd name="connsiteY27" fmla="*/ 8769 h 10000"/>
                <a:gd name="connsiteX28" fmla="*/ 3819 w 10000"/>
                <a:gd name="connsiteY28" fmla="*/ 9296 h 10000"/>
                <a:gd name="connsiteX29" fmla="*/ 4166 w 10000"/>
                <a:gd name="connsiteY29" fmla="*/ 8956 h 10000"/>
                <a:gd name="connsiteX30" fmla="*/ 6419 w 10000"/>
                <a:gd name="connsiteY30" fmla="*/ 10000 h 10000"/>
                <a:gd name="connsiteX31" fmla="*/ 6586 w 10000"/>
                <a:gd name="connsiteY31" fmla="*/ 9169 h 10000"/>
                <a:gd name="connsiteX32" fmla="*/ 6855 w 10000"/>
                <a:gd name="connsiteY32" fmla="*/ 8801 h 10000"/>
                <a:gd name="connsiteX33" fmla="*/ 6855 w 10000"/>
                <a:gd name="connsiteY33" fmla="*/ 8603 h 10000"/>
                <a:gd name="connsiteX34" fmla="*/ 6757 w 10000"/>
                <a:gd name="connsiteY34" fmla="*/ 8497 h 10000"/>
                <a:gd name="connsiteX35" fmla="*/ 6915 w 10000"/>
                <a:gd name="connsiteY35" fmla="*/ 8318 h 10000"/>
                <a:gd name="connsiteX36" fmla="*/ 6887 w 10000"/>
                <a:gd name="connsiteY36" fmla="*/ 8175 h 10000"/>
                <a:gd name="connsiteX37" fmla="*/ 6779 w 10000"/>
                <a:gd name="connsiteY37" fmla="*/ 8053 h 10000"/>
                <a:gd name="connsiteX38" fmla="*/ 6757 w 10000"/>
                <a:gd name="connsiteY38" fmla="*/ 7956 h 10000"/>
                <a:gd name="connsiteX39" fmla="*/ 6785 w 10000"/>
                <a:gd name="connsiteY39" fmla="*/ 7886 h 10000"/>
                <a:gd name="connsiteX40" fmla="*/ 6931 w 10000"/>
                <a:gd name="connsiteY40" fmla="*/ 7942 h 10000"/>
                <a:gd name="connsiteX41" fmla="*/ 7045 w 10000"/>
                <a:gd name="connsiteY41" fmla="*/ 7939 h 10000"/>
                <a:gd name="connsiteX42" fmla="*/ 6983 w 10000"/>
                <a:gd name="connsiteY42" fmla="*/ 7822 h 10000"/>
                <a:gd name="connsiteX43" fmla="*/ 7003 w 10000"/>
                <a:gd name="connsiteY43" fmla="*/ 7752 h 10000"/>
                <a:gd name="connsiteX44" fmla="*/ 7089 w 10000"/>
                <a:gd name="connsiteY44" fmla="*/ 7653 h 10000"/>
                <a:gd name="connsiteX45" fmla="*/ 7074 w 10000"/>
                <a:gd name="connsiteY45" fmla="*/ 7570 h 10000"/>
                <a:gd name="connsiteX46" fmla="*/ 7152 w 10000"/>
                <a:gd name="connsiteY46" fmla="*/ 7295 h 10000"/>
                <a:gd name="connsiteX47" fmla="*/ 7130 w 10000"/>
                <a:gd name="connsiteY47" fmla="*/ 7209 h 10000"/>
                <a:gd name="connsiteX48" fmla="*/ 6729 w 10000"/>
                <a:gd name="connsiteY48" fmla="*/ 6997 h 10000"/>
                <a:gd name="connsiteX49" fmla="*/ 6785 w 10000"/>
                <a:gd name="connsiteY49" fmla="*/ 6989 h 10000"/>
                <a:gd name="connsiteX50" fmla="*/ 6998 w 10000"/>
                <a:gd name="connsiteY50" fmla="*/ 7043 h 10000"/>
                <a:gd name="connsiteX51" fmla="*/ 7230 w 10000"/>
                <a:gd name="connsiteY51" fmla="*/ 7023 h 10000"/>
                <a:gd name="connsiteX52" fmla="*/ 7295 w 10000"/>
                <a:gd name="connsiteY52" fmla="*/ 6949 h 10000"/>
                <a:gd name="connsiteX53" fmla="*/ 7074 w 10000"/>
                <a:gd name="connsiteY53" fmla="*/ 6806 h 10000"/>
                <a:gd name="connsiteX54" fmla="*/ 6414 w 10000"/>
                <a:gd name="connsiteY54" fmla="*/ 6711 h 10000"/>
                <a:gd name="connsiteX55" fmla="*/ 6458 w 10000"/>
                <a:gd name="connsiteY55" fmla="*/ 6668 h 10000"/>
                <a:gd name="connsiteX56" fmla="*/ 6998 w 10000"/>
                <a:gd name="connsiteY56" fmla="*/ 6638 h 10000"/>
                <a:gd name="connsiteX57" fmla="*/ 7295 w 10000"/>
                <a:gd name="connsiteY57" fmla="*/ 6724 h 10000"/>
                <a:gd name="connsiteX58" fmla="*/ 7466 w 10000"/>
                <a:gd name="connsiteY58" fmla="*/ 6668 h 10000"/>
                <a:gd name="connsiteX59" fmla="*/ 7529 w 10000"/>
                <a:gd name="connsiteY59" fmla="*/ 6520 h 10000"/>
                <a:gd name="connsiteX60" fmla="*/ 7840 w 10000"/>
                <a:gd name="connsiteY60" fmla="*/ 6520 h 10000"/>
                <a:gd name="connsiteX61" fmla="*/ 8261 w 10000"/>
                <a:gd name="connsiteY61" fmla="*/ 6219 h 10000"/>
                <a:gd name="connsiteX62" fmla="*/ 8275 w 10000"/>
                <a:gd name="connsiteY62" fmla="*/ 6019 h 10000"/>
                <a:gd name="connsiteX63" fmla="*/ 8453 w 10000"/>
                <a:gd name="connsiteY63" fmla="*/ 6064 h 10000"/>
                <a:gd name="connsiteX64" fmla="*/ 8446 w 10000"/>
                <a:gd name="connsiteY64" fmla="*/ 6266 h 10000"/>
                <a:gd name="connsiteX65" fmla="*/ 8727 w 10000"/>
                <a:gd name="connsiteY65" fmla="*/ 6251 h 10000"/>
                <a:gd name="connsiteX66" fmla="*/ 8913 w 10000"/>
                <a:gd name="connsiteY66" fmla="*/ 6043 h 10000"/>
                <a:gd name="connsiteX67" fmla="*/ 9258 w 10000"/>
                <a:gd name="connsiteY67" fmla="*/ 5856 h 10000"/>
                <a:gd name="connsiteX68" fmla="*/ 9203 w 10000"/>
                <a:gd name="connsiteY68" fmla="*/ 5644 h 10000"/>
                <a:gd name="connsiteX69" fmla="*/ 9306 w 10000"/>
                <a:gd name="connsiteY69" fmla="*/ 5730 h 10000"/>
                <a:gd name="connsiteX70" fmla="*/ 9464 w 10000"/>
                <a:gd name="connsiteY70" fmla="*/ 5730 h 10000"/>
                <a:gd name="connsiteX71" fmla="*/ 9464 w 10000"/>
                <a:gd name="connsiteY71" fmla="*/ 5630 h 10000"/>
                <a:gd name="connsiteX72" fmla="*/ 9611 w 10000"/>
                <a:gd name="connsiteY72" fmla="*/ 5558 h 10000"/>
                <a:gd name="connsiteX73" fmla="*/ 9592 w 10000"/>
                <a:gd name="connsiteY73" fmla="*/ 5481 h 10000"/>
                <a:gd name="connsiteX74" fmla="*/ 8350 w 10000"/>
                <a:gd name="connsiteY74" fmla="*/ 5632 h 10000"/>
                <a:gd name="connsiteX75" fmla="*/ 8058 w 10000"/>
                <a:gd name="connsiteY75" fmla="*/ 5590 h 10000"/>
                <a:gd name="connsiteX76" fmla="*/ 7942 w 10000"/>
                <a:gd name="connsiteY76" fmla="*/ 5644 h 10000"/>
                <a:gd name="connsiteX77" fmla="*/ 7903 w 10000"/>
                <a:gd name="connsiteY77" fmla="*/ 5537 h 10000"/>
                <a:gd name="connsiteX78" fmla="*/ 7765 w 10000"/>
                <a:gd name="connsiteY78" fmla="*/ 5443 h 10000"/>
                <a:gd name="connsiteX79" fmla="*/ 7213 w 10000"/>
                <a:gd name="connsiteY79" fmla="*/ 5249 h 10000"/>
                <a:gd name="connsiteX80" fmla="*/ 6887 w 10000"/>
                <a:gd name="connsiteY80" fmla="*/ 5282 h 10000"/>
                <a:gd name="connsiteX81" fmla="*/ 6757 w 10000"/>
                <a:gd name="connsiteY81" fmla="*/ 5227 h 10000"/>
                <a:gd name="connsiteX82" fmla="*/ 6894 w 10000"/>
                <a:gd name="connsiteY82" fmla="*/ 5180 h 10000"/>
                <a:gd name="connsiteX83" fmla="*/ 6998 w 10000"/>
                <a:gd name="connsiteY83" fmla="*/ 5078 h 10000"/>
                <a:gd name="connsiteX84" fmla="*/ 7152 w 10000"/>
                <a:gd name="connsiteY84" fmla="*/ 5110 h 10000"/>
                <a:gd name="connsiteX85" fmla="*/ 7335 w 10000"/>
                <a:gd name="connsiteY85" fmla="*/ 5085 h 10000"/>
                <a:gd name="connsiteX86" fmla="*/ 7611 w 10000"/>
                <a:gd name="connsiteY86" fmla="*/ 5118 h 10000"/>
                <a:gd name="connsiteX87" fmla="*/ 7645 w 10000"/>
                <a:gd name="connsiteY87" fmla="*/ 5104 h 10000"/>
                <a:gd name="connsiteX88" fmla="*/ 7859 w 10000"/>
                <a:gd name="connsiteY88" fmla="*/ 5259 h 10000"/>
                <a:gd name="connsiteX89" fmla="*/ 8017 w 10000"/>
                <a:gd name="connsiteY89" fmla="*/ 5201 h 10000"/>
                <a:gd name="connsiteX90" fmla="*/ 8032 w 10000"/>
                <a:gd name="connsiteY90" fmla="*/ 5148 h 10000"/>
                <a:gd name="connsiteX91" fmla="*/ 8176 w 10000"/>
                <a:gd name="connsiteY91" fmla="*/ 5241 h 10000"/>
                <a:gd name="connsiteX92" fmla="*/ 8369 w 10000"/>
                <a:gd name="connsiteY92" fmla="*/ 5291 h 10000"/>
                <a:gd name="connsiteX93" fmla="*/ 8446 w 10000"/>
                <a:gd name="connsiteY93" fmla="*/ 5199 h 10000"/>
                <a:gd name="connsiteX94" fmla="*/ 8507 w 10000"/>
                <a:gd name="connsiteY94" fmla="*/ 5249 h 10000"/>
                <a:gd name="connsiteX95" fmla="*/ 8596 w 10000"/>
                <a:gd name="connsiteY95" fmla="*/ 5430 h 10000"/>
                <a:gd name="connsiteX96" fmla="*/ 8782 w 10000"/>
                <a:gd name="connsiteY96" fmla="*/ 5470 h 10000"/>
                <a:gd name="connsiteX97" fmla="*/ 9542 w 10000"/>
                <a:gd name="connsiteY97" fmla="*/ 5208 h 10000"/>
                <a:gd name="connsiteX98" fmla="*/ 9914 w 10000"/>
                <a:gd name="connsiteY98" fmla="*/ 4838 h 10000"/>
                <a:gd name="connsiteX99" fmla="*/ 10000 w 10000"/>
                <a:gd name="connsiteY99" fmla="*/ 4574 h 10000"/>
                <a:gd name="connsiteX100" fmla="*/ 9866 w 10000"/>
                <a:gd name="connsiteY100" fmla="*/ 4330 h 10000"/>
                <a:gd name="connsiteX101" fmla="*/ 9582 w 10000"/>
                <a:gd name="connsiteY101" fmla="*/ 4188 h 10000"/>
                <a:gd name="connsiteX102" fmla="*/ 9382 w 10000"/>
                <a:gd name="connsiteY102" fmla="*/ 3948 h 10000"/>
                <a:gd name="connsiteX103" fmla="*/ 9569 w 10000"/>
                <a:gd name="connsiteY103" fmla="*/ 3941 h 10000"/>
                <a:gd name="connsiteX104" fmla="*/ 9555 w 10000"/>
                <a:gd name="connsiteY104" fmla="*/ 3886 h 10000"/>
                <a:gd name="connsiteX105" fmla="*/ 9068 w 10000"/>
                <a:gd name="connsiteY105" fmla="*/ 3720 h 10000"/>
                <a:gd name="connsiteX106" fmla="*/ 9047 w 10000"/>
                <a:gd name="connsiteY106" fmla="*/ 3566 h 10000"/>
                <a:gd name="connsiteX107" fmla="*/ 8953 w 10000"/>
                <a:gd name="connsiteY107" fmla="*/ 3406 h 10000"/>
                <a:gd name="connsiteX108" fmla="*/ 8569 w 10000"/>
                <a:gd name="connsiteY108" fmla="*/ 3436 h 10000"/>
                <a:gd name="connsiteX109" fmla="*/ 8431 w 10000"/>
                <a:gd name="connsiteY109" fmla="*/ 3265 h 10000"/>
                <a:gd name="connsiteX110" fmla="*/ 8350 w 10000"/>
                <a:gd name="connsiteY110" fmla="*/ 3254 h 10000"/>
                <a:gd name="connsiteX111" fmla="*/ 8350 w 10000"/>
                <a:gd name="connsiteY111" fmla="*/ 3331 h 10000"/>
                <a:gd name="connsiteX112" fmla="*/ 8176 w 10000"/>
                <a:gd name="connsiteY112" fmla="*/ 3613 h 10000"/>
                <a:gd name="connsiteX113" fmla="*/ 7990 w 10000"/>
                <a:gd name="connsiteY113" fmla="*/ 3783 h 10000"/>
                <a:gd name="connsiteX114" fmla="*/ 7401 w 10000"/>
                <a:gd name="connsiteY114" fmla="*/ 4066 h 10000"/>
                <a:gd name="connsiteX115" fmla="*/ 7198 w 10000"/>
                <a:gd name="connsiteY115" fmla="*/ 4058 h 10000"/>
                <a:gd name="connsiteX116" fmla="*/ 6915 w 10000"/>
                <a:gd name="connsiteY116" fmla="*/ 4101 h 10000"/>
                <a:gd name="connsiteX117" fmla="*/ 6757 w 10000"/>
                <a:gd name="connsiteY117" fmla="*/ 4058 h 10000"/>
                <a:gd name="connsiteX118" fmla="*/ 6965 w 10000"/>
                <a:gd name="connsiteY118" fmla="*/ 3976 h 10000"/>
                <a:gd name="connsiteX119" fmla="*/ 7235 w 10000"/>
                <a:gd name="connsiteY119" fmla="*/ 3941 h 10000"/>
                <a:gd name="connsiteX120" fmla="*/ 7455 w 10000"/>
                <a:gd name="connsiteY120" fmla="*/ 3809 h 10000"/>
                <a:gd name="connsiteX121" fmla="*/ 7674 w 10000"/>
                <a:gd name="connsiteY121" fmla="*/ 3746 h 10000"/>
                <a:gd name="connsiteX122" fmla="*/ 8082 w 10000"/>
                <a:gd name="connsiteY122" fmla="*/ 3512 h 10000"/>
                <a:gd name="connsiteX123" fmla="*/ 8157 w 10000"/>
                <a:gd name="connsiteY123" fmla="*/ 3359 h 10000"/>
                <a:gd name="connsiteX124" fmla="*/ 8165 w 10000"/>
                <a:gd name="connsiteY124" fmla="*/ 3163 h 10000"/>
                <a:gd name="connsiteX125" fmla="*/ 7978 w 10000"/>
                <a:gd name="connsiteY125" fmla="*/ 3129 h 10000"/>
                <a:gd name="connsiteX126" fmla="*/ 8058 w 10000"/>
                <a:gd name="connsiteY126" fmla="*/ 3009 h 10000"/>
                <a:gd name="connsiteX127" fmla="*/ 8087 w 10000"/>
                <a:gd name="connsiteY127" fmla="*/ 2856 h 10000"/>
                <a:gd name="connsiteX128" fmla="*/ 8007 w 10000"/>
                <a:gd name="connsiteY128" fmla="*/ 2714 h 10000"/>
                <a:gd name="connsiteX129" fmla="*/ 7450 w 10000"/>
                <a:gd name="connsiteY129" fmla="*/ 2910 h 10000"/>
                <a:gd name="connsiteX130" fmla="*/ 6694 w 10000"/>
                <a:gd name="connsiteY130" fmla="*/ 2823 h 10000"/>
                <a:gd name="connsiteX131" fmla="*/ 6304 w 10000"/>
                <a:gd name="connsiteY131" fmla="*/ 2276 h 10000"/>
                <a:gd name="connsiteX132" fmla="*/ 5294 w 10000"/>
                <a:gd name="connsiteY132" fmla="*/ 2173 h 10000"/>
                <a:gd name="connsiteX133" fmla="*/ 4505 w 10000"/>
                <a:gd name="connsiteY133" fmla="*/ 1721 h 10000"/>
                <a:gd name="connsiteX134" fmla="*/ 3730 w 10000"/>
                <a:gd name="connsiteY134" fmla="*/ 1176 h 10000"/>
                <a:gd name="connsiteX135" fmla="*/ 3154 w 10000"/>
                <a:gd name="connsiteY135" fmla="*/ 173 h 10000"/>
                <a:gd name="connsiteX136" fmla="*/ 2375 w 10000"/>
                <a:gd name="connsiteY136" fmla="*/ 0 h 10000"/>
                <a:gd name="connsiteX137" fmla="*/ 2226 w 10000"/>
                <a:gd name="connsiteY137" fmla="*/ 941 h 10000"/>
                <a:gd name="connsiteX138" fmla="*/ 2375 w 10000"/>
                <a:gd name="connsiteY138" fmla="*/ 1181 h 10000"/>
                <a:gd name="connsiteX139" fmla="*/ 2791 w 10000"/>
                <a:gd name="connsiteY139" fmla="*/ 1446 h 10000"/>
                <a:gd name="connsiteX140" fmla="*/ 2808 w 10000"/>
                <a:gd name="connsiteY140" fmla="*/ 1767 h 10000"/>
                <a:gd name="connsiteX141" fmla="*/ 2632 w 10000"/>
                <a:gd name="connsiteY141" fmla="*/ 2035 h 10000"/>
                <a:gd name="connsiteX142" fmla="*/ 2375 w 10000"/>
                <a:gd name="connsiteY142" fmla="*/ 2196 h 10000"/>
                <a:gd name="connsiteX143" fmla="*/ 2039 w 10000"/>
                <a:gd name="connsiteY143" fmla="*/ 2260 h 10000"/>
                <a:gd name="connsiteX144" fmla="*/ 1950 w 10000"/>
                <a:gd name="connsiteY144" fmla="*/ 2357 h 10000"/>
                <a:gd name="connsiteX145" fmla="*/ 2148 w 10000"/>
                <a:gd name="connsiteY145" fmla="*/ 2577 h 10000"/>
                <a:gd name="connsiteX146" fmla="*/ 2261 w 10000"/>
                <a:gd name="connsiteY146" fmla="*/ 3104 h 10000"/>
                <a:gd name="connsiteX147" fmla="*/ 2005 w 10000"/>
                <a:gd name="connsiteY147" fmla="*/ 3555 h 10000"/>
                <a:gd name="connsiteX148" fmla="*/ 2094 w 10000"/>
                <a:gd name="connsiteY148" fmla="*/ 3692 h 10000"/>
                <a:gd name="connsiteX149" fmla="*/ 2012 w 10000"/>
                <a:gd name="connsiteY149" fmla="*/ 3926 h 10000"/>
                <a:gd name="connsiteX150" fmla="*/ 1850 w 10000"/>
                <a:gd name="connsiteY150" fmla="*/ 4089 h 10000"/>
                <a:gd name="connsiteX151" fmla="*/ 1199 w 10000"/>
                <a:gd name="connsiteY151" fmla="*/ 4215 h 10000"/>
                <a:gd name="connsiteX152" fmla="*/ 1158 w 10000"/>
                <a:gd name="connsiteY152" fmla="*/ 4432 h 10000"/>
                <a:gd name="connsiteX153" fmla="*/ 808 w 10000"/>
                <a:gd name="connsiteY153" fmla="*/ 4754 h 10000"/>
                <a:gd name="connsiteX154" fmla="*/ 854 w 10000"/>
                <a:gd name="connsiteY154" fmla="*/ 5224 h 10000"/>
                <a:gd name="connsiteX155" fmla="*/ 560 w 10000"/>
                <a:gd name="connsiteY155" fmla="*/ 5822 h 10000"/>
                <a:gd name="connsiteX156" fmla="*/ 358 w 10000"/>
                <a:gd name="connsiteY156" fmla="*/ 5891 h 10000"/>
                <a:gd name="connsiteX157" fmla="*/ 275 w 10000"/>
                <a:gd name="connsiteY157" fmla="*/ 5749 h 10000"/>
                <a:gd name="connsiteX158" fmla="*/ 174 w 10000"/>
                <a:gd name="connsiteY158" fmla="*/ 5964 h 10000"/>
                <a:gd name="connsiteX159" fmla="*/ 239 w 10000"/>
                <a:gd name="connsiteY159" fmla="*/ 5592 h 10000"/>
                <a:gd name="connsiteX160" fmla="*/ 197 w 10000"/>
                <a:gd name="connsiteY160" fmla="*/ 5523 h 10000"/>
                <a:gd name="connsiteX0" fmla="*/ 197 w 10000"/>
                <a:gd name="connsiteY0" fmla="*/ 5523 h 10000"/>
                <a:gd name="connsiteX1" fmla="*/ 0 w 10000"/>
                <a:gd name="connsiteY1" fmla="*/ 5717 h 10000"/>
                <a:gd name="connsiteX2" fmla="*/ 0 w 10000"/>
                <a:gd name="connsiteY2" fmla="*/ 6668 h 10000"/>
                <a:gd name="connsiteX3" fmla="*/ 109 w 10000"/>
                <a:gd name="connsiteY3" fmla="*/ 6693 h 10000"/>
                <a:gd name="connsiteX4" fmla="*/ 134 w 10000"/>
                <a:gd name="connsiteY4" fmla="*/ 6769 h 10000"/>
                <a:gd name="connsiteX5" fmla="*/ 130 w 10000"/>
                <a:gd name="connsiteY5" fmla="*/ 6897 h 10000"/>
                <a:gd name="connsiteX6" fmla="*/ 89 w 10000"/>
                <a:gd name="connsiteY6" fmla="*/ 6953 h 10000"/>
                <a:gd name="connsiteX7" fmla="*/ 255 w 10000"/>
                <a:gd name="connsiteY7" fmla="*/ 6842 h 10000"/>
                <a:gd name="connsiteX8" fmla="*/ 325 w 10000"/>
                <a:gd name="connsiteY8" fmla="*/ 6737 h 10000"/>
                <a:gd name="connsiteX9" fmla="*/ 413 w 10000"/>
                <a:gd name="connsiteY9" fmla="*/ 6809 h 10000"/>
                <a:gd name="connsiteX10" fmla="*/ 316 w 10000"/>
                <a:gd name="connsiteY10" fmla="*/ 6965 h 10000"/>
                <a:gd name="connsiteX11" fmla="*/ 419 w 10000"/>
                <a:gd name="connsiteY11" fmla="*/ 6969 h 10000"/>
                <a:gd name="connsiteX12" fmla="*/ 469 w 10000"/>
                <a:gd name="connsiteY12" fmla="*/ 7008 h 10000"/>
                <a:gd name="connsiteX13" fmla="*/ 337 w 10000"/>
                <a:gd name="connsiteY13" fmla="*/ 7059 h 10000"/>
                <a:gd name="connsiteX14" fmla="*/ 130 w 10000"/>
                <a:gd name="connsiteY14" fmla="*/ 7220 h 10000"/>
                <a:gd name="connsiteX15" fmla="*/ 497 w 10000"/>
                <a:gd name="connsiteY15" fmla="*/ 7345 h 10000"/>
                <a:gd name="connsiteX16" fmla="*/ 545 w 10000"/>
                <a:gd name="connsiteY16" fmla="*/ 7522 h 10000"/>
                <a:gd name="connsiteX17" fmla="*/ 419 w 10000"/>
                <a:gd name="connsiteY17" fmla="*/ 7785 h 10000"/>
                <a:gd name="connsiteX18" fmla="*/ 688 w 10000"/>
                <a:gd name="connsiteY18" fmla="*/ 7770 h 10000"/>
                <a:gd name="connsiteX19" fmla="*/ 709 w 10000"/>
                <a:gd name="connsiteY19" fmla="*/ 7965 h 10000"/>
                <a:gd name="connsiteX20" fmla="*/ 530 w 10000"/>
                <a:gd name="connsiteY20" fmla="*/ 8105 h 10000"/>
                <a:gd name="connsiteX21" fmla="*/ 560 w 10000"/>
                <a:gd name="connsiteY21" fmla="*/ 8362 h 10000"/>
                <a:gd name="connsiteX22" fmla="*/ 489 w 10000"/>
                <a:gd name="connsiteY22" fmla="*/ 8568 h 10000"/>
                <a:gd name="connsiteX23" fmla="*/ 703 w 10000"/>
                <a:gd name="connsiteY23" fmla="*/ 8587 h 10000"/>
                <a:gd name="connsiteX24" fmla="*/ 909 w 10000"/>
                <a:gd name="connsiteY24" fmla="*/ 9367 h 10000"/>
                <a:gd name="connsiteX25" fmla="*/ 1616 w 10000"/>
                <a:gd name="connsiteY25" fmla="*/ 8985 h 10000"/>
                <a:gd name="connsiteX26" fmla="*/ 1990 w 10000"/>
                <a:gd name="connsiteY26" fmla="*/ 9254 h 10000"/>
                <a:gd name="connsiteX27" fmla="*/ 2443 w 10000"/>
                <a:gd name="connsiteY27" fmla="*/ 8769 h 10000"/>
                <a:gd name="connsiteX28" fmla="*/ 3819 w 10000"/>
                <a:gd name="connsiteY28" fmla="*/ 9296 h 10000"/>
                <a:gd name="connsiteX29" fmla="*/ 4166 w 10000"/>
                <a:gd name="connsiteY29" fmla="*/ 8956 h 10000"/>
                <a:gd name="connsiteX30" fmla="*/ 5411 w 10000"/>
                <a:gd name="connsiteY30" fmla="*/ 9504 h 10000"/>
                <a:gd name="connsiteX31" fmla="*/ 6419 w 10000"/>
                <a:gd name="connsiteY31" fmla="*/ 10000 h 10000"/>
                <a:gd name="connsiteX32" fmla="*/ 6586 w 10000"/>
                <a:gd name="connsiteY32" fmla="*/ 9169 h 10000"/>
                <a:gd name="connsiteX33" fmla="*/ 6855 w 10000"/>
                <a:gd name="connsiteY33" fmla="*/ 8801 h 10000"/>
                <a:gd name="connsiteX34" fmla="*/ 6855 w 10000"/>
                <a:gd name="connsiteY34" fmla="*/ 8603 h 10000"/>
                <a:gd name="connsiteX35" fmla="*/ 6757 w 10000"/>
                <a:gd name="connsiteY35" fmla="*/ 8497 h 10000"/>
                <a:gd name="connsiteX36" fmla="*/ 6915 w 10000"/>
                <a:gd name="connsiteY36" fmla="*/ 8318 h 10000"/>
                <a:gd name="connsiteX37" fmla="*/ 6887 w 10000"/>
                <a:gd name="connsiteY37" fmla="*/ 8175 h 10000"/>
                <a:gd name="connsiteX38" fmla="*/ 6779 w 10000"/>
                <a:gd name="connsiteY38" fmla="*/ 8053 h 10000"/>
                <a:gd name="connsiteX39" fmla="*/ 6757 w 10000"/>
                <a:gd name="connsiteY39" fmla="*/ 7956 h 10000"/>
                <a:gd name="connsiteX40" fmla="*/ 6785 w 10000"/>
                <a:gd name="connsiteY40" fmla="*/ 7886 h 10000"/>
                <a:gd name="connsiteX41" fmla="*/ 6931 w 10000"/>
                <a:gd name="connsiteY41" fmla="*/ 7942 h 10000"/>
                <a:gd name="connsiteX42" fmla="*/ 7045 w 10000"/>
                <a:gd name="connsiteY42" fmla="*/ 7939 h 10000"/>
                <a:gd name="connsiteX43" fmla="*/ 6983 w 10000"/>
                <a:gd name="connsiteY43" fmla="*/ 7822 h 10000"/>
                <a:gd name="connsiteX44" fmla="*/ 7003 w 10000"/>
                <a:gd name="connsiteY44" fmla="*/ 7752 h 10000"/>
                <a:gd name="connsiteX45" fmla="*/ 7089 w 10000"/>
                <a:gd name="connsiteY45" fmla="*/ 7653 h 10000"/>
                <a:gd name="connsiteX46" fmla="*/ 7074 w 10000"/>
                <a:gd name="connsiteY46" fmla="*/ 7570 h 10000"/>
                <a:gd name="connsiteX47" fmla="*/ 7152 w 10000"/>
                <a:gd name="connsiteY47" fmla="*/ 7295 h 10000"/>
                <a:gd name="connsiteX48" fmla="*/ 7130 w 10000"/>
                <a:gd name="connsiteY48" fmla="*/ 7209 h 10000"/>
                <a:gd name="connsiteX49" fmla="*/ 6729 w 10000"/>
                <a:gd name="connsiteY49" fmla="*/ 6997 h 10000"/>
                <a:gd name="connsiteX50" fmla="*/ 6785 w 10000"/>
                <a:gd name="connsiteY50" fmla="*/ 6989 h 10000"/>
                <a:gd name="connsiteX51" fmla="*/ 6998 w 10000"/>
                <a:gd name="connsiteY51" fmla="*/ 7043 h 10000"/>
                <a:gd name="connsiteX52" fmla="*/ 7230 w 10000"/>
                <a:gd name="connsiteY52" fmla="*/ 7023 h 10000"/>
                <a:gd name="connsiteX53" fmla="*/ 7295 w 10000"/>
                <a:gd name="connsiteY53" fmla="*/ 6949 h 10000"/>
                <a:gd name="connsiteX54" fmla="*/ 7074 w 10000"/>
                <a:gd name="connsiteY54" fmla="*/ 6806 h 10000"/>
                <a:gd name="connsiteX55" fmla="*/ 6414 w 10000"/>
                <a:gd name="connsiteY55" fmla="*/ 6711 h 10000"/>
                <a:gd name="connsiteX56" fmla="*/ 6458 w 10000"/>
                <a:gd name="connsiteY56" fmla="*/ 6668 h 10000"/>
                <a:gd name="connsiteX57" fmla="*/ 6998 w 10000"/>
                <a:gd name="connsiteY57" fmla="*/ 6638 h 10000"/>
                <a:gd name="connsiteX58" fmla="*/ 7295 w 10000"/>
                <a:gd name="connsiteY58" fmla="*/ 6724 h 10000"/>
                <a:gd name="connsiteX59" fmla="*/ 7466 w 10000"/>
                <a:gd name="connsiteY59" fmla="*/ 6668 h 10000"/>
                <a:gd name="connsiteX60" fmla="*/ 7529 w 10000"/>
                <a:gd name="connsiteY60" fmla="*/ 6520 h 10000"/>
                <a:gd name="connsiteX61" fmla="*/ 7840 w 10000"/>
                <a:gd name="connsiteY61" fmla="*/ 6520 h 10000"/>
                <a:gd name="connsiteX62" fmla="*/ 8261 w 10000"/>
                <a:gd name="connsiteY62" fmla="*/ 6219 h 10000"/>
                <a:gd name="connsiteX63" fmla="*/ 8275 w 10000"/>
                <a:gd name="connsiteY63" fmla="*/ 6019 h 10000"/>
                <a:gd name="connsiteX64" fmla="*/ 8453 w 10000"/>
                <a:gd name="connsiteY64" fmla="*/ 6064 h 10000"/>
                <a:gd name="connsiteX65" fmla="*/ 8446 w 10000"/>
                <a:gd name="connsiteY65" fmla="*/ 6266 h 10000"/>
                <a:gd name="connsiteX66" fmla="*/ 8727 w 10000"/>
                <a:gd name="connsiteY66" fmla="*/ 6251 h 10000"/>
                <a:gd name="connsiteX67" fmla="*/ 8913 w 10000"/>
                <a:gd name="connsiteY67" fmla="*/ 6043 h 10000"/>
                <a:gd name="connsiteX68" fmla="*/ 9258 w 10000"/>
                <a:gd name="connsiteY68" fmla="*/ 5856 h 10000"/>
                <a:gd name="connsiteX69" fmla="*/ 9203 w 10000"/>
                <a:gd name="connsiteY69" fmla="*/ 5644 h 10000"/>
                <a:gd name="connsiteX70" fmla="*/ 9306 w 10000"/>
                <a:gd name="connsiteY70" fmla="*/ 5730 h 10000"/>
                <a:gd name="connsiteX71" fmla="*/ 9464 w 10000"/>
                <a:gd name="connsiteY71" fmla="*/ 5730 h 10000"/>
                <a:gd name="connsiteX72" fmla="*/ 9464 w 10000"/>
                <a:gd name="connsiteY72" fmla="*/ 5630 h 10000"/>
                <a:gd name="connsiteX73" fmla="*/ 9611 w 10000"/>
                <a:gd name="connsiteY73" fmla="*/ 5558 h 10000"/>
                <a:gd name="connsiteX74" fmla="*/ 9592 w 10000"/>
                <a:gd name="connsiteY74" fmla="*/ 5481 h 10000"/>
                <a:gd name="connsiteX75" fmla="*/ 8350 w 10000"/>
                <a:gd name="connsiteY75" fmla="*/ 5632 h 10000"/>
                <a:gd name="connsiteX76" fmla="*/ 8058 w 10000"/>
                <a:gd name="connsiteY76" fmla="*/ 5590 h 10000"/>
                <a:gd name="connsiteX77" fmla="*/ 7942 w 10000"/>
                <a:gd name="connsiteY77" fmla="*/ 5644 h 10000"/>
                <a:gd name="connsiteX78" fmla="*/ 7903 w 10000"/>
                <a:gd name="connsiteY78" fmla="*/ 5537 h 10000"/>
                <a:gd name="connsiteX79" fmla="*/ 7765 w 10000"/>
                <a:gd name="connsiteY79" fmla="*/ 5443 h 10000"/>
                <a:gd name="connsiteX80" fmla="*/ 7213 w 10000"/>
                <a:gd name="connsiteY80" fmla="*/ 5249 h 10000"/>
                <a:gd name="connsiteX81" fmla="*/ 6887 w 10000"/>
                <a:gd name="connsiteY81" fmla="*/ 5282 h 10000"/>
                <a:gd name="connsiteX82" fmla="*/ 6757 w 10000"/>
                <a:gd name="connsiteY82" fmla="*/ 5227 h 10000"/>
                <a:gd name="connsiteX83" fmla="*/ 6894 w 10000"/>
                <a:gd name="connsiteY83" fmla="*/ 5180 h 10000"/>
                <a:gd name="connsiteX84" fmla="*/ 6998 w 10000"/>
                <a:gd name="connsiteY84" fmla="*/ 5078 h 10000"/>
                <a:gd name="connsiteX85" fmla="*/ 7152 w 10000"/>
                <a:gd name="connsiteY85" fmla="*/ 5110 h 10000"/>
                <a:gd name="connsiteX86" fmla="*/ 7335 w 10000"/>
                <a:gd name="connsiteY86" fmla="*/ 5085 h 10000"/>
                <a:gd name="connsiteX87" fmla="*/ 7611 w 10000"/>
                <a:gd name="connsiteY87" fmla="*/ 5118 h 10000"/>
                <a:gd name="connsiteX88" fmla="*/ 7645 w 10000"/>
                <a:gd name="connsiteY88" fmla="*/ 5104 h 10000"/>
                <a:gd name="connsiteX89" fmla="*/ 7859 w 10000"/>
                <a:gd name="connsiteY89" fmla="*/ 5259 h 10000"/>
                <a:gd name="connsiteX90" fmla="*/ 8017 w 10000"/>
                <a:gd name="connsiteY90" fmla="*/ 5201 h 10000"/>
                <a:gd name="connsiteX91" fmla="*/ 8032 w 10000"/>
                <a:gd name="connsiteY91" fmla="*/ 5148 h 10000"/>
                <a:gd name="connsiteX92" fmla="*/ 8176 w 10000"/>
                <a:gd name="connsiteY92" fmla="*/ 5241 h 10000"/>
                <a:gd name="connsiteX93" fmla="*/ 8369 w 10000"/>
                <a:gd name="connsiteY93" fmla="*/ 5291 h 10000"/>
                <a:gd name="connsiteX94" fmla="*/ 8446 w 10000"/>
                <a:gd name="connsiteY94" fmla="*/ 5199 h 10000"/>
                <a:gd name="connsiteX95" fmla="*/ 8507 w 10000"/>
                <a:gd name="connsiteY95" fmla="*/ 5249 h 10000"/>
                <a:gd name="connsiteX96" fmla="*/ 8596 w 10000"/>
                <a:gd name="connsiteY96" fmla="*/ 5430 h 10000"/>
                <a:gd name="connsiteX97" fmla="*/ 8782 w 10000"/>
                <a:gd name="connsiteY97" fmla="*/ 5470 h 10000"/>
                <a:gd name="connsiteX98" fmla="*/ 9542 w 10000"/>
                <a:gd name="connsiteY98" fmla="*/ 5208 h 10000"/>
                <a:gd name="connsiteX99" fmla="*/ 9914 w 10000"/>
                <a:gd name="connsiteY99" fmla="*/ 4838 h 10000"/>
                <a:gd name="connsiteX100" fmla="*/ 10000 w 10000"/>
                <a:gd name="connsiteY100" fmla="*/ 4574 h 10000"/>
                <a:gd name="connsiteX101" fmla="*/ 9866 w 10000"/>
                <a:gd name="connsiteY101" fmla="*/ 4330 h 10000"/>
                <a:gd name="connsiteX102" fmla="*/ 9582 w 10000"/>
                <a:gd name="connsiteY102" fmla="*/ 4188 h 10000"/>
                <a:gd name="connsiteX103" fmla="*/ 9382 w 10000"/>
                <a:gd name="connsiteY103" fmla="*/ 3948 h 10000"/>
                <a:gd name="connsiteX104" fmla="*/ 9569 w 10000"/>
                <a:gd name="connsiteY104" fmla="*/ 3941 h 10000"/>
                <a:gd name="connsiteX105" fmla="*/ 9555 w 10000"/>
                <a:gd name="connsiteY105" fmla="*/ 3886 h 10000"/>
                <a:gd name="connsiteX106" fmla="*/ 9068 w 10000"/>
                <a:gd name="connsiteY106" fmla="*/ 3720 h 10000"/>
                <a:gd name="connsiteX107" fmla="*/ 9047 w 10000"/>
                <a:gd name="connsiteY107" fmla="*/ 3566 h 10000"/>
                <a:gd name="connsiteX108" fmla="*/ 8953 w 10000"/>
                <a:gd name="connsiteY108" fmla="*/ 3406 h 10000"/>
                <a:gd name="connsiteX109" fmla="*/ 8569 w 10000"/>
                <a:gd name="connsiteY109" fmla="*/ 3436 h 10000"/>
                <a:gd name="connsiteX110" fmla="*/ 8431 w 10000"/>
                <a:gd name="connsiteY110" fmla="*/ 3265 h 10000"/>
                <a:gd name="connsiteX111" fmla="*/ 8350 w 10000"/>
                <a:gd name="connsiteY111" fmla="*/ 3254 h 10000"/>
                <a:gd name="connsiteX112" fmla="*/ 8350 w 10000"/>
                <a:gd name="connsiteY112" fmla="*/ 3331 h 10000"/>
                <a:gd name="connsiteX113" fmla="*/ 8176 w 10000"/>
                <a:gd name="connsiteY113" fmla="*/ 3613 h 10000"/>
                <a:gd name="connsiteX114" fmla="*/ 7990 w 10000"/>
                <a:gd name="connsiteY114" fmla="*/ 3783 h 10000"/>
                <a:gd name="connsiteX115" fmla="*/ 7401 w 10000"/>
                <a:gd name="connsiteY115" fmla="*/ 4066 h 10000"/>
                <a:gd name="connsiteX116" fmla="*/ 7198 w 10000"/>
                <a:gd name="connsiteY116" fmla="*/ 4058 h 10000"/>
                <a:gd name="connsiteX117" fmla="*/ 6915 w 10000"/>
                <a:gd name="connsiteY117" fmla="*/ 4101 h 10000"/>
                <a:gd name="connsiteX118" fmla="*/ 6757 w 10000"/>
                <a:gd name="connsiteY118" fmla="*/ 4058 h 10000"/>
                <a:gd name="connsiteX119" fmla="*/ 6965 w 10000"/>
                <a:gd name="connsiteY119" fmla="*/ 3976 h 10000"/>
                <a:gd name="connsiteX120" fmla="*/ 7235 w 10000"/>
                <a:gd name="connsiteY120" fmla="*/ 3941 h 10000"/>
                <a:gd name="connsiteX121" fmla="*/ 7455 w 10000"/>
                <a:gd name="connsiteY121" fmla="*/ 3809 h 10000"/>
                <a:gd name="connsiteX122" fmla="*/ 7674 w 10000"/>
                <a:gd name="connsiteY122" fmla="*/ 3746 h 10000"/>
                <a:gd name="connsiteX123" fmla="*/ 8082 w 10000"/>
                <a:gd name="connsiteY123" fmla="*/ 3512 h 10000"/>
                <a:gd name="connsiteX124" fmla="*/ 8157 w 10000"/>
                <a:gd name="connsiteY124" fmla="*/ 3359 h 10000"/>
                <a:gd name="connsiteX125" fmla="*/ 8165 w 10000"/>
                <a:gd name="connsiteY125" fmla="*/ 3163 h 10000"/>
                <a:gd name="connsiteX126" fmla="*/ 7978 w 10000"/>
                <a:gd name="connsiteY126" fmla="*/ 3129 h 10000"/>
                <a:gd name="connsiteX127" fmla="*/ 8058 w 10000"/>
                <a:gd name="connsiteY127" fmla="*/ 3009 h 10000"/>
                <a:gd name="connsiteX128" fmla="*/ 8087 w 10000"/>
                <a:gd name="connsiteY128" fmla="*/ 2856 h 10000"/>
                <a:gd name="connsiteX129" fmla="*/ 8007 w 10000"/>
                <a:gd name="connsiteY129" fmla="*/ 2714 h 10000"/>
                <a:gd name="connsiteX130" fmla="*/ 7450 w 10000"/>
                <a:gd name="connsiteY130" fmla="*/ 2910 h 10000"/>
                <a:gd name="connsiteX131" fmla="*/ 6694 w 10000"/>
                <a:gd name="connsiteY131" fmla="*/ 2823 h 10000"/>
                <a:gd name="connsiteX132" fmla="*/ 6304 w 10000"/>
                <a:gd name="connsiteY132" fmla="*/ 2276 h 10000"/>
                <a:gd name="connsiteX133" fmla="*/ 5294 w 10000"/>
                <a:gd name="connsiteY133" fmla="*/ 2173 h 10000"/>
                <a:gd name="connsiteX134" fmla="*/ 4505 w 10000"/>
                <a:gd name="connsiteY134" fmla="*/ 1721 h 10000"/>
                <a:gd name="connsiteX135" fmla="*/ 3730 w 10000"/>
                <a:gd name="connsiteY135" fmla="*/ 1176 h 10000"/>
                <a:gd name="connsiteX136" fmla="*/ 3154 w 10000"/>
                <a:gd name="connsiteY136" fmla="*/ 173 h 10000"/>
                <a:gd name="connsiteX137" fmla="*/ 2375 w 10000"/>
                <a:gd name="connsiteY137" fmla="*/ 0 h 10000"/>
                <a:gd name="connsiteX138" fmla="*/ 2226 w 10000"/>
                <a:gd name="connsiteY138" fmla="*/ 941 h 10000"/>
                <a:gd name="connsiteX139" fmla="*/ 2375 w 10000"/>
                <a:gd name="connsiteY139" fmla="*/ 1181 h 10000"/>
                <a:gd name="connsiteX140" fmla="*/ 2791 w 10000"/>
                <a:gd name="connsiteY140" fmla="*/ 1446 h 10000"/>
                <a:gd name="connsiteX141" fmla="*/ 2808 w 10000"/>
                <a:gd name="connsiteY141" fmla="*/ 1767 h 10000"/>
                <a:gd name="connsiteX142" fmla="*/ 2632 w 10000"/>
                <a:gd name="connsiteY142" fmla="*/ 2035 h 10000"/>
                <a:gd name="connsiteX143" fmla="*/ 2375 w 10000"/>
                <a:gd name="connsiteY143" fmla="*/ 2196 h 10000"/>
                <a:gd name="connsiteX144" fmla="*/ 2039 w 10000"/>
                <a:gd name="connsiteY144" fmla="*/ 2260 h 10000"/>
                <a:gd name="connsiteX145" fmla="*/ 1950 w 10000"/>
                <a:gd name="connsiteY145" fmla="*/ 2357 h 10000"/>
                <a:gd name="connsiteX146" fmla="*/ 2148 w 10000"/>
                <a:gd name="connsiteY146" fmla="*/ 2577 h 10000"/>
                <a:gd name="connsiteX147" fmla="*/ 2261 w 10000"/>
                <a:gd name="connsiteY147" fmla="*/ 3104 h 10000"/>
                <a:gd name="connsiteX148" fmla="*/ 2005 w 10000"/>
                <a:gd name="connsiteY148" fmla="*/ 3555 h 10000"/>
                <a:gd name="connsiteX149" fmla="*/ 2094 w 10000"/>
                <a:gd name="connsiteY149" fmla="*/ 3692 h 10000"/>
                <a:gd name="connsiteX150" fmla="*/ 2012 w 10000"/>
                <a:gd name="connsiteY150" fmla="*/ 3926 h 10000"/>
                <a:gd name="connsiteX151" fmla="*/ 1850 w 10000"/>
                <a:gd name="connsiteY151" fmla="*/ 4089 h 10000"/>
                <a:gd name="connsiteX152" fmla="*/ 1199 w 10000"/>
                <a:gd name="connsiteY152" fmla="*/ 4215 h 10000"/>
                <a:gd name="connsiteX153" fmla="*/ 1158 w 10000"/>
                <a:gd name="connsiteY153" fmla="*/ 4432 h 10000"/>
                <a:gd name="connsiteX154" fmla="*/ 808 w 10000"/>
                <a:gd name="connsiteY154" fmla="*/ 4754 h 10000"/>
                <a:gd name="connsiteX155" fmla="*/ 854 w 10000"/>
                <a:gd name="connsiteY155" fmla="*/ 5224 h 10000"/>
                <a:gd name="connsiteX156" fmla="*/ 560 w 10000"/>
                <a:gd name="connsiteY156" fmla="*/ 5822 h 10000"/>
                <a:gd name="connsiteX157" fmla="*/ 358 w 10000"/>
                <a:gd name="connsiteY157" fmla="*/ 5891 h 10000"/>
                <a:gd name="connsiteX158" fmla="*/ 275 w 10000"/>
                <a:gd name="connsiteY158" fmla="*/ 5749 h 10000"/>
                <a:gd name="connsiteX159" fmla="*/ 174 w 10000"/>
                <a:gd name="connsiteY159" fmla="*/ 5964 h 10000"/>
                <a:gd name="connsiteX160" fmla="*/ 239 w 10000"/>
                <a:gd name="connsiteY160" fmla="*/ 5592 h 10000"/>
                <a:gd name="connsiteX161" fmla="*/ 197 w 10000"/>
                <a:gd name="connsiteY161" fmla="*/ 5523 h 10000"/>
                <a:gd name="connsiteX0" fmla="*/ 197 w 10000"/>
                <a:gd name="connsiteY0" fmla="*/ 5523 h 10000"/>
                <a:gd name="connsiteX1" fmla="*/ 0 w 10000"/>
                <a:gd name="connsiteY1" fmla="*/ 5717 h 10000"/>
                <a:gd name="connsiteX2" fmla="*/ 0 w 10000"/>
                <a:gd name="connsiteY2" fmla="*/ 6668 h 10000"/>
                <a:gd name="connsiteX3" fmla="*/ 109 w 10000"/>
                <a:gd name="connsiteY3" fmla="*/ 6693 h 10000"/>
                <a:gd name="connsiteX4" fmla="*/ 134 w 10000"/>
                <a:gd name="connsiteY4" fmla="*/ 6769 h 10000"/>
                <a:gd name="connsiteX5" fmla="*/ 130 w 10000"/>
                <a:gd name="connsiteY5" fmla="*/ 6897 h 10000"/>
                <a:gd name="connsiteX6" fmla="*/ 89 w 10000"/>
                <a:gd name="connsiteY6" fmla="*/ 6953 h 10000"/>
                <a:gd name="connsiteX7" fmla="*/ 255 w 10000"/>
                <a:gd name="connsiteY7" fmla="*/ 6842 h 10000"/>
                <a:gd name="connsiteX8" fmla="*/ 325 w 10000"/>
                <a:gd name="connsiteY8" fmla="*/ 6737 h 10000"/>
                <a:gd name="connsiteX9" fmla="*/ 413 w 10000"/>
                <a:gd name="connsiteY9" fmla="*/ 6809 h 10000"/>
                <a:gd name="connsiteX10" fmla="*/ 316 w 10000"/>
                <a:gd name="connsiteY10" fmla="*/ 6965 h 10000"/>
                <a:gd name="connsiteX11" fmla="*/ 419 w 10000"/>
                <a:gd name="connsiteY11" fmla="*/ 6969 h 10000"/>
                <a:gd name="connsiteX12" fmla="*/ 469 w 10000"/>
                <a:gd name="connsiteY12" fmla="*/ 7008 h 10000"/>
                <a:gd name="connsiteX13" fmla="*/ 337 w 10000"/>
                <a:gd name="connsiteY13" fmla="*/ 7059 h 10000"/>
                <a:gd name="connsiteX14" fmla="*/ 130 w 10000"/>
                <a:gd name="connsiteY14" fmla="*/ 7220 h 10000"/>
                <a:gd name="connsiteX15" fmla="*/ 497 w 10000"/>
                <a:gd name="connsiteY15" fmla="*/ 7345 h 10000"/>
                <a:gd name="connsiteX16" fmla="*/ 545 w 10000"/>
                <a:gd name="connsiteY16" fmla="*/ 7522 h 10000"/>
                <a:gd name="connsiteX17" fmla="*/ 419 w 10000"/>
                <a:gd name="connsiteY17" fmla="*/ 7785 h 10000"/>
                <a:gd name="connsiteX18" fmla="*/ 688 w 10000"/>
                <a:gd name="connsiteY18" fmla="*/ 7770 h 10000"/>
                <a:gd name="connsiteX19" fmla="*/ 709 w 10000"/>
                <a:gd name="connsiteY19" fmla="*/ 7965 h 10000"/>
                <a:gd name="connsiteX20" fmla="*/ 530 w 10000"/>
                <a:gd name="connsiteY20" fmla="*/ 8105 h 10000"/>
                <a:gd name="connsiteX21" fmla="*/ 560 w 10000"/>
                <a:gd name="connsiteY21" fmla="*/ 8362 h 10000"/>
                <a:gd name="connsiteX22" fmla="*/ 489 w 10000"/>
                <a:gd name="connsiteY22" fmla="*/ 8568 h 10000"/>
                <a:gd name="connsiteX23" fmla="*/ 703 w 10000"/>
                <a:gd name="connsiteY23" fmla="*/ 8587 h 10000"/>
                <a:gd name="connsiteX24" fmla="*/ 992 w 10000"/>
                <a:gd name="connsiteY24" fmla="*/ 9678 h 10000"/>
                <a:gd name="connsiteX25" fmla="*/ 1616 w 10000"/>
                <a:gd name="connsiteY25" fmla="*/ 8985 h 10000"/>
                <a:gd name="connsiteX26" fmla="*/ 1990 w 10000"/>
                <a:gd name="connsiteY26" fmla="*/ 9254 h 10000"/>
                <a:gd name="connsiteX27" fmla="*/ 2443 w 10000"/>
                <a:gd name="connsiteY27" fmla="*/ 8769 h 10000"/>
                <a:gd name="connsiteX28" fmla="*/ 3819 w 10000"/>
                <a:gd name="connsiteY28" fmla="*/ 9296 h 10000"/>
                <a:gd name="connsiteX29" fmla="*/ 4166 w 10000"/>
                <a:gd name="connsiteY29" fmla="*/ 8956 h 10000"/>
                <a:gd name="connsiteX30" fmla="*/ 5411 w 10000"/>
                <a:gd name="connsiteY30" fmla="*/ 9504 h 10000"/>
                <a:gd name="connsiteX31" fmla="*/ 6419 w 10000"/>
                <a:gd name="connsiteY31" fmla="*/ 10000 h 10000"/>
                <a:gd name="connsiteX32" fmla="*/ 6586 w 10000"/>
                <a:gd name="connsiteY32" fmla="*/ 9169 h 10000"/>
                <a:gd name="connsiteX33" fmla="*/ 6855 w 10000"/>
                <a:gd name="connsiteY33" fmla="*/ 8801 h 10000"/>
                <a:gd name="connsiteX34" fmla="*/ 6855 w 10000"/>
                <a:gd name="connsiteY34" fmla="*/ 8603 h 10000"/>
                <a:gd name="connsiteX35" fmla="*/ 6757 w 10000"/>
                <a:gd name="connsiteY35" fmla="*/ 8497 h 10000"/>
                <a:gd name="connsiteX36" fmla="*/ 6915 w 10000"/>
                <a:gd name="connsiteY36" fmla="*/ 8318 h 10000"/>
                <a:gd name="connsiteX37" fmla="*/ 6887 w 10000"/>
                <a:gd name="connsiteY37" fmla="*/ 8175 h 10000"/>
                <a:gd name="connsiteX38" fmla="*/ 6779 w 10000"/>
                <a:gd name="connsiteY38" fmla="*/ 8053 h 10000"/>
                <a:gd name="connsiteX39" fmla="*/ 6757 w 10000"/>
                <a:gd name="connsiteY39" fmla="*/ 7956 h 10000"/>
                <a:gd name="connsiteX40" fmla="*/ 6785 w 10000"/>
                <a:gd name="connsiteY40" fmla="*/ 7886 h 10000"/>
                <a:gd name="connsiteX41" fmla="*/ 6931 w 10000"/>
                <a:gd name="connsiteY41" fmla="*/ 7942 h 10000"/>
                <a:gd name="connsiteX42" fmla="*/ 7045 w 10000"/>
                <a:gd name="connsiteY42" fmla="*/ 7939 h 10000"/>
                <a:gd name="connsiteX43" fmla="*/ 6983 w 10000"/>
                <a:gd name="connsiteY43" fmla="*/ 7822 h 10000"/>
                <a:gd name="connsiteX44" fmla="*/ 7003 w 10000"/>
                <a:gd name="connsiteY44" fmla="*/ 7752 h 10000"/>
                <a:gd name="connsiteX45" fmla="*/ 7089 w 10000"/>
                <a:gd name="connsiteY45" fmla="*/ 7653 h 10000"/>
                <a:gd name="connsiteX46" fmla="*/ 7074 w 10000"/>
                <a:gd name="connsiteY46" fmla="*/ 7570 h 10000"/>
                <a:gd name="connsiteX47" fmla="*/ 7152 w 10000"/>
                <a:gd name="connsiteY47" fmla="*/ 7295 h 10000"/>
                <a:gd name="connsiteX48" fmla="*/ 7130 w 10000"/>
                <a:gd name="connsiteY48" fmla="*/ 7209 h 10000"/>
                <a:gd name="connsiteX49" fmla="*/ 6729 w 10000"/>
                <a:gd name="connsiteY49" fmla="*/ 6997 h 10000"/>
                <a:gd name="connsiteX50" fmla="*/ 6785 w 10000"/>
                <a:gd name="connsiteY50" fmla="*/ 6989 h 10000"/>
                <a:gd name="connsiteX51" fmla="*/ 6998 w 10000"/>
                <a:gd name="connsiteY51" fmla="*/ 7043 h 10000"/>
                <a:gd name="connsiteX52" fmla="*/ 7230 w 10000"/>
                <a:gd name="connsiteY52" fmla="*/ 7023 h 10000"/>
                <a:gd name="connsiteX53" fmla="*/ 7295 w 10000"/>
                <a:gd name="connsiteY53" fmla="*/ 6949 h 10000"/>
                <a:gd name="connsiteX54" fmla="*/ 7074 w 10000"/>
                <a:gd name="connsiteY54" fmla="*/ 6806 h 10000"/>
                <a:gd name="connsiteX55" fmla="*/ 6414 w 10000"/>
                <a:gd name="connsiteY55" fmla="*/ 6711 h 10000"/>
                <a:gd name="connsiteX56" fmla="*/ 6458 w 10000"/>
                <a:gd name="connsiteY56" fmla="*/ 6668 h 10000"/>
                <a:gd name="connsiteX57" fmla="*/ 6998 w 10000"/>
                <a:gd name="connsiteY57" fmla="*/ 6638 h 10000"/>
                <a:gd name="connsiteX58" fmla="*/ 7295 w 10000"/>
                <a:gd name="connsiteY58" fmla="*/ 6724 h 10000"/>
                <a:gd name="connsiteX59" fmla="*/ 7466 w 10000"/>
                <a:gd name="connsiteY59" fmla="*/ 6668 h 10000"/>
                <a:gd name="connsiteX60" fmla="*/ 7529 w 10000"/>
                <a:gd name="connsiteY60" fmla="*/ 6520 h 10000"/>
                <a:gd name="connsiteX61" fmla="*/ 7840 w 10000"/>
                <a:gd name="connsiteY61" fmla="*/ 6520 h 10000"/>
                <a:gd name="connsiteX62" fmla="*/ 8261 w 10000"/>
                <a:gd name="connsiteY62" fmla="*/ 6219 h 10000"/>
                <a:gd name="connsiteX63" fmla="*/ 8275 w 10000"/>
                <a:gd name="connsiteY63" fmla="*/ 6019 h 10000"/>
                <a:gd name="connsiteX64" fmla="*/ 8453 w 10000"/>
                <a:gd name="connsiteY64" fmla="*/ 6064 h 10000"/>
                <a:gd name="connsiteX65" fmla="*/ 8446 w 10000"/>
                <a:gd name="connsiteY65" fmla="*/ 6266 h 10000"/>
                <a:gd name="connsiteX66" fmla="*/ 8727 w 10000"/>
                <a:gd name="connsiteY66" fmla="*/ 6251 h 10000"/>
                <a:gd name="connsiteX67" fmla="*/ 8913 w 10000"/>
                <a:gd name="connsiteY67" fmla="*/ 6043 h 10000"/>
                <a:gd name="connsiteX68" fmla="*/ 9258 w 10000"/>
                <a:gd name="connsiteY68" fmla="*/ 5856 h 10000"/>
                <a:gd name="connsiteX69" fmla="*/ 9203 w 10000"/>
                <a:gd name="connsiteY69" fmla="*/ 5644 h 10000"/>
                <a:gd name="connsiteX70" fmla="*/ 9306 w 10000"/>
                <a:gd name="connsiteY70" fmla="*/ 5730 h 10000"/>
                <a:gd name="connsiteX71" fmla="*/ 9464 w 10000"/>
                <a:gd name="connsiteY71" fmla="*/ 5730 h 10000"/>
                <a:gd name="connsiteX72" fmla="*/ 9464 w 10000"/>
                <a:gd name="connsiteY72" fmla="*/ 5630 h 10000"/>
                <a:gd name="connsiteX73" fmla="*/ 9611 w 10000"/>
                <a:gd name="connsiteY73" fmla="*/ 5558 h 10000"/>
                <a:gd name="connsiteX74" fmla="*/ 9592 w 10000"/>
                <a:gd name="connsiteY74" fmla="*/ 5481 h 10000"/>
                <a:gd name="connsiteX75" fmla="*/ 8350 w 10000"/>
                <a:gd name="connsiteY75" fmla="*/ 5632 h 10000"/>
                <a:gd name="connsiteX76" fmla="*/ 8058 w 10000"/>
                <a:gd name="connsiteY76" fmla="*/ 5590 h 10000"/>
                <a:gd name="connsiteX77" fmla="*/ 7942 w 10000"/>
                <a:gd name="connsiteY77" fmla="*/ 5644 h 10000"/>
                <a:gd name="connsiteX78" fmla="*/ 7903 w 10000"/>
                <a:gd name="connsiteY78" fmla="*/ 5537 h 10000"/>
                <a:gd name="connsiteX79" fmla="*/ 7765 w 10000"/>
                <a:gd name="connsiteY79" fmla="*/ 5443 h 10000"/>
                <a:gd name="connsiteX80" fmla="*/ 7213 w 10000"/>
                <a:gd name="connsiteY80" fmla="*/ 5249 h 10000"/>
                <a:gd name="connsiteX81" fmla="*/ 6887 w 10000"/>
                <a:gd name="connsiteY81" fmla="*/ 5282 h 10000"/>
                <a:gd name="connsiteX82" fmla="*/ 6757 w 10000"/>
                <a:gd name="connsiteY82" fmla="*/ 5227 h 10000"/>
                <a:gd name="connsiteX83" fmla="*/ 6894 w 10000"/>
                <a:gd name="connsiteY83" fmla="*/ 5180 h 10000"/>
                <a:gd name="connsiteX84" fmla="*/ 6998 w 10000"/>
                <a:gd name="connsiteY84" fmla="*/ 5078 h 10000"/>
                <a:gd name="connsiteX85" fmla="*/ 7152 w 10000"/>
                <a:gd name="connsiteY85" fmla="*/ 5110 h 10000"/>
                <a:gd name="connsiteX86" fmla="*/ 7335 w 10000"/>
                <a:gd name="connsiteY86" fmla="*/ 5085 h 10000"/>
                <a:gd name="connsiteX87" fmla="*/ 7611 w 10000"/>
                <a:gd name="connsiteY87" fmla="*/ 5118 h 10000"/>
                <a:gd name="connsiteX88" fmla="*/ 7645 w 10000"/>
                <a:gd name="connsiteY88" fmla="*/ 5104 h 10000"/>
                <a:gd name="connsiteX89" fmla="*/ 7859 w 10000"/>
                <a:gd name="connsiteY89" fmla="*/ 5259 h 10000"/>
                <a:gd name="connsiteX90" fmla="*/ 8017 w 10000"/>
                <a:gd name="connsiteY90" fmla="*/ 5201 h 10000"/>
                <a:gd name="connsiteX91" fmla="*/ 8032 w 10000"/>
                <a:gd name="connsiteY91" fmla="*/ 5148 h 10000"/>
                <a:gd name="connsiteX92" fmla="*/ 8176 w 10000"/>
                <a:gd name="connsiteY92" fmla="*/ 5241 h 10000"/>
                <a:gd name="connsiteX93" fmla="*/ 8369 w 10000"/>
                <a:gd name="connsiteY93" fmla="*/ 5291 h 10000"/>
                <a:gd name="connsiteX94" fmla="*/ 8446 w 10000"/>
                <a:gd name="connsiteY94" fmla="*/ 5199 h 10000"/>
                <a:gd name="connsiteX95" fmla="*/ 8507 w 10000"/>
                <a:gd name="connsiteY95" fmla="*/ 5249 h 10000"/>
                <a:gd name="connsiteX96" fmla="*/ 8596 w 10000"/>
                <a:gd name="connsiteY96" fmla="*/ 5430 h 10000"/>
                <a:gd name="connsiteX97" fmla="*/ 8782 w 10000"/>
                <a:gd name="connsiteY97" fmla="*/ 5470 h 10000"/>
                <a:gd name="connsiteX98" fmla="*/ 9542 w 10000"/>
                <a:gd name="connsiteY98" fmla="*/ 5208 h 10000"/>
                <a:gd name="connsiteX99" fmla="*/ 9914 w 10000"/>
                <a:gd name="connsiteY99" fmla="*/ 4838 h 10000"/>
                <a:gd name="connsiteX100" fmla="*/ 10000 w 10000"/>
                <a:gd name="connsiteY100" fmla="*/ 4574 h 10000"/>
                <a:gd name="connsiteX101" fmla="*/ 9866 w 10000"/>
                <a:gd name="connsiteY101" fmla="*/ 4330 h 10000"/>
                <a:gd name="connsiteX102" fmla="*/ 9582 w 10000"/>
                <a:gd name="connsiteY102" fmla="*/ 4188 h 10000"/>
                <a:gd name="connsiteX103" fmla="*/ 9382 w 10000"/>
                <a:gd name="connsiteY103" fmla="*/ 3948 h 10000"/>
                <a:gd name="connsiteX104" fmla="*/ 9569 w 10000"/>
                <a:gd name="connsiteY104" fmla="*/ 3941 h 10000"/>
                <a:gd name="connsiteX105" fmla="*/ 9555 w 10000"/>
                <a:gd name="connsiteY105" fmla="*/ 3886 h 10000"/>
                <a:gd name="connsiteX106" fmla="*/ 9068 w 10000"/>
                <a:gd name="connsiteY106" fmla="*/ 3720 h 10000"/>
                <a:gd name="connsiteX107" fmla="*/ 9047 w 10000"/>
                <a:gd name="connsiteY107" fmla="*/ 3566 h 10000"/>
                <a:gd name="connsiteX108" fmla="*/ 8953 w 10000"/>
                <a:gd name="connsiteY108" fmla="*/ 3406 h 10000"/>
                <a:gd name="connsiteX109" fmla="*/ 8569 w 10000"/>
                <a:gd name="connsiteY109" fmla="*/ 3436 h 10000"/>
                <a:gd name="connsiteX110" fmla="*/ 8431 w 10000"/>
                <a:gd name="connsiteY110" fmla="*/ 3265 h 10000"/>
                <a:gd name="connsiteX111" fmla="*/ 8350 w 10000"/>
                <a:gd name="connsiteY111" fmla="*/ 3254 h 10000"/>
                <a:gd name="connsiteX112" fmla="*/ 8350 w 10000"/>
                <a:gd name="connsiteY112" fmla="*/ 3331 h 10000"/>
                <a:gd name="connsiteX113" fmla="*/ 8176 w 10000"/>
                <a:gd name="connsiteY113" fmla="*/ 3613 h 10000"/>
                <a:gd name="connsiteX114" fmla="*/ 7990 w 10000"/>
                <a:gd name="connsiteY114" fmla="*/ 3783 h 10000"/>
                <a:gd name="connsiteX115" fmla="*/ 7401 w 10000"/>
                <a:gd name="connsiteY115" fmla="*/ 4066 h 10000"/>
                <a:gd name="connsiteX116" fmla="*/ 7198 w 10000"/>
                <a:gd name="connsiteY116" fmla="*/ 4058 h 10000"/>
                <a:gd name="connsiteX117" fmla="*/ 6915 w 10000"/>
                <a:gd name="connsiteY117" fmla="*/ 4101 h 10000"/>
                <a:gd name="connsiteX118" fmla="*/ 6757 w 10000"/>
                <a:gd name="connsiteY118" fmla="*/ 4058 h 10000"/>
                <a:gd name="connsiteX119" fmla="*/ 6965 w 10000"/>
                <a:gd name="connsiteY119" fmla="*/ 3976 h 10000"/>
                <a:gd name="connsiteX120" fmla="*/ 7235 w 10000"/>
                <a:gd name="connsiteY120" fmla="*/ 3941 h 10000"/>
                <a:gd name="connsiteX121" fmla="*/ 7455 w 10000"/>
                <a:gd name="connsiteY121" fmla="*/ 3809 h 10000"/>
                <a:gd name="connsiteX122" fmla="*/ 7674 w 10000"/>
                <a:gd name="connsiteY122" fmla="*/ 3746 h 10000"/>
                <a:gd name="connsiteX123" fmla="*/ 8082 w 10000"/>
                <a:gd name="connsiteY123" fmla="*/ 3512 h 10000"/>
                <a:gd name="connsiteX124" fmla="*/ 8157 w 10000"/>
                <a:gd name="connsiteY124" fmla="*/ 3359 h 10000"/>
                <a:gd name="connsiteX125" fmla="*/ 8165 w 10000"/>
                <a:gd name="connsiteY125" fmla="*/ 3163 h 10000"/>
                <a:gd name="connsiteX126" fmla="*/ 7978 w 10000"/>
                <a:gd name="connsiteY126" fmla="*/ 3129 h 10000"/>
                <a:gd name="connsiteX127" fmla="*/ 8058 w 10000"/>
                <a:gd name="connsiteY127" fmla="*/ 3009 h 10000"/>
                <a:gd name="connsiteX128" fmla="*/ 8087 w 10000"/>
                <a:gd name="connsiteY128" fmla="*/ 2856 h 10000"/>
                <a:gd name="connsiteX129" fmla="*/ 8007 w 10000"/>
                <a:gd name="connsiteY129" fmla="*/ 2714 h 10000"/>
                <a:gd name="connsiteX130" fmla="*/ 7450 w 10000"/>
                <a:gd name="connsiteY130" fmla="*/ 2910 h 10000"/>
                <a:gd name="connsiteX131" fmla="*/ 6694 w 10000"/>
                <a:gd name="connsiteY131" fmla="*/ 2823 h 10000"/>
                <a:gd name="connsiteX132" fmla="*/ 6304 w 10000"/>
                <a:gd name="connsiteY132" fmla="*/ 2276 h 10000"/>
                <a:gd name="connsiteX133" fmla="*/ 5294 w 10000"/>
                <a:gd name="connsiteY133" fmla="*/ 2173 h 10000"/>
                <a:gd name="connsiteX134" fmla="*/ 4505 w 10000"/>
                <a:gd name="connsiteY134" fmla="*/ 1721 h 10000"/>
                <a:gd name="connsiteX135" fmla="*/ 3730 w 10000"/>
                <a:gd name="connsiteY135" fmla="*/ 1176 h 10000"/>
                <a:gd name="connsiteX136" fmla="*/ 3154 w 10000"/>
                <a:gd name="connsiteY136" fmla="*/ 173 h 10000"/>
                <a:gd name="connsiteX137" fmla="*/ 2375 w 10000"/>
                <a:gd name="connsiteY137" fmla="*/ 0 h 10000"/>
                <a:gd name="connsiteX138" fmla="*/ 2226 w 10000"/>
                <a:gd name="connsiteY138" fmla="*/ 941 h 10000"/>
                <a:gd name="connsiteX139" fmla="*/ 2375 w 10000"/>
                <a:gd name="connsiteY139" fmla="*/ 1181 h 10000"/>
                <a:gd name="connsiteX140" fmla="*/ 2791 w 10000"/>
                <a:gd name="connsiteY140" fmla="*/ 1446 h 10000"/>
                <a:gd name="connsiteX141" fmla="*/ 2808 w 10000"/>
                <a:gd name="connsiteY141" fmla="*/ 1767 h 10000"/>
                <a:gd name="connsiteX142" fmla="*/ 2632 w 10000"/>
                <a:gd name="connsiteY142" fmla="*/ 2035 h 10000"/>
                <a:gd name="connsiteX143" fmla="*/ 2375 w 10000"/>
                <a:gd name="connsiteY143" fmla="*/ 2196 h 10000"/>
                <a:gd name="connsiteX144" fmla="*/ 2039 w 10000"/>
                <a:gd name="connsiteY144" fmla="*/ 2260 h 10000"/>
                <a:gd name="connsiteX145" fmla="*/ 1950 w 10000"/>
                <a:gd name="connsiteY145" fmla="*/ 2357 h 10000"/>
                <a:gd name="connsiteX146" fmla="*/ 2148 w 10000"/>
                <a:gd name="connsiteY146" fmla="*/ 2577 h 10000"/>
                <a:gd name="connsiteX147" fmla="*/ 2261 w 10000"/>
                <a:gd name="connsiteY147" fmla="*/ 3104 h 10000"/>
                <a:gd name="connsiteX148" fmla="*/ 2005 w 10000"/>
                <a:gd name="connsiteY148" fmla="*/ 3555 h 10000"/>
                <a:gd name="connsiteX149" fmla="*/ 2094 w 10000"/>
                <a:gd name="connsiteY149" fmla="*/ 3692 h 10000"/>
                <a:gd name="connsiteX150" fmla="*/ 2012 w 10000"/>
                <a:gd name="connsiteY150" fmla="*/ 3926 h 10000"/>
                <a:gd name="connsiteX151" fmla="*/ 1850 w 10000"/>
                <a:gd name="connsiteY151" fmla="*/ 4089 h 10000"/>
                <a:gd name="connsiteX152" fmla="*/ 1199 w 10000"/>
                <a:gd name="connsiteY152" fmla="*/ 4215 h 10000"/>
                <a:gd name="connsiteX153" fmla="*/ 1158 w 10000"/>
                <a:gd name="connsiteY153" fmla="*/ 4432 h 10000"/>
                <a:gd name="connsiteX154" fmla="*/ 808 w 10000"/>
                <a:gd name="connsiteY154" fmla="*/ 4754 h 10000"/>
                <a:gd name="connsiteX155" fmla="*/ 854 w 10000"/>
                <a:gd name="connsiteY155" fmla="*/ 5224 h 10000"/>
                <a:gd name="connsiteX156" fmla="*/ 560 w 10000"/>
                <a:gd name="connsiteY156" fmla="*/ 5822 h 10000"/>
                <a:gd name="connsiteX157" fmla="*/ 358 w 10000"/>
                <a:gd name="connsiteY157" fmla="*/ 5891 h 10000"/>
                <a:gd name="connsiteX158" fmla="*/ 275 w 10000"/>
                <a:gd name="connsiteY158" fmla="*/ 5749 h 10000"/>
                <a:gd name="connsiteX159" fmla="*/ 174 w 10000"/>
                <a:gd name="connsiteY159" fmla="*/ 5964 h 10000"/>
                <a:gd name="connsiteX160" fmla="*/ 239 w 10000"/>
                <a:gd name="connsiteY160" fmla="*/ 5592 h 10000"/>
                <a:gd name="connsiteX161" fmla="*/ 197 w 10000"/>
                <a:gd name="connsiteY161" fmla="*/ 5523 h 10000"/>
                <a:gd name="connsiteX0" fmla="*/ 197 w 10000"/>
                <a:gd name="connsiteY0" fmla="*/ 5523 h 10000"/>
                <a:gd name="connsiteX1" fmla="*/ 0 w 10000"/>
                <a:gd name="connsiteY1" fmla="*/ 5717 h 10000"/>
                <a:gd name="connsiteX2" fmla="*/ 0 w 10000"/>
                <a:gd name="connsiteY2" fmla="*/ 6668 h 10000"/>
                <a:gd name="connsiteX3" fmla="*/ 109 w 10000"/>
                <a:gd name="connsiteY3" fmla="*/ 6693 h 10000"/>
                <a:gd name="connsiteX4" fmla="*/ 134 w 10000"/>
                <a:gd name="connsiteY4" fmla="*/ 6769 h 10000"/>
                <a:gd name="connsiteX5" fmla="*/ 130 w 10000"/>
                <a:gd name="connsiteY5" fmla="*/ 6897 h 10000"/>
                <a:gd name="connsiteX6" fmla="*/ 89 w 10000"/>
                <a:gd name="connsiteY6" fmla="*/ 6953 h 10000"/>
                <a:gd name="connsiteX7" fmla="*/ 255 w 10000"/>
                <a:gd name="connsiteY7" fmla="*/ 6842 h 10000"/>
                <a:gd name="connsiteX8" fmla="*/ 325 w 10000"/>
                <a:gd name="connsiteY8" fmla="*/ 6737 h 10000"/>
                <a:gd name="connsiteX9" fmla="*/ 413 w 10000"/>
                <a:gd name="connsiteY9" fmla="*/ 6809 h 10000"/>
                <a:gd name="connsiteX10" fmla="*/ 316 w 10000"/>
                <a:gd name="connsiteY10" fmla="*/ 6965 h 10000"/>
                <a:gd name="connsiteX11" fmla="*/ 419 w 10000"/>
                <a:gd name="connsiteY11" fmla="*/ 6969 h 10000"/>
                <a:gd name="connsiteX12" fmla="*/ 469 w 10000"/>
                <a:gd name="connsiteY12" fmla="*/ 7008 h 10000"/>
                <a:gd name="connsiteX13" fmla="*/ 337 w 10000"/>
                <a:gd name="connsiteY13" fmla="*/ 7059 h 10000"/>
                <a:gd name="connsiteX14" fmla="*/ 130 w 10000"/>
                <a:gd name="connsiteY14" fmla="*/ 7220 h 10000"/>
                <a:gd name="connsiteX15" fmla="*/ 497 w 10000"/>
                <a:gd name="connsiteY15" fmla="*/ 7345 h 10000"/>
                <a:gd name="connsiteX16" fmla="*/ 545 w 10000"/>
                <a:gd name="connsiteY16" fmla="*/ 7522 h 10000"/>
                <a:gd name="connsiteX17" fmla="*/ 419 w 10000"/>
                <a:gd name="connsiteY17" fmla="*/ 7785 h 10000"/>
                <a:gd name="connsiteX18" fmla="*/ 688 w 10000"/>
                <a:gd name="connsiteY18" fmla="*/ 7770 h 10000"/>
                <a:gd name="connsiteX19" fmla="*/ 709 w 10000"/>
                <a:gd name="connsiteY19" fmla="*/ 7965 h 10000"/>
                <a:gd name="connsiteX20" fmla="*/ 530 w 10000"/>
                <a:gd name="connsiteY20" fmla="*/ 8105 h 10000"/>
                <a:gd name="connsiteX21" fmla="*/ 560 w 10000"/>
                <a:gd name="connsiteY21" fmla="*/ 8362 h 10000"/>
                <a:gd name="connsiteX22" fmla="*/ 489 w 10000"/>
                <a:gd name="connsiteY22" fmla="*/ 8568 h 10000"/>
                <a:gd name="connsiteX23" fmla="*/ 703 w 10000"/>
                <a:gd name="connsiteY23" fmla="*/ 8587 h 10000"/>
                <a:gd name="connsiteX24" fmla="*/ 992 w 10000"/>
                <a:gd name="connsiteY24" fmla="*/ 9678 h 10000"/>
                <a:gd name="connsiteX25" fmla="*/ 1653 w 10000"/>
                <a:gd name="connsiteY25" fmla="*/ 9323 h 10000"/>
                <a:gd name="connsiteX26" fmla="*/ 1990 w 10000"/>
                <a:gd name="connsiteY26" fmla="*/ 9254 h 10000"/>
                <a:gd name="connsiteX27" fmla="*/ 2443 w 10000"/>
                <a:gd name="connsiteY27" fmla="*/ 8769 h 10000"/>
                <a:gd name="connsiteX28" fmla="*/ 3819 w 10000"/>
                <a:gd name="connsiteY28" fmla="*/ 9296 h 10000"/>
                <a:gd name="connsiteX29" fmla="*/ 4166 w 10000"/>
                <a:gd name="connsiteY29" fmla="*/ 8956 h 10000"/>
                <a:gd name="connsiteX30" fmla="*/ 5411 w 10000"/>
                <a:gd name="connsiteY30" fmla="*/ 9504 h 10000"/>
                <a:gd name="connsiteX31" fmla="*/ 6419 w 10000"/>
                <a:gd name="connsiteY31" fmla="*/ 10000 h 10000"/>
                <a:gd name="connsiteX32" fmla="*/ 6586 w 10000"/>
                <a:gd name="connsiteY32" fmla="*/ 9169 h 10000"/>
                <a:gd name="connsiteX33" fmla="*/ 6855 w 10000"/>
                <a:gd name="connsiteY33" fmla="*/ 8801 h 10000"/>
                <a:gd name="connsiteX34" fmla="*/ 6855 w 10000"/>
                <a:gd name="connsiteY34" fmla="*/ 8603 h 10000"/>
                <a:gd name="connsiteX35" fmla="*/ 6757 w 10000"/>
                <a:gd name="connsiteY35" fmla="*/ 8497 h 10000"/>
                <a:gd name="connsiteX36" fmla="*/ 6915 w 10000"/>
                <a:gd name="connsiteY36" fmla="*/ 8318 h 10000"/>
                <a:gd name="connsiteX37" fmla="*/ 6887 w 10000"/>
                <a:gd name="connsiteY37" fmla="*/ 8175 h 10000"/>
                <a:gd name="connsiteX38" fmla="*/ 6779 w 10000"/>
                <a:gd name="connsiteY38" fmla="*/ 8053 h 10000"/>
                <a:gd name="connsiteX39" fmla="*/ 6757 w 10000"/>
                <a:gd name="connsiteY39" fmla="*/ 7956 h 10000"/>
                <a:gd name="connsiteX40" fmla="*/ 6785 w 10000"/>
                <a:gd name="connsiteY40" fmla="*/ 7886 h 10000"/>
                <a:gd name="connsiteX41" fmla="*/ 6931 w 10000"/>
                <a:gd name="connsiteY41" fmla="*/ 7942 h 10000"/>
                <a:gd name="connsiteX42" fmla="*/ 7045 w 10000"/>
                <a:gd name="connsiteY42" fmla="*/ 7939 h 10000"/>
                <a:gd name="connsiteX43" fmla="*/ 6983 w 10000"/>
                <a:gd name="connsiteY43" fmla="*/ 7822 h 10000"/>
                <a:gd name="connsiteX44" fmla="*/ 7003 w 10000"/>
                <a:gd name="connsiteY44" fmla="*/ 7752 h 10000"/>
                <a:gd name="connsiteX45" fmla="*/ 7089 w 10000"/>
                <a:gd name="connsiteY45" fmla="*/ 7653 h 10000"/>
                <a:gd name="connsiteX46" fmla="*/ 7074 w 10000"/>
                <a:gd name="connsiteY46" fmla="*/ 7570 h 10000"/>
                <a:gd name="connsiteX47" fmla="*/ 7152 w 10000"/>
                <a:gd name="connsiteY47" fmla="*/ 7295 h 10000"/>
                <a:gd name="connsiteX48" fmla="*/ 7130 w 10000"/>
                <a:gd name="connsiteY48" fmla="*/ 7209 h 10000"/>
                <a:gd name="connsiteX49" fmla="*/ 6729 w 10000"/>
                <a:gd name="connsiteY49" fmla="*/ 6997 h 10000"/>
                <a:gd name="connsiteX50" fmla="*/ 6785 w 10000"/>
                <a:gd name="connsiteY50" fmla="*/ 6989 h 10000"/>
                <a:gd name="connsiteX51" fmla="*/ 6998 w 10000"/>
                <a:gd name="connsiteY51" fmla="*/ 7043 h 10000"/>
                <a:gd name="connsiteX52" fmla="*/ 7230 w 10000"/>
                <a:gd name="connsiteY52" fmla="*/ 7023 h 10000"/>
                <a:gd name="connsiteX53" fmla="*/ 7295 w 10000"/>
                <a:gd name="connsiteY53" fmla="*/ 6949 h 10000"/>
                <a:gd name="connsiteX54" fmla="*/ 7074 w 10000"/>
                <a:gd name="connsiteY54" fmla="*/ 6806 h 10000"/>
                <a:gd name="connsiteX55" fmla="*/ 6414 w 10000"/>
                <a:gd name="connsiteY55" fmla="*/ 6711 h 10000"/>
                <a:gd name="connsiteX56" fmla="*/ 6458 w 10000"/>
                <a:gd name="connsiteY56" fmla="*/ 6668 h 10000"/>
                <a:gd name="connsiteX57" fmla="*/ 6998 w 10000"/>
                <a:gd name="connsiteY57" fmla="*/ 6638 h 10000"/>
                <a:gd name="connsiteX58" fmla="*/ 7295 w 10000"/>
                <a:gd name="connsiteY58" fmla="*/ 6724 h 10000"/>
                <a:gd name="connsiteX59" fmla="*/ 7466 w 10000"/>
                <a:gd name="connsiteY59" fmla="*/ 6668 h 10000"/>
                <a:gd name="connsiteX60" fmla="*/ 7529 w 10000"/>
                <a:gd name="connsiteY60" fmla="*/ 6520 h 10000"/>
                <a:gd name="connsiteX61" fmla="*/ 7840 w 10000"/>
                <a:gd name="connsiteY61" fmla="*/ 6520 h 10000"/>
                <a:gd name="connsiteX62" fmla="*/ 8261 w 10000"/>
                <a:gd name="connsiteY62" fmla="*/ 6219 h 10000"/>
                <a:gd name="connsiteX63" fmla="*/ 8275 w 10000"/>
                <a:gd name="connsiteY63" fmla="*/ 6019 h 10000"/>
                <a:gd name="connsiteX64" fmla="*/ 8453 w 10000"/>
                <a:gd name="connsiteY64" fmla="*/ 6064 h 10000"/>
                <a:gd name="connsiteX65" fmla="*/ 8446 w 10000"/>
                <a:gd name="connsiteY65" fmla="*/ 6266 h 10000"/>
                <a:gd name="connsiteX66" fmla="*/ 8727 w 10000"/>
                <a:gd name="connsiteY66" fmla="*/ 6251 h 10000"/>
                <a:gd name="connsiteX67" fmla="*/ 8913 w 10000"/>
                <a:gd name="connsiteY67" fmla="*/ 6043 h 10000"/>
                <a:gd name="connsiteX68" fmla="*/ 9258 w 10000"/>
                <a:gd name="connsiteY68" fmla="*/ 5856 h 10000"/>
                <a:gd name="connsiteX69" fmla="*/ 9203 w 10000"/>
                <a:gd name="connsiteY69" fmla="*/ 5644 h 10000"/>
                <a:gd name="connsiteX70" fmla="*/ 9306 w 10000"/>
                <a:gd name="connsiteY70" fmla="*/ 5730 h 10000"/>
                <a:gd name="connsiteX71" fmla="*/ 9464 w 10000"/>
                <a:gd name="connsiteY71" fmla="*/ 5730 h 10000"/>
                <a:gd name="connsiteX72" fmla="*/ 9464 w 10000"/>
                <a:gd name="connsiteY72" fmla="*/ 5630 h 10000"/>
                <a:gd name="connsiteX73" fmla="*/ 9611 w 10000"/>
                <a:gd name="connsiteY73" fmla="*/ 5558 h 10000"/>
                <a:gd name="connsiteX74" fmla="*/ 9592 w 10000"/>
                <a:gd name="connsiteY74" fmla="*/ 5481 h 10000"/>
                <a:gd name="connsiteX75" fmla="*/ 8350 w 10000"/>
                <a:gd name="connsiteY75" fmla="*/ 5632 h 10000"/>
                <a:gd name="connsiteX76" fmla="*/ 8058 w 10000"/>
                <a:gd name="connsiteY76" fmla="*/ 5590 h 10000"/>
                <a:gd name="connsiteX77" fmla="*/ 7942 w 10000"/>
                <a:gd name="connsiteY77" fmla="*/ 5644 h 10000"/>
                <a:gd name="connsiteX78" fmla="*/ 7903 w 10000"/>
                <a:gd name="connsiteY78" fmla="*/ 5537 h 10000"/>
                <a:gd name="connsiteX79" fmla="*/ 7765 w 10000"/>
                <a:gd name="connsiteY79" fmla="*/ 5443 h 10000"/>
                <a:gd name="connsiteX80" fmla="*/ 7213 w 10000"/>
                <a:gd name="connsiteY80" fmla="*/ 5249 h 10000"/>
                <a:gd name="connsiteX81" fmla="*/ 6887 w 10000"/>
                <a:gd name="connsiteY81" fmla="*/ 5282 h 10000"/>
                <a:gd name="connsiteX82" fmla="*/ 6757 w 10000"/>
                <a:gd name="connsiteY82" fmla="*/ 5227 h 10000"/>
                <a:gd name="connsiteX83" fmla="*/ 6894 w 10000"/>
                <a:gd name="connsiteY83" fmla="*/ 5180 h 10000"/>
                <a:gd name="connsiteX84" fmla="*/ 6998 w 10000"/>
                <a:gd name="connsiteY84" fmla="*/ 5078 h 10000"/>
                <a:gd name="connsiteX85" fmla="*/ 7152 w 10000"/>
                <a:gd name="connsiteY85" fmla="*/ 5110 h 10000"/>
                <a:gd name="connsiteX86" fmla="*/ 7335 w 10000"/>
                <a:gd name="connsiteY86" fmla="*/ 5085 h 10000"/>
                <a:gd name="connsiteX87" fmla="*/ 7611 w 10000"/>
                <a:gd name="connsiteY87" fmla="*/ 5118 h 10000"/>
                <a:gd name="connsiteX88" fmla="*/ 7645 w 10000"/>
                <a:gd name="connsiteY88" fmla="*/ 5104 h 10000"/>
                <a:gd name="connsiteX89" fmla="*/ 7859 w 10000"/>
                <a:gd name="connsiteY89" fmla="*/ 5259 h 10000"/>
                <a:gd name="connsiteX90" fmla="*/ 8017 w 10000"/>
                <a:gd name="connsiteY90" fmla="*/ 5201 h 10000"/>
                <a:gd name="connsiteX91" fmla="*/ 8032 w 10000"/>
                <a:gd name="connsiteY91" fmla="*/ 5148 h 10000"/>
                <a:gd name="connsiteX92" fmla="*/ 8176 w 10000"/>
                <a:gd name="connsiteY92" fmla="*/ 5241 h 10000"/>
                <a:gd name="connsiteX93" fmla="*/ 8369 w 10000"/>
                <a:gd name="connsiteY93" fmla="*/ 5291 h 10000"/>
                <a:gd name="connsiteX94" fmla="*/ 8446 w 10000"/>
                <a:gd name="connsiteY94" fmla="*/ 5199 h 10000"/>
                <a:gd name="connsiteX95" fmla="*/ 8507 w 10000"/>
                <a:gd name="connsiteY95" fmla="*/ 5249 h 10000"/>
                <a:gd name="connsiteX96" fmla="*/ 8596 w 10000"/>
                <a:gd name="connsiteY96" fmla="*/ 5430 h 10000"/>
                <a:gd name="connsiteX97" fmla="*/ 8782 w 10000"/>
                <a:gd name="connsiteY97" fmla="*/ 5470 h 10000"/>
                <a:gd name="connsiteX98" fmla="*/ 9542 w 10000"/>
                <a:gd name="connsiteY98" fmla="*/ 5208 h 10000"/>
                <a:gd name="connsiteX99" fmla="*/ 9914 w 10000"/>
                <a:gd name="connsiteY99" fmla="*/ 4838 h 10000"/>
                <a:gd name="connsiteX100" fmla="*/ 10000 w 10000"/>
                <a:gd name="connsiteY100" fmla="*/ 4574 h 10000"/>
                <a:gd name="connsiteX101" fmla="*/ 9866 w 10000"/>
                <a:gd name="connsiteY101" fmla="*/ 4330 h 10000"/>
                <a:gd name="connsiteX102" fmla="*/ 9582 w 10000"/>
                <a:gd name="connsiteY102" fmla="*/ 4188 h 10000"/>
                <a:gd name="connsiteX103" fmla="*/ 9382 w 10000"/>
                <a:gd name="connsiteY103" fmla="*/ 3948 h 10000"/>
                <a:gd name="connsiteX104" fmla="*/ 9569 w 10000"/>
                <a:gd name="connsiteY104" fmla="*/ 3941 h 10000"/>
                <a:gd name="connsiteX105" fmla="*/ 9555 w 10000"/>
                <a:gd name="connsiteY105" fmla="*/ 3886 h 10000"/>
                <a:gd name="connsiteX106" fmla="*/ 9068 w 10000"/>
                <a:gd name="connsiteY106" fmla="*/ 3720 h 10000"/>
                <a:gd name="connsiteX107" fmla="*/ 9047 w 10000"/>
                <a:gd name="connsiteY107" fmla="*/ 3566 h 10000"/>
                <a:gd name="connsiteX108" fmla="*/ 8953 w 10000"/>
                <a:gd name="connsiteY108" fmla="*/ 3406 h 10000"/>
                <a:gd name="connsiteX109" fmla="*/ 8569 w 10000"/>
                <a:gd name="connsiteY109" fmla="*/ 3436 h 10000"/>
                <a:gd name="connsiteX110" fmla="*/ 8431 w 10000"/>
                <a:gd name="connsiteY110" fmla="*/ 3265 h 10000"/>
                <a:gd name="connsiteX111" fmla="*/ 8350 w 10000"/>
                <a:gd name="connsiteY111" fmla="*/ 3254 h 10000"/>
                <a:gd name="connsiteX112" fmla="*/ 8350 w 10000"/>
                <a:gd name="connsiteY112" fmla="*/ 3331 h 10000"/>
                <a:gd name="connsiteX113" fmla="*/ 8176 w 10000"/>
                <a:gd name="connsiteY113" fmla="*/ 3613 h 10000"/>
                <a:gd name="connsiteX114" fmla="*/ 7990 w 10000"/>
                <a:gd name="connsiteY114" fmla="*/ 3783 h 10000"/>
                <a:gd name="connsiteX115" fmla="*/ 7401 w 10000"/>
                <a:gd name="connsiteY115" fmla="*/ 4066 h 10000"/>
                <a:gd name="connsiteX116" fmla="*/ 7198 w 10000"/>
                <a:gd name="connsiteY116" fmla="*/ 4058 h 10000"/>
                <a:gd name="connsiteX117" fmla="*/ 6915 w 10000"/>
                <a:gd name="connsiteY117" fmla="*/ 4101 h 10000"/>
                <a:gd name="connsiteX118" fmla="*/ 6757 w 10000"/>
                <a:gd name="connsiteY118" fmla="*/ 4058 h 10000"/>
                <a:gd name="connsiteX119" fmla="*/ 6965 w 10000"/>
                <a:gd name="connsiteY119" fmla="*/ 3976 h 10000"/>
                <a:gd name="connsiteX120" fmla="*/ 7235 w 10000"/>
                <a:gd name="connsiteY120" fmla="*/ 3941 h 10000"/>
                <a:gd name="connsiteX121" fmla="*/ 7455 w 10000"/>
                <a:gd name="connsiteY121" fmla="*/ 3809 h 10000"/>
                <a:gd name="connsiteX122" fmla="*/ 7674 w 10000"/>
                <a:gd name="connsiteY122" fmla="*/ 3746 h 10000"/>
                <a:gd name="connsiteX123" fmla="*/ 8082 w 10000"/>
                <a:gd name="connsiteY123" fmla="*/ 3512 h 10000"/>
                <a:gd name="connsiteX124" fmla="*/ 8157 w 10000"/>
                <a:gd name="connsiteY124" fmla="*/ 3359 h 10000"/>
                <a:gd name="connsiteX125" fmla="*/ 8165 w 10000"/>
                <a:gd name="connsiteY125" fmla="*/ 3163 h 10000"/>
                <a:gd name="connsiteX126" fmla="*/ 7978 w 10000"/>
                <a:gd name="connsiteY126" fmla="*/ 3129 h 10000"/>
                <a:gd name="connsiteX127" fmla="*/ 8058 w 10000"/>
                <a:gd name="connsiteY127" fmla="*/ 3009 h 10000"/>
                <a:gd name="connsiteX128" fmla="*/ 8087 w 10000"/>
                <a:gd name="connsiteY128" fmla="*/ 2856 h 10000"/>
                <a:gd name="connsiteX129" fmla="*/ 8007 w 10000"/>
                <a:gd name="connsiteY129" fmla="*/ 2714 h 10000"/>
                <a:gd name="connsiteX130" fmla="*/ 7450 w 10000"/>
                <a:gd name="connsiteY130" fmla="*/ 2910 h 10000"/>
                <a:gd name="connsiteX131" fmla="*/ 6694 w 10000"/>
                <a:gd name="connsiteY131" fmla="*/ 2823 h 10000"/>
                <a:gd name="connsiteX132" fmla="*/ 6304 w 10000"/>
                <a:gd name="connsiteY132" fmla="*/ 2276 h 10000"/>
                <a:gd name="connsiteX133" fmla="*/ 5294 w 10000"/>
                <a:gd name="connsiteY133" fmla="*/ 2173 h 10000"/>
                <a:gd name="connsiteX134" fmla="*/ 4505 w 10000"/>
                <a:gd name="connsiteY134" fmla="*/ 1721 h 10000"/>
                <a:gd name="connsiteX135" fmla="*/ 3730 w 10000"/>
                <a:gd name="connsiteY135" fmla="*/ 1176 h 10000"/>
                <a:gd name="connsiteX136" fmla="*/ 3154 w 10000"/>
                <a:gd name="connsiteY136" fmla="*/ 173 h 10000"/>
                <a:gd name="connsiteX137" fmla="*/ 2375 w 10000"/>
                <a:gd name="connsiteY137" fmla="*/ 0 h 10000"/>
                <a:gd name="connsiteX138" fmla="*/ 2226 w 10000"/>
                <a:gd name="connsiteY138" fmla="*/ 941 h 10000"/>
                <a:gd name="connsiteX139" fmla="*/ 2375 w 10000"/>
                <a:gd name="connsiteY139" fmla="*/ 1181 h 10000"/>
                <a:gd name="connsiteX140" fmla="*/ 2791 w 10000"/>
                <a:gd name="connsiteY140" fmla="*/ 1446 h 10000"/>
                <a:gd name="connsiteX141" fmla="*/ 2808 w 10000"/>
                <a:gd name="connsiteY141" fmla="*/ 1767 h 10000"/>
                <a:gd name="connsiteX142" fmla="*/ 2632 w 10000"/>
                <a:gd name="connsiteY142" fmla="*/ 2035 h 10000"/>
                <a:gd name="connsiteX143" fmla="*/ 2375 w 10000"/>
                <a:gd name="connsiteY143" fmla="*/ 2196 h 10000"/>
                <a:gd name="connsiteX144" fmla="*/ 2039 w 10000"/>
                <a:gd name="connsiteY144" fmla="*/ 2260 h 10000"/>
                <a:gd name="connsiteX145" fmla="*/ 1950 w 10000"/>
                <a:gd name="connsiteY145" fmla="*/ 2357 h 10000"/>
                <a:gd name="connsiteX146" fmla="*/ 2148 w 10000"/>
                <a:gd name="connsiteY146" fmla="*/ 2577 h 10000"/>
                <a:gd name="connsiteX147" fmla="*/ 2261 w 10000"/>
                <a:gd name="connsiteY147" fmla="*/ 3104 h 10000"/>
                <a:gd name="connsiteX148" fmla="*/ 2005 w 10000"/>
                <a:gd name="connsiteY148" fmla="*/ 3555 h 10000"/>
                <a:gd name="connsiteX149" fmla="*/ 2094 w 10000"/>
                <a:gd name="connsiteY149" fmla="*/ 3692 h 10000"/>
                <a:gd name="connsiteX150" fmla="*/ 2012 w 10000"/>
                <a:gd name="connsiteY150" fmla="*/ 3926 h 10000"/>
                <a:gd name="connsiteX151" fmla="*/ 1850 w 10000"/>
                <a:gd name="connsiteY151" fmla="*/ 4089 h 10000"/>
                <a:gd name="connsiteX152" fmla="*/ 1199 w 10000"/>
                <a:gd name="connsiteY152" fmla="*/ 4215 h 10000"/>
                <a:gd name="connsiteX153" fmla="*/ 1158 w 10000"/>
                <a:gd name="connsiteY153" fmla="*/ 4432 h 10000"/>
                <a:gd name="connsiteX154" fmla="*/ 808 w 10000"/>
                <a:gd name="connsiteY154" fmla="*/ 4754 h 10000"/>
                <a:gd name="connsiteX155" fmla="*/ 854 w 10000"/>
                <a:gd name="connsiteY155" fmla="*/ 5224 h 10000"/>
                <a:gd name="connsiteX156" fmla="*/ 560 w 10000"/>
                <a:gd name="connsiteY156" fmla="*/ 5822 h 10000"/>
                <a:gd name="connsiteX157" fmla="*/ 358 w 10000"/>
                <a:gd name="connsiteY157" fmla="*/ 5891 h 10000"/>
                <a:gd name="connsiteX158" fmla="*/ 275 w 10000"/>
                <a:gd name="connsiteY158" fmla="*/ 5749 h 10000"/>
                <a:gd name="connsiteX159" fmla="*/ 174 w 10000"/>
                <a:gd name="connsiteY159" fmla="*/ 5964 h 10000"/>
                <a:gd name="connsiteX160" fmla="*/ 239 w 10000"/>
                <a:gd name="connsiteY160" fmla="*/ 5592 h 10000"/>
                <a:gd name="connsiteX161" fmla="*/ 197 w 10000"/>
                <a:gd name="connsiteY161" fmla="*/ 5523 h 10000"/>
                <a:gd name="connsiteX0" fmla="*/ 197 w 10000"/>
                <a:gd name="connsiteY0" fmla="*/ 5523 h 10000"/>
                <a:gd name="connsiteX1" fmla="*/ 0 w 10000"/>
                <a:gd name="connsiteY1" fmla="*/ 5717 h 10000"/>
                <a:gd name="connsiteX2" fmla="*/ 0 w 10000"/>
                <a:gd name="connsiteY2" fmla="*/ 6668 h 10000"/>
                <a:gd name="connsiteX3" fmla="*/ 109 w 10000"/>
                <a:gd name="connsiteY3" fmla="*/ 6693 h 10000"/>
                <a:gd name="connsiteX4" fmla="*/ 134 w 10000"/>
                <a:gd name="connsiteY4" fmla="*/ 6769 h 10000"/>
                <a:gd name="connsiteX5" fmla="*/ 130 w 10000"/>
                <a:gd name="connsiteY5" fmla="*/ 6897 h 10000"/>
                <a:gd name="connsiteX6" fmla="*/ 89 w 10000"/>
                <a:gd name="connsiteY6" fmla="*/ 6953 h 10000"/>
                <a:gd name="connsiteX7" fmla="*/ 255 w 10000"/>
                <a:gd name="connsiteY7" fmla="*/ 6842 h 10000"/>
                <a:gd name="connsiteX8" fmla="*/ 325 w 10000"/>
                <a:gd name="connsiteY8" fmla="*/ 6737 h 10000"/>
                <a:gd name="connsiteX9" fmla="*/ 413 w 10000"/>
                <a:gd name="connsiteY9" fmla="*/ 6809 h 10000"/>
                <a:gd name="connsiteX10" fmla="*/ 316 w 10000"/>
                <a:gd name="connsiteY10" fmla="*/ 6965 h 10000"/>
                <a:gd name="connsiteX11" fmla="*/ 419 w 10000"/>
                <a:gd name="connsiteY11" fmla="*/ 6969 h 10000"/>
                <a:gd name="connsiteX12" fmla="*/ 469 w 10000"/>
                <a:gd name="connsiteY12" fmla="*/ 7008 h 10000"/>
                <a:gd name="connsiteX13" fmla="*/ 337 w 10000"/>
                <a:gd name="connsiteY13" fmla="*/ 7059 h 10000"/>
                <a:gd name="connsiteX14" fmla="*/ 130 w 10000"/>
                <a:gd name="connsiteY14" fmla="*/ 7220 h 10000"/>
                <a:gd name="connsiteX15" fmla="*/ 497 w 10000"/>
                <a:gd name="connsiteY15" fmla="*/ 7345 h 10000"/>
                <a:gd name="connsiteX16" fmla="*/ 545 w 10000"/>
                <a:gd name="connsiteY16" fmla="*/ 7522 h 10000"/>
                <a:gd name="connsiteX17" fmla="*/ 419 w 10000"/>
                <a:gd name="connsiteY17" fmla="*/ 7785 h 10000"/>
                <a:gd name="connsiteX18" fmla="*/ 688 w 10000"/>
                <a:gd name="connsiteY18" fmla="*/ 7770 h 10000"/>
                <a:gd name="connsiteX19" fmla="*/ 709 w 10000"/>
                <a:gd name="connsiteY19" fmla="*/ 7965 h 10000"/>
                <a:gd name="connsiteX20" fmla="*/ 530 w 10000"/>
                <a:gd name="connsiteY20" fmla="*/ 8105 h 10000"/>
                <a:gd name="connsiteX21" fmla="*/ 560 w 10000"/>
                <a:gd name="connsiteY21" fmla="*/ 8362 h 10000"/>
                <a:gd name="connsiteX22" fmla="*/ 489 w 10000"/>
                <a:gd name="connsiteY22" fmla="*/ 8568 h 10000"/>
                <a:gd name="connsiteX23" fmla="*/ 703 w 10000"/>
                <a:gd name="connsiteY23" fmla="*/ 8587 h 10000"/>
                <a:gd name="connsiteX24" fmla="*/ 992 w 10000"/>
                <a:gd name="connsiteY24" fmla="*/ 9678 h 10000"/>
                <a:gd name="connsiteX25" fmla="*/ 1653 w 10000"/>
                <a:gd name="connsiteY25" fmla="*/ 9323 h 10000"/>
                <a:gd name="connsiteX26" fmla="*/ 1883 w 10000"/>
                <a:gd name="connsiteY26" fmla="*/ 9703 h 10000"/>
                <a:gd name="connsiteX27" fmla="*/ 2443 w 10000"/>
                <a:gd name="connsiteY27" fmla="*/ 8769 h 10000"/>
                <a:gd name="connsiteX28" fmla="*/ 3819 w 10000"/>
                <a:gd name="connsiteY28" fmla="*/ 9296 h 10000"/>
                <a:gd name="connsiteX29" fmla="*/ 4166 w 10000"/>
                <a:gd name="connsiteY29" fmla="*/ 8956 h 10000"/>
                <a:gd name="connsiteX30" fmla="*/ 5411 w 10000"/>
                <a:gd name="connsiteY30" fmla="*/ 9504 h 10000"/>
                <a:gd name="connsiteX31" fmla="*/ 6419 w 10000"/>
                <a:gd name="connsiteY31" fmla="*/ 10000 h 10000"/>
                <a:gd name="connsiteX32" fmla="*/ 6586 w 10000"/>
                <a:gd name="connsiteY32" fmla="*/ 9169 h 10000"/>
                <a:gd name="connsiteX33" fmla="*/ 6855 w 10000"/>
                <a:gd name="connsiteY33" fmla="*/ 8801 h 10000"/>
                <a:gd name="connsiteX34" fmla="*/ 6855 w 10000"/>
                <a:gd name="connsiteY34" fmla="*/ 8603 h 10000"/>
                <a:gd name="connsiteX35" fmla="*/ 6757 w 10000"/>
                <a:gd name="connsiteY35" fmla="*/ 8497 h 10000"/>
                <a:gd name="connsiteX36" fmla="*/ 6915 w 10000"/>
                <a:gd name="connsiteY36" fmla="*/ 8318 h 10000"/>
                <a:gd name="connsiteX37" fmla="*/ 6887 w 10000"/>
                <a:gd name="connsiteY37" fmla="*/ 8175 h 10000"/>
                <a:gd name="connsiteX38" fmla="*/ 6779 w 10000"/>
                <a:gd name="connsiteY38" fmla="*/ 8053 h 10000"/>
                <a:gd name="connsiteX39" fmla="*/ 6757 w 10000"/>
                <a:gd name="connsiteY39" fmla="*/ 7956 h 10000"/>
                <a:gd name="connsiteX40" fmla="*/ 6785 w 10000"/>
                <a:gd name="connsiteY40" fmla="*/ 7886 h 10000"/>
                <a:gd name="connsiteX41" fmla="*/ 6931 w 10000"/>
                <a:gd name="connsiteY41" fmla="*/ 7942 h 10000"/>
                <a:gd name="connsiteX42" fmla="*/ 7045 w 10000"/>
                <a:gd name="connsiteY42" fmla="*/ 7939 h 10000"/>
                <a:gd name="connsiteX43" fmla="*/ 6983 w 10000"/>
                <a:gd name="connsiteY43" fmla="*/ 7822 h 10000"/>
                <a:gd name="connsiteX44" fmla="*/ 7003 w 10000"/>
                <a:gd name="connsiteY44" fmla="*/ 7752 h 10000"/>
                <a:gd name="connsiteX45" fmla="*/ 7089 w 10000"/>
                <a:gd name="connsiteY45" fmla="*/ 7653 h 10000"/>
                <a:gd name="connsiteX46" fmla="*/ 7074 w 10000"/>
                <a:gd name="connsiteY46" fmla="*/ 7570 h 10000"/>
                <a:gd name="connsiteX47" fmla="*/ 7152 w 10000"/>
                <a:gd name="connsiteY47" fmla="*/ 7295 h 10000"/>
                <a:gd name="connsiteX48" fmla="*/ 7130 w 10000"/>
                <a:gd name="connsiteY48" fmla="*/ 7209 h 10000"/>
                <a:gd name="connsiteX49" fmla="*/ 6729 w 10000"/>
                <a:gd name="connsiteY49" fmla="*/ 6997 h 10000"/>
                <a:gd name="connsiteX50" fmla="*/ 6785 w 10000"/>
                <a:gd name="connsiteY50" fmla="*/ 6989 h 10000"/>
                <a:gd name="connsiteX51" fmla="*/ 6998 w 10000"/>
                <a:gd name="connsiteY51" fmla="*/ 7043 h 10000"/>
                <a:gd name="connsiteX52" fmla="*/ 7230 w 10000"/>
                <a:gd name="connsiteY52" fmla="*/ 7023 h 10000"/>
                <a:gd name="connsiteX53" fmla="*/ 7295 w 10000"/>
                <a:gd name="connsiteY53" fmla="*/ 6949 h 10000"/>
                <a:gd name="connsiteX54" fmla="*/ 7074 w 10000"/>
                <a:gd name="connsiteY54" fmla="*/ 6806 h 10000"/>
                <a:gd name="connsiteX55" fmla="*/ 6414 w 10000"/>
                <a:gd name="connsiteY55" fmla="*/ 6711 h 10000"/>
                <a:gd name="connsiteX56" fmla="*/ 6458 w 10000"/>
                <a:gd name="connsiteY56" fmla="*/ 6668 h 10000"/>
                <a:gd name="connsiteX57" fmla="*/ 6998 w 10000"/>
                <a:gd name="connsiteY57" fmla="*/ 6638 h 10000"/>
                <a:gd name="connsiteX58" fmla="*/ 7295 w 10000"/>
                <a:gd name="connsiteY58" fmla="*/ 6724 h 10000"/>
                <a:gd name="connsiteX59" fmla="*/ 7466 w 10000"/>
                <a:gd name="connsiteY59" fmla="*/ 6668 h 10000"/>
                <a:gd name="connsiteX60" fmla="*/ 7529 w 10000"/>
                <a:gd name="connsiteY60" fmla="*/ 6520 h 10000"/>
                <a:gd name="connsiteX61" fmla="*/ 7840 w 10000"/>
                <a:gd name="connsiteY61" fmla="*/ 6520 h 10000"/>
                <a:gd name="connsiteX62" fmla="*/ 8261 w 10000"/>
                <a:gd name="connsiteY62" fmla="*/ 6219 h 10000"/>
                <a:gd name="connsiteX63" fmla="*/ 8275 w 10000"/>
                <a:gd name="connsiteY63" fmla="*/ 6019 h 10000"/>
                <a:gd name="connsiteX64" fmla="*/ 8453 w 10000"/>
                <a:gd name="connsiteY64" fmla="*/ 6064 h 10000"/>
                <a:gd name="connsiteX65" fmla="*/ 8446 w 10000"/>
                <a:gd name="connsiteY65" fmla="*/ 6266 h 10000"/>
                <a:gd name="connsiteX66" fmla="*/ 8727 w 10000"/>
                <a:gd name="connsiteY66" fmla="*/ 6251 h 10000"/>
                <a:gd name="connsiteX67" fmla="*/ 8913 w 10000"/>
                <a:gd name="connsiteY67" fmla="*/ 6043 h 10000"/>
                <a:gd name="connsiteX68" fmla="*/ 9258 w 10000"/>
                <a:gd name="connsiteY68" fmla="*/ 5856 h 10000"/>
                <a:gd name="connsiteX69" fmla="*/ 9203 w 10000"/>
                <a:gd name="connsiteY69" fmla="*/ 5644 h 10000"/>
                <a:gd name="connsiteX70" fmla="*/ 9306 w 10000"/>
                <a:gd name="connsiteY70" fmla="*/ 5730 h 10000"/>
                <a:gd name="connsiteX71" fmla="*/ 9464 w 10000"/>
                <a:gd name="connsiteY71" fmla="*/ 5730 h 10000"/>
                <a:gd name="connsiteX72" fmla="*/ 9464 w 10000"/>
                <a:gd name="connsiteY72" fmla="*/ 5630 h 10000"/>
                <a:gd name="connsiteX73" fmla="*/ 9611 w 10000"/>
                <a:gd name="connsiteY73" fmla="*/ 5558 h 10000"/>
                <a:gd name="connsiteX74" fmla="*/ 9592 w 10000"/>
                <a:gd name="connsiteY74" fmla="*/ 5481 h 10000"/>
                <a:gd name="connsiteX75" fmla="*/ 8350 w 10000"/>
                <a:gd name="connsiteY75" fmla="*/ 5632 h 10000"/>
                <a:gd name="connsiteX76" fmla="*/ 8058 w 10000"/>
                <a:gd name="connsiteY76" fmla="*/ 5590 h 10000"/>
                <a:gd name="connsiteX77" fmla="*/ 7942 w 10000"/>
                <a:gd name="connsiteY77" fmla="*/ 5644 h 10000"/>
                <a:gd name="connsiteX78" fmla="*/ 7903 w 10000"/>
                <a:gd name="connsiteY78" fmla="*/ 5537 h 10000"/>
                <a:gd name="connsiteX79" fmla="*/ 7765 w 10000"/>
                <a:gd name="connsiteY79" fmla="*/ 5443 h 10000"/>
                <a:gd name="connsiteX80" fmla="*/ 7213 w 10000"/>
                <a:gd name="connsiteY80" fmla="*/ 5249 h 10000"/>
                <a:gd name="connsiteX81" fmla="*/ 6887 w 10000"/>
                <a:gd name="connsiteY81" fmla="*/ 5282 h 10000"/>
                <a:gd name="connsiteX82" fmla="*/ 6757 w 10000"/>
                <a:gd name="connsiteY82" fmla="*/ 5227 h 10000"/>
                <a:gd name="connsiteX83" fmla="*/ 6894 w 10000"/>
                <a:gd name="connsiteY83" fmla="*/ 5180 h 10000"/>
                <a:gd name="connsiteX84" fmla="*/ 6998 w 10000"/>
                <a:gd name="connsiteY84" fmla="*/ 5078 h 10000"/>
                <a:gd name="connsiteX85" fmla="*/ 7152 w 10000"/>
                <a:gd name="connsiteY85" fmla="*/ 5110 h 10000"/>
                <a:gd name="connsiteX86" fmla="*/ 7335 w 10000"/>
                <a:gd name="connsiteY86" fmla="*/ 5085 h 10000"/>
                <a:gd name="connsiteX87" fmla="*/ 7611 w 10000"/>
                <a:gd name="connsiteY87" fmla="*/ 5118 h 10000"/>
                <a:gd name="connsiteX88" fmla="*/ 7645 w 10000"/>
                <a:gd name="connsiteY88" fmla="*/ 5104 h 10000"/>
                <a:gd name="connsiteX89" fmla="*/ 7859 w 10000"/>
                <a:gd name="connsiteY89" fmla="*/ 5259 h 10000"/>
                <a:gd name="connsiteX90" fmla="*/ 8017 w 10000"/>
                <a:gd name="connsiteY90" fmla="*/ 5201 h 10000"/>
                <a:gd name="connsiteX91" fmla="*/ 8032 w 10000"/>
                <a:gd name="connsiteY91" fmla="*/ 5148 h 10000"/>
                <a:gd name="connsiteX92" fmla="*/ 8176 w 10000"/>
                <a:gd name="connsiteY92" fmla="*/ 5241 h 10000"/>
                <a:gd name="connsiteX93" fmla="*/ 8369 w 10000"/>
                <a:gd name="connsiteY93" fmla="*/ 5291 h 10000"/>
                <a:gd name="connsiteX94" fmla="*/ 8446 w 10000"/>
                <a:gd name="connsiteY94" fmla="*/ 5199 h 10000"/>
                <a:gd name="connsiteX95" fmla="*/ 8507 w 10000"/>
                <a:gd name="connsiteY95" fmla="*/ 5249 h 10000"/>
                <a:gd name="connsiteX96" fmla="*/ 8596 w 10000"/>
                <a:gd name="connsiteY96" fmla="*/ 5430 h 10000"/>
                <a:gd name="connsiteX97" fmla="*/ 8782 w 10000"/>
                <a:gd name="connsiteY97" fmla="*/ 5470 h 10000"/>
                <a:gd name="connsiteX98" fmla="*/ 9542 w 10000"/>
                <a:gd name="connsiteY98" fmla="*/ 5208 h 10000"/>
                <a:gd name="connsiteX99" fmla="*/ 9914 w 10000"/>
                <a:gd name="connsiteY99" fmla="*/ 4838 h 10000"/>
                <a:gd name="connsiteX100" fmla="*/ 10000 w 10000"/>
                <a:gd name="connsiteY100" fmla="*/ 4574 h 10000"/>
                <a:gd name="connsiteX101" fmla="*/ 9866 w 10000"/>
                <a:gd name="connsiteY101" fmla="*/ 4330 h 10000"/>
                <a:gd name="connsiteX102" fmla="*/ 9582 w 10000"/>
                <a:gd name="connsiteY102" fmla="*/ 4188 h 10000"/>
                <a:gd name="connsiteX103" fmla="*/ 9382 w 10000"/>
                <a:gd name="connsiteY103" fmla="*/ 3948 h 10000"/>
                <a:gd name="connsiteX104" fmla="*/ 9569 w 10000"/>
                <a:gd name="connsiteY104" fmla="*/ 3941 h 10000"/>
                <a:gd name="connsiteX105" fmla="*/ 9555 w 10000"/>
                <a:gd name="connsiteY105" fmla="*/ 3886 h 10000"/>
                <a:gd name="connsiteX106" fmla="*/ 9068 w 10000"/>
                <a:gd name="connsiteY106" fmla="*/ 3720 h 10000"/>
                <a:gd name="connsiteX107" fmla="*/ 9047 w 10000"/>
                <a:gd name="connsiteY107" fmla="*/ 3566 h 10000"/>
                <a:gd name="connsiteX108" fmla="*/ 8953 w 10000"/>
                <a:gd name="connsiteY108" fmla="*/ 3406 h 10000"/>
                <a:gd name="connsiteX109" fmla="*/ 8569 w 10000"/>
                <a:gd name="connsiteY109" fmla="*/ 3436 h 10000"/>
                <a:gd name="connsiteX110" fmla="*/ 8431 w 10000"/>
                <a:gd name="connsiteY110" fmla="*/ 3265 h 10000"/>
                <a:gd name="connsiteX111" fmla="*/ 8350 w 10000"/>
                <a:gd name="connsiteY111" fmla="*/ 3254 h 10000"/>
                <a:gd name="connsiteX112" fmla="*/ 8350 w 10000"/>
                <a:gd name="connsiteY112" fmla="*/ 3331 h 10000"/>
                <a:gd name="connsiteX113" fmla="*/ 8176 w 10000"/>
                <a:gd name="connsiteY113" fmla="*/ 3613 h 10000"/>
                <a:gd name="connsiteX114" fmla="*/ 7990 w 10000"/>
                <a:gd name="connsiteY114" fmla="*/ 3783 h 10000"/>
                <a:gd name="connsiteX115" fmla="*/ 7401 w 10000"/>
                <a:gd name="connsiteY115" fmla="*/ 4066 h 10000"/>
                <a:gd name="connsiteX116" fmla="*/ 7198 w 10000"/>
                <a:gd name="connsiteY116" fmla="*/ 4058 h 10000"/>
                <a:gd name="connsiteX117" fmla="*/ 6915 w 10000"/>
                <a:gd name="connsiteY117" fmla="*/ 4101 h 10000"/>
                <a:gd name="connsiteX118" fmla="*/ 6757 w 10000"/>
                <a:gd name="connsiteY118" fmla="*/ 4058 h 10000"/>
                <a:gd name="connsiteX119" fmla="*/ 6965 w 10000"/>
                <a:gd name="connsiteY119" fmla="*/ 3976 h 10000"/>
                <a:gd name="connsiteX120" fmla="*/ 7235 w 10000"/>
                <a:gd name="connsiteY120" fmla="*/ 3941 h 10000"/>
                <a:gd name="connsiteX121" fmla="*/ 7455 w 10000"/>
                <a:gd name="connsiteY121" fmla="*/ 3809 h 10000"/>
                <a:gd name="connsiteX122" fmla="*/ 7674 w 10000"/>
                <a:gd name="connsiteY122" fmla="*/ 3746 h 10000"/>
                <a:gd name="connsiteX123" fmla="*/ 8082 w 10000"/>
                <a:gd name="connsiteY123" fmla="*/ 3512 h 10000"/>
                <a:gd name="connsiteX124" fmla="*/ 8157 w 10000"/>
                <a:gd name="connsiteY124" fmla="*/ 3359 h 10000"/>
                <a:gd name="connsiteX125" fmla="*/ 8165 w 10000"/>
                <a:gd name="connsiteY125" fmla="*/ 3163 h 10000"/>
                <a:gd name="connsiteX126" fmla="*/ 7978 w 10000"/>
                <a:gd name="connsiteY126" fmla="*/ 3129 h 10000"/>
                <a:gd name="connsiteX127" fmla="*/ 8058 w 10000"/>
                <a:gd name="connsiteY127" fmla="*/ 3009 h 10000"/>
                <a:gd name="connsiteX128" fmla="*/ 8087 w 10000"/>
                <a:gd name="connsiteY128" fmla="*/ 2856 h 10000"/>
                <a:gd name="connsiteX129" fmla="*/ 8007 w 10000"/>
                <a:gd name="connsiteY129" fmla="*/ 2714 h 10000"/>
                <a:gd name="connsiteX130" fmla="*/ 7450 w 10000"/>
                <a:gd name="connsiteY130" fmla="*/ 2910 h 10000"/>
                <a:gd name="connsiteX131" fmla="*/ 6694 w 10000"/>
                <a:gd name="connsiteY131" fmla="*/ 2823 h 10000"/>
                <a:gd name="connsiteX132" fmla="*/ 6304 w 10000"/>
                <a:gd name="connsiteY132" fmla="*/ 2276 h 10000"/>
                <a:gd name="connsiteX133" fmla="*/ 5294 w 10000"/>
                <a:gd name="connsiteY133" fmla="*/ 2173 h 10000"/>
                <a:gd name="connsiteX134" fmla="*/ 4505 w 10000"/>
                <a:gd name="connsiteY134" fmla="*/ 1721 h 10000"/>
                <a:gd name="connsiteX135" fmla="*/ 3730 w 10000"/>
                <a:gd name="connsiteY135" fmla="*/ 1176 h 10000"/>
                <a:gd name="connsiteX136" fmla="*/ 3154 w 10000"/>
                <a:gd name="connsiteY136" fmla="*/ 173 h 10000"/>
                <a:gd name="connsiteX137" fmla="*/ 2375 w 10000"/>
                <a:gd name="connsiteY137" fmla="*/ 0 h 10000"/>
                <a:gd name="connsiteX138" fmla="*/ 2226 w 10000"/>
                <a:gd name="connsiteY138" fmla="*/ 941 h 10000"/>
                <a:gd name="connsiteX139" fmla="*/ 2375 w 10000"/>
                <a:gd name="connsiteY139" fmla="*/ 1181 h 10000"/>
                <a:gd name="connsiteX140" fmla="*/ 2791 w 10000"/>
                <a:gd name="connsiteY140" fmla="*/ 1446 h 10000"/>
                <a:gd name="connsiteX141" fmla="*/ 2808 w 10000"/>
                <a:gd name="connsiteY141" fmla="*/ 1767 h 10000"/>
                <a:gd name="connsiteX142" fmla="*/ 2632 w 10000"/>
                <a:gd name="connsiteY142" fmla="*/ 2035 h 10000"/>
                <a:gd name="connsiteX143" fmla="*/ 2375 w 10000"/>
                <a:gd name="connsiteY143" fmla="*/ 2196 h 10000"/>
                <a:gd name="connsiteX144" fmla="*/ 2039 w 10000"/>
                <a:gd name="connsiteY144" fmla="*/ 2260 h 10000"/>
                <a:gd name="connsiteX145" fmla="*/ 1950 w 10000"/>
                <a:gd name="connsiteY145" fmla="*/ 2357 h 10000"/>
                <a:gd name="connsiteX146" fmla="*/ 2148 w 10000"/>
                <a:gd name="connsiteY146" fmla="*/ 2577 h 10000"/>
                <a:gd name="connsiteX147" fmla="*/ 2261 w 10000"/>
                <a:gd name="connsiteY147" fmla="*/ 3104 h 10000"/>
                <a:gd name="connsiteX148" fmla="*/ 2005 w 10000"/>
                <a:gd name="connsiteY148" fmla="*/ 3555 h 10000"/>
                <a:gd name="connsiteX149" fmla="*/ 2094 w 10000"/>
                <a:gd name="connsiteY149" fmla="*/ 3692 h 10000"/>
                <a:gd name="connsiteX150" fmla="*/ 2012 w 10000"/>
                <a:gd name="connsiteY150" fmla="*/ 3926 h 10000"/>
                <a:gd name="connsiteX151" fmla="*/ 1850 w 10000"/>
                <a:gd name="connsiteY151" fmla="*/ 4089 h 10000"/>
                <a:gd name="connsiteX152" fmla="*/ 1199 w 10000"/>
                <a:gd name="connsiteY152" fmla="*/ 4215 h 10000"/>
                <a:gd name="connsiteX153" fmla="*/ 1158 w 10000"/>
                <a:gd name="connsiteY153" fmla="*/ 4432 h 10000"/>
                <a:gd name="connsiteX154" fmla="*/ 808 w 10000"/>
                <a:gd name="connsiteY154" fmla="*/ 4754 h 10000"/>
                <a:gd name="connsiteX155" fmla="*/ 854 w 10000"/>
                <a:gd name="connsiteY155" fmla="*/ 5224 h 10000"/>
                <a:gd name="connsiteX156" fmla="*/ 560 w 10000"/>
                <a:gd name="connsiteY156" fmla="*/ 5822 h 10000"/>
                <a:gd name="connsiteX157" fmla="*/ 358 w 10000"/>
                <a:gd name="connsiteY157" fmla="*/ 5891 h 10000"/>
                <a:gd name="connsiteX158" fmla="*/ 275 w 10000"/>
                <a:gd name="connsiteY158" fmla="*/ 5749 h 10000"/>
                <a:gd name="connsiteX159" fmla="*/ 174 w 10000"/>
                <a:gd name="connsiteY159" fmla="*/ 5964 h 10000"/>
                <a:gd name="connsiteX160" fmla="*/ 239 w 10000"/>
                <a:gd name="connsiteY160" fmla="*/ 5592 h 10000"/>
                <a:gd name="connsiteX161" fmla="*/ 197 w 10000"/>
                <a:gd name="connsiteY161" fmla="*/ 5523 h 10000"/>
                <a:gd name="connsiteX0" fmla="*/ 197 w 10000"/>
                <a:gd name="connsiteY0" fmla="*/ 5523 h 10000"/>
                <a:gd name="connsiteX1" fmla="*/ 0 w 10000"/>
                <a:gd name="connsiteY1" fmla="*/ 5717 h 10000"/>
                <a:gd name="connsiteX2" fmla="*/ 0 w 10000"/>
                <a:gd name="connsiteY2" fmla="*/ 6668 h 10000"/>
                <a:gd name="connsiteX3" fmla="*/ 109 w 10000"/>
                <a:gd name="connsiteY3" fmla="*/ 6693 h 10000"/>
                <a:gd name="connsiteX4" fmla="*/ 134 w 10000"/>
                <a:gd name="connsiteY4" fmla="*/ 6769 h 10000"/>
                <a:gd name="connsiteX5" fmla="*/ 130 w 10000"/>
                <a:gd name="connsiteY5" fmla="*/ 6897 h 10000"/>
                <a:gd name="connsiteX6" fmla="*/ 89 w 10000"/>
                <a:gd name="connsiteY6" fmla="*/ 6953 h 10000"/>
                <a:gd name="connsiteX7" fmla="*/ 255 w 10000"/>
                <a:gd name="connsiteY7" fmla="*/ 6842 h 10000"/>
                <a:gd name="connsiteX8" fmla="*/ 325 w 10000"/>
                <a:gd name="connsiteY8" fmla="*/ 6737 h 10000"/>
                <a:gd name="connsiteX9" fmla="*/ 413 w 10000"/>
                <a:gd name="connsiteY9" fmla="*/ 6809 h 10000"/>
                <a:gd name="connsiteX10" fmla="*/ 316 w 10000"/>
                <a:gd name="connsiteY10" fmla="*/ 6965 h 10000"/>
                <a:gd name="connsiteX11" fmla="*/ 419 w 10000"/>
                <a:gd name="connsiteY11" fmla="*/ 6969 h 10000"/>
                <a:gd name="connsiteX12" fmla="*/ 469 w 10000"/>
                <a:gd name="connsiteY12" fmla="*/ 7008 h 10000"/>
                <a:gd name="connsiteX13" fmla="*/ 337 w 10000"/>
                <a:gd name="connsiteY13" fmla="*/ 7059 h 10000"/>
                <a:gd name="connsiteX14" fmla="*/ 130 w 10000"/>
                <a:gd name="connsiteY14" fmla="*/ 7220 h 10000"/>
                <a:gd name="connsiteX15" fmla="*/ 497 w 10000"/>
                <a:gd name="connsiteY15" fmla="*/ 7345 h 10000"/>
                <a:gd name="connsiteX16" fmla="*/ 545 w 10000"/>
                <a:gd name="connsiteY16" fmla="*/ 7522 h 10000"/>
                <a:gd name="connsiteX17" fmla="*/ 419 w 10000"/>
                <a:gd name="connsiteY17" fmla="*/ 7785 h 10000"/>
                <a:gd name="connsiteX18" fmla="*/ 688 w 10000"/>
                <a:gd name="connsiteY18" fmla="*/ 7770 h 10000"/>
                <a:gd name="connsiteX19" fmla="*/ 709 w 10000"/>
                <a:gd name="connsiteY19" fmla="*/ 7965 h 10000"/>
                <a:gd name="connsiteX20" fmla="*/ 530 w 10000"/>
                <a:gd name="connsiteY20" fmla="*/ 8105 h 10000"/>
                <a:gd name="connsiteX21" fmla="*/ 560 w 10000"/>
                <a:gd name="connsiteY21" fmla="*/ 8362 h 10000"/>
                <a:gd name="connsiteX22" fmla="*/ 489 w 10000"/>
                <a:gd name="connsiteY22" fmla="*/ 8568 h 10000"/>
                <a:gd name="connsiteX23" fmla="*/ 703 w 10000"/>
                <a:gd name="connsiteY23" fmla="*/ 8587 h 10000"/>
                <a:gd name="connsiteX24" fmla="*/ 992 w 10000"/>
                <a:gd name="connsiteY24" fmla="*/ 9678 h 10000"/>
                <a:gd name="connsiteX25" fmla="*/ 1653 w 10000"/>
                <a:gd name="connsiteY25" fmla="*/ 9323 h 10000"/>
                <a:gd name="connsiteX26" fmla="*/ 1883 w 10000"/>
                <a:gd name="connsiteY26" fmla="*/ 9703 h 10000"/>
                <a:gd name="connsiteX27" fmla="*/ 2400 w 10000"/>
                <a:gd name="connsiteY27" fmla="*/ 9070 h 10000"/>
                <a:gd name="connsiteX28" fmla="*/ 3819 w 10000"/>
                <a:gd name="connsiteY28" fmla="*/ 9296 h 10000"/>
                <a:gd name="connsiteX29" fmla="*/ 4166 w 10000"/>
                <a:gd name="connsiteY29" fmla="*/ 8956 h 10000"/>
                <a:gd name="connsiteX30" fmla="*/ 5411 w 10000"/>
                <a:gd name="connsiteY30" fmla="*/ 9504 h 10000"/>
                <a:gd name="connsiteX31" fmla="*/ 6419 w 10000"/>
                <a:gd name="connsiteY31" fmla="*/ 10000 h 10000"/>
                <a:gd name="connsiteX32" fmla="*/ 6586 w 10000"/>
                <a:gd name="connsiteY32" fmla="*/ 9169 h 10000"/>
                <a:gd name="connsiteX33" fmla="*/ 6855 w 10000"/>
                <a:gd name="connsiteY33" fmla="*/ 8801 h 10000"/>
                <a:gd name="connsiteX34" fmla="*/ 6855 w 10000"/>
                <a:gd name="connsiteY34" fmla="*/ 8603 h 10000"/>
                <a:gd name="connsiteX35" fmla="*/ 6757 w 10000"/>
                <a:gd name="connsiteY35" fmla="*/ 8497 h 10000"/>
                <a:gd name="connsiteX36" fmla="*/ 6915 w 10000"/>
                <a:gd name="connsiteY36" fmla="*/ 8318 h 10000"/>
                <a:gd name="connsiteX37" fmla="*/ 6887 w 10000"/>
                <a:gd name="connsiteY37" fmla="*/ 8175 h 10000"/>
                <a:gd name="connsiteX38" fmla="*/ 6779 w 10000"/>
                <a:gd name="connsiteY38" fmla="*/ 8053 h 10000"/>
                <a:gd name="connsiteX39" fmla="*/ 6757 w 10000"/>
                <a:gd name="connsiteY39" fmla="*/ 7956 h 10000"/>
                <a:gd name="connsiteX40" fmla="*/ 6785 w 10000"/>
                <a:gd name="connsiteY40" fmla="*/ 7886 h 10000"/>
                <a:gd name="connsiteX41" fmla="*/ 6931 w 10000"/>
                <a:gd name="connsiteY41" fmla="*/ 7942 h 10000"/>
                <a:gd name="connsiteX42" fmla="*/ 7045 w 10000"/>
                <a:gd name="connsiteY42" fmla="*/ 7939 h 10000"/>
                <a:gd name="connsiteX43" fmla="*/ 6983 w 10000"/>
                <a:gd name="connsiteY43" fmla="*/ 7822 h 10000"/>
                <a:gd name="connsiteX44" fmla="*/ 7003 w 10000"/>
                <a:gd name="connsiteY44" fmla="*/ 7752 h 10000"/>
                <a:gd name="connsiteX45" fmla="*/ 7089 w 10000"/>
                <a:gd name="connsiteY45" fmla="*/ 7653 h 10000"/>
                <a:gd name="connsiteX46" fmla="*/ 7074 w 10000"/>
                <a:gd name="connsiteY46" fmla="*/ 7570 h 10000"/>
                <a:gd name="connsiteX47" fmla="*/ 7152 w 10000"/>
                <a:gd name="connsiteY47" fmla="*/ 7295 h 10000"/>
                <a:gd name="connsiteX48" fmla="*/ 7130 w 10000"/>
                <a:gd name="connsiteY48" fmla="*/ 7209 h 10000"/>
                <a:gd name="connsiteX49" fmla="*/ 6729 w 10000"/>
                <a:gd name="connsiteY49" fmla="*/ 6997 h 10000"/>
                <a:gd name="connsiteX50" fmla="*/ 6785 w 10000"/>
                <a:gd name="connsiteY50" fmla="*/ 6989 h 10000"/>
                <a:gd name="connsiteX51" fmla="*/ 6998 w 10000"/>
                <a:gd name="connsiteY51" fmla="*/ 7043 h 10000"/>
                <a:gd name="connsiteX52" fmla="*/ 7230 w 10000"/>
                <a:gd name="connsiteY52" fmla="*/ 7023 h 10000"/>
                <a:gd name="connsiteX53" fmla="*/ 7295 w 10000"/>
                <a:gd name="connsiteY53" fmla="*/ 6949 h 10000"/>
                <a:gd name="connsiteX54" fmla="*/ 7074 w 10000"/>
                <a:gd name="connsiteY54" fmla="*/ 6806 h 10000"/>
                <a:gd name="connsiteX55" fmla="*/ 6414 w 10000"/>
                <a:gd name="connsiteY55" fmla="*/ 6711 h 10000"/>
                <a:gd name="connsiteX56" fmla="*/ 6458 w 10000"/>
                <a:gd name="connsiteY56" fmla="*/ 6668 h 10000"/>
                <a:gd name="connsiteX57" fmla="*/ 6998 w 10000"/>
                <a:gd name="connsiteY57" fmla="*/ 6638 h 10000"/>
                <a:gd name="connsiteX58" fmla="*/ 7295 w 10000"/>
                <a:gd name="connsiteY58" fmla="*/ 6724 h 10000"/>
                <a:gd name="connsiteX59" fmla="*/ 7466 w 10000"/>
                <a:gd name="connsiteY59" fmla="*/ 6668 h 10000"/>
                <a:gd name="connsiteX60" fmla="*/ 7529 w 10000"/>
                <a:gd name="connsiteY60" fmla="*/ 6520 h 10000"/>
                <a:gd name="connsiteX61" fmla="*/ 7840 w 10000"/>
                <a:gd name="connsiteY61" fmla="*/ 6520 h 10000"/>
                <a:gd name="connsiteX62" fmla="*/ 8261 w 10000"/>
                <a:gd name="connsiteY62" fmla="*/ 6219 h 10000"/>
                <a:gd name="connsiteX63" fmla="*/ 8275 w 10000"/>
                <a:gd name="connsiteY63" fmla="*/ 6019 h 10000"/>
                <a:gd name="connsiteX64" fmla="*/ 8453 w 10000"/>
                <a:gd name="connsiteY64" fmla="*/ 6064 h 10000"/>
                <a:gd name="connsiteX65" fmla="*/ 8446 w 10000"/>
                <a:gd name="connsiteY65" fmla="*/ 6266 h 10000"/>
                <a:gd name="connsiteX66" fmla="*/ 8727 w 10000"/>
                <a:gd name="connsiteY66" fmla="*/ 6251 h 10000"/>
                <a:gd name="connsiteX67" fmla="*/ 8913 w 10000"/>
                <a:gd name="connsiteY67" fmla="*/ 6043 h 10000"/>
                <a:gd name="connsiteX68" fmla="*/ 9258 w 10000"/>
                <a:gd name="connsiteY68" fmla="*/ 5856 h 10000"/>
                <a:gd name="connsiteX69" fmla="*/ 9203 w 10000"/>
                <a:gd name="connsiteY69" fmla="*/ 5644 h 10000"/>
                <a:gd name="connsiteX70" fmla="*/ 9306 w 10000"/>
                <a:gd name="connsiteY70" fmla="*/ 5730 h 10000"/>
                <a:gd name="connsiteX71" fmla="*/ 9464 w 10000"/>
                <a:gd name="connsiteY71" fmla="*/ 5730 h 10000"/>
                <a:gd name="connsiteX72" fmla="*/ 9464 w 10000"/>
                <a:gd name="connsiteY72" fmla="*/ 5630 h 10000"/>
                <a:gd name="connsiteX73" fmla="*/ 9611 w 10000"/>
                <a:gd name="connsiteY73" fmla="*/ 5558 h 10000"/>
                <a:gd name="connsiteX74" fmla="*/ 9592 w 10000"/>
                <a:gd name="connsiteY74" fmla="*/ 5481 h 10000"/>
                <a:gd name="connsiteX75" fmla="*/ 8350 w 10000"/>
                <a:gd name="connsiteY75" fmla="*/ 5632 h 10000"/>
                <a:gd name="connsiteX76" fmla="*/ 8058 w 10000"/>
                <a:gd name="connsiteY76" fmla="*/ 5590 h 10000"/>
                <a:gd name="connsiteX77" fmla="*/ 7942 w 10000"/>
                <a:gd name="connsiteY77" fmla="*/ 5644 h 10000"/>
                <a:gd name="connsiteX78" fmla="*/ 7903 w 10000"/>
                <a:gd name="connsiteY78" fmla="*/ 5537 h 10000"/>
                <a:gd name="connsiteX79" fmla="*/ 7765 w 10000"/>
                <a:gd name="connsiteY79" fmla="*/ 5443 h 10000"/>
                <a:gd name="connsiteX80" fmla="*/ 7213 w 10000"/>
                <a:gd name="connsiteY80" fmla="*/ 5249 h 10000"/>
                <a:gd name="connsiteX81" fmla="*/ 6887 w 10000"/>
                <a:gd name="connsiteY81" fmla="*/ 5282 h 10000"/>
                <a:gd name="connsiteX82" fmla="*/ 6757 w 10000"/>
                <a:gd name="connsiteY82" fmla="*/ 5227 h 10000"/>
                <a:gd name="connsiteX83" fmla="*/ 6894 w 10000"/>
                <a:gd name="connsiteY83" fmla="*/ 5180 h 10000"/>
                <a:gd name="connsiteX84" fmla="*/ 6998 w 10000"/>
                <a:gd name="connsiteY84" fmla="*/ 5078 h 10000"/>
                <a:gd name="connsiteX85" fmla="*/ 7152 w 10000"/>
                <a:gd name="connsiteY85" fmla="*/ 5110 h 10000"/>
                <a:gd name="connsiteX86" fmla="*/ 7335 w 10000"/>
                <a:gd name="connsiteY86" fmla="*/ 5085 h 10000"/>
                <a:gd name="connsiteX87" fmla="*/ 7611 w 10000"/>
                <a:gd name="connsiteY87" fmla="*/ 5118 h 10000"/>
                <a:gd name="connsiteX88" fmla="*/ 7645 w 10000"/>
                <a:gd name="connsiteY88" fmla="*/ 5104 h 10000"/>
                <a:gd name="connsiteX89" fmla="*/ 7859 w 10000"/>
                <a:gd name="connsiteY89" fmla="*/ 5259 h 10000"/>
                <a:gd name="connsiteX90" fmla="*/ 8017 w 10000"/>
                <a:gd name="connsiteY90" fmla="*/ 5201 h 10000"/>
                <a:gd name="connsiteX91" fmla="*/ 8032 w 10000"/>
                <a:gd name="connsiteY91" fmla="*/ 5148 h 10000"/>
                <a:gd name="connsiteX92" fmla="*/ 8176 w 10000"/>
                <a:gd name="connsiteY92" fmla="*/ 5241 h 10000"/>
                <a:gd name="connsiteX93" fmla="*/ 8369 w 10000"/>
                <a:gd name="connsiteY93" fmla="*/ 5291 h 10000"/>
                <a:gd name="connsiteX94" fmla="*/ 8446 w 10000"/>
                <a:gd name="connsiteY94" fmla="*/ 5199 h 10000"/>
                <a:gd name="connsiteX95" fmla="*/ 8507 w 10000"/>
                <a:gd name="connsiteY95" fmla="*/ 5249 h 10000"/>
                <a:gd name="connsiteX96" fmla="*/ 8596 w 10000"/>
                <a:gd name="connsiteY96" fmla="*/ 5430 h 10000"/>
                <a:gd name="connsiteX97" fmla="*/ 8782 w 10000"/>
                <a:gd name="connsiteY97" fmla="*/ 5470 h 10000"/>
                <a:gd name="connsiteX98" fmla="*/ 9542 w 10000"/>
                <a:gd name="connsiteY98" fmla="*/ 5208 h 10000"/>
                <a:gd name="connsiteX99" fmla="*/ 9914 w 10000"/>
                <a:gd name="connsiteY99" fmla="*/ 4838 h 10000"/>
                <a:gd name="connsiteX100" fmla="*/ 10000 w 10000"/>
                <a:gd name="connsiteY100" fmla="*/ 4574 h 10000"/>
                <a:gd name="connsiteX101" fmla="*/ 9866 w 10000"/>
                <a:gd name="connsiteY101" fmla="*/ 4330 h 10000"/>
                <a:gd name="connsiteX102" fmla="*/ 9582 w 10000"/>
                <a:gd name="connsiteY102" fmla="*/ 4188 h 10000"/>
                <a:gd name="connsiteX103" fmla="*/ 9382 w 10000"/>
                <a:gd name="connsiteY103" fmla="*/ 3948 h 10000"/>
                <a:gd name="connsiteX104" fmla="*/ 9569 w 10000"/>
                <a:gd name="connsiteY104" fmla="*/ 3941 h 10000"/>
                <a:gd name="connsiteX105" fmla="*/ 9555 w 10000"/>
                <a:gd name="connsiteY105" fmla="*/ 3886 h 10000"/>
                <a:gd name="connsiteX106" fmla="*/ 9068 w 10000"/>
                <a:gd name="connsiteY106" fmla="*/ 3720 h 10000"/>
                <a:gd name="connsiteX107" fmla="*/ 9047 w 10000"/>
                <a:gd name="connsiteY107" fmla="*/ 3566 h 10000"/>
                <a:gd name="connsiteX108" fmla="*/ 8953 w 10000"/>
                <a:gd name="connsiteY108" fmla="*/ 3406 h 10000"/>
                <a:gd name="connsiteX109" fmla="*/ 8569 w 10000"/>
                <a:gd name="connsiteY109" fmla="*/ 3436 h 10000"/>
                <a:gd name="connsiteX110" fmla="*/ 8431 w 10000"/>
                <a:gd name="connsiteY110" fmla="*/ 3265 h 10000"/>
                <a:gd name="connsiteX111" fmla="*/ 8350 w 10000"/>
                <a:gd name="connsiteY111" fmla="*/ 3254 h 10000"/>
                <a:gd name="connsiteX112" fmla="*/ 8350 w 10000"/>
                <a:gd name="connsiteY112" fmla="*/ 3331 h 10000"/>
                <a:gd name="connsiteX113" fmla="*/ 8176 w 10000"/>
                <a:gd name="connsiteY113" fmla="*/ 3613 h 10000"/>
                <a:gd name="connsiteX114" fmla="*/ 7990 w 10000"/>
                <a:gd name="connsiteY114" fmla="*/ 3783 h 10000"/>
                <a:gd name="connsiteX115" fmla="*/ 7401 w 10000"/>
                <a:gd name="connsiteY115" fmla="*/ 4066 h 10000"/>
                <a:gd name="connsiteX116" fmla="*/ 7198 w 10000"/>
                <a:gd name="connsiteY116" fmla="*/ 4058 h 10000"/>
                <a:gd name="connsiteX117" fmla="*/ 6915 w 10000"/>
                <a:gd name="connsiteY117" fmla="*/ 4101 h 10000"/>
                <a:gd name="connsiteX118" fmla="*/ 6757 w 10000"/>
                <a:gd name="connsiteY118" fmla="*/ 4058 h 10000"/>
                <a:gd name="connsiteX119" fmla="*/ 6965 w 10000"/>
                <a:gd name="connsiteY119" fmla="*/ 3976 h 10000"/>
                <a:gd name="connsiteX120" fmla="*/ 7235 w 10000"/>
                <a:gd name="connsiteY120" fmla="*/ 3941 h 10000"/>
                <a:gd name="connsiteX121" fmla="*/ 7455 w 10000"/>
                <a:gd name="connsiteY121" fmla="*/ 3809 h 10000"/>
                <a:gd name="connsiteX122" fmla="*/ 7674 w 10000"/>
                <a:gd name="connsiteY122" fmla="*/ 3746 h 10000"/>
                <a:gd name="connsiteX123" fmla="*/ 8082 w 10000"/>
                <a:gd name="connsiteY123" fmla="*/ 3512 h 10000"/>
                <a:gd name="connsiteX124" fmla="*/ 8157 w 10000"/>
                <a:gd name="connsiteY124" fmla="*/ 3359 h 10000"/>
                <a:gd name="connsiteX125" fmla="*/ 8165 w 10000"/>
                <a:gd name="connsiteY125" fmla="*/ 3163 h 10000"/>
                <a:gd name="connsiteX126" fmla="*/ 7978 w 10000"/>
                <a:gd name="connsiteY126" fmla="*/ 3129 h 10000"/>
                <a:gd name="connsiteX127" fmla="*/ 8058 w 10000"/>
                <a:gd name="connsiteY127" fmla="*/ 3009 h 10000"/>
                <a:gd name="connsiteX128" fmla="*/ 8087 w 10000"/>
                <a:gd name="connsiteY128" fmla="*/ 2856 h 10000"/>
                <a:gd name="connsiteX129" fmla="*/ 8007 w 10000"/>
                <a:gd name="connsiteY129" fmla="*/ 2714 h 10000"/>
                <a:gd name="connsiteX130" fmla="*/ 7450 w 10000"/>
                <a:gd name="connsiteY130" fmla="*/ 2910 h 10000"/>
                <a:gd name="connsiteX131" fmla="*/ 6694 w 10000"/>
                <a:gd name="connsiteY131" fmla="*/ 2823 h 10000"/>
                <a:gd name="connsiteX132" fmla="*/ 6304 w 10000"/>
                <a:gd name="connsiteY132" fmla="*/ 2276 h 10000"/>
                <a:gd name="connsiteX133" fmla="*/ 5294 w 10000"/>
                <a:gd name="connsiteY133" fmla="*/ 2173 h 10000"/>
                <a:gd name="connsiteX134" fmla="*/ 4505 w 10000"/>
                <a:gd name="connsiteY134" fmla="*/ 1721 h 10000"/>
                <a:gd name="connsiteX135" fmla="*/ 3730 w 10000"/>
                <a:gd name="connsiteY135" fmla="*/ 1176 h 10000"/>
                <a:gd name="connsiteX136" fmla="*/ 3154 w 10000"/>
                <a:gd name="connsiteY136" fmla="*/ 173 h 10000"/>
                <a:gd name="connsiteX137" fmla="*/ 2375 w 10000"/>
                <a:gd name="connsiteY137" fmla="*/ 0 h 10000"/>
                <a:gd name="connsiteX138" fmla="*/ 2226 w 10000"/>
                <a:gd name="connsiteY138" fmla="*/ 941 h 10000"/>
                <a:gd name="connsiteX139" fmla="*/ 2375 w 10000"/>
                <a:gd name="connsiteY139" fmla="*/ 1181 h 10000"/>
                <a:gd name="connsiteX140" fmla="*/ 2791 w 10000"/>
                <a:gd name="connsiteY140" fmla="*/ 1446 h 10000"/>
                <a:gd name="connsiteX141" fmla="*/ 2808 w 10000"/>
                <a:gd name="connsiteY141" fmla="*/ 1767 h 10000"/>
                <a:gd name="connsiteX142" fmla="*/ 2632 w 10000"/>
                <a:gd name="connsiteY142" fmla="*/ 2035 h 10000"/>
                <a:gd name="connsiteX143" fmla="*/ 2375 w 10000"/>
                <a:gd name="connsiteY143" fmla="*/ 2196 h 10000"/>
                <a:gd name="connsiteX144" fmla="*/ 2039 w 10000"/>
                <a:gd name="connsiteY144" fmla="*/ 2260 h 10000"/>
                <a:gd name="connsiteX145" fmla="*/ 1950 w 10000"/>
                <a:gd name="connsiteY145" fmla="*/ 2357 h 10000"/>
                <a:gd name="connsiteX146" fmla="*/ 2148 w 10000"/>
                <a:gd name="connsiteY146" fmla="*/ 2577 h 10000"/>
                <a:gd name="connsiteX147" fmla="*/ 2261 w 10000"/>
                <a:gd name="connsiteY147" fmla="*/ 3104 h 10000"/>
                <a:gd name="connsiteX148" fmla="*/ 2005 w 10000"/>
                <a:gd name="connsiteY148" fmla="*/ 3555 h 10000"/>
                <a:gd name="connsiteX149" fmla="*/ 2094 w 10000"/>
                <a:gd name="connsiteY149" fmla="*/ 3692 h 10000"/>
                <a:gd name="connsiteX150" fmla="*/ 2012 w 10000"/>
                <a:gd name="connsiteY150" fmla="*/ 3926 h 10000"/>
                <a:gd name="connsiteX151" fmla="*/ 1850 w 10000"/>
                <a:gd name="connsiteY151" fmla="*/ 4089 h 10000"/>
                <a:gd name="connsiteX152" fmla="*/ 1199 w 10000"/>
                <a:gd name="connsiteY152" fmla="*/ 4215 h 10000"/>
                <a:gd name="connsiteX153" fmla="*/ 1158 w 10000"/>
                <a:gd name="connsiteY153" fmla="*/ 4432 h 10000"/>
                <a:gd name="connsiteX154" fmla="*/ 808 w 10000"/>
                <a:gd name="connsiteY154" fmla="*/ 4754 h 10000"/>
                <a:gd name="connsiteX155" fmla="*/ 854 w 10000"/>
                <a:gd name="connsiteY155" fmla="*/ 5224 h 10000"/>
                <a:gd name="connsiteX156" fmla="*/ 560 w 10000"/>
                <a:gd name="connsiteY156" fmla="*/ 5822 h 10000"/>
                <a:gd name="connsiteX157" fmla="*/ 358 w 10000"/>
                <a:gd name="connsiteY157" fmla="*/ 5891 h 10000"/>
                <a:gd name="connsiteX158" fmla="*/ 275 w 10000"/>
                <a:gd name="connsiteY158" fmla="*/ 5749 h 10000"/>
                <a:gd name="connsiteX159" fmla="*/ 174 w 10000"/>
                <a:gd name="connsiteY159" fmla="*/ 5964 h 10000"/>
                <a:gd name="connsiteX160" fmla="*/ 239 w 10000"/>
                <a:gd name="connsiteY160" fmla="*/ 5592 h 10000"/>
                <a:gd name="connsiteX161" fmla="*/ 197 w 10000"/>
                <a:gd name="connsiteY161" fmla="*/ 5523 h 10000"/>
                <a:gd name="connsiteX0" fmla="*/ 197 w 10000"/>
                <a:gd name="connsiteY0" fmla="*/ 5523 h 10000"/>
                <a:gd name="connsiteX1" fmla="*/ 0 w 10000"/>
                <a:gd name="connsiteY1" fmla="*/ 5717 h 10000"/>
                <a:gd name="connsiteX2" fmla="*/ 0 w 10000"/>
                <a:gd name="connsiteY2" fmla="*/ 6668 h 10000"/>
                <a:gd name="connsiteX3" fmla="*/ 109 w 10000"/>
                <a:gd name="connsiteY3" fmla="*/ 6693 h 10000"/>
                <a:gd name="connsiteX4" fmla="*/ 134 w 10000"/>
                <a:gd name="connsiteY4" fmla="*/ 6769 h 10000"/>
                <a:gd name="connsiteX5" fmla="*/ 130 w 10000"/>
                <a:gd name="connsiteY5" fmla="*/ 6897 h 10000"/>
                <a:gd name="connsiteX6" fmla="*/ 89 w 10000"/>
                <a:gd name="connsiteY6" fmla="*/ 6953 h 10000"/>
                <a:gd name="connsiteX7" fmla="*/ 255 w 10000"/>
                <a:gd name="connsiteY7" fmla="*/ 6842 h 10000"/>
                <a:gd name="connsiteX8" fmla="*/ 325 w 10000"/>
                <a:gd name="connsiteY8" fmla="*/ 6737 h 10000"/>
                <a:gd name="connsiteX9" fmla="*/ 413 w 10000"/>
                <a:gd name="connsiteY9" fmla="*/ 6809 h 10000"/>
                <a:gd name="connsiteX10" fmla="*/ 316 w 10000"/>
                <a:gd name="connsiteY10" fmla="*/ 6965 h 10000"/>
                <a:gd name="connsiteX11" fmla="*/ 419 w 10000"/>
                <a:gd name="connsiteY11" fmla="*/ 6969 h 10000"/>
                <a:gd name="connsiteX12" fmla="*/ 469 w 10000"/>
                <a:gd name="connsiteY12" fmla="*/ 7008 h 10000"/>
                <a:gd name="connsiteX13" fmla="*/ 337 w 10000"/>
                <a:gd name="connsiteY13" fmla="*/ 7059 h 10000"/>
                <a:gd name="connsiteX14" fmla="*/ 130 w 10000"/>
                <a:gd name="connsiteY14" fmla="*/ 7220 h 10000"/>
                <a:gd name="connsiteX15" fmla="*/ 497 w 10000"/>
                <a:gd name="connsiteY15" fmla="*/ 7345 h 10000"/>
                <a:gd name="connsiteX16" fmla="*/ 545 w 10000"/>
                <a:gd name="connsiteY16" fmla="*/ 7522 h 10000"/>
                <a:gd name="connsiteX17" fmla="*/ 419 w 10000"/>
                <a:gd name="connsiteY17" fmla="*/ 7785 h 10000"/>
                <a:gd name="connsiteX18" fmla="*/ 688 w 10000"/>
                <a:gd name="connsiteY18" fmla="*/ 7770 h 10000"/>
                <a:gd name="connsiteX19" fmla="*/ 709 w 10000"/>
                <a:gd name="connsiteY19" fmla="*/ 7965 h 10000"/>
                <a:gd name="connsiteX20" fmla="*/ 530 w 10000"/>
                <a:gd name="connsiteY20" fmla="*/ 8105 h 10000"/>
                <a:gd name="connsiteX21" fmla="*/ 560 w 10000"/>
                <a:gd name="connsiteY21" fmla="*/ 8362 h 10000"/>
                <a:gd name="connsiteX22" fmla="*/ 489 w 10000"/>
                <a:gd name="connsiteY22" fmla="*/ 8568 h 10000"/>
                <a:gd name="connsiteX23" fmla="*/ 703 w 10000"/>
                <a:gd name="connsiteY23" fmla="*/ 8587 h 10000"/>
                <a:gd name="connsiteX24" fmla="*/ 992 w 10000"/>
                <a:gd name="connsiteY24" fmla="*/ 9678 h 10000"/>
                <a:gd name="connsiteX25" fmla="*/ 1653 w 10000"/>
                <a:gd name="connsiteY25" fmla="*/ 9323 h 10000"/>
                <a:gd name="connsiteX26" fmla="*/ 1883 w 10000"/>
                <a:gd name="connsiteY26" fmla="*/ 9703 h 10000"/>
                <a:gd name="connsiteX27" fmla="*/ 2400 w 10000"/>
                <a:gd name="connsiteY27" fmla="*/ 9070 h 10000"/>
                <a:gd name="connsiteX28" fmla="*/ 3729 w 10000"/>
                <a:gd name="connsiteY28" fmla="*/ 9624 h 10000"/>
                <a:gd name="connsiteX29" fmla="*/ 4166 w 10000"/>
                <a:gd name="connsiteY29" fmla="*/ 8956 h 10000"/>
                <a:gd name="connsiteX30" fmla="*/ 5411 w 10000"/>
                <a:gd name="connsiteY30" fmla="*/ 9504 h 10000"/>
                <a:gd name="connsiteX31" fmla="*/ 6419 w 10000"/>
                <a:gd name="connsiteY31" fmla="*/ 10000 h 10000"/>
                <a:gd name="connsiteX32" fmla="*/ 6586 w 10000"/>
                <a:gd name="connsiteY32" fmla="*/ 9169 h 10000"/>
                <a:gd name="connsiteX33" fmla="*/ 6855 w 10000"/>
                <a:gd name="connsiteY33" fmla="*/ 8801 h 10000"/>
                <a:gd name="connsiteX34" fmla="*/ 6855 w 10000"/>
                <a:gd name="connsiteY34" fmla="*/ 8603 h 10000"/>
                <a:gd name="connsiteX35" fmla="*/ 6757 w 10000"/>
                <a:gd name="connsiteY35" fmla="*/ 8497 h 10000"/>
                <a:gd name="connsiteX36" fmla="*/ 6915 w 10000"/>
                <a:gd name="connsiteY36" fmla="*/ 8318 h 10000"/>
                <a:gd name="connsiteX37" fmla="*/ 6887 w 10000"/>
                <a:gd name="connsiteY37" fmla="*/ 8175 h 10000"/>
                <a:gd name="connsiteX38" fmla="*/ 6779 w 10000"/>
                <a:gd name="connsiteY38" fmla="*/ 8053 h 10000"/>
                <a:gd name="connsiteX39" fmla="*/ 6757 w 10000"/>
                <a:gd name="connsiteY39" fmla="*/ 7956 h 10000"/>
                <a:gd name="connsiteX40" fmla="*/ 6785 w 10000"/>
                <a:gd name="connsiteY40" fmla="*/ 7886 h 10000"/>
                <a:gd name="connsiteX41" fmla="*/ 6931 w 10000"/>
                <a:gd name="connsiteY41" fmla="*/ 7942 h 10000"/>
                <a:gd name="connsiteX42" fmla="*/ 7045 w 10000"/>
                <a:gd name="connsiteY42" fmla="*/ 7939 h 10000"/>
                <a:gd name="connsiteX43" fmla="*/ 6983 w 10000"/>
                <a:gd name="connsiteY43" fmla="*/ 7822 h 10000"/>
                <a:gd name="connsiteX44" fmla="*/ 7003 w 10000"/>
                <a:gd name="connsiteY44" fmla="*/ 7752 h 10000"/>
                <a:gd name="connsiteX45" fmla="*/ 7089 w 10000"/>
                <a:gd name="connsiteY45" fmla="*/ 7653 h 10000"/>
                <a:gd name="connsiteX46" fmla="*/ 7074 w 10000"/>
                <a:gd name="connsiteY46" fmla="*/ 7570 h 10000"/>
                <a:gd name="connsiteX47" fmla="*/ 7152 w 10000"/>
                <a:gd name="connsiteY47" fmla="*/ 7295 h 10000"/>
                <a:gd name="connsiteX48" fmla="*/ 7130 w 10000"/>
                <a:gd name="connsiteY48" fmla="*/ 7209 h 10000"/>
                <a:gd name="connsiteX49" fmla="*/ 6729 w 10000"/>
                <a:gd name="connsiteY49" fmla="*/ 6997 h 10000"/>
                <a:gd name="connsiteX50" fmla="*/ 6785 w 10000"/>
                <a:gd name="connsiteY50" fmla="*/ 6989 h 10000"/>
                <a:gd name="connsiteX51" fmla="*/ 6998 w 10000"/>
                <a:gd name="connsiteY51" fmla="*/ 7043 h 10000"/>
                <a:gd name="connsiteX52" fmla="*/ 7230 w 10000"/>
                <a:gd name="connsiteY52" fmla="*/ 7023 h 10000"/>
                <a:gd name="connsiteX53" fmla="*/ 7295 w 10000"/>
                <a:gd name="connsiteY53" fmla="*/ 6949 h 10000"/>
                <a:gd name="connsiteX54" fmla="*/ 7074 w 10000"/>
                <a:gd name="connsiteY54" fmla="*/ 6806 h 10000"/>
                <a:gd name="connsiteX55" fmla="*/ 6414 w 10000"/>
                <a:gd name="connsiteY55" fmla="*/ 6711 h 10000"/>
                <a:gd name="connsiteX56" fmla="*/ 6458 w 10000"/>
                <a:gd name="connsiteY56" fmla="*/ 6668 h 10000"/>
                <a:gd name="connsiteX57" fmla="*/ 6998 w 10000"/>
                <a:gd name="connsiteY57" fmla="*/ 6638 h 10000"/>
                <a:gd name="connsiteX58" fmla="*/ 7295 w 10000"/>
                <a:gd name="connsiteY58" fmla="*/ 6724 h 10000"/>
                <a:gd name="connsiteX59" fmla="*/ 7466 w 10000"/>
                <a:gd name="connsiteY59" fmla="*/ 6668 h 10000"/>
                <a:gd name="connsiteX60" fmla="*/ 7529 w 10000"/>
                <a:gd name="connsiteY60" fmla="*/ 6520 h 10000"/>
                <a:gd name="connsiteX61" fmla="*/ 7840 w 10000"/>
                <a:gd name="connsiteY61" fmla="*/ 6520 h 10000"/>
                <a:gd name="connsiteX62" fmla="*/ 8261 w 10000"/>
                <a:gd name="connsiteY62" fmla="*/ 6219 h 10000"/>
                <a:gd name="connsiteX63" fmla="*/ 8275 w 10000"/>
                <a:gd name="connsiteY63" fmla="*/ 6019 h 10000"/>
                <a:gd name="connsiteX64" fmla="*/ 8453 w 10000"/>
                <a:gd name="connsiteY64" fmla="*/ 6064 h 10000"/>
                <a:gd name="connsiteX65" fmla="*/ 8446 w 10000"/>
                <a:gd name="connsiteY65" fmla="*/ 6266 h 10000"/>
                <a:gd name="connsiteX66" fmla="*/ 8727 w 10000"/>
                <a:gd name="connsiteY66" fmla="*/ 6251 h 10000"/>
                <a:gd name="connsiteX67" fmla="*/ 8913 w 10000"/>
                <a:gd name="connsiteY67" fmla="*/ 6043 h 10000"/>
                <a:gd name="connsiteX68" fmla="*/ 9258 w 10000"/>
                <a:gd name="connsiteY68" fmla="*/ 5856 h 10000"/>
                <a:gd name="connsiteX69" fmla="*/ 9203 w 10000"/>
                <a:gd name="connsiteY69" fmla="*/ 5644 h 10000"/>
                <a:gd name="connsiteX70" fmla="*/ 9306 w 10000"/>
                <a:gd name="connsiteY70" fmla="*/ 5730 h 10000"/>
                <a:gd name="connsiteX71" fmla="*/ 9464 w 10000"/>
                <a:gd name="connsiteY71" fmla="*/ 5730 h 10000"/>
                <a:gd name="connsiteX72" fmla="*/ 9464 w 10000"/>
                <a:gd name="connsiteY72" fmla="*/ 5630 h 10000"/>
                <a:gd name="connsiteX73" fmla="*/ 9611 w 10000"/>
                <a:gd name="connsiteY73" fmla="*/ 5558 h 10000"/>
                <a:gd name="connsiteX74" fmla="*/ 9592 w 10000"/>
                <a:gd name="connsiteY74" fmla="*/ 5481 h 10000"/>
                <a:gd name="connsiteX75" fmla="*/ 8350 w 10000"/>
                <a:gd name="connsiteY75" fmla="*/ 5632 h 10000"/>
                <a:gd name="connsiteX76" fmla="*/ 8058 w 10000"/>
                <a:gd name="connsiteY76" fmla="*/ 5590 h 10000"/>
                <a:gd name="connsiteX77" fmla="*/ 7942 w 10000"/>
                <a:gd name="connsiteY77" fmla="*/ 5644 h 10000"/>
                <a:gd name="connsiteX78" fmla="*/ 7903 w 10000"/>
                <a:gd name="connsiteY78" fmla="*/ 5537 h 10000"/>
                <a:gd name="connsiteX79" fmla="*/ 7765 w 10000"/>
                <a:gd name="connsiteY79" fmla="*/ 5443 h 10000"/>
                <a:gd name="connsiteX80" fmla="*/ 7213 w 10000"/>
                <a:gd name="connsiteY80" fmla="*/ 5249 h 10000"/>
                <a:gd name="connsiteX81" fmla="*/ 6887 w 10000"/>
                <a:gd name="connsiteY81" fmla="*/ 5282 h 10000"/>
                <a:gd name="connsiteX82" fmla="*/ 6757 w 10000"/>
                <a:gd name="connsiteY82" fmla="*/ 5227 h 10000"/>
                <a:gd name="connsiteX83" fmla="*/ 6894 w 10000"/>
                <a:gd name="connsiteY83" fmla="*/ 5180 h 10000"/>
                <a:gd name="connsiteX84" fmla="*/ 6998 w 10000"/>
                <a:gd name="connsiteY84" fmla="*/ 5078 h 10000"/>
                <a:gd name="connsiteX85" fmla="*/ 7152 w 10000"/>
                <a:gd name="connsiteY85" fmla="*/ 5110 h 10000"/>
                <a:gd name="connsiteX86" fmla="*/ 7335 w 10000"/>
                <a:gd name="connsiteY86" fmla="*/ 5085 h 10000"/>
                <a:gd name="connsiteX87" fmla="*/ 7611 w 10000"/>
                <a:gd name="connsiteY87" fmla="*/ 5118 h 10000"/>
                <a:gd name="connsiteX88" fmla="*/ 7645 w 10000"/>
                <a:gd name="connsiteY88" fmla="*/ 5104 h 10000"/>
                <a:gd name="connsiteX89" fmla="*/ 7859 w 10000"/>
                <a:gd name="connsiteY89" fmla="*/ 5259 h 10000"/>
                <a:gd name="connsiteX90" fmla="*/ 8017 w 10000"/>
                <a:gd name="connsiteY90" fmla="*/ 5201 h 10000"/>
                <a:gd name="connsiteX91" fmla="*/ 8032 w 10000"/>
                <a:gd name="connsiteY91" fmla="*/ 5148 h 10000"/>
                <a:gd name="connsiteX92" fmla="*/ 8176 w 10000"/>
                <a:gd name="connsiteY92" fmla="*/ 5241 h 10000"/>
                <a:gd name="connsiteX93" fmla="*/ 8369 w 10000"/>
                <a:gd name="connsiteY93" fmla="*/ 5291 h 10000"/>
                <a:gd name="connsiteX94" fmla="*/ 8446 w 10000"/>
                <a:gd name="connsiteY94" fmla="*/ 5199 h 10000"/>
                <a:gd name="connsiteX95" fmla="*/ 8507 w 10000"/>
                <a:gd name="connsiteY95" fmla="*/ 5249 h 10000"/>
                <a:gd name="connsiteX96" fmla="*/ 8596 w 10000"/>
                <a:gd name="connsiteY96" fmla="*/ 5430 h 10000"/>
                <a:gd name="connsiteX97" fmla="*/ 8782 w 10000"/>
                <a:gd name="connsiteY97" fmla="*/ 5470 h 10000"/>
                <a:gd name="connsiteX98" fmla="*/ 9542 w 10000"/>
                <a:gd name="connsiteY98" fmla="*/ 5208 h 10000"/>
                <a:gd name="connsiteX99" fmla="*/ 9914 w 10000"/>
                <a:gd name="connsiteY99" fmla="*/ 4838 h 10000"/>
                <a:gd name="connsiteX100" fmla="*/ 10000 w 10000"/>
                <a:gd name="connsiteY100" fmla="*/ 4574 h 10000"/>
                <a:gd name="connsiteX101" fmla="*/ 9866 w 10000"/>
                <a:gd name="connsiteY101" fmla="*/ 4330 h 10000"/>
                <a:gd name="connsiteX102" fmla="*/ 9582 w 10000"/>
                <a:gd name="connsiteY102" fmla="*/ 4188 h 10000"/>
                <a:gd name="connsiteX103" fmla="*/ 9382 w 10000"/>
                <a:gd name="connsiteY103" fmla="*/ 3948 h 10000"/>
                <a:gd name="connsiteX104" fmla="*/ 9569 w 10000"/>
                <a:gd name="connsiteY104" fmla="*/ 3941 h 10000"/>
                <a:gd name="connsiteX105" fmla="*/ 9555 w 10000"/>
                <a:gd name="connsiteY105" fmla="*/ 3886 h 10000"/>
                <a:gd name="connsiteX106" fmla="*/ 9068 w 10000"/>
                <a:gd name="connsiteY106" fmla="*/ 3720 h 10000"/>
                <a:gd name="connsiteX107" fmla="*/ 9047 w 10000"/>
                <a:gd name="connsiteY107" fmla="*/ 3566 h 10000"/>
                <a:gd name="connsiteX108" fmla="*/ 8953 w 10000"/>
                <a:gd name="connsiteY108" fmla="*/ 3406 h 10000"/>
                <a:gd name="connsiteX109" fmla="*/ 8569 w 10000"/>
                <a:gd name="connsiteY109" fmla="*/ 3436 h 10000"/>
                <a:gd name="connsiteX110" fmla="*/ 8431 w 10000"/>
                <a:gd name="connsiteY110" fmla="*/ 3265 h 10000"/>
                <a:gd name="connsiteX111" fmla="*/ 8350 w 10000"/>
                <a:gd name="connsiteY111" fmla="*/ 3254 h 10000"/>
                <a:gd name="connsiteX112" fmla="*/ 8350 w 10000"/>
                <a:gd name="connsiteY112" fmla="*/ 3331 h 10000"/>
                <a:gd name="connsiteX113" fmla="*/ 8176 w 10000"/>
                <a:gd name="connsiteY113" fmla="*/ 3613 h 10000"/>
                <a:gd name="connsiteX114" fmla="*/ 7990 w 10000"/>
                <a:gd name="connsiteY114" fmla="*/ 3783 h 10000"/>
                <a:gd name="connsiteX115" fmla="*/ 7401 w 10000"/>
                <a:gd name="connsiteY115" fmla="*/ 4066 h 10000"/>
                <a:gd name="connsiteX116" fmla="*/ 7198 w 10000"/>
                <a:gd name="connsiteY116" fmla="*/ 4058 h 10000"/>
                <a:gd name="connsiteX117" fmla="*/ 6915 w 10000"/>
                <a:gd name="connsiteY117" fmla="*/ 4101 h 10000"/>
                <a:gd name="connsiteX118" fmla="*/ 6757 w 10000"/>
                <a:gd name="connsiteY118" fmla="*/ 4058 h 10000"/>
                <a:gd name="connsiteX119" fmla="*/ 6965 w 10000"/>
                <a:gd name="connsiteY119" fmla="*/ 3976 h 10000"/>
                <a:gd name="connsiteX120" fmla="*/ 7235 w 10000"/>
                <a:gd name="connsiteY120" fmla="*/ 3941 h 10000"/>
                <a:gd name="connsiteX121" fmla="*/ 7455 w 10000"/>
                <a:gd name="connsiteY121" fmla="*/ 3809 h 10000"/>
                <a:gd name="connsiteX122" fmla="*/ 7674 w 10000"/>
                <a:gd name="connsiteY122" fmla="*/ 3746 h 10000"/>
                <a:gd name="connsiteX123" fmla="*/ 8082 w 10000"/>
                <a:gd name="connsiteY123" fmla="*/ 3512 h 10000"/>
                <a:gd name="connsiteX124" fmla="*/ 8157 w 10000"/>
                <a:gd name="connsiteY124" fmla="*/ 3359 h 10000"/>
                <a:gd name="connsiteX125" fmla="*/ 8165 w 10000"/>
                <a:gd name="connsiteY125" fmla="*/ 3163 h 10000"/>
                <a:gd name="connsiteX126" fmla="*/ 7978 w 10000"/>
                <a:gd name="connsiteY126" fmla="*/ 3129 h 10000"/>
                <a:gd name="connsiteX127" fmla="*/ 8058 w 10000"/>
                <a:gd name="connsiteY127" fmla="*/ 3009 h 10000"/>
                <a:gd name="connsiteX128" fmla="*/ 8087 w 10000"/>
                <a:gd name="connsiteY128" fmla="*/ 2856 h 10000"/>
                <a:gd name="connsiteX129" fmla="*/ 8007 w 10000"/>
                <a:gd name="connsiteY129" fmla="*/ 2714 h 10000"/>
                <a:gd name="connsiteX130" fmla="*/ 7450 w 10000"/>
                <a:gd name="connsiteY130" fmla="*/ 2910 h 10000"/>
                <a:gd name="connsiteX131" fmla="*/ 6694 w 10000"/>
                <a:gd name="connsiteY131" fmla="*/ 2823 h 10000"/>
                <a:gd name="connsiteX132" fmla="*/ 6304 w 10000"/>
                <a:gd name="connsiteY132" fmla="*/ 2276 h 10000"/>
                <a:gd name="connsiteX133" fmla="*/ 5294 w 10000"/>
                <a:gd name="connsiteY133" fmla="*/ 2173 h 10000"/>
                <a:gd name="connsiteX134" fmla="*/ 4505 w 10000"/>
                <a:gd name="connsiteY134" fmla="*/ 1721 h 10000"/>
                <a:gd name="connsiteX135" fmla="*/ 3730 w 10000"/>
                <a:gd name="connsiteY135" fmla="*/ 1176 h 10000"/>
                <a:gd name="connsiteX136" fmla="*/ 3154 w 10000"/>
                <a:gd name="connsiteY136" fmla="*/ 173 h 10000"/>
                <a:gd name="connsiteX137" fmla="*/ 2375 w 10000"/>
                <a:gd name="connsiteY137" fmla="*/ 0 h 10000"/>
                <a:gd name="connsiteX138" fmla="*/ 2226 w 10000"/>
                <a:gd name="connsiteY138" fmla="*/ 941 h 10000"/>
                <a:gd name="connsiteX139" fmla="*/ 2375 w 10000"/>
                <a:gd name="connsiteY139" fmla="*/ 1181 h 10000"/>
                <a:gd name="connsiteX140" fmla="*/ 2791 w 10000"/>
                <a:gd name="connsiteY140" fmla="*/ 1446 h 10000"/>
                <a:gd name="connsiteX141" fmla="*/ 2808 w 10000"/>
                <a:gd name="connsiteY141" fmla="*/ 1767 h 10000"/>
                <a:gd name="connsiteX142" fmla="*/ 2632 w 10000"/>
                <a:gd name="connsiteY142" fmla="*/ 2035 h 10000"/>
                <a:gd name="connsiteX143" fmla="*/ 2375 w 10000"/>
                <a:gd name="connsiteY143" fmla="*/ 2196 h 10000"/>
                <a:gd name="connsiteX144" fmla="*/ 2039 w 10000"/>
                <a:gd name="connsiteY144" fmla="*/ 2260 h 10000"/>
                <a:gd name="connsiteX145" fmla="*/ 1950 w 10000"/>
                <a:gd name="connsiteY145" fmla="*/ 2357 h 10000"/>
                <a:gd name="connsiteX146" fmla="*/ 2148 w 10000"/>
                <a:gd name="connsiteY146" fmla="*/ 2577 h 10000"/>
                <a:gd name="connsiteX147" fmla="*/ 2261 w 10000"/>
                <a:gd name="connsiteY147" fmla="*/ 3104 h 10000"/>
                <a:gd name="connsiteX148" fmla="*/ 2005 w 10000"/>
                <a:gd name="connsiteY148" fmla="*/ 3555 h 10000"/>
                <a:gd name="connsiteX149" fmla="*/ 2094 w 10000"/>
                <a:gd name="connsiteY149" fmla="*/ 3692 h 10000"/>
                <a:gd name="connsiteX150" fmla="*/ 2012 w 10000"/>
                <a:gd name="connsiteY150" fmla="*/ 3926 h 10000"/>
                <a:gd name="connsiteX151" fmla="*/ 1850 w 10000"/>
                <a:gd name="connsiteY151" fmla="*/ 4089 h 10000"/>
                <a:gd name="connsiteX152" fmla="*/ 1199 w 10000"/>
                <a:gd name="connsiteY152" fmla="*/ 4215 h 10000"/>
                <a:gd name="connsiteX153" fmla="*/ 1158 w 10000"/>
                <a:gd name="connsiteY153" fmla="*/ 4432 h 10000"/>
                <a:gd name="connsiteX154" fmla="*/ 808 w 10000"/>
                <a:gd name="connsiteY154" fmla="*/ 4754 h 10000"/>
                <a:gd name="connsiteX155" fmla="*/ 854 w 10000"/>
                <a:gd name="connsiteY155" fmla="*/ 5224 h 10000"/>
                <a:gd name="connsiteX156" fmla="*/ 560 w 10000"/>
                <a:gd name="connsiteY156" fmla="*/ 5822 h 10000"/>
                <a:gd name="connsiteX157" fmla="*/ 358 w 10000"/>
                <a:gd name="connsiteY157" fmla="*/ 5891 h 10000"/>
                <a:gd name="connsiteX158" fmla="*/ 275 w 10000"/>
                <a:gd name="connsiteY158" fmla="*/ 5749 h 10000"/>
                <a:gd name="connsiteX159" fmla="*/ 174 w 10000"/>
                <a:gd name="connsiteY159" fmla="*/ 5964 h 10000"/>
                <a:gd name="connsiteX160" fmla="*/ 239 w 10000"/>
                <a:gd name="connsiteY160" fmla="*/ 5592 h 10000"/>
                <a:gd name="connsiteX161" fmla="*/ 197 w 10000"/>
                <a:gd name="connsiteY161" fmla="*/ 5523 h 10000"/>
                <a:gd name="connsiteX0" fmla="*/ 197 w 10000"/>
                <a:gd name="connsiteY0" fmla="*/ 5523 h 10000"/>
                <a:gd name="connsiteX1" fmla="*/ 0 w 10000"/>
                <a:gd name="connsiteY1" fmla="*/ 5717 h 10000"/>
                <a:gd name="connsiteX2" fmla="*/ 0 w 10000"/>
                <a:gd name="connsiteY2" fmla="*/ 6668 h 10000"/>
                <a:gd name="connsiteX3" fmla="*/ 109 w 10000"/>
                <a:gd name="connsiteY3" fmla="*/ 6693 h 10000"/>
                <a:gd name="connsiteX4" fmla="*/ 134 w 10000"/>
                <a:gd name="connsiteY4" fmla="*/ 6769 h 10000"/>
                <a:gd name="connsiteX5" fmla="*/ 130 w 10000"/>
                <a:gd name="connsiteY5" fmla="*/ 6897 h 10000"/>
                <a:gd name="connsiteX6" fmla="*/ 89 w 10000"/>
                <a:gd name="connsiteY6" fmla="*/ 6953 h 10000"/>
                <a:gd name="connsiteX7" fmla="*/ 255 w 10000"/>
                <a:gd name="connsiteY7" fmla="*/ 6842 h 10000"/>
                <a:gd name="connsiteX8" fmla="*/ 325 w 10000"/>
                <a:gd name="connsiteY8" fmla="*/ 6737 h 10000"/>
                <a:gd name="connsiteX9" fmla="*/ 413 w 10000"/>
                <a:gd name="connsiteY9" fmla="*/ 6809 h 10000"/>
                <a:gd name="connsiteX10" fmla="*/ 316 w 10000"/>
                <a:gd name="connsiteY10" fmla="*/ 6965 h 10000"/>
                <a:gd name="connsiteX11" fmla="*/ 419 w 10000"/>
                <a:gd name="connsiteY11" fmla="*/ 6969 h 10000"/>
                <a:gd name="connsiteX12" fmla="*/ 469 w 10000"/>
                <a:gd name="connsiteY12" fmla="*/ 7008 h 10000"/>
                <a:gd name="connsiteX13" fmla="*/ 337 w 10000"/>
                <a:gd name="connsiteY13" fmla="*/ 7059 h 10000"/>
                <a:gd name="connsiteX14" fmla="*/ 130 w 10000"/>
                <a:gd name="connsiteY14" fmla="*/ 7220 h 10000"/>
                <a:gd name="connsiteX15" fmla="*/ 497 w 10000"/>
                <a:gd name="connsiteY15" fmla="*/ 7345 h 10000"/>
                <a:gd name="connsiteX16" fmla="*/ 545 w 10000"/>
                <a:gd name="connsiteY16" fmla="*/ 7522 h 10000"/>
                <a:gd name="connsiteX17" fmla="*/ 419 w 10000"/>
                <a:gd name="connsiteY17" fmla="*/ 7785 h 10000"/>
                <a:gd name="connsiteX18" fmla="*/ 688 w 10000"/>
                <a:gd name="connsiteY18" fmla="*/ 7770 h 10000"/>
                <a:gd name="connsiteX19" fmla="*/ 709 w 10000"/>
                <a:gd name="connsiteY19" fmla="*/ 7965 h 10000"/>
                <a:gd name="connsiteX20" fmla="*/ 530 w 10000"/>
                <a:gd name="connsiteY20" fmla="*/ 8105 h 10000"/>
                <a:gd name="connsiteX21" fmla="*/ 560 w 10000"/>
                <a:gd name="connsiteY21" fmla="*/ 8362 h 10000"/>
                <a:gd name="connsiteX22" fmla="*/ 489 w 10000"/>
                <a:gd name="connsiteY22" fmla="*/ 8568 h 10000"/>
                <a:gd name="connsiteX23" fmla="*/ 703 w 10000"/>
                <a:gd name="connsiteY23" fmla="*/ 8587 h 10000"/>
                <a:gd name="connsiteX24" fmla="*/ 992 w 10000"/>
                <a:gd name="connsiteY24" fmla="*/ 9678 h 10000"/>
                <a:gd name="connsiteX25" fmla="*/ 1653 w 10000"/>
                <a:gd name="connsiteY25" fmla="*/ 9323 h 10000"/>
                <a:gd name="connsiteX26" fmla="*/ 1883 w 10000"/>
                <a:gd name="connsiteY26" fmla="*/ 9703 h 10000"/>
                <a:gd name="connsiteX27" fmla="*/ 2400 w 10000"/>
                <a:gd name="connsiteY27" fmla="*/ 9070 h 10000"/>
                <a:gd name="connsiteX28" fmla="*/ 3729 w 10000"/>
                <a:gd name="connsiteY28" fmla="*/ 9624 h 10000"/>
                <a:gd name="connsiteX29" fmla="*/ 4123 w 10000"/>
                <a:gd name="connsiteY29" fmla="*/ 9257 h 10000"/>
                <a:gd name="connsiteX30" fmla="*/ 5411 w 10000"/>
                <a:gd name="connsiteY30" fmla="*/ 9504 h 10000"/>
                <a:gd name="connsiteX31" fmla="*/ 6419 w 10000"/>
                <a:gd name="connsiteY31" fmla="*/ 10000 h 10000"/>
                <a:gd name="connsiteX32" fmla="*/ 6586 w 10000"/>
                <a:gd name="connsiteY32" fmla="*/ 9169 h 10000"/>
                <a:gd name="connsiteX33" fmla="*/ 6855 w 10000"/>
                <a:gd name="connsiteY33" fmla="*/ 8801 h 10000"/>
                <a:gd name="connsiteX34" fmla="*/ 6855 w 10000"/>
                <a:gd name="connsiteY34" fmla="*/ 8603 h 10000"/>
                <a:gd name="connsiteX35" fmla="*/ 6757 w 10000"/>
                <a:gd name="connsiteY35" fmla="*/ 8497 h 10000"/>
                <a:gd name="connsiteX36" fmla="*/ 6915 w 10000"/>
                <a:gd name="connsiteY36" fmla="*/ 8318 h 10000"/>
                <a:gd name="connsiteX37" fmla="*/ 6887 w 10000"/>
                <a:gd name="connsiteY37" fmla="*/ 8175 h 10000"/>
                <a:gd name="connsiteX38" fmla="*/ 6779 w 10000"/>
                <a:gd name="connsiteY38" fmla="*/ 8053 h 10000"/>
                <a:gd name="connsiteX39" fmla="*/ 6757 w 10000"/>
                <a:gd name="connsiteY39" fmla="*/ 7956 h 10000"/>
                <a:gd name="connsiteX40" fmla="*/ 6785 w 10000"/>
                <a:gd name="connsiteY40" fmla="*/ 7886 h 10000"/>
                <a:gd name="connsiteX41" fmla="*/ 6931 w 10000"/>
                <a:gd name="connsiteY41" fmla="*/ 7942 h 10000"/>
                <a:gd name="connsiteX42" fmla="*/ 7045 w 10000"/>
                <a:gd name="connsiteY42" fmla="*/ 7939 h 10000"/>
                <a:gd name="connsiteX43" fmla="*/ 6983 w 10000"/>
                <a:gd name="connsiteY43" fmla="*/ 7822 h 10000"/>
                <a:gd name="connsiteX44" fmla="*/ 7003 w 10000"/>
                <a:gd name="connsiteY44" fmla="*/ 7752 h 10000"/>
                <a:gd name="connsiteX45" fmla="*/ 7089 w 10000"/>
                <a:gd name="connsiteY45" fmla="*/ 7653 h 10000"/>
                <a:gd name="connsiteX46" fmla="*/ 7074 w 10000"/>
                <a:gd name="connsiteY46" fmla="*/ 7570 h 10000"/>
                <a:gd name="connsiteX47" fmla="*/ 7152 w 10000"/>
                <a:gd name="connsiteY47" fmla="*/ 7295 h 10000"/>
                <a:gd name="connsiteX48" fmla="*/ 7130 w 10000"/>
                <a:gd name="connsiteY48" fmla="*/ 7209 h 10000"/>
                <a:gd name="connsiteX49" fmla="*/ 6729 w 10000"/>
                <a:gd name="connsiteY49" fmla="*/ 6997 h 10000"/>
                <a:gd name="connsiteX50" fmla="*/ 6785 w 10000"/>
                <a:gd name="connsiteY50" fmla="*/ 6989 h 10000"/>
                <a:gd name="connsiteX51" fmla="*/ 6998 w 10000"/>
                <a:gd name="connsiteY51" fmla="*/ 7043 h 10000"/>
                <a:gd name="connsiteX52" fmla="*/ 7230 w 10000"/>
                <a:gd name="connsiteY52" fmla="*/ 7023 h 10000"/>
                <a:gd name="connsiteX53" fmla="*/ 7295 w 10000"/>
                <a:gd name="connsiteY53" fmla="*/ 6949 h 10000"/>
                <a:gd name="connsiteX54" fmla="*/ 7074 w 10000"/>
                <a:gd name="connsiteY54" fmla="*/ 6806 h 10000"/>
                <a:gd name="connsiteX55" fmla="*/ 6414 w 10000"/>
                <a:gd name="connsiteY55" fmla="*/ 6711 h 10000"/>
                <a:gd name="connsiteX56" fmla="*/ 6458 w 10000"/>
                <a:gd name="connsiteY56" fmla="*/ 6668 h 10000"/>
                <a:gd name="connsiteX57" fmla="*/ 6998 w 10000"/>
                <a:gd name="connsiteY57" fmla="*/ 6638 h 10000"/>
                <a:gd name="connsiteX58" fmla="*/ 7295 w 10000"/>
                <a:gd name="connsiteY58" fmla="*/ 6724 h 10000"/>
                <a:gd name="connsiteX59" fmla="*/ 7466 w 10000"/>
                <a:gd name="connsiteY59" fmla="*/ 6668 h 10000"/>
                <a:gd name="connsiteX60" fmla="*/ 7529 w 10000"/>
                <a:gd name="connsiteY60" fmla="*/ 6520 h 10000"/>
                <a:gd name="connsiteX61" fmla="*/ 7840 w 10000"/>
                <a:gd name="connsiteY61" fmla="*/ 6520 h 10000"/>
                <a:gd name="connsiteX62" fmla="*/ 8261 w 10000"/>
                <a:gd name="connsiteY62" fmla="*/ 6219 h 10000"/>
                <a:gd name="connsiteX63" fmla="*/ 8275 w 10000"/>
                <a:gd name="connsiteY63" fmla="*/ 6019 h 10000"/>
                <a:gd name="connsiteX64" fmla="*/ 8453 w 10000"/>
                <a:gd name="connsiteY64" fmla="*/ 6064 h 10000"/>
                <a:gd name="connsiteX65" fmla="*/ 8446 w 10000"/>
                <a:gd name="connsiteY65" fmla="*/ 6266 h 10000"/>
                <a:gd name="connsiteX66" fmla="*/ 8727 w 10000"/>
                <a:gd name="connsiteY66" fmla="*/ 6251 h 10000"/>
                <a:gd name="connsiteX67" fmla="*/ 8913 w 10000"/>
                <a:gd name="connsiteY67" fmla="*/ 6043 h 10000"/>
                <a:gd name="connsiteX68" fmla="*/ 9258 w 10000"/>
                <a:gd name="connsiteY68" fmla="*/ 5856 h 10000"/>
                <a:gd name="connsiteX69" fmla="*/ 9203 w 10000"/>
                <a:gd name="connsiteY69" fmla="*/ 5644 h 10000"/>
                <a:gd name="connsiteX70" fmla="*/ 9306 w 10000"/>
                <a:gd name="connsiteY70" fmla="*/ 5730 h 10000"/>
                <a:gd name="connsiteX71" fmla="*/ 9464 w 10000"/>
                <a:gd name="connsiteY71" fmla="*/ 5730 h 10000"/>
                <a:gd name="connsiteX72" fmla="*/ 9464 w 10000"/>
                <a:gd name="connsiteY72" fmla="*/ 5630 h 10000"/>
                <a:gd name="connsiteX73" fmla="*/ 9611 w 10000"/>
                <a:gd name="connsiteY73" fmla="*/ 5558 h 10000"/>
                <a:gd name="connsiteX74" fmla="*/ 9592 w 10000"/>
                <a:gd name="connsiteY74" fmla="*/ 5481 h 10000"/>
                <a:gd name="connsiteX75" fmla="*/ 8350 w 10000"/>
                <a:gd name="connsiteY75" fmla="*/ 5632 h 10000"/>
                <a:gd name="connsiteX76" fmla="*/ 8058 w 10000"/>
                <a:gd name="connsiteY76" fmla="*/ 5590 h 10000"/>
                <a:gd name="connsiteX77" fmla="*/ 7942 w 10000"/>
                <a:gd name="connsiteY77" fmla="*/ 5644 h 10000"/>
                <a:gd name="connsiteX78" fmla="*/ 7903 w 10000"/>
                <a:gd name="connsiteY78" fmla="*/ 5537 h 10000"/>
                <a:gd name="connsiteX79" fmla="*/ 7765 w 10000"/>
                <a:gd name="connsiteY79" fmla="*/ 5443 h 10000"/>
                <a:gd name="connsiteX80" fmla="*/ 7213 w 10000"/>
                <a:gd name="connsiteY80" fmla="*/ 5249 h 10000"/>
                <a:gd name="connsiteX81" fmla="*/ 6887 w 10000"/>
                <a:gd name="connsiteY81" fmla="*/ 5282 h 10000"/>
                <a:gd name="connsiteX82" fmla="*/ 6757 w 10000"/>
                <a:gd name="connsiteY82" fmla="*/ 5227 h 10000"/>
                <a:gd name="connsiteX83" fmla="*/ 6894 w 10000"/>
                <a:gd name="connsiteY83" fmla="*/ 5180 h 10000"/>
                <a:gd name="connsiteX84" fmla="*/ 6998 w 10000"/>
                <a:gd name="connsiteY84" fmla="*/ 5078 h 10000"/>
                <a:gd name="connsiteX85" fmla="*/ 7152 w 10000"/>
                <a:gd name="connsiteY85" fmla="*/ 5110 h 10000"/>
                <a:gd name="connsiteX86" fmla="*/ 7335 w 10000"/>
                <a:gd name="connsiteY86" fmla="*/ 5085 h 10000"/>
                <a:gd name="connsiteX87" fmla="*/ 7611 w 10000"/>
                <a:gd name="connsiteY87" fmla="*/ 5118 h 10000"/>
                <a:gd name="connsiteX88" fmla="*/ 7645 w 10000"/>
                <a:gd name="connsiteY88" fmla="*/ 5104 h 10000"/>
                <a:gd name="connsiteX89" fmla="*/ 7859 w 10000"/>
                <a:gd name="connsiteY89" fmla="*/ 5259 h 10000"/>
                <a:gd name="connsiteX90" fmla="*/ 8017 w 10000"/>
                <a:gd name="connsiteY90" fmla="*/ 5201 h 10000"/>
                <a:gd name="connsiteX91" fmla="*/ 8032 w 10000"/>
                <a:gd name="connsiteY91" fmla="*/ 5148 h 10000"/>
                <a:gd name="connsiteX92" fmla="*/ 8176 w 10000"/>
                <a:gd name="connsiteY92" fmla="*/ 5241 h 10000"/>
                <a:gd name="connsiteX93" fmla="*/ 8369 w 10000"/>
                <a:gd name="connsiteY93" fmla="*/ 5291 h 10000"/>
                <a:gd name="connsiteX94" fmla="*/ 8446 w 10000"/>
                <a:gd name="connsiteY94" fmla="*/ 5199 h 10000"/>
                <a:gd name="connsiteX95" fmla="*/ 8507 w 10000"/>
                <a:gd name="connsiteY95" fmla="*/ 5249 h 10000"/>
                <a:gd name="connsiteX96" fmla="*/ 8596 w 10000"/>
                <a:gd name="connsiteY96" fmla="*/ 5430 h 10000"/>
                <a:gd name="connsiteX97" fmla="*/ 8782 w 10000"/>
                <a:gd name="connsiteY97" fmla="*/ 5470 h 10000"/>
                <a:gd name="connsiteX98" fmla="*/ 9542 w 10000"/>
                <a:gd name="connsiteY98" fmla="*/ 5208 h 10000"/>
                <a:gd name="connsiteX99" fmla="*/ 9914 w 10000"/>
                <a:gd name="connsiteY99" fmla="*/ 4838 h 10000"/>
                <a:gd name="connsiteX100" fmla="*/ 10000 w 10000"/>
                <a:gd name="connsiteY100" fmla="*/ 4574 h 10000"/>
                <a:gd name="connsiteX101" fmla="*/ 9866 w 10000"/>
                <a:gd name="connsiteY101" fmla="*/ 4330 h 10000"/>
                <a:gd name="connsiteX102" fmla="*/ 9582 w 10000"/>
                <a:gd name="connsiteY102" fmla="*/ 4188 h 10000"/>
                <a:gd name="connsiteX103" fmla="*/ 9382 w 10000"/>
                <a:gd name="connsiteY103" fmla="*/ 3948 h 10000"/>
                <a:gd name="connsiteX104" fmla="*/ 9569 w 10000"/>
                <a:gd name="connsiteY104" fmla="*/ 3941 h 10000"/>
                <a:gd name="connsiteX105" fmla="*/ 9555 w 10000"/>
                <a:gd name="connsiteY105" fmla="*/ 3886 h 10000"/>
                <a:gd name="connsiteX106" fmla="*/ 9068 w 10000"/>
                <a:gd name="connsiteY106" fmla="*/ 3720 h 10000"/>
                <a:gd name="connsiteX107" fmla="*/ 9047 w 10000"/>
                <a:gd name="connsiteY107" fmla="*/ 3566 h 10000"/>
                <a:gd name="connsiteX108" fmla="*/ 8953 w 10000"/>
                <a:gd name="connsiteY108" fmla="*/ 3406 h 10000"/>
                <a:gd name="connsiteX109" fmla="*/ 8569 w 10000"/>
                <a:gd name="connsiteY109" fmla="*/ 3436 h 10000"/>
                <a:gd name="connsiteX110" fmla="*/ 8431 w 10000"/>
                <a:gd name="connsiteY110" fmla="*/ 3265 h 10000"/>
                <a:gd name="connsiteX111" fmla="*/ 8350 w 10000"/>
                <a:gd name="connsiteY111" fmla="*/ 3254 h 10000"/>
                <a:gd name="connsiteX112" fmla="*/ 8350 w 10000"/>
                <a:gd name="connsiteY112" fmla="*/ 3331 h 10000"/>
                <a:gd name="connsiteX113" fmla="*/ 8176 w 10000"/>
                <a:gd name="connsiteY113" fmla="*/ 3613 h 10000"/>
                <a:gd name="connsiteX114" fmla="*/ 7990 w 10000"/>
                <a:gd name="connsiteY114" fmla="*/ 3783 h 10000"/>
                <a:gd name="connsiteX115" fmla="*/ 7401 w 10000"/>
                <a:gd name="connsiteY115" fmla="*/ 4066 h 10000"/>
                <a:gd name="connsiteX116" fmla="*/ 7198 w 10000"/>
                <a:gd name="connsiteY116" fmla="*/ 4058 h 10000"/>
                <a:gd name="connsiteX117" fmla="*/ 6915 w 10000"/>
                <a:gd name="connsiteY117" fmla="*/ 4101 h 10000"/>
                <a:gd name="connsiteX118" fmla="*/ 6757 w 10000"/>
                <a:gd name="connsiteY118" fmla="*/ 4058 h 10000"/>
                <a:gd name="connsiteX119" fmla="*/ 6965 w 10000"/>
                <a:gd name="connsiteY119" fmla="*/ 3976 h 10000"/>
                <a:gd name="connsiteX120" fmla="*/ 7235 w 10000"/>
                <a:gd name="connsiteY120" fmla="*/ 3941 h 10000"/>
                <a:gd name="connsiteX121" fmla="*/ 7455 w 10000"/>
                <a:gd name="connsiteY121" fmla="*/ 3809 h 10000"/>
                <a:gd name="connsiteX122" fmla="*/ 7674 w 10000"/>
                <a:gd name="connsiteY122" fmla="*/ 3746 h 10000"/>
                <a:gd name="connsiteX123" fmla="*/ 8082 w 10000"/>
                <a:gd name="connsiteY123" fmla="*/ 3512 h 10000"/>
                <a:gd name="connsiteX124" fmla="*/ 8157 w 10000"/>
                <a:gd name="connsiteY124" fmla="*/ 3359 h 10000"/>
                <a:gd name="connsiteX125" fmla="*/ 8165 w 10000"/>
                <a:gd name="connsiteY125" fmla="*/ 3163 h 10000"/>
                <a:gd name="connsiteX126" fmla="*/ 7978 w 10000"/>
                <a:gd name="connsiteY126" fmla="*/ 3129 h 10000"/>
                <a:gd name="connsiteX127" fmla="*/ 8058 w 10000"/>
                <a:gd name="connsiteY127" fmla="*/ 3009 h 10000"/>
                <a:gd name="connsiteX128" fmla="*/ 8087 w 10000"/>
                <a:gd name="connsiteY128" fmla="*/ 2856 h 10000"/>
                <a:gd name="connsiteX129" fmla="*/ 8007 w 10000"/>
                <a:gd name="connsiteY129" fmla="*/ 2714 h 10000"/>
                <a:gd name="connsiteX130" fmla="*/ 7450 w 10000"/>
                <a:gd name="connsiteY130" fmla="*/ 2910 h 10000"/>
                <a:gd name="connsiteX131" fmla="*/ 6694 w 10000"/>
                <a:gd name="connsiteY131" fmla="*/ 2823 h 10000"/>
                <a:gd name="connsiteX132" fmla="*/ 6304 w 10000"/>
                <a:gd name="connsiteY132" fmla="*/ 2276 h 10000"/>
                <a:gd name="connsiteX133" fmla="*/ 5294 w 10000"/>
                <a:gd name="connsiteY133" fmla="*/ 2173 h 10000"/>
                <a:gd name="connsiteX134" fmla="*/ 4505 w 10000"/>
                <a:gd name="connsiteY134" fmla="*/ 1721 h 10000"/>
                <a:gd name="connsiteX135" fmla="*/ 3730 w 10000"/>
                <a:gd name="connsiteY135" fmla="*/ 1176 h 10000"/>
                <a:gd name="connsiteX136" fmla="*/ 3154 w 10000"/>
                <a:gd name="connsiteY136" fmla="*/ 173 h 10000"/>
                <a:gd name="connsiteX137" fmla="*/ 2375 w 10000"/>
                <a:gd name="connsiteY137" fmla="*/ 0 h 10000"/>
                <a:gd name="connsiteX138" fmla="*/ 2226 w 10000"/>
                <a:gd name="connsiteY138" fmla="*/ 941 h 10000"/>
                <a:gd name="connsiteX139" fmla="*/ 2375 w 10000"/>
                <a:gd name="connsiteY139" fmla="*/ 1181 h 10000"/>
                <a:gd name="connsiteX140" fmla="*/ 2791 w 10000"/>
                <a:gd name="connsiteY140" fmla="*/ 1446 h 10000"/>
                <a:gd name="connsiteX141" fmla="*/ 2808 w 10000"/>
                <a:gd name="connsiteY141" fmla="*/ 1767 h 10000"/>
                <a:gd name="connsiteX142" fmla="*/ 2632 w 10000"/>
                <a:gd name="connsiteY142" fmla="*/ 2035 h 10000"/>
                <a:gd name="connsiteX143" fmla="*/ 2375 w 10000"/>
                <a:gd name="connsiteY143" fmla="*/ 2196 h 10000"/>
                <a:gd name="connsiteX144" fmla="*/ 2039 w 10000"/>
                <a:gd name="connsiteY144" fmla="*/ 2260 h 10000"/>
                <a:gd name="connsiteX145" fmla="*/ 1950 w 10000"/>
                <a:gd name="connsiteY145" fmla="*/ 2357 h 10000"/>
                <a:gd name="connsiteX146" fmla="*/ 2148 w 10000"/>
                <a:gd name="connsiteY146" fmla="*/ 2577 h 10000"/>
                <a:gd name="connsiteX147" fmla="*/ 2261 w 10000"/>
                <a:gd name="connsiteY147" fmla="*/ 3104 h 10000"/>
                <a:gd name="connsiteX148" fmla="*/ 2005 w 10000"/>
                <a:gd name="connsiteY148" fmla="*/ 3555 h 10000"/>
                <a:gd name="connsiteX149" fmla="*/ 2094 w 10000"/>
                <a:gd name="connsiteY149" fmla="*/ 3692 h 10000"/>
                <a:gd name="connsiteX150" fmla="*/ 2012 w 10000"/>
                <a:gd name="connsiteY150" fmla="*/ 3926 h 10000"/>
                <a:gd name="connsiteX151" fmla="*/ 1850 w 10000"/>
                <a:gd name="connsiteY151" fmla="*/ 4089 h 10000"/>
                <a:gd name="connsiteX152" fmla="*/ 1199 w 10000"/>
                <a:gd name="connsiteY152" fmla="*/ 4215 h 10000"/>
                <a:gd name="connsiteX153" fmla="*/ 1158 w 10000"/>
                <a:gd name="connsiteY153" fmla="*/ 4432 h 10000"/>
                <a:gd name="connsiteX154" fmla="*/ 808 w 10000"/>
                <a:gd name="connsiteY154" fmla="*/ 4754 h 10000"/>
                <a:gd name="connsiteX155" fmla="*/ 854 w 10000"/>
                <a:gd name="connsiteY155" fmla="*/ 5224 h 10000"/>
                <a:gd name="connsiteX156" fmla="*/ 560 w 10000"/>
                <a:gd name="connsiteY156" fmla="*/ 5822 h 10000"/>
                <a:gd name="connsiteX157" fmla="*/ 358 w 10000"/>
                <a:gd name="connsiteY157" fmla="*/ 5891 h 10000"/>
                <a:gd name="connsiteX158" fmla="*/ 275 w 10000"/>
                <a:gd name="connsiteY158" fmla="*/ 5749 h 10000"/>
                <a:gd name="connsiteX159" fmla="*/ 174 w 10000"/>
                <a:gd name="connsiteY159" fmla="*/ 5964 h 10000"/>
                <a:gd name="connsiteX160" fmla="*/ 239 w 10000"/>
                <a:gd name="connsiteY160" fmla="*/ 5592 h 10000"/>
                <a:gd name="connsiteX161" fmla="*/ 197 w 10000"/>
                <a:gd name="connsiteY161" fmla="*/ 5523 h 10000"/>
                <a:gd name="connsiteX0" fmla="*/ 197 w 10000"/>
                <a:gd name="connsiteY0" fmla="*/ 5523 h 10000"/>
                <a:gd name="connsiteX1" fmla="*/ 0 w 10000"/>
                <a:gd name="connsiteY1" fmla="*/ 5717 h 10000"/>
                <a:gd name="connsiteX2" fmla="*/ 0 w 10000"/>
                <a:gd name="connsiteY2" fmla="*/ 6668 h 10000"/>
                <a:gd name="connsiteX3" fmla="*/ 109 w 10000"/>
                <a:gd name="connsiteY3" fmla="*/ 6693 h 10000"/>
                <a:gd name="connsiteX4" fmla="*/ 134 w 10000"/>
                <a:gd name="connsiteY4" fmla="*/ 6769 h 10000"/>
                <a:gd name="connsiteX5" fmla="*/ 130 w 10000"/>
                <a:gd name="connsiteY5" fmla="*/ 6897 h 10000"/>
                <a:gd name="connsiteX6" fmla="*/ 89 w 10000"/>
                <a:gd name="connsiteY6" fmla="*/ 6953 h 10000"/>
                <a:gd name="connsiteX7" fmla="*/ 255 w 10000"/>
                <a:gd name="connsiteY7" fmla="*/ 6842 h 10000"/>
                <a:gd name="connsiteX8" fmla="*/ 325 w 10000"/>
                <a:gd name="connsiteY8" fmla="*/ 6737 h 10000"/>
                <a:gd name="connsiteX9" fmla="*/ 413 w 10000"/>
                <a:gd name="connsiteY9" fmla="*/ 6809 h 10000"/>
                <a:gd name="connsiteX10" fmla="*/ 316 w 10000"/>
                <a:gd name="connsiteY10" fmla="*/ 6965 h 10000"/>
                <a:gd name="connsiteX11" fmla="*/ 419 w 10000"/>
                <a:gd name="connsiteY11" fmla="*/ 6969 h 10000"/>
                <a:gd name="connsiteX12" fmla="*/ 469 w 10000"/>
                <a:gd name="connsiteY12" fmla="*/ 7008 h 10000"/>
                <a:gd name="connsiteX13" fmla="*/ 337 w 10000"/>
                <a:gd name="connsiteY13" fmla="*/ 7059 h 10000"/>
                <a:gd name="connsiteX14" fmla="*/ 130 w 10000"/>
                <a:gd name="connsiteY14" fmla="*/ 7220 h 10000"/>
                <a:gd name="connsiteX15" fmla="*/ 497 w 10000"/>
                <a:gd name="connsiteY15" fmla="*/ 7345 h 10000"/>
                <a:gd name="connsiteX16" fmla="*/ 545 w 10000"/>
                <a:gd name="connsiteY16" fmla="*/ 7522 h 10000"/>
                <a:gd name="connsiteX17" fmla="*/ 419 w 10000"/>
                <a:gd name="connsiteY17" fmla="*/ 7785 h 10000"/>
                <a:gd name="connsiteX18" fmla="*/ 688 w 10000"/>
                <a:gd name="connsiteY18" fmla="*/ 7770 h 10000"/>
                <a:gd name="connsiteX19" fmla="*/ 709 w 10000"/>
                <a:gd name="connsiteY19" fmla="*/ 7965 h 10000"/>
                <a:gd name="connsiteX20" fmla="*/ 530 w 10000"/>
                <a:gd name="connsiteY20" fmla="*/ 8105 h 10000"/>
                <a:gd name="connsiteX21" fmla="*/ 560 w 10000"/>
                <a:gd name="connsiteY21" fmla="*/ 8362 h 10000"/>
                <a:gd name="connsiteX22" fmla="*/ 489 w 10000"/>
                <a:gd name="connsiteY22" fmla="*/ 8568 h 10000"/>
                <a:gd name="connsiteX23" fmla="*/ 703 w 10000"/>
                <a:gd name="connsiteY23" fmla="*/ 8587 h 10000"/>
                <a:gd name="connsiteX24" fmla="*/ 992 w 10000"/>
                <a:gd name="connsiteY24" fmla="*/ 9678 h 10000"/>
                <a:gd name="connsiteX25" fmla="*/ 1653 w 10000"/>
                <a:gd name="connsiteY25" fmla="*/ 9323 h 10000"/>
                <a:gd name="connsiteX26" fmla="*/ 1883 w 10000"/>
                <a:gd name="connsiteY26" fmla="*/ 9703 h 10000"/>
                <a:gd name="connsiteX27" fmla="*/ 2400 w 10000"/>
                <a:gd name="connsiteY27" fmla="*/ 9070 h 10000"/>
                <a:gd name="connsiteX28" fmla="*/ 3729 w 10000"/>
                <a:gd name="connsiteY28" fmla="*/ 9624 h 10000"/>
                <a:gd name="connsiteX29" fmla="*/ 4123 w 10000"/>
                <a:gd name="connsiteY29" fmla="*/ 9257 h 10000"/>
                <a:gd name="connsiteX30" fmla="*/ 5496 w 10000"/>
                <a:gd name="connsiteY30" fmla="*/ 9206 h 10000"/>
                <a:gd name="connsiteX31" fmla="*/ 6419 w 10000"/>
                <a:gd name="connsiteY31" fmla="*/ 10000 h 10000"/>
                <a:gd name="connsiteX32" fmla="*/ 6586 w 10000"/>
                <a:gd name="connsiteY32" fmla="*/ 9169 h 10000"/>
                <a:gd name="connsiteX33" fmla="*/ 6855 w 10000"/>
                <a:gd name="connsiteY33" fmla="*/ 8801 h 10000"/>
                <a:gd name="connsiteX34" fmla="*/ 6855 w 10000"/>
                <a:gd name="connsiteY34" fmla="*/ 8603 h 10000"/>
                <a:gd name="connsiteX35" fmla="*/ 6757 w 10000"/>
                <a:gd name="connsiteY35" fmla="*/ 8497 h 10000"/>
                <a:gd name="connsiteX36" fmla="*/ 6915 w 10000"/>
                <a:gd name="connsiteY36" fmla="*/ 8318 h 10000"/>
                <a:gd name="connsiteX37" fmla="*/ 6887 w 10000"/>
                <a:gd name="connsiteY37" fmla="*/ 8175 h 10000"/>
                <a:gd name="connsiteX38" fmla="*/ 6779 w 10000"/>
                <a:gd name="connsiteY38" fmla="*/ 8053 h 10000"/>
                <a:gd name="connsiteX39" fmla="*/ 6757 w 10000"/>
                <a:gd name="connsiteY39" fmla="*/ 7956 h 10000"/>
                <a:gd name="connsiteX40" fmla="*/ 6785 w 10000"/>
                <a:gd name="connsiteY40" fmla="*/ 7886 h 10000"/>
                <a:gd name="connsiteX41" fmla="*/ 6931 w 10000"/>
                <a:gd name="connsiteY41" fmla="*/ 7942 h 10000"/>
                <a:gd name="connsiteX42" fmla="*/ 7045 w 10000"/>
                <a:gd name="connsiteY42" fmla="*/ 7939 h 10000"/>
                <a:gd name="connsiteX43" fmla="*/ 6983 w 10000"/>
                <a:gd name="connsiteY43" fmla="*/ 7822 h 10000"/>
                <a:gd name="connsiteX44" fmla="*/ 7003 w 10000"/>
                <a:gd name="connsiteY44" fmla="*/ 7752 h 10000"/>
                <a:gd name="connsiteX45" fmla="*/ 7089 w 10000"/>
                <a:gd name="connsiteY45" fmla="*/ 7653 h 10000"/>
                <a:gd name="connsiteX46" fmla="*/ 7074 w 10000"/>
                <a:gd name="connsiteY46" fmla="*/ 7570 h 10000"/>
                <a:gd name="connsiteX47" fmla="*/ 7152 w 10000"/>
                <a:gd name="connsiteY47" fmla="*/ 7295 h 10000"/>
                <a:gd name="connsiteX48" fmla="*/ 7130 w 10000"/>
                <a:gd name="connsiteY48" fmla="*/ 7209 h 10000"/>
                <a:gd name="connsiteX49" fmla="*/ 6729 w 10000"/>
                <a:gd name="connsiteY49" fmla="*/ 6997 h 10000"/>
                <a:gd name="connsiteX50" fmla="*/ 6785 w 10000"/>
                <a:gd name="connsiteY50" fmla="*/ 6989 h 10000"/>
                <a:gd name="connsiteX51" fmla="*/ 6998 w 10000"/>
                <a:gd name="connsiteY51" fmla="*/ 7043 h 10000"/>
                <a:gd name="connsiteX52" fmla="*/ 7230 w 10000"/>
                <a:gd name="connsiteY52" fmla="*/ 7023 h 10000"/>
                <a:gd name="connsiteX53" fmla="*/ 7295 w 10000"/>
                <a:gd name="connsiteY53" fmla="*/ 6949 h 10000"/>
                <a:gd name="connsiteX54" fmla="*/ 7074 w 10000"/>
                <a:gd name="connsiteY54" fmla="*/ 6806 h 10000"/>
                <a:gd name="connsiteX55" fmla="*/ 6414 w 10000"/>
                <a:gd name="connsiteY55" fmla="*/ 6711 h 10000"/>
                <a:gd name="connsiteX56" fmla="*/ 6458 w 10000"/>
                <a:gd name="connsiteY56" fmla="*/ 6668 h 10000"/>
                <a:gd name="connsiteX57" fmla="*/ 6998 w 10000"/>
                <a:gd name="connsiteY57" fmla="*/ 6638 h 10000"/>
                <a:gd name="connsiteX58" fmla="*/ 7295 w 10000"/>
                <a:gd name="connsiteY58" fmla="*/ 6724 h 10000"/>
                <a:gd name="connsiteX59" fmla="*/ 7466 w 10000"/>
                <a:gd name="connsiteY59" fmla="*/ 6668 h 10000"/>
                <a:gd name="connsiteX60" fmla="*/ 7529 w 10000"/>
                <a:gd name="connsiteY60" fmla="*/ 6520 h 10000"/>
                <a:gd name="connsiteX61" fmla="*/ 7840 w 10000"/>
                <a:gd name="connsiteY61" fmla="*/ 6520 h 10000"/>
                <a:gd name="connsiteX62" fmla="*/ 8261 w 10000"/>
                <a:gd name="connsiteY62" fmla="*/ 6219 h 10000"/>
                <a:gd name="connsiteX63" fmla="*/ 8275 w 10000"/>
                <a:gd name="connsiteY63" fmla="*/ 6019 h 10000"/>
                <a:gd name="connsiteX64" fmla="*/ 8453 w 10000"/>
                <a:gd name="connsiteY64" fmla="*/ 6064 h 10000"/>
                <a:gd name="connsiteX65" fmla="*/ 8446 w 10000"/>
                <a:gd name="connsiteY65" fmla="*/ 6266 h 10000"/>
                <a:gd name="connsiteX66" fmla="*/ 8727 w 10000"/>
                <a:gd name="connsiteY66" fmla="*/ 6251 h 10000"/>
                <a:gd name="connsiteX67" fmla="*/ 8913 w 10000"/>
                <a:gd name="connsiteY67" fmla="*/ 6043 h 10000"/>
                <a:gd name="connsiteX68" fmla="*/ 9258 w 10000"/>
                <a:gd name="connsiteY68" fmla="*/ 5856 h 10000"/>
                <a:gd name="connsiteX69" fmla="*/ 9203 w 10000"/>
                <a:gd name="connsiteY69" fmla="*/ 5644 h 10000"/>
                <a:gd name="connsiteX70" fmla="*/ 9306 w 10000"/>
                <a:gd name="connsiteY70" fmla="*/ 5730 h 10000"/>
                <a:gd name="connsiteX71" fmla="*/ 9464 w 10000"/>
                <a:gd name="connsiteY71" fmla="*/ 5730 h 10000"/>
                <a:gd name="connsiteX72" fmla="*/ 9464 w 10000"/>
                <a:gd name="connsiteY72" fmla="*/ 5630 h 10000"/>
                <a:gd name="connsiteX73" fmla="*/ 9611 w 10000"/>
                <a:gd name="connsiteY73" fmla="*/ 5558 h 10000"/>
                <a:gd name="connsiteX74" fmla="*/ 9592 w 10000"/>
                <a:gd name="connsiteY74" fmla="*/ 5481 h 10000"/>
                <a:gd name="connsiteX75" fmla="*/ 8350 w 10000"/>
                <a:gd name="connsiteY75" fmla="*/ 5632 h 10000"/>
                <a:gd name="connsiteX76" fmla="*/ 8058 w 10000"/>
                <a:gd name="connsiteY76" fmla="*/ 5590 h 10000"/>
                <a:gd name="connsiteX77" fmla="*/ 7942 w 10000"/>
                <a:gd name="connsiteY77" fmla="*/ 5644 h 10000"/>
                <a:gd name="connsiteX78" fmla="*/ 7903 w 10000"/>
                <a:gd name="connsiteY78" fmla="*/ 5537 h 10000"/>
                <a:gd name="connsiteX79" fmla="*/ 7765 w 10000"/>
                <a:gd name="connsiteY79" fmla="*/ 5443 h 10000"/>
                <a:gd name="connsiteX80" fmla="*/ 7213 w 10000"/>
                <a:gd name="connsiteY80" fmla="*/ 5249 h 10000"/>
                <a:gd name="connsiteX81" fmla="*/ 6887 w 10000"/>
                <a:gd name="connsiteY81" fmla="*/ 5282 h 10000"/>
                <a:gd name="connsiteX82" fmla="*/ 6757 w 10000"/>
                <a:gd name="connsiteY82" fmla="*/ 5227 h 10000"/>
                <a:gd name="connsiteX83" fmla="*/ 6894 w 10000"/>
                <a:gd name="connsiteY83" fmla="*/ 5180 h 10000"/>
                <a:gd name="connsiteX84" fmla="*/ 6998 w 10000"/>
                <a:gd name="connsiteY84" fmla="*/ 5078 h 10000"/>
                <a:gd name="connsiteX85" fmla="*/ 7152 w 10000"/>
                <a:gd name="connsiteY85" fmla="*/ 5110 h 10000"/>
                <a:gd name="connsiteX86" fmla="*/ 7335 w 10000"/>
                <a:gd name="connsiteY86" fmla="*/ 5085 h 10000"/>
                <a:gd name="connsiteX87" fmla="*/ 7611 w 10000"/>
                <a:gd name="connsiteY87" fmla="*/ 5118 h 10000"/>
                <a:gd name="connsiteX88" fmla="*/ 7645 w 10000"/>
                <a:gd name="connsiteY88" fmla="*/ 5104 h 10000"/>
                <a:gd name="connsiteX89" fmla="*/ 7859 w 10000"/>
                <a:gd name="connsiteY89" fmla="*/ 5259 h 10000"/>
                <a:gd name="connsiteX90" fmla="*/ 8017 w 10000"/>
                <a:gd name="connsiteY90" fmla="*/ 5201 h 10000"/>
                <a:gd name="connsiteX91" fmla="*/ 8032 w 10000"/>
                <a:gd name="connsiteY91" fmla="*/ 5148 h 10000"/>
                <a:gd name="connsiteX92" fmla="*/ 8176 w 10000"/>
                <a:gd name="connsiteY92" fmla="*/ 5241 h 10000"/>
                <a:gd name="connsiteX93" fmla="*/ 8369 w 10000"/>
                <a:gd name="connsiteY93" fmla="*/ 5291 h 10000"/>
                <a:gd name="connsiteX94" fmla="*/ 8446 w 10000"/>
                <a:gd name="connsiteY94" fmla="*/ 5199 h 10000"/>
                <a:gd name="connsiteX95" fmla="*/ 8507 w 10000"/>
                <a:gd name="connsiteY95" fmla="*/ 5249 h 10000"/>
                <a:gd name="connsiteX96" fmla="*/ 8596 w 10000"/>
                <a:gd name="connsiteY96" fmla="*/ 5430 h 10000"/>
                <a:gd name="connsiteX97" fmla="*/ 8782 w 10000"/>
                <a:gd name="connsiteY97" fmla="*/ 5470 h 10000"/>
                <a:gd name="connsiteX98" fmla="*/ 9542 w 10000"/>
                <a:gd name="connsiteY98" fmla="*/ 5208 h 10000"/>
                <a:gd name="connsiteX99" fmla="*/ 9914 w 10000"/>
                <a:gd name="connsiteY99" fmla="*/ 4838 h 10000"/>
                <a:gd name="connsiteX100" fmla="*/ 10000 w 10000"/>
                <a:gd name="connsiteY100" fmla="*/ 4574 h 10000"/>
                <a:gd name="connsiteX101" fmla="*/ 9866 w 10000"/>
                <a:gd name="connsiteY101" fmla="*/ 4330 h 10000"/>
                <a:gd name="connsiteX102" fmla="*/ 9582 w 10000"/>
                <a:gd name="connsiteY102" fmla="*/ 4188 h 10000"/>
                <a:gd name="connsiteX103" fmla="*/ 9382 w 10000"/>
                <a:gd name="connsiteY103" fmla="*/ 3948 h 10000"/>
                <a:gd name="connsiteX104" fmla="*/ 9569 w 10000"/>
                <a:gd name="connsiteY104" fmla="*/ 3941 h 10000"/>
                <a:gd name="connsiteX105" fmla="*/ 9555 w 10000"/>
                <a:gd name="connsiteY105" fmla="*/ 3886 h 10000"/>
                <a:gd name="connsiteX106" fmla="*/ 9068 w 10000"/>
                <a:gd name="connsiteY106" fmla="*/ 3720 h 10000"/>
                <a:gd name="connsiteX107" fmla="*/ 9047 w 10000"/>
                <a:gd name="connsiteY107" fmla="*/ 3566 h 10000"/>
                <a:gd name="connsiteX108" fmla="*/ 8953 w 10000"/>
                <a:gd name="connsiteY108" fmla="*/ 3406 h 10000"/>
                <a:gd name="connsiteX109" fmla="*/ 8569 w 10000"/>
                <a:gd name="connsiteY109" fmla="*/ 3436 h 10000"/>
                <a:gd name="connsiteX110" fmla="*/ 8431 w 10000"/>
                <a:gd name="connsiteY110" fmla="*/ 3265 h 10000"/>
                <a:gd name="connsiteX111" fmla="*/ 8350 w 10000"/>
                <a:gd name="connsiteY111" fmla="*/ 3254 h 10000"/>
                <a:gd name="connsiteX112" fmla="*/ 8350 w 10000"/>
                <a:gd name="connsiteY112" fmla="*/ 3331 h 10000"/>
                <a:gd name="connsiteX113" fmla="*/ 8176 w 10000"/>
                <a:gd name="connsiteY113" fmla="*/ 3613 h 10000"/>
                <a:gd name="connsiteX114" fmla="*/ 7990 w 10000"/>
                <a:gd name="connsiteY114" fmla="*/ 3783 h 10000"/>
                <a:gd name="connsiteX115" fmla="*/ 7401 w 10000"/>
                <a:gd name="connsiteY115" fmla="*/ 4066 h 10000"/>
                <a:gd name="connsiteX116" fmla="*/ 7198 w 10000"/>
                <a:gd name="connsiteY116" fmla="*/ 4058 h 10000"/>
                <a:gd name="connsiteX117" fmla="*/ 6915 w 10000"/>
                <a:gd name="connsiteY117" fmla="*/ 4101 h 10000"/>
                <a:gd name="connsiteX118" fmla="*/ 6757 w 10000"/>
                <a:gd name="connsiteY118" fmla="*/ 4058 h 10000"/>
                <a:gd name="connsiteX119" fmla="*/ 6965 w 10000"/>
                <a:gd name="connsiteY119" fmla="*/ 3976 h 10000"/>
                <a:gd name="connsiteX120" fmla="*/ 7235 w 10000"/>
                <a:gd name="connsiteY120" fmla="*/ 3941 h 10000"/>
                <a:gd name="connsiteX121" fmla="*/ 7455 w 10000"/>
                <a:gd name="connsiteY121" fmla="*/ 3809 h 10000"/>
                <a:gd name="connsiteX122" fmla="*/ 7674 w 10000"/>
                <a:gd name="connsiteY122" fmla="*/ 3746 h 10000"/>
                <a:gd name="connsiteX123" fmla="*/ 8082 w 10000"/>
                <a:gd name="connsiteY123" fmla="*/ 3512 h 10000"/>
                <a:gd name="connsiteX124" fmla="*/ 8157 w 10000"/>
                <a:gd name="connsiteY124" fmla="*/ 3359 h 10000"/>
                <a:gd name="connsiteX125" fmla="*/ 8165 w 10000"/>
                <a:gd name="connsiteY125" fmla="*/ 3163 h 10000"/>
                <a:gd name="connsiteX126" fmla="*/ 7978 w 10000"/>
                <a:gd name="connsiteY126" fmla="*/ 3129 h 10000"/>
                <a:gd name="connsiteX127" fmla="*/ 8058 w 10000"/>
                <a:gd name="connsiteY127" fmla="*/ 3009 h 10000"/>
                <a:gd name="connsiteX128" fmla="*/ 8087 w 10000"/>
                <a:gd name="connsiteY128" fmla="*/ 2856 h 10000"/>
                <a:gd name="connsiteX129" fmla="*/ 8007 w 10000"/>
                <a:gd name="connsiteY129" fmla="*/ 2714 h 10000"/>
                <a:gd name="connsiteX130" fmla="*/ 7450 w 10000"/>
                <a:gd name="connsiteY130" fmla="*/ 2910 h 10000"/>
                <a:gd name="connsiteX131" fmla="*/ 6694 w 10000"/>
                <a:gd name="connsiteY131" fmla="*/ 2823 h 10000"/>
                <a:gd name="connsiteX132" fmla="*/ 6304 w 10000"/>
                <a:gd name="connsiteY132" fmla="*/ 2276 h 10000"/>
                <a:gd name="connsiteX133" fmla="*/ 5294 w 10000"/>
                <a:gd name="connsiteY133" fmla="*/ 2173 h 10000"/>
                <a:gd name="connsiteX134" fmla="*/ 4505 w 10000"/>
                <a:gd name="connsiteY134" fmla="*/ 1721 h 10000"/>
                <a:gd name="connsiteX135" fmla="*/ 3730 w 10000"/>
                <a:gd name="connsiteY135" fmla="*/ 1176 h 10000"/>
                <a:gd name="connsiteX136" fmla="*/ 3154 w 10000"/>
                <a:gd name="connsiteY136" fmla="*/ 173 h 10000"/>
                <a:gd name="connsiteX137" fmla="*/ 2375 w 10000"/>
                <a:gd name="connsiteY137" fmla="*/ 0 h 10000"/>
                <a:gd name="connsiteX138" fmla="*/ 2226 w 10000"/>
                <a:gd name="connsiteY138" fmla="*/ 941 h 10000"/>
                <a:gd name="connsiteX139" fmla="*/ 2375 w 10000"/>
                <a:gd name="connsiteY139" fmla="*/ 1181 h 10000"/>
                <a:gd name="connsiteX140" fmla="*/ 2791 w 10000"/>
                <a:gd name="connsiteY140" fmla="*/ 1446 h 10000"/>
                <a:gd name="connsiteX141" fmla="*/ 2808 w 10000"/>
                <a:gd name="connsiteY141" fmla="*/ 1767 h 10000"/>
                <a:gd name="connsiteX142" fmla="*/ 2632 w 10000"/>
                <a:gd name="connsiteY142" fmla="*/ 2035 h 10000"/>
                <a:gd name="connsiteX143" fmla="*/ 2375 w 10000"/>
                <a:gd name="connsiteY143" fmla="*/ 2196 h 10000"/>
                <a:gd name="connsiteX144" fmla="*/ 2039 w 10000"/>
                <a:gd name="connsiteY144" fmla="*/ 2260 h 10000"/>
                <a:gd name="connsiteX145" fmla="*/ 1950 w 10000"/>
                <a:gd name="connsiteY145" fmla="*/ 2357 h 10000"/>
                <a:gd name="connsiteX146" fmla="*/ 2148 w 10000"/>
                <a:gd name="connsiteY146" fmla="*/ 2577 h 10000"/>
                <a:gd name="connsiteX147" fmla="*/ 2261 w 10000"/>
                <a:gd name="connsiteY147" fmla="*/ 3104 h 10000"/>
                <a:gd name="connsiteX148" fmla="*/ 2005 w 10000"/>
                <a:gd name="connsiteY148" fmla="*/ 3555 h 10000"/>
                <a:gd name="connsiteX149" fmla="*/ 2094 w 10000"/>
                <a:gd name="connsiteY149" fmla="*/ 3692 h 10000"/>
                <a:gd name="connsiteX150" fmla="*/ 2012 w 10000"/>
                <a:gd name="connsiteY150" fmla="*/ 3926 h 10000"/>
                <a:gd name="connsiteX151" fmla="*/ 1850 w 10000"/>
                <a:gd name="connsiteY151" fmla="*/ 4089 h 10000"/>
                <a:gd name="connsiteX152" fmla="*/ 1199 w 10000"/>
                <a:gd name="connsiteY152" fmla="*/ 4215 h 10000"/>
                <a:gd name="connsiteX153" fmla="*/ 1158 w 10000"/>
                <a:gd name="connsiteY153" fmla="*/ 4432 h 10000"/>
                <a:gd name="connsiteX154" fmla="*/ 808 w 10000"/>
                <a:gd name="connsiteY154" fmla="*/ 4754 h 10000"/>
                <a:gd name="connsiteX155" fmla="*/ 854 w 10000"/>
                <a:gd name="connsiteY155" fmla="*/ 5224 h 10000"/>
                <a:gd name="connsiteX156" fmla="*/ 560 w 10000"/>
                <a:gd name="connsiteY156" fmla="*/ 5822 h 10000"/>
                <a:gd name="connsiteX157" fmla="*/ 358 w 10000"/>
                <a:gd name="connsiteY157" fmla="*/ 5891 h 10000"/>
                <a:gd name="connsiteX158" fmla="*/ 275 w 10000"/>
                <a:gd name="connsiteY158" fmla="*/ 5749 h 10000"/>
                <a:gd name="connsiteX159" fmla="*/ 174 w 10000"/>
                <a:gd name="connsiteY159" fmla="*/ 5964 h 10000"/>
                <a:gd name="connsiteX160" fmla="*/ 239 w 10000"/>
                <a:gd name="connsiteY160" fmla="*/ 5592 h 10000"/>
                <a:gd name="connsiteX161" fmla="*/ 197 w 10000"/>
                <a:gd name="connsiteY161" fmla="*/ 5523 h 10000"/>
                <a:gd name="connsiteX0" fmla="*/ 197 w 10000"/>
                <a:gd name="connsiteY0" fmla="*/ 5523 h 10000"/>
                <a:gd name="connsiteX1" fmla="*/ 0 w 10000"/>
                <a:gd name="connsiteY1" fmla="*/ 5717 h 10000"/>
                <a:gd name="connsiteX2" fmla="*/ 0 w 10000"/>
                <a:gd name="connsiteY2" fmla="*/ 6668 h 10000"/>
                <a:gd name="connsiteX3" fmla="*/ 109 w 10000"/>
                <a:gd name="connsiteY3" fmla="*/ 6693 h 10000"/>
                <a:gd name="connsiteX4" fmla="*/ 134 w 10000"/>
                <a:gd name="connsiteY4" fmla="*/ 6769 h 10000"/>
                <a:gd name="connsiteX5" fmla="*/ 130 w 10000"/>
                <a:gd name="connsiteY5" fmla="*/ 6897 h 10000"/>
                <a:gd name="connsiteX6" fmla="*/ 89 w 10000"/>
                <a:gd name="connsiteY6" fmla="*/ 6953 h 10000"/>
                <a:gd name="connsiteX7" fmla="*/ 255 w 10000"/>
                <a:gd name="connsiteY7" fmla="*/ 6842 h 10000"/>
                <a:gd name="connsiteX8" fmla="*/ 325 w 10000"/>
                <a:gd name="connsiteY8" fmla="*/ 6737 h 10000"/>
                <a:gd name="connsiteX9" fmla="*/ 413 w 10000"/>
                <a:gd name="connsiteY9" fmla="*/ 6809 h 10000"/>
                <a:gd name="connsiteX10" fmla="*/ 316 w 10000"/>
                <a:gd name="connsiteY10" fmla="*/ 6965 h 10000"/>
                <a:gd name="connsiteX11" fmla="*/ 419 w 10000"/>
                <a:gd name="connsiteY11" fmla="*/ 6969 h 10000"/>
                <a:gd name="connsiteX12" fmla="*/ 469 w 10000"/>
                <a:gd name="connsiteY12" fmla="*/ 7008 h 10000"/>
                <a:gd name="connsiteX13" fmla="*/ 337 w 10000"/>
                <a:gd name="connsiteY13" fmla="*/ 7059 h 10000"/>
                <a:gd name="connsiteX14" fmla="*/ 130 w 10000"/>
                <a:gd name="connsiteY14" fmla="*/ 7220 h 10000"/>
                <a:gd name="connsiteX15" fmla="*/ 497 w 10000"/>
                <a:gd name="connsiteY15" fmla="*/ 7345 h 10000"/>
                <a:gd name="connsiteX16" fmla="*/ 545 w 10000"/>
                <a:gd name="connsiteY16" fmla="*/ 7522 h 10000"/>
                <a:gd name="connsiteX17" fmla="*/ 419 w 10000"/>
                <a:gd name="connsiteY17" fmla="*/ 7785 h 10000"/>
                <a:gd name="connsiteX18" fmla="*/ 688 w 10000"/>
                <a:gd name="connsiteY18" fmla="*/ 7770 h 10000"/>
                <a:gd name="connsiteX19" fmla="*/ 709 w 10000"/>
                <a:gd name="connsiteY19" fmla="*/ 7965 h 10000"/>
                <a:gd name="connsiteX20" fmla="*/ 530 w 10000"/>
                <a:gd name="connsiteY20" fmla="*/ 8105 h 10000"/>
                <a:gd name="connsiteX21" fmla="*/ 560 w 10000"/>
                <a:gd name="connsiteY21" fmla="*/ 8362 h 10000"/>
                <a:gd name="connsiteX22" fmla="*/ 489 w 10000"/>
                <a:gd name="connsiteY22" fmla="*/ 8568 h 10000"/>
                <a:gd name="connsiteX23" fmla="*/ 703 w 10000"/>
                <a:gd name="connsiteY23" fmla="*/ 8587 h 10000"/>
                <a:gd name="connsiteX24" fmla="*/ 992 w 10000"/>
                <a:gd name="connsiteY24" fmla="*/ 9678 h 10000"/>
                <a:gd name="connsiteX25" fmla="*/ 1653 w 10000"/>
                <a:gd name="connsiteY25" fmla="*/ 9323 h 10000"/>
                <a:gd name="connsiteX26" fmla="*/ 1883 w 10000"/>
                <a:gd name="connsiteY26" fmla="*/ 9703 h 10000"/>
                <a:gd name="connsiteX27" fmla="*/ 2400 w 10000"/>
                <a:gd name="connsiteY27" fmla="*/ 9070 h 10000"/>
                <a:gd name="connsiteX28" fmla="*/ 3729 w 10000"/>
                <a:gd name="connsiteY28" fmla="*/ 9624 h 10000"/>
                <a:gd name="connsiteX29" fmla="*/ 4123 w 10000"/>
                <a:gd name="connsiteY29" fmla="*/ 9257 h 10000"/>
                <a:gd name="connsiteX30" fmla="*/ 5255 w 10000"/>
                <a:gd name="connsiteY30" fmla="*/ 9402 h 10000"/>
                <a:gd name="connsiteX31" fmla="*/ 6419 w 10000"/>
                <a:gd name="connsiteY31" fmla="*/ 10000 h 10000"/>
                <a:gd name="connsiteX32" fmla="*/ 6586 w 10000"/>
                <a:gd name="connsiteY32" fmla="*/ 9169 h 10000"/>
                <a:gd name="connsiteX33" fmla="*/ 6855 w 10000"/>
                <a:gd name="connsiteY33" fmla="*/ 8801 h 10000"/>
                <a:gd name="connsiteX34" fmla="*/ 6855 w 10000"/>
                <a:gd name="connsiteY34" fmla="*/ 8603 h 10000"/>
                <a:gd name="connsiteX35" fmla="*/ 6757 w 10000"/>
                <a:gd name="connsiteY35" fmla="*/ 8497 h 10000"/>
                <a:gd name="connsiteX36" fmla="*/ 6915 w 10000"/>
                <a:gd name="connsiteY36" fmla="*/ 8318 h 10000"/>
                <a:gd name="connsiteX37" fmla="*/ 6887 w 10000"/>
                <a:gd name="connsiteY37" fmla="*/ 8175 h 10000"/>
                <a:gd name="connsiteX38" fmla="*/ 6779 w 10000"/>
                <a:gd name="connsiteY38" fmla="*/ 8053 h 10000"/>
                <a:gd name="connsiteX39" fmla="*/ 6757 w 10000"/>
                <a:gd name="connsiteY39" fmla="*/ 7956 h 10000"/>
                <a:gd name="connsiteX40" fmla="*/ 6785 w 10000"/>
                <a:gd name="connsiteY40" fmla="*/ 7886 h 10000"/>
                <a:gd name="connsiteX41" fmla="*/ 6931 w 10000"/>
                <a:gd name="connsiteY41" fmla="*/ 7942 h 10000"/>
                <a:gd name="connsiteX42" fmla="*/ 7045 w 10000"/>
                <a:gd name="connsiteY42" fmla="*/ 7939 h 10000"/>
                <a:gd name="connsiteX43" fmla="*/ 6983 w 10000"/>
                <a:gd name="connsiteY43" fmla="*/ 7822 h 10000"/>
                <a:gd name="connsiteX44" fmla="*/ 7003 w 10000"/>
                <a:gd name="connsiteY44" fmla="*/ 7752 h 10000"/>
                <a:gd name="connsiteX45" fmla="*/ 7089 w 10000"/>
                <a:gd name="connsiteY45" fmla="*/ 7653 h 10000"/>
                <a:gd name="connsiteX46" fmla="*/ 7074 w 10000"/>
                <a:gd name="connsiteY46" fmla="*/ 7570 h 10000"/>
                <a:gd name="connsiteX47" fmla="*/ 7152 w 10000"/>
                <a:gd name="connsiteY47" fmla="*/ 7295 h 10000"/>
                <a:gd name="connsiteX48" fmla="*/ 7130 w 10000"/>
                <a:gd name="connsiteY48" fmla="*/ 7209 h 10000"/>
                <a:gd name="connsiteX49" fmla="*/ 6729 w 10000"/>
                <a:gd name="connsiteY49" fmla="*/ 6997 h 10000"/>
                <a:gd name="connsiteX50" fmla="*/ 6785 w 10000"/>
                <a:gd name="connsiteY50" fmla="*/ 6989 h 10000"/>
                <a:gd name="connsiteX51" fmla="*/ 6998 w 10000"/>
                <a:gd name="connsiteY51" fmla="*/ 7043 h 10000"/>
                <a:gd name="connsiteX52" fmla="*/ 7230 w 10000"/>
                <a:gd name="connsiteY52" fmla="*/ 7023 h 10000"/>
                <a:gd name="connsiteX53" fmla="*/ 7295 w 10000"/>
                <a:gd name="connsiteY53" fmla="*/ 6949 h 10000"/>
                <a:gd name="connsiteX54" fmla="*/ 7074 w 10000"/>
                <a:gd name="connsiteY54" fmla="*/ 6806 h 10000"/>
                <a:gd name="connsiteX55" fmla="*/ 6414 w 10000"/>
                <a:gd name="connsiteY55" fmla="*/ 6711 h 10000"/>
                <a:gd name="connsiteX56" fmla="*/ 6458 w 10000"/>
                <a:gd name="connsiteY56" fmla="*/ 6668 h 10000"/>
                <a:gd name="connsiteX57" fmla="*/ 6998 w 10000"/>
                <a:gd name="connsiteY57" fmla="*/ 6638 h 10000"/>
                <a:gd name="connsiteX58" fmla="*/ 7295 w 10000"/>
                <a:gd name="connsiteY58" fmla="*/ 6724 h 10000"/>
                <a:gd name="connsiteX59" fmla="*/ 7466 w 10000"/>
                <a:gd name="connsiteY59" fmla="*/ 6668 h 10000"/>
                <a:gd name="connsiteX60" fmla="*/ 7529 w 10000"/>
                <a:gd name="connsiteY60" fmla="*/ 6520 h 10000"/>
                <a:gd name="connsiteX61" fmla="*/ 7840 w 10000"/>
                <a:gd name="connsiteY61" fmla="*/ 6520 h 10000"/>
                <a:gd name="connsiteX62" fmla="*/ 8261 w 10000"/>
                <a:gd name="connsiteY62" fmla="*/ 6219 h 10000"/>
                <a:gd name="connsiteX63" fmla="*/ 8275 w 10000"/>
                <a:gd name="connsiteY63" fmla="*/ 6019 h 10000"/>
                <a:gd name="connsiteX64" fmla="*/ 8453 w 10000"/>
                <a:gd name="connsiteY64" fmla="*/ 6064 h 10000"/>
                <a:gd name="connsiteX65" fmla="*/ 8446 w 10000"/>
                <a:gd name="connsiteY65" fmla="*/ 6266 h 10000"/>
                <a:gd name="connsiteX66" fmla="*/ 8727 w 10000"/>
                <a:gd name="connsiteY66" fmla="*/ 6251 h 10000"/>
                <a:gd name="connsiteX67" fmla="*/ 8913 w 10000"/>
                <a:gd name="connsiteY67" fmla="*/ 6043 h 10000"/>
                <a:gd name="connsiteX68" fmla="*/ 9258 w 10000"/>
                <a:gd name="connsiteY68" fmla="*/ 5856 h 10000"/>
                <a:gd name="connsiteX69" fmla="*/ 9203 w 10000"/>
                <a:gd name="connsiteY69" fmla="*/ 5644 h 10000"/>
                <a:gd name="connsiteX70" fmla="*/ 9306 w 10000"/>
                <a:gd name="connsiteY70" fmla="*/ 5730 h 10000"/>
                <a:gd name="connsiteX71" fmla="*/ 9464 w 10000"/>
                <a:gd name="connsiteY71" fmla="*/ 5730 h 10000"/>
                <a:gd name="connsiteX72" fmla="*/ 9464 w 10000"/>
                <a:gd name="connsiteY72" fmla="*/ 5630 h 10000"/>
                <a:gd name="connsiteX73" fmla="*/ 9611 w 10000"/>
                <a:gd name="connsiteY73" fmla="*/ 5558 h 10000"/>
                <a:gd name="connsiteX74" fmla="*/ 9592 w 10000"/>
                <a:gd name="connsiteY74" fmla="*/ 5481 h 10000"/>
                <a:gd name="connsiteX75" fmla="*/ 8350 w 10000"/>
                <a:gd name="connsiteY75" fmla="*/ 5632 h 10000"/>
                <a:gd name="connsiteX76" fmla="*/ 8058 w 10000"/>
                <a:gd name="connsiteY76" fmla="*/ 5590 h 10000"/>
                <a:gd name="connsiteX77" fmla="*/ 7942 w 10000"/>
                <a:gd name="connsiteY77" fmla="*/ 5644 h 10000"/>
                <a:gd name="connsiteX78" fmla="*/ 7903 w 10000"/>
                <a:gd name="connsiteY78" fmla="*/ 5537 h 10000"/>
                <a:gd name="connsiteX79" fmla="*/ 7765 w 10000"/>
                <a:gd name="connsiteY79" fmla="*/ 5443 h 10000"/>
                <a:gd name="connsiteX80" fmla="*/ 7213 w 10000"/>
                <a:gd name="connsiteY80" fmla="*/ 5249 h 10000"/>
                <a:gd name="connsiteX81" fmla="*/ 6887 w 10000"/>
                <a:gd name="connsiteY81" fmla="*/ 5282 h 10000"/>
                <a:gd name="connsiteX82" fmla="*/ 6757 w 10000"/>
                <a:gd name="connsiteY82" fmla="*/ 5227 h 10000"/>
                <a:gd name="connsiteX83" fmla="*/ 6894 w 10000"/>
                <a:gd name="connsiteY83" fmla="*/ 5180 h 10000"/>
                <a:gd name="connsiteX84" fmla="*/ 6998 w 10000"/>
                <a:gd name="connsiteY84" fmla="*/ 5078 h 10000"/>
                <a:gd name="connsiteX85" fmla="*/ 7152 w 10000"/>
                <a:gd name="connsiteY85" fmla="*/ 5110 h 10000"/>
                <a:gd name="connsiteX86" fmla="*/ 7335 w 10000"/>
                <a:gd name="connsiteY86" fmla="*/ 5085 h 10000"/>
                <a:gd name="connsiteX87" fmla="*/ 7611 w 10000"/>
                <a:gd name="connsiteY87" fmla="*/ 5118 h 10000"/>
                <a:gd name="connsiteX88" fmla="*/ 7645 w 10000"/>
                <a:gd name="connsiteY88" fmla="*/ 5104 h 10000"/>
                <a:gd name="connsiteX89" fmla="*/ 7859 w 10000"/>
                <a:gd name="connsiteY89" fmla="*/ 5259 h 10000"/>
                <a:gd name="connsiteX90" fmla="*/ 8017 w 10000"/>
                <a:gd name="connsiteY90" fmla="*/ 5201 h 10000"/>
                <a:gd name="connsiteX91" fmla="*/ 8032 w 10000"/>
                <a:gd name="connsiteY91" fmla="*/ 5148 h 10000"/>
                <a:gd name="connsiteX92" fmla="*/ 8176 w 10000"/>
                <a:gd name="connsiteY92" fmla="*/ 5241 h 10000"/>
                <a:gd name="connsiteX93" fmla="*/ 8369 w 10000"/>
                <a:gd name="connsiteY93" fmla="*/ 5291 h 10000"/>
                <a:gd name="connsiteX94" fmla="*/ 8446 w 10000"/>
                <a:gd name="connsiteY94" fmla="*/ 5199 h 10000"/>
                <a:gd name="connsiteX95" fmla="*/ 8507 w 10000"/>
                <a:gd name="connsiteY95" fmla="*/ 5249 h 10000"/>
                <a:gd name="connsiteX96" fmla="*/ 8596 w 10000"/>
                <a:gd name="connsiteY96" fmla="*/ 5430 h 10000"/>
                <a:gd name="connsiteX97" fmla="*/ 8782 w 10000"/>
                <a:gd name="connsiteY97" fmla="*/ 5470 h 10000"/>
                <a:gd name="connsiteX98" fmla="*/ 9542 w 10000"/>
                <a:gd name="connsiteY98" fmla="*/ 5208 h 10000"/>
                <a:gd name="connsiteX99" fmla="*/ 9914 w 10000"/>
                <a:gd name="connsiteY99" fmla="*/ 4838 h 10000"/>
                <a:gd name="connsiteX100" fmla="*/ 10000 w 10000"/>
                <a:gd name="connsiteY100" fmla="*/ 4574 h 10000"/>
                <a:gd name="connsiteX101" fmla="*/ 9866 w 10000"/>
                <a:gd name="connsiteY101" fmla="*/ 4330 h 10000"/>
                <a:gd name="connsiteX102" fmla="*/ 9582 w 10000"/>
                <a:gd name="connsiteY102" fmla="*/ 4188 h 10000"/>
                <a:gd name="connsiteX103" fmla="*/ 9382 w 10000"/>
                <a:gd name="connsiteY103" fmla="*/ 3948 h 10000"/>
                <a:gd name="connsiteX104" fmla="*/ 9569 w 10000"/>
                <a:gd name="connsiteY104" fmla="*/ 3941 h 10000"/>
                <a:gd name="connsiteX105" fmla="*/ 9555 w 10000"/>
                <a:gd name="connsiteY105" fmla="*/ 3886 h 10000"/>
                <a:gd name="connsiteX106" fmla="*/ 9068 w 10000"/>
                <a:gd name="connsiteY106" fmla="*/ 3720 h 10000"/>
                <a:gd name="connsiteX107" fmla="*/ 9047 w 10000"/>
                <a:gd name="connsiteY107" fmla="*/ 3566 h 10000"/>
                <a:gd name="connsiteX108" fmla="*/ 8953 w 10000"/>
                <a:gd name="connsiteY108" fmla="*/ 3406 h 10000"/>
                <a:gd name="connsiteX109" fmla="*/ 8569 w 10000"/>
                <a:gd name="connsiteY109" fmla="*/ 3436 h 10000"/>
                <a:gd name="connsiteX110" fmla="*/ 8431 w 10000"/>
                <a:gd name="connsiteY110" fmla="*/ 3265 h 10000"/>
                <a:gd name="connsiteX111" fmla="*/ 8350 w 10000"/>
                <a:gd name="connsiteY111" fmla="*/ 3254 h 10000"/>
                <a:gd name="connsiteX112" fmla="*/ 8350 w 10000"/>
                <a:gd name="connsiteY112" fmla="*/ 3331 h 10000"/>
                <a:gd name="connsiteX113" fmla="*/ 8176 w 10000"/>
                <a:gd name="connsiteY113" fmla="*/ 3613 h 10000"/>
                <a:gd name="connsiteX114" fmla="*/ 7990 w 10000"/>
                <a:gd name="connsiteY114" fmla="*/ 3783 h 10000"/>
                <a:gd name="connsiteX115" fmla="*/ 7401 w 10000"/>
                <a:gd name="connsiteY115" fmla="*/ 4066 h 10000"/>
                <a:gd name="connsiteX116" fmla="*/ 7198 w 10000"/>
                <a:gd name="connsiteY116" fmla="*/ 4058 h 10000"/>
                <a:gd name="connsiteX117" fmla="*/ 6915 w 10000"/>
                <a:gd name="connsiteY117" fmla="*/ 4101 h 10000"/>
                <a:gd name="connsiteX118" fmla="*/ 6757 w 10000"/>
                <a:gd name="connsiteY118" fmla="*/ 4058 h 10000"/>
                <a:gd name="connsiteX119" fmla="*/ 6965 w 10000"/>
                <a:gd name="connsiteY119" fmla="*/ 3976 h 10000"/>
                <a:gd name="connsiteX120" fmla="*/ 7235 w 10000"/>
                <a:gd name="connsiteY120" fmla="*/ 3941 h 10000"/>
                <a:gd name="connsiteX121" fmla="*/ 7455 w 10000"/>
                <a:gd name="connsiteY121" fmla="*/ 3809 h 10000"/>
                <a:gd name="connsiteX122" fmla="*/ 7674 w 10000"/>
                <a:gd name="connsiteY122" fmla="*/ 3746 h 10000"/>
                <a:gd name="connsiteX123" fmla="*/ 8082 w 10000"/>
                <a:gd name="connsiteY123" fmla="*/ 3512 h 10000"/>
                <a:gd name="connsiteX124" fmla="*/ 8157 w 10000"/>
                <a:gd name="connsiteY124" fmla="*/ 3359 h 10000"/>
                <a:gd name="connsiteX125" fmla="*/ 8165 w 10000"/>
                <a:gd name="connsiteY125" fmla="*/ 3163 h 10000"/>
                <a:gd name="connsiteX126" fmla="*/ 7978 w 10000"/>
                <a:gd name="connsiteY126" fmla="*/ 3129 h 10000"/>
                <a:gd name="connsiteX127" fmla="*/ 8058 w 10000"/>
                <a:gd name="connsiteY127" fmla="*/ 3009 h 10000"/>
                <a:gd name="connsiteX128" fmla="*/ 8087 w 10000"/>
                <a:gd name="connsiteY128" fmla="*/ 2856 h 10000"/>
                <a:gd name="connsiteX129" fmla="*/ 8007 w 10000"/>
                <a:gd name="connsiteY129" fmla="*/ 2714 h 10000"/>
                <a:gd name="connsiteX130" fmla="*/ 7450 w 10000"/>
                <a:gd name="connsiteY130" fmla="*/ 2910 h 10000"/>
                <a:gd name="connsiteX131" fmla="*/ 6694 w 10000"/>
                <a:gd name="connsiteY131" fmla="*/ 2823 h 10000"/>
                <a:gd name="connsiteX132" fmla="*/ 6304 w 10000"/>
                <a:gd name="connsiteY132" fmla="*/ 2276 h 10000"/>
                <a:gd name="connsiteX133" fmla="*/ 5294 w 10000"/>
                <a:gd name="connsiteY133" fmla="*/ 2173 h 10000"/>
                <a:gd name="connsiteX134" fmla="*/ 4505 w 10000"/>
                <a:gd name="connsiteY134" fmla="*/ 1721 h 10000"/>
                <a:gd name="connsiteX135" fmla="*/ 3730 w 10000"/>
                <a:gd name="connsiteY135" fmla="*/ 1176 h 10000"/>
                <a:gd name="connsiteX136" fmla="*/ 3154 w 10000"/>
                <a:gd name="connsiteY136" fmla="*/ 173 h 10000"/>
                <a:gd name="connsiteX137" fmla="*/ 2375 w 10000"/>
                <a:gd name="connsiteY137" fmla="*/ 0 h 10000"/>
                <a:gd name="connsiteX138" fmla="*/ 2226 w 10000"/>
                <a:gd name="connsiteY138" fmla="*/ 941 h 10000"/>
                <a:gd name="connsiteX139" fmla="*/ 2375 w 10000"/>
                <a:gd name="connsiteY139" fmla="*/ 1181 h 10000"/>
                <a:gd name="connsiteX140" fmla="*/ 2791 w 10000"/>
                <a:gd name="connsiteY140" fmla="*/ 1446 h 10000"/>
                <a:gd name="connsiteX141" fmla="*/ 2808 w 10000"/>
                <a:gd name="connsiteY141" fmla="*/ 1767 h 10000"/>
                <a:gd name="connsiteX142" fmla="*/ 2632 w 10000"/>
                <a:gd name="connsiteY142" fmla="*/ 2035 h 10000"/>
                <a:gd name="connsiteX143" fmla="*/ 2375 w 10000"/>
                <a:gd name="connsiteY143" fmla="*/ 2196 h 10000"/>
                <a:gd name="connsiteX144" fmla="*/ 2039 w 10000"/>
                <a:gd name="connsiteY144" fmla="*/ 2260 h 10000"/>
                <a:gd name="connsiteX145" fmla="*/ 1950 w 10000"/>
                <a:gd name="connsiteY145" fmla="*/ 2357 h 10000"/>
                <a:gd name="connsiteX146" fmla="*/ 2148 w 10000"/>
                <a:gd name="connsiteY146" fmla="*/ 2577 h 10000"/>
                <a:gd name="connsiteX147" fmla="*/ 2261 w 10000"/>
                <a:gd name="connsiteY147" fmla="*/ 3104 h 10000"/>
                <a:gd name="connsiteX148" fmla="*/ 2005 w 10000"/>
                <a:gd name="connsiteY148" fmla="*/ 3555 h 10000"/>
                <a:gd name="connsiteX149" fmla="*/ 2094 w 10000"/>
                <a:gd name="connsiteY149" fmla="*/ 3692 h 10000"/>
                <a:gd name="connsiteX150" fmla="*/ 2012 w 10000"/>
                <a:gd name="connsiteY150" fmla="*/ 3926 h 10000"/>
                <a:gd name="connsiteX151" fmla="*/ 1850 w 10000"/>
                <a:gd name="connsiteY151" fmla="*/ 4089 h 10000"/>
                <a:gd name="connsiteX152" fmla="*/ 1199 w 10000"/>
                <a:gd name="connsiteY152" fmla="*/ 4215 h 10000"/>
                <a:gd name="connsiteX153" fmla="*/ 1158 w 10000"/>
                <a:gd name="connsiteY153" fmla="*/ 4432 h 10000"/>
                <a:gd name="connsiteX154" fmla="*/ 808 w 10000"/>
                <a:gd name="connsiteY154" fmla="*/ 4754 h 10000"/>
                <a:gd name="connsiteX155" fmla="*/ 854 w 10000"/>
                <a:gd name="connsiteY155" fmla="*/ 5224 h 10000"/>
                <a:gd name="connsiteX156" fmla="*/ 560 w 10000"/>
                <a:gd name="connsiteY156" fmla="*/ 5822 h 10000"/>
                <a:gd name="connsiteX157" fmla="*/ 358 w 10000"/>
                <a:gd name="connsiteY157" fmla="*/ 5891 h 10000"/>
                <a:gd name="connsiteX158" fmla="*/ 275 w 10000"/>
                <a:gd name="connsiteY158" fmla="*/ 5749 h 10000"/>
                <a:gd name="connsiteX159" fmla="*/ 174 w 10000"/>
                <a:gd name="connsiteY159" fmla="*/ 5964 h 10000"/>
                <a:gd name="connsiteX160" fmla="*/ 239 w 10000"/>
                <a:gd name="connsiteY160" fmla="*/ 5592 h 10000"/>
                <a:gd name="connsiteX161" fmla="*/ 197 w 10000"/>
                <a:gd name="connsiteY161" fmla="*/ 5523 h 10000"/>
                <a:gd name="connsiteX0" fmla="*/ 197 w 10000"/>
                <a:gd name="connsiteY0" fmla="*/ 5523 h 10000"/>
                <a:gd name="connsiteX1" fmla="*/ 0 w 10000"/>
                <a:gd name="connsiteY1" fmla="*/ 5717 h 10000"/>
                <a:gd name="connsiteX2" fmla="*/ 0 w 10000"/>
                <a:gd name="connsiteY2" fmla="*/ 6668 h 10000"/>
                <a:gd name="connsiteX3" fmla="*/ 109 w 10000"/>
                <a:gd name="connsiteY3" fmla="*/ 6693 h 10000"/>
                <a:gd name="connsiteX4" fmla="*/ 134 w 10000"/>
                <a:gd name="connsiteY4" fmla="*/ 6769 h 10000"/>
                <a:gd name="connsiteX5" fmla="*/ 130 w 10000"/>
                <a:gd name="connsiteY5" fmla="*/ 6897 h 10000"/>
                <a:gd name="connsiteX6" fmla="*/ 89 w 10000"/>
                <a:gd name="connsiteY6" fmla="*/ 6953 h 10000"/>
                <a:gd name="connsiteX7" fmla="*/ 255 w 10000"/>
                <a:gd name="connsiteY7" fmla="*/ 6842 h 10000"/>
                <a:gd name="connsiteX8" fmla="*/ 325 w 10000"/>
                <a:gd name="connsiteY8" fmla="*/ 6737 h 10000"/>
                <a:gd name="connsiteX9" fmla="*/ 413 w 10000"/>
                <a:gd name="connsiteY9" fmla="*/ 6809 h 10000"/>
                <a:gd name="connsiteX10" fmla="*/ 316 w 10000"/>
                <a:gd name="connsiteY10" fmla="*/ 6965 h 10000"/>
                <a:gd name="connsiteX11" fmla="*/ 419 w 10000"/>
                <a:gd name="connsiteY11" fmla="*/ 6969 h 10000"/>
                <a:gd name="connsiteX12" fmla="*/ 469 w 10000"/>
                <a:gd name="connsiteY12" fmla="*/ 7008 h 10000"/>
                <a:gd name="connsiteX13" fmla="*/ 337 w 10000"/>
                <a:gd name="connsiteY13" fmla="*/ 7059 h 10000"/>
                <a:gd name="connsiteX14" fmla="*/ 130 w 10000"/>
                <a:gd name="connsiteY14" fmla="*/ 7220 h 10000"/>
                <a:gd name="connsiteX15" fmla="*/ 497 w 10000"/>
                <a:gd name="connsiteY15" fmla="*/ 7345 h 10000"/>
                <a:gd name="connsiteX16" fmla="*/ 545 w 10000"/>
                <a:gd name="connsiteY16" fmla="*/ 7522 h 10000"/>
                <a:gd name="connsiteX17" fmla="*/ 419 w 10000"/>
                <a:gd name="connsiteY17" fmla="*/ 7785 h 10000"/>
                <a:gd name="connsiteX18" fmla="*/ 688 w 10000"/>
                <a:gd name="connsiteY18" fmla="*/ 7770 h 10000"/>
                <a:gd name="connsiteX19" fmla="*/ 709 w 10000"/>
                <a:gd name="connsiteY19" fmla="*/ 7965 h 10000"/>
                <a:gd name="connsiteX20" fmla="*/ 530 w 10000"/>
                <a:gd name="connsiteY20" fmla="*/ 8105 h 10000"/>
                <a:gd name="connsiteX21" fmla="*/ 560 w 10000"/>
                <a:gd name="connsiteY21" fmla="*/ 8362 h 10000"/>
                <a:gd name="connsiteX22" fmla="*/ 489 w 10000"/>
                <a:gd name="connsiteY22" fmla="*/ 8568 h 10000"/>
                <a:gd name="connsiteX23" fmla="*/ 703 w 10000"/>
                <a:gd name="connsiteY23" fmla="*/ 8587 h 10000"/>
                <a:gd name="connsiteX24" fmla="*/ 992 w 10000"/>
                <a:gd name="connsiteY24" fmla="*/ 9678 h 10000"/>
                <a:gd name="connsiteX25" fmla="*/ 1653 w 10000"/>
                <a:gd name="connsiteY25" fmla="*/ 9323 h 10000"/>
                <a:gd name="connsiteX26" fmla="*/ 1883 w 10000"/>
                <a:gd name="connsiteY26" fmla="*/ 9703 h 10000"/>
                <a:gd name="connsiteX27" fmla="*/ 2400 w 10000"/>
                <a:gd name="connsiteY27" fmla="*/ 9070 h 10000"/>
                <a:gd name="connsiteX28" fmla="*/ 3729 w 10000"/>
                <a:gd name="connsiteY28" fmla="*/ 9624 h 10000"/>
                <a:gd name="connsiteX29" fmla="*/ 3743 w 10000"/>
                <a:gd name="connsiteY29" fmla="*/ 9229 h 10000"/>
                <a:gd name="connsiteX30" fmla="*/ 5255 w 10000"/>
                <a:gd name="connsiteY30" fmla="*/ 9402 h 10000"/>
                <a:gd name="connsiteX31" fmla="*/ 6419 w 10000"/>
                <a:gd name="connsiteY31" fmla="*/ 10000 h 10000"/>
                <a:gd name="connsiteX32" fmla="*/ 6586 w 10000"/>
                <a:gd name="connsiteY32" fmla="*/ 9169 h 10000"/>
                <a:gd name="connsiteX33" fmla="*/ 6855 w 10000"/>
                <a:gd name="connsiteY33" fmla="*/ 8801 h 10000"/>
                <a:gd name="connsiteX34" fmla="*/ 6855 w 10000"/>
                <a:gd name="connsiteY34" fmla="*/ 8603 h 10000"/>
                <a:gd name="connsiteX35" fmla="*/ 6757 w 10000"/>
                <a:gd name="connsiteY35" fmla="*/ 8497 h 10000"/>
                <a:gd name="connsiteX36" fmla="*/ 6915 w 10000"/>
                <a:gd name="connsiteY36" fmla="*/ 8318 h 10000"/>
                <a:gd name="connsiteX37" fmla="*/ 6887 w 10000"/>
                <a:gd name="connsiteY37" fmla="*/ 8175 h 10000"/>
                <a:gd name="connsiteX38" fmla="*/ 6779 w 10000"/>
                <a:gd name="connsiteY38" fmla="*/ 8053 h 10000"/>
                <a:gd name="connsiteX39" fmla="*/ 6757 w 10000"/>
                <a:gd name="connsiteY39" fmla="*/ 7956 h 10000"/>
                <a:gd name="connsiteX40" fmla="*/ 6785 w 10000"/>
                <a:gd name="connsiteY40" fmla="*/ 7886 h 10000"/>
                <a:gd name="connsiteX41" fmla="*/ 6931 w 10000"/>
                <a:gd name="connsiteY41" fmla="*/ 7942 h 10000"/>
                <a:gd name="connsiteX42" fmla="*/ 7045 w 10000"/>
                <a:gd name="connsiteY42" fmla="*/ 7939 h 10000"/>
                <a:gd name="connsiteX43" fmla="*/ 6983 w 10000"/>
                <a:gd name="connsiteY43" fmla="*/ 7822 h 10000"/>
                <a:gd name="connsiteX44" fmla="*/ 7003 w 10000"/>
                <a:gd name="connsiteY44" fmla="*/ 7752 h 10000"/>
                <a:gd name="connsiteX45" fmla="*/ 7089 w 10000"/>
                <a:gd name="connsiteY45" fmla="*/ 7653 h 10000"/>
                <a:gd name="connsiteX46" fmla="*/ 7074 w 10000"/>
                <a:gd name="connsiteY46" fmla="*/ 7570 h 10000"/>
                <a:gd name="connsiteX47" fmla="*/ 7152 w 10000"/>
                <a:gd name="connsiteY47" fmla="*/ 7295 h 10000"/>
                <a:gd name="connsiteX48" fmla="*/ 7130 w 10000"/>
                <a:gd name="connsiteY48" fmla="*/ 7209 h 10000"/>
                <a:gd name="connsiteX49" fmla="*/ 6729 w 10000"/>
                <a:gd name="connsiteY49" fmla="*/ 6997 h 10000"/>
                <a:gd name="connsiteX50" fmla="*/ 6785 w 10000"/>
                <a:gd name="connsiteY50" fmla="*/ 6989 h 10000"/>
                <a:gd name="connsiteX51" fmla="*/ 6998 w 10000"/>
                <a:gd name="connsiteY51" fmla="*/ 7043 h 10000"/>
                <a:gd name="connsiteX52" fmla="*/ 7230 w 10000"/>
                <a:gd name="connsiteY52" fmla="*/ 7023 h 10000"/>
                <a:gd name="connsiteX53" fmla="*/ 7295 w 10000"/>
                <a:gd name="connsiteY53" fmla="*/ 6949 h 10000"/>
                <a:gd name="connsiteX54" fmla="*/ 7074 w 10000"/>
                <a:gd name="connsiteY54" fmla="*/ 6806 h 10000"/>
                <a:gd name="connsiteX55" fmla="*/ 6414 w 10000"/>
                <a:gd name="connsiteY55" fmla="*/ 6711 h 10000"/>
                <a:gd name="connsiteX56" fmla="*/ 6458 w 10000"/>
                <a:gd name="connsiteY56" fmla="*/ 6668 h 10000"/>
                <a:gd name="connsiteX57" fmla="*/ 6998 w 10000"/>
                <a:gd name="connsiteY57" fmla="*/ 6638 h 10000"/>
                <a:gd name="connsiteX58" fmla="*/ 7295 w 10000"/>
                <a:gd name="connsiteY58" fmla="*/ 6724 h 10000"/>
                <a:gd name="connsiteX59" fmla="*/ 7466 w 10000"/>
                <a:gd name="connsiteY59" fmla="*/ 6668 h 10000"/>
                <a:gd name="connsiteX60" fmla="*/ 7529 w 10000"/>
                <a:gd name="connsiteY60" fmla="*/ 6520 h 10000"/>
                <a:gd name="connsiteX61" fmla="*/ 7840 w 10000"/>
                <a:gd name="connsiteY61" fmla="*/ 6520 h 10000"/>
                <a:gd name="connsiteX62" fmla="*/ 8261 w 10000"/>
                <a:gd name="connsiteY62" fmla="*/ 6219 h 10000"/>
                <a:gd name="connsiteX63" fmla="*/ 8275 w 10000"/>
                <a:gd name="connsiteY63" fmla="*/ 6019 h 10000"/>
                <a:gd name="connsiteX64" fmla="*/ 8453 w 10000"/>
                <a:gd name="connsiteY64" fmla="*/ 6064 h 10000"/>
                <a:gd name="connsiteX65" fmla="*/ 8446 w 10000"/>
                <a:gd name="connsiteY65" fmla="*/ 6266 h 10000"/>
                <a:gd name="connsiteX66" fmla="*/ 8727 w 10000"/>
                <a:gd name="connsiteY66" fmla="*/ 6251 h 10000"/>
                <a:gd name="connsiteX67" fmla="*/ 8913 w 10000"/>
                <a:gd name="connsiteY67" fmla="*/ 6043 h 10000"/>
                <a:gd name="connsiteX68" fmla="*/ 9258 w 10000"/>
                <a:gd name="connsiteY68" fmla="*/ 5856 h 10000"/>
                <a:gd name="connsiteX69" fmla="*/ 9203 w 10000"/>
                <a:gd name="connsiteY69" fmla="*/ 5644 h 10000"/>
                <a:gd name="connsiteX70" fmla="*/ 9306 w 10000"/>
                <a:gd name="connsiteY70" fmla="*/ 5730 h 10000"/>
                <a:gd name="connsiteX71" fmla="*/ 9464 w 10000"/>
                <a:gd name="connsiteY71" fmla="*/ 5730 h 10000"/>
                <a:gd name="connsiteX72" fmla="*/ 9464 w 10000"/>
                <a:gd name="connsiteY72" fmla="*/ 5630 h 10000"/>
                <a:gd name="connsiteX73" fmla="*/ 9611 w 10000"/>
                <a:gd name="connsiteY73" fmla="*/ 5558 h 10000"/>
                <a:gd name="connsiteX74" fmla="*/ 9592 w 10000"/>
                <a:gd name="connsiteY74" fmla="*/ 5481 h 10000"/>
                <a:gd name="connsiteX75" fmla="*/ 8350 w 10000"/>
                <a:gd name="connsiteY75" fmla="*/ 5632 h 10000"/>
                <a:gd name="connsiteX76" fmla="*/ 8058 w 10000"/>
                <a:gd name="connsiteY76" fmla="*/ 5590 h 10000"/>
                <a:gd name="connsiteX77" fmla="*/ 7942 w 10000"/>
                <a:gd name="connsiteY77" fmla="*/ 5644 h 10000"/>
                <a:gd name="connsiteX78" fmla="*/ 7903 w 10000"/>
                <a:gd name="connsiteY78" fmla="*/ 5537 h 10000"/>
                <a:gd name="connsiteX79" fmla="*/ 7765 w 10000"/>
                <a:gd name="connsiteY79" fmla="*/ 5443 h 10000"/>
                <a:gd name="connsiteX80" fmla="*/ 7213 w 10000"/>
                <a:gd name="connsiteY80" fmla="*/ 5249 h 10000"/>
                <a:gd name="connsiteX81" fmla="*/ 6887 w 10000"/>
                <a:gd name="connsiteY81" fmla="*/ 5282 h 10000"/>
                <a:gd name="connsiteX82" fmla="*/ 6757 w 10000"/>
                <a:gd name="connsiteY82" fmla="*/ 5227 h 10000"/>
                <a:gd name="connsiteX83" fmla="*/ 6894 w 10000"/>
                <a:gd name="connsiteY83" fmla="*/ 5180 h 10000"/>
                <a:gd name="connsiteX84" fmla="*/ 6998 w 10000"/>
                <a:gd name="connsiteY84" fmla="*/ 5078 h 10000"/>
                <a:gd name="connsiteX85" fmla="*/ 7152 w 10000"/>
                <a:gd name="connsiteY85" fmla="*/ 5110 h 10000"/>
                <a:gd name="connsiteX86" fmla="*/ 7335 w 10000"/>
                <a:gd name="connsiteY86" fmla="*/ 5085 h 10000"/>
                <a:gd name="connsiteX87" fmla="*/ 7611 w 10000"/>
                <a:gd name="connsiteY87" fmla="*/ 5118 h 10000"/>
                <a:gd name="connsiteX88" fmla="*/ 7645 w 10000"/>
                <a:gd name="connsiteY88" fmla="*/ 5104 h 10000"/>
                <a:gd name="connsiteX89" fmla="*/ 7859 w 10000"/>
                <a:gd name="connsiteY89" fmla="*/ 5259 h 10000"/>
                <a:gd name="connsiteX90" fmla="*/ 8017 w 10000"/>
                <a:gd name="connsiteY90" fmla="*/ 5201 h 10000"/>
                <a:gd name="connsiteX91" fmla="*/ 8032 w 10000"/>
                <a:gd name="connsiteY91" fmla="*/ 5148 h 10000"/>
                <a:gd name="connsiteX92" fmla="*/ 8176 w 10000"/>
                <a:gd name="connsiteY92" fmla="*/ 5241 h 10000"/>
                <a:gd name="connsiteX93" fmla="*/ 8369 w 10000"/>
                <a:gd name="connsiteY93" fmla="*/ 5291 h 10000"/>
                <a:gd name="connsiteX94" fmla="*/ 8446 w 10000"/>
                <a:gd name="connsiteY94" fmla="*/ 5199 h 10000"/>
                <a:gd name="connsiteX95" fmla="*/ 8507 w 10000"/>
                <a:gd name="connsiteY95" fmla="*/ 5249 h 10000"/>
                <a:gd name="connsiteX96" fmla="*/ 8596 w 10000"/>
                <a:gd name="connsiteY96" fmla="*/ 5430 h 10000"/>
                <a:gd name="connsiteX97" fmla="*/ 8782 w 10000"/>
                <a:gd name="connsiteY97" fmla="*/ 5470 h 10000"/>
                <a:gd name="connsiteX98" fmla="*/ 9542 w 10000"/>
                <a:gd name="connsiteY98" fmla="*/ 5208 h 10000"/>
                <a:gd name="connsiteX99" fmla="*/ 9914 w 10000"/>
                <a:gd name="connsiteY99" fmla="*/ 4838 h 10000"/>
                <a:gd name="connsiteX100" fmla="*/ 10000 w 10000"/>
                <a:gd name="connsiteY100" fmla="*/ 4574 h 10000"/>
                <a:gd name="connsiteX101" fmla="*/ 9866 w 10000"/>
                <a:gd name="connsiteY101" fmla="*/ 4330 h 10000"/>
                <a:gd name="connsiteX102" fmla="*/ 9582 w 10000"/>
                <a:gd name="connsiteY102" fmla="*/ 4188 h 10000"/>
                <a:gd name="connsiteX103" fmla="*/ 9382 w 10000"/>
                <a:gd name="connsiteY103" fmla="*/ 3948 h 10000"/>
                <a:gd name="connsiteX104" fmla="*/ 9569 w 10000"/>
                <a:gd name="connsiteY104" fmla="*/ 3941 h 10000"/>
                <a:gd name="connsiteX105" fmla="*/ 9555 w 10000"/>
                <a:gd name="connsiteY105" fmla="*/ 3886 h 10000"/>
                <a:gd name="connsiteX106" fmla="*/ 9068 w 10000"/>
                <a:gd name="connsiteY106" fmla="*/ 3720 h 10000"/>
                <a:gd name="connsiteX107" fmla="*/ 9047 w 10000"/>
                <a:gd name="connsiteY107" fmla="*/ 3566 h 10000"/>
                <a:gd name="connsiteX108" fmla="*/ 8953 w 10000"/>
                <a:gd name="connsiteY108" fmla="*/ 3406 h 10000"/>
                <a:gd name="connsiteX109" fmla="*/ 8569 w 10000"/>
                <a:gd name="connsiteY109" fmla="*/ 3436 h 10000"/>
                <a:gd name="connsiteX110" fmla="*/ 8431 w 10000"/>
                <a:gd name="connsiteY110" fmla="*/ 3265 h 10000"/>
                <a:gd name="connsiteX111" fmla="*/ 8350 w 10000"/>
                <a:gd name="connsiteY111" fmla="*/ 3254 h 10000"/>
                <a:gd name="connsiteX112" fmla="*/ 8350 w 10000"/>
                <a:gd name="connsiteY112" fmla="*/ 3331 h 10000"/>
                <a:gd name="connsiteX113" fmla="*/ 8176 w 10000"/>
                <a:gd name="connsiteY113" fmla="*/ 3613 h 10000"/>
                <a:gd name="connsiteX114" fmla="*/ 7990 w 10000"/>
                <a:gd name="connsiteY114" fmla="*/ 3783 h 10000"/>
                <a:gd name="connsiteX115" fmla="*/ 7401 w 10000"/>
                <a:gd name="connsiteY115" fmla="*/ 4066 h 10000"/>
                <a:gd name="connsiteX116" fmla="*/ 7198 w 10000"/>
                <a:gd name="connsiteY116" fmla="*/ 4058 h 10000"/>
                <a:gd name="connsiteX117" fmla="*/ 6915 w 10000"/>
                <a:gd name="connsiteY117" fmla="*/ 4101 h 10000"/>
                <a:gd name="connsiteX118" fmla="*/ 6757 w 10000"/>
                <a:gd name="connsiteY118" fmla="*/ 4058 h 10000"/>
                <a:gd name="connsiteX119" fmla="*/ 6965 w 10000"/>
                <a:gd name="connsiteY119" fmla="*/ 3976 h 10000"/>
                <a:gd name="connsiteX120" fmla="*/ 7235 w 10000"/>
                <a:gd name="connsiteY120" fmla="*/ 3941 h 10000"/>
                <a:gd name="connsiteX121" fmla="*/ 7455 w 10000"/>
                <a:gd name="connsiteY121" fmla="*/ 3809 h 10000"/>
                <a:gd name="connsiteX122" fmla="*/ 7674 w 10000"/>
                <a:gd name="connsiteY122" fmla="*/ 3746 h 10000"/>
                <a:gd name="connsiteX123" fmla="*/ 8082 w 10000"/>
                <a:gd name="connsiteY123" fmla="*/ 3512 h 10000"/>
                <a:gd name="connsiteX124" fmla="*/ 8157 w 10000"/>
                <a:gd name="connsiteY124" fmla="*/ 3359 h 10000"/>
                <a:gd name="connsiteX125" fmla="*/ 8165 w 10000"/>
                <a:gd name="connsiteY125" fmla="*/ 3163 h 10000"/>
                <a:gd name="connsiteX126" fmla="*/ 7978 w 10000"/>
                <a:gd name="connsiteY126" fmla="*/ 3129 h 10000"/>
                <a:gd name="connsiteX127" fmla="*/ 8058 w 10000"/>
                <a:gd name="connsiteY127" fmla="*/ 3009 h 10000"/>
                <a:gd name="connsiteX128" fmla="*/ 8087 w 10000"/>
                <a:gd name="connsiteY128" fmla="*/ 2856 h 10000"/>
                <a:gd name="connsiteX129" fmla="*/ 8007 w 10000"/>
                <a:gd name="connsiteY129" fmla="*/ 2714 h 10000"/>
                <a:gd name="connsiteX130" fmla="*/ 7450 w 10000"/>
                <a:gd name="connsiteY130" fmla="*/ 2910 h 10000"/>
                <a:gd name="connsiteX131" fmla="*/ 6694 w 10000"/>
                <a:gd name="connsiteY131" fmla="*/ 2823 h 10000"/>
                <a:gd name="connsiteX132" fmla="*/ 6304 w 10000"/>
                <a:gd name="connsiteY132" fmla="*/ 2276 h 10000"/>
                <a:gd name="connsiteX133" fmla="*/ 5294 w 10000"/>
                <a:gd name="connsiteY133" fmla="*/ 2173 h 10000"/>
                <a:gd name="connsiteX134" fmla="*/ 4505 w 10000"/>
                <a:gd name="connsiteY134" fmla="*/ 1721 h 10000"/>
                <a:gd name="connsiteX135" fmla="*/ 3730 w 10000"/>
                <a:gd name="connsiteY135" fmla="*/ 1176 h 10000"/>
                <a:gd name="connsiteX136" fmla="*/ 3154 w 10000"/>
                <a:gd name="connsiteY136" fmla="*/ 173 h 10000"/>
                <a:gd name="connsiteX137" fmla="*/ 2375 w 10000"/>
                <a:gd name="connsiteY137" fmla="*/ 0 h 10000"/>
                <a:gd name="connsiteX138" fmla="*/ 2226 w 10000"/>
                <a:gd name="connsiteY138" fmla="*/ 941 h 10000"/>
                <a:gd name="connsiteX139" fmla="*/ 2375 w 10000"/>
                <a:gd name="connsiteY139" fmla="*/ 1181 h 10000"/>
                <a:gd name="connsiteX140" fmla="*/ 2791 w 10000"/>
                <a:gd name="connsiteY140" fmla="*/ 1446 h 10000"/>
                <a:gd name="connsiteX141" fmla="*/ 2808 w 10000"/>
                <a:gd name="connsiteY141" fmla="*/ 1767 h 10000"/>
                <a:gd name="connsiteX142" fmla="*/ 2632 w 10000"/>
                <a:gd name="connsiteY142" fmla="*/ 2035 h 10000"/>
                <a:gd name="connsiteX143" fmla="*/ 2375 w 10000"/>
                <a:gd name="connsiteY143" fmla="*/ 2196 h 10000"/>
                <a:gd name="connsiteX144" fmla="*/ 2039 w 10000"/>
                <a:gd name="connsiteY144" fmla="*/ 2260 h 10000"/>
                <a:gd name="connsiteX145" fmla="*/ 1950 w 10000"/>
                <a:gd name="connsiteY145" fmla="*/ 2357 h 10000"/>
                <a:gd name="connsiteX146" fmla="*/ 2148 w 10000"/>
                <a:gd name="connsiteY146" fmla="*/ 2577 h 10000"/>
                <a:gd name="connsiteX147" fmla="*/ 2261 w 10000"/>
                <a:gd name="connsiteY147" fmla="*/ 3104 h 10000"/>
                <a:gd name="connsiteX148" fmla="*/ 2005 w 10000"/>
                <a:gd name="connsiteY148" fmla="*/ 3555 h 10000"/>
                <a:gd name="connsiteX149" fmla="*/ 2094 w 10000"/>
                <a:gd name="connsiteY149" fmla="*/ 3692 h 10000"/>
                <a:gd name="connsiteX150" fmla="*/ 2012 w 10000"/>
                <a:gd name="connsiteY150" fmla="*/ 3926 h 10000"/>
                <a:gd name="connsiteX151" fmla="*/ 1850 w 10000"/>
                <a:gd name="connsiteY151" fmla="*/ 4089 h 10000"/>
                <a:gd name="connsiteX152" fmla="*/ 1199 w 10000"/>
                <a:gd name="connsiteY152" fmla="*/ 4215 h 10000"/>
                <a:gd name="connsiteX153" fmla="*/ 1158 w 10000"/>
                <a:gd name="connsiteY153" fmla="*/ 4432 h 10000"/>
                <a:gd name="connsiteX154" fmla="*/ 808 w 10000"/>
                <a:gd name="connsiteY154" fmla="*/ 4754 h 10000"/>
                <a:gd name="connsiteX155" fmla="*/ 854 w 10000"/>
                <a:gd name="connsiteY155" fmla="*/ 5224 h 10000"/>
                <a:gd name="connsiteX156" fmla="*/ 560 w 10000"/>
                <a:gd name="connsiteY156" fmla="*/ 5822 h 10000"/>
                <a:gd name="connsiteX157" fmla="*/ 358 w 10000"/>
                <a:gd name="connsiteY157" fmla="*/ 5891 h 10000"/>
                <a:gd name="connsiteX158" fmla="*/ 275 w 10000"/>
                <a:gd name="connsiteY158" fmla="*/ 5749 h 10000"/>
                <a:gd name="connsiteX159" fmla="*/ 174 w 10000"/>
                <a:gd name="connsiteY159" fmla="*/ 5964 h 10000"/>
                <a:gd name="connsiteX160" fmla="*/ 239 w 10000"/>
                <a:gd name="connsiteY160" fmla="*/ 5592 h 10000"/>
                <a:gd name="connsiteX161" fmla="*/ 197 w 10000"/>
                <a:gd name="connsiteY161" fmla="*/ 5523 h 10000"/>
                <a:gd name="connsiteX0" fmla="*/ 197 w 10000"/>
                <a:gd name="connsiteY0" fmla="*/ 5523 h 10000"/>
                <a:gd name="connsiteX1" fmla="*/ 0 w 10000"/>
                <a:gd name="connsiteY1" fmla="*/ 5717 h 10000"/>
                <a:gd name="connsiteX2" fmla="*/ 0 w 10000"/>
                <a:gd name="connsiteY2" fmla="*/ 6668 h 10000"/>
                <a:gd name="connsiteX3" fmla="*/ 109 w 10000"/>
                <a:gd name="connsiteY3" fmla="*/ 6693 h 10000"/>
                <a:gd name="connsiteX4" fmla="*/ 134 w 10000"/>
                <a:gd name="connsiteY4" fmla="*/ 6769 h 10000"/>
                <a:gd name="connsiteX5" fmla="*/ 130 w 10000"/>
                <a:gd name="connsiteY5" fmla="*/ 6897 h 10000"/>
                <a:gd name="connsiteX6" fmla="*/ 89 w 10000"/>
                <a:gd name="connsiteY6" fmla="*/ 6953 h 10000"/>
                <a:gd name="connsiteX7" fmla="*/ 255 w 10000"/>
                <a:gd name="connsiteY7" fmla="*/ 6842 h 10000"/>
                <a:gd name="connsiteX8" fmla="*/ 325 w 10000"/>
                <a:gd name="connsiteY8" fmla="*/ 6737 h 10000"/>
                <a:gd name="connsiteX9" fmla="*/ 413 w 10000"/>
                <a:gd name="connsiteY9" fmla="*/ 6809 h 10000"/>
                <a:gd name="connsiteX10" fmla="*/ 316 w 10000"/>
                <a:gd name="connsiteY10" fmla="*/ 6965 h 10000"/>
                <a:gd name="connsiteX11" fmla="*/ 419 w 10000"/>
                <a:gd name="connsiteY11" fmla="*/ 6969 h 10000"/>
                <a:gd name="connsiteX12" fmla="*/ 469 w 10000"/>
                <a:gd name="connsiteY12" fmla="*/ 7008 h 10000"/>
                <a:gd name="connsiteX13" fmla="*/ 337 w 10000"/>
                <a:gd name="connsiteY13" fmla="*/ 7059 h 10000"/>
                <a:gd name="connsiteX14" fmla="*/ 130 w 10000"/>
                <a:gd name="connsiteY14" fmla="*/ 7220 h 10000"/>
                <a:gd name="connsiteX15" fmla="*/ 497 w 10000"/>
                <a:gd name="connsiteY15" fmla="*/ 7345 h 10000"/>
                <a:gd name="connsiteX16" fmla="*/ 545 w 10000"/>
                <a:gd name="connsiteY16" fmla="*/ 7522 h 10000"/>
                <a:gd name="connsiteX17" fmla="*/ 419 w 10000"/>
                <a:gd name="connsiteY17" fmla="*/ 7785 h 10000"/>
                <a:gd name="connsiteX18" fmla="*/ 688 w 10000"/>
                <a:gd name="connsiteY18" fmla="*/ 7770 h 10000"/>
                <a:gd name="connsiteX19" fmla="*/ 709 w 10000"/>
                <a:gd name="connsiteY19" fmla="*/ 7965 h 10000"/>
                <a:gd name="connsiteX20" fmla="*/ 530 w 10000"/>
                <a:gd name="connsiteY20" fmla="*/ 8105 h 10000"/>
                <a:gd name="connsiteX21" fmla="*/ 560 w 10000"/>
                <a:gd name="connsiteY21" fmla="*/ 8362 h 10000"/>
                <a:gd name="connsiteX22" fmla="*/ 489 w 10000"/>
                <a:gd name="connsiteY22" fmla="*/ 8568 h 10000"/>
                <a:gd name="connsiteX23" fmla="*/ 703 w 10000"/>
                <a:gd name="connsiteY23" fmla="*/ 8587 h 10000"/>
                <a:gd name="connsiteX24" fmla="*/ 992 w 10000"/>
                <a:gd name="connsiteY24" fmla="*/ 9678 h 10000"/>
                <a:gd name="connsiteX25" fmla="*/ 1653 w 10000"/>
                <a:gd name="connsiteY25" fmla="*/ 9323 h 10000"/>
                <a:gd name="connsiteX26" fmla="*/ 1883 w 10000"/>
                <a:gd name="connsiteY26" fmla="*/ 9703 h 10000"/>
                <a:gd name="connsiteX27" fmla="*/ 2400 w 10000"/>
                <a:gd name="connsiteY27" fmla="*/ 9070 h 10000"/>
                <a:gd name="connsiteX28" fmla="*/ 3729 w 10000"/>
                <a:gd name="connsiteY28" fmla="*/ 9624 h 10000"/>
                <a:gd name="connsiteX29" fmla="*/ 3743 w 10000"/>
                <a:gd name="connsiteY29" fmla="*/ 9229 h 10000"/>
                <a:gd name="connsiteX30" fmla="*/ 5095 w 10000"/>
                <a:gd name="connsiteY30" fmla="*/ 9329 h 10000"/>
                <a:gd name="connsiteX31" fmla="*/ 6419 w 10000"/>
                <a:gd name="connsiteY31" fmla="*/ 10000 h 10000"/>
                <a:gd name="connsiteX32" fmla="*/ 6586 w 10000"/>
                <a:gd name="connsiteY32" fmla="*/ 9169 h 10000"/>
                <a:gd name="connsiteX33" fmla="*/ 6855 w 10000"/>
                <a:gd name="connsiteY33" fmla="*/ 8801 h 10000"/>
                <a:gd name="connsiteX34" fmla="*/ 6855 w 10000"/>
                <a:gd name="connsiteY34" fmla="*/ 8603 h 10000"/>
                <a:gd name="connsiteX35" fmla="*/ 6757 w 10000"/>
                <a:gd name="connsiteY35" fmla="*/ 8497 h 10000"/>
                <a:gd name="connsiteX36" fmla="*/ 6915 w 10000"/>
                <a:gd name="connsiteY36" fmla="*/ 8318 h 10000"/>
                <a:gd name="connsiteX37" fmla="*/ 6887 w 10000"/>
                <a:gd name="connsiteY37" fmla="*/ 8175 h 10000"/>
                <a:gd name="connsiteX38" fmla="*/ 6779 w 10000"/>
                <a:gd name="connsiteY38" fmla="*/ 8053 h 10000"/>
                <a:gd name="connsiteX39" fmla="*/ 6757 w 10000"/>
                <a:gd name="connsiteY39" fmla="*/ 7956 h 10000"/>
                <a:gd name="connsiteX40" fmla="*/ 6785 w 10000"/>
                <a:gd name="connsiteY40" fmla="*/ 7886 h 10000"/>
                <a:gd name="connsiteX41" fmla="*/ 6931 w 10000"/>
                <a:gd name="connsiteY41" fmla="*/ 7942 h 10000"/>
                <a:gd name="connsiteX42" fmla="*/ 7045 w 10000"/>
                <a:gd name="connsiteY42" fmla="*/ 7939 h 10000"/>
                <a:gd name="connsiteX43" fmla="*/ 6983 w 10000"/>
                <a:gd name="connsiteY43" fmla="*/ 7822 h 10000"/>
                <a:gd name="connsiteX44" fmla="*/ 7003 w 10000"/>
                <a:gd name="connsiteY44" fmla="*/ 7752 h 10000"/>
                <a:gd name="connsiteX45" fmla="*/ 7089 w 10000"/>
                <a:gd name="connsiteY45" fmla="*/ 7653 h 10000"/>
                <a:gd name="connsiteX46" fmla="*/ 7074 w 10000"/>
                <a:gd name="connsiteY46" fmla="*/ 7570 h 10000"/>
                <a:gd name="connsiteX47" fmla="*/ 7152 w 10000"/>
                <a:gd name="connsiteY47" fmla="*/ 7295 h 10000"/>
                <a:gd name="connsiteX48" fmla="*/ 7130 w 10000"/>
                <a:gd name="connsiteY48" fmla="*/ 7209 h 10000"/>
                <a:gd name="connsiteX49" fmla="*/ 6729 w 10000"/>
                <a:gd name="connsiteY49" fmla="*/ 6997 h 10000"/>
                <a:gd name="connsiteX50" fmla="*/ 6785 w 10000"/>
                <a:gd name="connsiteY50" fmla="*/ 6989 h 10000"/>
                <a:gd name="connsiteX51" fmla="*/ 6998 w 10000"/>
                <a:gd name="connsiteY51" fmla="*/ 7043 h 10000"/>
                <a:gd name="connsiteX52" fmla="*/ 7230 w 10000"/>
                <a:gd name="connsiteY52" fmla="*/ 7023 h 10000"/>
                <a:gd name="connsiteX53" fmla="*/ 7295 w 10000"/>
                <a:gd name="connsiteY53" fmla="*/ 6949 h 10000"/>
                <a:gd name="connsiteX54" fmla="*/ 7074 w 10000"/>
                <a:gd name="connsiteY54" fmla="*/ 6806 h 10000"/>
                <a:gd name="connsiteX55" fmla="*/ 6414 w 10000"/>
                <a:gd name="connsiteY55" fmla="*/ 6711 h 10000"/>
                <a:gd name="connsiteX56" fmla="*/ 6458 w 10000"/>
                <a:gd name="connsiteY56" fmla="*/ 6668 h 10000"/>
                <a:gd name="connsiteX57" fmla="*/ 6998 w 10000"/>
                <a:gd name="connsiteY57" fmla="*/ 6638 h 10000"/>
                <a:gd name="connsiteX58" fmla="*/ 7295 w 10000"/>
                <a:gd name="connsiteY58" fmla="*/ 6724 h 10000"/>
                <a:gd name="connsiteX59" fmla="*/ 7466 w 10000"/>
                <a:gd name="connsiteY59" fmla="*/ 6668 h 10000"/>
                <a:gd name="connsiteX60" fmla="*/ 7529 w 10000"/>
                <a:gd name="connsiteY60" fmla="*/ 6520 h 10000"/>
                <a:gd name="connsiteX61" fmla="*/ 7840 w 10000"/>
                <a:gd name="connsiteY61" fmla="*/ 6520 h 10000"/>
                <a:gd name="connsiteX62" fmla="*/ 8261 w 10000"/>
                <a:gd name="connsiteY62" fmla="*/ 6219 h 10000"/>
                <a:gd name="connsiteX63" fmla="*/ 8275 w 10000"/>
                <a:gd name="connsiteY63" fmla="*/ 6019 h 10000"/>
                <a:gd name="connsiteX64" fmla="*/ 8453 w 10000"/>
                <a:gd name="connsiteY64" fmla="*/ 6064 h 10000"/>
                <a:gd name="connsiteX65" fmla="*/ 8446 w 10000"/>
                <a:gd name="connsiteY65" fmla="*/ 6266 h 10000"/>
                <a:gd name="connsiteX66" fmla="*/ 8727 w 10000"/>
                <a:gd name="connsiteY66" fmla="*/ 6251 h 10000"/>
                <a:gd name="connsiteX67" fmla="*/ 8913 w 10000"/>
                <a:gd name="connsiteY67" fmla="*/ 6043 h 10000"/>
                <a:gd name="connsiteX68" fmla="*/ 9258 w 10000"/>
                <a:gd name="connsiteY68" fmla="*/ 5856 h 10000"/>
                <a:gd name="connsiteX69" fmla="*/ 9203 w 10000"/>
                <a:gd name="connsiteY69" fmla="*/ 5644 h 10000"/>
                <a:gd name="connsiteX70" fmla="*/ 9306 w 10000"/>
                <a:gd name="connsiteY70" fmla="*/ 5730 h 10000"/>
                <a:gd name="connsiteX71" fmla="*/ 9464 w 10000"/>
                <a:gd name="connsiteY71" fmla="*/ 5730 h 10000"/>
                <a:gd name="connsiteX72" fmla="*/ 9464 w 10000"/>
                <a:gd name="connsiteY72" fmla="*/ 5630 h 10000"/>
                <a:gd name="connsiteX73" fmla="*/ 9611 w 10000"/>
                <a:gd name="connsiteY73" fmla="*/ 5558 h 10000"/>
                <a:gd name="connsiteX74" fmla="*/ 9592 w 10000"/>
                <a:gd name="connsiteY74" fmla="*/ 5481 h 10000"/>
                <a:gd name="connsiteX75" fmla="*/ 8350 w 10000"/>
                <a:gd name="connsiteY75" fmla="*/ 5632 h 10000"/>
                <a:gd name="connsiteX76" fmla="*/ 8058 w 10000"/>
                <a:gd name="connsiteY76" fmla="*/ 5590 h 10000"/>
                <a:gd name="connsiteX77" fmla="*/ 7942 w 10000"/>
                <a:gd name="connsiteY77" fmla="*/ 5644 h 10000"/>
                <a:gd name="connsiteX78" fmla="*/ 7903 w 10000"/>
                <a:gd name="connsiteY78" fmla="*/ 5537 h 10000"/>
                <a:gd name="connsiteX79" fmla="*/ 7765 w 10000"/>
                <a:gd name="connsiteY79" fmla="*/ 5443 h 10000"/>
                <a:gd name="connsiteX80" fmla="*/ 7213 w 10000"/>
                <a:gd name="connsiteY80" fmla="*/ 5249 h 10000"/>
                <a:gd name="connsiteX81" fmla="*/ 6887 w 10000"/>
                <a:gd name="connsiteY81" fmla="*/ 5282 h 10000"/>
                <a:gd name="connsiteX82" fmla="*/ 6757 w 10000"/>
                <a:gd name="connsiteY82" fmla="*/ 5227 h 10000"/>
                <a:gd name="connsiteX83" fmla="*/ 6894 w 10000"/>
                <a:gd name="connsiteY83" fmla="*/ 5180 h 10000"/>
                <a:gd name="connsiteX84" fmla="*/ 6998 w 10000"/>
                <a:gd name="connsiteY84" fmla="*/ 5078 h 10000"/>
                <a:gd name="connsiteX85" fmla="*/ 7152 w 10000"/>
                <a:gd name="connsiteY85" fmla="*/ 5110 h 10000"/>
                <a:gd name="connsiteX86" fmla="*/ 7335 w 10000"/>
                <a:gd name="connsiteY86" fmla="*/ 5085 h 10000"/>
                <a:gd name="connsiteX87" fmla="*/ 7611 w 10000"/>
                <a:gd name="connsiteY87" fmla="*/ 5118 h 10000"/>
                <a:gd name="connsiteX88" fmla="*/ 7645 w 10000"/>
                <a:gd name="connsiteY88" fmla="*/ 5104 h 10000"/>
                <a:gd name="connsiteX89" fmla="*/ 7859 w 10000"/>
                <a:gd name="connsiteY89" fmla="*/ 5259 h 10000"/>
                <a:gd name="connsiteX90" fmla="*/ 8017 w 10000"/>
                <a:gd name="connsiteY90" fmla="*/ 5201 h 10000"/>
                <a:gd name="connsiteX91" fmla="*/ 8032 w 10000"/>
                <a:gd name="connsiteY91" fmla="*/ 5148 h 10000"/>
                <a:gd name="connsiteX92" fmla="*/ 8176 w 10000"/>
                <a:gd name="connsiteY92" fmla="*/ 5241 h 10000"/>
                <a:gd name="connsiteX93" fmla="*/ 8369 w 10000"/>
                <a:gd name="connsiteY93" fmla="*/ 5291 h 10000"/>
                <a:gd name="connsiteX94" fmla="*/ 8446 w 10000"/>
                <a:gd name="connsiteY94" fmla="*/ 5199 h 10000"/>
                <a:gd name="connsiteX95" fmla="*/ 8507 w 10000"/>
                <a:gd name="connsiteY95" fmla="*/ 5249 h 10000"/>
                <a:gd name="connsiteX96" fmla="*/ 8596 w 10000"/>
                <a:gd name="connsiteY96" fmla="*/ 5430 h 10000"/>
                <a:gd name="connsiteX97" fmla="*/ 8782 w 10000"/>
                <a:gd name="connsiteY97" fmla="*/ 5470 h 10000"/>
                <a:gd name="connsiteX98" fmla="*/ 9542 w 10000"/>
                <a:gd name="connsiteY98" fmla="*/ 5208 h 10000"/>
                <a:gd name="connsiteX99" fmla="*/ 9914 w 10000"/>
                <a:gd name="connsiteY99" fmla="*/ 4838 h 10000"/>
                <a:gd name="connsiteX100" fmla="*/ 10000 w 10000"/>
                <a:gd name="connsiteY100" fmla="*/ 4574 h 10000"/>
                <a:gd name="connsiteX101" fmla="*/ 9866 w 10000"/>
                <a:gd name="connsiteY101" fmla="*/ 4330 h 10000"/>
                <a:gd name="connsiteX102" fmla="*/ 9582 w 10000"/>
                <a:gd name="connsiteY102" fmla="*/ 4188 h 10000"/>
                <a:gd name="connsiteX103" fmla="*/ 9382 w 10000"/>
                <a:gd name="connsiteY103" fmla="*/ 3948 h 10000"/>
                <a:gd name="connsiteX104" fmla="*/ 9569 w 10000"/>
                <a:gd name="connsiteY104" fmla="*/ 3941 h 10000"/>
                <a:gd name="connsiteX105" fmla="*/ 9555 w 10000"/>
                <a:gd name="connsiteY105" fmla="*/ 3886 h 10000"/>
                <a:gd name="connsiteX106" fmla="*/ 9068 w 10000"/>
                <a:gd name="connsiteY106" fmla="*/ 3720 h 10000"/>
                <a:gd name="connsiteX107" fmla="*/ 9047 w 10000"/>
                <a:gd name="connsiteY107" fmla="*/ 3566 h 10000"/>
                <a:gd name="connsiteX108" fmla="*/ 8953 w 10000"/>
                <a:gd name="connsiteY108" fmla="*/ 3406 h 10000"/>
                <a:gd name="connsiteX109" fmla="*/ 8569 w 10000"/>
                <a:gd name="connsiteY109" fmla="*/ 3436 h 10000"/>
                <a:gd name="connsiteX110" fmla="*/ 8431 w 10000"/>
                <a:gd name="connsiteY110" fmla="*/ 3265 h 10000"/>
                <a:gd name="connsiteX111" fmla="*/ 8350 w 10000"/>
                <a:gd name="connsiteY111" fmla="*/ 3254 h 10000"/>
                <a:gd name="connsiteX112" fmla="*/ 8350 w 10000"/>
                <a:gd name="connsiteY112" fmla="*/ 3331 h 10000"/>
                <a:gd name="connsiteX113" fmla="*/ 8176 w 10000"/>
                <a:gd name="connsiteY113" fmla="*/ 3613 h 10000"/>
                <a:gd name="connsiteX114" fmla="*/ 7990 w 10000"/>
                <a:gd name="connsiteY114" fmla="*/ 3783 h 10000"/>
                <a:gd name="connsiteX115" fmla="*/ 7401 w 10000"/>
                <a:gd name="connsiteY115" fmla="*/ 4066 h 10000"/>
                <a:gd name="connsiteX116" fmla="*/ 7198 w 10000"/>
                <a:gd name="connsiteY116" fmla="*/ 4058 h 10000"/>
                <a:gd name="connsiteX117" fmla="*/ 6915 w 10000"/>
                <a:gd name="connsiteY117" fmla="*/ 4101 h 10000"/>
                <a:gd name="connsiteX118" fmla="*/ 6757 w 10000"/>
                <a:gd name="connsiteY118" fmla="*/ 4058 h 10000"/>
                <a:gd name="connsiteX119" fmla="*/ 6965 w 10000"/>
                <a:gd name="connsiteY119" fmla="*/ 3976 h 10000"/>
                <a:gd name="connsiteX120" fmla="*/ 7235 w 10000"/>
                <a:gd name="connsiteY120" fmla="*/ 3941 h 10000"/>
                <a:gd name="connsiteX121" fmla="*/ 7455 w 10000"/>
                <a:gd name="connsiteY121" fmla="*/ 3809 h 10000"/>
                <a:gd name="connsiteX122" fmla="*/ 7674 w 10000"/>
                <a:gd name="connsiteY122" fmla="*/ 3746 h 10000"/>
                <a:gd name="connsiteX123" fmla="*/ 8082 w 10000"/>
                <a:gd name="connsiteY123" fmla="*/ 3512 h 10000"/>
                <a:gd name="connsiteX124" fmla="*/ 8157 w 10000"/>
                <a:gd name="connsiteY124" fmla="*/ 3359 h 10000"/>
                <a:gd name="connsiteX125" fmla="*/ 8165 w 10000"/>
                <a:gd name="connsiteY125" fmla="*/ 3163 h 10000"/>
                <a:gd name="connsiteX126" fmla="*/ 7978 w 10000"/>
                <a:gd name="connsiteY126" fmla="*/ 3129 h 10000"/>
                <a:gd name="connsiteX127" fmla="*/ 8058 w 10000"/>
                <a:gd name="connsiteY127" fmla="*/ 3009 h 10000"/>
                <a:gd name="connsiteX128" fmla="*/ 8087 w 10000"/>
                <a:gd name="connsiteY128" fmla="*/ 2856 h 10000"/>
                <a:gd name="connsiteX129" fmla="*/ 8007 w 10000"/>
                <a:gd name="connsiteY129" fmla="*/ 2714 h 10000"/>
                <a:gd name="connsiteX130" fmla="*/ 7450 w 10000"/>
                <a:gd name="connsiteY130" fmla="*/ 2910 h 10000"/>
                <a:gd name="connsiteX131" fmla="*/ 6694 w 10000"/>
                <a:gd name="connsiteY131" fmla="*/ 2823 h 10000"/>
                <a:gd name="connsiteX132" fmla="*/ 6304 w 10000"/>
                <a:gd name="connsiteY132" fmla="*/ 2276 h 10000"/>
                <a:gd name="connsiteX133" fmla="*/ 5294 w 10000"/>
                <a:gd name="connsiteY133" fmla="*/ 2173 h 10000"/>
                <a:gd name="connsiteX134" fmla="*/ 4505 w 10000"/>
                <a:gd name="connsiteY134" fmla="*/ 1721 h 10000"/>
                <a:gd name="connsiteX135" fmla="*/ 3730 w 10000"/>
                <a:gd name="connsiteY135" fmla="*/ 1176 h 10000"/>
                <a:gd name="connsiteX136" fmla="*/ 3154 w 10000"/>
                <a:gd name="connsiteY136" fmla="*/ 173 h 10000"/>
                <a:gd name="connsiteX137" fmla="*/ 2375 w 10000"/>
                <a:gd name="connsiteY137" fmla="*/ 0 h 10000"/>
                <a:gd name="connsiteX138" fmla="*/ 2226 w 10000"/>
                <a:gd name="connsiteY138" fmla="*/ 941 h 10000"/>
                <a:gd name="connsiteX139" fmla="*/ 2375 w 10000"/>
                <a:gd name="connsiteY139" fmla="*/ 1181 h 10000"/>
                <a:gd name="connsiteX140" fmla="*/ 2791 w 10000"/>
                <a:gd name="connsiteY140" fmla="*/ 1446 h 10000"/>
                <a:gd name="connsiteX141" fmla="*/ 2808 w 10000"/>
                <a:gd name="connsiteY141" fmla="*/ 1767 h 10000"/>
                <a:gd name="connsiteX142" fmla="*/ 2632 w 10000"/>
                <a:gd name="connsiteY142" fmla="*/ 2035 h 10000"/>
                <a:gd name="connsiteX143" fmla="*/ 2375 w 10000"/>
                <a:gd name="connsiteY143" fmla="*/ 2196 h 10000"/>
                <a:gd name="connsiteX144" fmla="*/ 2039 w 10000"/>
                <a:gd name="connsiteY144" fmla="*/ 2260 h 10000"/>
                <a:gd name="connsiteX145" fmla="*/ 1950 w 10000"/>
                <a:gd name="connsiteY145" fmla="*/ 2357 h 10000"/>
                <a:gd name="connsiteX146" fmla="*/ 2148 w 10000"/>
                <a:gd name="connsiteY146" fmla="*/ 2577 h 10000"/>
                <a:gd name="connsiteX147" fmla="*/ 2261 w 10000"/>
                <a:gd name="connsiteY147" fmla="*/ 3104 h 10000"/>
                <a:gd name="connsiteX148" fmla="*/ 2005 w 10000"/>
                <a:gd name="connsiteY148" fmla="*/ 3555 h 10000"/>
                <a:gd name="connsiteX149" fmla="*/ 2094 w 10000"/>
                <a:gd name="connsiteY149" fmla="*/ 3692 h 10000"/>
                <a:gd name="connsiteX150" fmla="*/ 2012 w 10000"/>
                <a:gd name="connsiteY150" fmla="*/ 3926 h 10000"/>
                <a:gd name="connsiteX151" fmla="*/ 1850 w 10000"/>
                <a:gd name="connsiteY151" fmla="*/ 4089 h 10000"/>
                <a:gd name="connsiteX152" fmla="*/ 1199 w 10000"/>
                <a:gd name="connsiteY152" fmla="*/ 4215 h 10000"/>
                <a:gd name="connsiteX153" fmla="*/ 1158 w 10000"/>
                <a:gd name="connsiteY153" fmla="*/ 4432 h 10000"/>
                <a:gd name="connsiteX154" fmla="*/ 808 w 10000"/>
                <a:gd name="connsiteY154" fmla="*/ 4754 h 10000"/>
                <a:gd name="connsiteX155" fmla="*/ 854 w 10000"/>
                <a:gd name="connsiteY155" fmla="*/ 5224 h 10000"/>
                <a:gd name="connsiteX156" fmla="*/ 560 w 10000"/>
                <a:gd name="connsiteY156" fmla="*/ 5822 h 10000"/>
                <a:gd name="connsiteX157" fmla="*/ 358 w 10000"/>
                <a:gd name="connsiteY157" fmla="*/ 5891 h 10000"/>
                <a:gd name="connsiteX158" fmla="*/ 275 w 10000"/>
                <a:gd name="connsiteY158" fmla="*/ 5749 h 10000"/>
                <a:gd name="connsiteX159" fmla="*/ 174 w 10000"/>
                <a:gd name="connsiteY159" fmla="*/ 5964 h 10000"/>
                <a:gd name="connsiteX160" fmla="*/ 239 w 10000"/>
                <a:gd name="connsiteY160" fmla="*/ 5592 h 10000"/>
                <a:gd name="connsiteX161" fmla="*/ 197 w 10000"/>
                <a:gd name="connsiteY161" fmla="*/ 5523 h 10000"/>
                <a:gd name="connsiteX0" fmla="*/ 197 w 10000"/>
                <a:gd name="connsiteY0" fmla="*/ 5523 h 10000"/>
                <a:gd name="connsiteX1" fmla="*/ 0 w 10000"/>
                <a:gd name="connsiteY1" fmla="*/ 5717 h 10000"/>
                <a:gd name="connsiteX2" fmla="*/ 0 w 10000"/>
                <a:gd name="connsiteY2" fmla="*/ 6668 h 10000"/>
                <a:gd name="connsiteX3" fmla="*/ 109 w 10000"/>
                <a:gd name="connsiteY3" fmla="*/ 6693 h 10000"/>
                <a:gd name="connsiteX4" fmla="*/ 134 w 10000"/>
                <a:gd name="connsiteY4" fmla="*/ 6769 h 10000"/>
                <a:gd name="connsiteX5" fmla="*/ 130 w 10000"/>
                <a:gd name="connsiteY5" fmla="*/ 6897 h 10000"/>
                <a:gd name="connsiteX6" fmla="*/ 89 w 10000"/>
                <a:gd name="connsiteY6" fmla="*/ 6953 h 10000"/>
                <a:gd name="connsiteX7" fmla="*/ 255 w 10000"/>
                <a:gd name="connsiteY7" fmla="*/ 6842 h 10000"/>
                <a:gd name="connsiteX8" fmla="*/ 325 w 10000"/>
                <a:gd name="connsiteY8" fmla="*/ 6737 h 10000"/>
                <a:gd name="connsiteX9" fmla="*/ 413 w 10000"/>
                <a:gd name="connsiteY9" fmla="*/ 6809 h 10000"/>
                <a:gd name="connsiteX10" fmla="*/ 316 w 10000"/>
                <a:gd name="connsiteY10" fmla="*/ 6965 h 10000"/>
                <a:gd name="connsiteX11" fmla="*/ 419 w 10000"/>
                <a:gd name="connsiteY11" fmla="*/ 6969 h 10000"/>
                <a:gd name="connsiteX12" fmla="*/ 469 w 10000"/>
                <a:gd name="connsiteY12" fmla="*/ 7008 h 10000"/>
                <a:gd name="connsiteX13" fmla="*/ 337 w 10000"/>
                <a:gd name="connsiteY13" fmla="*/ 7059 h 10000"/>
                <a:gd name="connsiteX14" fmla="*/ 130 w 10000"/>
                <a:gd name="connsiteY14" fmla="*/ 7220 h 10000"/>
                <a:gd name="connsiteX15" fmla="*/ 497 w 10000"/>
                <a:gd name="connsiteY15" fmla="*/ 7345 h 10000"/>
                <a:gd name="connsiteX16" fmla="*/ 545 w 10000"/>
                <a:gd name="connsiteY16" fmla="*/ 7522 h 10000"/>
                <a:gd name="connsiteX17" fmla="*/ 419 w 10000"/>
                <a:gd name="connsiteY17" fmla="*/ 7785 h 10000"/>
                <a:gd name="connsiteX18" fmla="*/ 688 w 10000"/>
                <a:gd name="connsiteY18" fmla="*/ 7770 h 10000"/>
                <a:gd name="connsiteX19" fmla="*/ 709 w 10000"/>
                <a:gd name="connsiteY19" fmla="*/ 7965 h 10000"/>
                <a:gd name="connsiteX20" fmla="*/ 530 w 10000"/>
                <a:gd name="connsiteY20" fmla="*/ 8105 h 10000"/>
                <a:gd name="connsiteX21" fmla="*/ 560 w 10000"/>
                <a:gd name="connsiteY21" fmla="*/ 8362 h 10000"/>
                <a:gd name="connsiteX22" fmla="*/ 489 w 10000"/>
                <a:gd name="connsiteY22" fmla="*/ 8568 h 10000"/>
                <a:gd name="connsiteX23" fmla="*/ 703 w 10000"/>
                <a:gd name="connsiteY23" fmla="*/ 8587 h 10000"/>
                <a:gd name="connsiteX24" fmla="*/ 992 w 10000"/>
                <a:gd name="connsiteY24" fmla="*/ 9678 h 10000"/>
                <a:gd name="connsiteX25" fmla="*/ 1653 w 10000"/>
                <a:gd name="connsiteY25" fmla="*/ 9323 h 10000"/>
                <a:gd name="connsiteX26" fmla="*/ 1883 w 10000"/>
                <a:gd name="connsiteY26" fmla="*/ 9703 h 10000"/>
                <a:gd name="connsiteX27" fmla="*/ 2400 w 10000"/>
                <a:gd name="connsiteY27" fmla="*/ 9070 h 10000"/>
                <a:gd name="connsiteX28" fmla="*/ 3729 w 10000"/>
                <a:gd name="connsiteY28" fmla="*/ 9624 h 10000"/>
                <a:gd name="connsiteX29" fmla="*/ 3743 w 10000"/>
                <a:gd name="connsiteY29" fmla="*/ 9229 h 10000"/>
                <a:gd name="connsiteX30" fmla="*/ 5168 w 10000"/>
                <a:gd name="connsiteY30" fmla="*/ 9121 h 10000"/>
                <a:gd name="connsiteX31" fmla="*/ 6419 w 10000"/>
                <a:gd name="connsiteY31" fmla="*/ 10000 h 10000"/>
                <a:gd name="connsiteX32" fmla="*/ 6586 w 10000"/>
                <a:gd name="connsiteY32" fmla="*/ 9169 h 10000"/>
                <a:gd name="connsiteX33" fmla="*/ 6855 w 10000"/>
                <a:gd name="connsiteY33" fmla="*/ 8801 h 10000"/>
                <a:gd name="connsiteX34" fmla="*/ 6855 w 10000"/>
                <a:gd name="connsiteY34" fmla="*/ 8603 h 10000"/>
                <a:gd name="connsiteX35" fmla="*/ 6757 w 10000"/>
                <a:gd name="connsiteY35" fmla="*/ 8497 h 10000"/>
                <a:gd name="connsiteX36" fmla="*/ 6915 w 10000"/>
                <a:gd name="connsiteY36" fmla="*/ 8318 h 10000"/>
                <a:gd name="connsiteX37" fmla="*/ 6887 w 10000"/>
                <a:gd name="connsiteY37" fmla="*/ 8175 h 10000"/>
                <a:gd name="connsiteX38" fmla="*/ 6779 w 10000"/>
                <a:gd name="connsiteY38" fmla="*/ 8053 h 10000"/>
                <a:gd name="connsiteX39" fmla="*/ 6757 w 10000"/>
                <a:gd name="connsiteY39" fmla="*/ 7956 h 10000"/>
                <a:gd name="connsiteX40" fmla="*/ 6785 w 10000"/>
                <a:gd name="connsiteY40" fmla="*/ 7886 h 10000"/>
                <a:gd name="connsiteX41" fmla="*/ 6931 w 10000"/>
                <a:gd name="connsiteY41" fmla="*/ 7942 h 10000"/>
                <a:gd name="connsiteX42" fmla="*/ 7045 w 10000"/>
                <a:gd name="connsiteY42" fmla="*/ 7939 h 10000"/>
                <a:gd name="connsiteX43" fmla="*/ 6983 w 10000"/>
                <a:gd name="connsiteY43" fmla="*/ 7822 h 10000"/>
                <a:gd name="connsiteX44" fmla="*/ 7003 w 10000"/>
                <a:gd name="connsiteY44" fmla="*/ 7752 h 10000"/>
                <a:gd name="connsiteX45" fmla="*/ 7089 w 10000"/>
                <a:gd name="connsiteY45" fmla="*/ 7653 h 10000"/>
                <a:gd name="connsiteX46" fmla="*/ 7074 w 10000"/>
                <a:gd name="connsiteY46" fmla="*/ 7570 h 10000"/>
                <a:gd name="connsiteX47" fmla="*/ 7152 w 10000"/>
                <a:gd name="connsiteY47" fmla="*/ 7295 h 10000"/>
                <a:gd name="connsiteX48" fmla="*/ 7130 w 10000"/>
                <a:gd name="connsiteY48" fmla="*/ 7209 h 10000"/>
                <a:gd name="connsiteX49" fmla="*/ 6729 w 10000"/>
                <a:gd name="connsiteY49" fmla="*/ 6997 h 10000"/>
                <a:gd name="connsiteX50" fmla="*/ 6785 w 10000"/>
                <a:gd name="connsiteY50" fmla="*/ 6989 h 10000"/>
                <a:gd name="connsiteX51" fmla="*/ 6998 w 10000"/>
                <a:gd name="connsiteY51" fmla="*/ 7043 h 10000"/>
                <a:gd name="connsiteX52" fmla="*/ 7230 w 10000"/>
                <a:gd name="connsiteY52" fmla="*/ 7023 h 10000"/>
                <a:gd name="connsiteX53" fmla="*/ 7295 w 10000"/>
                <a:gd name="connsiteY53" fmla="*/ 6949 h 10000"/>
                <a:gd name="connsiteX54" fmla="*/ 7074 w 10000"/>
                <a:gd name="connsiteY54" fmla="*/ 6806 h 10000"/>
                <a:gd name="connsiteX55" fmla="*/ 6414 w 10000"/>
                <a:gd name="connsiteY55" fmla="*/ 6711 h 10000"/>
                <a:gd name="connsiteX56" fmla="*/ 6458 w 10000"/>
                <a:gd name="connsiteY56" fmla="*/ 6668 h 10000"/>
                <a:gd name="connsiteX57" fmla="*/ 6998 w 10000"/>
                <a:gd name="connsiteY57" fmla="*/ 6638 h 10000"/>
                <a:gd name="connsiteX58" fmla="*/ 7295 w 10000"/>
                <a:gd name="connsiteY58" fmla="*/ 6724 h 10000"/>
                <a:gd name="connsiteX59" fmla="*/ 7466 w 10000"/>
                <a:gd name="connsiteY59" fmla="*/ 6668 h 10000"/>
                <a:gd name="connsiteX60" fmla="*/ 7529 w 10000"/>
                <a:gd name="connsiteY60" fmla="*/ 6520 h 10000"/>
                <a:gd name="connsiteX61" fmla="*/ 7840 w 10000"/>
                <a:gd name="connsiteY61" fmla="*/ 6520 h 10000"/>
                <a:gd name="connsiteX62" fmla="*/ 8261 w 10000"/>
                <a:gd name="connsiteY62" fmla="*/ 6219 h 10000"/>
                <a:gd name="connsiteX63" fmla="*/ 8275 w 10000"/>
                <a:gd name="connsiteY63" fmla="*/ 6019 h 10000"/>
                <a:gd name="connsiteX64" fmla="*/ 8453 w 10000"/>
                <a:gd name="connsiteY64" fmla="*/ 6064 h 10000"/>
                <a:gd name="connsiteX65" fmla="*/ 8446 w 10000"/>
                <a:gd name="connsiteY65" fmla="*/ 6266 h 10000"/>
                <a:gd name="connsiteX66" fmla="*/ 8727 w 10000"/>
                <a:gd name="connsiteY66" fmla="*/ 6251 h 10000"/>
                <a:gd name="connsiteX67" fmla="*/ 8913 w 10000"/>
                <a:gd name="connsiteY67" fmla="*/ 6043 h 10000"/>
                <a:gd name="connsiteX68" fmla="*/ 9258 w 10000"/>
                <a:gd name="connsiteY68" fmla="*/ 5856 h 10000"/>
                <a:gd name="connsiteX69" fmla="*/ 9203 w 10000"/>
                <a:gd name="connsiteY69" fmla="*/ 5644 h 10000"/>
                <a:gd name="connsiteX70" fmla="*/ 9306 w 10000"/>
                <a:gd name="connsiteY70" fmla="*/ 5730 h 10000"/>
                <a:gd name="connsiteX71" fmla="*/ 9464 w 10000"/>
                <a:gd name="connsiteY71" fmla="*/ 5730 h 10000"/>
                <a:gd name="connsiteX72" fmla="*/ 9464 w 10000"/>
                <a:gd name="connsiteY72" fmla="*/ 5630 h 10000"/>
                <a:gd name="connsiteX73" fmla="*/ 9611 w 10000"/>
                <a:gd name="connsiteY73" fmla="*/ 5558 h 10000"/>
                <a:gd name="connsiteX74" fmla="*/ 9592 w 10000"/>
                <a:gd name="connsiteY74" fmla="*/ 5481 h 10000"/>
                <a:gd name="connsiteX75" fmla="*/ 8350 w 10000"/>
                <a:gd name="connsiteY75" fmla="*/ 5632 h 10000"/>
                <a:gd name="connsiteX76" fmla="*/ 8058 w 10000"/>
                <a:gd name="connsiteY76" fmla="*/ 5590 h 10000"/>
                <a:gd name="connsiteX77" fmla="*/ 7942 w 10000"/>
                <a:gd name="connsiteY77" fmla="*/ 5644 h 10000"/>
                <a:gd name="connsiteX78" fmla="*/ 7903 w 10000"/>
                <a:gd name="connsiteY78" fmla="*/ 5537 h 10000"/>
                <a:gd name="connsiteX79" fmla="*/ 7765 w 10000"/>
                <a:gd name="connsiteY79" fmla="*/ 5443 h 10000"/>
                <a:gd name="connsiteX80" fmla="*/ 7213 w 10000"/>
                <a:gd name="connsiteY80" fmla="*/ 5249 h 10000"/>
                <a:gd name="connsiteX81" fmla="*/ 6887 w 10000"/>
                <a:gd name="connsiteY81" fmla="*/ 5282 h 10000"/>
                <a:gd name="connsiteX82" fmla="*/ 6757 w 10000"/>
                <a:gd name="connsiteY82" fmla="*/ 5227 h 10000"/>
                <a:gd name="connsiteX83" fmla="*/ 6894 w 10000"/>
                <a:gd name="connsiteY83" fmla="*/ 5180 h 10000"/>
                <a:gd name="connsiteX84" fmla="*/ 6998 w 10000"/>
                <a:gd name="connsiteY84" fmla="*/ 5078 h 10000"/>
                <a:gd name="connsiteX85" fmla="*/ 7152 w 10000"/>
                <a:gd name="connsiteY85" fmla="*/ 5110 h 10000"/>
                <a:gd name="connsiteX86" fmla="*/ 7335 w 10000"/>
                <a:gd name="connsiteY86" fmla="*/ 5085 h 10000"/>
                <a:gd name="connsiteX87" fmla="*/ 7611 w 10000"/>
                <a:gd name="connsiteY87" fmla="*/ 5118 h 10000"/>
                <a:gd name="connsiteX88" fmla="*/ 7645 w 10000"/>
                <a:gd name="connsiteY88" fmla="*/ 5104 h 10000"/>
                <a:gd name="connsiteX89" fmla="*/ 7859 w 10000"/>
                <a:gd name="connsiteY89" fmla="*/ 5259 h 10000"/>
                <a:gd name="connsiteX90" fmla="*/ 8017 w 10000"/>
                <a:gd name="connsiteY90" fmla="*/ 5201 h 10000"/>
                <a:gd name="connsiteX91" fmla="*/ 8032 w 10000"/>
                <a:gd name="connsiteY91" fmla="*/ 5148 h 10000"/>
                <a:gd name="connsiteX92" fmla="*/ 8176 w 10000"/>
                <a:gd name="connsiteY92" fmla="*/ 5241 h 10000"/>
                <a:gd name="connsiteX93" fmla="*/ 8369 w 10000"/>
                <a:gd name="connsiteY93" fmla="*/ 5291 h 10000"/>
                <a:gd name="connsiteX94" fmla="*/ 8446 w 10000"/>
                <a:gd name="connsiteY94" fmla="*/ 5199 h 10000"/>
                <a:gd name="connsiteX95" fmla="*/ 8507 w 10000"/>
                <a:gd name="connsiteY95" fmla="*/ 5249 h 10000"/>
                <a:gd name="connsiteX96" fmla="*/ 8596 w 10000"/>
                <a:gd name="connsiteY96" fmla="*/ 5430 h 10000"/>
                <a:gd name="connsiteX97" fmla="*/ 8782 w 10000"/>
                <a:gd name="connsiteY97" fmla="*/ 5470 h 10000"/>
                <a:gd name="connsiteX98" fmla="*/ 9542 w 10000"/>
                <a:gd name="connsiteY98" fmla="*/ 5208 h 10000"/>
                <a:gd name="connsiteX99" fmla="*/ 9914 w 10000"/>
                <a:gd name="connsiteY99" fmla="*/ 4838 h 10000"/>
                <a:gd name="connsiteX100" fmla="*/ 10000 w 10000"/>
                <a:gd name="connsiteY100" fmla="*/ 4574 h 10000"/>
                <a:gd name="connsiteX101" fmla="*/ 9866 w 10000"/>
                <a:gd name="connsiteY101" fmla="*/ 4330 h 10000"/>
                <a:gd name="connsiteX102" fmla="*/ 9582 w 10000"/>
                <a:gd name="connsiteY102" fmla="*/ 4188 h 10000"/>
                <a:gd name="connsiteX103" fmla="*/ 9382 w 10000"/>
                <a:gd name="connsiteY103" fmla="*/ 3948 h 10000"/>
                <a:gd name="connsiteX104" fmla="*/ 9569 w 10000"/>
                <a:gd name="connsiteY104" fmla="*/ 3941 h 10000"/>
                <a:gd name="connsiteX105" fmla="*/ 9555 w 10000"/>
                <a:gd name="connsiteY105" fmla="*/ 3886 h 10000"/>
                <a:gd name="connsiteX106" fmla="*/ 9068 w 10000"/>
                <a:gd name="connsiteY106" fmla="*/ 3720 h 10000"/>
                <a:gd name="connsiteX107" fmla="*/ 9047 w 10000"/>
                <a:gd name="connsiteY107" fmla="*/ 3566 h 10000"/>
                <a:gd name="connsiteX108" fmla="*/ 8953 w 10000"/>
                <a:gd name="connsiteY108" fmla="*/ 3406 h 10000"/>
                <a:gd name="connsiteX109" fmla="*/ 8569 w 10000"/>
                <a:gd name="connsiteY109" fmla="*/ 3436 h 10000"/>
                <a:gd name="connsiteX110" fmla="*/ 8431 w 10000"/>
                <a:gd name="connsiteY110" fmla="*/ 3265 h 10000"/>
                <a:gd name="connsiteX111" fmla="*/ 8350 w 10000"/>
                <a:gd name="connsiteY111" fmla="*/ 3254 h 10000"/>
                <a:gd name="connsiteX112" fmla="*/ 8350 w 10000"/>
                <a:gd name="connsiteY112" fmla="*/ 3331 h 10000"/>
                <a:gd name="connsiteX113" fmla="*/ 8176 w 10000"/>
                <a:gd name="connsiteY113" fmla="*/ 3613 h 10000"/>
                <a:gd name="connsiteX114" fmla="*/ 7990 w 10000"/>
                <a:gd name="connsiteY114" fmla="*/ 3783 h 10000"/>
                <a:gd name="connsiteX115" fmla="*/ 7401 w 10000"/>
                <a:gd name="connsiteY115" fmla="*/ 4066 h 10000"/>
                <a:gd name="connsiteX116" fmla="*/ 7198 w 10000"/>
                <a:gd name="connsiteY116" fmla="*/ 4058 h 10000"/>
                <a:gd name="connsiteX117" fmla="*/ 6915 w 10000"/>
                <a:gd name="connsiteY117" fmla="*/ 4101 h 10000"/>
                <a:gd name="connsiteX118" fmla="*/ 6757 w 10000"/>
                <a:gd name="connsiteY118" fmla="*/ 4058 h 10000"/>
                <a:gd name="connsiteX119" fmla="*/ 6965 w 10000"/>
                <a:gd name="connsiteY119" fmla="*/ 3976 h 10000"/>
                <a:gd name="connsiteX120" fmla="*/ 7235 w 10000"/>
                <a:gd name="connsiteY120" fmla="*/ 3941 h 10000"/>
                <a:gd name="connsiteX121" fmla="*/ 7455 w 10000"/>
                <a:gd name="connsiteY121" fmla="*/ 3809 h 10000"/>
                <a:gd name="connsiteX122" fmla="*/ 7674 w 10000"/>
                <a:gd name="connsiteY122" fmla="*/ 3746 h 10000"/>
                <a:gd name="connsiteX123" fmla="*/ 8082 w 10000"/>
                <a:gd name="connsiteY123" fmla="*/ 3512 h 10000"/>
                <a:gd name="connsiteX124" fmla="*/ 8157 w 10000"/>
                <a:gd name="connsiteY124" fmla="*/ 3359 h 10000"/>
                <a:gd name="connsiteX125" fmla="*/ 8165 w 10000"/>
                <a:gd name="connsiteY125" fmla="*/ 3163 h 10000"/>
                <a:gd name="connsiteX126" fmla="*/ 7978 w 10000"/>
                <a:gd name="connsiteY126" fmla="*/ 3129 h 10000"/>
                <a:gd name="connsiteX127" fmla="*/ 8058 w 10000"/>
                <a:gd name="connsiteY127" fmla="*/ 3009 h 10000"/>
                <a:gd name="connsiteX128" fmla="*/ 8087 w 10000"/>
                <a:gd name="connsiteY128" fmla="*/ 2856 h 10000"/>
                <a:gd name="connsiteX129" fmla="*/ 8007 w 10000"/>
                <a:gd name="connsiteY129" fmla="*/ 2714 h 10000"/>
                <a:gd name="connsiteX130" fmla="*/ 7450 w 10000"/>
                <a:gd name="connsiteY130" fmla="*/ 2910 h 10000"/>
                <a:gd name="connsiteX131" fmla="*/ 6694 w 10000"/>
                <a:gd name="connsiteY131" fmla="*/ 2823 h 10000"/>
                <a:gd name="connsiteX132" fmla="*/ 6304 w 10000"/>
                <a:gd name="connsiteY132" fmla="*/ 2276 h 10000"/>
                <a:gd name="connsiteX133" fmla="*/ 5294 w 10000"/>
                <a:gd name="connsiteY133" fmla="*/ 2173 h 10000"/>
                <a:gd name="connsiteX134" fmla="*/ 4505 w 10000"/>
                <a:gd name="connsiteY134" fmla="*/ 1721 h 10000"/>
                <a:gd name="connsiteX135" fmla="*/ 3730 w 10000"/>
                <a:gd name="connsiteY135" fmla="*/ 1176 h 10000"/>
                <a:gd name="connsiteX136" fmla="*/ 3154 w 10000"/>
                <a:gd name="connsiteY136" fmla="*/ 173 h 10000"/>
                <a:gd name="connsiteX137" fmla="*/ 2375 w 10000"/>
                <a:gd name="connsiteY137" fmla="*/ 0 h 10000"/>
                <a:gd name="connsiteX138" fmla="*/ 2226 w 10000"/>
                <a:gd name="connsiteY138" fmla="*/ 941 h 10000"/>
                <a:gd name="connsiteX139" fmla="*/ 2375 w 10000"/>
                <a:gd name="connsiteY139" fmla="*/ 1181 h 10000"/>
                <a:gd name="connsiteX140" fmla="*/ 2791 w 10000"/>
                <a:gd name="connsiteY140" fmla="*/ 1446 h 10000"/>
                <a:gd name="connsiteX141" fmla="*/ 2808 w 10000"/>
                <a:gd name="connsiteY141" fmla="*/ 1767 h 10000"/>
                <a:gd name="connsiteX142" fmla="*/ 2632 w 10000"/>
                <a:gd name="connsiteY142" fmla="*/ 2035 h 10000"/>
                <a:gd name="connsiteX143" fmla="*/ 2375 w 10000"/>
                <a:gd name="connsiteY143" fmla="*/ 2196 h 10000"/>
                <a:gd name="connsiteX144" fmla="*/ 2039 w 10000"/>
                <a:gd name="connsiteY144" fmla="*/ 2260 h 10000"/>
                <a:gd name="connsiteX145" fmla="*/ 1950 w 10000"/>
                <a:gd name="connsiteY145" fmla="*/ 2357 h 10000"/>
                <a:gd name="connsiteX146" fmla="*/ 2148 w 10000"/>
                <a:gd name="connsiteY146" fmla="*/ 2577 h 10000"/>
                <a:gd name="connsiteX147" fmla="*/ 2261 w 10000"/>
                <a:gd name="connsiteY147" fmla="*/ 3104 h 10000"/>
                <a:gd name="connsiteX148" fmla="*/ 2005 w 10000"/>
                <a:gd name="connsiteY148" fmla="*/ 3555 h 10000"/>
                <a:gd name="connsiteX149" fmla="*/ 2094 w 10000"/>
                <a:gd name="connsiteY149" fmla="*/ 3692 h 10000"/>
                <a:gd name="connsiteX150" fmla="*/ 2012 w 10000"/>
                <a:gd name="connsiteY150" fmla="*/ 3926 h 10000"/>
                <a:gd name="connsiteX151" fmla="*/ 1850 w 10000"/>
                <a:gd name="connsiteY151" fmla="*/ 4089 h 10000"/>
                <a:gd name="connsiteX152" fmla="*/ 1199 w 10000"/>
                <a:gd name="connsiteY152" fmla="*/ 4215 h 10000"/>
                <a:gd name="connsiteX153" fmla="*/ 1158 w 10000"/>
                <a:gd name="connsiteY153" fmla="*/ 4432 h 10000"/>
                <a:gd name="connsiteX154" fmla="*/ 808 w 10000"/>
                <a:gd name="connsiteY154" fmla="*/ 4754 h 10000"/>
                <a:gd name="connsiteX155" fmla="*/ 854 w 10000"/>
                <a:gd name="connsiteY155" fmla="*/ 5224 h 10000"/>
                <a:gd name="connsiteX156" fmla="*/ 560 w 10000"/>
                <a:gd name="connsiteY156" fmla="*/ 5822 h 10000"/>
                <a:gd name="connsiteX157" fmla="*/ 358 w 10000"/>
                <a:gd name="connsiteY157" fmla="*/ 5891 h 10000"/>
                <a:gd name="connsiteX158" fmla="*/ 275 w 10000"/>
                <a:gd name="connsiteY158" fmla="*/ 5749 h 10000"/>
                <a:gd name="connsiteX159" fmla="*/ 174 w 10000"/>
                <a:gd name="connsiteY159" fmla="*/ 5964 h 10000"/>
                <a:gd name="connsiteX160" fmla="*/ 239 w 10000"/>
                <a:gd name="connsiteY160" fmla="*/ 5592 h 10000"/>
                <a:gd name="connsiteX161" fmla="*/ 197 w 10000"/>
                <a:gd name="connsiteY161" fmla="*/ 5523 h 10000"/>
                <a:gd name="connsiteX0" fmla="*/ 197 w 10000"/>
                <a:gd name="connsiteY0" fmla="*/ 5523 h 10000"/>
                <a:gd name="connsiteX1" fmla="*/ 0 w 10000"/>
                <a:gd name="connsiteY1" fmla="*/ 5717 h 10000"/>
                <a:gd name="connsiteX2" fmla="*/ 0 w 10000"/>
                <a:gd name="connsiteY2" fmla="*/ 6668 h 10000"/>
                <a:gd name="connsiteX3" fmla="*/ 109 w 10000"/>
                <a:gd name="connsiteY3" fmla="*/ 6693 h 10000"/>
                <a:gd name="connsiteX4" fmla="*/ 134 w 10000"/>
                <a:gd name="connsiteY4" fmla="*/ 6769 h 10000"/>
                <a:gd name="connsiteX5" fmla="*/ 130 w 10000"/>
                <a:gd name="connsiteY5" fmla="*/ 6897 h 10000"/>
                <a:gd name="connsiteX6" fmla="*/ 89 w 10000"/>
                <a:gd name="connsiteY6" fmla="*/ 6953 h 10000"/>
                <a:gd name="connsiteX7" fmla="*/ 255 w 10000"/>
                <a:gd name="connsiteY7" fmla="*/ 6842 h 10000"/>
                <a:gd name="connsiteX8" fmla="*/ 325 w 10000"/>
                <a:gd name="connsiteY8" fmla="*/ 6737 h 10000"/>
                <a:gd name="connsiteX9" fmla="*/ 413 w 10000"/>
                <a:gd name="connsiteY9" fmla="*/ 6809 h 10000"/>
                <a:gd name="connsiteX10" fmla="*/ 316 w 10000"/>
                <a:gd name="connsiteY10" fmla="*/ 6965 h 10000"/>
                <a:gd name="connsiteX11" fmla="*/ 419 w 10000"/>
                <a:gd name="connsiteY11" fmla="*/ 6969 h 10000"/>
                <a:gd name="connsiteX12" fmla="*/ 469 w 10000"/>
                <a:gd name="connsiteY12" fmla="*/ 7008 h 10000"/>
                <a:gd name="connsiteX13" fmla="*/ 337 w 10000"/>
                <a:gd name="connsiteY13" fmla="*/ 7059 h 10000"/>
                <a:gd name="connsiteX14" fmla="*/ 130 w 10000"/>
                <a:gd name="connsiteY14" fmla="*/ 7220 h 10000"/>
                <a:gd name="connsiteX15" fmla="*/ 497 w 10000"/>
                <a:gd name="connsiteY15" fmla="*/ 7345 h 10000"/>
                <a:gd name="connsiteX16" fmla="*/ 545 w 10000"/>
                <a:gd name="connsiteY16" fmla="*/ 7522 h 10000"/>
                <a:gd name="connsiteX17" fmla="*/ 419 w 10000"/>
                <a:gd name="connsiteY17" fmla="*/ 7785 h 10000"/>
                <a:gd name="connsiteX18" fmla="*/ 688 w 10000"/>
                <a:gd name="connsiteY18" fmla="*/ 7770 h 10000"/>
                <a:gd name="connsiteX19" fmla="*/ 709 w 10000"/>
                <a:gd name="connsiteY19" fmla="*/ 7965 h 10000"/>
                <a:gd name="connsiteX20" fmla="*/ 530 w 10000"/>
                <a:gd name="connsiteY20" fmla="*/ 8105 h 10000"/>
                <a:gd name="connsiteX21" fmla="*/ 560 w 10000"/>
                <a:gd name="connsiteY21" fmla="*/ 8362 h 10000"/>
                <a:gd name="connsiteX22" fmla="*/ 489 w 10000"/>
                <a:gd name="connsiteY22" fmla="*/ 8568 h 10000"/>
                <a:gd name="connsiteX23" fmla="*/ 703 w 10000"/>
                <a:gd name="connsiteY23" fmla="*/ 8587 h 10000"/>
                <a:gd name="connsiteX24" fmla="*/ 992 w 10000"/>
                <a:gd name="connsiteY24" fmla="*/ 9678 h 10000"/>
                <a:gd name="connsiteX25" fmla="*/ 1653 w 10000"/>
                <a:gd name="connsiteY25" fmla="*/ 9323 h 10000"/>
                <a:gd name="connsiteX26" fmla="*/ 1883 w 10000"/>
                <a:gd name="connsiteY26" fmla="*/ 9703 h 10000"/>
                <a:gd name="connsiteX27" fmla="*/ 2400 w 10000"/>
                <a:gd name="connsiteY27" fmla="*/ 9070 h 10000"/>
                <a:gd name="connsiteX28" fmla="*/ 3729 w 10000"/>
                <a:gd name="connsiteY28" fmla="*/ 9624 h 10000"/>
                <a:gd name="connsiteX29" fmla="*/ 3743 w 10000"/>
                <a:gd name="connsiteY29" fmla="*/ 9229 h 10000"/>
                <a:gd name="connsiteX30" fmla="*/ 5433 w 10000"/>
                <a:gd name="connsiteY30" fmla="*/ 9354 h 10000"/>
                <a:gd name="connsiteX31" fmla="*/ 6419 w 10000"/>
                <a:gd name="connsiteY31" fmla="*/ 10000 h 10000"/>
                <a:gd name="connsiteX32" fmla="*/ 6586 w 10000"/>
                <a:gd name="connsiteY32" fmla="*/ 9169 h 10000"/>
                <a:gd name="connsiteX33" fmla="*/ 6855 w 10000"/>
                <a:gd name="connsiteY33" fmla="*/ 8801 h 10000"/>
                <a:gd name="connsiteX34" fmla="*/ 6855 w 10000"/>
                <a:gd name="connsiteY34" fmla="*/ 8603 h 10000"/>
                <a:gd name="connsiteX35" fmla="*/ 6757 w 10000"/>
                <a:gd name="connsiteY35" fmla="*/ 8497 h 10000"/>
                <a:gd name="connsiteX36" fmla="*/ 6915 w 10000"/>
                <a:gd name="connsiteY36" fmla="*/ 8318 h 10000"/>
                <a:gd name="connsiteX37" fmla="*/ 6887 w 10000"/>
                <a:gd name="connsiteY37" fmla="*/ 8175 h 10000"/>
                <a:gd name="connsiteX38" fmla="*/ 6779 w 10000"/>
                <a:gd name="connsiteY38" fmla="*/ 8053 h 10000"/>
                <a:gd name="connsiteX39" fmla="*/ 6757 w 10000"/>
                <a:gd name="connsiteY39" fmla="*/ 7956 h 10000"/>
                <a:gd name="connsiteX40" fmla="*/ 6785 w 10000"/>
                <a:gd name="connsiteY40" fmla="*/ 7886 h 10000"/>
                <a:gd name="connsiteX41" fmla="*/ 6931 w 10000"/>
                <a:gd name="connsiteY41" fmla="*/ 7942 h 10000"/>
                <a:gd name="connsiteX42" fmla="*/ 7045 w 10000"/>
                <a:gd name="connsiteY42" fmla="*/ 7939 h 10000"/>
                <a:gd name="connsiteX43" fmla="*/ 6983 w 10000"/>
                <a:gd name="connsiteY43" fmla="*/ 7822 h 10000"/>
                <a:gd name="connsiteX44" fmla="*/ 7003 w 10000"/>
                <a:gd name="connsiteY44" fmla="*/ 7752 h 10000"/>
                <a:gd name="connsiteX45" fmla="*/ 7089 w 10000"/>
                <a:gd name="connsiteY45" fmla="*/ 7653 h 10000"/>
                <a:gd name="connsiteX46" fmla="*/ 7074 w 10000"/>
                <a:gd name="connsiteY46" fmla="*/ 7570 h 10000"/>
                <a:gd name="connsiteX47" fmla="*/ 7152 w 10000"/>
                <a:gd name="connsiteY47" fmla="*/ 7295 h 10000"/>
                <a:gd name="connsiteX48" fmla="*/ 7130 w 10000"/>
                <a:gd name="connsiteY48" fmla="*/ 7209 h 10000"/>
                <a:gd name="connsiteX49" fmla="*/ 6729 w 10000"/>
                <a:gd name="connsiteY49" fmla="*/ 6997 h 10000"/>
                <a:gd name="connsiteX50" fmla="*/ 6785 w 10000"/>
                <a:gd name="connsiteY50" fmla="*/ 6989 h 10000"/>
                <a:gd name="connsiteX51" fmla="*/ 6998 w 10000"/>
                <a:gd name="connsiteY51" fmla="*/ 7043 h 10000"/>
                <a:gd name="connsiteX52" fmla="*/ 7230 w 10000"/>
                <a:gd name="connsiteY52" fmla="*/ 7023 h 10000"/>
                <a:gd name="connsiteX53" fmla="*/ 7295 w 10000"/>
                <a:gd name="connsiteY53" fmla="*/ 6949 h 10000"/>
                <a:gd name="connsiteX54" fmla="*/ 7074 w 10000"/>
                <a:gd name="connsiteY54" fmla="*/ 6806 h 10000"/>
                <a:gd name="connsiteX55" fmla="*/ 6414 w 10000"/>
                <a:gd name="connsiteY55" fmla="*/ 6711 h 10000"/>
                <a:gd name="connsiteX56" fmla="*/ 6458 w 10000"/>
                <a:gd name="connsiteY56" fmla="*/ 6668 h 10000"/>
                <a:gd name="connsiteX57" fmla="*/ 6998 w 10000"/>
                <a:gd name="connsiteY57" fmla="*/ 6638 h 10000"/>
                <a:gd name="connsiteX58" fmla="*/ 7295 w 10000"/>
                <a:gd name="connsiteY58" fmla="*/ 6724 h 10000"/>
                <a:gd name="connsiteX59" fmla="*/ 7466 w 10000"/>
                <a:gd name="connsiteY59" fmla="*/ 6668 h 10000"/>
                <a:gd name="connsiteX60" fmla="*/ 7529 w 10000"/>
                <a:gd name="connsiteY60" fmla="*/ 6520 h 10000"/>
                <a:gd name="connsiteX61" fmla="*/ 7840 w 10000"/>
                <a:gd name="connsiteY61" fmla="*/ 6520 h 10000"/>
                <a:gd name="connsiteX62" fmla="*/ 8261 w 10000"/>
                <a:gd name="connsiteY62" fmla="*/ 6219 h 10000"/>
                <a:gd name="connsiteX63" fmla="*/ 8275 w 10000"/>
                <a:gd name="connsiteY63" fmla="*/ 6019 h 10000"/>
                <a:gd name="connsiteX64" fmla="*/ 8453 w 10000"/>
                <a:gd name="connsiteY64" fmla="*/ 6064 h 10000"/>
                <a:gd name="connsiteX65" fmla="*/ 8446 w 10000"/>
                <a:gd name="connsiteY65" fmla="*/ 6266 h 10000"/>
                <a:gd name="connsiteX66" fmla="*/ 8727 w 10000"/>
                <a:gd name="connsiteY66" fmla="*/ 6251 h 10000"/>
                <a:gd name="connsiteX67" fmla="*/ 8913 w 10000"/>
                <a:gd name="connsiteY67" fmla="*/ 6043 h 10000"/>
                <a:gd name="connsiteX68" fmla="*/ 9258 w 10000"/>
                <a:gd name="connsiteY68" fmla="*/ 5856 h 10000"/>
                <a:gd name="connsiteX69" fmla="*/ 9203 w 10000"/>
                <a:gd name="connsiteY69" fmla="*/ 5644 h 10000"/>
                <a:gd name="connsiteX70" fmla="*/ 9306 w 10000"/>
                <a:gd name="connsiteY70" fmla="*/ 5730 h 10000"/>
                <a:gd name="connsiteX71" fmla="*/ 9464 w 10000"/>
                <a:gd name="connsiteY71" fmla="*/ 5730 h 10000"/>
                <a:gd name="connsiteX72" fmla="*/ 9464 w 10000"/>
                <a:gd name="connsiteY72" fmla="*/ 5630 h 10000"/>
                <a:gd name="connsiteX73" fmla="*/ 9611 w 10000"/>
                <a:gd name="connsiteY73" fmla="*/ 5558 h 10000"/>
                <a:gd name="connsiteX74" fmla="*/ 9592 w 10000"/>
                <a:gd name="connsiteY74" fmla="*/ 5481 h 10000"/>
                <a:gd name="connsiteX75" fmla="*/ 8350 w 10000"/>
                <a:gd name="connsiteY75" fmla="*/ 5632 h 10000"/>
                <a:gd name="connsiteX76" fmla="*/ 8058 w 10000"/>
                <a:gd name="connsiteY76" fmla="*/ 5590 h 10000"/>
                <a:gd name="connsiteX77" fmla="*/ 7942 w 10000"/>
                <a:gd name="connsiteY77" fmla="*/ 5644 h 10000"/>
                <a:gd name="connsiteX78" fmla="*/ 7903 w 10000"/>
                <a:gd name="connsiteY78" fmla="*/ 5537 h 10000"/>
                <a:gd name="connsiteX79" fmla="*/ 7765 w 10000"/>
                <a:gd name="connsiteY79" fmla="*/ 5443 h 10000"/>
                <a:gd name="connsiteX80" fmla="*/ 7213 w 10000"/>
                <a:gd name="connsiteY80" fmla="*/ 5249 h 10000"/>
                <a:gd name="connsiteX81" fmla="*/ 6887 w 10000"/>
                <a:gd name="connsiteY81" fmla="*/ 5282 h 10000"/>
                <a:gd name="connsiteX82" fmla="*/ 6757 w 10000"/>
                <a:gd name="connsiteY82" fmla="*/ 5227 h 10000"/>
                <a:gd name="connsiteX83" fmla="*/ 6894 w 10000"/>
                <a:gd name="connsiteY83" fmla="*/ 5180 h 10000"/>
                <a:gd name="connsiteX84" fmla="*/ 6998 w 10000"/>
                <a:gd name="connsiteY84" fmla="*/ 5078 h 10000"/>
                <a:gd name="connsiteX85" fmla="*/ 7152 w 10000"/>
                <a:gd name="connsiteY85" fmla="*/ 5110 h 10000"/>
                <a:gd name="connsiteX86" fmla="*/ 7335 w 10000"/>
                <a:gd name="connsiteY86" fmla="*/ 5085 h 10000"/>
                <a:gd name="connsiteX87" fmla="*/ 7611 w 10000"/>
                <a:gd name="connsiteY87" fmla="*/ 5118 h 10000"/>
                <a:gd name="connsiteX88" fmla="*/ 7645 w 10000"/>
                <a:gd name="connsiteY88" fmla="*/ 5104 h 10000"/>
                <a:gd name="connsiteX89" fmla="*/ 7859 w 10000"/>
                <a:gd name="connsiteY89" fmla="*/ 5259 h 10000"/>
                <a:gd name="connsiteX90" fmla="*/ 8017 w 10000"/>
                <a:gd name="connsiteY90" fmla="*/ 5201 h 10000"/>
                <a:gd name="connsiteX91" fmla="*/ 8032 w 10000"/>
                <a:gd name="connsiteY91" fmla="*/ 5148 h 10000"/>
                <a:gd name="connsiteX92" fmla="*/ 8176 w 10000"/>
                <a:gd name="connsiteY92" fmla="*/ 5241 h 10000"/>
                <a:gd name="connsiteX93" fmla="*/ 8369 w 10000"/>
                <a:gd name="connsiteY93" fmla="*/ 5291 h 10000"/>
                <a:gd name="connsiteX94" fmla="*/ 8446 w 10000"/>
                <a:gd name="connsiteY94" fmla="*/ 5199 h 10000"/>
                <a:gd name="connsiteX95" fmla="*/ 8507 w 10000"/>
                <a:gd name="connsiteY95" fmla="*/ 5249 h 10000"/>
                <a:gd name="connsiteX96" fmla="*/ 8596 w 10000"/>
                <a:gd name="connsiteY96" fmla="*/ 5430 h 10000"/>
                <a:gd name="connsiteX97" fmla="*/ 8782 w 10000"/>
                <a:gd name="connsiteY97" fmla="*/ 5470 h 10000"/>
                <a:gd name="connsiteX98" fmla="*/ 9542 w 10000"/>
                <a:gd name="connsiteY98" fmla="*/ 5208 h 10000"/>
                <a:gd name="connsiteX99" fmla="*/ 9914 w 10000"/>
                <a:gd name="connsiteY99" fmla="*/ 4838 h 10000"/>
                <a:gd name="connsiteX100" fmla="*/ 10000 w 10000"/>
                <a:gd name="connsiteY100" fmla="*/ 4574 h 10000"/>
                <a:gd name="connsiteX101" fmla="*/ 9866 w 10000"/>
                <a:gd name="connsiteY101" fmla="*/ 4330 h 10000"/>
                <a:gd name="connsiteX102" fmla="*/ 9582 w 10000"/>
                <a:gd name="connsiteY102" fmla="*/ 4188 h 10000"/>
                <a:gd name="connsiteX103" fmla="*/ 9382 w 10000"/>
                <a:gd name="connsiteY103" fmla="*/ 3948 h 10000"/>
                <a:gd name="connsiteX104" fmla="*/ 9569 w 10000"/>
                <a:gd name="connsiteY104" fmla="*/ 3941 h 10000"/>
                <a:gd name="connsiteX105" fmla="*/ 9555 w 10000"/>
                <a:gd name="connsiteY105" fmla="*/ 3886 h 10000"/>
                <a:gd name="connsiteX106" fmla="*/ 9068 w 10000"/>
                <a:gd name="connsiteY106" fmla="*/ 3720 h 10000"/>
                <a:gd name="connsiteX107" fmla="*/ 9047 w 10000"/>
                <a:gd name="connsiteY107" fmla="*/ 3566 h 10000"/>
                <a:gd name="connsiteX108" fmla="*/ 8953 w 10000"/>
                <a:gd name="connsiteY108" fmla="*/ 3406 h 10000"/>
                <a:gd name="connsiteX109" fmla="*/ 8569 w 10000"/>
                <a:gd name="connsiteY109" fmla="*/ 3436 h 10000"/>
                <a:gd name="connsiteX110" fmla="*/ 8431 w 10000"/>
                <a:gd name="connsiteY110" fmla="*/ 3265 h 10000"/>
                <a:gd name="connsiteX111" fmla="*/ 8350 w 10000"/>
                <a:gd name="connsiteY111" fmla="*/ 3254 h 10000"/>
                <a:gd name="connsiteX112" fmla="*/ 8350 w 10000"/>
                <a:gd name="connsiteY112" fmla="*/ 3331 h 10000"/>
                <a:gd name="connsiteX113" fmla="*/ 8176 w 10000"/>
                <a:gd name="connsiteY113" fmla="*/ 3613 h 10000"/>
                <a:gd name="connsiteX114" fmla="*/ 7990 w 10000"/>
                <a:gd name="connsiteY114" fmla="*/ 3783 h 10000"/>
                <a:gd name="connsiteX115" fmla="*/ 7401 w 10000"/>
                <a:gd name="connsiteY115" fmla="*/ 4066 h 10000"/>
                <a:gd name="connsiteX116" fmla="*/ 7198 w 10000"/>
                <a:gd name="connsiteY116" fmla="*/ 4058 h 10000"/>
                <a:gd name="connsiteX117" fmla="*/ 6915 w 10000"/>
                <a:gd name="connsiteY117" fmla="*/ 4101 h 10000"/>
                <a:gd name="connsiteX118" fmla="*/ 6757 w 10000"/>
                <a:gd name="connsiteY118" fmla="*/ 4058 h 10000"/>
                <a:gd name="connsiteX119" fmla="*/ 6965 w 10000"/>
                <a:gd name="connsiteY119" fmla="*/ 3976 h 10000"/>
                <a:gd name="connsiteX120" fmla="*/ 7235 w 10000"/>
                <a:gd name="connsiteY120" fmla="*/ 3941 h 10000"/>
                <a:gd name="connsiteX121" fmla="*/ 7455 w 10000"/>
                <a:gd name="connsiteY121" fmla="*/ 3809 h 10000"/>
                <a:gd name="connsiteX122" fmla="*/ 7674 w 10000"/>
                <a:gd name="connsiteY122" fmla="*/ 3746 h 10000"/>
                <a:gd name="connsiteX123" fmla="*/ 8082 w 10000"/>
                <a:gd name="connsiteY123" fmla="*/ 3512 h 10000"/>
                <a:gd name="connsiteX124" fmla="*/ 8157 w 10000"/>
                <a:gd name="connsiteY124" fmla="*/ 3359 h 10000"/>
                <a:gd name="connsiteX125" fmla="*/ 8165 w 10000"/>
                <a:gd name="connsiteY125" fmla="*/ 3163 h 10000"/>
                <a:gd name="connsiteX126" fmla="*/ 7978 w 10000"/>
                <a:gd name="connsiteY126" fmla="*/ 3129 h 10000"/>
                <a:gd name="connsiteX127" fmla="*/ 8058 w 10000"/>
                <a:gd name="connsiteY127" fmla="*/ 3009 h 10000"/>
                <a:gd name="connsiteX128" fmla="*/ 8087 w 10000"/>
                <a:gd name="connsiteY128" fmla="*/ 2856 h 10000"/>
                <a:gd name="connsiteX129" fmla="*/ 8007 w 10000"/>
                <a:gd name="connsiteY129" fmla="*/ 2714 h 10000"/>
                <a:gd name="connsiteX130" fmla="*/ 7450 w 10000"/>
                <a:gd name="connsiteY130" fmla="*/ 2910 h 10000"/>
                <a:gd name="connsiteX131" fmla="*/ 6694 w 10000"/>
                <a:gd name="connsiteY131" fmla="*/ 2823 h 10000"/>
                <a:gd name="connsiteX132" fmla="*/ 6304 w 10000"/>
                <a:gd name="connsiteY132" fmla="*/ 2276 h 10000"/>
                <a:gd name="connsiteX133" fmla="*/ 5294 w 10000"/>
                <a:gd name="connsiteY133" fmla="*/ 2173 h 10000"/>
                <a:gd name="connsiteX134" fmla="*/ 4505 w 10000"/>
                <a:gd name="connsiteY134" fmla="*/ 1721 h 10000"/>
                <a:gd name="connsiteX135" fmla="*/ 3730 w 10000"/>
                <a:gd name="connsiteY135" fmla="*/ 1176 h 10000"/>
                <a:gd name="connsiteX136" fmla="*/ 3154 w 10000"/>
                <a:gd name="connsiteY136" fmla="*/ 173 h 10000"/>
                <a:gd name="connsiteX137" fmla="*/ 2375 w 10000"/>
                <a:gd name="connsiteY137" fmla="*/ 0 h 10000"/>
                <a:gd name="connsiteX138" fmla="*/ 2226 w 10000"/>
                <a:gd name="connsiteY138" fmla="*/ 941 h 10000"/>
                <a:gd name="connsiteX139" fmla="*/ 2375 w 10000"/>
                <a:gd name="connsiteY139" fmla="*/ 1181 h 10000"/>
                <a:gd name="connsiteX140" fmla="*/ 2791 w 10000"/>
                <a:gd name="connsiteY140" fmla="*/ 1446 h 10000"/>
                <a:gd name="connsiteX141" fmla="*/ 2808 w 10000"/>
                <a:gd name="connsiteY141" fmla="*/ 1767 h 10000"/>
                <a:gd name="connsiteX142" fmla="*/ 2632 w 10000"/>
                <a:gd name="connsiteY142" fmla="*/ 2035 h 10000"/>
                <a:gd name="connsiteX143" fmla="*/ 2375 w 10000"/>
                <a:gd name="connsiteY143" fmla="*/ 2196 h 10000"/>
                <a:gd name="connsiteX144" fmla="*/ 2039 w 10000"/>
                <a:gd name="connsiteY144" fmla="*/ 2260 h 10000"/>
                <a:gd name="connsiteX145" fmla="*/ 1950 w 10000"/>
                <a:gd name="connsiteY145" fmla="*/ 2357 h 10000"/>
                <a:gd name="connsiteX146" fmla="*/ 2148 w 10000"/>
                <a:gd name="connsiteY146" fmla="*/ 2577 h 10000"/>
                <a:gd name="connsiteX147" fmla="*/ 2261 w 10000"/>
                <a:gd name="connsiteY147" fmla="*/ 3104 h 10000"/>
                <a:gd name="connsiteX148" fmla="*/ 2005 w 10000"/>
                <a:gd name="connsiteY148" fmla="*/ 3555 h 10000"/>
                <a:gd name="connsiteX149" fmla="*/ 2094 w 10000"/>
                <a:gd name="connsiteY149" fmla="*/ 3692 h 10000"/>
                <a:gd name="connsiteX150" fmla="*/ 2012 w 10000"/>
                <a:gd name="connsiteY150" fmla="*/ 3926 h 10000"/>
                <a:gd name="connsiteX151" fmla="*/ 1850 w 10000"/>
                <a:gd name="connsiteY151" fmla="*/ 4089 h 10000"/>
                <a:gd name="connsiteX152" fmla="*/ 1199 w 10000"/>
                <a:gd name="connsiteY152" fmla="*/ 4215 h 10000"/>
                <a:gd name="connsiteX153" fmla="*/ 1158 w 10000"/>
                <a:gd name="connsiteY153" fmla="*/ 4432 h 10000"/>
                <a:gd name="connsiteX154" fmla="*/ 808 w 10000"/>
                <a:gd name="connsiteY154" fmla="*/ 4754 h 10000"/>
                <a:gd name="connsiteX155" fmla="*/ 854 w 10000"/>
                <a:gd name="connsiteY155" fmla="*/ 5224 h 10000"/>
                <a:gd name="connsiteX156" fmla="*/ 560 w 10000"/>
                <a:gd name="connsiteY156" fmla="*/ 5822 h 10000"/>
                <a:gd name="connsiteX157" fmla="*/ 358 w 10000"/>
                <a:gd name="connsiteY157" fmla="*/ 5891 h 10000"/>
                <a:gd name="connsiteX158" fmla="*/ 275 w 10000"/>
                <a:gd name="connsiteY158" fmla="*/ 5749 h 10000"/>
                <a:gd name="connsiteX159" fmla="*/ 174 w 10000"/>
                <a:gd name="connsiteY159" fmla="*/ 5964 h 10000"/>
                <a:gd name="connsiteX160" fmla="*/ 239 w 10000"/>
                <a:gd name="connsiteY160" fmla="*/ 5592 h 10000"/>
                <a:gd name="connsiteX161" fmla="*/ 197 w 10000"/>
                <a:gd name="connsiteY161" fmla="*/ 5523 h 10000"/>
                <a:gd name="connsiteX0" fmla="*/ 197 w 10000"/>
                <a:gd name="connsiteY0" fmla="*/ 5523 h 9723"/>
                <a:gd name="connsiteX1" fmla="*/ 0 w 10000"/>
                <a:gd name="connsiteY1" fmla="*/ 5717 h 9723"/>
                <a:gd name="connsiteX2" fmla="*/ 0 w 10000"/>
                <a:gd name="connsiteY2" fmla="*/ 6668 h 9723"/>
                <a:gd name="connsiteX3" fmla="*/ 109 w 10000"/>
                <a:gd name="connsiteY3" fmla="*/ 6693 h 9723"/>
                <a:gd name="connsiteX4" fmla="*/ 134 w 10000"/>
                <a:gd name="connsiteY4" fmla="*/ 6769 h 9723"/>
                <a:gd name="connsiteX5" fmla="*/ 130 w 10000"/>
                <a:gd name="connsiteY5" fmla="*/ 6897 h 9723"/>
                <a:gd name="connsiteX6" fmla="*/ 89 w 10000"/>
                <a:gd name="connsiteY6" fmla="*/ 6953 h 9723"/>
                <a:gd name="connsiteX7" fmla="*/ 255 w 10000"/>
                <a:gd name="connsiteY7" fmla="*/ 6842 h 9723"/>
                <a:gd name="connsiteX8" fmla="*/ 325 w 10000"/>
                <a:gd name="connsiteY8" fmla="*/ 6737 h 9723"/>
                <a:gd name="connsiteX9" fmla="*/ 413 w 10000"/>
                <a:gd name="connsiteY9" fmla="*/ 6809 h 9723"/>
                <a:gd name="connsiteX10" fmla="*/ 316 w 10000"/>
                <a:gd name="connsiteY10" fmla="*/ 6965 h 9723"/>
                <a:gd name="connsiteX11" fmla="*/ 419 w 10000"/>
                <a:gd name="connsiteY11" fmla="*/ 6969 h 9723"/>
                <a:gd name="connsiteX12" fmla="*/ 469 w 10000"/>
                <a:gd name="connsiteY12" fmla="*/ 7008 h 9723"/>
                <a:gd name="connsiteX13" fmla="*/ 337 w 10000"/>
                <a:gd name="connsiteY13" fmla="*/ 7059 h 9723"/>
                <a:gd name="connsiteX14" fmla="*/ 130 w 10000"/>
                <a:gd name="connsiteY14" fmla="*/ 7220 h 9723"/>
                <a:gd name="connsiteX15" fmla="*/ 497 w 10000"/>
                <a:gd name="connsiteY15" fmla="*/ 7345 h 9723"/>
                <a:gd name="connsiteX16" fmla="*/ 545 w 10000"/>
                <a:gd name="connsiteY16" fmla="*/ 7522 h 9723"/>
                <a:gd name="connsiteX17" fmla="*/ 419 w 10000"/>
                <a:gd name="connsiteY17" fmla="*/ 7785 h 9723"/>
                <a:gd name="connsiteX18" fmla="*/ 688 w 10000"/>
                <a:gd name="connsiteY18" fmla="*/ 7770 h 9723"/>
                <a:gd name="connsiteX19" fmla="*/ 709 w 10000"/>
                <a:gd name="connsiteY19" fmla="*/ 7965 h 9723"/>
                <a:gd name="connsiteX20" fmla="*/ 530 w 10000"/>
                <a:gd name="connsiteY20" fmla="*/ 8105 h 9723"/>
                <a:gd name="connsiteX21" fmla="*/ 560 w 10000"/>
                <a:gd name="connsiteY21" fmla="*/ 8362 h 9723"/>
                <a:gd name="connsiteX22" fmla="*/ 489 w 10000"/>
                <a:gd name="connsiteY22" fmla="*/ 8568 h 9723"/>
                <a:gd name="connsiteX23" fmla="*/ 703 w 10000"/>
                <a:gd name="connsiteY23" fmla="*/ 8587 h 9723"/>
                <a:gd name="connsiteX24" fmla="*/ 992 w 10000"/>
                <a:gd name="connsiteY24" fmla="*/ 9678 h 9723"/>
                <a:gd name="connsiteX25" fmla="*/ 1653 w 10000"/>
                <a:gd name="connsiteY25" fmla="*/ 9323 h 9723"/>
                <a:gd name="connsiteX26" fmla="*/ 1883 w 10000"/>
                <a:gd name="connsiteY26" fmla="*/ 9703 h 9723"/>
                <a:gd name="connsiteX27" fmla="*/ 2400 w 10000"/>
                <a:gd name="connsiteY27" fmla="*/ 9070 h 9723"/>
                <a:gd name="connsiteX28" fmla="*/ 3729 w 10000"/>
                <a:gd name="connsiteY28" fmla="*/ 9624 h 9723"/>
                <a:gd name="connsiteX29" fmla="*/ 3743 w 10000"/>
                <a:gd name="connsiteY29" fmla="*/ 9229 h 9723"/>
                <a:gd name="connsiteX30" fmla="*/ 5433 w 10000"/>
                <a:gd name="connsiteY30" fmla="*/ 9354 h 9723"/>
                <a:gd name="connsiteX31" fmla="*/ 6373 w 10000"/>
                <a:gd name="connsiteY31" fmla="*/ 9723 h 9723"/>
                <a:gd name="connsiteX32" fmla="*/ 6586 w 10000"/>
                <a:gd name="connsiteY32" fmla="*/ 9169 h 9723"/>
                <a:gd name="connsiteX33" fmla="*/ 6855 w 10000"/>
                <a:gd name="connsiteY33" fmla="*/ 8801 h 9723"/>
                <a:gd name="connsiteX34" fmla="*/ 6855 w 10000"/>
                <a:gd name="connsiteY34" fmla="*/ 8603 h 9723"/>
                <a:gd name="connsiteX35" fmla="*/ 6757 w 10000"/>
                <a:gd name="connsiteY35" fmla="*/ 8497 h 9723"/>
                <a:gd name="connsiteX36" fmla="*/ 6915 w 10000"/>
                <a:gd name="connsiteY36" fmla="*/ 8318 h 9723"/>
                <a:gd name="connsiteX37" fmla="*/ 6887 w 10000"/>
                <a:gd name="connsiteY37" fmla="*/ 8175 h 9723"/>
                <a:gd name="connsiteX38" fmla="*/ 6779 w 10000"/>
                <a:gd name="connsiteY38" fmla="*/ 8053 h 9723"/>
                <a:gd name="connsiteX39" fmla="*/ 6757 w 10000"/>
                <a:gd name="connsiteY39" fmla="*/ 7956 h 9723"/>
                <a:gd name="connsiteX40" fmla="*/ 6785 w 10000"/>
                <a:gd name="connsiteY40" fmla="*/ 7886 h 9723"/>
                <a:gd name="connsiteX41" fmla="*/ 6931 w 10000"/>
                <a:gd name="connsiteY41" fmla="*/ 7942 h 9723"/>
                <a:gd name="connsiteX42" fmla="*/ 7045 w 10000"/>
                <a:gd name="connsiteY42" fmla="*/ 7939 h 9723"/>
                <a:gd name="connsiteX43" fmla="*/ 6983 w 10000"/>
                <a:gd name="connsiteY43" fmla="*/ 7822 h 9723"/>
                <a:gd name="connsiteX44" fmla="*/ 7003 w 10000"/>
                <a:gd name="connsiteY44" fmla="*/ 7752 h 9723"/>
                <a:gd name="connsiteX45" fmla="*/ 7089 w 10000"/>
                <a:gd name="connsiteY45" fmla="*/ 7653 h 9723"/>
                <a:gd name="connsiteX46" fmla="*/ 7074 w 10000"/>
                <a:gd name="connsiteY46" fmla="*/ 7570 h 9723"/>
                <a:gd name="connsiteX47" fmla="*/ 7152 w 10000"/>
                <a:gd name="connsiteY47" fmla="*/ 7295 h 9723"/>
                <a:gd name="connsiteX48" fmla="*/ 7130 w 10000"/>
                <a:gd name="connsiteY48" fmla="*/ 7209 h 9723"/>
                <a:gd name="connsiteX49" fmla="*/ 6729 w 10000"/>
                <a:gd name="connsiteY49" fmla="*/ 6997 h 9723"/>
                <a:gd name="connsiteX50" fmla="*/ 6785 w 10000"/>
                <a:gd name="connsiteY50" fmla="*/ 6989 h 9723"/>
                <a:gd name="connsiteX51" fmla="*/ 6998 w 10000"/>
                <a:gd name="connsiteY51" fmla="*/ 7043 h 9723"/>
                <a:gd name="connsiteX52" fmla="*/ 7230 w 10000"/>
                <a:gd name="connsiteY52" fmla="*/ 7023 h 9723"/>
                <a:gd name="connsiteX53" fmla="*/ 7295 w 10000"/>
                <a:gd name="connsiteY53" fmla="*/ 6949 h 9723"/>
                <a:gd name="connsiteX54" fmla="*/ 7074 w 10000"/>
                <a:gd name="connsiteY54" fmla="*/ 6806 h 9723"/>
                <a:gd name="connsiteX55" fmla="*/ 6414 w 10000"/>
                <a:gd name="connsiteY55" fmla="*/ 6711 h 9723"/>
                <a:gd name="connsiteX56" fmla="*/ 6458 w 10000"/>
                <a:gd name="connsiteY56" fmla="*/ 6668 h 9723"/>
                <a:gd name="connsiteX57" fmla="*/ 6998 w 10000"/>
                <a:gd name="connsiteY57" fmla="*/ 6638 h 9723"/>
                <a:gd name="connsiteX58" fmla="*/ 7295 w 10000"/>
                <a:gd name="connsiteY58" fmla="*/ 6724 h 9723"/>
                <a:gd name="connsiteX59" fmla="*/ 7466 w 10000"/>
                <a:gd name="connsiteY59" fmla="*/ 6668 h 9723"/>
                <a:gd name="connsiteX60" fmla="*/ 7529 w 10000"/>
                <a:gd name="connsiteY60" fmla="*/ 6520 h 9723"/>
                <a:gd name="connsiteX61" fmla="*/ 7840 w 10000"/>
                <a:gd name="connsiteY61" fmla="*/ 6520 h 9723"/>
                <a:gd name="connsiteX62" fmla="*/ 8261 w 10000"/>
                <a:gd name="connsiteY62" fmla="*/ 6219 h 9723"/>
                <a:gd name="connsiteX63" fmla="*/ 8275 w 10000"/>
                <a:gd name="connsiteY63" fmla="*/ 6019 h 9723"/>
                <a:gd name="connsiteX64" fmla="*/ 8453 w 10000"/>
                <a:gd name="connsiteY64" fmla="*/ 6064 h 9723"/>
                <a:gd name="connsiteX65" fmla="*/ 8446 w 10000"/>
                <a:gd name="connsiteY65" fmla="*/ 6266 h 9723"/>
                <a:gd name="connsiteX66" fmla="*/ 8727 w 10000"/>
                <a:gd name="connsiteY66" fmla="*/ 6251 h 9723"/>
                <a:gd name="connsiteX67" fmla="*/ 8913 w 10000"/>
                <a:gd name="connsiteY67" fmla="*/ 6043 h 9723"/>
                <a:gd name="connsiteX68" fmla="*/ 9258 w 10000"/>
                <a:gd name="connsiteY68" fmla="*/ 5856 h 9723"/>
                <a:gd name="connsiteX69" fmla="*/ 9203 w 10000"/>
                <a:gd name="connsiteY69" fmla="*/ 5644 h 9723"/>
                <a:gd name="connsiteX70" fmla="*/ 9306 w 10000"/>
                <a:gd name="connsiteY70" fmla="*/ 5730 h 9723"/>
                <a:gd name="connsiteX71" fmla="*/ 9464 w 10000"/>
                <a:gd name="connsiteY71" fmla="*/ 5730 h 9723"/>
                <a:gd name="connsiteX72" fmla="*/ 9464 w 10000"/>
                <a:gd name="connsiteY72" fmla="*/ 5630 h 9723"/>
                <a:gd name="connsiteX73" fmla="*/ 9611 w 10000"/>
                <a:gd name="connsiteY73" fmla="*/ 5558 h 9723"/>
                <a:gd name="connsiteX74" fmla="*/ 9592 w 10000"/>
                <a:gd name="connsiteY74" fmla="*/ 5481 h 9723"/>
                <a:gd name="connsiteX75" fmla="*/ 8350 w 10000"/>
                <a:gd name="connsiteY75" fmla="*/ 5632 h 9723"/>
                <a:gd name="connsiteX76" fmla="*/ 8058 w 10000"/>
                <a:gd name="connsiteY76" fmla="*/ 5590 h 9723"/>
                <a:gd name="connsiteX77" fmla="*/ 7942 w 10000"/>
                <a:gd name="connsiteY77" fmla="*/ 5644 h 9723"/>
                <a:gd name="connsiteX78" fmla="*/ 7903 w 10000"/>
                <a:gd name="connsiteY78" fmla="*/ 5537 h 9723"/>
                <a:gd name="connsiteX79" fmla="*/ 7765 w 10000"/>
                <a:gd name="connsiteY79" fmla="*/ 5443 h 9723"/>
                <a:gd name="connsiteX80" fmla="*/ 7213 w 10000"/>
                <a:gd name="connsiteY80" fmla="*/ 5249 h 9723"/>
                <a:gd name="connsiteX81" fmla="*/ 6887 w 10000"/>
                <a:gd name="connsiteY81" fmla="*/ 5282 h 9723"/>
                <a:gd name="connsiteX82" fmla="*/ 6757 w 10000"/>
                <a:gd name="connsiteY82" fmla="*/ 5227 h 9723"/>
                <a:gd name="connsiteX83" fmla="*/ 6894 w 10000"/>
                <a:gd name="connsiteY83" fmla="*/ 5180 h 9723"/>
                <a:gd name="connsiteX84" fmla="*/ 6998 w 10000"/>
                <a:gd name="connsiteY84" fmla="*/ 5078 h 9723"/>
                <a:gd name="connsiteX85" fmla="*/ 7152 w 10000"/>
                <a:gd name="connsiteY85" fmla="*/ 5110 h 9723"/>
                <a:gd name="connsiteX86" fmla="*/ 7335 w 10000"/>
                <a:gd name="connsiteY86" fmla="*/ 5085 h 9723"/>
                <a:gd name="connsiteX87" fmla="*/ 7611 w 10000"/>
                <a:gd name="connsiteY87" fmla="*/ 5118 h 9723"/>
                <a:gd name="connsiteX88" fmla="*/ 7645 w 10000"/>
                <a:gd name="connsiteY88" fmla="*/ 5104 h 9723"/>
                <a:gd name="connsiteX89" fmla="*/ 7859 w 10000"/>
                <a:gd name="connsiteY89" fmla="*/ 5259 h 9723"/>
                <a:gd name="connsiteX90" fmla="*/ 8017 w 10000"/>
                <a:gd name="connsiteY90" fmla="*/ 5201 h 9723"/>
                <a:gd name="connsiteX91" fmla="*/ 8032 w 10000"/>
                <a:gd name="connsiteY91" fmla="*/ 5148 h 9723"/>
                <a:gd name="connsiteX92" fmla="*/ 8176 w 10000"/>
                <a:gd name="connsiteY92" fmla="*/ 5241 h 9723"/>
                <a:gd name="connsiteX93" fmla="*/ 8369 w 10000"/>
                <a:gd name="connsiteY93" fmla="*/ 5291 h 9723"/>
                <a:gd name="connsiteX94" fmla="*/ 8446 w 10000"/>
                <a:gd name="connsiteY94" fmla="*/ 5199 h 9723"/>
                <a:gd name="connsiteX95" fmla="*/ 8507 w 10000"/>
                <a:gd name="connsiteY95" fmla="*/ 5249 h 9723"/>
                <a:gd name="connsiteX96" fmla="*/ 8596 w 10000"/>
                <a:gd name="connsiteY96" fmla="*/ 5430 h 9723"/>
                <a:gd name="connsiteX97" fmla="*/ 8782 w 10000"/>
                <a:gd name="connsiteY97" fmla="*/ 5470 h 9723"/>
                <a:gd name="connsiteX98" fmla="*/ 9542 w 10000"/>
                <a:gd name="connsiteY98" fmla="*/ 5208 h 9723"/>
                <a:gd name="connsiteX99" fmla="*/ 9914 w 10000"/>
                <a:gd name="connsiteY99" fmla="*/ 4838 h 9723"/>
                <a:gd name="connsiteX100" fmla="*/ 10000 w 10000"/>
                <a:gd name="connsiteY100" fmla="*/ 4574 h 9723"/>
                <a:gd name="connsiteX101" fmla="*/ 9866 w 10000"/>
                <a:gd name="connsiteY101" fmla="*/ 4330 h 9723"/>
                <a:gd name="connsiteX102" fmla="*/ 9582 w 10000"/>
                <a:gd name="connsiteY102" fmla="*/ 4188 h 9723"/>
                <a:gd name="connsiteX103" fmla="*/ 9382 w 10000"/>
                <a:gd name="connsiteY103" fmla="*/ 3948 h 9723"/>
                <a:gd name="connsiteX104" fmla="*/ 9569 w 10000"/>
                <a:gd name="connsiteY104" fmla="*/ 3941 h 9723"/>
                <a:gd name="connsiteX105" fmla="*/ 9555 w 10000"/>
                <a:gd name="connsiteY105" fmla="*/ 3886 h 9723"/>
                <a:gd name="connsiteX106" fmla="*/ 9068 w 10000"/>
                <a:gd name="connsiteY106" fmla="*/ 3720 h 9723"/>
                <a:gd name="connsiteX107" fmla="*/ 9047 w 10000"/>
                <a:gd name="connsiteY107" fmla="*/ 3566 h 9723"/>
                <a:gd name="connsiteX108" fmla="*/ 8953 w 10000"/>
                <a:gd name="connsiteY108" fmla="*/ 3406 h 9723"/>
                <a:gd name="connsiteX109" fmla="*/ 8569 w 10000"/>
                <a:gd name="connsiteY109" fmla="*/ 3436 h 9723"/>
                <a:gd name="connsiteX110" fmla="*/ 8431 w 10000"/>
                <a:gd name="connsiteY110" fmla="*/ 3265 h 9723"/>
                <a:gd name="connsiteX111" fmla="*/ 8350 w 10000"/>
                <a:gd name="connsiteY111" fmla="*/ 3254 h 9723"/>
                <a:gd name="connsiteX112" fmla="*/ 8350 w 10000"/>
                <a:gd name="connsiteY112" fmla="*/ 3331 h 9723"/>
                <a:gd name="connsiteX113" fmla="*/ 8176 w 10000"/>
                <a:gd name="connsiteY113" fmla="*/ 3613 h 9723"/>
                <a:gd name="connsiteX114" fmla="*/ 7990 w 10000"/>
                <a:gd name="connsiteY114" fmla="*/ 3783 h 9723"/>
                <a:gd name="connsiteX115" fmla="*/ 7401 w 10000"/>
                <a:gd name="connsiteY115" fmla="*/ 4066 h 9723"/>
                <a:gd name="connsiteX116" fmla="*/ 7198 w 10000"/>
                <a:gd name="connsiteY116" fmla="*/ 4058 h 9723"/>
                <a:gd name="connsiteX117" fmla="*/ 6915 w 10000"/>
                <a:gd name="connsiteY117" fmla="*/ 4101 h 9723"/>
                <a:gd name="connsiteX118" fmla="*/ 6757 w 10000"/>
                <a:gd name="connsiteY118" fmla="*/ 4058 h 9723"/>
                <a:gd name="connsiteX119" fmla="*/ 6965 w 10000"/>
                <a:gd name="connsiteY119" fmla="*/ 3976 h 9723"/>
                <a:gd name="connsiteX120" fmla="*/ 7235 w 10000"/>
                <a:gd name="connsiteY120" fmla="*/ 3941 h 9723"/>
                <a:gd name="connsiteX121" fmla="*/ 7455 w 10000"/>
                <a:gd name="connsiteY121" fmla="*/ 3809 h 9723"/>
                <a:gd name="connsiteX122" fmla="*/ 7674 w 10000"/>
                <a:gd name="connsiteY122" fmla="*/ 3746 h 9723"/>
                <a:gd name="connsiteX123" fmla="*/ 8082 w 10000"/>
                <a:gd name="connsiteY123" fmla="*/ 3512 h 9723"/>
                <a:gd name="connsiteX124" fmla="*/ 8157 w 10000"/>
                <a:gd name="connsiteY124" fmla="*/ 3359 h 9723"/>
                <a:gd name="connsiteX125" fmla="*/ 8165 w 10000"/>
                <a:gd name="connsiteY125" fmla="*/ 3163 h 9723"/>
                <a:gd name="connsiteX126" fmla="*/ 7978 w 10000"/>
                <a:gd name="connsiteY126" fmla="*/ 3129 h 9723"/>
                <a:gd name="connsiteX127" fmla="*/ 8058 w 10000"/>
                <a:gd name="connsiteY127" fmla="*/ 3009 h 9723"/>
                <a:gd name="connsiteX128" fmla="*/ 8087 w 10000"/>
                <a:gd name="connsiteY128" fmla="*/ 2856 h 9723"/>
                <a:gd name="connsiteX129" fmla="*/ 8007 w 10000"/>
                <a:gd name="connsiteY129" fmla="*/ 2714 h 9723"/>
                <a:gd name="connsiteX130" fmla="*/ 7450 w 10000"/>
                <a:gd name="connsiteY130" fmla="*/ 2910 h 9723"/>
                <a:gd name="connsiteX131" fmla="*/ 6694 w 10000"/>
                <a:gd name="connsiteY131" fmla="*/ 2823 h 9723"/>
                <a:gd name="connsiteX132" fmla="*/ 6304 w 10000"/>
                <a:gd name="connsiteY132" fmla="*/ 2276 h 9723"/>
                <a:gd name="connsiteX133" fmla="*/ 5294 w 10000"/>
                <a:gd name="connsiteY133" fmla="*/ 2173 h 9723"/>
                <a:gd name="connsiteX134" fmla="*/ 4505 w 10000"/>
                <a:gd name="connsiteY134" fmla="*/ 1721 h 9723"/>
                <a:gd name="connsiteX135" fmla="*/ 3730 w 10000"/>
                <a:gd name="connsiteY135" fmla="*/ 1176 h 9723"/>
                <a:gd name="connsiteX136" fmla="*/ 3154 w 10000"/>
                <a:gd name="connsiteY136" fmla="*/ 173 h 9723"/>
                <a:gd name="connsiteX137" fmla="*/ 2375 w 10000"/>
                <a:gd name="connsiteY137" fmla="*/ 0 h 9723"/>
                <a:gd name="connsiteX138" fmla="*/ 2226 w 10000"/>
                <a:gd name="connsiteY138" fmla="*/ 941 h 9723"/>
                <a:gd name="connsiteX139" fmla="*/ 2375 w 10000"/>
                <a:gd name="connsiteY139" fmla="*/ 1181 h 9723"/>
                <a:gd name="connsiteX140" fmla="*/ 2791 w 10000"/>
                <a:gd name="connsiteY140" fmla="*/ 1446 h 9723"/>
                <a:gd name="connsiteX141" fmla="*/ 2808 w 10000"/>
                <a:gd name="connsiteY141" fmla="*/ 1767 h 9723"/>
                <a:gd name="connsiteX142" fmla="*/ 2632 w 10000"/>
                <a:gd name="connsiteY142" fmla="*/ 2035 h 9723"/>
                <a:gd name="connsiteX143" fmla="*/ 2375 w 10000"/>
                <a:gd name="connsiteY143" fmla="*/ 2196 h 9723"/>
                <a:gd name="connsiteX144" fmla="*/ 2039 w 10000"/>
                <a:gd name="connsiteY144" fmla="*/ 2260 h 9723"/>
                <a:gd name="connsiteX145" fmla="*/ 1950 w 10000"/>
                <a:gd name="connsiteY145" fmla="*/ 2357 h 9723"/>
                <a:gd name="connsiteX146" fmla="*/ 2148 w 10000"/>
                <a:gd name="connsiteY146" fmla="*/ 2577 h 9723"/>
                <a:gd name="connsiteX147" fmla="*/ 2261 w 10000"/>
                <a:gd name="connsiteY147" fmla="*/ 3104 h 9723"/>
                <a:gd name="connsiteX148" fmla="*/ 2005 w 10000"/>
                <a:gd name="connsiteY148" fmla="*/ 3555 h 9723"/>
                <a:gd name="connsiteX149" fmla="*/ 2094 w 10000"/>
                <a:gd name="connsiteY149" fmla="*/ 3692 h 9723"/>
                <a:gd name="connsiteX150" fmla="*/ 2012 w 10000"/>
                <a:gd name="connsiteY150" fmla="*/ 3926 h 9723"/>
                <a:gd name="connsiteX151" fmla="*/ 1850 w 10000"/>
                <a:gd name="connsiteY151" fmla="*/ 4089 h 9723"/>
                <a:gd name="connsiteX152" fmla="*/ 1199 w 10000"/>
                <a:gd name="connsiteY152" fmla="*/ 4215 h 9723"/>
                <a:gd name="connsiteX153" fmla="*/ 1158 w 10000"/>
                <a:gd name="connsiteY153" fmla="*/ 4432 h 9723"/>
                <a:gd name="connsiteX154" fmla="*/ 808 w 10000"/>
                <a:gd name="connsiteY154" fmla="*/ 4754 h 9723"/>
                <a:gd name="connsiteX155" fmla="*/ 854 w 10000"/>
                <a:gd name="connsiteY155" fmla="*/ 5224 h 9723"/>
                <a:gd name="connsiteX156" fmla="*/ 560 w 10000"/>
                <a:gd name="connsiteY156" fmla="*/ 5822 h 9723"/>
                <a:gd name="connsiteX157" fmla="*/ 358 w 10000"/>
                <a:gd name="connsiteY157" fmla="*/ 5891 h 9723"/>
                <a:gd name="connsiteX158" fmla="*/ 275 w 10000"/>
                <a:gd name="connsiteY158" fmla="*/ 5749 h 9723"/>
                <a:gd name="connsiteX159" fmla="*/ 174 w 10000"/>
                <a:gd name="connsiteY159" fmla="*/ 5964 h 9723"/>
                <a:gd name="connsiteX160" fmla="*/ 239 w 10000"/>
                <a:gd name="connsiteY160" fmla="*/ 5592 h 9723"/>
                <a:gd name="connsiteX161" fmla="*/ 197 w 10000"/>
                <a:gd name="connsiteY161" fmla="*/ 5523 h 9723"/>
                <a:gd name="connsiteX0" fmla="*/ 197 w 10000"/>
                <a:gd name="connsiteY0" fmla="*/ 5680 h 10000"/>
                <a:gd name="connsiteX1" fmla="*/ 0 w 10000"/>
                <a:gd name="connsiteY1" fmla="*/ 5880 h 10000"/>
                <a:gd name="connsiteX2" fmla="*/ 0 w 10000"/>
                <a:gd name="connsiteY2" fmla="*/ 6858 h 10000"/>
                <a:gd name="connsiteX3" fmla="*/ 109 w 10000"/>
                <a:gd name="connsiteY3" fmla="*/ 6884 h 10000"/>
                <a:gd name="connsiteX4" fmla="*/ 134 w 10000"/>
                <a:gd name="connsiteY4" fmla="*/ 6962 h 10000"/>
                <a:gd name="connsiteX5" fmla="*/ 130 w 10000"/>
                <a:gd name="connsiteY5" fmla="*/ 7093 h 10000"/>
                <a:gd name="connsiteX6" fmla="*/ 89 w 10000"/>
                <a:gd name="connsiteY6" fmla="*/ 7151 h 10000"/>
                <a:gd name="connsiteX7" fmla="*/ 255 w 10000"/>
                <a:gd name="connsiteY7" fmla="*/ 7037 h 10000"/>
                <a:gd name="connsiteX8" fmla="*/ 325 w 10000"/>
                <a:gd name="connsiteY8" fmla="*/ 6929 h 10000"/>
                <a:gd name="connsiteX9" fmla="*/ 413 w 10000"/>
                <a:gd name="connsiteY9" fmla="*/ 7003 h 10000"/>
                <a:gd name="connsiteX10" fmla="*/ 316 w 10000"/>
                <a:gd name="connsiteY10" fmla="*/ 7163 h 10000"/>
                <a:gd name="connsiteX11" fmla="*/ 419 w 10000"/>
                <a:gd name="connsiteY11" fmla="*/ 7168 h 10000"/>
                <a:gd name="connsiteX12" fmla="*/ 469 w 10000"/>
                <a:gd name="connsiteY12" fmla="*/ 7208 h 10000"/>
                <a:gd name="connsiteX13" fmla="*/ 337 w 10000"/>
                <a:gd name="connsiteY13" fmla="*/ 7260 h 10000"/>
                <a:gd name="connsiteX14" fmla="*/ 130 w 10000"/>
                <a:gd name="connsiteY14" fmla="*/ 7426 h 10000"/>
                <a:gd name="connsiteX15" fmla="*/ 497 w 10000"/>
                <a:gd name="connsiteY15" fmla="*/ 7554 h 10000"/>
                <a:gd name="connsiteX16" fmla="*/ 545 w 10000"/>
                <a:gd name="connsiteY16" fmla="*/ 7736 h 10000"/>
                <a:gd name="connsiteX17" fmla="*/ 419 w 10000"/>
                <a:gd name="connsiteY17" fmla="*/ 8007 h 10000"/>
                <a:gd name="connsiteX18" fmla="*/ 688 w 10000"/>
                <a:gd name="connsiteY18" fmla="*/ 7991 h 10000"/>
                <a:gd name="connsiteX19" fmla="*/ 709 w 10000"/>
                <a:gd name="connsiteY19" fmla="*/ 8192 h 10000"/>
                <a:gd name="connsiteX20" fmla="*/ 530 w 10000"/>
                <a:gd name="connsiteY20" fmla="*/ 8336 h 10000"/>
                <a:gd name="connsiteX21" fmla="*/ 560 w 10000"/>
                <a:gd name="connsiteY21" fmla="*/ 8600 h 10000"/>
                <a:gd name="connsiteX22" fmla="*/ 489 w 10000"/>
                <a:gd name="connsiteY22" fmla="*/ 8812 h 10000"/>
                <a:gd name="connsiteX23" fmla="*/ 703 w 10000"/>
                <a:gd name="connsiteY23" fmla="*/ 8832 h 10000"/>
                <a:gd name="connsiteX24" fmla="*/ 992 w 10000"/>
                <a:gd name="connsiteY24" fmla="*/ 9954 h 10000"/>
                <a:gd name="connsiteX25" fmla="*/ 1653 w 10000"/>
                <a:gd name="connsiteY25" fmla="*/ 9589 h 10000"/>
                <a:gd name="connsiteX26" fmla="*/ 2361 w 10000"/>
                <a:gd name="connsiteY26" fmla="*/ 9921 h 10000"/>
                <a:gd name="connsiteX27" fmla="*/ 2400 w 10000"/>
                <a:gd name="connsiteY27" fmla="*/ 9328 h 10000"/>
                <a:gd name="connsiteX28" fmla="*/ 3729 w 10000"/>
                <a:gd name="connsiteY28" fmla="*/ 9898 h 10000"/>
                <a:gd name="connsiteX29" fmla="*/ 3743 w 10000"/>
                <a:gd name="connsiteY29" fmla="*/ 9492 h 10000"/>
                <a:gd name="connsiteX30" fmla="*/ 5433 w 10000"/>
                <a:gd name="connsiteY30" fmla="*/ 9620 h 10000"/>
                <a:gd name="connsiteX31" fmla="*/ 6373 w 10000"/>
                <a:gd name="connsiteY31" fmla="*/ 10000 h 10000"/>
                <a:gd name="connsiteX32" fmla="*/ 6586 w 10000"/>
                <a:gd name="connsiteY32" fmla="*/ 9430 h 10000"/>
                <a:gd name="connsiteX33" fmla="*/ 6855 w 10000"/>
                <a:gd name="connsiteY33" fmla="*/ 9052 h 10000"/>
                <a:gd name="connsiteX34" fmla="*/ 6855 w 10000"/>
                <a:gd name="connsiteY34" fmla="*/ 8848 h 10000"/>
                <a:gd name="connsiteX35" fmla="*/ 6757 w 10000"/>
                <a:gd name="connsiteY35" fmla="*/ 8739 h 10000"/>
                <a:gd name="connsiteX36" fmla="*/ 6915 w 10000"/>
                <a:gd name="connsiteY36" fmla="*/ 8555 h 10000"/>
                <a:gd name="connsiteX37" fmla="*/ 6887 w 10000"/>
                <a:gd name="connsiteY37" fmla="*/ 8408 h 10000"/>
                <a:gd name="connsiteX38" fmla="*/ 6779 w 10000"/>
                <a:gd name="connsiteY38" fmla="*/ 8282 h 10000"/>
                <a:gd name="connsiteX39" fmla="*/ 6757 w 10000"/>
                <a:gd name="connsiteY39" fmla="*/ 8183 h 10000"/>
                <a:gd name="connsiteX40" fmla="*/ 6785 w 10000"/>
                <a:gd name="connsiteY40" fmla="*/ 8111 h 10000"/>
                <a:gd name="connsiteX41" fmla="*/ 6931 w 10000"/>
                <a:gd name="connsiteY41" fmla="*/ 8168 h 10000"/>
                <a:gd name="connsiteX42" fmla="*/ 7045 w 10000"/>
                <a:gd name="connsiteY42" fmla="*/ 8165 h 10000"/>
                <a:gd name="connsiteX43" fmla="*/ 6983 w 10000"/>
                <a:gd name="connsiteY43" fmla="*/ 8045 h 10000"/>
                <a:gd name="connsiteX44" fmla="*/ 7003 w 10000"/>
                <a:gd name="connsiteY44" fmla="*/ 7973 h 10000"/>
                <a:gd name="connsiteX45" fmla="*/ 7089 w 10000"/>
                <a:gd name="connsiteY45" fmla="*/ 7871 h 10000"/>
                <a:gd name="connsiteX46" fmla="*/ 7074 w 10000"/>
                <a:gd name="connsiteY46" fmla="*/ 7786 h 10000"/>
                <a:gd name="connsiteX47" fmla="*/ 7152 w 10000"/>
                <a:gd name="connsiteY47" fmla="*/ 7503 h 10000"/>
                <a:gd name="connsiteX48" fmla="*/ 7130 w 10000"/>
                <a:gd name="connsiteY48" fmla="*/ 7414 h 10000"/>
                <a:gd name="connsiteX49" fmla="*/ 6729 w 10000"/>
                <a:gd name="connsiteY49" fmla="*/ 7196 h 10000"/>
                <a:gd name="connsiteX50" fmla="*/ 6785 w 10000"/>
                <a:gd name="connsiteY50" fmla="*/ 7188 h 10000"/>
                <a:gd name="connsiteX51" fmla="*/ 6998 w 10000"/>
                <a:gd name="connsiteY51" fmla="*/ 7244 h 10000"/>
                <a:gd name="connsiteX52" fmla="*/ 7230 w 10000"/>
                <a:gd name="connsiteY52" fmla="*/ 7223 h 10000"/>
                <a:gd name="connsiteX53" fmla="*/ 7295 w 10000"/>
                <a:gd name="connsiteY53" fmla="*/ 7147 h 10000"/>
                <a:gd name="connsiteX54" fmla="*/ 7074 w 10000"/>
                <a:gd name="connsiteY54" fmla="*/ 7000 h 10000"/>
                <a:gd name="connsiteX55" fmla="*/ 6414 w 10000"/>
                <a:gd name="connsiteY55" fmla="*/ 6902 h 10000"/>
                <a:gd name="connsiteX56" fmla="*/ 6458 w 10000"/>
                <a:gd name="connsiteY56" fmla="*/ 6858 h 10000"/>
                <a:gd name="connsiteX57" fmla="*/ 6998 w 10000"/>
                <a:gd name="connsiteY57" fmla="*/ 6827 h 10000"/>
                <a:gd name="connsiteX58" fmla="*/ 7295 w 10000"/>
                <a:gd name="connsiteY58" fmla="*/ 6916 h 10000"/>
                <a:gd name="connsiteX59" fmla="*/ 7466 w 10000"/>
                <a:gd name="connsiteY59" fmla="*/ 6858 h 10000"/>
                <a:gd name="connsiteX60" fmla="*/ 7529 w 10000"/>
                <a:gd name="connsiteY60" fmla="*/ 6706 h 10000"/>
                <a:gd name="connsiteX61" fmla="*/ 7840 w 10000"/>
                <a:gd name="connsiteY61" fmla="*/ 6706 h 10000"/>
                <a:gd name="connsiteX62" fmla="*/ 8261 w 10000"/>
                <a:gd name="connsiteY62" fmla="*/ 6396 h 10000"/>
                <a:gd name="connsiteX63" fmla="*/ 8275 w 10000"/>
                <a:gd name="connsiteY63" fmla="*/ 6190 h 10000"/>
                <a:gd name="connsiteX64" fmla="*/ 8453 w 10000"/>
                <a:gd name="connsiteY64" fmla="*/ 6237 h 10000"/>
                <a:gd name="connsiteX65" fmla="*/ 8446 w 10000"/>
                <a:gd name="connsiteY65" fmla="*/ 6445 h 10000"/>
                <a:gd name="connsiteX66" fmla="*/ 8727 w 10000"/>
                <a:gd name="connsiteY66" fmla="*/ 6429 h 10000"/>
                <a:gd name="connsiteX67" fmla="*/ 8913 w 10000"/>
                <a:gd name="connsiteY67" fmla="*/ 6215 h 10000"/>
                <a:gd name="connsiteX68" fmla="*/ 9258 w 10000"/>
                <a:gd name="connsiteY68" fmla="*/ 6023 h 10000"/>
                <a:gd name="connsiteX69" fmla="*/ 9203 w 10000"/>
                <a:gd name="connsiteY69" fmla="*/ 5805 h 10000"/>
                <a:gd name="connsiteX70" fmla="*/ 9306 w 10000"/>
                <a:gd name="connsiteY70" fmla="*/ 5893 h 10000"/>
                <a:gd name="connsiteX71" fmla="*/ 9464 w 10000"/>
                <a:gd name="connsiteY71" fmla="*/ 5893 h 10000"/>
                <a:gd name="connsiteX72" fmla="*/ 9464 w 10000"/>
                <a:gd name="connsiteY72" fmla="*/ 5790 h 10000"/>
                <a:gd name="connsiteX73" fmla="*/ 9611 w 10000"/>
                <a:gd name="connsiteY73" fmla="*/ 5716 h 10000"/>
                <a:gd name="connsiteX74" fmla="*/ 9592 w 10000"/>
                <a:gd name="connsiteY74" fmla="*/ 5637 h 10000"/>
                <a:gd name="connsiteX75" fmla="*/ 8350 w 10000"/>
                <a:gd name="connsiteY75" fmla="*/ 5792 h 10000"/>
                <a:gd name="connsiteX76" fmla="*/ 8058 w 10000"/>
                <a:gd name="connsiteY76" fmla="*/ 5749 h 10000"/>
                <a:gd name="connsiteX77" fmla="*/ 7942 w 10000"/>
                <a:gd name="connsiteY77" fmla="*/ 5805 h 10000"/>
                <a:gd name="connsiteX78" fmla="*/ 7903 w 10000"/>
                <a:gd name="connsiteY78" fmla="*/ 5695 h 10000"/>
                <a:gd name="connsiteX79" fmla="*/ 7765 w 10000"/>
                <a:gd name="connsiteY79" fmla="*/ 5598 h 10000"/>
                <a:gd name="connsiteX80" fmla="*/ 7213 w 10000"/>
                <a:gd name="connsiteY80" fmla="*/ 5399 h 10000"/>
                <a:gd name="connsiteX81" fmla="*/ 6887 w 10000"/>
                <a:gd name="connsiteY81" fmla="*/ 5432 h 10000"/>
                <a:gd name="connsiteX82" fmla="*/ 6757 w 10000"/>
                <a:gd name="connsiteY82" fmla="*/ 5376 h 10000"/>
                <a:gd name="connsiteX83" fmla="*/ 6894 w 10000"/>
                <a:gd name="connsiteY83" fmla="*/ 5328 h 10000"/>
                <a:gd name="connsiteX84" fmla="*/ 6998 w 10000"/>
                <a:gd name="connsiteY84" fmla="*/ 5223 h 10000"/>
                <a:gd name="connsiteX85" fmla="*/ 7152 w 10000"/>
                <a:gd name="connsiteY85" fmla="*/ 5256 h 10000"/>
                <a:gd name="connsiteX86" fmla="*/ 7335 w 10000"/>
                <a:gd name="connsiteY86" fmla="*/ 5230 h 10000"/>
                <a:gd name="connsiteX87" fmla="*/ 7611 w 10000"/>
                <a:gd name="connsiteY87" fmla="*/ 5264 h 10000"/>
                <a:gd name="connsiteX88" fmla="*/ 7645 w 10000"/>
                <a:gd name="connsiteY88" fmla="*/ 5249 h 10000"/>
                <a:gd name="connsiteX89" fmla="*/ 7859 w 10000"/>
                <a:gd name="connsiteY89" fmla="*/ 5409 h 10000"/>
                <a:gd name="connsiteX90" fmla="*/ 8017 w 10000"/>
                <a:gd name="connsiteY90" fmla="*/ 5349 h 10000"/>
                <a:gd name="connsiteX91" fmla="*/ 8032 w 10000"/>
                <a:gd name="connsiteY91" fmla="*/ 5295 h 10000"/>
                <a:gd name="connsiteX92" fmla="*/ 8176 w 10000"/>
                <a:gd name="connsiteY92" fmla="*/ 5390 h 10000"/>
                <a:gd name="connsiteX93" fmla="*/ 8369 w 10000"/>
                <a:gd name="connsiteY93" fmla="*/ 5442 h 10000"/>
                <a:gd name="connsiteX94" fmla="*/ 8446 w 10000"/>
                <a:gd name="connsiteY94" fmla="*/ 5347 h 10000"/>
                <a:gd name="connsiteX95" fmla="*/ 8507 w 10000"/>
                <a:gd name="connsiteY95" fmla="*/ 5399 h 10000"/>
                <a:gd name="connsiteX96" fmla="*/ 8596 w 10000"/>
                <a:gd name="connsiteY96" fmla="*/ 5585 h 10000"/>
                <a:gd name="connsiteX97" fmla="*/ 8782 w 10000"/>
                <a:gd name="connsiteY97" fmla="*/ 5626 h 10000"/>
                <a:gd name="connsiteX98" fmla="*/ 9542 w 10000"/>
                <a:gd name="connsiteY98" fmla="*/ 5356 h 10000"/>
                <a:gd name="connsiteX99" fmla="*/ 9914 w 10000"/>
                <a:gd name="connsiteY99" fmla="*/ 4976 h 10000"/>
                <a:gd name="connsiteX100" fmla="*/ 10000 w 10000"/>
                <a:gd name="connsiteY100" fmla="*/ 4704 h 10000"/>
                <a:gd name="connsiteX101" fmla="*/ 9866 w 10000"/>
                <a:gd name="connsiteY101" fmla="*/ 4453 h 10000"/>
                <a:gd name="connsiteX102" fmla="*/ 9582 w 10000"/>
                <a:gd name="connsiteY102" fmla="*/ 4307 h 10000"/>
                <a:gd name="connsiteX103" fmla="*/ 9382 w 10000"/>
                <a:gd name="connsiteY103" fmla="*/ 4060 h 10000"/>
                <a:gd name="connsiteX104" fmla="*/ 9569 w 10000"/>
                <a:gd name="connsiteY104" fmla="*/ 4053 h 10000"/>
                <a:gd name="connsiteX105" fmla="*/ 9555 w 10000"/>
                <a:gd name="connsiteY105" fmla="*/ 3997 h 10000"/>
                <a:gd name="connsiteX106" fmla="*/ 9068 w 10000"/>
                <a:gd name="connsiteY106" fmla="*/ 3826 h 10000"/>
                <a:gd name="connsiteX107" fmla="*/ 9047 w 10000"/>
                <a:gd name="connsiteY107" fmla="*/ 3668 h 10000"/>
                <a:gd name="connsiteX108" fmla="*/ 8953 w 10000"/>
                <a:gd name="connsiteY108" fmla="*/ 3503 h 10000"/>
                <a:gd name="connsiteX109" fmla="*/ 8569 w 10000"/>
                <a:gd name="connsiteY109" fmla="*/ 3534 h 10000"/>
                <a:gd name="connsiteX110" fmla="*/ 8431 w 10000"/>
                <a:gd name="connsiteY110" fmla="*/ 3358 h 10000"/>
                <a:gd name="connsiteX111" fmla="*/ 8350 w 10000"/>
                <a:gd name="connsiteY111" fmla="*/ 3347 h 10000"/>
                <a:gd name="connsiteX112" fmla="*/ 8350 w 10000"/>
                <a:gd name="connsiteY112" fmla="*/ 3426 h 10000"/>
                <a:gd name="connsiteX113" fmla="*/ 8176 w 10000"/>
                <a:gd name="connsiteY113" fmla="*/ 3716 h 10000"/>
                <a:gd name="connsiteX114" fmla="*/ 7990 w 10000"/>
                <a:gd name="connsiteY114" fmla="*/ 3891 h 10000"/>
                <a:gd name="connsiteX115" fmla="*/ 7401 w 10000"/>
                <a:gd name="connsiteY115" fmla="*/ 4182 h 10000"/>
                <a:gd name="connsiteX116" fmla="*/ 7198 w 10000"/>
                <a:gd name="connsiteY116" fmla="*/ 4174 h 10000"/>
                <a:gd name="connsiteX117" fmla="*/ 6915 w 10000"/>
                <a:gd name="connsiteY117" fmla="*/ 4218 h 10000"/>
                <a:gd name="connsiteX118" fmla="*/ 6757 w 10000"/>
                <a:gd name="connsiteY118" fmla="*/ 4174 h 10000"/>
                <a:gd name="connsiteX119" fmla="*/ 6965 w 10000"/>
                <a:gd name="connsiteY119" fmla="*/ 4089 h 10000"/>
                <a:gd name="connsiteX120" fmla="*/ 7235 w 10000"/>
                <a:gd name="connsiteY120" fmla="*/ 4053 h 10000"/>
                <a:gd name="connsiteX121" fmla="*/ 7455 w 10000"/>
                <a:gd name="connsiteY121" fmla="*/ 3918 h 10000"/>
                <a:gd name="connsiteX122" fmla="*/ 7674 w 10000"/>
                <a:gd name="connsiteY122" fmla="*/ 3853 h 10000"/>
                <a:gd name="connsiteX123" fmla="*/ 8082 w 10000"/>
                <a:gd name="connsiteY123" fmla="*/ 3612 h 10000"/>
                <a:gd name="connsiteX124" fmla="*/ 8157 w 10000"/>
                <a:gd name="connsiteY124" fmla="*/ 3455 h 10000"/>
                <a:gd name="connsiteX125" fmla="*/ 8165 w 10000"/>
                <a:gd name="connsiteY125" fmla="*/ 3253 h 10000"/>
                <a:gd name="connsiteX126" fmla="*/ 7978 w 10000"/>
                <a:gd name="connsiteY126" fmla="*/ 3218 h 10000"/>
                <a:gd name="connsiteX127" fmla="*/ 8058 w 10000"/>
                <a:gd name="connsiteY127" fmla="*/ 3095 h 10000"/>
                <a:gd name="connsiteX128" fmla="*/ 8087 w 10000"/>
                <a:gd name="connsiteY128" fmla="*/ 2937 h 10000"/>
                <a:gd name="connsiteX129" fmla="*/ 8007 w 10000"/>
                <a:gd name="connsiteY129" fmla="*/ 2791 h 10000"/>
                <a:gd name="connsiteX130" fmla="*/ 7450 w 10000"/>
                <a:gd name="connsiteY130" fmla="*/ 2993 h 10000"/>
                <a:gd name="connsiteX131" fmla="*/ 6694 w 10000"/>
                <a:gd name="connsiteY131" fmla="*/ 2903 h 10000"/>
                <a:gd name="connsiteX132" fmla="*/ 6304 w 10000"/>
                <a:gd name="connsiteY132" fmla="*/ 2341 h 10000"/>
                <a:gd name="connsiteX133" fmla="*/ 5294 w 10000"/>
                <a:gd name="connsiteY133" fmla="*/ 2235 h 10000"/>
                <a:gd name="connsiteX134" fmla="*/ 4505 w 10000"/>
                <a:gd name="connsiteY134" fmla="*/ 1770 h 10000"/>
                <a:gd name="connsiteX135" fmla="*/ 3730 w 10000"/>
                <a:gd name="connsiteY135" fmla="*/ 1210 h 10000"/>
                <a:gd name="connsiteX136" fmla="*/ 3154 w 10000"/>
                <a:gd name="connsiteY136" fmla="*/ 178 h 10000"/>
                <a:gd name="connsiteX137" fmla="*/ 2375 w 10000"/>
                <a:gd name="connsiteY137" fmla="*/ 0 h 10000"/>
                <a:gd name="connsiteX138" fmla="*/ 2226 w 10000"/>
                <a:gd name="connsiteY138" fmla="*/ 968 h 10000"/>
                <a:gd name="connsiteX139" fmla="*/ 2375 w 10000"/>
                <a:gd name="connsiteY139" fmla="*/ 1215 h 10000"/>
                <a:gd name="connsiteX140" fmla="*/ 2791 w 10000"/>
                <a:gd name="connsiteY140" fmla="*/ 1487 h 10000"/>
                <a:gd name="connsiteX141" fmla="*/ 2808 w 10000"/>
                <a:gd name="connsiteY141" fmla="*/ 1817 h 10000"/>
                <a:gd name="connsiteX142" fmla="*/ 2632 w 10000"/>
                <a:gd name="connsiteY142" fmla="*/ 2093 h 10000"/>
                <a:gd name="connsiteX143" fmla="*/ 2375 w 10000"/>
                <a:gd name="connsiteY143" fmla="*/ 2259 h 10000"/>
                <a:gd name="connsiteX144" fmla="*/ 2039 w 10000"/>
                <a:gd name="connsiteY144" fmla="*/ 2324 h 10000"/>
                <a:gd name="connsiteX145" fmla="*/ 1950 w 10000"/>
                <a:gd name="connsiteY145" fmla="*/ 2424 h 10000"/>
                <a:gd name="connsiteX146" fmla="*/ 2148 w 10000"/>
                <a:gd name="connsiteY146" fmla="*/ 2650 h 10000"/>
                <a:gd name="connsiteX147" fmla="*/ 2261 w 10000"/>
                <a:gd name="connsiteY147" fmla="*/ 3192 h 10000"/>
                <a:gd name="connsiteX148" fmla="*/ 2005 w 10000"/>
                <a:gd name="connsiteY148" fmla="*/ 3656 h 10000"/>
                <a:gd name="connsiteX149" fmla="*/ 2094 w 10000"/>
                <a:gd name="connsiteY149" fmla="*/ 3797 h 10000"/>
                <a:gd name="connsiteX150" fmla="*/ 2012 w 10000"/>
                <a:gd name="connsiteY150" fmla="*/ 4038 h 10000"/>
                <a:gd name="connsiteX151" fmla="*/ 1850 w 10000"/>
                <a:gd name="connsiteY151" fmla="*/ 4205 h 10000"/>
                <a:gd name="connsiteX152" fmla="*/ 1199 w 10000"/>
                <a:gd name="connsiteY152" fmla="*/ 4335 h 10000"/>
                <a:gd name="connsiteX153" fmla="*/ 1158 w 10000"/>
                <a:gd name="connsiteY153" fmla="*/ 4558 h 10000"/>
                <a:gd name="connsiteX154" fmla="*/ 808 w 10000"/>
                <a:gd name="connsiteY154" fmla="*/ 4889 h 10000"/>
                <a:gd name="connsiteX155" fmla="*/ 854 w 10000"/>
                <a:gd name="connsiteY155" fmla="*/ 5373 h 10000"/>
                <a:gd name="connsiteX156" fmla="*/ 560 w 10000"/>
                <a:gd name="connsiteY156" fmla="*/ 5988 h 10000"/>
                <a:gd name="connsiteX157" fmla="*/ 358 w 10000"/>
                <a:gd name="connsiteY157" fmla="*/ 6059 h 10000"/>
                <a:gd name="connsiteX158" fmla="*/ 275 w 10000"/>
                <a:gd name="connsiteY158" fmla="*/ 5913 h 10000"/>
                <a:gd name="connsiteX159" fmla="*/ 174 w 10000"/>
                <a:gd name="connsiteY159" fmla="*/ 6134 h 10000"/>
                <a:gd name="connsiteX160" fmla="*/ 239 w 10000"/>
                <a:gd name="connsiteY160" fmla="*/ 5751 h 10000"/>
                <a:gd name="connsiteX161" fmla="*/ 197 w 10000"/>
                <a:gd name="connsiteY161" fmla="*/ 5680 h 10000"/>
                <a:gd name="connsiteX0" fmla="*/ 197 w 10000"/>
                <a:gd name="connsiteY0" fmla="*/ 5680 h 10000"/>
                <a:gd name="connsiteX1" fmla="*/ 0 w 10000"/>
                <a:gd name="connsiteY1" fmla="*/ 5880 h 10000"/>
                <a:gd name="connsiteX2" fmla="*/ 0 w 10000"/>
                <a:gd name="connsiteY2" fmla="*/ 6858 h 10000"/>
                <a:gd name="connsiteX3" fmla="*/ 109 w 10000"/>
                <a:gd name="connsiteY3" fmla="*/ 6884 h 10000"/>
                <a:gd name="connsiteX4" fmla="*/ 134 w 10000"/>
                <a:gd name="connsiteY4" fmla="*/ 6962 h 10000"/>
                <a:gd name="connsiteX5" fmla="*/ 130 w 10000"/>
                <a:gd name="connsiteY5" fmla="*/ 7093 h 10000"/>
                <a:gd name="connsiteX6" fmla="*/ 89 w 10000"/>
                <a:gd name="connsiteY6" fmla="*/ 7151 h 10000"/>
                <a:gd name="connsiteX7" fmla="*/ 255 w 10000"/>
                <a:gd name="connsiteY7" fmla="*/ 7037 h 10000"/>
                <a:gd name="connsiteX8" fmla="*/ 325 w 10000"/>
                <a:gd name="connsiteY8" fmla="*/ 6929 h 10000"/>
                <a:gd name="connsiteX9" fmla="*/ 413 w 10000"/>
                <a:gd name="connsiteY9" fmla="*/ 7003 h 10000"/>
                <a:gd name="connsiteX10" fmla="*/ 316 w 10000"/>
                <a:gd name="connsiteY10" fmla="*/ 7163 h 10000"/>
                <a:gd name="connsiteX11" fmla="*/ 419 w 10000"/>
                <a:gd name="connsiteY11" fmla="*/ 7168 h 10000"/>
                <a:gd name="connsiteX12" fmla="*/ 469 w 10000"/>
                <a:gd name="connsiteY12" fmla="*/ 7208 h 10000"/>
                <a:gd name="connsiteX13" fmla="*/ 337 w 10000"/>
                <a:gd name="connsiteY13" fmla="*/ 7260 h 10000"/>
                <a:gd name="connsiteX14" fmla="*/ 130 w 10000"/>
                <a:gd name="connsiteY14" fmla="*/ 7426 h 10000"/>
                <a:gd name="connsiteX15" fmla="*/ 497 w 10000"/>
                <a:gd name="connsiteY15" fmla="*/ 7554 h 10000"/>
                <a:gd name="connsiteX16" fmla="*/ 545 w 10000"/>
                <a:gd name="connsiteY16" fmla="*/ 7736 h 10000"/>
                <a:gd name="connsiteX17" fmla="*/ 419 w 10000"/>
                <a:gd name="connsiteY17" fmla="*/ 8007 h 10000"/>
                <a:gd name="connsiteX18" fmla="*/ 688 w 10000"/>
                <a:gd name="connsiteY18" fmla="*/ 7991 h 10000"/>
                <a:gd name="connsiteX19" fmla="*/ 709 w 10000"/>
                <a:gd name="connsiteY19" fmla="*/ 8192 h 10000"/>
                <a:gd name="connsiteX20" fmla="*/ 530 w 10000"/>
                <a:gd name="connsiteY20" fmla="*/ 8336 h 10000"/>
                <a:gd name="connsiteX21" fmla="*/ 560 w 10000"/>
                <a:gd name="connsiteY21" fmla="*/ 8600 h 10000"/>
                <a:gd name="connsiteX22" fmla="*/ 489 w 10000"/>
                <a:gd name="connsiteY22" fmla="*/ 8812 h 10000"/>
                <a:gd name="connsiteX23" fmla="*/ 703 w 10000"/>
                <a:gd name="connsiteY23" fmla="*/ 8832 h 10000"/>
                <a:gd name="connsiteX24" fmla="*/ 992 w 10000"/>
                <a:gd name="connsiteY24" fmla="*/ 9954 h 10000"/>
                <a:gd name="connsiteX25" fmla="*/ 1653 w 10000"/>
                <a:gd name="connsiteY25" fmla="*/ 9589 h 10000"/>
                <a:gd name="connsiteX26" fmla="*/ 2252 w 10000"/>
                <a:gd name="connsiteY26" fmla="*/ 9787 h 10000"/>
                <a:gd name="connsiteX27" fmla="*/ 2400 w 10000"/>
                <a:gd name="connsiteY27" fmla="*/ 9328 h 10000"/>
                <a:gd name="connsiteX28" fmla="*/ 3729 w 10000"/>
                <a:gd name="connsiteY28" fmla="*/ 9898 h 10000"/>
                <a:gd name="connsiteX29" fmla="*/ 3743 w 10000"/>
                <a:gd name="connsiteY29" fmla="*/ 9492 h 10000"/>
                <a:gd name="connsiteX30" fmla="*/ 5433 w 10000"/>
                <a:gd name="connsiteY30" fmla="*/ 9620 h 10000"/>
                <a:gd name="connsiteX31" fmla="*/ 6373 w 10000"/>
                <a:gd name="connsiteY31" fmla="*/ 10000 h 10000"/>
                <a:gd name="connsiteX32" fmla="*/ 6586 w 10000"/>
                <a:gd name="connsiteY32" fmla="*/ 9430 h 10000"/>
                <a:gd name="connsiteX33" fmla="*/ 6855 w 10000"/>
                <a:gd name="connsiteY33" fmla="*/ 9052 h 10000"/>
                <a:gd name="connsiteX34" fmla="*/ 6855 w 10000"/>
                <a:gd name="connsiteY34" fmla="*/ 8848 h 10000"/>
                <a:gd name="connsiteX35" fmla="*/ 6757 w 10000"/>
                <a:gd name="connsiteY35" fmla="*/ 8739 h 10000"/>
                <a:gd name="connsiteX36" fmla="*/ 6915 w 10000"/>
                <a:gd name="connsiteY36" fmla="*/ 8555 h 10000"/>
                <a:gd name="connsiteX37" fmla="*/ 6887 w 10000"/>
                <a:gd name="connsiteY37" fmla="*/ 8408 h 10000"/>
                <a:gd name="connsiteX38" fmla="*/ 6779 w 10000"/>
                <a:gd name="connsiteY38" fmla="*/ 8282 h 10000"/>
                <a:gd name="connsiteX39" fmla="*/ 6757 w 10000"/>
                <a:gd name="connsiteY39" fmla="*/ 8183 h 10000"/>
                <a:gd name="connsiteX40" fmla="*/ 6785 w 10000"/>
                <a:gd name="connsiteY40" fmla="*/ 8111 h 10000"/>
                <a:gd name="connsiteX41" fmla="*/ 6931 w 10000"/>
                <a:gd name="connsiteY41" fmla="*/ 8168 h 10000"/>
                <a:gd name="connsiteX42" fmla="*/ 7045 w 10000"/>
                <a:gd name="connsiteY42" fmla="*/ 8165 h 10000"/>
                <a:gd name="connsiteX43" fmla="*/ 6983 w 10000"/>
                <a:gd name="connsiteY43" fmla="*/ 8045 h 10000"/>
                <a:gd name="connsiteX44" fmla="*/ 7003 w 10000"/>
                <a:gd name="connsiteY44" fmla="*/ 7973 h 10000"/>
                <a:gd name="connsiteX45" fmla="*/ 7089 w 10000"/>
                <a:gd name="connsiteY45" fmla="*/ 7871 h 10000"/>
                <a:gd name="connsiteX46" fmla="*/ 7074 w 10000"/>
                <a:gd name="connsiteY46" fmla="*/ 7786 h 10000"/>
                <a:gd name="connsiteX47" fmla="*/ 7152 w 10000"/>
                <a:gd name="connsiteY47" fmla="*/ 7503 h 10000"/>
                <a:gd name="connsiteX48" fmla="*/ 7130 w 10000"/>
                <a:gd name="connsiteY48" fmla="*/ 7414 h 10000"/>
                <a:gd name="connsiteX49" fmla="*/ 6729 w 10000"/>
                <a:gd name="connsiteY49" fmla="*/ 7196 h 10000"/>
                <a:gd name="connsiteX50" fmla="*/ 6785 w 10000"/>
                <a:gd name="connsiteY50" fmla="*/ 7188 h 10000"/>
                <a:gd name="connsiteX51" fmla="*/ 6998 w 10000"/>
                <a:gd name="connsiteY51" fmla="*/ 7244 h 10000"/>
                <a:gd name="connsiteX52" fmla="*/ 7230 w 10000"/>
                <a:gd name="connsiteY52" fmla="*/ 7223 h 10000"/>
                <a:gd name="connsiteX53" fmla="*/ 7295 w 10000"/>
                <a:gd name="connsiteY53" fmla="*/ 7147 h 10000"/>
                <a:gd name="connsiteX54" fmla="*/ 7074 w 10000"/>
                <a:gd name="connsiteY54" fmla="*/ 7000 h 10000"/>
                <a:gd name="connsiteX55" fmla="*/ 6414 w 10000"/>
                <a:gd name="connsiteY55" fmla="*/ 6902 h 10000"/>
                <a:gd name="connsiteX56" fmla="*/ 6458 w 10000"/>
                <a:gd name="connsiteY56" fmla="*/ 6858 h 10000"/>
                <a:gd name="connsiteX57" fmla="*/ 6998 w 10000"/>
                <a:gd name="connsiteY57" fmla="*/ 6827 h 10000"/>
                <a:gd name="connsiteX58" fmla="*/ 7295 w 10000"/>
                <a:gd name="connsiteY58" fmla="*/ 6916 h 10000"/>
                <a:gd name="connsiteX59" fmla="*/ 7466 w 10000"/>
                <a:gd name="connsiteY59" fmla="*/ 6858 h 10000"/>
                <a:gd name="connsiteX60" fmla="*/ 7529 w 10000"/>
                <a:gd name="connsiteY60" fmla="*/ 6706 h 10000"/>
                <a:gd name="connsiteX61" fmla="*/ 7840 w 10000"/>
                <a:gd name="connsiteY61" fmla="*/ 6706 h 10000"/>
                <a:gd name="connsiteX62" fmla="*/ 8261 w 10000"/>
                <a:gd name="connsiteY62" fmla="*/ 6396 h 10000"/>
                <a:gd name="connsiteX63" fmla="*/ 8275 w 10000"/>
                <a:gd name="connsiteY63" fmla="*/ 6190 h 10000"/>
                <a:gd name="connsiteX64" fmla="*/ 8453 w 10000"/>
                <a:gd name="connsiteY64" fmla="*/ 6237 h 10000"/>
                <a:gd name="connsiteX65" fmla="*/ 8446 w 10000"/>
                <a:gd name="connsiteY65" fmla="*/ 6445 h 10000"/>
                <a:gd name="connsiteX66" fmla="*/ 8727 w 10000"/>
                <a:gd name="connsiteY66" fmla="*/ 6429 h 10000"/>
                <a:gd name="connsiteX67" fmla="*/ 8913 w 10000"/>
                <a:gd name="connsiteY67" fmla="*/ 6215 h 10000"/>
                <a:gd name="connsiteX68" fmla="*/ 9258 w 10000"/>
                <a:gd name="connsiteY68" fmla="*/ 6023 h 10000"/>
                <a:gd name="connsiteX69" fmla="*/ 9203 w 10000"/>
                <a:gd name="connsiteY69" fmla="*/ 5805 h 10000"/>
                <a:gd name="connsiteX70" fmla="*/ 9306 w 10000"/>
                <a:gd name="connsiteY70" fmla="*/ 5893 h 10000"/>
                <a:gd name="connsiteX71" fmla="*/ 9464 w 10000"/>
                <a:gd name="connsiteY71" fmla="*/ 5893 h 10000"/>
                <a:gd name="connsiteX72" fmla="*/ 9464 w 10000"/>
                <a:gd name="connsiteY72" fmla="*/ 5790 h 10000"/>
                <a:gd name="connsiteX73" fmla="*/ 9611 w 10000"/>
                <a:gd name="connsiteY73" fmla="*/ 5716 h 10000"/>
                <a:gd name="connsiteX74" fmla="*/ 9592 w 10000"/>
                <a:gd name="connsiteY74" fmla="*/ 5637 h 10000"/>
                <a:gd name="connsiteX75" fmla="*/ 8350 w 10000"/>
                <a:gd name="connsiteY75" fmla="*/ 5792 h 10000"/>
                <a:gd name="connsiteX76" fmla="*/ 8058 w 10000"/>
                <a:gd name="connsiteY76" fmla="*/ 5749 h 10000"/>
                <a:gd name="connsiteX77" fmla="*/ 7942 w 10000"/>
                <a:gd name="connsiteY77" fmla="*/ 5805 h 10000"/>
                <a:gd name="connsiteX78" fmla="*/ 7903 w 10000"/>
                <a:gd name="connsiteY78" fmla="*/ 5695 h 10000"/>
                <a:gd name="connsiteX79" fmla="*/ 7765 w 10000"/>
                <a:gd name="connsiteY79" fmla="*/ 5598 h 10000"/>
                <a:gd name="connsiteX80" fmla="*/ 7213 w 10000"/>
                <a:gd name="connsiteY80" fmla="*/ 5399 h 10000"/>
                <a:gd name="connsiteX81" fmla="*/ 6887 w 10000"/>
                <a:gd name="connsiteY81" fmla="*/ 5432 h 10000"/>
                <a:gd name="connsiteX82" fmla="*/ 6757 w 10000"/>
                <a:gd name="connsiteY82" fmla="*/ 5376 h 10000"/>
                <a:gd name="connsiteX83" fmla="*/ 6894 w 10000"/>
                <a:gd name="connsiteY83" fmla="*/ 5328 h 10000"/>
                <a:gd name="connsiteX84" fmla="*/ 6998 w 10000"/>
                <a:gd name="connsiteY84" fmla="*/ 5223 h 10000"/>
                <a:gd name="connsiteX85" fmla="*/ 7152 w 10000"/>
                <a:gd name="connsiteY85" fmla="*/ 5256 h 10000"/>
                <a:gd name="connsiteX86" fmla="*/ 7335 w 10000"/>
                <a:gd name="connsiteY86" fmla="*/ 5230 h 10000"/>
                <a:gd name="connsiteX87" fmla="*/ 7611 w 10000"/>
                <a:gd name="connsiteY87" fmla="*/ 5264 h 10000"/>
                <a:gd name="connsiteX88" fmla="*/ 7645 w 10000"/>
                <a:gd name="connsiteY88" fmla="*/ 5249 h 10000"/>
                <a:gd name="connsiteX89" fmla="*/ 7859 w 10000"/>
                <a:gd name="connsiteY89" fmla="*/ 5409 h 10000"/>
                <a:gd name="connsiteX90" fmla="*/ 8017 w 10000"/>
                <a:gd name="connsiteY90" fmla="*/ 5349 h 10000"/>
                <a:gd name="connsiteX91" fmla="*/ 8032 w 10000"/>
                <a:gd name="connsiteY91" fmla="*/ 5295 h 10000"/>
                <a:gd name="connsiteX92" fmla="*/ 8176 w 10000"/>
                <a:gd name="connsiteY92" fmla="*/ 5390 h 10000"/>
                <a:gd name="connsiteX93" fmla="*/ 8369 w 10000"/>
                <a:gd name="connsiteY93" fmla="*/ 5442 h 10000"/>
                <a:gd name="connsiteX94" fmla="*/ 8446 w 10000"/>
                <a:gd name="connsiteY94" fmla="*/ 5347 h 10000"/>
                <a:gd name="connsiteX95" fmla="*/ 8507 w 10000"/>
                <a:gd name="connsiteY95" fmla="*/ 5399 h 10000"/>
                <a:gd name="connsiteX96" fmla="*/ 8596 w 10000"/>
                <a:gd name="connsiteY96" fmla="*/ 5585 h 10000"/>
                <a:gd name="connsiteX97" fmla="*/ 8782 w 10000"/>
                <a:gd name="connsiteY97" fmla="*/ 5626 h 10000"/>
                <a:gd name="connsiteX98" fmla="*/ 9542 w 10000"/>
                <a:gd name="connsiteY98" fmla="*/ 5356 h 10000"/>
                <a:gd name="connsiteX99" fmla="*/ 9914 w 10000"/>
                <a:gd name="connsiteY99" fmla="*/ 4976 h 10000"/>
                <a:gd name="connsiteX100" fmla="*/ 10000 w 10000"/>
                <a:gd name="connsiteY100" fmla="*/ 4704 h 10000"/>
                <a:gd name="connsiteX101" fmla="*/ 9866 w 10000"/>
                <a:gd name="connsiteY101" fmla="*/ 4453 h 10000"/>
                <a:gd name="connsiteX102" fmla="*/ 9582 w 10000"/>
                <a:gd name="connsiteY102" fmla="*/ 4307 h 10000"/>
                <a:gd name="connsiteX103" fmla="*/ 9382 w 10000"/>
                <a:gd name="connsiteY103" fmla="*/ 4060 h 10000"/>
                <a:gd name="connsiteX104" fmla="*/ 9569 w 10000"/>
                <a:gd name="connsiteY104" fmla="*/ 4053 h 10000"/>
                <a:gd name="connsiteX105" fmla="*/ 9555 w 10000"/>
                <a:gd name="connsiteY105" fmla="*/ 3997 h 10000"/>
                <a:gd name="connsiteX106" fmla="*/ 9068 w 10000"/>
                <a:gd name="connsiteY106" fmla="*/ 3826 h 10000"/>
                <a:gd name="connsiteX107" fmla="*/ 9047 w 10000"/>
                <a:gd name="connsiteY107" fmla="*/ 3668 h 10000"/>
                <a:gd name="connsiteX108" fmla="*/ 8953 w 10000"/>
                <a:gd name="connsiteY108" fmla="*/ 3503 h 10000"/>
                <a:gd name="connsiteX109" fmla="*/ 8569 w 10000"/>
                <a:gd name="connsiteY109" fmla="*/ 3534 h 10000"/>
                <a:gd name="connsiteX110" fmla="*/ 8431 w 10000"/>
                <a:gd name="connsiteY110" fmla="*/ 3358 h 10000"/>
                <a:gd name="connsiteX111" fmla="*/ 8350 w 10000"/>
                <a:gd name="connsiteY111" fmla="*/ 3347 h 10000"/>
                <a:gd name="connsiteX112" fmla="*/ 8350 w 10000"/>
                <a:gd name="connsiteY112" fmla="*/ 3426 h 10000"/>
                <a:gd name="connsiteX113" fmla="*/ 8176 w 10000"/>
                <a:gd name="connsiteY113" fmla="*/ 3716 h 10000"/>
                <a:gd name="connsiteX114" fmla="*/ 7990 w 10000"/>
                <a:gd name="connsiteY114" fmla="*/ 3891 h 10000"/>
                <a:gd name="connsiteX115" fmla="*/ 7401 w 10000"/>
                <a:gd name="connsiteY115" fmla="*/ 4182 h 10000"/>
                <a:gd name="connsiteX116" fmla="*/ 7198 w 10000"/>
                <a:gd name="connsiteY116" fmla="*/ 4174 h 10000"/>
                <a:gd name="connsiteX117" fmla="*/ 6915 w 10000"/>
                <a:gd name="connsiteY117" fmla="*/ 4218 h 10000"/>
                <a:gd name="connsiteX118" fmla="*/ 6757 w 10000"/>
                <a:gd name="connsiteY118" fmla="*/ 4174 h 10000"/>
                <a:gd name="connsiteX119" fmla="*/ 6965 w 10000"/>
                <a:gd name="connsiteY119" fmla="*/ 4089 h 10000"/>
                <a:gd name="connsiteX120" fmla="*/ 7235 w 10000"/>
                <a:gd name="connsiteY120" fmla="*/ 4053 h 10000"/>
                <a:gd name="connsiteX121" fmla="*/ 7455 w 10000"/>
                <a:gd name="connsiteY121" fmla="*/ 3918 h 10000"/>
                <a:gd name="connsiteX122" fmla="*/ 7674 w 10000"/>
                <a:gd name="connsiteY122" fmla="*/ 3853 h 10000"/>
                <a:gd name="connsiteX123" fmla="*/ 8082 w 10000"/>
                <a:gd name="connsiteY123" fmla="*/ 3612 h 10000"/>
                <a:gd name="connsiteX124" fmla="*/ 8157 w 10000"/>
                <a:gd name="connsiteY124" fmla="*/ 3455 h 10000"/>
                <a:gd name="connsiteX125" fmla="*/ 8165 w 10000"/>
                <a:gd name="connsiteY125" fmla="*/ 3253 h 10000"/>
                <a:gd name="connsiteX126" fmla="*/ 7978 w 10000"/>
                <a:gd name="connsiteY126" fmla="*/ 3218 h 10000"/>
                <a:gd name="connsiteX127" fmla="*/ 8058 w 10000"/>
                <a:gd name="connsiteY127" fmla="*/ 3095 h 10000"/>
                <a:gd name="connsiteX128" fmla="*/ 8087 w 10000"/>
                <a:gd name="connsiteY128" fmla="*/ 2937 h 10000"/>
                <a:gd name="connsiteX129" fmla="*/ 8007 w 10000"/>
                <a:gd name="connsiteY129" fmla="*/ 2791 h 10000"/>
                <a:gd name="connsiteX130" fmla="*/ 7450 w 10000"/>
                <a:gd name="connsiteY130" fmla="*/ 2993 h 10000"/>
                <a:gd name="connsiteX131" fmla="*/ 6694 w 10000"/>
                <a:gd name="connsiteY131" fmla="*/ 2903 h 10000"/>
                <a:gd name="connsiteX132" fmla="*/ 6304 w 10000"/>
                <a:gd name="connsiteY132" fmla="*/ 2341 h 10000"/>
                <a:gd name="connsiteX133" fmla="*/ 5294 w 10000"/>
                <a:gd name="connsiteY133" fmla="*/ 2235 h 10000"/>
                <a:gd name="connsiteX134" fmla="*/ 4505 w 10000"/>
                <a:gd name="connsiteY134" fmla="*/ 1770 h 10000"/>
                <a:gd name="connsiteX135" fmla="*/ 3730 w 10000"/>
                <a:gd name="connsiteY135" fmla="*/ 1210 h 10000"/>
                <a:gd name="connsiteX136" fmla="*/ 3154 w 10000"/>
                <a:gd name="connsiteY136" fmla="*/ 178 h 10000"/>
                <a:gd name="connsiteX137" fmla="*/ 2375 w 10000"/>
                <a:gd name="connsiteY137" fmla="*/ 0 h 10000"/>
                <a:gd name="connsiteX138" fmla="*/ 2226 w 10000"/>
                <a:gd name="connsiteY138" fmla="*/ 968 h 10000"/>
                <a:gd name="connsiteX139" fmla="*/ 2375 w 10000"/>
                <a:gd name="connsiteY139" fmla="*/ 1215 h 10000"/>
                <a:gd name="connsiteX140" fmla="*/ 2791 w 10000"/>
                <a:gd name="connsiteY140" fmla="*/ 1487 h 10000"/>
                <a:gd name="connsiteX141" fmla="*/ 2808 w 10000"/>
                <a:gd name="connsiteY141" fmla="*/ 1817 h 10000"/>
                <a:gd name="connsiteX142" fmla="*/ 2632 w 10000"/>
                <a:gd name="connsiteY142" fmla="*/ 2093 h 10000"/>
                <a:gd name="connsiteX143" fmla="*/ 2375 w 10000"/>
                <a:gd name="connsiteY143" fmla="*/ 2259 h 10000"/>
                <a:gd name="connsiteX144" fmla="*/ 2039 w 10000"/>
                <a:gd name="connsiteY144" fmla="*/ 2324 h 10000"/>
                <a:gd name="connsiteX145" fmla="*/ 1950 w 10000"/>
                <a:gd name="connsiteY145" fmla="*/ 2424 h 10000"/>
                <a:gd name="connsiteX146" fmla="*/ 2148 w 10000"/>
                <a:gd name="connsiteY146" fmla="*/ 2650 h 10000"/>
                <a:gd name="connsiteX147" fmla="*/ 2261 w 10000"/>
                <a:gd name="connsiteY147" fmla="*/ 3192 h 10000"/>
                <a:gd name="connsiteX148" fmla="*/ 2005 w 10000"/>
                <a:gd name="connsiteY148" fmla="*/ 3656 h 10000"/>
                <a:gd name="connsiteX149" fmla="*/ 2094 w 10000"/>
                <a:gd name="connsiteY149" fmla="*/ 3797 h 10000"/>
                <a:gd name="connsiteX150" fmla="*/ 2012 w 10000"/>
                <a:gd name="connsiteY150" fmla="*/ 4038 h 10000"/>
                <a:gd name="connsiteX151" fmla="*/ 1850 w 10000"/>
                <a:gd name="connsiteY151" fmla="*/ 4205 h 10000"/>
                <a:gd name="connsiteX152" fmla="*/ 1199 w 10000"/>
                <a:gd name="connsiteY152" fmla="*/ 4335 h 10000"/>
                <a:gd name="connsiteX153" fmla="*/ 1158 w 10000"/>
                <a:gd name="connsiteY153" fmla="*/ 4558 h 10000"/>
                <a:gd name="connsiteX154" fmla="*/ 808 w 10000"/>
                <a:gd name="connsiteY154" fmla="*/ 4889 h 10000"/>
                <a:gd name="connsiteX155" fmla="*/ 854 w 10000"/>
                <a:gd name="connsiteY155" fmla="*/ 5373 h 10000"/>
                <a:gd name="connsiteX156" fmla="*/ 560 w 10000"/>
                <a:gd name="connsiteY156" fmla="*/ 5988 h 10000"/>
                <a:gd name="connsiteX157" fmla="*/ 358 w 10000"/>
                <a:gd name="connsiteY157" fmla="*/ 6059 h 10000"/>
                <a:gd name="connsiteX158" fmla="*/ 275 w 10000"/>
                <a:gd name="connsiteY158" fmla="*/ 5913 h 10000"/>
                <a:gd name="connsiteX159" fmla="*/ 174 w 10000"/>
                <a:gd name="connsiteY159" fmla="*/ 6134 h 10000"/>
                <a:gd name="connsiteX160" fmla="*/ 239 w 10000"/>
                <a:gd name="connsiteY160" fmla="*/ 5751 h 10000"/>
                <a:gd name="connsiteX161" fmla="*/ 197 w 10000"/>
                <a:gd name="connsiteY161" fmla="*/ 5680 h 10000"/>
                <a:gd name="connsiteX0" fmla="*/ 197 w 10000"/>
                <a:gd name="connsiteY0" fmla="*/ 5680 h 10000"/>
                <a:gd name="connsiteX1" fmla="*/ 0 w 10000"/>
                <a:gd name="connsiteY1" fmla="*/ 5880 h 10000"/>
                <a:gd name="connsiteX2" fmla="*/ 0 w 10000"/>
                <a:gd name="connsiteY2" fmla="*/ 6858 h 10000"/>
                <a:gd name="connsiteX3" fmla="*/ 109 w 10000"/>
                <a:gd name="connsiteY3" fmla="*/ 6884 h 10000"/>
                <a:gd name="connsiteX4" fmla="*/ 134 w 10000"/>
                <a:gd name="connsiteY4" fmla="*/ 6962 h 10000"/>
                <a:gd name="connsiteX5" fmla="*/ 130 w 10000"/>
                <a:gd name="connsiteY5" fmla="*/ 7093 h 10000"/>
                <a:gd name="connsiteX6" fmla="*/ 89 w 10000"/>
                <a:gd name="connsiteY6" fmla="*/ 7151 h 10000"/>
                <a:gd name="connsiteX7" fmla="*/ 255 w 10000"/>
                <a:gd name="connsiteY7" fmla="*/ 7037 h 10000"/>
                <a:gd name="connsiteX8" fmla="*/ 325 w 10000"/>
                <a:gd name="connsiteY8" fmla="*/ 6929 h 10000"/>
                <a:gd name="connsiteX9" fmla="*/ 413 w 10000"/>
                <a:gd name="connsiteY9" fmla="*/ 7003 h 10000"/>
                <a:gd name="connsiteX10" fmla="*/ 316 w 10000"/>
                <a:gd name="connsiteY10" fmla="*/ 7163 h 10000"/>
                <a:gd name="connsiteX11" fmla="*/ 419 w 10000"/>
                <a:gd name="connsiteY11" fmla="*/ 7168 h 10000"/>
                <a:gd name="connsiteX12" fmla="*/ 469 w 10000"/>
                <a:gd name="connsiteY12" fmla="*/ 7208 h 10000"/>
                <a:gd name="connsiteX13" fmla="*/ 337 w 10000"/>
                <a:gd name="connsiteY13" fmla="*/ 7260 h 10000"/>
                <a:gd name="connsiteX14" fmla="*/ 130 w 10000"/>
                <a:gd name="connsiteY14" fmla="*/ 7426 h 10000"/>
                <a:gd name="connsiteX15" fmla="*/ 497 w 10000"/>
                <a:gd name="connsiteY15" fmla="*/ 7554 h 10000"/>
                <a:gd name="connsiteX16" fmla="*/ 545 w 10000"/>
                <a:gd name="connsiteY16" fmla="*/ 7736 h 10000"/>
                <a:gd name="connsiteX17" fmla="*/ 419 w 10000"/>
                <a:gd name="connsiteY17" fmla="*/ 8007 h 10000"/>
                <a:gd name="connsiteX18" fmla="*/ 688 w 10000"/>
                <a:gd name="connsiteY18" fmla="*/ 7991 h 10000"/>
                <a:gd name="connsiteX19" fmla="*/ 709 w 10000"/>
                <a:gd name="connsiteY19" fmla="*/ 8192 h 10000"/>
                <a:gd name="connsiteX20" fmla="*/ 530 w 10000"/>
                <a:gd name="connsiteY20" fmla="*/ 8336 h 10000"/>
                <a:gd name="connsiteX21" fmla="*/ 560 w 10000"/>
                <a:gd name="connsiteY21" fmla="*/ 8600 h 10000"/>
                <a:gd name="connsiteX22" fmla="*/ 489 w 10000"/>
                <a:gd name="connsiteY22" fmla="*/ 8812 h 10000"/>
                <a:gd name="connsiteX23" fmla="*/ 703 w 10000"/>
                <a:gd name="connsiteY23" fmla="*/ 8832 h 10000"/>
                <a:gd name="connsiteX24" fmla="*/ 992 w 10000"/>
                <a:gd name="connsiteY24" fmla="*/ 9954 h 10000"/>
                <a:gd name="connsiteX25" fmla="*/ 1653 w 10000"/>
                <a:gd name="connsiteY25" fmla="*/ 9589 h 10000"/>
                <a:gd name="connsiteX26" fmla="*/ 2252 w 10000"/>
                <a:gd name="connsiteY26" fmla="*/ 9787 h 10000"/>
                <a:gd name="connsiteX27" fmla="*/ 2712 w 10000"/>
                <a:gd name="connsiteY27" fmla="*/ 9539 h 10000"/>
                <a:gd name="connsiteX28" fmla="*/ 3729 w 10000"/>
                <a:gd name="connsiteY28" fmla="*/ 9898 h 10000"/>
                <a:gd name="connsiteX29" fmla="*/ 3743 w 10000"/>
                <a:gd name="connsiteY29" fmla="*/ 9492 h 10000"/>
                <a:gd name="connsiteX30" fmla="*/ 5433 w 10000"/>
                <a:gd name="connsiteY30" fmla="*/ 9620 h 10000"/>
                <a:gd name="connsiteX31" fmla="*/ 6373 w 10000"/>
                <a:gd name="connsiteY31" fmla="*/ 10000 h 10000"/>
                <a:gd name="connsiteX32" fmla="*/ 6586 w 10000"/>
                <a:gd name="connsiteY32" fmla="*/ 9430 h 10000"/>
                <a:gd name="connsiteX33" fmla="*/ 6855 w 10000"/>
                <a:gd name="connsiteY33" fmla="*/ 9052 h 10000"/>
                <a:gd name="connsiteX34" fmla="*/ 6855 w 10000"/>
                <a:gd name="connsiteY34" fmla="*/ 8848 h 10000"/>
                <a:gd name="connsiteX35" fmla="*/ 6757 w 10000"/>
                <a:gd name="connsiteY35" fmla="*/ 8739 h 10000"/>
                <a:gd name="connsiteX36" fmla="*/ 6915 w 10000"/>
                <a:gd name="connsiteY36" fmla="*/ 8555 h 10000"/>
                <a:gd name="connsiteX37" fmla="*/ 6887 w 10000"/>
                <a:gd name="connsiteY37" fmla="*/ 8408 h 10000"/>
                <a:gd name="connsiteX38" fmla="*/ 6779 w 10000"/>
                <a:gd name="connsiteY38" fmla="*/ 8282 h 10000"/>
                <a:gd name="connsiteX39" fmla="*/ 6757 w 10000"/>
                <a:gd name="connsiteY39" fmla="*/ 8183 h 10000"/>
                <a:gd name="connsiteX40" fmla="*/ 6785 w 10000"/>
                <a:gd name="connsiteY40" fmla="*/ 8111 h 10000"/>
                <a:gd name="connsiteX41" fmla="*/ 6931 w 10000"/>
                <a:gd name="connsiteY41" fmla="*/ 8168 h 10000"/>
                <a:gd name="connsiteX42" fmla="*/ 7045 w 10000"/>
                <a:gd name="connsiteY42" fmla="*/ 8165 h 10000"/>
                <a:gd name="connsiteX43" fmla="*/ 6983 w 10000"/>
                <a:gd name="connsiteY43" fmla="*/ 8045 h 10000"/>
                <a:gd name="connsiteX44" fmla="*/ 7003 w 10000"/>
                <a:gd name="connsiteY44" fmla="*/ 7973 h 10000"/>
                <a:gd name="connsiteX45" fmla="*/ 7089 w 10000"/>
                <a:gd name="connsiteY45" fmla="*/ 7871 h 10000"/>
                <a:gd name="connsiteX46" fmla="*/ 7074 w 10000"/>
                <a:gd name="connsiteY46" fmla="*/ 7786 h 10000"/>
                <a:gd name="connsiteX47" fmla="*/ 7152 w 10000"/>
                <a:gd name="connsiteY47" fmla="*/ 7503 h 10000"/>
                <a:gd name="connsiteX48" fmla="*/ 7130 w 10000"/>
                <a:gd name="connsiteY48" fmla="*/ 7414 h 10000"/>
                <a:gd name="connsiteX49" fmla="*/ 6729 w 10000"/>
                <a:gd name="connsiteY49" fmla="*/ 7196 h 10000"/>
                <a:gd name="connsiteX50" fmla="*/ 6785 w 10000"/>
                <a:gd name="connsiteY50" fmla="*/ 7188 h 10000"/>
                <a:gd name="connsiteX51" fmla="*/ 6998 w 10000"/>
                <a:gd name="connsiteY51" fmla="*/ 7244 h 10000"/>
                <a:gd name="connsiteX52" fmla="*/ 7230 w 10000"/>
                <a:gd name="connsiteY52" fmla="*/ 7223 h 10000"/>
                <a:gd name="connsiteX53" fmla="*/ 7295 w 10000"/>
                <a:gd name="connsiteY53" fmla="*/ 7147 h 10000"/>
                <a:gd name="connsiteX54" fmla="*/ 7074 w 10000"/>
                <a:gd name="connsiteY54" fmla="*/ 7000 h 10000"/>
                <a:gd name="connsiteX55" fmla="*/ 6414 w 10000"/>
                <a:gd name="connsiteY55" fmla="*/ 6902 h 10000"/>
                <a:gd name="connsiteX56" fmla="*/ 6458 w 10000"/>
                <a:gd name="connsiteY56" fmla="*/ 6858 h 10000"/>
                <a:gd name="connsiteX57" fmla="*/ 6998 w 10000"/>
                <a:gd name="connsiteY57" fmla="*/ 6827 h 10000"/>
                <a:gd name="connsiteX58" fmla="*/ 7295 w 10000"/>
                <a:gd name="connsiteY58" fmla="*/ 6916 h 10000"/>
                <a:gd name="connsiteX59" fmla="*/ 7466 w 10000"/>
                <a:gd name="connsiteY59" fmla="*/ 6858 h 10000"/>
                <a:gd name="connsiteX60" fmla="*/ 7529 w 10000"/>
                <a:gd name="connsiteY60" fmla="*/ 6706 h 10000"/>
                <a:gd name="connsiteX61" fmla="*/ 7840 w 10000"/>
                <a:gd name="connsiteY61" fmla="*/ 6706 h 10000"/>
                <a:gd name="connsiteX62" fmla="*/ 8261 w 10000"/>
                <a:gd name="connsiteY62" fmla="*/ 6396 h 10000"/>
                <a:gd name="connsiteX63" fmla="*/ 8275 w 10000"/>
                <a:gd name="connsiteY63" fmla="*/ 6190 h 10000"/>
                <a:gd name="connsiteX64" fmla="*/ 8453 w 10000"/>
                <a:gd name="connsiteY64" fmla="*/ 6237 h 10000"/>
                <a:gd name="connsiteX65" fmla="*/ 8446 w 10000"/>
                <a:gd name="connsiteY65" fmla="*/ 6445 h 10000"/>
                <a:gd name="connsiteX66" fmla="*/ 8727 w 10000"/>
                <a:gd name="connsiteY66" fmla="*/ 6429 h 10000"/>
                <a:gd name="connsiteX67" fmla="*/ 8913 w 10000"/>
                <a:gd name="connsiteY67" fmla="*/ 6215 h 10000"/>
                <a:gd name="connsiteX68" fmla="*/ 9258 w 10000"/>
                <a:gd name="connsiteY68" fmla="*/ 6023 h 10000"/>
                <a:gd name="connsiteX69" fmla="*/ 9203 w 10000"/>
                <a:gd name="connsiteY69" fmla="*/ 5805 h 10000"/>
                <a:gd name="connsiteX70" fmla="*/ 9306 w 10000"/>
                <a:gd name="connsiteY70" fmla="*/ 5893 h 10000"/>
                <a:gd name="connsiteX71" fmla="*/ 9464 w 10000"/>
                <a:gd name="connsiteY71" fmla="*/ 5893 h 10000"/>
                <a:gd name="connsiteX72" fmla="*/ 9464 w 10000"/>
                <a:gd name="connsiteY72" fmla="*/ 5790 h 10000"/>
                <a:gd name="connsiteX73" fmla="*/ 9611 w 10000"/>
                <a:gd name="connsiteY73" fmla="*/ 5716 h 10000"/>
                <a:gd name="connsiteX74" fmla="*/ 9592 w 10000"/>
                <a:gd name="connsiteY74" fmla="*/ 5637 h 10000"/>
                <a:gd name="connsiteX75" fmla="*/ 8350 w 10000"/>
                <a:gd name="connsiteY75" fmla="*/ 5792 h 10000"/>
                <a:gd name="connsiteX76" fmla="*/ 8058 w 10000"/>
                <a:gd name="connsiteY76" fmla="*/ 5749 h 10000"/>
                <a:gd name="connsiteX77" fmla="*/ 7942 w 10000"/>
                <a:gd name="connsiteY77" fmla="*/ 5805 h 10000"/>
                <a:gd name="connsiteX78" fmla="*/ 7903 w 10000"/>
                <a:gd name="connsiteY78" fmla="*/ 5695 h 10000"/>
                <a:gd name="connsiteX79" fmla="*/ 7765 w 10000"/>
                <a:gd name="connsiteY79" fmla="*/ 5598 h 10000"/>
                <a:gd name="connsiteX80" fmla="*/ 7213 w 10000"/>
                <a:gd name="connsiteY80" fmla="*/ 5399 h 10000"/>
                <a:gd name="connsiteX81" fmla="*/ 6887 w 10000"/>
                <a:gd name="connsiteY81" fmla="*/ 5432 h 10000"/>
                <a:gd name="connsiteX82" fmla="*/ 6757 w 10000"/>
                <a:gd name="connsiteY82" fmla="*/ 5376 h 10000"/>
                <a:gd name="connsiteX83" fmla="*/ 6894 w 10000"/>
                <a:gd name="connsiteY83" fmla="*/ 5328 h 10000"/>
                <a:gd name="connsiteX84" fmla="*/ 6998 w 10000"/>
                <a:gd name="connsiteY84" fmla="*/ 5223 h 10000"/>
                <a:gd name="connsiteX85" fmla="*/ 7152 w 10000"/>
                <a:gd name="connsiteY85" fmla="*/ 5256 h 10000"/>
                <a:gd name="connsiteX86" fmla="*/ 7335 w 10000"/>
                <a:gd name="connsiteY86" fmla="*/ 5230 h 10000"/>
                <a:gd name="connsiteX87" fmla="*/ 7611 w 10000"/>
                <a:gd name="connsiteY87" fmla="*/ 5264 h 10000"/>
                <a:gd name="connsiteX88" fmla="*/ 7645 w 10000"/>
                <a:gd name="connsiteY88" fmla="*/ 5249 h 10000"/>
                <a:gd name="connsiteX89" fmla="*/ 7859 w 10000"/>
                <a:gd name="connsiteY89" fmla="*/ 5409 h 10000"/>
                <a:gd name="connsiteX90" fmla="*/ 8017 w 10000"/>
                <a:gd name="connsiteY90" fmla="*/ 5349 h 10000"/>
                <a:gd name="connsiteX91" fmla="*/ 8032 w 10000"/>
                <a:gd name="connsiteY91" fmla="*/ 5295 h 10000"/>
                <a:gd name="connsiteX92" fmla="*/ 8176 w 10000"/>
                <a:gd name="connsiteY92" fmla="*/ 5390 h 10000"/>
                <a:gd name="connsiteX93" fmla="*/ 8369 w 10000"/>
                <a:gd name="connsiteY93" fmla="*/ 5442 h 10000"/>
                <a:gd name="connsiteX94" fmla="*/ 8446 w 10000"/>
                <a:gd name="connsiteY94" fmla="*/ 5347 h 10000"/>
                <a:gd name="connsiteX95" fmla="*/ 8507 w 10000"/>
                <a:gd name="connsiteY95" fmla="*/ 5399 h 10000"/>
                <a:gd name="connsiteX96" fmla="*/ 8596 w 10000"/>
                <a:gd name="connsiteY96" fmla="*/ 5585 h 10000"/>
                <a:gd name="connsiteX97" fmla="*/ 8782 w 10000"/>
                <a:gd name="connsiteY97" fmla="*/ 5626 h 10000"/>
                <a:gd name="connsiteX98" fmla="*/ 9542 w 10000"/>
                <a:gd name="connsiteY98" fmla="*/ 5356 h 10000"/>
                <a:gd name="connsiteX99" fmla="*/ 9914 w 10000"/>
                <a:gd name="connsiteY99" fmla="*/ 4976 h 10000"/>
                <a:gd name="connsiteX100" fmla="*/ 10000 w 10000"/>
                <a:gd name="connsiteY100" fmla="*/ 4704 h 10000"/>
                <a:gd name="connsiteX101" fmla="*/ 9866 w 10000"/>
                <a:gd name="connsiteY101" fmla="*/ 4453 h 10000"/>
                <a:gd name="connsiteX102" fmla="*/ 9582 w 10000"/>
                <a:gd name="connsiteY102" fmla="*/ 4307 h 10000"/>
                <a:gd name="connsiteX103" fmla="*/ 9382 w 10000"/>
                <a:gd name="connsiteY103" fmla="*/ 4060 h 10000"/>
                <a:gd name="connsiteX104" fmla="*/ 9569 w 10000"/>
                <a:gd name="connsiteY104" fmla="*/ 4053 h 10000"/>
                <a:gd name="connsiteX105" fmla="*/ 9555 w 10000"/>
                <a:gd name="connsiteY105" fmla="*/ 3997 h 10000"/>
                <a:gd name="connsiteX106" fmla="*/ 9068 w 10000"/>
                <a:gd name="connsiteY106" fmla="*/ 3826 h 10000"/>
                <a:gd name="connsiteX107" fmla="*/ 9047 w 10000"/>
                <a:gd name="connsiteY107" fmla="*/ 3668 h 10000"/>
                <a:gd name="connsiteX108" fmla="*/ 8953 w 10000"/>
                <a:gd name="connsiteY108" fmla="*/ 3503 h 10000"/>
                <a:gd name="connsiteX109" fmla="*/ 8569 w 10000"/>
                <a:gd name="connsiteY109" fmla="*/ 3534 h 10000"/>
                <a:gd name="connsiteX110" fmla="*/ 8431 w 10000"/>
                <a:gd name="connsiteY110" fmla="*/ 3358 h 10000"/>
                <a:gd name="connsiteX111" fmla="*/ 8350 w 10000"/>
                <a:gd name="connsiteY111" fmla="*/ 3347 h 10000"/>
                <a:gd name="connsiteX112" fmla="*/ 8350 w 10000"/>
                <a:gd name="connsiteY112" fmla="*/ 3426 h 10000"/>
                <a:gd name="connsiteX113" fmla="*/ 8176 w 10000"/>
                <a:gd name="connsiteY113" fmla="*/ 3716 h 10000"/>
                <a:gd name="connsiteX114" fmla="*/ 7990 w 10000"/>
                <a:gd name="connsiteY114" fmla="*/ 3891 h 10000"/>
                <a:gd name="connsiteX115" fmla="*/ 7401 w 10000"/>
                <a:gd name="connsiteY115" fmla="*/ 4182 h 10000"/>
                <a:gd name="connsiteX116" fmla="*/ 7198 w 10000"/>
                <a:gd name="connsiteY116" fmla="*/ 4174 h 10000"/>
                <a:gd name="connsiteX117" fmla="*/ 6915 w 10000"/>
                <a:gd name="connsiteY117" fmla="*/ 4218 h 10000"/>
                <a:gd name="connsiteX118" fmla="*/ 6757 w 10000"/>
                <a:gd name="connsiteY118" fmla="*/ 4174 h 10000"/>
                <a:gd name="connsiteX119" fmla="*/ 6965 w 10000"/>
                <a:gd name="connsiteY119" fmla="*/ 4089 h 10000"/>
                <a:gd name="connsiteX120" fmla="*/ 7235 w 10000"/>
                <a:gd name="connsiteY120" fmla="*/ 4053 h 10000"/>
                <a:gd name="connsiteX121" fmla="*/ 7455 w 10000"/>
                <a:gd name="connsiteY121" fmla="*/ 3918 h 10000"/>
                <a:gd name="connsiteX122" fmla="*/ 7674 w 10000"/>
                <a:gd name="connsiteY122" fmla="*/ 3853 h 10000"/>
                <a:gd name="connsiteX123" fmla="*/ 8082 w 10000"/>
                <a:gd name="connsiteY123" fmla="*/ 3612 h 10000"/>
                <a:gd name="connsiteX124" fmla="*/ 8157 w 10000"/>
                <a:gd name="connsiteY124" fmla="*/ 3455 h 10000"/>
                <a:gd name="connsiteX125" fmla="*/ 8165 w 10000"/>
                <a:gd name="connsiteY125" fmla="*/ 3253 h 10000"/>
                <a:gd name="connsiteX126" fmla="*/ 7978 w 10000"/>
                <a:gd name="connsiteY126" fmla="*/ 3218 h 10000"/>
                <a:gd name="connsiteX127" fmla="*/ 8058 w 10000"/>
                <a:gd name="connsiteY127" fmla="*/ 3095 h 10000"/>
                <a:gd name="connsiteX128" fmla="*/ 8087 w 10000"/>
                <a:gd name="connsiteY128" fmla="*/ 2937 h 10000"/>
                <a:gd name="connsiteX129" fmla="*/ 8007 w 10000"/>
                <a:gd name="connsiteY129" fmla="*/ 2791 h 10000"/>
                <a:gd name="connsiteX130" fmla="*/ 7450 w 10000"/>
                <a:gd name="connsiteY130" fmla="*/ 2993 h 10000"/>
                <a:gd name="connsiteX131" fmla="*/ 6694 w 10000"/>
                <a:gd name="connsiteY131" fmla="*/ 2903 h 10000"/>
                <a:gd name="connsiteX132" fmla="*/ 6304 w 10000"/>
                <a:gd name="connsiteY132" fmla="*/ 2341 h 10000"/>
                <a:gd name="connsiteX133" fmla="*/ 5294 w 10000"/>
                <a:gd name="connsiteY133" fmla="*/ 2235 h 10000"/>
                <a:gd name="connsiteX134" fmla="*/ 4505 w 10000"/>
                <a:gd name="connsiteY134" fmla="*/ 1770 h 10000"/>
                <a:gd name="connsiteX135" fmla="*/ 3730 w 10000"/>
                <a:gd name="connsiteY135" fmla="*/ 1210 h 10000"/>
                <a:gd name="connsiteX136" fmla="*/ 3154 w 10000"/>
                <a:gd name="connsiteY136" fmla="*/ 178 h 10000"/>
                <a:gd name="connsiteX137" fmla="*/ 2375 w 10000"/>
                <a:gd name="connsiteY137" fmla="*/ 0 h 10000"/>
                <a:gd name="connsiteX138" fmla="*/ 2226 w 10000"/>
                <a:gd name="connsiteY138" fmla="*/ 968 h 10000"/>
                <a:gd name="connsiteX139" fmla="*/ 2375 w 10000"/>
                <a:gd name="connsiteY139" fmla="*/ 1215 h 10000"/>
                <a:gd name="connsiteX140" fmla="*/ 2791 w 10000"/>
                <a:gd name="connsiteY140" fmla="*/ 1487 h 10000"/>
                <a:gd name="connsiteX141" fmla="*/ 2808 w 10000"/>
                <a:gd name="connsiteY141" fmla="*/ 1817 h 10000"/>
                <a:gd name="connsiteX142" fmla="*/ 2632 w 10000"/>
                <a:gd name="connsiteY142" fmla="*/ 2093 h 10000"/>
                <a:gd name="connsiteX143" fmla="*/ 2375 w 10000"/>
                <a:gd name="connsiteY143" fmla="*/ 2259 h 10000"/>
                <a:gd name="connsiteX144" fmla="*/ 2039 w 10000"/>
                <a:gd name="connsiteY144" fmla="*/ 2324 h 10000"/>
                <a:gd name="connsiteX145" fmla="*/ 1950 w 10000"/>
                <a:gd name="connsiteY145" fmla="*/ 2424 h 10000"/>
                <a:gd name="connsiteX146" fmla="*/ 2148 w 10000"/>
                <a:gd name="connsiteY146" fmla="*/ 2650 h 10000"/>
                <a:gd name="connsiteX147" fmla="*/ 2261 w 10000"/>
                <a:gd name="connsiteY147" fmla="*/ 3192 h 10000"/>
                <a:gd name="connsiteX148" fmla="*/ 2005 w 10000"/>
                <a:gd name="connsiteY148" fmla="*/ 3656 h 10000"/>
                <a:gd name="connsiteX149" fmla="*/ 2094 w 10000"/>
                <a:gd name="connsiteY149" fmla="*/ 3797 h 10000"/>
                <a:gd name="connsiteX150" fmla="*/ 2012 w 10000"/>
                <a:gd name="connsiteY150" fmla="*/ 4038 h 10000"/>
                <a:gd name="connsiteX151" fmla="*/ 1850 w 10000"/>
                <a:gd name="connsiteY151" fmla="*/ 4205 h 10000"/>
                <a:gd name="connsiteX152" fmla="*/ 1199 w 10000"/>
                <a:gd name="connsiteY152" fmla="*/ 4335 h 10000"/>
                <a:gd name="connsiteX153" fmla="*/ 1158 w 10000"/>
                <a:gd name="connsiteY153" fmla="*/ 4558 h 10000"/>
                <a:gd name="connsiteX154" fmla="*/ 808 w 10000"/>
                <a:gd name="connsiteY154" fmla="*/ 4889 h 10000"/>
                <a:gd name="connsiteX155" fmla="*/ 854 w 10000"/>
                <a:gd name="connsiteY155" fmla="*/ 5373 h 10000"/>
                <a:gd name="connsiteX156" fmla="*/ 560 w 10000"/>
                <a:gd name="connsiteY156" fmla="*/ 5988 h 10000"/>
                <a:gd name="connsiteX157" fmla="*/ 358 w 10000"/>
                <a:gd name="connsiteY157" fmla="*/ 6059 h 10000"/>
                <a:gd name="connsiteX158" fmla="*/ 275 w 10000"/>
                <a:gd name="connsiteY158" fmla="*/ 5913 h 10000"/>
                <a:gd name="connsiteX159" fmla="*/ 174 w 10000"/>
                <a:gd name="connsiteY159" fmla="*/ 6134 h 10000"/>
                <a:gd name="connsiteX160" fmla="*/ 239 w 10000"/>
                <a:gd name="connsiteY160" fmla="*/ 5751 h 10000"/>
                <a:gd name="connsiteX161" fmla="*/ 197 w 10000"/>
                <a:gd name="connsiteY161" fmla="*/ 5680 h 10000"/>
                <a:gd name="connsiteX0" fmla="*/ 197 w 10000"/>
                <a:gd name="connsiteY0" fmla="*/ 5680 h 10000"/>
                <a:gd name="connsiteX1" fmla="*/ 0 w 10000"/>
                <a:gd name="connsiteY1" fmla="*/ 5880 h 10000"/>
                <a:gd name="connsiteX2" fmla="*/ 0 w 10000"/>
                <a:gd name="connsiteY2" fmla="*/ 6858 h 10000"/>
                <a:gd name="connsiteX3" fmla="*/ 109 w 10000"/>
                <a:gd name="connsiteY3" fmla="*/ 6884 h 10000"/>
                <a:gd name="connsiteX4" fmla="*/ 134 w 10000"/>
                <a:gd name="connsiteY4" fmla="*/ 6962 h 10000"/>
                <a:gd name="connsiteX5" fmla="*/ 130 w 10000"/>
                <a:gd name="connsiteY5" fmla="*/ 7093 h 10000"/>
                <a:gd name="connsiteX6" fmla="*/ 89 w 10000"/>
                <a:gd name="connsiteY6" fmla="*/ 7151 h 10000"/>
                <a:gd name="connsiteX7" fmla="*/ 255 w 10000"/>
                <a:gd name="connsiteY7" fmla="*/ 7037 h 10000"/>
                <a:gd name="connsiteX8" fmla="*/ 325 w 10000"/>
                <a:gd name="connsiteY8" fmla="*/ 6929 h 10000"/>
                <a:gd name="connsiteX9" fmla="*/ 413 w 10000"/>
                <a:gd name="connsiteY9" fmla="*/ 7003 h 10000"/>
                <a:gd name="connsiteX10" fmla="*/ 316 w 10000"/>
                <a:gd name="connsiteY10" fmla="*/ 7163 h 10000"/>
                <a:gd name="connsiteX11" fmla="*/ 419 w 10000"/>
                <a:gd name="connsiteY11" fmla="*/ 7168 h 10000"/>
                <a:gd name="connsiteX12" fmla="*/ 469 w 10000"/>
                <a:gd name="connsiteY12" fmla="*/ 7208 h 10000"/>
                <a:gd name="connsiteX13" fmla="*/ 337 w 10000"/>
                <a:gd name="connsiteY13" fmla="*/ 7260 h 10000"/>
                <a:gd name="connsiteX14" fmla="*/ 130 w 10000"/>
                <a:gd name="connsiteY14" fmla="*/ 7426 h 10000"/>
                <a:gd name="connsiteX15" fmla="*/ 497 w 10000"/>
                <a:gd name="connsiteY15" fmla="*/ 7554 h 10000"/>
                <a:gd name="connsiteX16" fmla="*/ 545 w 10000"/>
                <a:gd name="connsiteY16" fmla="*/ 7736 h 10000"/>
                <a:gd name="connsiteX17" fmla="*/ 419 w 10000"/>
                <a:gd name="connsiteY17" fmla="*/ 8007 h 10000"/>
                <a:gd name="connsiteX18" fmla="*/ 688 w 10000"/>
                <a:gd name="connsiteY18" fmla="*/ 7991 h 10000"/>
                <a:gd name="connsiteX19" fmla="*/ 709 w 10000"/>
                <a:gd name="connsiteY19" fmla="*/ 8192 h 10000"/>
                <a:gd name="connsiteX20" fmla="*/ 530 w 10000"/>
                <a:gd name="connsiteY20" fmla="*/ 8336 h 10000"/>
                <a:gd name="connsiteX21" fmla="*/ 560 w 10000"/>
                <a:gd name="connsiteY21" fmla="*/ 8600 h 10000"/>
                <a:gd name="connsiteX22" fmla="*/ 489 w 10000"/>
                <a:gd name="connsiteY22" fmla="*/ 8812 h 10000"/>
                <a:gd name="connsiteX23" fmla="*/ 703 w 10000"/>
                <a:gd name="connsiteY23" fmla="*/ 8832 h 10000"/>
                <a:gd name="connsiteX24" fmla="*/ 992 w 10000"/>
                <a:gd name="connsiteY24" fmla="*/ 9954 h 10000"/>
                <a:gd name="connsiteX25" fmla="*/ 1653 w 10000"/>
                <a:gd name="connsiteY25" fmla="*/ 9589 h 10000"/>
                <a:gd name="connsiteX26" fmla="*/ 2252 w 10000"/>
                <a:gd name="connsiteY26" fmla="*/ 9787 h 10000"/>
                <a:gd name="connsiteX27" fmla="*/ 2467 w 10000"/>
                <a:gd name="connsiteY27" fmla="*/ 9458 h 10000"/>
                <a:gd name="connsiteX28" fmla="*/ 3729 w 10000"/>
                <a:gd name="connsiteY28" fmla="*/ 9898 h 10000"/>
                <a:gd name="connsiteX29" fmla="*/ 3743 w 10000"/>
                <a:gd name="connsiteY29" fmla="*/ 9492 h 10000"/>
                <a:gd name="connsiteX30" fmla="*/ 5433 w 10000"/>
                <a:gd name="connsiteY30" fmla="*/ 9620 h 10000"/>
                <a:gd name="connsiteX31" fmla="*/ 6373 w 10000"/>
                <a:gd name="connsiteY31" fmla="*/ 10000 h 10000"/>
                <a:gd name="connsiteX32" fmla="*/ 6586 w 10000"/>
                <a:gd name="connsiteY32" fmla="*/ 9430 h 10000"/>
                <a:gd name="connsiteX33" fmla="*/ 6855 w 10000"/>
                <a:gd name="connsiteY33" fmla="*/ 9052 h 10000"/>
                <a:gd name="connsiteX34" fmla="*/ 6855 w 10000"/>
                <a:gd name="connsiteY34" fmla="*/ 8848 h 10000"/>
                <a:gd name="connsiteX35" fmla="*/ 6757 w 10000"/>
                <a:gd name="connsiteY35" fmla="*/ 8739 h 10000"/>
                <a:gd name="connsiteX36" fmla="*/ 6915 w 10000"/>
                <a:gd name="connsiteY36" fmla="*/ 8555 h 10000"/>
                <a:gd name="connsiteX37" fmla="*/ 6887 w 10000"/>
                <a:gd name="connsiteY37" fmla="*/ 8408 h 10000"/>
                <a:gd name="connsiteX38" fmla="*/ 6779 w 10000"/>
                <a:gd name="connsiteY38" fmla="*/ 8282 h 10000"/>
                <a:gd name="connsiteX39" fmla="*/ 6757 w 10000"/>
                <a:gd name="connsiteY39" fmla="*/ 8183 h 10000"/>
                <a:gd name="connsiteX40" fmla="*/ 6785 w 10000"/>
                <a:gd name="connsiteY40" fmla="*/ 8111 h 10000"/>
                <a:gd name="connsiteX41" fmla="*/ 6931 w 10000"/>
                <a:gd name="connsiteY41" fmla="*/ 8168 h 10000"/>
                <a:gd name="connsiteX42" fmla="*/ 7045 w 10000"/>
                <a:gd name="connsiteY42" fmla="*/ 8165 h 10000"/>
                <a:gd name="connsiteX43" fmla="*/ 6983 w 10000"/>
                <a:gd name="connsiteY43" fmla="*/ 8045 h 10000"/>
                <a:gd name="connsiteX44" fmla="*/ 7003 w 10000"/>
                <a:gd name="connsiteY44" fmla="*/ 7973 h 10000"/>
                <a:gd name="connsiteX45" fmla="*/ 7089 w 10000"/>
                <a:gd name="connsiteY45" fmla="*/ 7871 h 10000"/>
                <a:gd name="connsiteX46" fmla="*/ 7074 w 10000"/>
                <a:gd name="connsiteY46" fmla="*/ 7786 h 10000"/>
                <a:gd name="connsiteX47" fmla="*/ 7152 w 10000"/>
                <a:gd name="connsiteY47" fmla="*/ 7503 h 10000"/>
                <a:gd name="connsiteX48" fmla="*/ 7130 w 10000"/>
                <a:gd name="connsiteY48" fmla="*/ 7414 h 10000"/>
                <a:gd name="connsiteX49" fmla="*/ 6729 w 10000"/>
                <a:gd name="connsiteY49" fmla="*/ 7196 h 10000"/>
                <a:gd name="connsiteX50" fmla="*/ 6785 w 10000"/>
                <a:gd name="connsiteY50" fmla="*/ 7188 h 10000"/>
                <a:gd name="connsiteX51" fmla="*/ 6998 w 10000"/>
                <a:gd name="connsiteY51" fmla="*/ 7244 h 10000"/>
                <a:gd name="connsiteX52" fmla="*/ 7230 w 10000"/>
                <a:gd name="connsiteY52" fmla="*/ 7223 h 10000"/>
                <a:gd name="connsiteX53" fmla="*/ 7295 w 10000"/>
                <a:gd name="connsiteY53" fmla="*/ 7147 h 10000"/>
                <a:gd name="connsiteX54" fmla="*/ 7074 w 10000"/>
                <a:gd name="connsiteY54" fmla="*/ 7000 h 10000"/>
                <a:gd name="connsiteX55" fmla="*/ 6414 w 10000"/>
                <a:gd name="connsiteY55" fmla="*/ 6902 h 10000"/>
                <a:gd name="connsiteX56" fmla="*/ 6458 w 10000"/>
                <a:gd name="connsiteY56" fmla="*/ 6858 h 10000"/>
                <a:gd name="connsiteX57" fmla="*/ 6998 w 10000"/>
                <a:gd name="connsiteY57" fmla="*/ 6827 h 10000"/>
                <a:gd name="connsiteX58" fmla="*/ 7295 w 10000"/>
                <a:gd name="connsiteY58" fmla="*/ 6916 h 10000"/>
                <a:gd name="connsiteX59" fmla="*/ 7466 w 10000"/>
                <a:gd name="connsiteY59" fmla="*/ 6858 h 10000"/>
                <a:gd name="connsiteX60" fmla="*/ 7529 w 10000"/>
                <a:gd name="connsiteY60" fmla="*/ 6706 h 10000"/>
                <a:gd name="connsiteX61" fmla="*/ 7840 w 10000"/>
                <a:gd name="connsiteY61" fmla="*/ 6706 h 10000"/>
                <a:gd name="connsiteX62" fmla="*/ 8261 w 10000"/>
                <a:gd name="connsiteY62" fmla="*/ 6396 h 10000"/>
                <a:gd name="connsiteX63" fmla="*/ 8275 w 10000"/>
                <a:gd name="connsiteY63" fmla="*/ 6190 h 10000"/>
                <a:gd name="connsiteX64" fmla="*/ 8453 w 10000"/>
                <a:gd name="connsiteY64" fmla="*/ 6237 h 10000"/>
                <a:gd name="connsiteX65" fmla="*/ 8446 w 10000"/>
                <a:gd name="connsiteY65" fmla="*/ 6445 h 10000"/>
                <a:gd name="connsiteX66" fmla="*/ 8727 w 10000"/>
                <a:gd name="connsiteY66" fmla="*/ 6429 h 10000"/>
                <a:gd name="connsiteX67" fmla="*/ 8913 w 10000"/>
                <a:gd name="connsiteY67" fmla="*/ 6215 h 10000"/>
                <a:gd name="connsiteX68" fmla="*/ 9258 w 10000"/>
                <a:gd name="connsiteY68" fmla="*/ 6023 h 10000"/>
                <a:gd name="connsiteX69" fmla="*/ 9203 w 10000"/>
                <a:gd name="connsiteY69" fmla="*/ 5805 h 10000"/>
                <a:gd name="connsiteX70" fmla="*/ 9306 w 10000"/>
                <a:gd name="connsiteY70" fmla="*/ 5893 h 10000"/>
                <a:gd name="connsiteX71" fmla="*/ 9464 w 10000"/>
                <a:gd name="connsiteY71" fmla="*/ 5893 h 10000"/>
                <a:gd name="connsiteX72" fmla="*/ 9464 w 10000"/>
                <a:gd name="connsiteY72" fmla="*/ 5790 h 10000"/>
                <a:gd name="connsiteX73" fmla="*/ 9611 w 10000"/>
                <a:gd name="connsiteY73" fmla="*/ 5716 h 10000"/>
                <a:gd name="connsiteX74" fmla="*/ 9592 w 10000"/>
                <a:gd name="connsiteY74" fmla="*/ 5637 h 10000"/>
                <a:gd name="connsiteX75" fmla="*/ 8350 w 10000"/>
                <a:gd name="connsiteY75" fmla="*/ 5792 h 10000"/>
                <a:gd name="connsiteX76" fmla="*/ 8058 w 10000"/>
                <a:gd name="connsiteY76" fmla="*/ 5749 h 10000"/>
                <a:gd name="connsiteX77" fmla="*/ 7942 w 10000"/>
                <a:gd name="connsiteY77" fmla="*/ 5805 h 10000"/>
                <a:gd name="connsiteX78" fmla="*/ 7903 w 10000"/>
                <a:gd name="connsiteY78" fmla="*/ 5695 h 10000"/>
                <a:gd name="connsiteX79" fmla="*/ 7765 w 10000"/>
                <a:gd name="connsiteY79" fmla="*/ 5598 h 10000"/>
                <a:gd name="connsiteX80" fmla="*/ 7213 w 10000"/>
                <a:gd name="connsiteY80" fmla="*/ 5399 h 10000"/>
                <a:gd name="connsiteX81" fmla="*/ 6887 w 10000"/>
                <a:gd name="connsiteY81" fmla="*/ 5432 h 10000"/>
                <a:gd name="connsiteX82" fmla="*/ 6757 w 10000"/>
                <a:gd name="connsiteY82" fmla="*/ 5376 h 10000"/>
                <a:gd name="connsiteX83" fmla="*/ 6894 w 10000"/>
                <a:gd name="connsiteY83" fmla="*/ 5328 h 10000"/>
                <a:gd name="connsiteX84" fmla="*/ 6998 w 10000"/>
                <a:gd name="connsiteY84" fmla="*/ 5223 h 10000"/>
                <a:gd name="connsiteX85" fmla="*/ 7152 w 10000"/>
                <a:gd name="connsiteY85" fmla="*/ 5256 h 10000"/>
                <a:gd name="connsiteX86" fmla="*/ 7335 w 10000"/>
                <a:gd name="connsiteY86" fmla="*/ 5230 h 10000"/>
                <a:gd name="connsiteX87" fmla="*/ 7611 w 10000"/>
                <a:gd name="connsiteY87" fmla="*/ 5264 h 10000"/>
                <a:gd name="connsiteX88" fmla="*/ 7645 w 10000"/>
                <a:gd name="connsiteY88" fmla="*/ 5249 h 10000"/>
                <a:gd name="connsiteX89" fmla="*/ 7859 w 10000"/>
                <a:gd name="connsiteY89" fmla="*/ 5409 h 10000"/>
                <a:gd name="connsiteX90" fmla="*/ 8017 w 10000"/>
                <a:gd name="connsiteY90" fmla="*/ 5349 h 10000"/>
                <a:gd name="connsiteX91" fmla="*/ 8032 w 10000"/>
                <a:gd name="connsiteY91" fmla="*/ 5295 h 10000"/>
                <a:gd name="connsiteX92" fmla="*/ 8176 w 10000"/>
                <a:gd name="connsiteY92" fmla="*/ 5390 h 10000"/>
                <a:gd name="connsiteX93" fmla="*/ 8369 w 10000"/>
                <a:gd name="connsiteY93" fmla="*/ 5442 h 10000"/>
                <a:gd name="connsiteX94" fmla="*/ 8446 w 10000"/>
                <a:gd name="connsiteY94" fmla="*/ 5347 h 10000"/>
                <a:gd name="connsiteX95" fmla="*/ 8507 w 10000"/>
                <a:gd name="connsiteY95" fmla="*/ 5399 h 10000"/>
                <a:gd name="connsiteX96" fmla="*/ 8596 w 10000"/>
                <a:gd name="connsiteY96" fmla="*/ 5585 h 10000"/>
                <a:gd name="connsiteX97" fmla="*/ 8782 w 10000"/>
                <a:gd name="connsiteY97" fmla="*/ 5626 h 10000"/>
                <a:gd name="connsiteX98" fmla="*/ 9542 w 10000"/>
                <a:gd name="connsiteY98" fmla="*/ 5356 h 10000"/>
                <a:gd name="connsiteX99" fmla="*/ 9914 w 10000"/>
                <a:gd name="connsiteY99" fmla="*/ 4976 h 10000"/>
                <a:gd name="connsiteX100" fmla="*/ 10000 w 10000"/>
                <a:gd name="connsiteY100" fmla="*/ 4704 h 10000"/>
                <a:gd name="connsiteX101" fmla="*/ 9866 w 10000"/>
                <a:gd name="connsiteY101" fmla="*/ 4453 h 10000"/>
                <a:gd name="connsiteX102" fmla="*/ 9582 w 10000"/>
                <a:gd name="connsiteY102" fmla="*/ 4307 h 10000"/>
                <a:gd name="connsiteX103" fmla="*/ 9382 w 10000"/>
                <a:gd name="connsiteY103" fmla="*/ 4060 h 10000"/>
                <a:gd name="connsiteX104" fmla="*/ 9569 w 10000"/>
                <a:gd name="connsiteY104" fmla="*/ 4053 h 10000"/>
                <a:gd name="connsiteX105" fmla="*/ 9555 w 10000"/>
                <a:gd name="connsiteY105" fmla="*/ 3997 h 10000"/>
                <a:gd name="connsiteX106" fmla="*/ 9068 w 10000"/>
                <a:gd name="connsiteY106" fmla="*/ 3826 h 10000"/>
                <a:gd name="connsiteX107" fmla="*/ 9047 w 10000"/>
                <a:gd name="connsiteY107" fmla="*/ 3668 h 10000"/>
                <a:gd name="connsiteX108" fmla="*/ 8953 w 10000"/>
                <a:gd name="connsiteY108" fmla="*/ 3503 h 10000"/>
                <a:gd name="connsiteX109" fmla="*/ 8569 w 10000"/>
                <a:gd name="connsiteY109" fmla="*/ 3534 h 10000"/>
                <a:gd name="connsiteX110" fmla="*/ 8431 w 10000"/>
                <a:gd name="connsiteY110" fmla="*/ 3358 h 10000"/>
                <a:gd name="connsiteX111" fmla="*/ 8350 w 10000"/>
                <a:gd name="connsiteY111" fmla="*/ 3347 h 10000"/>
                <a:gd name="connsiteX112" fmla="*/ 8350 w 10000"/>
                <a:gd name="connsiteY112" fmla="*/ 3426 h 10000"/>
                <a:gd name="connsiteX113" fmla="*/ 8176 w 10000"/>
                <a:gd name="connsiteY113" fmla="*/ 3716 h 10000"/>
                <a:gd name="connsiteX114" fmla="*/ 7990 w 10000"/>
                <a:gd name="connsiteY114" fmla="*/ 3891 h 10000"/>
                <a:gd name="connsiteX115" fmla="*/ 7401 w 10000"/>
                <a:gd name="connsiteY115" fmla="*/ 4182 h 10000"/>
                <a:gd name="connsiteX116" fmla="*/ 7198 w 10000"/>
                <a:gd name="connsiteY116" fmla="*/ 4174 h 10000"/>
                <a:gd name="connsiteX117" fmla="*/ 6915 w 10000"/>
                <a:gd name="connsiteY117" fmla="*/ 4218 h 10000"/>
                <a:gd name="connsiteX118" fmla="*/ 6757 w 10000"/>
                <a:gd name="connsiteY118" fmla="*/ 4174 h 10000"/>
                <a:gd name="connsiteX119" fmla="*/ 6965 w 10000"/>
                <a:gd name="connsiteY119" fmla="*/ 4089 h 10000"/>
                <a:gd name="connsiteX120" fmla="*/ 7235 w 10000"/>
                <a:gd name="connsiteY120" fmla="*/ 4053 h 10000"/>
                <a:gd name="connsiteX121" fmla="*/ 7455 w 10000"/>
                <a:gd name="connsiteY121" fmla="*/ 3918 h 10000"/>
                <a:gd name="connsiteX122" fmla="*/ 7674 w 10000"/>
                <a:gd name="connsiteY122" fmla="*/ 3853 h 10000"/>
                <a:gd name="connsiteX123" fmla="*/ 8082 w 10000"/>
                <a:gd name="connsiteY123" fmla="*/ 3612 h 10000"/>
                <a:gd name="connsiteX124" fmla="*/ 8157 w 10000"/>
                <a:gd name="connsiteY124" fmla="*/ 3455 h 10000"/>
                <a:gd name="connsiteX125" fmla="*/ 8165 w 10000"/>
                <a:gd name="connsiteY125" fmla="*/ 3253 h 10000"/>
                <a:gd name="connsiteX126" fmla="*/ 7978 w 10000"/>
                <a:gd name="connsiteY126" fmla="*/ 3218 h 10000"/>
                <a:gd name="connsiteX127" fmla="*/ 8058 w 10000"/>
                <a:gd name="connsiteY127" fmla="*/ 3095 h 10000"/>
                <a:gd name="connsiteX128" fmla="*/ 8087 w 10000"/>
                <a:gd name="connsiteY128" fmla="*/ 2937 h 10000"/>
                <a:gd name="connsiteX129" fmla="*/ 8007 w 10000"/>
                <a:gd name="connsiteY129" fmla="*/ 2791 h 10000"/>
                <a:gd name="connsiteX130" fmla="*/ 7450 w 10000"/>
                <a:gd name="connsiteY130" fmla="*/ 2993 h 10000"/>
                <a:gd name="connsiteX131" fmla="*/ 6694 w 10000"/>
                <a:gd name="connsiteY131" fmla="*/ 2903 h 10000"/>
                <a:gd name="connsiteX132" fmla="*/ 6304 w 10000"/>
                <a:gd name="connsiteY132" fmla="*/ 2341 h 10000"/>
                <a:gd name="connsiteX133" fmla="*/ 5294 w 10000"/>
                <a:gd name="connsiteY133" fmla="*/ 2235 h 10000"/>
                <a:gd name="connsiteX134" fmla="*/ 4505 w 10000"/>
                <a:gd name="connsiteY134" fmla="*/ 1770 h 10000"/>
                <a:gd name="connsiteX135" fmla="*/ 3730 w 10000"/>
                <a:gd name="connsiteY135" fmla="*/ 1210 h 10000"/>
                <a:gd name="connsiteX136" fmla="*/ 3154 w 10000"/>
                <a:gd name="connsiteY136" fmla="*/ 178 h 10000"/>
                <a:gd name="connsiteX137" fmla="*/ 2375 w 10000"/>
                <a:gd name="connsiteY137" fmla="*/ 0 h 10000"/>
                <a:gd name="connsiteX138" fmla="*/ 2226 w 10000"/>
                <a:gd name="connsiteY138" fmla="*/ 968 h 10000"/>
                <a:gd name="connsiteX139" fmla="*/ 2375 w 10000"/>
                <a:gd name="connsiteY139" fmla="*/ 1215 h 10000"/>
                <a:gd name="connsiteX140" fmla="*/ 2791 w 10000"/>
                <a:gd name="connsiteY140" fmla="*/ 1487 h 10000"/>
                <a:gd name="connsiteX141" fmla="*/ 2808 w 10000"/>
                <a:gd name="connsiteY141" fmla="*/ 1817 h 10000"/>
                <a:gd name="connsiteX142" fmla="*/ 2632 w 10000"/>
                <a:gd name="connsiteY142" fmla="*/ 2093 h 10000"/>
                <a:gd name="connsiteX143" fmla="*/ 2375 w 10000"/>
                <a:gd name="connsiteY143" fmla="*/ 2259 h 10000"/>
                <a:gd name="connsiteX144" fmla="*/ 2039 w 10000"/>
                <a:gd name="connsiteY144" fmla="*/ 2324 h 10000"/>
                <a:gd name="connsiteX145" fmla="*/ 1950 w 10000"/>
                <a:gd name="connsiteY145" fmla="*/ 2424 h 10000"/>
                <a:gd name="connsiteX146" fmla="*/ 2148 w 10000"/>
                <a:gd name="connsiteY146" fmla="*/ 2650 h 10000"/>
                <a:gd name="connsiteX147" fmla="*/ 2261 w 10000"/>
                <a:gd name="connsiteY147" fmla="*/ 3192 h 10000"/>
                <a:gd name="connsiteX148" fmla="*/ 2005 w 10000"/>
                <a:gd name="connsiteY148" fmla="*/ 3656 h 10000"/>
                <a:gd name="connsiteX149" fmla="*/ 2094 w 10000"/>
                <a:gd name="connsiteY149" fmla="*/ 3797 h 10000"/>
                <a:gd name="connsiteX150" fmla="*/ 2012 w 10000"/>
                <a:gd name="connsiteY150" fmla="*/ 4038 h 10000"/>
                <a:gd name="connsiteX151" fmla="*/ 1850 w 10000"/>
                <a:gd name="connsiteY151" fmla="*/ 4205 h 10000"/>
                <a:gd name="connsiteX152" fmla="*/ 1199 w 10000"/>
                <a:gd name="connsiteY152" fmla="*/ 4335 h 10000"/>
                <a:gd name="connsiteX153" fmla="*/ 1158 w 10000"/>
                <a:gd name="connsiteY153" fmla="*/ 4558 h 10000"/>
                <a:gd name="connsiteX154" fmla="*/ 808 w 10000"/>
                <a:gd name="connsiteY154" fmla="*/ 4889 h 10000"/>
                <a:gd name="connsiteX155" fmla="*/ 854 w 10000"/>
                <a:gd name="connsiteY155" fmla="*/ 5373 h 10000"/>
                <a:gd name="connsiteX156" fmla="*/ 560 w 10000"/>
                <a:gd name="connsiteY156" fmla="*/ 5988 h 10000"/>
                <a:gd name="connsiteX157" fmla="*/ 358 w 10000"/>
                <a:gd name="connsiteY157" fmla="*/ 6059 h 10000"/>
                <a:gd name="connsiteX158" fmla="*/ 275 w 10000"/>
                <a:gd name="connsiteY158" fmla="*/ 5913 h 10000"/>
                <a:gd name="connsiteX159" fmla="*/ 174 w 10000"/>
                <a:gd name="connsiteY159" fmla="*/ 6134 h 10000"/>
                <a:gd name="connsiteX160" fmla="*/ 239 w 10000"/>
                <a:gd name="connsiteY160" fmla="*/ 5751 h 10000"/>
                <a:gd name="connsiteX161" fmla="*/ 197 w 10000"/>
                <a:gd name="connsiteY161" fmla="*/ 5680 h 10000"/>
                <a:gd name="connsiteX0" fmla="*/ 197 w 10000"/>
                <a:gd name="connsiteY0" fmla="*/ 5680 h 10000"/>
                <a:gd name="connsiteX1" fmla="*/ 0 w 10000"/>
                <a:gd name="connsiteY1" fmla="*/ 5880 h 10000"/>
                <a:gd name="connsiteX2" fmla="*/ 0 w 10000"/>
                <a:gd name="connsiteY2" fmla="*/ 6858 h 10000"/>
                <a:gd name="connsiteX3" fmla="*/ 109 w 10000"/>
                <a:gd name="connsiteY3" fmla="*/ 6884 h 10000"/>
                <a:gd name="connsiteX4" fmla="*/ 134 w 10000"/>
                <a:gd name="connsiteY4" fmla="*/ 6962 h 10000"/>
                <a:gd name="connsiteX5" fmla="*/ 130 w 10000"/>
                <a:gd name="connsiteY5" fmla="*/ 7093 h 10000"/>
                <a:gd name="connsiteX6" fmla="*/ 89 w 10000"/>
                <a:gd name="connsiteY6" fmla="*/ 7151 h 10000"/>
                <a:gd name="connsiteX7" fmla="*/ 255 w 10000"/>
                <a:gd name="connsiteY7" fmla="*/ 7037 h 10000"/>
                <a:gd name="connsiteX8" fmla="*/ 325 w 10000"/>
                <a:gd name="connsiteY8" fmla="*/ 6929 h 10000"/>
                <a:gd name="connsiteX9" fmla="*/ 413 w 10000"/>
                <a:gd name="connsiteY9" fmla="*/ 7003 h 10000"/>
                <a:gd name="connsiteX10" fmla="*/ 316 w 10000"/>
                <a:gd name="connsiteY10" fmla="*/ 7163 h 10000"/>
                <a:gd name="connsiteX11" fmla="*/ 419 w 10000"/>
                <a:gd name="connsiteY11" fmla="*/ 7168 h 10000"/>
                <a:gd name="connsiteX12" fmla="*/ 469 w 10000"/>
                <a:gd name="connsiteY12" fmla="*/ 7208 h 10000"/>
                <a:gd name="connsiteX13" fmla="*/ 337 w 10000"/>
                <a:gd name="connsiteY13" fmla="*/ 7260 h 10000"/>
                <a:gd name="connsiteX14" fmla="*/ 130 w 10000"/>
                <a:gd name="connsiteY14" fmla="*/ 7426 h 10000"/>
                <a:gd name="connsiteX15" fmla="*/ 497 w 10000"/>
                <a:gd name="connsiteY15" fmla="*/ 7554 h 10000"/>
                <a:gd name="connsiteX16" fmla="*/ 545 w 10000"/>
                <a:gd name="connsiteY16" fmla="*/ 7736 h 10000"/>
                <a:gd name="connsiteX17" fmla="*/ 419 w 10000"/>
                <a:gd name="connsiteY17" fmla="*/ 8007 h 10000"/>
                <a:gd name="connsiteX18" fmla="*/ 688 w 10000"/>
                <a:gd name="connsiteY18" fmla="*/ 7991 h 10000"/>
                <a:gd name="connsiteX19" fmla="*/ 709 w 10000"/>
                <a:gd name="connsiteY19" fmla="*/ 8192 h 10000"/>
                <a:gd name="connsiteX20" fmla="*/ 530 w 10000"/>
                <a:gd name="connsiteY20" fmla="*/ 8336 h 10000"/>
                <a:gd name="connsiteX21" fmla="*/ 560 w 10000"/>
                <a:gd name="connsiteY21" fmla="*/ 8600 h 10000"/>
                <a:gd name="connsiteX22" fmla="*/ 489 w 10000"/>
                <a:gd name="connsiteY22" fmla="*/ 8812 h 10000"/>
                <a:gd name="connsiteX23" fmla="*/ 703 w 10000"/>
                <a:gd name="connsiteY23" fmla="*/ 8832 h 10000"/>
                <a:gd name="connsiteX24" fmla="*/ 992 w 10000"/>
                <a:gd name="connsiteY24" fmla="*/ 9954 h 10000"/>
                <a:gd name="connsiteX25" fmla="*/ 1653 w 10000"/>
                <a:gd name="connsiteY25" fmla="*/ 9589 h 10000"/>
                <a:gd name="connsiteX26" fmla="*/ 2252 w 10000"/>
                <a:gd name="connsiteY26" fmla="*/ 9787 h 10000"/>
                <a:gd name="connsiteX27" fmla="*/ 2467 w 10000"/>
                <a:gd name="connsiteY27" fmla="*/ 9458 h 10000"/>
                <a:gd name="connsiteX28" fmla="*/ 3729 w 10000"/>
                <a:gd name="connsiteY28" fmla="*/ 9898 h 10000"/>
                <a:gd name="connsiteX29" fmla="*/ 4039 w 10000"/>
                <a:gd name="connsiteY29" fmla="*/ 9514 h 10000"/>
                <a:gd name="connsiteX30" fmla="*/ 5433 w 10000"/>
                <a:gd name="connsiteY30" fmla="*/ 9620 h 10000"/>
                <a:gd name="connsiteX31" fmla="*/ 6373 w 10000"/>
                <a:gd name="connsiteY31" fmla="*/ 10000 h 10000"/>
                <a:gd name="connsiteX32" fmla="*/ 6586 w 10000"/>
                <a:gd name="connsiteY32" fmla="*/ 9430 h 10000"/>
                <a:gd name="connsiteX33" fmla="*/ 6855 w 10000"/>
                <a:gd name="connsiteY33" fmla="*/ 9052 h 10000"/>
                <a:gd name="connsiteX34" fmla="*/ 6855 w 10000"/>
                <a:gd name="connsiteY34" fmla="*/ 8848 h 10000"/>
                <a:gd name="connsiteX35" fmla="*/ 6757 w 10000"/>
                <a:gd name="connsiteY35" fmla="*/ 8739 h 10000"/>
                <a:gd name="connsiteX36" fmla="*/ 6915 w 10000"/>
                <a:gd name="connsiteY36" fmla="*/ 8555 h 10000"/>
                <a:gd name="connsiteX37" fmla="*/ 6887 w 10000"/>
                <a:gd name="connsiteY37" fmla="*/ 8408 h 10000"/>
                <a:gd name="connsiteX38" fmla="*/ 6779 w 10000"/>
                <a:gd name="connsiteY38" fmla="*/ 8282 h 10000"/>
                <a:gd name="connsiteX39" fmla="*/ 6757 w 10000"/>
                <a:gd name="connsiteY39" fmla="*/ 8183 h 10000"/>
                <a:gd name="connsiteX40" fmla="*/ 6785 w 10000"/>
                <a:gd name="connsiteY40" fmla="*/ 8111 h 10000"/>
                <a:gd name="connsiteX41" fmla="*/ 6931 w 10000"/>
                <a:gd name="connsiteY41" fmla="*/ 8168 h 10000"/>
                <a:gd name="connsiteX42" fmla="*/ 7045 w 10000"/>
                <a:gd name="connsiteY42" fmla="*/ 8165 h 10000"/>
                <a:gd name="connsiteX43" fmla="*/ 6983 w 10000"/>
                <a:gd name="connsiteY43" fmla="*/ 8045 h 10000"/>
                <a:gd name="connsiteX44" fmla="*/ 7003 w 10000"/>
                <a:gd name="connsiteY44" fmla="*/ 7973 h 10000"/>
                <a:gd name="connsiteX45" fmla="*/ 7089 w 10000"/>
                <a:gd name="connsiteY45" fmla="*/ 7871 h 10000"/>
                <a:gd name="connsiteX46" fmla="*/ 7074 w 10000"/>
                <a:gd name="connsiteY46" fmla="*/ 7786 h 10000"/>
                <a:gd name="connsiteX47" fmla="*/ 7152 w 10000"/>
                <a:gd name="connsiteY47" fmla="*/ 7503 h 10000"/>
                <a:gd name="connsiteX48" fmla="*/ 7130 w 10000"/>
                <a:gd name="connsiteY48" fmla="*/ 7414 h 10000"/>
                <a:gd name="connsiteX49" fmla="*/ 6729 w 10000"/>
                <a:gd name="connsiteY49" fmla="*/ 7196 h 10000"/>
                <a:gd name="connsiteX50" fmla="*/ 6785 w 10000"/>
                <a:gd name="connsiteY50" fmla="*/ 7188 h 10000"/>
                <a:gd name="connsiteX51" fmla="*/ 6998 w 10000"/>
                <a:gd name="connsiteY51" fmla="*/ 7244 h 10000"/>
                <a:gd name="connsiteX52" fmla="*/ 7230 w 10000"/>
                <a:gd name="connsiteY52" fmla="*/ 7223 h 10000"/>
                <a:gd name="connsiteX53" fmla="*/ 7295 w 10000"/>
                <a:gd name="connsiteY53" fmla="*/ 7147 h 10000"/>
                <a:gd name="connsiteX54" fmla="*/ 7074 w 10000"/>
                <a:gd name="connsiteY54" fmla="*/ 7000 h 10000"/>
                <a:gd name="connsiteX55" fmla="*/ 6414 w 10000"/>
                <a:gd name="connsiteY55" fmla="*/ 6902 h 10000"/>
                <a:gd name="connsiteX56" fmla="*/ 6458 w 10000"/>
                <a:gd name="connsiteY56" fmla="*/ 6858 h 10000"/>
                <a:gd name="connsiteX57" fmla="*/ 6998 w 10000"/>
                <a:gd name="connsiteY57" fmla="*/ 6827 h 10000"/>
                <a:gd name="connsiteX58" fmla="*/ 7295 w 10000"/>
                <a:gd name="connsiteY58" fmla="*/ 6916 h 10000"/>
                <a:gd name="connsiteX59" fmla="*/ 7466 w 10000"/>
                <a:gd name="connsiteY59" fmla="*/ 6858 h 10000"/>
                <a:gd name="connsiteX60" fmla="*/ 7529 w 10000"/>
                <a:gd name="connsiteY60" fmla="*/ 6706 h 10000"/>
                <a:gd name="connsiteX61" fmla="*/ 7840 w 10000"/>
                <a:gd name="connsiteY61" fmla="*/ 6706 h 10000"/>
                <a:gd name="connsiteX62" fmla="*/ 8261 w 10000"/>
                <a:gd name="connsiteY62" fmla="*/ 6396 h 10000"/>
                <a:gd name="connsiteX63" fmla="*/ 8275 w 10000"/>
                <a:gd name="connsiteY63" fmla="*/ 6190 h 10000"/>
                <a:gd name="connsiteX64" fmla="*/ 8453 w 10000"/>
                <a:gd name="connsiteY64" fmla="*/ 6237 h 10000"/>
                <a:gd name="connsiteX65" fmla="*/ 8446 w 10000"/>
                <a:gd name="connsiteY65" fmla="*/ 6445 h 10000"/>
                <a:gd name="connsiteX66" fmla="*/ 8727 w 10000"/>
                <a:gd name="connsiteY66" fmla="*/ 6429 h 10000"/>
                <a:gd name="connsiteX67" fmla="*/ 8913 w 10000"/>
                <a:gd name="connsiteY67" fmla="*/ 6215 h 10000"/>
                <a:gd name="connsiteX68" fmla="*/ 9258 w 10000"/>
                <a:gd name="connsiteY68" fmla="*/ 6023 h 10000"/>
                <a:gd name="connsiteX69" fmla="*/ 9203 w 10000"/>
                <a:gd name="connsiteY69" fmla="*/ 5805 h 10000"/>
                <a:gd name="connsiteX70" fmla="*/ 9306 w 10000"/>
                <a:gd name="connsiteY70" fmla="*/ 5893 h 10000"/>
                <a:gd name="connsiteX71" fmla="*/ 9464 w 10000"/>
                <a:gd name="connsiteY71" fmla="*/ 5893 h 10000"/>
                <a:gd name="connsiteX72" fmla="*/ 9464 w 10000"/>
                <a:gd name="connsiteY72" fmla="*/ 5790 h 10000"/>
                <a:gd name="connsiteX73" fmla="*/ 9611 w 10000"/>
                <a:gd name="connsiteY73" fmla="*/ 5716 h 10000"/>
                <a:gd name="connsiteX74" fmla="*/ 9592 w 10000"/>
                <a:gd name="connsiteY74" fmla="*/ 5637 h 10000"/>
                <a:gd name="connsiteX75" fmla="*/ 8350 w 10000"/>
                <a:gd name="connsiteY75" fmla="*/ 5792 h 10000"/>
                <a:gd name="connsiteX76" fmla="*/ 8058 w 10000"/>
                <a:gd name="connsiteY76" fmla="*/ 5749 h 10000"/>
                <a:gd name="connsiteX77" fmla="*/ 7942 w 10000"/>
                <a:gd name="connsiteY77" fmla="*/ 5805 h 10000"/>
                <a:gd name="connsiteX78" fmla="*/ 7903 w 10000"/>
                <a:gd name="connsiteY78" fmla="*/ 5695 h 10000"/>
                <a:gd name="connsiteX79" fmla="*/ 7765 w 10000"/>
                <a:gd name="connsiteY79" fmla="*/ 5598 h 10000"/>
                <a:gd name="connsiteX80" fmla="*/ 7213 w 10000"/>
                <a:gd name="connsiteY80" fmla="*/ 5399 h 10000"/>
                <a:gd name="connsiteX81" fmla="*/ 6887 w 10000"/>
                <a:gd name="connsiteY81" fmla="*/ 5432 h 10000"/>
                <a:gd name="connsiteX82" fmla="*/ 6757 w 10000"/>
                <a:gd name="connsiteY82" fmla="*/ 5376 h 10000"/>
                <a:gd name="connsiteX83" fmla="*/ 6894 w 10000"/>
                <a:gd name="connsiteY83" fmla="*/ 5328 h 10000"/>
                <a:gd name="connsiteX84" fmla="*/ 6998 w 10000"/>
                <a:gd name="connsiteY84" fmla="*/ 5223 h 10000"/>
                <a:gd name="connsiteX85" fmla="*/ 7152 w 10000"/>
                <a:gd name="connsiteY85" fmla="*/ 5256 h 10000"/>
                <a:gd name="connsiteX86" fmla="*/ 7335 w 10000"/>
                <a:gd name="connsiteY86" fmla="*/ 5230 h 10000"/>
                <a:gd name="connsiteX87" fmla="*/ 7611 w 10000"/>
                <a:gd name="connsiteY87" fmla="*/ 5264 h 10000"/>
                <a:gd name="connsiteX88" fmla="*/ 7645 w 10000"/>
                <a:gd name="connsiteY88" fmla="*/ 5249 h 10000"/>
                <a:gd name="connsiteX89" fmla="*/ 7859 w 10000"/>
                <a:gd name="connsiteY89" fmla="*/ 5409 h 10000"/>
                <a:gd name="connsiteX90" fmla="*/ 8017 w 10000"/>
                <a:gd name="connsiteY90" fmla="*/ 5349 h 10000"/>
                <a:gd name="connsiteX91" fmla="*/ 8032 w 10000"/>
                <a:gd name="connsiteY91" fmla="*/ 5295 h 10000"/>
                <a:gd name="connsiteX92" fmla="*/ 8176 w 10000"/>
                <a:gd name="connsiteY92" fmla="*/ 5390 h 10000"/>
                <a:gd name="connsiteX93" fmla="*/ 8369 w 10000"/>
                <a:gd name="connsiteY93" fmla="*/ 5442 h 10000"/>
                <a:gd name="connsiteX94" fmla="*/ 8446 w 10000"/>
                <a:gd name="connsiteY94" fmla="*/ 5347 h 10000"/>
                <a:gd name="connsiteX95" fmla="*/ 8507 w 10000"/>
                <a:gd name="connsiteY95" fmla="*/ 5399 h 10000"/>
                <a:gd name="connsiteX96" fmla="*/ 8596 w 10000"/>
                <a:gd name="connsiteY96" fmla="*/ 5585 h 10000"/>
                <a:gd name="connsiteX97" fmla="*/ 8782 w 10000"/>
                <a:gd name="connsiteY97" fmla="*/ 5626 h 10000"/>
                <a:gd name="connsiteX98" fmla="*/ 9542 w 10000"/>
                <a:gd name="connsiteY98" fmla="*/ 5356 h 10000"/>
                <a:gd name="connsiteX99" fmla="*/ 9914 w 10000"/>
                <a:gd name="connsiteY99" fmla="*/ 4976 h 10000"/>
                <a:gd name="connsiteX100" fmla="*/ 10000 w 10000"/>
                <a:gd name="connsiteY100" fmla="*/ 4704 h 10000"/>
                <a:gd name="connsiteX101" fmla="*/ 9866 w 10000"/>
                <a:gd name="connsiteY101" fmla="*/ 4453 h 10000"/>
                <a:gd name="connsiteX102" fmla="*/ 9582 w 10000"/>
                <a:gd name="connsiteY102" fmla="*/ 4307 h 10000"/>
                <a:gd name="connsiteX103" fmla="*/ 9382 w 10000"/>
                <a:gd name="connsiteY103" fmla="*/ 4060 h 10000"/>
                <a:gd name="connsiteX104" fmla="*/ 9569 w 10000"/>
                <a:gd name="connsiteY104" fmla="*/ 4053 h 10000"/>
                <a:gd name="connsiteX105" fmla="*/ 9555 w 10000"/>
                <a:gd name="connsiteY105" fmla="*/ 3997 h 10000"/>
                <a:gd name="connsiteX106" fmla="*/ 9068 w 10000"/>
                <a:gd name="connsiteY106" fmla="*/ 3826 h 10000"/>
                <a:gd name="connsiteX107" fmla="*/ 9047 w 10000"/>
                <a:gd name="connsiteY107" fmla="*/ 3668 h 10000"/>
                <a:gd name="connsiteX108" fmla="*/ 8953 w 10000"/>
                <a:gd name="connsiteY108" fmla="*/ 3503 h 10000"/>
                <a:gd name="connsiteX109" fmla="*/ 8569 w 10000"/>
                <a:gd name="connsiteY109" fmla="*/ 3534 h 10000"/>
                <a:gd name="connsiteX110" fmla="*/ 8431 w 10000"/>
                <a:gd name="connsiteY110" fmla="*/ 3358 h 10000"/>
                <a:gd name="connsiteX111" fmla="*/ 8350 w 10000"/>
                <a:gd name="connsiteY111" fmla="*/ 3347 h 10000"/>
                <a:gd name="connsiteX112" fmla="*/ 8350 w 10000"/>
                <a:gd name="connsiteY112" fmla="*/ 3426 h 10000"/>
                <a:gd name="connsiteX113" fmla="*/ 8176 w 10000"/>
                <a:gd name="connsiteY113" fmla="*/ 3716 h 10000"/>
                <a:gd name="connsiteX114" fmla="*/ 7990 w 10000"/>
                <a:gd name="connsiteY114" fmla="*/ 3891 h 10000"/>
                <a:gd name="connsiteX115" fmla="*/ 7401 w 10000"/>
                <a:gd name="connsiteY115" fmla="*/ 4182 h 10000"/>
                <a:gd name="connsiteX116" fmla="*/ 7198 w 10000"/>
                <a:gd name="connsiteY116" fmla="*/ 4174 h 10000"/>
                <a:gd name="connsiteX117" fmla="*/ 6915 w 10000"/>
                <a:gd name="connsiteY117" fmla="*/ 4218 h 10000"/>
                <a:gd name="connsiteX118" fmla="*/ 6757 w 10000"/>
                <a:gd name="connsiteY118" fmla="*/ 4174 h 10000"/>
                <a:gd name="connsiteX119" fmla="*/ 6965 w 10000"/>
                <a:gd name="connsiteY119" fmla="*/ 4089 h 10000"/>
                <a:gd name="connsiteX120" fmla="*/ 7235 w 10000"/>
                <a:gd name="connsiteY120" fmla="*/ 4053 h 10000"/>
                <a:gd name="connsiteX121" fmla="*/ 7455 w 10000"/>
                <a:gd name="connsiteY121" fmla="*/ 3918 h 10000"/>
                <a:gd name="connsiteX122" fmla="*/ 7674 w 10000"/>
                <a:gd name="connsiteY122" fmla="*/ 3853 h 10000"/>
                <a:gd name="connsiteX123" fmla="*/ 8082 w 10000"/>
                <a:gd name="connsiteY123" fmla="*/ 3612 h 10000"/>
                <a:gd name="connsiteX124" fmla="*/ 8157 w 10000"/>
                <a:gd name="connsiteY124" fmla="*/ 3455 h 10000"/>
                <a:gd name="connsiteX125" fmla="*/ 8165 w 10000"/>
                <a:gd name="connsiteY125" fmla="*/ 3253 h 10000"/>
                <a:gd name="connsiteX126" fmla="*/ 7978 w 10000"/>
                <a:gd name="connsiteY126" fmla="*/ 3218 h 10000"/>
                <a:gd name="connsiteX127" fmla="*/ 8058 w 10000"/>
                <a:gd name="connsiteY127" fmla="*/ 3095 h 10000"/>
                <a:gd name="connsiteX128" fmla="*/ 8087 w 10000"/>
                <a:gd name="connsiteY128" fmla="*/ 2937 h 10000"/>
                <a:gd name="connsiteX129" fmla="*/ 8007 w 10000"/>
                <a:gd name="connsiteY129" fmla="*/ 2791 h 10000"/>
                <a:gd name="connsiteX130" fmla="*/ 7450 w 10000"/>
                <a:gd name="connsiteY130" fmla="*/ 2993 h 10000"/>
                <a:gd name="connsiteX131" fmla="*/ 6694 w 10000"/>
                <a:gd name="connsiteY131" fmla="*/ 2903 h 10000"/>
                <a:gd name="connsiteX132" fmla="*/ 6304 w 10000"/>
                <a:gd name="connsiteY132" fmla="*/ 2341 h 10000"/>
                <a:gd name="connsiteX133" fmla="*/ 5294 w 10000"/>
                <a:gd name="connsiteY133" fmla="*/ 2235 h 10000"/>
                <a:gd name="connsiteX134" fmla="*/ 4505 w 10000"/>
                <a:gd name="connsiteY134" fmla="*/ 1770 h 10000"/>
                <a:gd name="connsiteX135" fmla="*/ 3730 w 10000"/>
                <a:gd name="connsiteY135" fmla="*/ 1210 h 10000"/>
                <a:gd name="connsiteX136" fmla="*/ 3154 w 10000"/>
                <a:gd name="connsiteY136" fmla="*/ 178 h 10000"/>
                <a:gd name="connsiteX137" fmla="*/ 2375 w 10000"/>
                <a:gd name="connsiteY137" fmla="*/ 0 h 10000"/>
                <a:gd name="connsiteX138" fmla="*/ 2226 w 10000"/>
                <a:gd name="connsiteY138" fmla="*/ 968 h 10000"/>
                <a:gd name="connsiteX139" fmla="*/ 2375 w 10000"/>
                <a:gd name="connsiteY139" fmla="*/ 1215 h 10000"/>
                <a:gd name="connsiteX140" fmla="*/ 2791 w 10000"/>
                <a:gd name="connsiteY140" fmla="*/ 1487 h 10000"/>
                <a:gd name="connsiteX141" fmla="*/ 2808 w 10000"/>
                <a:gd name="connsiteY141" fmla="*/ 1817 h 10000"/>
                <a:gd name="connsiteX142" fmla="*/ 2632 w 10000"/>
                <a:gd name="connsiteY142" fmla="*/ 2093 h 10000"/>
                <a:gd name="connsiteX143" fmla="*/ 2375 w 10000"/>
                <a:gd name="connsiteY143" fmla="*/ 2259 h 10000"/>
                <a:gd name="connsiteX144" fmla="*/ 2039 w 10000"/>
                <a:gd name="connsiteY144" fmla="*/ 2324 h 10000"/>
                <a:gd name="connsiteX145" fmla="*/ 1950 w 10000"/>
                <a:gd name="connsiteY145" fmla="*/ 2424 h 10000"/>
                <a:gd name="connsiteX146" fmla="*/ 2148 w 10000"/>
                <a:gd name="connsiteY146" fmla="*/ 2650 h 10000"/>
                <a:gd name="connsiteX147" fmla="*/ 2261 w 10000"/>
                <a:gd name="connsiteY147" fmla="*/ 3192 h 10000"/>
                <a:gd name="connsiteX148" fmla="*/ 2005 w 10000"/>
                <a:gd name="connsiteY148" fmla="*/ 3656 h 10000"/>
                <a:gd name="connsiteX149" fmla="*/ 2094 w 10000"/>
                <a:gd name="connsiteY149" fmla="*/ 3797 h 10000"/>
                <a:gd name="connsiteX150" fmla="*/ 2012 w 10000"/>
                <a:gd name="connsiteY150" fmla="*/ 4038 h 10000"/>
                <a:gd name="connsiteX151" fmla="*/ 1850 w 10000"/>
                <a:gd name="connsiteY151" fmla="*/ 4205 h 10000"/>
                <a:gd name="connsiteX152" fmla="*/ 1199 w 10000"/>
                <a:gd name="connsiteY152" fmla="*/ 4335 h 10000"/>
                <a:gd name="connsiteX153" fmla="*/ 1158 w 10000"/>
                <a:gd name="connsiteY153" fmla="*/ 4558 h 10000"/>
                <a:gd name="connsiteX154" fmla="*/ 808 w 10000"/>
                <a:gd name="connsiteY154" fmla="*/ 4889 h 10000"/>
                <a:gd name="connsiteX155" fmla="*/ 854 w 10000"/>
                <a:gd name="connsiteY155" fmla="*/ 5373 h 10000"/>
                <a:gd name="connsiteX156" fmla="*/ 560 w 10000"/>
                <a:gd name="connsiteY156" fmla="*/ 5988 h 10000"/>
                <a:gd name="connsiteX157" fmla="*/ 358 w 10000"/>
                <a:gd name="connsiteY157" fmla="*/ 6059 h 10000"/>
                <a:gd name="connsiteX158" fmla="*/ 275 w 10000"/>
                <a:gd name="connsiteY158" fmla="*/ 5913 h 10000"/>
                <a:gd name="connsiteX159" fmla="*/ 174 w 10000"/>
                <a:gd name="connsiteY159" fmla="*/ 6134 h 10000"/>
                <a:gd name="connsiteX160" fmla="*/ 239 w 10000"/>
                <a:gd name="connsiteY160" fmla="*/ 5751 h 10000"/>
                <a:gd name="connsiteX161" fmla="*/ 197 w 10000"/>
                <a:gd name="connsiteY161" fmla="*/ 568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10000" h="10000">
                  <a:moveTo>
                    <a:pt x="197" y="5680"/>
                  </a:moveTo>
                  <a:lnTo>
                    <a:pt x="0" y="5880"/>
                  </a:lnTo>
                  <a:lnTo>
                    <a:pt x="0" y="6858"/>
                  </a:lnTo>
                  <a:cubicBezTo>
                    <a:pt x="36" y="6867"/>
                    <a:pt x="73" y="6875"/>
                    <a:pt x="109" y="6884"/>
                  </a:cubicBezTo>
                  <a:cubicBezTo>
                    <a:pt x="121" y="6907"/>
                    <a:pt x="127" y="6938"/>
                    <a:pt x="134" y="6962"/>
                  </a:cubicBezTo>
                  <a:cubicBezTo>
                    <a:pt x="133" y="7003"/>
                    <a:pt x="131" y="7049"/>
                    <a:pt x="130" y="7093"/>
                  </a:cubicBezTo>
                  <a:cubicBezTo>
                    <a:pt x="116" y="7114"/>
                    <a:pt x="104" y="7134"/>
                    <a:pt x="89" y="7151"/>
                  </a:cubicBezTo>
                  <a:cubicBezTo>
                    <a:pt x="143" y="7114"/>
                    <a:pt x="200" y="7076"/>
                    <a:pt x="255" y="7037"/>
                  </a:cubicBezTo>
                  <a:cubicBezTo>
                    <a:pt x="277" y="7002"/>
                    <a:pt x="303" y="6967"/>
                    <a:pt x="325" y="6929"/>
                  </a:cubicBezTo>
                  <a:cubicBezTo>
                    <a:pt x="354" y="6953"/>
                    <a:pt x="384" y="6978"/>
                    <a:pt x="413" y="7003"/>
                  </a:cubicBezTo>
                  <a:cubicBezTo>
                    <a:pt x="381" y="7061"/>
                    <a:pt x="348" y="7111"/>
                    <a:pt x="316" y="7163"/>
                  </a:cubicBezTo>
                  <a:cubicBezTo>
                    <a:pt x="350" y="7165"/>
                    <a:pt x="385" y="7166"/>
                    <a:pt x="419" y="7168"/>
                  </a:cubicBezTo>
                  <a:cubicBezTo>
                    <a:pt x="435" y="7180"/>
                    <a:pt x="451" y="7194"/>
                    <a:pt x="469" y="7208"/>
                  </a:cubicBezTo>
                  <a:cubicBezTo>
                    <a:pt x="424" y="7221"/>
                    <a:pt x="381" y="7241"/>
                    <a:pt x="337" y="7260"/>
                  </a:cubicBezTo>
                  <a:cubicBezTo>
                    <a:pt x="269" y="7321"/>
                    <a:pt x="197" y="7368"/>
                    <a:pt x="130" y="7426"/>
                  </a:cubicBezTo>
                  <a:lnTo>
                    <a:pt x="497" y="7554"/>
                  </a:lnTo>
                  <a:cubicBezTo>
                    <a:pt x="514" y="7614"/>
                    <a:pt x="529" y="7675"/>
                    <a:pt x="545" y="7736"/>
                  </a:cubicBezTo>
                  <a:cubicBezTo>
                    <a:pt x="503" y="7828"/>
                    <a:pt x="462" y="7918"/>
                    <a:pt x="419" y="8007"/>
                  </a:cubicBezTo>
                  <a:lnTo>
                    <a:pt x="688" y="7991"/>
                  </a:lnTo>
                  <a:cubicBezTo>
                    <a:pt x="696" y="8057"/>
                    <a:pt x="704" y="8127"/>
                    <a:pt x="709" y="8192"/>
                  </a:cubicBezTo>
                  <a:lnTo>
                    <a:pt x="530" y="8336"/>
                  </a:lnTo>
                  <a:cubicBezTo>
                    <a:pt x="541" y="8425"/>
                    <a:pt x="549" y="8509"/>
                    <a:pt x="560" y="8600"/>
                  </a:cubicBezTo>
                  <a:cubicBezTo>
                    <a:pt x="535" y="8675"/>
                    <a:pt x="514" y="8741"/>
                    <a:pt x="489" y="8812"/>
                  </a:cubicBezTo>
                  <a:lnTo>
                    <a:pt x="703" y="8832"/>
                  </a:lnTo>
                  <a:cubicBezTo>
                    <a:pt x="773" y="9093"/>
                    <a:pt x="922" y="9682"/>
                    <a:pt x="992" y="9954"/>
                  </a:cubicBezTo>
                  <a:lnTo>
                    <a:pt x="1653" y="9589"/>
                  </a:lnTo>
                  <a:lnTo>
                    <a:pt x="2252" y="9787"/>
                  </a:lnTo>
                  <a:cubicBezTo>
                    <a:pt x="2265" y="9589"/>
                    <a:pt x="2454" y="9656"/>
                    <a:pt x="2467" y="9458"/>
                  </a:cubicBezTo>
                  <a:lnTo>
                    <a:pt x="3729" y="9898"/>
                  </a:lnTo>
                  <a:cubicBezTo>
                    <a:pt x="3734" y="9762"/>
                    <a:pt x="4034" y="9650"/>
                    <a:pt x="4039" y="9514"/>
                  </a:cubicBezTo>
                  <a:lnTo>
                    <a:pt x="5433" y="9620"/>
                  </a:lnTo>
                  <a:lnTo>
                    <a:pt x="6373" y="10000"/>
                  </a:lnTo>
                  <a:cubicBezTo>
                    <a:pt x="6429" y="9713"/>
                    <a:pt x="6532" y="9713"/>
                    <a:pt x="6586" y="9430"/>
                  </a:cubicBezTo>
                  <a:lnTo>
                    <a:pt x="6855" y="9052"/>
                  </a:lnTo>
                  <a:lnTo>
                    <a:pt x="6855" y="8848"/>
                  </a:lnTo>
                  <a:cubicBezTo>
                    <a:pt x="6823" y="8812"/>
                    <a:pt x="6790" y="8778"/>
                    <a:pt x="6757" y="8739"/>
                  </a:cubicBezTo>
                  <a:cubicBezTo>
                    <a:pt x="6811" y="8678"/>
                    <a:pt x="6861" y="8618"/>
                    <a:pt x="6915" y="8555"/>
                  </a:cubicBezTo>
                  <a:cubicBezTo>
                    <a:pt x="6907" y="8507"/>
                    <a:pt x="6895" y="8453"/>
                    <a:pt x="6887" y="8408"/>
                  </a:cubicBezTo>
                  <a:cubicBezTo>
                    <a:pt x="6850" y="8361"/>
                    <a:pt x="6815" y="8324"/>
                    <a:pt x="6779" y="8282"/>
                  </a:cubicBezTo>
                  <a:cubicBezTo>
                    <a:pt x="6774" y="8244"/>
                    <a:pt x="6766" y="8216"/>
                    <a:pt x="6757" y="8183"/>
                  </a:cubicBezTo>
                  <a:cubicBezTo>
                    <a:pt x="6769" y="8160"/>
                    <a:pt x="6777" y="8134"/>
                    <a:pt x="6785" y="8111"/>
                  </a:cubicBezTo>
                  <a:lnTo>
                    <a:pt x="6931" y="8168"/>
                  </a:lnTo>
                  <a:lnTo>
                    <a:pt x="7045" y="8165"/>
                  </a:lnTo>
                  <a:cubicBezTo>
                    <a:pt x="7025" y="8125"/>
                    <a:pt x="7003" y="8085"/>
                    <a:pt x="6983" y="8045"/>
                  </a:cubicBezTo>
                  <a:cubicBezTo>
                    <a:pt x="6989" y="8022"/>
                    <a:pt x="6998" y="7998"/>
                    <a:pt x="7003" y="7973"/>
                  </a:cubicBezTo>
                  <a:cubicBezTo>
                    <a:pt x="7032" y="7940"/>
                    <a:pt x="7060" y="7904"/>
                    <a:pt x="7089" y="7871"/>
                  </a:cubicBezTo>
                  <a:cubicBezTo>
                    <a:pt x="7085" y="7843"/>
                    <a:pt x="7080" y="7818"/>
                    <a:pt x="7074" y="7786"/>
                  </a:cubicBezTo>
                  <a:cubicBezTo>
                    <a:pt x="7100" y="7693"/>
                    <a:pt x="7126" y="7595"/>
                    <a:pt x="7152" y="7503"/>
                  </a:cubicBezTo>
                  <a:cubicBezTo>
                    <a:pt x="7147" y="7474"/>
                    <a:pt x="7136" y="7445"/>
                    <a:pt x="7130" y="7414"/>
                  </a:cubicBezTo>
                  <a:lnTo>
                    <a:pt x="6729" y="7196"/>
                  </a:lnTo>
                  <a:cubicBezTo>
                    <a:pt x="6749" y="7194"/>
                    <a:pt x="6768" y="7189"/>
                    <a:pt x="6785" y="7188"/>
                  </a:cubicBezTo>
                  <a:lnTo>
                    <a:pt x="6998" y="7244"/>
                  </a:lnTo>
                  <a:lnTo>
                    <a:pt x="7230" y="7223"/>
                  </a:lnTo>
                  <a:cubicBezTo>
                    <a:pt x="7250" y="7198"/>
                    <a:pt x="7269" y="7170"/>
                    <a:pt x="7295" y="7147"/>
                  </a:cubicBezTo>
                  <a:lnTo>
                    <a:pt x="7074" y="7000"/>
                  </a:lnTo>
                  <a:lnTo>
                    <a:pt x="6414" y="6902"/>
                  </a:lnTo>
                  <a:cubicBezTo>
                    <a:pt x="6429" y="6888"/>
                    <a:pt x="6443" y="6872"/>
                    <a:pt x="6458" y="6858"/>
                  </a:cubicBezTo>
                  <a:lnTo>
                    <a:pt x="6998" y="6827"/>
                  </a:lnTo>
                  <a:lnTo>
                    <a:pt x="7295" y="6916"/>
                  </a:lnTo>
                  <a:lnTo>
                    <a:pt x="7466" y="6858"/>
                  </a:lnTo>
                  <a:cubicBezTo>
                    <a:pt x="7487" y="6808"/>
                    <a:pt x="7507" y="6753"/>
                    <a:pt x="7529" y="6706"/>
                  </a:cubicBezTo>
                  <a:lnTo>
                    <a:pt x="7840" y="6706"/>
                  </a:lnTo>
                  <a:lnTo>
                    <a:pt x="8261" y="6396"/>
                  </a:lnTo>
                  <a:cubicBezTo>
                    <a:pt x="8266" y="6327"/>
                    <a:pt x="8271" y="6257"/>
                    <a:pt x="8275" y="6190"/>
                  </a:cubicBezTo>
                  <a:lnTo>
                    <a:pt x="8453" y="6237"/>
                  </a:lnTo>
                  <a:cubicBezTo>
                    <a:pt x="8452" y="6306"/>
                    <a:pt x="8448" y="6373"/>
                    <a:pt x="8446" y="6445"/>
                  </a:cubicBezTo>
                  <a:lnTo>
                    <a:pt x="8727" y="6429"/>
                  </a:lnTo>
                  <a:cubicBezTo>
                    <a:pt x="8790" y="6359"/>
                    <a:pt x="8850" y="6288"/>
                    <a:pt x="8913" y="6215"/>
                  </a:cubicBezTo>
                  <a:lnTo>
                    <a:pt x="9258" y="6023"/>
                  </a:lnTo>
                  <a:cubicBezTo>
                    <a:pt x="9242" y="5957"/>
                    <a:pt x="9218" y="5881"/>
                    <a:pt x="9203" y="5805"/>
                  </a:cubicBezTo>
                  <a:cubicBezTo>
                    <a:pt x="9240" y="5839"/>
                    <a:pt x="9272" y="5862"/>
                    <a:pt x="9306" y="5893"/>
                  </a:cubicBezTo>
                  <a:lnTo>
                    <a:pt x="9464" y="5893"/>
                  </a:lnTo>
                  <a:lnTo>
                    <a:pt x="9464" y="5790"/>
                  </a:lnTo>
                  <a:lnTo>
                    <a:pt x="9611" y="5716"/>
                  </a:lnTo>
                  <a:cubicBezTo>
                    <a:pt x="9604" y="5687"/>
                    <a:pt x="9597" y="5664"/>
                    <a:pt x="9592" y="5637"/>
                  </a:cubicBezTo>
                  <a:lnTo>
                    <a:pt x="8350" y="5792"/>
                  </a:lnTo>
                  <a:lnTo>
                    <a:pt x="8058" y="5749"/>
                  </a:lnTo>
                  <a:cubicBezTo>
                    <a:pt x="8019" y="5768"/>
                    <a:pt x="7981" y="5787"/>
                    <a:pt x="7942" y="5805"/>
                  </a:cubicBezTo>
                  <a:cubicBezTo>
                    <a:pt x="7930" y="5772"/>
                    <a:pt x="7914" y="5732"/>
                    <a:pt x="7903" y="5695"/>
                  </a:cubicBezTo>
                  <a:lnTo>
                    <a:pt x="7765" y="5598"/>
                  </a:lnTo>
                  <a:lnTo>
                    <a:pt x="7213" y="5399"/>
                  </a:lnTo>
                  <a:lnTo>
                    <a:pt x="6887" y="5432"/>
                  </a:lnTo>
                  <a:cubicBezTo>
                    <a:pt x="6844" y="5413"/>
                    <a:pt x="6800" y="5395"/>
                    <a:pt x="6757" y="5376"/>
                  </a:cubicBezTo>
                  <a:cubicBezTo>
                    <a:pt x="6801" y="5359"/>
                    <a:pt x="6849" y="5341"/>
                    <a:pt x="6894" y="5328"/>
                  </a:cubicBezTo>
                  <a:cubicBezTo>
                    <a:pt x="6931" y="5293"/>
                    <a:pt x="6965" y="5256"/>
                    <a:pt x="6998" y="5223"/>
                  </a:cubicBezTo>
                  <a:lnTo>
                    <a:pt x="7152" y="5256"/>
                  </a:lnTo>
                  <a:lnTo>
                    <a:pt x="7335" y="5230"/>
                  </a:lnTo>
                  <a:lnTo>
                    <a:pt x="7611" y="5264"/>
                  </a:lnTo>
                  <a:cubicBezTo>
                    <a:pt x="7621" y="5256"/>
                    <a:pt x="7634" y="5251"/>
                    <a:pt x="7645" y="5249"/>
                  </a:cubicBezTo>
                  <a:lnTo>
                    <a:pt x="7859" y="5409"/>
                  </a:lnTo>
                  <a:lnTo>
                    <a:pt x="8017" y="5349"/>
                  </a:lnTo>
                  <a:cubicBezTo>
                    <a:pt x="8023" y="5334"/>
                    <a:pt x="8027" y="5314"/>
                    <a:pt x="8032" y="5295"/>
                  </a:cubicBezTo>
                  <a:cubicBezTo>
                    <a:pt x="8079" y="5329"/>
                    <a:pt x="8129" y="5359"/>
                    <a:pt x="8176" y="5390"/>
                  </a:cubicBezTo>
                  <a:lnTo>
                    <a:pt x="8369" y="5442"/>
                  </a:lnTo>
                  <a:cubicBezTo>
                    <a:pt x="8398" y="5409"/>
                    <a:pt x="8419" y="5379"/>
                    <a:pt x="8446" y="5347"/>
                  </a:cubicBezTo>
                  <a:cubicBezTo>
                    <a:pt x="8467" y="5363"/>
                    <a:pt x="8485" y="5381"/>
                    <a:pt x="8507" y="5399"/>
                  </a:cubicBezTo>
                  <a:cubicBezTo>
                    <a:pt x="8537" y="5461"/>
                    <a:pt x="8568" y="5520"/>
                    <a:pt x="8596" y="5585"/>
                  </a:cubicBezTo>
                  <a:lnTo>
                    <a:pt x="8782" y="5626"/>
                  </a:lnTo>
                  <a:lnTo>
                    <a:pt x="9542" y="5356"/>
                  </a:lnTo>
                  <a:lnTo>
                    <a:pt x="9914" y="4976"/>
                  </a:lnTo>
                  <a:cubicBezTo>
                    <a:pt x="9939" y="4887"/>
                    <a:pt x="9971" y="4797"/>
                    <a:pt x="10000" y="4704"/>
                  </a:cubicBezTo>
                  <a:cubicBezTo>
                    <a:pt x="9957" y="4623"/>
                    <a:pt x="9911" y="4536"/>
                    <a:pt x="9866" y="4453"/>
                  </a:cubicBezTo>
                  <a:lnTo>
                    <a:pt x="9582" y="4307"/>
                  </a:lnTo>
                  <a:cubicBezTo>
                    <a:pt x="9514" y="4226"/>
                    <a:pt x="9449" y="4146"/>
                    <a:pt x="9382" y="4060"/>
                  </a:cubicBezTo>
                  <a:lnTo>
                    <a:pt x="9569" y="4053"/>
                  </a:lnTo>
                  <a:cubicBezTo>
                    <a:pt x="9564" y="4034"/>
                    <a:pt x="9559" y="4016"/>
                    <a:pt x="9555" y="3997"/>
                  </a:cubicBezTo>
                  <a:lnTo>
                    <a:pt x="9068" y="3826"/>
                  </a:lnTo>
                  <a:cubicBezTo>
                    <a:pt x="9060" y="3772"/>
                    <a:pt x="9054" y="3721"/>
                    <a:pt x="9047" y="3668"/>
                  </a:cubicBezTo>
                  <a:cubicBezTo>
                    <a:pt x="9016" y="3612"/>
                    <a:pt x="8985" y="3555"/>
                    <a:pt x="8953" y="3503"/>
                  </a:cubicBezTo>
                  <a:lnTo>
                    <a:pt x="8569" y="3534"/>
                  </a:lnTo>
                  <a:cubicBezTo>
                    <a:pt x="8524" y="3477"/>
                    <a:pt x="8476" y="3420"/>
                    <a:pt x="8431" y="3358"/>
                  </a:cubicBezTo>
                  <a:cubicBezTo>
                    <a:pt x="8404" y="3353"/>
                    <a:pt x="8377" y="3351"/>
                    <a:pt x="8350" y="3347"/>
                  </a:cubicBezTo>
                  <a:lnTo>
                    <a:pt x="8350" y="3426"/>
                  </a:lnTo>
                  <a:lnTo>
                    <a:pt x="8176" y="3716"/>
                  </a:lnTo>
                  <a:cubicBezTo>
                    <a:pt x="8116" y="3772"/>
                    <a:pt x="8050" y="3831"/>
                    <a:pt x="7990" y="3891"/>
                  </a:cubicBezTo>
                  <a:lnTo>
                    <a:pt x="7401" y="4182"/>
                  </a:lnTo>
                  <a:lnTo>
                    <a:pt x="7198" y="4174"/>
                  </a:lnTo>
                  <a:lnTo>
                    <a:pt x="6915" y="4218"/>
                  </a:lnTo>
                  <a:lnTo>
                    <a:pt x="6757" y="4174"/>
                  </a:lnTo>
                  <a:lnTo>
                    <a:pt x="6965" y="4089"/>
                  </a:lnTo>
                  <a:lnTo>
                    <a:pt x="7235" y="4053"/>
                  </a:lnTo>
                  <a:lnTo>
                    <a:pt x="7455" y="3918"/>
                  </a:lnTo>
                  <a:lnTo>
                    <a:pt x="7674" y="3853"/>
                  </a:lnTo>
                  <a:lnTo>
                    <a:pt x="8082" y="3612"/>
                  </a:lnTo>
                  <a:cubicBezTo>
                    <a:pt x="8106" y="3557"/>
                    <a:pt x="8132" y="3508"/>
                    <a:pt x="8157" y="3455"/>
                  </a:cubicBezTo>
                  <a:cubicBezTo>
                    <a:pt x="8159" y="3390"/>
                    <a:pt x="8163" y="3320"/>
                    <a:pt x="8165" y="3253"/>
                  </a:cubicBezTo>
                  <a:lnTo>
                    <a:pt x="7978" y="3218"/>
                  </a:lnTo>
                  <a:cubicBezTo>
                    <a:pt x="8002" y="3180"/>
                    <a:pt x="8033" y="3141"/>
                    <a:pt x="8058" y="3095"/>
                  </a:cubicBezTo>
                  <a:cubicBezTo>
                    <a:pt x="8069" y="3039"/>
                    <a:pt x="8079" y="2994"/>
                    <a:pt x="8087" y="2937"/>
                  </a:cubicBezTo>
                  <a:cubicBezTo>
                    <a:pt x="8060" y="2888"/>
                    <a:pt x="8038" y="2837"/>
                    <a:pt x="8007" y="2791"/>
                  </a:cubicBezTo>
                  <a:lnTo>
                    <a:pt x="7450" y="2993"/>
                  </a:lnTo>
                  <a:lnTo>
                    <a:pt x="6694" y="2903"/>
                  </a:lnTo>
                  <a:cubicBezTo>
                    <a:pt x="6608" y="2708"/>
                    <a:pt x="6390" y="2535"/>
                    <a:pt x="6304" y="2341"/>
                  </a:cubicBezTo>
                  <a:lnTo>
                    <a:pt x="5294" y="2235"/>
                  </a:lnTo>
                  <a:lnTo>
                    <a:pt x="4505" y="1770"/>
                  </a:lnTo>
                  <a:lnTo>
                    <a:pt x="3730" y="1210"/>
                  </a:lnTo>
                  <a:lnTo>
                    <a:pt x="3154" y="178"/>
                  </a:lnTo>
                  <a:lnTo>
                    <a:pt x="2375" y="0"/>
                  </a:lnTo>
                  <a:cubicBezTo>
                    <a:pt x="2328" y="318"/>
                    <a:pt x="2278" y="642"/>
                    <a:pt x="2226" y="968"/>
                  </a:cubicBezTo>
                  <a:cubicBezTo>
                    <a:pt x="2275" y="1052"/>
                    <a:pt x="2326" y="1130"/>
                    <a:pt x="2375" y="1215"/>
                  </a:cubicBezTo>
                  <a:lnTo>
                    <a:pt x="2791" y="1487"/>
                  </a:lnTo>
                  <a:cubicBezTo>
                    <a:pt x="2796" y="1599"/>
                    <a:pt x="2803" y="1707"/>
                    <a:pt x="2808" y="1817"/>
                  </a:cubicBezTo>
                  <a:cubicBezTo>
                    <a:pt x="2748" y="1911"/>
                    <a:pt x="2696" y="2002"/>
                    <a:pt x="2632" y="2093"/>
                  </a:cubicBezTo>
                  <a:lnTo>
                    <a:pt x="2375" y="2259"/>
                  </a:lnTo>
                  <a:lnTo>
                    <a:pt x="2039" y="2324"/>
                  </a:lnTo>
                  <a:cubicBezTo>
                    <a:pt x="2010" y="2357"/>
                    <a:pt x="1983" y="2386"/>
                    <a:pt x="1950" y="2424"/>
                  </a:cubicBezTo>
                  <a:cubicBezTo>
                    <a:pt x="2017" y="2496"/>
                    <a:pt x="2081" y="2575"/>
                    <a:pt x="2148" y="2650"/>
                  </a:cubicBezTo>
                  <a:cubicBezTo>
                    <a:pt x="2184" y="2828"/>
                    <a:pt x="2225" y="3010"/>
                    <a:pt x="2261" y="3192"/>
                  </a:cubicBezTo>
                  <a:cubicBezTo>
                    <a:pt x="2176" y="3347"/>
                    <a:pt x="2090" y="3501"/>
                    <a:pt x="2005" y="3656"/>
                  </a:cubicBezTo>
                  <a:cubicBezTo>
                    <a:pt x="2033" y="3699"/>
                    <a:pt x="2063" y="3744"/>
                    <a:pt x="2094" y="3797"/>
                  </a:cubicBezTo>
                  <a:cubicBezTo>
                    <a:pt x="2066" y="3879"/>
                    <a:pt x="2039" y="3963"/>
                    <a:pt x="2012" y="4038"/>
                  </a:cubicBezTo>
                  <a:lnTo>
                    <a:pt x="1850" y="4205"/>
                  </a:lnTo>
                  <a:lnTo>
                    <a:pt x="1199" y="4335"/>
                  </a:lnTo>
                  <a:cubicBezTo>
                    <a:pt x="1183" y="4411"/>
                    <a:pt x="1171" y="4481"/>
                    <a:pt x="1158" y="4558"/>
                  </a:cubicBezTo>
                  <a:lnTo>
                    <a:pt x="808" y="4889"/>
                  </a:lnTo>
                  <a:cubicBezTo>
                    <a:pt x="822" y="5052"/>
                    <a:pt x="838" y="5211"/>
                    <a:pt x="854" y="5373"/>
                  </a:cubicBezTo>
                  <a:lnTo>
                    <a:pt x="560" y="5988"/>
                  </a:lnTo>
                  <a:lnTo>
                    <a:pt x="358" y="6059"/>
                  </a:lnTo>
                  <a:cubicBezTo>
                    <a:pt x="329" y="6009"/>
                    <a:pt x="303" y="5962"/>
                    <a:pt x="275" y="5913"/>
                  </a:cubicBezTo>
                  <a:cubicBezTo>
                    <a:pt x="241" y="5988"/>
                    <a:pt x="205" y="6059"/>
                    <a:pt x="174" y="6134"/>
                  </a:cubicBezTo>
                  <a:cubicBezTo>
                    <a:pt x="193" y="6008"/>
                    <a:pt x="222" y="5881"/>
                    <a:pt x="239" y="5751"/>
                  </a:cubicBezTo>
                  <a:cubicBezTo>
                    <a:pt x="228" y="5729"/>
                    <a:pt x="215" y="5705"/>
                    <a:pt x="197" y="5680"/>
                  </a:cubicBezTo>
                </a:path>
              </a:pathLst>
            </a:custGeom>
            <a:solidFill>
              <a:srgbClr val="7359A0"/>
            </a:solidFill>
            <a:ln w="12700">
              <a:solidFill>
                <a:sysClr val="window" lastClr="FFFFFF"/>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1" u="none" strike="noStrike" kern="0" cap="none" spc="0" normalizeH="0" baseline="0" noProof="0" dirty="0">
                <a:ln>
                  <a:noFill/>
                </a:ln>
                <a:solidFill>
                  <a:prstClr val="black"/>
                </a:solidFill>
                <a:effectLst/>
                <a:uLnTx/>
                <a:uFillTx/>
                <a:latin typeface="Arial" panose="020B0604020202020204"/>
                <a:ea typeface="+mn-ea"/>
                <a:cs typeface="+mn-cs"/>
              </a:endParaRPr>
            </a:p>
          </p:txBody>
        </p:sp>
        <p:sp>
          <p:nvSpPr>
            <p:cNvPr id="484" name="PT">
              <a:extLst>
                <a:ext uri="{FF2B5EF4-FFF2-40B4-BE49-F238E27FC236}">
                  <a16:creationId xmlns:a16="http://schemas.microsoft.com/office/drawing/2014/main" id="{1A6EA3EF-6BFB-C338-66A5-D81BEA851549}"/>
                </a:ext>
              </a:extLst>
            </p:cNvPr>
            <p:cNvSpPr>
              <a:spLocks/>
            </p:cNvSpPr>
            <p:nvPr/>
          </p:nvSpPr>
          <p:spPr bwMode="auto">
            <a:xfrm rot="21143802">
              <a:off x="5702921" y="4856357"/>
              <a:ext cx="671723" cy="834918"/>
            </a:xfrm>
            <a:custGeom>
              <a:avLst/>
              <a:gdLst>
                <a:gd name="T0" fmla="*/ 2147483647 w 1252"/>
                <a:gd name="T1" fmla="*/ 2147483647 h 1779"/>
                <a:gd name="T2" fmla="*/ 2147483647 w 1252"/>
                <a:gd name="T3" fmla="*/ 2147483647 h 1779"/>
                <a:gd name="T4" fmla="*/ 2147483647 w 1252"/>
                <a:gd name="T5" fmla="*/ 2147483647 h 1779"/>
                <a:gd name="T6" fmla="*/ 2147483647 w 1252"/>
                <a:gd name="T7" fmla="*/ 2147483647 h 1779"/>
                <a:gd name="T8" fmla="*/ 2147483647 w 1252"/>
                <a:gd name="T9" fmla="*/ 2147483647 h 1779"/>
                <a:gd name="T10" fmla="*/ 2147483647 w 1252"/>
                <a:gd name="T11" fmla="*/ 2147483647 h 1779"/>
                <a:gd name="T12" fmla="*/ 2147483647 w 1252"/>
                <a:gd name="T13" fmla="*/ 0 h 1779"/>
                <a:gd name="T14" fmla="*/ 2147483647 w 1252"/>
                <a:gd name="T15" fmla="*/ 2147483647 h 1779"/>
                <a:gd name="T16" fmla="*/ 2147483647 w 1252"/>
                <a:gd name="T17" fmla="*/ 2147483647 h 1779"/>
                <a:gd name="T18" fmla="*/ 2147483647 w 1252"/>
                <a:gd name="T19" fmla="*/ 2147483647 h 1779"/>
                <a:gd name="T20" fmla="*/ 2147483647 w 1252"/>
                <a:gd name="T21" fmla="*/ 2147483647 h 1779"/>
                <a:gd name="T22" fmla="*/ 2147483647 w 1252"/>
                <a:gd name="T23" fmla="*/ 2147483647 h 1779"/>
                <a:gd name="T24" fmla="*/ 2147483647 w 1252"/>
                <a:gd name="T25" fmla="*/ 2147483647 h 1779"/>
                <a:gd name="T26" fmla="*/ 2147483647 w 1252"/>
                <a:gd name="T27" fmla="*/ 2147483647 h 1779"/>
                <a:gd name="T28" fmla="*/ 2147483647 w 1252"/>
                <a:gd name="T29" fmla="*/ 2147483647 h 1779"/>
                <a:gd name="T30" fmla="*/ 2147483647 w 1252"/>
                <a:gd name="T31" fmla="*/ 2147483647 h 1779"/>
                <a:gd name="T32" fmla="*/ 2147483647 w 1252"/>
                <a:gd name="T33" fmla="*/ 2147483647 h 1779"/>
                <a:gd name="T34" fmla="*/ 2147483647 w 1252"/>
                <a:gd name="T35" fmla="*/ 2147483647 h 1779"/>
                <a:gd name="T36" fmla="*/ 2147483647 w 1252"/>
                <a:gd name="T37" fmla="*/ 2147483647 h 1779"/>
                <a:gd name="T38" fmla="*/ 2147483647 w 1252"/>
                <a:gd name="T39" fmla="*/ 2147483647 h 1779"/>
                <a:gd name="T40" fmla="*/ 2147483647 w 1252"/>
                <a:gd name="T41" fmla="*/ 2147483647 h 1779"/>
                <a:gd name="T42" fmla="*/ 0 w 1252"/>
                <a:gd name="T43" fmla="*/ 2147483647 h 1779"/>
                <a:gd name="T44" fmla="*/ 2147483647 w 1252"/>
                <a:gd name="T45" fmla="*/ 2147483647 h 1779"/>
                <a:gd name="T46" fmla="*/ 2147483647 w 1252"/>
                <a:gd name="T47" fmla="*/ 2147483647 h 1779"/>
                <a:gd name="T48" fmla="*/ 2147483647 w 1252"/>
                <a:gd name="T49" fmla="*/ 2147483647 h 1779"/>
                <a:gd name="T50" fmla="*/ 2147483647 w 1252"/>
                <a:gd name="T51" fmla="*/ 2147483647 h 1779"/>
                <a:gd name="T52" fmla="*/ 2147483647 w 1252"/>
                <a:gd name="T53" fmla="*/ 2147483647 h 1779"/>
                <a:gd name="T54" fmla="*/ 2147483647 w 1252"/>
                <a:gd name="T55" fmla="*/ 2147483647 h 1779"/>
                <a:gd name="T56" fmla="*/ 2147483647 w 1252"/>
                <a:gd name="T57" fmla="*/ 2147483647 h 1779"/>
                <a:gd name="T58" fmla="*/ 2147483647 w 1252"/>
                <a:gd name="T59" fmla="*/ 2147483647 h 1779"/>
                <a:gd name="T60" fmla="*/ 2147483647 w 1252"/>
                <a:gd name="T61" fmla="*/ 2147483647 h 1779"/>
                <a:gd name="T62" fmla="*/ 2147483647 w 1252"/>
                <a:gd name="T63" fmla="*/ 2147483647 h 1779"/>
                <a:gd name="T64" fmla="*/ 2147483647 w 1252"/>
                <a:gd name="T65" fmla="*/ 2147483647 h 1779"/>
                <a:gd name="T66" fmla="*/ 2147483647 w 1252"/>
                <a:gd name="T67" fmla="*/ 2147483647 h 1779"/>
                <a:gd name="T68" fmla="*/ 2147483647 w 1252"/>
                <a:gd name="T69" fmla="*/ 2147483647 h 1779"/>
                <a:gd name="T70" fmla="*/ 2147483647 w 1252"/>
                <a:gd name="T71" fmla="*/ 2147483647 h 1779"/>
                <a:gd name="T72" fmla="*/ 2147483647 w 1252"/>
                <a:gd name="T73" fmla="*/ 2147483647 h 1779"/>
                <a:gd name="T74" fmla="*/ 2147483647 w 1252"/>
                <a:gd name="T75" fmla="*/ 2147483647 h 1779"/>
                <a:gd name="T76" fmla="*/ 2147483647 w 1252"/>
                <a:gd name="T77" fmla="*/ 2147483647 h 1779"/>
                <a:gd name="T78" fmla="*/ 2147483647 w 1252"/>
                <a:gd name="T79" fmla="*/ 2147483647 h 1779"/>
                <a:gd name="T80" fmla="*/ 2147483647 w 1252"/>
                <a:gd name="T81" fmla="*/ 2147483647 h 1779"/>
                <a:gd name="T82" fmla="*/ 2147483647 w 1252"/>
                <a:gd name="T83" fmla="*/ 2147483647 h 1779"/>
                <a:gd name="T84" fmla="*/ 2147483647 w 1252"/>
                <a:gd name="T85" fmla="*/ 2147483647 h 1779"/>
                <a:gd name="T86" fmla="*/ 2147483647 w 1252"/>
                <a:gd name="T87" fmla="*/ 2147483647 h 1779"/>
                <a:gd name="T88" fmla="*/ 2147483647 w 1252"/>
                <a:gd name="T89" fmla="*/ 2147483647 h 1779"/>
                <a:gd name="T90" fmla="*/ 2147483647 w 1252"/>
                <a:gd name="T91" fmla="*/ 2147483647 h 1779"/>
                <a:gd name="T92" fmla="*/ 2147483647 w 1252"/>
                <a:gd name="T93" fmla="*/ 2147483647 h 177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252"/>
                <a:gd name="T142" fmla="*/ 0 h 1779"/>
                <a:gd name="T143" fmla="*/ 1252 w 1252"/>
                <a:gd name="T144" fmla="*/ 1779 h 177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252" h="1779">
                  <a:moveTo>
                    <a:pt x="1220" y="237"/>
                  </a:moveTo>
                  <a:lnTo>
                    <a:pt x="1073" y="164"/>
                  </a:lnTo>
                  <a:lnTo>
                    <a:pt x="1001" y="173"/>
                  </a:lnTo>
                  <a:lnTo>
                    <a:pt x="830" y="106"/>
                  </a:lnTo>
                  <a:lnTo>
                    <a:pt x="805" y="71"/>
                  </a:lnTo>
                  <a:lnTo>
                    <a:pt x="819" y="11"/>
                  </a:lnTo>
                  <a:lnTo>
                    <a:pt x="674" y="0"/>
                  </a:lnTo>
                  <a:lnTo>
                    <a:pt x="616" y="32"/>
                  </a:lnTo>
                  <a:lnTo>
                    <a:pt x="569" y="314"/>
                  </a:lnTo>
                  <a:lnTo>
                    <a:pt x="284" y="747"/>
                  </a:lnTo>
                  <a:lnTo>
                    <a:pt x="144" y="856"/>
                  </a:lnTo>
                  <a:lnTo>
                    <a:pt x="111" y="946"/>
                  </a:lnTo>
                  <a:lnTo>
                    <a:pt x="66" y="1008"/>
                  </a:lnTo>
                  <a:lnTo>
                    <a:pt x="64" y="1025"/>
                  </a:lnTo>
                  <a:lnTo>
                    <a:pt x="94" y="1068"/>
                  </a:lnTo>
                  <a:lnTo>
                    <a:pt x="114" y="1164"/>
                  </a:lnTo>
                  <a:lnTo>
                    <a:pt x="230" y="1178"/>
                  </a:lnTo>
                  <a:lnTo>
                    <a:pt x="219" y="1198"/>
                  </a:lnTo>
                  <a:lnTo>
                    <a:pt x="197" y="1214"/>
                  </a:lnTo>
                  <a:lnTo>
                    <a:pt x="97" y="1498"/>
                  </a:lnTo>
                  <a:lnTo>
                    <a:pt x="22" y="1593"/>
                  </a:lnTo>
                  <a:lnTo>
                    <a:pt x="0" y="1647"/>
                  </a:lnTo>
                  <a:lnTo>
                    <a:pt x="8" y="1672"/>
                  </a:lnTo>
                  <a:lnTo>
                    <a:pt x="69" y="1677"/>
                  </a:lnTo>
                  <a:lnTo>
                    <a:pt x="191" y="1727"/>
                  </a:lnTo>
                  <a:lnTo>
                    <a:pt x="232" y="1759"/>
                  </a:lnTo>
                  <a:lnTo>
                    <a:pt x="286" y="1779"/>
                  </a:lnTo>
                  <a:lnTo>
                    <a:pt x="430" y="1770"/>
                  </a:lnTo>
                  <a:lnTo>
                    <a:pt x="455" y="1621"/>
                  </a:lnTo>
                  <a:lnTo>
                    <a:pt x="647" y="1521"/>
                  </a:lnTo>
                  <a:lnTo>
                    <a:pt x="650" y="1459"/>
                  </a:lnTo>
                  <a:lnTo>
                    <a:pt x="622" y="1392"/>
                  </a:lnTo>
                  <a:lnTo>
                    <a:pt x="626" y="1319"/>
                  </a:lnTo>
                  <a:lnTo>
                    <a:pt x="652" y="1251"/>
                  </a:lnTo>
                  <a:lnTo>
                    <a:pt x="741" y="1165"/>
                  </a:lnTo>
                  <a:lnTo>
                    <a:pt x="709" y="1023"/>
                  </a:lnTo>
                  <a:lnTo>
                    <a:pt x="720" y="941"/>
                  </a:lnTo>
                  <a:lnTo>
                    <a:pt x="772" y="924"/>
                  </a:lnTo>
                  <a:lnTo>
                    <a:pt x="830" y="928"/>
                  </a:lnTo>
                  <a:lnTo>
                    <a:pt x="895" y="889"/>
                  </a:lnTo>
                  <a:lnTo>
                    <a:pt x="914" y="842"/>
                  </a:lnTo>
                  <a:lnTo>
                    <a:pt x="899" y="782"/>
                  </a:lnTo>
                  <a:lnTo>
                    <a:pt x="1042" y="509"/>
                  </a:lnTo>
                  <a:lnTo>
                    <a:pt x="1180" y="441"/>
                  </a:lnTo>
                  <a:lnTo>
                    <a:pt x="1239" y="388"/>
                  </a:lnTo>
                  <a:lnTo>
                    <a:pt x="1252" y="347"/>
                  </a:lnTo>
                  <a:lnTo>
                    <a:pt x="1220" y="237"/>
                  </a:lnTo>
                  <a:close/>
                </a:path>
              </a:pathLst>
            </a:custGeom>
            <a:solidFill>
              <a:srgbClr val="7359A3"/>
            </a:solidFill>
            <a:ln w="12700">
              <a:solidFill>
                <a:sysClr val="window" lastClr="FFFFFF"/>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1" u="none" strike="noStrike" kern="0" cap="none" spc="0" normalizeH="0" baseline="0" noProof="0" dirty="0">
                <a:ln>
                  <a:noFill/>
                </a:ln>
                <a:solidFill>
                  <a:prstClr val="black"/>
                </a:solidFill>
                <a:effectLst/>
                <a:uLnTx/>
                <a:uFillTx/>
                <a:latin typeface="Arial" panose="020B0604020202020204"/>
                <a:ea typeface="+mn-ea"/>
                <a:cs typeface="+mn-cs"/>
              </a:endParaRPr>
            </a:p>
          </p:txBody>
        </p:sp>
        <p:sp>
          <p:nvSpPr>
            <p:cNvPr id="485" name="SK">
              <a:extLst>
                <a:ext uri="{FF2B5EF4-FFF2-40B4-BE49-F238E27FC236}">
                  <a16:creationId xmlns:a16="http://schemas.microsoft.com/office/drawing/2014/main" id="{A6B4D1EE-BCD6-B337-4CE3-DD04CAFE089F}"/>
                </a:ext>
              </a:extLst>
            </p:cNvPr>
            <p:cNvSpPr>
              <a:spLocks/>
            </p:cNvSpPr>
            <p:nvPr/>
          </p:nvSpPr>
          <p:spPr bwMode="auto">
            <a:xfrm rot="21249101">
              <a:off x="9156148" y="3938987"/>
              <a:ext cx="631097" cy="293812"/>
            </a:xfrm>
            <a:custGeom>
              <a:avLst/>
              <a:gdLst>
                <a:gd name="T0" fmla="*/ 2147483647 w 1324"/>
                <a:gd name="T1" fmla="*/ 2147483647 h 646"/>
                <a:gd name="T2" fmla="*/ 2147483647 w 1324"/>
                <a:gd name="T3" fmla="*/ 2147483647 h 646"/>
                <a:gd name="T4" fmla="*/ 2147483647 w 1324"/>
                <a:gd name="T5" fmla="*/ 2147483647 h 646"/>
                <a:gd name="T6" fmla="*/ 2147483647 w 1324"/>
                <a:gd name="T7" fmla="*/ 2147483647 h 646"/>
                <a:gd name="T8" fmla="*/ 2147483647 w 1324"/>
                <a:gd name="T9" fmla="*/ 2147483647 h 646"/>
                <a:gd name="T10" fmla="*/ 2147483647 w 1324"/>
                <a:gd name="T11" fmla="*/ 2147483647 h 646"/>
                <a:gd name="T12" fmla="*/ 2147483647 w 1324"/>
                <a:gd name="T13" fmla="*/ 2147483647 h 646"/>
                <a:gd name="T14" fmla="*/ 2147483647 w 1324"/>
                <a:gd name="T15" fmla="*/ 2147483647 h 646"/>
                <a:gd name="T16" fmla="*/ 2147483647 w 1324"/>
                <a:gd name="T17" fmla="*/ 2147483647 h 646"/>
                <a:gd name="T18" fmla="*/ 2147483647 w 1324"/>
                <a:gd name="T19" fmla="*/ 2147483647 h 646"/>
                <a:gd name="T20" fmla="*/ 2147483647 w 1324"/>
                <a:gd name="T21" fmla="*/ 2147483647 h 646"/>
                <a:gd name="T22" fmla="*/ 2147483647 w 1324"/>
                <a:gd name="T23" fmla="*/ 2147483647 h 646"/>
                <a:gd name="T24" fmla="*/ 2147483647 w 1324"/>
                <a:gd name="T25" fmla="*/ 2147483647 h 646"/>
                <a:gd name="T26" fmla="*/ 2147483647 w 1324"/>
                <a:gd name="T27" fmla="*/ 2147483647 h 646"/>
                <a:gd name="T28" fmla="*/ 0 w 1324"/>
                <a:gd name="T29" fmla="*/ 2147483647 h 646"/>
                <a:gd name="T30" fmla="*/ 2147483647 w 1324"/>
                <a:gd name="T31" fmla="*/ 2147483647 h 646"/>
                <a:gd name="T32" fmla="*/ 2147483647 w 1324"/>
                <a:gd name="T33" fmla="*/ 2147483647 h 646"/>
                <a:gd name="T34" fmla="*/ 2147483647 w 1324"/>
                <a:gd name="T35" fmla="*/ 2147483647 h 646"/>
                <a:gd name="T36" fmla="*/ 2147483647 w 1324"/>
                <a:gd name="T37" fmla="*/ 2147483647 h 646"/>
                <a:gd name="T38" fmla="*/ 2147483647 w 1324"/>
                <a:gd name="T39" fmla="*/ 2147483647 h 646"/>
                <a:gd name="T40" fmla="*/ 2147483647 w 1324"/>
                <a:gd name="T41" fmla="*/ 2147483647 h 646"/>
                <a:gd name="T42" fmla="*/ 2147483647 w 1324"/>
                <a:gd name="T43" fmla="*/ 2147483647 h 646"/>
                <a:gd name="T44" fmla="*/ 2147483647 w 1324"/>
                <a:gd name="T45" fmla="*/ 2147483647 h 646"/>
                <a:gd name="T46" fmla="*/ 2147483647 w 1324"/>
                <a:gd name="T47" fmla="*/ 2147483647 h 646"/>
                <a:gd name="T48" fmla="*/ 2147483647 w 1324"/>
                <a:gd name="T49" fmla="*/ 2147483647 h 646"/>
                <a:gd name="T50" fmla="*/ 2147483647 w 1324"/>
                <a:gd name="T51" fmla="*/ 2147483647 h 646"/>
                <a:gd name="T52" fmla="*/ 2147483647 w 1324"/>
                <a:gd name="T53" fmla="*/ 2147483647 h 646"/>
                <a:gd name="T54" fmla="*/ 2147483647 w 1324"/>
                <a:gd name="T55" fmla="*/ 2147483647 h 646"/>
                <a:gd name="T56" fmla="*/ 2147483647 w 1324"/>
                <a:gd name="T57" fmla="*/ 2147483647 h 646"/>
                <a:gd name="T58" fmla="*/ 2147483647 w 1324"/>
                <a:gd name="T59" fmla="*/ 2147483647 h 646"/>
                <a:gd name="T60" fmla="*/ 2147483647 w 1324"/>
                <a:gd name="T61" fmla="*/ 0 h 646"/>
                <a:gd name="T62" fmla="*/ 2147483647 w 1324"/>
                <a:gd name="T63" fmla="*/ 2147483647 h 646"/>
                <a:gd name="T64" fmla="*/ 2147483647 w 1324"/>
                <a:gd name="T65" fmla="*/ 2147483647 h 646"/>
                <a:gd name="T66" fmla="*/ 2147483647 w 1324"/>
                <a:gd name="T67" fmla="*/ 2147483647 h 646"/>
                <a:gd name="T68" fmla="*/ 2147483647 w 1324"/>
                <a:gd name="T69" fmla="*/ 2147483647 h 646"/>
                <a:gd name="T70" fmla="*/ 2147483647 w 1324"/>
                <a:gd name="T71" fmla="*/ 2147483647 h 646"/>
                <a:gd name="T72" fmla="*/ 2147483647 w 1324"/>
                <a:gd name="T73" fmla="*/ 2147483647 h 646"/>
                <a:gd name="T74" fmla="*/ 2147483647 w 1324"/>
                <a:gd name="T75" fmla="*/ 2147483647 h 646"/>
                <a:gd name="T76" fmla="*/ 2147483647 w 1324"/>
                <a:gd name="T77" fmla="*/ 2147483647 h 646"/>
                <a:gd name="T78" fmla="*/ 2147483647 w 1324"/>
                <a:gd name="T79" fmla="*/ 2147483647 h 646"/>
                <a:gd name="T80" fmla="*/ 2147483647 w 1324"/>
                <a:gd name="T81" fmla="*/ 2147483647 h 646"/>
                <a:gd name="T82" fmla="*/ 2147483647 w 1324"/>
                <a:gd name="T83" fmla="*/ 2147483647 h 64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324"/>
                <a:gd name="T127" fmla="*/ 0 h 646"/>
                <a:gd name="T128" fmla="*/ 1324 w 1324"/>
                <a:gd name="T129" fmla="*/ 646 h 64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324" h="646">
                  <a:moveTo>
                    <a:pt x="1253" y="411"/>
                  </a:moveTo>
                  <a:lnTo>
                    <a:pt x="1198" y="427"/>
                  </a:lnTo>
                  <a:lnTo>
                    <a:pt x="1124" y="380"/>
                  </a:lnTo>
                  <a:lnTo>
                    <a:pt x="1055" y="363"/>
                  </a:lnTo>
                  <a:lnTo>
                    <a:pt x="1003" y="376"/>
                  </a:lnTo>
                  <a:lnTo>
                    <a:pt x="928" y="370"/>
                  </a:lnTo>
                  <a:lnTo>
                    <a:pt x="857" y="410"/>
                  </a:lnTo>
                  <a:lnTo>
                    <a:pt x="836" y="460"/>
                  </a:lnTo>
                  <a:lnTo>
                    <a:pt x="731" y="503"/>
                  </a:lnTo>
                  <a:lnTo>
                    <a:pt x="657" y="479"/>
                  </a:lnTo>
                  <a:lnTo>
                    <a:pt x="450" y="557"/>
                  </a:lnTo>
                  <a:lnTo>
                    <a:pt x="389" y="642"/>
                  </a:lnTo>
                  <a:lnTo>
                    <a:pt x="215" y="646"/>
                  </a:lnTo>
                  <a:lnTo>
                    <a:pt x="52" y="524"/>
                  </a:lnTo>
                  <a:lnTo>
                    <a:pt x="0" y="365"/>
                  </a:lnTo>
                  <a:lnTo>
                    <a:pt x="57" y="275"/>
                  </a:lnTo>
                  <a:lnTo>
                    <a:pt x="88" y="278"/>
                  </a:lnTo>
                  <a:lnTo>
                    <a:pt x="111" y="297"/>
                  </a:lnTo>
                  <a:lnTo>
                    <a:pt x="177" y="293"/>
                  </a:lnTo>
                  <a:lnTo>
                    <a:pt x="235" y="251"/>
                  </a:lnTo>
                  <a:lnTo>
                    <a:pt x="236" y="220"/>
                  </a:lnTo>
                  <a:lnTo>
                    <a:pt x="274" y="214"/>
                  </a:lnTo>
                  <a:lnTo>
                    <a:pt x="299" y="177"/>
                  </a:lnTo>
                  <a:lnTo>
                    <a:pt x="303" y="123"/>
                  </a:lnTo>
                  <a:lnTo>
                    <a:pt x="313" y="103"/>
                  </a:lnTo>
                  <a:lnTo>
                    <a:pt x="350" y="94"/>
                  </a:lnTo>
                  <a:lnTo>
                    <a:pt x="397" y="30"/>
                  </a:lnTo>
                  <a:lnTo>
                    <a:pt x="445" y="34"/>
                  </a:lnTo>
                  <a:lnTo>
                    <a:pt x="477" y="7"/>
                  </a:lnTo>
                  <a:lnTo>
                    <a:pt x="524" y="30"/>
                  </a:lnTo>
                  <a:lnTo>
                    <a:pt x="615" y="0"/>
                  </a:lnTo>
                  <a:lnTo>
                    <a:pt x="722" y="110"/>
                  </a:lnTo>
                  <a:lnTo>
                    <a:pt x="756" y="121"/>
                  </a:lnTo>
                  <a:lnTo>
                    <a:pt x="797" y="99"/>
                  </a:lnTo>
                  <a:lnTo>
                    <a:pt x="837" y="58"/>
                  </a:lnTo>
                  <a:lnTo>
                    <a:pt x="920" y="58"/>
                  </a:lnTo>
                  <a:lnTo>
                    <a:pt x="964" y="89"/>
                  </a:lnTo>
                  <a:lnTo>
                    <a:pt x="1039" y="43"/>
                  </a:lnTo>
                  <a:lnTo>
                    <a:pt x="1152" y="41"/>
                  </a:lnTo>
                  <a:lnTo>
                    <a:pt x="1283" y="139"/>
                  </a:lnTo>
                  <a:lnTo>
                    <a:pt x="1324" y="150"/>
                  </a:lnTo>
                  <a:lnTo>
                    <a:pt x="1253" y="411"/>
                  </a:lnTo>
                  <a:close/>
                </a:path>
              </a:pathLst>
            </a:custGeom>
            <a:solidFill>
              <a:srgbClr val="00A194"/>
            </a:solidFill>
            <a:ln w="12700">
              <a:solidFill>
                <a:sysClr val="window" lastClr="FFFFFF"/>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1" u="none" strike="noStrike" kern="0" cap="none" spc="0" normalizeH="0" baseline="0" noProof="0" dirty="0">
                <a:ln>
                  <a:noFill/>
                </a:ln>
                <a:solidFill>
                  <a:prstClr val="black"/>
                </a:solidFill>
                <a:effectLst/>
                <a:uLnTx/>
                <a:uFillTx/>
                <a:latin typeface="Arial" panose="020B0604020202020204"/>
                <a:ea typeface="+mn-ea"/>
                <a:cs typeface="+mn-cs"/>
              </a:endParaRPr>
            </a:p>
          </p:txBody>
        </p:sp>
        <p:sp>
          <p:nvSpPr>
            <p:cNvPr id="486" name="RO">
              <a:extLst>
                <a:ext uri="{FF2B5EF4-FFF2-40B4-BE49-F238E27FC236}">
                  <a16:creationId xmlns:a16="http://schemas.microsoft.com/office/drawing/2014/main" id="{0CE65AE4-C524-0AA2-8F22-BB9185780141}"/>
                </a:ext>
              </a:extLst>
            </p:cNvPr>
            <p:cNvSpPr>
              <a:spLocks/>
            </p:cNvSpPr>
            <p:nvPr/>
          </p:nvSpPr>
          <p:spPr bwMode="auto">
            <a:xfrm rot="21249101">
              <a:off x="9577571" y="4055325"/>
              <a:ext cx="1166825" cy="768087"/>
            </a:xfrm>
            <a:custGeom>
              <a:avLst/>
              <a:gdLst>
                <a:gd name="T0" fmla="*/ 2147483647 w 2439"/>
                <a:gd name="T1" fmla="*/ 2147483647 h 1690"/>
                <a:gd name="T2" fmla="*/ 2147483647 w 2439"/>
                <a:gd name="T3" fmla="*/ 2147483647 h 1690"/>
                <a:gd name="T4" fmla="*/ 2147483647 w 2439"/>
                <a:gd name="T5" fmla="*/ 2147483647 h 1690"/>
                <a:gd name="T6" fmla="*/ 2147483647 w 2439"/>
                <a:gd name="T7" fmla="*/ 2147483647 h 1690"/>
                <a:gd name="T8" fmla="*/ 2147483647 w 2439"/>
                <a:gd name="T9" fmla="*/ 2147483647 h 1690"/>
                <a:gd name="T10" fmla="*/ 2147483647 w 2439"/>
                <a:gd name="T11" fmla="*/ 2147483647 h 1690"/>
                <a:gd name="T12" fmla="*/ 2147483647 w 2439"/>
                <a:gd name="T13" fmla="*/ 2147483647 h 1690"/>
                <a:gd name="T14" fmla="*/ 2147483647 w 2439"/>
                <a:gd name="T15" fmla="*/ 2147483647 h 1690"/>
                <a:gd name="T16" fmla="*/ 2147483647 w 2439"/>
                <a:gd name="T17" fmla="*/ 2147483647 h 1690"/>
                <a:gd name="T18" fmla="*/ 2147483647 w 2439"/>
                <a:gd name="T19" fmla="*/ 2147483647 h 1690"/>
                <a:gd name="T20" fmla="*/ 2147483647 w 2439"/>
                <a:gd name="T21" fmla="*/ 2147483647 h 1690"/>
                <a:gd name="T22" fmla="*/ 0 w 2439"/>
                <a:gd name="T23" fmla="*/ 2147483647 h 1690"/>
                <a:gd name="T24" fmla="*/ 2147483647 w 2439"/>
                <a:gd name="T25" fmla="*/ 2147483647 h 1690"/>
                <a:gd name="T26" fmla="*/ 2147483647 w 2439"/>
                <a:gd name="T27" fmla="*/ 2147483647 h 1690"/>
                <a:gd name="T28" fmla="*/ 2147483647 w 2439"/>
                <a:gd name="T29" fmla="*/ 2147483647 h 1690"/>
                <a:gd name="T30" fmla="*/ 2147483647 w 2439"/>
                <a:gd name="T31" fmla="*/ 2147483647 h 1690"/>
                <a:gd name="T32" fmla="*/ 2147483647 w 2439"/>
                <a:gd name="T33" fmla="*/ 2147483647 h 1690"/>
                <a:gd name="T34" fmla="*/ 2147483647 w 2439"/>
                <a:gd name="T35" fmla="*/ 2147483647 h 1690"/>
                <a:gd name="T36" fmla="*/ 2147483647 w 2439"/>
                <a:gd name="T37" fmla="*/ 2147483647 h 1690"/>
                <a:gd name="T38" fmla="*/ 2147483647 w 2439"/>
                <a:gd name="T39" fmla="*/ 2147483647 h 1690"/>
                <a:gd name="T40" fmla="*/ 2147483647 w 2439"/>
                <a:gd name="T41" fmla="*/ 0 h 1690"/>
                <a:gd name="T42" fmla="*/ 2147483647 w 2439"/>
                <a:gd name="T43" fmla="*/ 2147483647 h 1690"/>
                <a:gd name="T44" fmla="*/ 2147483647 w 2439"/>
                <a:gd name="T45" fmla="*/ 2147483647 h 1690"/>
                <a:gd name="T46" fmla="*/ 2147483647 w 2439"/>
                <a:gd name="T47" fmla="*/ 2147483647 h 1690"/>
                <a:gd name="T48" fmla="*/ 2147483647 w 2439"/>
                <a:gd name="T49" fmla="*/ 2147483647 h 1690"/>
                <a:gd name="T50" fmla="*/ 2147483647 w 2439"/>
                <a:gd name="T51" fmla="*/ 2147483647 h 1690"/>
                <a:gd name="T52" fmla="*/ 2147483647 w 2439"/>
                <a:gd name="T53" fmla="*/ 2147483647 h 1690"/>
                <a:gd name="T54" fmla="*/ 2147483647 w 2439"/>
                <a:gd name="T55" fmla="*/ 2147483647 h 1690"/>
                <a:gd name="T56" fmla="*/ 2147483647 w 2439"/>
                <a:gd name="T57" fmla="*/ 2147483647 h 1690"/>
                <a:gd name="T58" fmla="*/ 2147483647 w 2439"/>
                <a:gd name="T59" fmla="*/ 2147483647 h 1690"/>
                <a:gd name="T60" fmla="*/ 2147483647 w 2439"/>
                <a:gd name="T61" fmla="*/ 2147483647 h 1690"/>
                <a:gd name="T62" fmla="*/ 2147483647 w 2439"/>
                <a:gd name="T63" fmla="*/ 2147483647 h 1690"/>
                <a:gd name="T64" fmla="*/ 2147483647 w 2439"/>
                <a:gd name="T65" fmla="*/ 2147483647 h 169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439"/>
                <a:gd name="T100" fmla="*/ 0 h 1690"/>
                <a:gd name="T101" fmla="*/ 2439 w 2439"/>
                <a:gd name="T102" fmla="*/ 1690 h 169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439" h="1690">
                  <a:moveTo>
                    <a:pt x="2233" y="1572"/>
                  </a:moveTo>
                  <a:lnTo>
                    <a:pt x="2149" y="1590"/>
                  </a:lnTo>
                  <a:lnTo>
                    <a:pt x="2045" y="1531"/>
                  </a:lnTo>
                  <a:lnTo>
                    <a:pt x="1902" y="1508"/>
                  </a:lnTo>
                  <a:lnTo>
                    <a:pt x="1869" y="1486"/>
                  </a:lnTo>
                  <a:lnTo>
                    <a:pt x="1778" y="1491"/>
                  </a:lnTo>
                  <a:lnTo>
                    <a:pt x="1398" y="1690"/>
                  </a:lnTo>
                  <a:lnTo>
                    <a:pt x="758" y="1670"/>
                  </a:lnTo>
                  <a:lnTo>
                    <a:pt x="704" y="1628"/>
                  </a:lnTo>
                  <a:lnTo>
                    <a:pt x="733" y="1559"/>
                  </a:lnTo>
                  <a:lnTo>
                    <a:pt x="627" y="1531"/>
                  </a:lnTo>
                  <a:lnTo>
                    <a:pt x="586" y="1455"/>
                  </a:lnTo>
                  <a:lnTo>
                    <a:pt x="633" y="1403"/>
                  </a:lnTo>
                  <a:lnTo>
                    <a:pt x="598" y="1351"/>
                  </a:lnTo>
                  <a:lnTo>
                    <a:pt x="545" y="1396"/>
                  </a:lnTo>
                  <a:lnTo>
                    <a:pt x="409" y="1351"/>
                  </a:lnTo>
                  <a:lnTo>
                    <a:pt x="337" y="1296"/>
                  </a:lnTo>
                  <a:lnTo>
                    <a:pt x="318" y="1181"/>
                  </a:lnTo>
                  <a:lnTo>
                    <a:pt x="280" y="1157"/>
                  </a:lnTo>
                  <a:lnTo>
                    <a:pt x="229" y="1146"/>
                  </a:lnTo>
                  <a:lnTo>
                    <a:pt x="187" y="1084"/>
                  </a:lnTo>
                  <a:lnTo>
                    <a:pt x="138" y="946"/>
                  </a:lnTo>
                  <a:lnTo>
                    <a:pt x="90" y="889"/>
                  </a:lnTo>
                  <a:lnTo>
                    <a:pt x="0" y="843"/>
                  </a:lnTo>
                  <a:lnTo>
                    <a:pt x="14" y="843"/>
                  </a:lnTo>
                  <a:lnTo>
                    <a:pt x="232" y="764"/>
                  </a:lnTo>
                  <a:lnTo>
                    <a:pt x="354" y="504"/>
                  </a:lnTo>
                  <a:lnTo>
                    <a:pt x="408" y="441"/>
                  </a:lnTo>
                  <a:lnTo>
                    <a:pt x="418" y="390"/>
                  </a:lnTo>
                  <a:lnTo>
                    <a:pt x="443" y="343"/>
                  </a:lnTo>
                  <a:lnTo>
                    <a:pt x="445" y="310"/>
                  </a:lnTo>
                  <a:lnTo>
                    <a:pt x="489" y="261"/>
                  </a:lnTo>
                  <a:lnTo>
                    <a:pt x="553" y="232"/>
                  </a:lnTo>
                  <a:lnTo>
                    <a:pt x="586" y="231"/>
                  </a:lnTo>
                  <a:lnTo>
                    <a:pt x="634" y="168"/>
                  </a:lnTo>
                  <a:lnTo>
                    <a:pt x="666" y="154"/>
                  </a:lnTo>
                  <a:lnTo>
                    <a:pt x="1062" y="133"/>
                  </a:lnTo>
                  <a:lnTo>
                    <a:pt x="1160" y="194"/>
                  </a:lnTo>
                  <a:lnTo>
                    <a:pt x="1230" y="139"/>
                  </a:lnTo>
                  <a:lnTo>
                    <a:pt x="1375" y="107"/>
                  </a:lnTo>
                  <a:lnTo>
                    <a:pt x="1520" y="4"/>
                  </a:lnTo>
                  <a:lnTo>
                    <a:pt x="1581" y="0"/>
                  </a:lnTo>
                  <a:lnTo>
                    <a:pt x="1748" y="149"/>
                  </a:lnTo>
                  <a:lnTo>
                    <a:pt x="1768" y="223"/>
                  </a:lnTo>
                  <a:lnTo>
                    <a:pt x="1960" y="486"/>
                  </a:lnTo>
                  <a:lnTo>
                    <a:pt x="2008" y="703"/>
                  </a:lnTo>
                  <a:lnTo>
                    <a:pt x="2001" y="781"/>
                  </a:lnTo>
                  <a:lnTo>
                    <a:pt x="2042" y="973"/>
                  </a:lnTo>
                  <a:lnTo>
                    <a:pt x="2080" y="964"/>
                  </a:lnTo>
                  <a:lnTo>
                    <a:pt x="2147" y="1036"/>
                  </a:lnTo>
                  <a:lnTo>
                    <a:pt x="2197" y="1027"/>
                  </a:lnTo>
                  <a:lnTo>
                    <a:pt x="2241" y="985"/>
                  </a:lnTo>
                  <a:lnTo>
                    <a:pt x="2350" y="944"/>
                  </a:lnTo>
                  <a:lnTo>
                    <a:pt x="2389" y="942"/>
                  </a:lnTo>
                  <a:lnTo>
                    <a:pt x="2416" y="952"/>
                  </a:lnTo>
                  <a:lnTo>
                    <a:pt x="2434" y="984"/>
                  </a:lnTo>
                  <a:lnTo>
                    <a:pt x="2439" y="1118"/>
                  </a:lnTo>
                  <a:lnTo>
                    <a:pt x="2408" y="1173"/>
                  </a:lnTo>
                  <a:lnTo>
                    <a:pt x="2361" y="1190"/>
                  </a:lnTo>
                  <a:lnTo>
                    <a:pt x="2256" y="1317"/>
                  </a:lnTo>
                  <a:lnTo>
                    <a:pt x="2241" y="1291"/>
                  </a:lnTo>
                  <a:lnTo>
                    <a:pt x="2269" y="1252"/>
                  </a:lnTo>
                  <a:lnTo>
                    <a:pt x="2290" y="1191"/>
                  </a:lnTo>
                  <a:lnTo>
                    <a:pt x="2283" y="1126"/>
                  </a:lnTo>
                  <a:lnTo>
                    <a:pt x="2246" y="1130"/>
                  </a:lnTo>
                  <a:lnTo>
                    <a:pt x="2233" y="1572"/>
                  </a:lnTo>
                  <a:close/>
                </a:path>
              </a:pathLst>
            </a:custGeom>
            <a:solidFill>
              <a:srgbClr val="00A194"/>
            </a:solidFill>
            <a:ln w="12700">
              <a:solidFill>
                <a:sysClr val="window" lastClr="FFFFFF"/>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1" u="none" strike="noStrike" kern="0" cap="none" spc="0" normalizeH="0" baseline="0" noProof="0" dirty="0">
                <a:ln>
                  <a:noFill/>
                </a:ln>
                <a:solidFill>
                  <a:prstClr val="black"/>
                </a:solidFill>
                <a:effectLst/>
                <a:uLnTx/>
                <a:uFillTx/>
                <a:latin typeface="Arial" panose="020B0604020202020204"/>
                <a:ea typeface="+mn-ea"/>
                <a:cs typeface="+mn-cs"/>
              </a:endParaRPr>
            </a:p>
          </p:txBody>
        </p:sp>
        <p:sp>
          <p:nvSpPr>
            <p:cNvPr id="487" name="EE">
              <a:extLst>
                <a:ext uri="{FF2B5EF4-FFF2-40B4-BE49-F238E27FC236}">
                  <a16:creationId xmlns:a16="http://schemas.microsoft.com/office/drawing/2014/main" id="{E00E7D4F-7762-C6B3-ABBD-71B892D6EB74}"/>
                </a:ext>
              </a:extLst>
            </p:cNvPr>
            <p:cNvSpPr>
              <a:spLocks/>
            </p:cNvSpPr>
            <p:nvPr/>
          </p:nvSpPr>
          <p:spPr bwMode="auto">
            <a:xfrm rot="21249101">
              <a:off x="9640054" y="2202338"/>
              <a:ext cx="447332" cy="336853"/>
            </a:xfrm>
            <a:custGeom>
              <a:avLst/>
              <a:gdLst>
                <a:gd name="T0" fmla="*/ 2147483647 w 937"/>
                <a:gd name="T1" fmla="*/ 0 h 739"/>
                <a:gd name="T2" fmla="*/ 2147483647 w 937"/>
                <a:gd name="T3" fmla="*/ 2147483647 h 739"/>
                <a:gd name="T4" fmla="*/ 2147483647 w 937"/>
                <a:gd name="T5" fmla="*/ 2147483647 h 739"/>
                <a:gd name="T6" fmla="*/ 2147483647 w 937"/>
                <a:gd name="T7" fmla="*/ 2147483647 h 739"/>
                <a:gd name="T8" fmla="*/ 2147483647 w 937"/>
                <a:gd name="T9" fmla="*/ 2147483647 h 739"/>
                <a:gd name="T10" fmla="*/ 2147483647 w 937"/>
                <a:gd name="T11" fmla="*/ 2147483647 h 739"/>
                <a:gd name="T12" fmla="*/ 2147483647 w 937"/>
                <a:gd name="T13" fmla="*/ 2147483647 h 739"/>
                <a:gd name="T14" fmla="*/ 2147483647 w 937"/>
                <a:gd name="T15" fmla="*/ 2147483647 h 739"/>
                <a:gd name="T16" fmla="*/ 2147483647 w 937"/>
                <a:gd name="T17" fmla="*/ 2147483647 h 739"/>
                <a:gd name="T18" fmla="*/ 2147483647 w 937"/>
                <a:gd name="T19" fmla="*/ 2147483647 h 739"/>
                <a:gd name="T20" fmla="*/ 2147483647 w 937"/>
                <a:gd name="T21" fmla="*/ 2147483647 h 739"/>
                <a:gd name="T22" fmla="*/ 2147483647 w 937"/>
                <a:gd name="T23" fmla="*/ 2147483647 h 739"/>
                <a:gd name="T24" fmla="*/ 2147483647 w 937"/>
                <a:gd name="T25" fmla="*/ 2147483647 h 739"/>
                <a:gd name="T26" fmla="*/ 2147483647 w 937"/>
                <a:gd name="T27" fmla="*/ 2147483647 h 739"/>
                <a:gd name="T28" fmla="*/ 2147483647 w 937"/>
                <a:gd name="T29" fmla="*/ 2147483647 h 739"/>
                <a:gd name="T30" fmla="*/ 2147483647 w 937"/>
                <a:gd name="T31" fmla="*/ 2147483647 h 739"/>
                <a:gd name="T32" fmla="*/ 2147483647 w 937"/>
                <a:gd name="T33" fmla="*/ 2147483647 h 739"/>
                <a:gd name="T34" fmla="*/ 2147483647 w 937"/>
                <a:gd name="T35" fmla="*/ 2147483647 h 739"/>
                <a:gd name="T36" fmla="*/ 2147483647 w 937"/>
                <a:gd name="T37" fmla="*/ 2147483647 h 739"/>
                <a:gd name="T38" fmla="*/ 2147483647 w 937"/>
                <a:gd name="T39" fmla="*/ 2147483647 h 739"/>
                <a:gd name="T40" fmla="*/ 2147483647 w 937"/>
                <a:gd name="T41" fmla="*/ 2147483647 h 739"/>
                <a:gd name="T42" fmla="*/ 2147483647 w 937"/>
                <a:gd name="T43" fmla="*/ 2147483647 h 739"/>
                <a:gd name="T44" fmla="*/ 2147483647 w 937"/>
                <a:gd name="T45" fmla="*/ 2147483647 h 739"/>
                <a:gd name="T46" fmla="*/ 2147483647 w 937"/>
                <a:gd name="T47" fmla="*/ 2147483647 h 739"/>
                <a:gd name="T48" fmla="*/ 2147483647 w 937"/>
                <a:gd name="T49" fmla="*/ 2147483647 h 739"/>
                <a:gd name="T50" fmla="*/ 2147483647 w 937"/>
                <a:gd name="T51" fmla="*/ 2147483647 h 739"/>
                <a:gd name="T52" fmla="*/ 2147483647 w 937"/>
                <a:gd name="T53" fmla="*/ 2147483647 h 739"/>
                <a:gd name="T54" fmla="*/ 2147483647 w 937"/>
                <a:gd name="T55" fmla="*/ 2147483647 h 739"/>
                <a:gd name="T56" fmla="*/ 2147483647 w 937"/>
                <a:gd name="T57" fmla="*/ 2147483647 h 739"/>
                <a:gd name="T58" fmla="*/ 2147483647 w 937"/>
                <a:gd name="T59" fmla="*/ 2147483647 h 739"/>
                <a:gd name="T60" fmla="*/ 2147483647 w 937"/>
                <a:gd name="T61" fmla="*/ 2147483647 h 739"/>
                <a:gd name="T62" fmla="*/ 2147483647 w 937"/>
                <a:gd name="T63" fmla="*/ 2147483647 h 739"/>
                <a:gd name="T64" fmla="*/ 2147483647 w 937"/>
                <a:gd name="T65" fmla="*/ 2147483647 h 739"/>
                <a:gd name="T66" fmla="*/ 2147483647 w 937"/>
                <a:gd name="T67" fmla="*/ 2147483647 h 739"/>
                <a:gd name="T68" fmla="*/ 2147483647 w 937"/>
                <a:gd name="T69" fmla="*/ 2147483647 h 739"/>
                <a:gd name="T70" fmla="*/ 2147483647 w 937"/>
                <a:gd name="T71" fmla="*/ 2147483647 h 739"/>
                <a:gd name="T72" fmla="*/ 2147483647 w 937"/>
                <a:gd name="T73" fmla="*/ 2147483647 h 739"/>
                <a:gd name="T74" fmla="*/ 2147483647 w 937"/>
                <a:gd name="T75" fmla="*/ 2147483647 h 739"/>
                <a:gd name="T76" fmla="*/ 2147483647 w 937"/>
                <a:gd name="T77" fmla="*/ 2147483647 h 73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37"/>
                <a:gd name="T118" fmla="*/ 0 h 739"/>
                <a:gd name="T119" fmla="*/ 937 w 937"/>
                <a:gd name="T120" fmla="*/ 739 h 73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37" h="739">
                  <a:moveTo>
                    <a:pt x="395" y="18"/>
                  </a:moveTo>
                  <a:lnTo>
                    <a:pt x="401" y="0"/>
                  </a:lnTo>
                  <a:lnTo>
                    <a:pt x="430" y="27"/>
                  </a:lnTo>
                  <a:lnTo>
                    <a:pt x="457" y="14"/>
                  </a:lnTo>
                  <a:lnTo>
                    <a:pt x="593" y="34"/>
                  </a:lnTo>
                  <a:lnTo>
                    <a:pt x="611" y="53"/>
                  </a:lnTo>
                  <a:lnTo>
                    <a:pt x="653" y="63"/>
                  </a:lnTo>
                  <a:lnTo>
                    <a:pt x="799" y="50"/>
                  </a:lnTo>
                  <a:lnTo>
                    <a:pt x="837" y="32"/>
                  </a:lnTo>
                  <a:lnTo>
                    <a:pt x="842" y="5"/>
                  </a:lnTo>
                  <a:lnTo>
                    <a:pt x="864" y="7"/>
                  </a:lnTo>
                  <a:lnTo>
                    <a:pt x="886" y="28"/>
                  </a:lnTo>
                  <a:lnTo>
                    <a:pt x="896" y="53"/>
                  </a:lnTo>
                  <a:lnTo>
                    <a:pt x="889" y="81"/>
                  </a:lnTo>
                  <a:lnTo>
                    <a:pt x="856" y="122"/>
                  </a:lnTo>
                  <a:lnTo>
                    <a:pt x="815" y="225"/>
                  </a:lnTo>
                  <a:lnTo>
                    <a:pt x="833" y="270"/>
                  </a:lnTo>
                  <a:lnTo>
                    <a:pt x="831" y="332"/>
                  </a:lnTo>
                  <a:lnTo>
                    <a:pt x="850" y="369"/>
                  </a:lnTo>
                  <a:lnTo>
                    <a:pt x="853" y="391"/>
                  </a:lnTo>
                  <a:lnTo>
                    <a:pt x="847" y="417"/>
                  </a:lnTo>
                  <a:lnTo>
                    <a:pt x="804" y="464"/>
                  </a:lnTo>
                  <a:lnTo>
                    <a:pt x="797" y="491"/>
                  </a:lnTo>
                  <a:lnTo>
                    <a:pt x="812" y="516"/>
                  </a:lnTo>
                  <a:lnTo>
                    <a:pt x="891" y="506"/>
                  </a:lnTo>
                  <a:lnTo>
                    <a:pt x="935" y="563"/>
                  </a:lnTo>
                  <a:lnTo>
                    <a:pt x="937" y="617"/>
                  </a:lnTo>
                  <a:lnTo>
                    <a:pt x="903" y="621"/>
                  </a:lnTo>
                  <a:lnTo>
                    <a:pt x="837" y="563"/>
                  </a:lnTo>
                  <a:lnTo>
                    <a:pt x="844" y="614"/>
                  </a:lnTo>
                  <a:lnTo>
                    <a:pt x="813" y="696"/>
                  </a:lnTo>
                  <a:lnTo>
                    <a:pt x="822" y="724"/>
                  </a:lnTo>
                  <a:lnTo>
                    <a:pt x="820" y="722"/>
                  </a:lnTo>
                  <a:lnTo>
                    <a:pt x="758" y="710"/>
                  </a:lnTo>
                  <a:lnTo>
                    <a:pt x="702" y="723"/>
                  </a:lnTo>
                  <a:lnTo>
                    <a:pt x="677" y="738"/>
                  </a:lnTo>
                  <a:lnTo>
                    <a:pt x="648" y="739"/>
                  </a:lnTo>
                  <a:lnTo>
                    <a:pt x="565" y="677"/>
                  </a:lnTo>
                  <a:lnTo>
                    <a:pt x="544" y="647"/>
                  </a:lnTo>
                  <a:lnTo>
                    <a:pt x="487" y="630"/>
                  </a:lnTo>
                  <a:lnTo>
                    <a:pt x="440" y="598"/>
                  </a:lnTo>
                  <a:lnTo>
                    <a:pt x="381" y="590"/>
                  </a:lnTo>
                  <a:lnTo>
                    <a:pt x="291" y="609"/>
                  </a:lnTo>
                  <a:lnTo>
                    <a:pt x="248" y="647"/>
                  </a:lnTo>
                  <a:lnTo>
                    <a:pt x="220" y="654"/>
                  </a:lnTo>
                  <a:lnTo>
                    <a:pt x="200" y="675"/>
                  </a:lnTo>
                  <a:lnTo>
                    <a:pt x="223" y="505"/>
                  </a:lnTo>
                  <a:lnTo>
                    <a:pt x="219" y="486"/>
                  </a:lnTo>
                  <a:lnTo>
                    <a:pt x="169" y="482"/>
                  </a:lnTo>
                  <a:lnTo>
                    <a:pt x="159" y="510"/>
                  </a:lnTo>
                  <a:lnTo>
                    <a:pt x="133" y="529"/>
                  </a:lnTo>
                  <a:lnTo>
                    <a:pt x="110" y="500"/>
                  </a:lnTo>
                  <a:lnTo>
                    <a:pt x="90" y="504"/>
                  </a:lnTo>
                  <a:lnTo>
                    <a:pt x="63" y="497"/>
                  </a:lnTo>
                  <a:lnTo>
                    <a:pt x="47" y="458"/>
                  </a:lnTo>
                  <a:lnTo>
                    <a:pt x="24" y="430"/>
                  </a:lnTo>
                  <a:lnTo>
                    <a:pt x="19" y="394"/>
                  </a:lnTo>
                  <a:lnTo>
                    <a:pt x="29" y="361"/>
                  </a:lnTo>
                  <a:lnTo>
                    <a:pt x="67" y="352"/>
                  </a:lnTo>
                  <a:lnTo>
                    <a:pt x="59" y="341"/>
                  </a:lnTo>
                  <a:lnTo>
                    <a:pt x="11" y="336"/>
                  </a:lnTo>
                  <a:lnTo>
                    <a:pt x="13" y="291"/>
                  </a:lnTo>
                  <a:lnTo>
                    <a:pt x="21" y="280"/>
                  </a:lnTo>
                  <a:lnTo>
                    <a:pt x="14" y="264"/>
                  </a:lnTo>
                  <a:lnTo>
                    <a:pt x="0" y="263"/>
                  </a:lnTo>
                  <a:lnTo>
                    <a:pt x="8" y="192"/>
                  </a:lnTo>
                  <a:lnTo>
                    <a:pt x="22" y="178"/>
                  </a:lnTo>
                  <a:lnTo>
                    <a:pt x="112" y="146"/>
                  </a:lnTo>
                  <a:lnTo>
                    <a:pt x="113" y="131"/>
                  </a:lnTo>
                  <a:lnTo>
                    <a:pt x="125" y="119"/>
                  </a:lnTo>
                  <a:lnTo>
                    <a:pt x="154" y="109"/>
                  </a:lnTo>
                  <a:lnTo>
                    <a:pt x="175" y="87"/>
                  </a:lnTo>
                  <a:lnTo>
                    <a:pt x="242" y="85"/>
                  </a:lnTo>
                  <a:lnTo>
                    <a:pt x="249" y="51"/>
                  </a:lnTo>
                  <a:lnTo>
                    <a:pt x="284" y="69"/>
                  </a:lnTo>
                  <a:lnTo>
                    <a:pt x="353" y="59"/>
                  </a:lnTo>
                  <a:lnTo>
                    <a:pt x="370" y="43"/>
                  </a:lnTo>
                  <a:lnTo>
                    <a:pt x="365" y="21"/>
                  </a:lnTo>
                  <a:lnTo>
                    <a:pt x="395" y="18"/>
                  </a:lnTo>
                  <a:close/>
                </a:path>
              </a:pathLst>
            </a:custGeom>
            <a:solidFill>
              <a:srgbClr val="7359A0"/>
            </a:solidFill>
            <a:ln w="12700">
              <a:solidFill>
                <a:sysClr val="window" lastClr="FFFFFF"/>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1" u="none" strike="noStrike" kern="0" cap="none" spc="0" normalizeH="0" baseline="0" noProof="0" dirty="0">
                <a:ln>
                  <a:noFill/>
                </a:ln>
                <a:solidFill>
                  <a:prstClr val="black"/>
                </a:solidFill>
                <a:effectLst/>
                <a:uLnTx/>
                <a:uFillTx/>
                <a:latin typeface="Arial" panose="020B0604020202020204"/>
                <a:ea typeface="+mn-ea"/>
                <a:cs typeface="+mn-cs"/>
              </a:endParaRPr>
            </a:p>
          </p:txBody>
        </p:sp>
        <p:sp>
          <p:nvSpPr>
            <p:cNvPr id="488" name="DE" descr="Wide upward diagonal">
              <a:extLst>
                <a:ext uri="{FF2B5EF4-FFF2-40B4-BE49-F238E27FC236}">
                  <a16:creationId xmlns:a16="http://schemas.microsoft.com/office/drawing/2014/main" id="{1B5BE357-BC2B-AB37-E17D-07E736BD5F29}"/>
                </a:ext>
              </a:extLst>
            </p:cNvPr>
            <p:cNvSpPr>
              <a:spLocks/>
            </p:cNvSpPr>
            <p:nvPr/>
          </p:nvSpPr>
          <p:spPr bwMode="auto">
            <a:xfrm rot="21249101">
              <a:off x="7928892" y="3075563"/>
              <a:ext cx="985511" cy="1258420"/>
            </a:xfrm>
            <a:custGeom>
              <a:avLst/>
              <a:gdLst>
                <a:gd name="T0" fmla="*/ 2147483647 w 2065"/>
                <a:gd name="T1" fmla="*/ 2147483647 h 2763"/>
                <a:gd name="T2" fmla="*/ 2147483647 w 2065"/>
                <a:gd name="T3" fmla="*/ 2147483647 h 2763"/>
                <a:gd name="T4" fmla="*/ 2147483647 w 2065"/>
                <a:gd name="T5" fmla="*/ 2147483647 h 2763"/>
                <a:gd name="T6" fmla="*/ 2147483647 w 2065"/>
                <a:gd name="T7" fmla="*/ 2147483647 h 2763"/>
                <a:gd name="T8" fmla="*/ 2147483647 w 2065"/>
                <a:gd name="T9" fmla="*/ 2147483647 h 2763"/>
                <a:gd name="T10" fmla="*/ 2147483647 w 2065"/>
                <a:gd name="T11" fmla="*/ 2147483647 h 2763"/>
                <a:gd name="T12" fmla="*/ 2147483647 w 2065"/>
                <a:gd name="T13" fmla="*/ 2147483647 h 2763"/>
                <a:gd name="T14" fmla="*/ 2147483647 w 2065"/>
                <a:gd name="T15" fmla="*/ 2147483647 h 2763"/>
                <a:gd name="T16" fmla="*/ 2147483647 w 2065"/>
                <a:gd name="T17" fmla="*/ 2147483647 h 2763"/>
                <a:gd name="T18" fmla="*/ 2147483647 w 2065"/>
                <a:gd name="T19" fmla="*/ 2147483647 h 2763"/>
                <a:gd name="T20" fmla="*/ 2147483647 w 2065"/>
                <a:gd name="T21" fmla="*/ 2147483647 h 2763"/>
                <a:gd name="T22" fmla="*/ 2147483647 w 2065"/>
                <a:gd name="T23" fmla="*/ 2147483647 h 2763"/>
                <a:gd name="T24" fmla="*/ 2147483647 w 2065"/>
                <a:gd name="T25" fmla="*/ 2147483647 h 2763"/>
                <a:gd name="T26" fmla="*/ 2147483647 w 2065"/>
                <a:gd name="T27" fmla="*/ 2147483647 h 2763"/>
                <a:gd name="T28" fmla="*/ 2147483647 w 2065"/>
                <a:gd name="T29" fmla="*/ 2147483647 h 2763"/>
                <a:gd name="T30" fmla="*/ 2147483647 w 2065"/>
                <a:gd name="T31" fmla="*/ 2147483647 h 2763"/>
                <a:gd name="T32" fmla="*/ 2147483647 w 2065"/>
                <a:gd name="T33" fmla="*/ 2147483647 h 2763"/>
                <a:gd name="T34" fmla="*/ 2147483647 w 2065"/>
                <a:gd name="T35" fmla="*/ 2147483647 h 2763"/>
                <a:gd name="T36" fmla="*/ 2147483647 w 2065"/>
                <a:gd name="T37" fmla="*/ 2147483647 h 2763"/>
                <a:gd name="T38" fmla="*/ 2147483647 w 2065"/>
                <a:gd name="T39" fmla="*/ 2147483647 h 2763"/>
                <a:gd name="T40" fmla="*/ 2147483647 w 2065"/>
                <a:gd name="T41" fmla="*/ 2147483647 h 2763"/>
                <a:gd name="T42" fmla="*/ 2147483647 w 2065"/>
                <a:gd name="T43" fmla="*/ 2147483647 h 2763"/>
                <a:gd name="T44" fmla="*/ 2147483647 w 2065"/>
                <a:gd name="T45" fmla="*/ 2147483647 h 2763"/>
                <a:gd name="T46" fmla="*/ 2147483647 w 2065"/>
                <a:gd name="T47" fmla="*/ 2147483647 h 2763"/>
                <a:gd name="T48" fmla="*/ 2147483647 w 2065"/>
                <a:gd name="T49" fmla="*/ 2147483647 h 2763"/>
                <a:gd name="T50" fmla="*/ 2147483647 w 2065"/>
                <a:gd name="T51" fmla="*/ 2147483647 h 2763"/>
                <a:gd name="T52" fmla="*/ 2147483647 w 2065"/>
                <a:gd name="T53" fmla="*/ 2147483647 h 2763"/>
                <a:gd name="T54" fmla="*/ 0 w 2065"/>
                <a:gd name="T55" fmla="*/ 2147483647 h 2763"/>
                <a:gd name="T56" fmla="*/ 2147483647 w 2065"/>
                <a:gd name="T57" fmla="*/ 2147483647 h 2763"/>
                <a:gd name="T58" fmla="*/ 2147483647 w 2065"/>
                <a:gd name="T59" fmla="*/ 2147483647 h 2763"/>
                <a:gd name="T60" fmla="*/ 2147483647 w 2065"/>
                <a:gd name="T61" fmla="*/ 2147483647 h 2763"/>
                <a:gd name="T62" fmla="*/ 2147483647 w 2065"/>
                <a:gd name="T63" fmla="*/ 2147483647 h 2763"/>
                <a:gd name="T64" fmla="*/ 2147483647 w 2065"/>
                <a:gd name="T65" fmla="*/ 2147483647 h 2763"/>
                <a:gd name="T66" fmla="*/ 2147483647 w 2065"/>
                <a:gd name="T67" fmla="*/ 2147483647 h 2763"/>
                <a:gd name="T68" fmla="*/ 2147483647 w 2065"/>
                <a:gd name="T69" fmla="*/ 2147483647 h 2763"/>
                <a:gd name="T70" fmla="*/ 2147483647 w 2065"/>
                <a:gd name="T71" fmla="*/ 2147483647 h 2763"/>
                <a:gd name="T72" fmla="*/ 2147483647 w 2065"/>
                <a:gd name="T73" fmla="*/ 2147483647 h 2763"/>
                <a:gd name="T74" fmla="*/ 2147483647 w 2065"/>
                <a:gd name="T75" fmla="*/ 2147483647 h 2763"/>
                <a:gd name="T76" fmla="*/ 2147483647 w 2065"/>
                <a:gd name="T77" fmla="*/ 2147483647 h 2763"/>
                <a:gd name="T78" fmla="*/ 2147483647 w 2065"/>
                <a:gd name="T79" fmla="*/ 2147483647 h 2763"/>
                <a:gd name="T80" fmla="*/ 2147483647 w 2065"/>
                <a:gd name="T81" fmla="*/ 2147483647 h 2763"/>
                <a:gd name="T82" fmla="*/ 2147483647 w 2065"/>
                <a:gd name="T83" fmla="*/ 2147483647 h 2763"/>
                <a:gd name="T84" fmla="*/ 2147483647 w 2065"/>
                <a:gd name="T85" fmla="*/ 2147483647 h 2763"/>
                <a:gd name="T86" fmla="*/ 2147483647 w 2065"/>
                <a:gd name="T87" fmla="*/ 2147483647 h 2763"/>
                <a:gd name="T88" fmla="*/ 2147483647 w 2065"/>
                <a:gd name="T89" fmla="*/ 2147483647 h 2763"/>
                <a:gd name="T90" fmla="*/ 2147483647 w 2065"/>
                <a:gd name="T91" fmla="*/ 2147483647 h 2763"/>
                <a:gd name="T92" fmla="*/ 2147483647 w 2065"/>
                <a:gd name="T93" fmla="*/ 2147483647 h 2763"/>
                <a:gd name="T94" fmla="*/ 2147483647 w 2065"/>
                <a:gd name="T95" fmla="*/ 2147483647 h 2763"/>
                <a:gd name="T96" fmla="*/ 2147483647 w 2065"/>
                <a:gd name="T97" fmla="*/ 2147483647 h 2763"/>
                <a:gd name="T98" fmla="*/ 2147483647 w 2065"/>
                <a:gd name="T99" fmla="*/ 2147483647 h 2763"/>
                <a:gd name="T100" fmla="*/ 2147483647 w 2065"/>
                <a:gd name="T101" fmla="*/ 2147483647 h 2763"/>
                <a:gd name="T102" fmla="*/ 2147483647 w 2065"/>
                <a:gd name="T103" fmla="*/ 2147483647 h 2763"/>
                <a:gd name="T104" fmla="*/ 2147483647 w 2065"/>
                <a:gd name="T105" fmla="*/ 2147483647 h 2763"/>
                <a:gd name="T106" fmla="*/ 2147483647 w 2065"/>
                <a:gd name="T107" fmla="*/ 2147483647 h 2763"/>
                <a:gd name="T108" fmla="*/ 2147483647 w 2065"/>
                <a:gd name="T109" fmla="*/ 2147483647 h 2763"/>
                <a:gd name="T110" fmla="*/ 2147483647 w 2065"/>
                <a:gd name="T111" fmla="*/ 2147483647 h 2763"/>
                <a:gd name="T112" fmla="*/ 2147483647 w 2065"/>
                <a:gd name="T113" fmla="*/ 2147483647 h 2763"/>
                <a:gd name="T114" fmla="*/ 2147483647 w 2065"/>
                <a:gd name="T115" fmla="*/ 2147483647 h 2763"/>
                <a:gd name="T116" fmla="*/ 2147483647 w 2065"/>
                <a:gd name="T117" fmla="*/ 2147483647 h 276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065"/>
                <a:gd name="T178" fmla="*/ 0 h 2763"/>
                <a:gd name="T179" fmla="*/ 2065 w 2065"/>
                <a:gd name="T180" fmla="*/ 2763 h 276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065" h="2763">
                  <a:moveTo>
                    <a:pt x="1247" y="395"/>
                  </a:moveTo>
                  <a:lnTo>
                    <a:pt x="1241" y="376"/>
                  </a:lnTo>
                  <a:lnTo>
                    <a:pt x="1260" y="342"/>
                  </a:lnTo>
                  <a:lnTo>
                    <a:pt x="1290" y="325"/>
                  </a:lnTo>
                  <a:lnTo>
                    <a:pt x="1314" y="301"/>
                  </a:lnTo>
                  <a:lnTo>
                    <a:pt x="1318" y="267"/>
                  </a:lnTo>
                  <a:lnTo>
                    <a:pt x="1304" y="251"/>
                  </a:lnTo>
                  <a:lnTo>
                    <a:pt x="1238" y="266"/>
                  </a:lnTo>
                  <a:lnTo>
                    <a:pt x="1213" y="263"/>
                  </a:lnTo>
                  <a:lnTo>
                    <a:pt x="1200" y="235"/>
                  </a:lnTo>
                  <a:lnTo>
                    <a:pt x="1157" y="211"/>
                  </a:lnTo>
                  <a:lnTo>
                    <a:pt x="1138" y="232"/>
                  </a:lnTo>
                  <a:lnTo>
                    <a:pt x="1117" y="229"/>
                  </a:lnTo>
                  <a:lnTo>
                    <a:pt x="1118" y="200"/>
                  </a:lnTo>
                  <a:lnTo>
                    <a:pt x="1089" y="196"/>
                  </a:lnTo>
                  <a:lnTo>
                    <a:pt x="1076" y="180"/>
                  </a:lnTo>
                  <a:lnTo>
                    <a:pt x="1104" y="153"/>
                  </a:lnTo>
                  <a:lnTo>
                    <a:pt x="1110" y="120"/>
                  </a:lnTo>
                  <a:lnTo>
                    <a:pt x="1097" y="75"/>
                  </a:lnTo>
                  <a:lnTo>
                    <a:pt x="1039" y="47"/>
                  </a:lnTo>
                  <a:lnTo>
                    <a:pt x="1012" y="45"/>
                  </a:lnTo>
                  <a:lnTo>
                    <a:pt x="1017" y="28"/>
                  </a:lnTo>
                  <a:lnTo>
                    <a:pt x="983" y="38"/>
                  </a:lnTo>
                  <a:lnTo>
                    <a:pt x="898" y="2"/>
                  </a:lnTo>
                  <a:lnTo>
                    <a:pt x="867" y="0"/>
                  </a:lnTo>
                  <a:lnTo>
                    <a:pt x="858" y="38"/>
                  </a:lnTo>
                  <a:lnTo>
                    <a:pt x="907" y="153"/>
                  </a:lnTo>
                  <a:lnTo>
                    <a:pt x="851" y="176"/>
                  </a:lnTo>
                  <a:lnTo>
                    <a:pt x="846" y="189"/>
                  </a:lnTo>
                  <a:lnTo>
                    <a:pt x="829" y="205"/>
                  </a:lnTo>
                  <a:lnTo>
                    <a:pt x="853" y="211"/>
                  </a:lnTo>
                  <a:lnTo>
                    <a:pt x="867" y="224"/>
                  </a:lnTo>
                  <a:lnTo>
                    <a:pt x="856" y="247"/>
                  </a:lnTo>
                  <a:lnTo>
                    <a:pt x="864" y="272"/>
                  </a:lnTo>
                  <a:lnTo>
                    <a:pt x="880" y="292"/>
                  </a:lnTo>
                  <a:lnTo>
                    <a:pt x="873" y="306"/>
                  </a:lnTo>
                  <a:lnTo>
                    <a:pt x="856" y="306"/>
                  </a:lnTo>
                  <a:lnTo>
                    <a:pt x="850" y="336"/>
                  </a:lnTo>
                  <a:lnTo>
                    <a:pt x="895" y="380"/>
                  </a:lnTo>
                  <a:lnTo>
                    <a:pt x="887" y="387"/>
                  </a:lnTo>
                  <a:lnTo>
                    <a:pt x="799" y="377"/>
                  </a:lnTo>
                  <a:lnTo>
                    <a:pt x="772" y="418"/>
                  </a:lnTo>
                  <a:lnTo>
                    <a:pt x="759" y="486"/>
                  </a:lnTo>
                  <a:lnTo>
                    <a:pt x="769" y="569"/>
                  </a:lnTo>
                  <a:lnTo>
                    <a:pt x="740" y="485"/>
                  </a:lnTo>
                  <a:lnTo>
                    <a:pt x="710" y="471"/>
                  </a:lnTo>
                  <a:lnTo>
                    <a:pt x="701" y="511"/>
                  </a:lnTo>
                  <a:lnTo>
                    <a:pt x="675" y="509"/>
                  </a:lnTo>
                  <a:lnTo>
                    <a:pt x="676" y="460"/>
                  </a:lnTo>
                  <a:lnTo>
                    <a:pt x="661" y="419"/>
                  </a:lnTo>
                  <a:lnTo>
                    <a:pt x="602" y="397"/>
                  </a:lnTo>
                  <a:lnTo>
                    <a:pt x="493" y="400"/>
                  </a:lnTo>
                  <a:lnTo>
                    <a:pt x="476" y="429"/>
                  </a:lnTo>
                  <a:lnTo>
                    <a:pt x="457" y="443"/>
                  </a:lnTo>
                  <a:lnTo>
                    <a:pt x="439" y="468"/>
                  </a:lnTo>
                  <a:lnTo>
                    <a:pt x="441" y="478"/>
                  </a:lnTo>
                  <a:lnTo>
                    <a:pt x="480" y="497"/>
                  </a:lnTo>
                  <a:lnTo>
                    <a:pt x="512" y="537"/>
                  </a:lnTo>
                  <a:lnTo>
                    <a:pt x="515" y="575"/>
                  </a:lnTo>
                  <a:lnTo>
                    <a:pt x="509" y="570"/>
                  </a:lnTo>
                  <a:lnTo>
                    <a:pt x="496" y="531"/>
                  </a:lnTo>
                  <a:lnTo>
                    <a:pt x="435" y="535"/>
                  </a:lnTo>
                  <a:lnTo>
                    <a:pt x="362" y="709"/>
                  </a:lnTo>
                  <a:lnTo>
                    <a:pt x="295" y="739"/>
                  </a:lnTo>
                  <a:lnTo>
                    <a:pt x="297" y="779"/>
                  </a:lnTo>
                  <a:lnTo>
                    <a:pt x="363" y="823"/>
                  </a:lnTo>
                  <a:lnTo>
                    <a:pt x="350" y="869"/>
                  </a:lnTo>
                  <a:lnTo>
                    <a:pt x="314" y="903"/>
                  </a:lnTo>
                  <a:lnTo>
                    <a:pt x="270" y="924"/>
                  </a:lnTo>
                  <a:lnTo>
                    <a:pt x="254" y="969"/>
                  </a:lnTo>
                  <a:lnTo>
                    <a:pt x="228" y="1006"/>
                  </a:lnTo>
                  <a:lnTo>
                    <a:pt x="195" y="1008"/>
                  </a:lnTo>
                  <a:lnTo>
                    <a:pt x="148" y="976"/>
                  </a:lnTo>
                  <a:lnTo>
                    <a:pt x="106" y="969"/>
                  </a:lnTo>
                  <a:lnTo>
                    <a:pt x="69" y="1232"/>
                  </a:lnTo>
                  <a:lnTo>
                    <a:pt x="38" y="1258"/>
                  </a:lnTo>
                  <a:lnTo>
                    <a:pt x="29" y="1287"/>
                  </a:lnTo>
                  <a:lnTo>
                    <a:pt x="35" y="1364"/>
                  </a:lnTo>
                  <a:lnTo>
                    <a:pt x="31" y="1386"/>
                  </a:lnTo>
                  <a:lnTo>
                    <a:pt x="45" y="1417"/>
                  </a:lnTo>
                  <a:lnTo>
                    <a:pt x="44" y="1462"/>
                  </a:lnTo>
                  <a:lnTo>
                    <a:pt x="60" y="1504"/>
                  </a:lnTo>
                  <a:lnTo>
                    <a:pt x="55" y="1536"/>
                  </a:lnTo>
                  <a:lnTo>
                    <a:pt x="0" y="1597"/>
                  </a:lnTo>
                  <a:lnTo>
                    <a:pt x="28" y="1622"/>
                  </a:lnTo>
                  <a:lnTo>
                    <a:pt x="12" y="1651"/>
                  </a:lnTo>
                  <a:lnTo>
                    <a:pt x="9" y="1682"/>
                  </a:lnTo>
                  <a:lnTo>
                    <a:pt x="32" y="1749"/>
                  </a:lnTo>
                  <a:lnTo>
                    <a:pt x="27" y="1801"/>
                  </a:lnTo>
                  <a:lnTo>
                    <a:pt x="2" y="1824"/>
                  </a:lnTo>
                  <a:lnTo>
                    <a:pt x="72" y="1915"/>
                  </a:lnTo>
                  <a:lnTo>
                    <a:pt x="89" y="1964"/>
                  </a:lnTo>
                  <a:lnTo>
                    <a:pt x="388" y="2103"/>
                  </a:lnTo>
                  <a:lnTo>
                    <a:pt x="370" y="2151"/>
                  </a:lnTo>
                  <a:lnTo>
                    <a:pt x="279" y="2238"/>
                  </a:lnTo>
                  <a:lnTo>
                    <a:pt x="207" y="2391"/>
                  </a:lnTo>
                  <a:lnTo>
                    <a:pt x="183" y="2556"/>
                  </a:lnTo>
                  <a:lnTo>
                    <a:pt x="188" y="2570"/>
                  </a:lnTo>
                  <a:lnTo>
                    <a:pt x="217" y="2603"/>
                  </a:lnTo>
                  <a:lnTo>
                    <a:pt x="490" y="2601"/>
                  </a:lnTo>
                  <a:lnTo>
                    <a:pt x="647" y="2687"/>
                  </a:lnTo>
                  <a:lnTo>
                    <a:pt x="695" y="2675"/>
                  </a:lnTo>
                  <a:lnTo>
                    <a:pt x="738" y="2678"/>
                  </a:lnTo>
                  <a:lnTo>
                    <a:pt x="775" y="2694"/>
                  </a:lnTo>
                  <a:lnTo>
                    <a:pt x="793" y="2735"/>
                  </a:lnTo>
                  <a:lnTo>
                    <a:pt x="834" y="2763"/>
                  </a:lnTo>
                  <a:lnTo>
                    <a:pt x="859" y="2751"/>
                  </a:lnTo>
                  <a:lnTo>
                    <a:pt x="877" y="2723"/>
                  </a:lnTo>
                  <a:lnTo>
                    <a:pt x="910" y="2698"/>
                  </a:lnTo>
                  <a:lnTo>
                    <a:pt x="960" y="2709"/>
                  </a:lnTo>
                  <a:lnTo>
                    <a:pt x="1015" y="2751"/>
                  </a:lnTo>
                  <a:lnTo>
                    <a:pt x="1074" y="2758"/>
                  </a:lnTo>
                  <a:lnTo>
                    <a:pt x="1167" y="2711"/>
                  </a:lnTo>
                  <a:lnTo>
                    <a:pt x="1316" y="2709"/>
                  </a:lnTo>
                  <a:lnTo>
                    <a:pt x="1337" y="2689"/>
                  </a:lnTo>
                  <a:lnTo>
                    <a:pt x="1386" y="2710"/>
                  </a:lnTo>
                  <a:lnTo>
                    <a:pt x="1451" y="2717"/>
                  </a:lnTo>
                  <a:lnTo>
                    <a:pt x="1466" y="2753"/>
                  </a:lnTo>
                  <a:lnTo>
                    <a:pt x="1503" y="2740"/>
                  </a:lnTo>
                  <a:lnTo>
                    <a:pt x="1503" y="2706"/>
                  </a:lnTo>
                  <a:lnTo>
                    <a:pt x="1480" y="2633"/>
                  </a:lnTo>
                  <a:lnTo>
                    <a:pt x="1482" y="2560"/>
                  </a:lnTo>
                  <a:lnTo>
                    <a:pt x="1508" y="2512"/>
                  </a:lnTo>
                  <a:lnTo>
                    <a:pt x="1610" y="2482"/>
                  </a:lnTo>
                  <a:lnTo>
                    <a:pt x="1649" y="2405"/>
                  </a:lnTo>
                  <a:lnTo>
                    <a:pt x="1727" y="2380"/>
                  </a:lnTo>
                  <a:lnTo>
                    <a:pt x="1736" y="2346"/>
                  </a:lnTo>
                  <a:lnTo>
                    <a:pt x="1429" y="1995"/>
                  </a:lnTo>
                  <a:lnTo>
                    <a:pt x="1432" y="1865"/>
                  </a:lnTo>
                  <a:lnTo>
                    <a:pt x="1383" y="1836"/>
                  </a:lnTo>
                  <a:lnTo>
                    <a:pt x="1352" y="1789"/>
                  </a:lnTo>
                  <a:lnTo>
                    <a:pt x="1356" y="1752"/>
                  </a:lnTo>
                  <a:lnTo>
                    <a:pt x="1364" y="1734"/>
                  </a:lnTo>
                  <a:lnTo>
                    <a:pt x="1422" y="1802"/>
                  </a:lnTo>
                  <a:lnTo>
                    <a:pt x="1433" y="1800"/>
                  </a:lnTo>
                  <a:lnTo>
                    <a:pt x="1460" y="1747"/>
                  </a:lnTo>
                  <a:lnTo>
                    <a:pt x="1679" y="1679"/>
                  </a:lnTo>
                  <a:lnTo>
                    <a:pt x="1711" y="1633"/>
                  </a:lnTo>
                  <a:lnTo>
                    <a:pt x="1875" y="1588"/>
                  </a:lnTo>
                  <a:lnTo>
                    <a:pt x="1897" y="1496"/>
                  </a:lnTo>
                  <a:lnTo>
                    <a:pt x="1937" y="1509"/>
                  </a:lnTo>
                  <a:lnTo>
                    <a:pt x="1988" y="1602"/>
                  </a:lnTo>
                  <a:lnTo>
                    <a:pt x="2016" y="1604"/>
                  </a:lnTo>
                  <a:lnTo>
                    <a:pt x="2065" y="1414"/>
                  </a:lnTo>
                  <a:lnTo>
                    <a:pt x="2061" y="1396"/>
                  </a:lnTo>
                  <a:lnTo>
                    <a:pt x="2002" y="1314"/>
                  </a:lnTo>
                  <a:lnTo>
                    <a:pt x="1988" y="934"/>
                  </a:lnTo>
                  <a:lnTo>
                    <a:pt x="1934" y="886"/>
                  </a:lnTo>
                  <a:lnTo>
                    <a:pt x="1935" y="857"/>
                  </a:lnTo>
                  <a:lnTo>
                    <a:pt x="1983" y="762"/>
                  </a:lnTo>
                  <a:lnTo>
                    <a:pt x="1997" y="647"/>
                  </a:lnTo>
                  <a:lnTo>
                    <a:pt x="1965" y="543"/>
                  </a:lnTo>
                  <a:lnTo>
                    <a:pt x="1879" y="507"/>
                  </a:lnTo>
                  <a:lnTo>
                    <a:pt x="1874" y="454"/>
                  </a:lnTo>
                  <a:lnTo>
                    <a:pt x="1846" y="398"/>
                  </a:lnTo>
                  <a:lnTo>
                    <a:pt x="1809" y="399"/>
                  </a:lnTo>
                  <a:lnTo>
                    <a:pt x="1788" y="377"/>
                  </a:lnTo>
                  <a:lnTo>
                    <a:pt x="1776" y="374"/>
                  </a:lnTo>
                  <a:lnTo>
                    <a:pt x="1770" y="344"/>
                  </a:lnTo>
                  <a:lnTo>
                    <a:pt x="1741" y="322"/>
                  </a:lnTo>
                  <a:lnTo>
                    <a:pt x="1722" y="295"/>
                  </a:lnTo>
                  <a:lnTo>
                    <a:pt x="1629" y="309"/>
                  </a:lnTo>
                  <a:lnTo>
                    <a:pt x="1601" y="325"/>
                  </a:lnTo>
                  <a:lnTo>
                    <a:pt x="1613" y="304"/>
                  </a:lnTo>
                  <a:lnTo>
                    <a:pt x="1676" y="266"/>
                  </a:lnTo>
                  <a:lnTo>
                    <a:pt x="1650" y="259"/>
                  </a:lnTo>
                  <a:lnTo>
                    <a:pt x="1617" y="263"/>
                  </a:lnTo>
                  <a:lnTo>
                    <a:pt x="1558" y="320"/>
                  </a:lnTo>
                  <a:lnTo>
                    <a:pt x="1536" y="355"/>
                  </a:lnTo>
                  <a:lnTo>
                    <a:pt x="1519" y="365"/>
                  </a:lnTo>
                  <a:lnTo>
                    <a:pt x="1522" y="341"/>
                  </a:lnTo>
                  <a:lnTo>
                    <a:pt x="1446" y="350"/>
                  </a:lnTo>
                  <a:lnTo>
                    <a:pt x="1381" y="393"/>
                  </a:lnTo>
                  <a:lnTo>
                    <a:pt x="1391" y="415"/>
                  </a:lnTo>
                  <a:lnTo>
                    <a:pt x="1355" y="411"/>
                  </a:lnTo>
                  <a:lnTo>
                    <a:pt x="1311" y="391"/>
                  </a:lnTo>
                  <a:lnTo>
                    <a:pt x="1252" y="418"/>
                  </a:lnTo>
                  <a:lnTo>
                    <a:pt x="1247" y="395"/>
                  </a:lnTo>
                </a:path>
              </a:pathLst>
            </a:custGeom>
            <a:solidFill>
              <a:srgbClr val="00A194"/>
            </a:solidFill>
            <a:ln w="12700">
              <a:solidFill>
                <a:sysClr val="window" lastClr="FFFFFF"/>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1" u="none" strike="noStrike" kern="0" cap="none" spc="0" normalizeH="0" baseline="0" noProof="0" dirty="0">
                <a:ln>
                  <a:noFill/>
                </a:ln>
                <a:solidFill>
                  <a:prstClr val="black"/>
                </a:solidFill>
                <a:effectLst/>
                <a:uLnTx/>
                <a:uFillTx/>
                <a:latin typeface="Arial" panose="020B0604020202020204"/>
                <a:ea typeface="+mn-ea"/>
                <a:cs typeface="+mn-cs"/>
              </a:endParaRPr>
            </a:p>
          </p:txBody>
        </p:sp>
        <p:sp>
          <p:nvSpPr>
            <p:cNvPr id="489" name="CZ">
              <a:extLst>
                <a:ext uri="{FF2B5EF4-FFF2-40B4-BE49-F238E27FC236}">
                  <a16:creationId xmlns:a16="http://schemas.microsoft.com/office/drawing/2014/main" id="{5B449471-FA5F-A2B1-878B-712F417BC6CF}"/>
                </a:ext>
              </a:extLst>
            </p:cNvPr>
            <p:cNvSpPr>
              <a:spLocks/>
            </p:cNvSpPr>
            <p:nvPr/>
          </p:nvSpPr>
          <p:spPr bwMode="auto">
            <a:xfrm rot="21249101">
              <a:off x="8600756" y="3708335"/>
              <a:ext cx="758267" cy="446385"/>
            </a:xfrm>
            <a:custGeom>
              <a:avLst/>
              <a:gdLst>
                <a:gd name="T0" fmla="*/ 2147483647 w 1599"/>
                <a:gd name="T1" fmla="*/ 2147483647 h 983"/>
                <a:gd name="T2" fmla="*/ 2147483647 w 1599"/>
                <a:gd name="T3" fmla="*/ 2147483647 h 983"/>
                <a:gd name="T4" fmla="*/ 2147483647 w 1599"/>
                <a:gd name="T5" fmla="*/ 2147483647 h 983"/>
                <a:gd name="T6" fmla="*/ 2147483647 w 1599"/>
                <a:gd name="T7" fmla="*/ 2147483647 h 983"/>
                <a:gd name="T8" fmla="*/ 2147483647 w 1599"/>
                <a:gd name="T9" fmla="*/ 2147483647 h 983"/>
                <a:gd name="T10" fmla="*/ 2147483647 w 1599"/>
                <a:gd name="T11" fmla="*/ 2147483647 h 983"/>
                <a:gd name="T12" fmla="*/ 2147483647 w 1599"/>
                <a:gd name="T13" fmla="*/ 2147483647 h 983"/>
                <a:gd name="T14" fmla="*/ 2147483647 w 1599"/>
                <a:gd name="T15" fmla="*/ 2147483647 h 983"/>
                <a:gd name="T16" fmla="*/ 2147483647 w 1599"/>
                <a:gd name="T17" fmla="*/ 2147483647 h 983"/>
                <a:gd name="T18" fmla="*/ 2147483647 w 1599"/>
                <a:gd name="T19" fmla="*/ 2147483647 h 983"/>
                <a:gd name="T20" fmla="*/ 2147483647 w 1599"/>
                <a:gd name="T21" fmla="*/ 2147483647 h 983"/>
                <a:gd name="T22" fmla="*/ 2147483647 w 1599"/>
                <a:gd name="T23" fmla="*/ 2147483647 h 983"/>
                <a:gd name="T24" fmla="*/ 2147483647 w 1599"/>
                <a:gd name="T25" fmla="*/ 2147483647 h 983"/>
                <a:gd name="T26" fmla="*/ 2147483647 w 1599"/>
                <a:gd name="T27" fmla="*/ 2147483647 h 983"/>
                <a:gd name="T28" fmla="*/ 2147483647 w 1599"/>
                <a:gd name="T29" fmla="*/ 2147483647 h 983"/>
                <a:gd name="T30" fmla="*/ 2147483647 w 1599"/>
                <a:gd name="T31" fmla="*/ 2147483647 h 983"/>
                <a:gd name="T32" fmla="*/ 2147483647 w 1599"/>
                <a:gd name="T33" fmla="*/ 2147483647 h 983"/>
                <a:gd name="T34" fmla="*/ 2147483647 w 1599"/>
                <a:gd name="T35" fmla="*/ 2147483647 h 983"/>
                <a:gd name="T36" fmla="*/ 2147483647 w 1599"/>
                <a:gd name="T37" fmla="*/ 2147483647 h 983"/>
                <a:gd name="T38" fmla="*/ 2147483647 w 1599"/>
                <a:gd name="T39" fmla="*/ 2147483647 h 983"/>
                <a:gd name="T40" fmla="*/ 2147483647 w 1599"/>
                <a:gd name="T41" fmla="*/ 2147483647 h 983"/>
                <a:gd name="T42" fmla="*/ 2147483647 w 1599"/>
                <a:gd name="T43" fmla="*/ 2147483647 h 983"/>
                <a:gd name="T44" fmla="*/ 2147483647 w 1599"/>
                <a:gd name="T45" fmla="*/ 0 h 983"/>
                <a:gd name="T46" fmla="*/ 2147483647 w 1599"/>
                <a:gd name="T47" fmla="*/ 2147483647 h 983"/>
                <a:gd name="T48" fmla="*/ 2147483647 w 1599"/>
                <a:gd name="T49" fmla="*/ 2147483647 h 983"/>
                <a:gd name="T50" fmla="*/ 2147483647 w 1599"/>
                <a:gd name="T51" fmla="*/ 2147483647 h 983"/>
                <a:gd name="T52" fmla="*/ 2147483647 w 1599"/>
                <a:gd name="T53" fmla="*/ 2147483647 h 983"/>
                <a:gd name="T54" fmla="*/ 2147483647 w 1599"/>
                <a:gd name="T55" fmla="*/ 2147483647 h 983"/>
                <a:gd name="T56" fmla="*/ 2147483647 w 1599"/>
                <a:gd name="T57" fmla="*/ 2147483647 h 983"/>
                <a:gd name="T58" fmla="*/ 2147483647 w 1599"/>
                <a:gd name="T59" fmla="*/ 2147483647 h 983"/>
                <a:gd name="T60" fmla="*/ 2147483647 w 1599"/>
                <a:gd name="T61" fmla="*/ 2147483647 h 983"/>
                <a:gd name="T62" fmla="*/ 2147483647 w 1599"/>
                <a:gd name="T63" fmla="*/ 2147483647 h 983"/>
                <a:gd name="T64" fmla="*/ 2147483647 w 1599"/>
                <a:gd name="T65" fmla="*/ 2147483647 h 983"/>
                <a:gd name="T66" fmla="*/ 2147483647 w 1599"/>
                <a:gd name="T67" fmla="*/ 2147483647 h 983"/>
                <a:gd name="T68" fmla="*/ 2147483647 w 1599"/>
                <a:gd name="T69" fmla="*/ 2147483647 h 98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99"/>
                <a:gd name="T106" fmla="*/ 0 h 983"/>
                <a:gd name="T107" fmla="*/ 1599 w 1599"/>
                <a:gd name="T108" fmla="*/ 983 h 98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99" h="983">
                  <a:moveTo>
                    <a:pt x="1599" y="625"/>
                  </a:moveTo>
                  <a:lnTo>
                    <a:pt x="1567" y="652"/>
                  </a:lnTo>
                  <a:lnTo>
                    <a:pt x="1519" y="648"/>
                  </a:lnTo>
                  <a:lnTo>
                    <a:pt x="1472" y="712"/>
                  </a:lnTo>
                  <a:lnTo>
                    <a:pt x="1435" y="721"/>
                  </a:lnTo>
                  <a:lnTo>
                    <a:pt x="1425" y="741"/>
                  </a:lnTo>
                  <a:lnTo>
                    <a:pt x="1421" y="795"/>
                  </a:lnTo>
                  <a:lnTo>
                    <a:pt x="1396" y="832"/>
                  </a:lnTo>
                  <a:lnTo>
                    <a:pt x="1358" y="838"/>
                  </a:lnTo>
                  <a:lnTo>
                    <a:pt x="1357" y="869"/>
                  </a:lnTo>
                  <a:lnTo>
                    <a:pt x="1299" y="911"/>
                  </a:lnTo>
                  <a:lnTo>
                    <a:pt x="1233" y="915"/>
                  </a:lnTo>
                  <a:lnTo>
                    <a:pt x="1210" y="896"/>
                  </a:lnTo>
                  <a:lnTo>
                    <a:pt x="1179" y="893"/>
                  </a:lnTo>
                  <a:lnTo>
                    <a:pt x="1122" y="983"/>
                  </a:lnTo>
                  <a:lnTo>
                    <a:pt x="1124" y="923"/>
                  </a:lnTo>
                  <a:lnTo>
                    <a:pt x="1092" y="877"/>
                  </a:lnTo>
                  <a:lnTo>
                    <a:pt x="935" y="882"/>
                  </a:lnTo>
                  <a:lnTo>
                    <a:pt x="878" y="824"/>
                  </a:lnTo>
                  <a:lnTo>
                    <a:pt x="841" y="803"/>
                  </a:lnTo>
                  <a:lnTo>
                    <a:pt x="696" y="786"/>
                  </a:lnTo>
                  <a:lnTo>
                    <a:pt x="651" y="865"/>
                  </a:lnTo>
                  <a:lnTo>
                    <a:pt x="606" y="898"/>
                  </a:lnTo>
                  <a:lnTo>
                    <a:pt x="568" y="912"/>
                  </a:lnTo>
                  <a:lnTo>
                    <a:pt x="468" y="905"/>
                  </a:lnTo>
                  <a:lnTo>
                    <a:pt x="463" y="902"/>
                  </a:lnTo>
                  <a:lnTo>
                    <a:pt x="455" y="896"/>
                  </a:lnTo>
                  <a:lnTo>
                    <a:pt x="441" y="888"/>
                  </a:lnTo>
                  <a:lnTo>
                    <a:pt x="426" y="877"/>
                  </a:lnTo>
                  <a:lnTo>
                    <a:pt x="411" y="867"/>
                  </a:lnTo>
                  <a:lnTo>
                    <a:pt x="397" y="859"/>
                  </a:lnTo>
                  <a:lnTo>
                    <a:pt x="388" y="852"/>
                  </a:lnTo>
                  <a:lnTo>
                    <a:pt x="385" y="850"/>
                  </a:lnTo>
                  <a:lnTo>
                    <a:pt x="78" y="499"/>
                  </a:lnTo>
                  <a:lnTo>
                    <a:pt x="80" y="369"/>
                  </a:lnTo>
                  <a:lnTo>
                    <a:pt x="32" y="340"/>
                  </a:lnTo>
                  <a:lnTo>
                    <a:pt x="0" y="293"/>
                  </a:lnTo>
                  <a:lnTo>
                    <a:pt x="4" y="256"/>
                  </a:lnTo>
                  <a:lnTo>
                    <a:pt x="12" y="238"/>
                  </a:lnTo>
                  <a:lnTo>
                    <a:pt x="71" y="305"/>
                  </a:lnTo>
                  <a:lnTo>
                    <a:pt x="82" y="304"/>
                  </a:lnTo>
                  <a:lnTo>
                    <a:pt x="108" y="251"/>
                  </a:lnTo>
                  <a:lnTo>
                    <a:pt x="327" y="183"/>
                  </a:lnTo>
                  <a:lnTo>
                    <a:pt x="360" y="137"/>
                  </a:lnTo>
                  <a:lnTo>
                    <a:pt x="524" y="92"/>
                  </a:lnTo>
                  <a:lnTo>
                    <a:pt x="545" y="0"/>
                  </a:lnTo>
                  <a:lnTo>
                    <a:pt x="585" y="13"/>
                  </a:lnTo>
                  <a:lnTo>
                    <a:pt x="637" y="106"/>
                  </a:lnTo>
                  <a:lnTo>
                    <a:pt x="665" y="108"/>
                  </a:lnTo>
                  <a:lnTo>
                    <a:pt x="690" y="127"/>
                  </a:lnTo>
                  <a:lnTo>
                    <a:pt x="756" y="66"/>
                  </a:lnTo>
                  <a:lnTo>
                    <a:pt x="797" y="91"/>
                  </a:lnTo>
                  <a:lnTo>
                    <a:pt x="817" y="134"/>
                  </a:lnTo>
                  <a:lnTo>
                    <a:pt x="938" y="155"/>
                  </a:lnTo>
                  <a:lnTo>
                    <a:pt x="974" y="208"/>
                  </a:lnTo>
                  <a:lnTo>
                    <a:pt x="1020" y="218"/>
                  </a:lnTo>
                  <a:lnTo>
                    <a:pt x="1026" y="225"/>
                  </a:lnTo>
                  <a:lnTo>
                    <a:pt x="1025" y="238"/>
                  </a:lnTo>
                  <a:lnTo>
                    <a:pt x="1002" y="283"/>
                  </a:lnTo>
                  <a:lnTo>
                    <a:pt x="1081" y="364"/>
                  </a:lnTo>
                  <a:lnTo>
                    <a:pt x="1111" y="378"/>
                  </a:lnTo>
                  <a:lnTo>
                    <a:pt x="1161" y="347"/>
                  </a:lnTo>
                  <a:lnTo>
                    <a:pt x="1149" y="321"/>
                  </a:lnTo>
                  <a:lnTo>
                    <a:pt x="1156" y="296"/>
                  </a:lnTo>
                  <a:lnTo>
                    <a:pt x="1340" y="351"/>
                  </a:lnTo>
                  <a:lnTo>
                    <a:pt x="1341" y="418"/>
                  </a:lnTo>
                  <a:lnTo>
                    <a:pt x="1378" y="449"/>
                  </a:lnTo>
                  <a:lnTo>
                    <a:pt x="1398" y="443"/>
                  </a:lnTo>
                  <a:lnTo>
                    <a:pt x="1437" y="464"/>
                  </a:lnTo>
                  <a:lnTo>
                    <a:pt x="1517" y="586"/>
                  </a:lnTo>
                  <a:lnTo>
                    <a:pt x="1599" y="625"/>
                  </a:lnTo>
                  <a:close/>
                </a:path>
              </a:pathLst>
            </a:custGeom>
            <a:solidFill>
              <a:srgbClr val="00A194"/>
            </a:solidFill>
            <a:ln w="12700">
              <a:solidFill>
                <a:sysClr val="window" lastClr="FFFFFF"/>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1" u="none" strike="noStrike" kern="0" cap="none" spc="0" normalizeH="0" baseline="0" noProof="0" dirty="0">
                <a:ln>
                  <a:noFill/>
                </a:ln>
                <a:solidFill>
                  <a:prstClr val="black"/>
                </a:solidFill>
                <a:effectLst/>
                <a:uLnTx/>
                <a:uFillTx/>
                <a:latin typeface="Arial" panose="020B0604020202020204"/>
                <a:ea typeface="+mn-ea"/>
                <a:cs typeface="+mn-cs"/>
              </a:endParaRPr>
            </a:p>
          </p:txBody>
        </p:sp>
        <p:sp>
          <p:nvSpPr>
            <p:cNvPr id="490" name="BE">
              <a:extLst>
                <a:ext uri="{FF2B5EF4-FFF2-40B4-BE49-F238E27FC236}">
                  <a16:creationId xmlns:a16="http://schemas.microsoft.com/office/drawing/2014/main" id="{422AD88F-A68E-D61F-FB6E-E2F5C9235A5F}"/>
                </a:ext>
              </a:extLst>
            </p:cNvPr>
            <p:cNvSpPr>
              <a:spLocks/>
            </p:cNvSpPr>
            <p:nvPr/>
          </p:nvSpPr>
          <p:spPr bwMode="auto">
            <a:xfrm rot="21249101">
              <a:off x="7610654" y="3621185"/>
              <a:ext cx="352361" cy="333451"/>
            </a:xfrm>
            <a:custGeom>
              <a:avLst/>
              <a:gdLst>
                <a:gd name="T0" fmla="*/ 2147483647 w 737"/>
                <a:gd name="T1" fmla="*/ 2147483647 h 728"/>
                <a:gd name="T2" fmla="*/ 2147483647 w 737"/>
                <a:gd name="T3" fmla="*/ 2147483647 h 728"/>
                <a:gd name="T4" fmla="*/ 2147483647 w 737"/>
                <a:gd name="T5" fmla="*/ 2147483647 h 728"/>
                <a:gd name="T6" fmla="*/ 2147483647 w 737"/>
                <a:gd name="T7" fmla="*/ 2147483647 h 728"/>
                <a:gd name="T8" fmla="*/ 2147483647 w 737"/>
                <a:gd name="T9" fmla="*/ 2147483647 h 728"/>
                <a:gd name="T10" fmla="*/ 2147483647 w 737"/>
                <a:gd name="T11" fmla="*/ 2147483647 h 728"/>
                <a:gd name="T12" fmla="*/ 2147483647 w 737"/>
                <a:gd name="T13" fmla="*/ 2147483647 h 728"/>
                <a:gd name="T14" fmla="*/ 2147483647 w 737"/>
                <a:gd name="T15" fmla="*/ 2147483647 h 728"/>
                <a:gd name="T16" fmla="*/ 2147483647 w 737"/>
                <a:gd name="T17" fmla="*/ 2147483647 h 728"/>
                <a:gd name="T18" fmla="*/ 2147483647 w 737"/>
                <a:gd name="T19" fmla="*/ 2147483647 h 728"/>
                <a:gd name="T20" fmla="*/ 2147483647 w 737"/>
                <a:gd name="T21" fmla="*/ 2147483647 h 728"/>
                <a:gd name="T22" fmla="*/ 2147483647 w 737"/>
                <a:gd name="T23" fmla="*/ 2147483647 h 728"/>
                <a:gd name="T24" fmla="*/ 2147483647 w 737"/>
                <a:gd name="T25" fmla="*/ 2147483647 h 728"/>
                <a:gd name="T26" fmla="*/ 2147483647 w 737"/>
                <a:gd name="T27" fmla="*/ 2147483647 h 728"/>
                <a:gd name="T28" fmla="*/ 2147483647 w 737"/>
                <a:gd name="T29" fmla="*/ 2147483647 h 728"/>
                <a:gd name="T30" fmla="*/ 2147483647 w 737"/>
                <a:gd name="T31" fmla="*/ 2147483647 h 728"/>
                <a:gd name="T32" fmla="*/ 2147483647 w 737"/>
                <a:gd name="T33" fmla="*/ 2147483647 h 728"/>
                <a:gd name="T34" fmla="*/ 0 w 737"/>
                <a:gd name="T35" fmla="*/ 2147483647 h 728"/>
                <a:gd name="T36" fmla="*/ 2147483647 w 737"/>
                <a:gd name="T37" fmla="*/ 2147483647 h 728"/>
                <a:gd name="T38" fmla="*/ 2147483647 w 737"/>
                <a:gd name="T39" fmla="*/ 0 h 728"/>
                <a:gd name="T40" fmla="*/ 2147483647 w 737"/>
                <a:gd name="T41" fmla="*/ 2147483647 h 728"/>
                <a:gd name="T42" fmla="*/ 2147483647 w 737"/>
                <a:gd name="T43" fmla="*/ 2147483647 h 728"/>
                <a:gd name="T44" fmla="*/ 2147483647 w 737"/>
                <a:gd name="T45" fmla="*/ 2147483647 h 728"/>
                <a:gd name="T46" fmla="*/ 2147483647 w 737"/>
                <a:gd name="T47" fmla="*/ 2147483647 h 728"/>
                <a:gd name="T48" fmla="*/ 2147483647 w 737"/>
                <a:gd name="T49" fmla="*/ 2147483647 h 728"/>
                <a:gd name="T50" fmla="*/ 2147483647 w 737"/>
                <a:gd name="T51" fmla="*/ 2147483647 h 728"/>
                <a:gd name="T52" fmla="*/ 2147483647 w 737"/>
                <a:gd name="T53" fmla="*/ 2147483647 h 728"/>
                <a:gd name="T54" fmla="*/ 2147483647 w 737"/>
                <a:gd name="T55" fmla="*/ 2147483647 h 728"/>
                <a:gd name="T56" fmla="*/ 2147483647 w 737"/>
                <a:gd name="T57" fmla="*/ 2147483647 h 728"/>
                <a:gd name="T58" fmla="*/ 2147483647 w 737"/>
                <a:gd name="T59" fmla="*/ 2147483647 h 728"/>
                <a:gd name="T60" fmla="*/ 2147483647 w 737"/>
                <a:gd name="T61" fmla="*/ 2147483647 h 728"/>
                <a:gd name="T62" fmla="*/ 2147483647 w 737"/>
                <a:gd name="T63" fmla="*/ 2147483647 h 728"/>
                <a:gd name="T64" fmla="*/ 2147483647 w 737"/>
                <a:gd name="T65" fmla="*/ 2147483647 h 728"/>
                <a:gd name="T66" fmla="*/ 2147483647 w 737"/>
                <a:gd name="T67" fmla="*/ 2147483647 h 728"/>
                <a:gd name="T68" fmla="*/ 2147483647 w 737"/>
                <a:gd name="T69" fmla="*/ 2147483647 h 728"/>
                <a:gd name="T70" fmla="*/ 2147483647 w 737"/>
                <a:gd name="T71" fmla="*/ 2147483647 h 728"/>
                <a:gd name="T72" fmla="*/ 2147483647 w 737"/>
                <a:gd name="T73" fmla="*/ 2147483647 h 728"/>
                <a:gd name="T74" fmla="*/ 2147483647 w 737"/>
                <a:gd name="T75" fmla="*/ 2147483647 h 728"/>
                <a:gd name="T76" fmla="*/ 2147483647 w 737"/>
                <a:gd name="T77" fmla="*/ 2147483647 h 728"/>
                <a:gd name="T78" fmla="*/ 2147483647 w 737"/>
                <a:gd name="T79" fmla="*/ 2147483647 h 728"/>
                <a:gd name="T80" fmla="*/ 2147483647 w 737"/>
                <a:gd name="T81" fmla="*/ 2147483647 h 728"/>
                <a:gd name="T82" fmla="*/ 2147483647 w 737"/>
                <a:gd name="T83" fmla="*/ 2147483647 h 728"/>
                <a:gd name="T84" fmla="*/ 2147483647 w 737"/>
                <a:gd name="T85" fmla="*/ 2147483647 h 728"/>
                <a:gd name="T86" fmla="*/ 2147483647 w 737"/>
                <a:gd name="T87" fmla="*/ 2147483647 h 728"/>
                <a:gd name="T88" fmla="*/ 2147483647 w 737"/>
                <a:gd name="T89" fmla="*/ 2147483647 h 72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737"/>
                <a:gd name="T136" fmla="*/ 0 h 728"/>
                <a:gd name="T137" fmla="*/ 737 w 737"/>
                <a:gd name="T138" fmla="*/ 728 h 72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737" h="728">
                  <a:moveTo>
                    <a:pt x="561" y="727"/>
                  </a:moveTo>
                  <a:lnTo>
                    <a:pt x="523" y="728"/>
                  </a:lnTo>
                  <a:lnTo>
                    <a:pt x="480" y="708"/>
                  </a:lnTo>
                  <a:lnTo>
                    <a:pt x="409" y="636"/>
                  </a:lnTo>
                  <a:lnTo>
                    <a:pt x="424" y="614"/>
                  </a:lnTo>
                  <a:lnTo>
                    <a:pt x="406" y="599"/>
                  </a:lnTo>
                  <a:lnTo>
                    <a:pt x="426" y="502"/>
                  </a:lnTo>
                  <a:lnTo>
                    <a:pt x="401" y="496"/>
                  </a:lnTo>
                  <a:lnTo>
                    <a:pt x="343" y="549"/>
                  </a:lnTo>
                  <a:lnTo>
                    <a:pt x="300" y="541"/>
                  </a:lnTo>
                  <a:lnTo>
                    <a:pt x="262" y="516"/>
                  </a:lnTo>
                  <a:lnTo>
                    <a:pt x="263" y="412"/>
                  </a:lnTo>
                  <a:lnTo>
                    <a:pt x="246" y="384"/>
                  </a:lnTo>
                  <a:lnTo>
                    <a:pt x="109" y="286"/>
                  </a:lnTo>
                  <a:lnTo>
                    <a:pt x="90" y="200"/>
                  </a:lnTo>
                  <a:lnTo>
                    <a:pt x="43" y="195"/>
                  </a:lnTo>
                  <a:lnTo>
                    <a:pt x="2" y="162"/>
                  </a:lnTo>
                  <a:lnTo>
                    <a:pt x="0" y="123"/>
                  </a:lnTo>
                  <a:lnTo>
                    <a:pt x="20" y="41"/>
                  </a:lnTo>
                  <a:lnTo>
                    <a:pt x="169" y="0"/>
                  </a:lnTo>
                  <a:lnTo>
                    <a:pt x="200" y="2"/>
                  </a:lnTo>
                  <a:lnTo>
                    <a:pt x="198" y="6"/>
                  </a:lnTo>
                  <a:lnTo>
                    <a:pt x="258" y="59"/>
                  </a:lnTo>
                  <a:lnTo>
                    <a:pt x="342" y="51"/>
                  </a:lnTo>
                  <a:lnTo>
                    <a:pt x="411" y="25"/>
                  </a:lnTo>
                  <a:lnTo>
                    <a:pt x="525" y="33"/>
                  </a:lnTo>
                  <a:lnTo>
                    <a:pt x="541" y="63"/>
                  </a:lnTo>
                  <a:lnTo>
                    <a:pt x="554" y="65"/>
                  </a:lnTo>
                  <a:lnTo>
                    <a:pt x="558" y="93"/>
                  </a:lnTo>
                  <a:lnTo>
                    <a:pt x="586" y="118"/>
                  </a:lnTo>
                  <a:lnTo>
                    <a:pt x="626" y="129"/>
                  </a:lnTo>
                  <a:lnTo>
                    <a:pt x="653" y="158"/>
                  </a:lnTo>
                  <a:lnTo>
                    <a:pt x="633" y="288"/>
                  </a:lnTo>
                  <a:lnTo>
                    <a:pt x="660" y="319"/>
                  </a:lnTo>
                  <a:lnTo>
                    <a:pt x="708" y="328"/>
                  </a:lnTo>
                  <a:lnTo>
                    <a:pt x="722" y="359"/>
                  </a:lnTo>
                  <a:lnTo>
                    <a:pt x="721" y="404"/>
                  </a:lnTo>
                  <a:lnTo>
                    <a:pt x="737" y="445"/>
                  </a:lnTo>
                  <a:lnTo>
                    <a:pt x="731" y="478"/>
                  </a:lnTo>
                  <a:lnTo>
                    <a:pt x="676" y="539"/>
                  </a:lnTo>
                  <a:lnTo>
                    <a:pt x="647" y="536"/>
                  </a:lnTo>
                  <a:lnTo>
                    <a:pt x="601" y="558"/>
                  </a:lnTo>
                  <a:lnTo>
                    <a:pt x="565" y="607"/>
                  </a:lnTo>
                  <a:lnTo>
                    <a:pt x="572" y="663"/>
                  </a:lnTo>
                  <a:lnTo>
                    <a:pt x="561" y="727"/>
                  </a:lnTo>
                </a:path>
              </a:pathLst>
            </a:custGeom>
            <a:solidFill>
              <a:srgbClr val="00A194"/>
            </a:solidFill>
            <a:ln w="12700">
              <a:solidFill>
                <a:sysClr val="window" lastClr="FFFFFF"/>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1" u="none" strike="noStrike" kern="0" cap="none" spc="0" normalizeH="0" baseline="0" noProof="0" dirty="0">
                <a:ln>
                  <a:noFill/>
                </a:ln>
                <a:solidFill>
                  <a:srgbClr val="DDDDDD"/>
                </a:solidFill>
                <a:effectLst/>
                <a:highlight>
                  <a:srgbClr val="FC7B10"/>
                </a:highlight>
                <a:uLnTx/>
                <a:uFillTx/>
                <a:latin typeface="Arial" panose="020B0604020202020204"/>
                <a:ea typeface="+mn-ea"/>
                <a:cs typeface="+mn-cs"/>
              </a:endParaRPr>
            </a:p>
          </p:txBody>
        </p:sp>
        <p:sp>
          <p:nvSpPr>
            <p:cNvPr id="491" name="ES">
              <a:extLst>
                <a:ext uri="{FF2B5EF4-FFF2-40B4-BE49-F238E27FC236}">
                  <a16:creationId xmlns:a16="http://schemas.microsoft.com/office/drawing/2014/main" id="{2181DE3F-A48F-9388-FF1B-F1037949FC21}"/>
                </a:ext>
              </a:extLst>
            </p:cNvPr>
            <p:cNvSpPr>
              <a:spLocks/>
            </p:cNvSpPr>
            <p:nvPr/>
          </p:nvSpPr>
          <p:spPr bwMode="auto">
            <a:xfrm rot="21249101">
              <a:off x="5903595" y="4581897"/>
              <a:ext cx="1600166" cy="1340611"/>
            </a:xfrm>
            <a:custGeom>
              <a:avLst/>
              <a:gdLst>
                <a:gd name="T0" fmla="*/ 2147483647 w 3350"/>
                <a:gd name="T1" fmla="*/ 2147483647 h 2942"/>
                <a:gd name="T2" fmla="*/ 2147483647 w 3350"/>
                <a:gd name="T3" fmla="*/ 2147483647 h 2942"/>
                <a:gd name="T4" fmla="*/ 2147483647 w 3350"/>
                <a:gd name="T5" fmla="*/ 2147483647 h 2942"/>
                <a:gd name="T6" fmla="*/ 2147483647 w 3350"/>
                <a:gd name="T7" fmla="*/ 2147483647 h 2942"/>
                <a:gd name="T8" fmla="*/ 2147483647 w 3350"/>
                <a:gd name="T9" fmla="*/ 2147483647 h 2942"/>
                <a:gd name="T10" fmla="*/ 2147483647 w 3350"/>
                <a:gd name="T11" fmla="*/ 2147483647 h 2942"/>
                <a:gd name="T12" fmla="*/ 2147483647 w 3350"/>
                <a:gd name="T13" fmla="*/ 2147483647 h 2942"/>
                <a:gd name="T14" fmla="*/ 2147483647 w 3350"/>
                <a:gd name="T15" fmla="*/ 2147483647 h 2942"/>
                <a:gd name="T16" fmla="*/ 2147483647 w 3350"/>
                <a:gd name="T17" fmla="*/ 2147483647 h 2942"/>
                <a:gd name="T18" fmla="*/ 2147483647 w 3350"/>
                <a:gd name="T19" fmla="*/ 2147483647 h 2942"/>
                <a:gd name="T20" fmla="*/ 2147483647 w 3350"/>
                <a:gd name="T21" fmla="*/ 2147483647 h 2942"/>
                <a:gd name="T22" fmla="*/ 2147483647 w 3350"/>
                <a:gd name="T23" fmla="*/ 2147483647 h 2942"/>
                <a:gd name="T24" fmla="*/ 2147483647 w 3350"/>
                <a:gd name="T25" fmla="*/ 2147483647 h 2942"/>
                <a:gd name="T26" fmla="*/ 2147483647 w 3350"/>
                <a:gd name="T27" fmla="*/ 2147483647 h 2942"/>
                <a:gd name="T28" fmla="*/ 2147483647 w 3350"/>
                <a:gd name="T29" fmla="*/ 2147483647 h 2942"/>
                <a:gd name="T30" fmla="*/ 2147483647 w 3350"/>
                <a:gd name="T31" fmla="*/ 2147483647 h 2942"/>
                <a:gd name="T32" fmla="*/ 2147483647 w 3350"/>
                <a:gd name="T33" fmla="*/ 2147483647 h 2942"/>
                <a:gd name="T34" fmla="*/ 2147483647 w 3350"/>
                <a:gd name="T35" fmla="*/ 2147483647 h 2942"/>
                <a:gd name="T36" fmla="*/ 2147483647 w 3350"/>
                <a:gd name="T37" fmla="*/ 2147483647 h 2942"/>
                <a:gd name="T38" fmla="*/ 2147483647 w 3350"/>
                <a:gd name="T39" fmla="*/ 2147483647 h 2942"/>
                <a:gd name="T40" fmla="*/ 2147483647 w 3350"/>
                <a:gd name="T41" fmla="*/ 2147483647 h 2942"/>
                <a:gd name="T42" fmla="*/ 2147483647 w 3350"/>
                <a:gd name="T43" fmla="*/ 2147483647 h 2942"/>
                <a:gd name="T44" fmla="*/ 2147483647 w 3350"/>
                <a:gd name="T45" fmla="*/ 0 h 2942"/>
                <a:gd name="T46" fmla="*/ 2147483647 w 3350"/>
                <a:gd name="T47" fmla="*/ 2147483647 h 2942"/>
                <a:gd name="T48" fmla="*/ 2147483647 w 3350"/>
                <a:gd name="T49" fmla="*/ 2147483647 h 2942"/>
                <a:gd name="T50" fmla="*/ 2147483647 w 3350"/>
                <a:gd name="T51" fmla="*/ 2147483647 h 2942"/>
                <a:gd name="T52" fmla="*/ 2147483647 w 3350"/>
                <a:gd name="T53" fmla="*/ 2147483647 h 2942"/>
                <a:gd name="T54" fmla="*/ 2147483647 w 3350"/>
                <a:gd name="T55" fmla="*/ 2147483647 h 2942"/>
                <a:gd name="T56" fmla="*/ 2147483647 w 3350"/>
                <a:gd name="T57" fmla="*/ 2147483647 h 2942"/>
                <a:gd name="T58" fmla="*/ 2147483647 w 3350"/>
                <a:gd name="T59" fmla="*/ 2147483647 h 2942"/>
                <a:gd name="T60" fmla="*/ 2147483647 w 3350"/>
                <a:gd name="T61" fmla="*/ 2147483647 h 2942"/>
                <a:gd name="T62" fmla="*/ 2147483647 w 3350"/>
                <a:gd name="T63" fmla="*/ 2147483647 h 2942"/>
                <a:gd name="T64" fmla="*/ 2147483647 w 3350"/>
                <a:gd name="T65" fmla="*/ 2147483647 h 2942"/>
                <a:gd name="T66" fmla="*/ 2147483647 w 3350"/>
                <a:gd name="T67" fmla="*/ 2147483647 h 2942"/>
                <a:gd name="T68" fmla="*/ 2147483647 w 3350"/>
                <a:gd name="T69" fmla="*/ 2147483647 h 2942"/>
                <a:gd name="T70" fmla="*/ 2147483647 w 3350"/>
                <a:gd name="T71" fmla="*/ 2147483647 h 2942"/>
                <a:gd name="T72" fmla="*/ 2147483647 w 3350"/>
                <a:gd name="T73" fmla="*/ 2147483647 h 2942"/>
                <a:gd name="T74" fmla="*/ 2147483647 w 3350"/>
                <a:gd name="T75" fmla="*/ 2147483647 h 2942"/>
                <a:gd name="T76" fmla="*/ 2147483647 w 3350"/>
                <a:gd name="T77" fmla="*/ 2147483647 h 2942"/>
                <a:gd name="T78" fmla="*/ 2147483647 w 3350"/>
                <a:gd name="T79" fmla="*/ 2147483647 h 2942"/>
                <a:gd name="T80" fmla="*/ 2147483647 w 3350"/>
                <a:gd name="T81" fmla="*/ 2147483647 h 2942"/>
                <a:gd name="T82" fmla="*/ 2147483647 w 3350"/>
                <a:gd name="T83" fmla="*/ 2147483647 h 2942"/>
                <a:gd name="T84" fmla="*/ 2147483647 w 3350"/>
                <a:gd name="T85" fmla="*/ 2147483647 h 2942"/>
                <a:gd name="T86" fmla="*/ 2147483647 w 3350"/>
                <a:gd name="T87" fmla="*/ 2147483647 h 2942"/>
                <a:gd name="T88" fmla="*/ 2147483647 w 3350"/>
                <a:gd name="T89" fmla="*/ 2147483647 h 2942"/>
                <a:gd name="T90" fmla="*/ 2147483647 w 3350"/>
                <a:gd name="T91" fmla="*/ 2147483647 h 2942"/>
                <a:gd name="T92" fmla="*/ 2147483647 w 3350"/>
                <a:gd name="T93" fmla="*/ 2147483647 h 2942"/>
                <a:gd name="T94" fmla="*/ 2147483647 w 3350"/>
                <a:gd name="T95" fmla="*/ 2147483647 h 2942"/>
                <a:gd name="T96" fmla="*/ 2147483647 w 3350"/>
                <a:gd name="T97" fmla="*/ 2147483647 h 2942"/>
                <a:gd name="T98" fmla="*/ 2147483647 w 3350"/>
                <a:gd name="T99" fmla="*/ 2147483647 h 2942"/>
                <a:gd name="T100" fmla="*/ 2147483647 w 3350"/>
                <a:gd name="T101" fmla="*/ 2147483647 h 2942"/>
                <a:gd name="T102" fmla="*/ 2147483647 w 3350"/>
                <a:gd name="T103" fmla="*/ 2147483647 h 2942"/>
                <a:gd name="T104" fmla="*/ 2147483647 w 3350"/>
                <a:gd name="T105" fmla="*/ 2147483647 h 2942"/>
                <a:gd name="T106" fmla="*/ 2147483647 w 3350"/>
                <a:gd name="T107" fmla="*/ 2147483647 h 2942"/>
                <a:gd name="T108" fmla="*/ 2147483647 w 3350"/>
                <a:gd name="T109" fmla="*/ 2147483647 h 2942"/>
                <a:gd name="T110" fmla="*/ 2147483647 w 3350"/>
                <a:gd name="T111" fmla="*/ 2147483647 h 2942"/>
                <a:gd name="T112" fmla="*/ 2147483647 w 3350"/>
                <a:gd name="T113" fmla="*/ 2147483647 h 2942"/>
                <a:gd name="T114" fmla="*/ 2147483647 w 3350"/>
                <a:gd name="T115" fmla="*/ 2147483647 h 2942"/>
                <a:gd name="T116" fmla="*/ 2147483647 w 3350"/>
                <a:gd name="T117" fmla="*/ 2147483647 h 2942"/>
                <a:gd name="T118" fmla="*/ 2147483647 w 3350"/>
                <a:gd name="T119" fmla="*/ 2147483647 h 294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350"/>
                <a:gd name="T181" fmla="*/ 0 h 2942"/>
                <a:gd name="T182" fmla="*/ 3350 w 3350"/>
                <a:gd name="T183" fmla="*/ 2942 h 294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350" h="2942">
                  <a:moveTo>
                    <a:pt x="0" y="2311"/>
                  </a:moveTo>
                  <a:lnTo>
                    <a:pt x="25" y="2162"/>
                  </a:lnTo>
                  <a:lnTo>
                    <a:pt x="217" y="2062"/>
                  </a:lnTo>
                  <a:lnTo>
                    <a:pt x="220" y="2001"/>
                  </a:lnTo>
                  <a:lnTo>
                    <a:pt x="193" y="1934"/>
                  </a:lnTo>
                  <a:lnTo>
                    <a:pt x="197" y="1860"/>
                  </a:lnTo>
                  <a:lnTo>
                    <a:pt x="224" y="1792"/>
                  </a:lnTo>
                  <a:lnTo>
                    <a:pt x="311" y="1706"/>
                  </a:lnTo>
                  <a:lnTo>
                    <a:pt x="280" y="1565"/>
                  </a:lnTo>
                  <a:lnTo>
                    <a:pt x="291" y="1482"/>
                  </a:lnTo>
                  <a:lnTo>
                    <a:pt x="343" y="1465"/>
                  </a:lnTo>
                  <a:lnTo>
                    <a:pt x="400" y="1469"/>
                  </a:lnTo>
                  <a:lnTo>
                    <a:pt x="465" y="1430"/>
                  </a:lnTo>
                  <a:lnTo>
                    <a:pt x="484" y="1384"/>
                  </a:lnTo>
                  <a:lnTo>
                    <a:pt x="469" y="1323"/>
                  </a:lnTo>
                  <a:lnTo>
                    <a:pt x="612" y="1050"/>
                  </a:lnTo>
                  <a:lnTo>
                    <a:pt x="751" y="982"/>
                  </a:lnTo>
                  <a:lnTo>
                    <a:pt x="810" y="928"/>
                  </a:lnTo>
                  <a:lnTo>
                    <a:pt x="823" y="889"/>
                  </a:lnTo>
                  <a:lnTo>
                    <a:pt x="790" y="778"/>
                  </a:lnTo>
                  <a:lnTo>
                    <a:pt x="644" y="704"/>
                  </a:lnTo>
                  <a:lnTo>
                    <a:pt x="571" y="714"/>
                  </a:lnTo>
                  <a:lnTo>
                    <a:pt x="401" y="646"/>
                  </a:lnTo>
                  <a:lnTo>
                    <a:pt x="375" y="612"/>
                  </a:lnTo>
                  <a:lnTo>
                    <a:pt x="390" y="552"/>
                  </a:lnTo>
                  <a:lnTo>
                    <a:pt x="245" y="540"/>
                  </a:lnTo>
                  <a:lnTo>
                    <a:pt x="187" y="573"/>
                  </a:lnTo>
                  <a:lnTo>
                    <a:pt x="184" y="547"/>
                  </a:lnTo>
                  <a:lnTo>
                    <a:pt x="198" y="503"/>
                  </a:lnTo>
                  <a:lnTo>
                    <a:pt x="235" y="453"/>
                  </a:lnTo>
                  <a:lnTo>
                    <a:pt x="282" y="422"/>
                  </a:lnTo>
                  <a:lnTo>
                    <a:pt x="241" y="412"/>
                  </a:lnTo>
                  <a:lnTo>
                    <a:pt x="269" y="378"/>
                  </a:lnTo>
                  <a:lnTo>
                    <a:pt x="234" y="342"/>
                  </a:lnTo>
                  <a:lnTo>
                    <a:pt x="289" y="293"/>
                  </a:lnTo>
                  <a:lnTo>
                    <a:pt x="265" y="288"/>
                  </a:lnTo>
                  <a:lnTo>
                    <a:pt x="242" y="256"/>
                  </a:lnTo>
                  <a:lnTo>
                    <a:pt x="263" y="219"/>
                  </a:lnTo>
                  <a:lnTo>
                    <a:pt x="214" y="128"/>
                  </a:lnTo>
                  <a:lnTo>
                    <a:pt x="259" y="76"/>
                  </a:lnTo>
                  <a:lnTo>
                    <a:pt x="326" y="58"/>
                  </a:lnTo>
                  <a:lnTo>
                    <a:pt x="383" y="62"/>
                  </a:lnTo>
                  <a:lnTo>
                    <a:pt x="470" y="92"/>
                  </a:lnTo>
                  <a:lnTo>
                    <a:pt x="519" y="70"/>
                  </a:lnTo>
                  <a:lnTo>
                    <a:pt x="528" y="36"/>
                  </a:lnTo>
                  <a:lnTo>
                    <a:pt x="575" y="0"/>
                  </a:lnTo>
                  <a:lnTo>
                    <a:pt x="687" y="15"/>
                  </a:lnTo>
                  <a:lnTo>
                    <a:pt x="786" y="103"/>
                  </a:lnTo>
                  <a:lnTo>
                    <a:pt x="1054" y="217"/>
                  </a:lnTo>
                  <a:lnTo>
                    <a:pt x="1110" y="208"/>
                  </a:lnTo>
                  <a:lnTo>
                    <a:pt x="1602" y="451"/>
                  </a:lnTo>
                  <a:lnTo>
                    <a:pt x="1668" y="454"/>
                  </a:lnTo>
                  <a:lnTo>
                    <a:pt x="1800" y="530"/>
                  </a:lnTo>
                  <a:lnTo>
                    <a:pt x="1938" y="566"/>
                  </a:lnTo>
                  <a:lnTo>
                    <a:pt x="1998" y="607"/>
                  </a:lnTo>
                  <a:lnTo>
                    <a:pt x="2081" y="635"/>
                  </a:lnTo>
                  <a:lnTo>
                    <a:pt x="2126" y="636"/>
                  </a:lnTo>
                  <a:lnTo>
                    <a:pt x="2129" y="658"/>
                  </a:lnTo>
                  <a:lnTo>
                    <a:pt x="2244" y="804"/>
                  </a:lnTo>
                  <a:lnTo>
                    <a:pt x="2292" y="830"/>
                  </a:lnTo>
                  <a:lnTo>
                    <a:pt x="2361" y="914"/>
                  </a:lnTo>
                  <a:lnTo>
                    <a:pt x="2633" y="1057"/>
                  </a:lnTo>
                  <a:lnTo>
                    <a:pt x="2666" y="1059"/>
                  </a:lnTo>
                  <a:lnTo>
                    <a:pt x="2722" y="1037"/>
                  </a:lnTo>
                  <a:lnTo>
                    <a:pt x="2764" y="1037"/>
                  </a:lnTo>
                  <a:lnTo>
                    <a:pt x="2859" y="1126"/>
                  </a:lnTo>
                  <a:lnTo>
                    <a:pt x="2883" y="1166"/>
                  </a:lnTo>
                  <a:lnTo>
                    <a:pt x="2891" y="1198"/>
                  </a:lnTo>
                  <a:lnTo>
                    <a:pt x="2922" y="1208"/>
                  </a:lnTo>
                  <a:lnTo>
                    <a:pt x="2945" y="1205"/>
                  </a:lnTo>
                  <a:lnTo>
                    <a:pt x="2939" y="1182"/>
                  </a:lnTo>
                  <a:lnTo>
                    <a:pt x="2983" y="1235"/>
                  </a:lnTo>
                  <a:lnTo>
                    <a:pt x="3018" y="1256"/>
                  </a:lnTo>
                  <a:lnTo>
                    <a:pt x="3317" y="1305"/>
                  </a:lnTo>
                  <a:lnTo>
                    <a:pt x="3349" y="1327"/>
                  </a:lnTo>
                  <a:lnTo>
                    <a:pt x="3350" y="1364"/>
                  </a:lnTo>
                  <a:lnTo>
                    <a:pt x="3306" y="1376"/>
                  </a:lnTo>
                  <a:lnTo>
                    <a:pt x="3301" y="1426"/>
                  </a:lnTo>
                  <a:lnTo>
                    <a:pt x="3310" y="1472"/>
                  </a:lnTo>
                  <a:lnTo>
                    <a:pt x="3255" y="1519"/>
                  </a:lnTo>
                  <a:lnTo>
                    <a:pt x="2966" y="1639"/>
                  </a:lnTo>
                  <a:lnTo>
                    <a:pt x="2653" y="1676"/>
                  </a:lnTo>
                  <a:lnTo>
                    <a:pt x="2577" y="1735"/>
                  </a:lnTo>
                  <a:lnTo>
                    <a:pt x="2570" y="1768"/>
                  </a:lnTo>
                  <a:lnTo>
                    <a:pt x="2200" y="2074"/>
                  </a:lnTo>
                  <a:lnTo>
                    <a:pt x="2145" y="2160"/>
                  </a:lnTo>
                  <a:lnTo>
                    <a:pt x="2142" y="2171"/>
                  </a:lnTo>
                  <a:lnTo>
                    <a:pt x="2153" y="2203"/>
                  </a:lnTo>
                  <a:lnTo>
                    <a:pt x="2153" y="2294"/>
                  </a:lnTo>
                  <a:lnTo>
                    <a:pt x="2171" y="2328"/>
                  </a:lnTo>
                  <a:lnTo>
                    <a:pt x="2195" y="2350"/>
                  </a:lnTo>
                  <a:lnTo>
                    <a:pt x="2231" y="2369"/>
                  </a:lnTo>
                  <a:lnTo>
                    <a:pt x="2243" y="2404"/>
                  </a:lnTo>
                  <a:lnTo>
                    <a:pt x="2208" y="2445"/>
                  </a:lnTo>
                  <a:lnTo>
                    <a:pt x="2073" y="2498"/>
                  </a:lnTo>
                  <a:lnTo>
                    <a:pt x="1879" y="2715"/>
                  </a:lnTo>
                  <a:lnTo>
                    <a:pt x="1882" y="2749"/>
                  </a:lnTo>
                  <a:lnTo>
                    <a:pt x="1713" y="2730"/>
                  </a:lnTo>
                  <a:lnTo>
                    <a:pt x="1586" y="2794"/>
                  </a:lnTo>
                  <a:lnTo>
                    <a:pt x="1492" y="2915"/>
                  </a:lnTo>
                  <a:lnTo>
                    <a:pt x="1457" y="2942"/>
                  </a:lnTo>
                  <a:lnTo>
                    <a:pt x="1414" y="2937"/>
                  </a:lnTo>
                  <a:lnTo>
                    <a:pt x="1355" y="2907"/>
                  </a:lnTo>
                  <a:lnTo>
                    <a:pt x="1268" y="2915"/>
                  </a:lnTo>
                  <a:lnTo>
                    <a:pt x="786" y="2775"/>
                  </a:lnTo>
                  <a:lnTo>
                    <a:pt x="708" y="2819"/>
                  </a:lnTo>
                  <a:lnTo>
                    <a:pt x="641" y="2805"/>
                  </a:lnTo>
                  <a:lnTo>
                    <a:pt x="575" y="2810"/>
                  </a:lnTo>
                  <a:lnTo>
                    <a:pt x="518" y="2842"/>
                  </a:lnTo>
                  <a:lnTo>
                    <a:pt x="493" y="2869"/>
                  </a:lnTo>
                  <a:lnTo>
                    <a:pt x="460" y="2886"/>
                  </a:lnTo>
                  <a:lnTo>
                    <a:pt x="413" y="2895"/>
                  </a:lnTo>
                  <a:lnTo>
                    <a:pt x="330" y="2849"/>
                  </a:lnTo>
                  <a:lnTo>
                    <a:pt x="282" y="2784"/>
                  </a:lnTo>
                  <a:lnTo>
                    <a:pt x="253" y="2679"/>
                  </a:lnTo>
                  <a:lnTo>
                    <a:pt x="261" y="2632"/>
                  </a:lnTo>
                  <a:lnTo>
                    <a:pt x="234" y="2589"/>
                  </a:lnTo>
                  <a:lnTo>
                    <a:pt x="249" y="2509"/>
                  </a:lnTo>
                  <a:lnTo>
                    <a:pt x="208" y="2433"/>
                  </a:lnTo>
                  <a:lnTo>
                    <a:pt x="112" y="2344"/>
                  </a:lnTo>
                  <a:lnTo>
                    <a:pt x="0" y="2311"/>
                  </a:lnTo>
                  <a:close/>
                </a:path>
              </a:pathLst>
            </a:custGeom>
            <a:solidFill>
              <a:srgbClr val="7359A3"/>
            </a:solidFill>
            <a:ln w="12700">
              <a:solidFill>
                <a:sysClr val="window" lastClr="FFFFFF"/>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1" u="none" strike="noStrike" kern="0" cap="none" spc="0" normalizeH="0" baseline="0" noProof="0" dirty="0">
                <a:ln>
                  <a:noFill/>
                </a:ln>
                <a:solidFill>
                  <a:prstClr val="black"/>
                </a:solidFill>
                <a:effectLst/>
                <a:uLnTx/>
                <a:uFillTx/>
                <a:latin typeface="Arial" panose="020B0604020202020204"/>
                <a:ea typeface="+mn-ea"/>
                <a:cs typeface="+mn-cs"/>
              </a:endParaRPr>
            </a:p>
          </p:txBody>
        </p:sp>
        <p:sp>
          <p:nvSpPr>
            <p:cNvPr id="492" name="BG">
              <a:extLst>
                <a:ext uri="{FF2B5EF4-FFF2-40B4-BE49-F238E27FC236}">
                  <a16:creationId xmlns:a16="http://schemas.microsoft.com/office/drawing/2014/main" id="{2B979F6E-B791-0D13-A6A2-4319F49DB228}"/>
                </a:ext>
              </a:extLst>
            </p:cNvPr>
            <p:cNvSpPr>
              <a:spLocks/>
            </p:cNvSpPr>
            <p:nvPr/>
          </p:nvSpPr>
          <p:spPr bwMode="auto">
            <a:xfrm rot="21249101">
              <a:off x="9883509" y="4722169"/>
              <a:ext cx="781996" cy="483584"/>
            </a:xfrm>
            <a:custGeom>
              <a:avLst/>
              <a:gdLst>
                <a:gd name="T0" fmla="*/ 2147483647 w 1639"/>
                <a:gd name="T1" fmla="*/ 2147483647 h 1064"/>
                <a:gd name="T2" fmla="*/ 2147483647 w 1639"/>
                <a:gd name="T3" fmla="*/ 2147483647 h 1064"/>
                <a:gd name="T4" fmla="*/ 2147483647 w 1639"/>
                <a:gd name="T5" fmla="*/ 2147483647 h 1064"/>
                <a:gd name="T6" fmla="*/ 2147483647 w 1639"/>
                <a:gd name="T7" fmla="*/ 2147483647 h 1064"/>
                <a:gd name="T8" fmla="*/ 2147483647 w 1639"/>
                <a:gd name="T9" fmla="*/ 2147483647 h 1064"/>
                <a:gd name="T10" fmla="*/ 2147483647 w 1639"/>
                <a:gd name="T11" fmla="*/ 2147483647 h 1064"/>
                <a:gd name="T12" fmla="*/ 2147483647 w 1639"/>
                <a:gd name="T13" fmla="*/ 2147483647 h 1064"/>
                <a:gd name="T14" fmla="*/ 0 w 1639"/>
                <a:gd name="T15" fmla="*/ 2147483647 h 1064"/>
                <a:gd name="T16" fmla="*/ 2147483647 w 1639"/>
                <a:gd name="T17" fmla="*/ 2147483647 h 1064"/>
                <a:gd name="T18" fmla="*/ 2147483647 w 1639"/>
                <a:gd name="T19" fmla="*/ 2147483647 h 1064"/>
                <a:gd name="T20" fmla="*/ 2147483647 w 1639"/>
                <a:gd name="T21" fmla="*/ 2147483647 h 1064"/>
                <a:gd name="T22" fmla="*/ 2147483647 w 1639"/>
                <a:gd name="T23" fmla="*/ 2147483647 h 1064"/>
                <a:gd name="T24" fmla="*/ 2147483647 w 1639"/>
                <a:gd name="T25" fmla="*/ 2147483647 h 1064"/>
                <a:gd name="T26" fmla="*/ 2147483647 w 1639"/>
                <a:gd name="T27" fmla="*/ 2147483647 h 1064"/>
                <a:gd name="T28" fmla="*/ 2147483647 w 1639"/>
                <a:gd name="T29" fmla="*/ 0 h 1064"/>
                <a:gd name="T30" fmla="*/ 2147483647 w 1639"/>
                <a:gd name="T31" fmla="*/ 2147483647 h 1064"/>
                <a:gd name="T32" fmla="*/ 2147483647 w 1639"/>
                <a:gd name="T33" fmla="*/ 2147483647 h 1064"/>
                <a:gd name="T34" fmla="*/ 2147483647 w 1639"/>
                <a:gd name="T35" fmla="*/ 2147483647 h 1064"/>
                <a:gd name="T36" fmla="*/ 2147483647 w 1639"/>
                <a:gd name="T37" fmla="*/ 2147483647 h 1064"/>
                <a:gd name="T38" fmla="*/ 2147483647 w 1639"/>
                <a:gd name="T39" fmla="*/ 2147483647 h 1064"/>
                <a:gd name="T40" fmla="*/ 2147483647 w 1639"/>
                <a:gd name="T41" fmla="*/ 2147483647 h 1064"/>
                <a:gd name="T42" fmla="*/ 2147483647 w 1639"/>
                <a:gd name="T43" fmla="*/ 2147483647 h 1064"/>
                <a:gd name="T44" fmla="*/ 2147483647 w 1639"/>
                <a:gd name="T45" fmla="*/ 2147483647 h 1064"/>
                <a:gd name="T46" fmla="*/ 2147483647 w 1639"/>
                <a:gd name="T47" fmla="*/ 2147483647 h 1064"/>
                <a:gd name="T48" fmla="*/ 2147483647 w 1639"/>
                <a:gd name="T49" fmla="*/ 2147483647 h 1064"/>
                <a:gd name="T50" fmla="*/ 2147483647 w 1639"/>
                <a:gd name="T51" fmla="*/ 2147483647 h 1064"/>
                <a:gd name="T52" fmla="*/ 2147483647 w 1639"/>
                <a:gd name="T53" fmla="*/ 2147483647 h 1064"/>
                <a:gd name="T54" fmla="*/ 2147483647 w 1639"/>
                <a:gd name="T55" fmla="*/ 2147483647 h 1064"/>
                <a:gd name="T56" fmla="*/ 2147483647 w 1639"/>
                <a:gd name="T57" fmla="*/ 2147483647 h 1064"/>
                <a:gd name="T58" fmla="*/ 2147483647 w 1639"/>
                <a:gd name="T59" fmla="*/ 2147483647 h 1064"/>
                <a:gd name="T60" fmla="*/ 2147483647 w 1639"/>
                <a:gd name="T61" fmla="*/ 2147483647 h 1064"/>
                <a:gd name="T62" fmla="*/ 2147483647 w 1639"/>
                <a:gd name="T63" fmla="*/ 2147483647 h 1064"/>
                <a:gd name="T64" fmla="*/ 2147483647 w 1639"/>
                <a:gd name="T65" fmla="*/ 2147483647 h 1064"/>
                <a:gd name="T66" fmla="*/ 2147483647 w 1639"/>
                <a:gd name="T67" fmla="*/ 2147483647 h 1064"/>
                <a:gd name="T68" fmla="*/ 2147483647 w 1639"/>
                <a:gd name="T69" fmla="*/ 2147483647 h 1064"/>
                <a:gd name="T70" fmla="*/ 2147483647 w 1639"/>
                <a:gd name="T71" fmla="*/ 2147483647 h 1064"/>
                <a:gd name="T72" fmla="*/ 2147483647 w 1639"/>
                <a:gd name="T73" fmla="*/ 2147483647 h 1064"/>
                <a:gd name="T74" fmla="*/ 2147483647 w 1639"/>
                <a:gd name="T75" fmla="*/ 2147483647 h 1064"/>
                <a:gd name="T76" fmla="*/ 2147483647 w 1639"/>
                <a:gd name="T77" fmla="*/ 2147483647 h 1064"/>
                <a:gd name="T78" fmla="*/ 2147483647 w 1639"/>
                <a:gd name="T79" fmla="*/ 2147483647 h 1064"/>
                <a:gd name="T80" fmla="*/ 2147483647 w 1639"/>
                <a:gd name="T81" fmla="*/ 2147483647 h 1064"/>
                <a:gd name="T82" fmla="*/ 2147483647 w 1639"/>
                <a:gd name="T83" fmla="*/ 2147483647 h 1064"/>
                <a:gd name="T84" fmla="*/ 2147483647 w 1639"/>
                <a:gd name="T85" fmla="*/ 2147483647 h 106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639"/>
                <a:gd name="T130" fmla="*/ 0 h 1064"/>
                <a:gd name="T131" fmla="*/ 1639 w 1639"/>
                <a:gd name="T132" fmla="*/ 1064 h 106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639" h="1064">
                  <a:moveTo>
                    <a:pt x="173" y="1064"/>
                  </a:moveTo>
                  <a:lnTo>
                    <a:pt x="132" y="836"/>
                  </a:lnTo>
                  <a:lnTo>
                    <a:pt x="15" y="745"/>
                  </a:lnTo>
                  <a:lnTo>
                    <a:pt x="12" y="628"/>
                  </a:lnTo>
                  <a:lnTo>
                    <a:pt x="68" y="502"/>
                  </a:lnTo>
                  <a:lnTo>
                    <a:pt x="121" y="445"/>
                  </a:lnTo>
                  <a:lnTo>
                    <a:pt x="2" y="297"/>
                  </a:lnTo>
                  <a:lnTo>
                    <a:pt x="0" y="94"/>
                  </a:lnTo>
                  <a:lnTo>
                    <a:pt x="78" y="55"/>
                  </a:lnTo>
                  <a:lnTo>
                    <a:pt x="139" y="73"/>
                  </a:lnTo>
                  <a:lnTo>
                    <a:pt x="110" y="142"/>
                  </a:lnTo>
                  <a:lnTo>
                    <a:pt x="164" y="184"/>
                  </a:lnTo>
                  <a:lnTo>
                    <a:pt x="804" y="204"/>
                  </a:lnTo>
                  <a:lnTo>
                    <a:pt x="1184" y="5"/>
                  </a:lnTo>
                  <a:lnTo>
                    <a:pt x="1275" y="0"/>
                  </a:lnTo>
                  <a:lnTo>
                    <a:pt x="1308" y="22"/>
                  </a:lnTo>
                  <a:lnTo>
                    <a:pt x="1451" y="45"/>
                  </a:lnTo>
                  <a:lnTo>
                    <a:pt x="1555" y="104"/>
                  </a:lnTo>
                  <a:lnTo>
                    <a:pt x="1639" y="86"/>
                  </a:lnTo>
                  <a:lnTo>
                    <a:pt x="1635" y="162"/>
                  </a:lnTo>
                  <a:lnTo>
                    <a:pt x="1615" y="220"/>
                  </a:lnTo>
                  <a:lnTo>
                    <a:pt x="1527" y="253"/>
                  </a:lnTo>
                  <a:lnTo>
                    <a:pt x="1476" y="329"/>
                  </a:lnTo>
                  <a:lnTo>
                    <a:pt x="1487" y="472"/>
                  </a:lnTo>
                  <a:lnTo>
                    <a:pt x="1448" y="491"/>
                  </a:lnTo>
                  <a:lnTo>
                    <a:pt x="1436" y="519"/>
                  </a:lnTo>
                  <a:lnTo>
                    <a:pt x="1387" y="571"/>
                  </a:lnTo>
                  <a:lnTo>
                    <a:pt x="1404" y="590"/>
                  </a:lnTo>
                  <a:lnTo>
                    <a:pt x="1429" y="596"/>
                  </a:lnTo>
                  <a:lnTo>
                    <a:pt x="1535" y="741"/>
                  </a:lnTo>
                  <a:lnTo>
                    <a:pt x="1542" y="772"/>
                  </a:lnTo>
                  <a:lnTo>
                    <a:pt x="1502" y="770"/>
                  </a:lnTo>
                  <a:lnTo>
                    <a:pt x="1390" y="797"/>
                  </a:lnTo>
                  <a:lnTo>
                    <a:pt x="1300" y="758"/>
                  </a:lnTo>
                  <a:lnTo>
                    <a:pt x="1135" y="823"/>
                  </a:lnTo>
                  <a:lnTo>
                    <a:pt x="1092" y="860"/>
                  </a:lnTo>
                  <a:lnTo>
                    <a:pt x="1036" y="869"/>
                  </a:lnTo>
                  <a:lnTo>
                    <a:pt x="1034" y="969"/>
                  </a:lnTo>
                  <a:lnTo>
                    <a:pt x="970" y="1034"/>
                  </a:lnTo>
                  <a:lnTo>
                    <a:pt x="871" y="1063"/>
                  </a:lnTo>
                  <a:lnTo>
                    <a:pt x="690" y="1012"/>
                  </a:lnTo>
                  <a:lnTo>
                    <a:pt x="640" y="973"/>
                  </a:lnTo>
                  <a:lnTo>
                    <a:pt x="173" y="1064"/>
                  </a:lnTo>
                  <a:close/>
                </a:path>
              </a:pathLst>
            </a:custGeom>
            <a:pattFill prst="wdDnDiag">
              <a:fgClr>
                <a:srgbClr val="92D050"/>
              </a:fgClr>
              <a:bgClr>
                <a:srgbClr val="00A194"/>
              </a:bgClr>
            </a:pattFill>
            <a:ln w="12700">
              <a:solidFill>
                <a:sysClr val="window" lastClr="FFFFFF"/>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1" u="none" strike="noStrike" kern="0" cap="none" spc="0" normalizeH="0" baseline="0" noProof="0" dirty="0">
                <a:ln>
                  <a:noFill/>
                </a:ln>
                <a:solidFill>
                  <a:prstClr val="black"/>
                </a:solidFill>
                <a:effectLst/>
                <a:uLnTx/>
                <a:uFillTx/>
                <a:latin typeface="Arial" panose="020B0604020202020204"/>
                <a:ea typeface="+mn-ea"/>
                <a:cs typeface="+mn-cs"/>
              </a:endParaRPr>
            </a:p>
          </p:txBody>
        </p:sp>
        <p:sp>
          <p:nvSpPr>
            <p:cNvPr id="493" name="LT">
              <a:extLst>
                <a:ext uri="{FF2B5EF4-FFF2-40B4-BE49-F238E27FC236}">
                  <a16:creationId xmlns:a16="http://schemas.microsoft.com/office/drawing/2014/main" id="{DB1943E8-86AE-A280-6E36-3C8617584021}"/>
                </a:ext>
              </a:extLst>
            </p:cNvPr>
            <p:cNvSpPr>
              <a:spLocks/>
            </p:cNvSpPr>
            <p:nvPr/>
          </p:nvSpPr>
          <p:spPr bwMode="auto">
            <a:xfrm rot="21249101">
              <a:off x="9490809" y="2742113"/>
              <a:ext cx="574374" cy="426841"/>
            </a:xfrm>
            <a:custGeom>
              <a:avLst/>
              <a:gdLst>
                <a:gd name="T0" fmla="*/ 2147483647 w 1199"/>
                <a:gd name="T1" fmla="*/ 2147483647 h 936"/>
                <a:gd name="T2" fmla="*/ 2147483647 w 1199"/>
                <a:gd name="T3" fmla="*/ 2147483647 h 936"/>
                <a:gd name="T4" fmla="*/ 2147483647 w 1199"/>
                <a:gd name="T5" fmla="*/ 2147483647 h 936"/>
                <a:gd name="T6" fmla="*/ 2147483647 w 1199"/>
                <a:gd name="T7" fmla="*/ 2147483647 h 936"/>
                <a:gd name="T8" fmla="*/ 2147483647 w 1199"/>
                <a:gd name="T9" fmla="*/ 2147483647 h 936"/>
                <a:gd name="T10" fmla="*/ 2147483647 w 1199"/>
                <a:gd name="T11" fmla="*/ 2147483647 h 936"/>
                <a:gd name="T12" fmla="*/ 2147483647 w 1199"/>
                <a:gd name="T13" fmla="*/ 2147483647 h 936"/>
                <a:gd name="T14" fmla="*/ 2147483647 w 1199"/>
                <a:gd name="T15" fmla="*/ 2147483647 h 936"/>
                <a:gd name="T16" fmla="*/ 2147483647 w 1199"/>
                <a:gd name="T17" fmla="*/ 2147483647 h 936"/>
                <a:gd name="T18" fmla="*/ 2147483647 w 1199"/>
                <a:gd name="T19" fmla="*/ 2147483647 h 936"/>
                <a:gd name="T20" fmla="*/ 2147483647 w 1199"/>
                <a:gd name="T21" fmla="*/ 2147483647 h 936"/>
                <a:gd name="T22" fmla="*/ 2147483647 w 1199"/>
                <a:gd name="T23" fmla="*/ 2147483647 h 936"/>
                <a:gd name="T24" fmla="*/ 2147483647 w 1199"/>
                <a:gd name="T25" fmla="*/ 2147483647 h 936"/>
                <a:gd name="T26" fmla="*/ 2147483647 w 1199"/>
                <a:gd name="T27" fmla="*/ 2147483647 h 936"/>
                <a:gd name="T28" fmla="*/ 2147483647 w 1199"/>
                <a:gd name="T29" fmla="*/ 2147483647 h 936"/>
                <a:gd name="T30" fmla="*/ 2147483647 w 1199"/>
                <a:gd name="T31" fmla="*/ 2147483647 h 936"/>
                <a:gd name="T32" fmla="*/ 2147483647 w 1199"/>
                <a:gd name="T33" fmla="*/ 2147483647 h 936"/>
                <a:gd name="T34" fmla="*/ 2147483647 w 1199"/>
                <a:gd name="T35" fmla="*/ 2147483647 h 936"/>
                <a:gd name="T36" fmla="*/ 2147483647 w 1199"/>
                <a:gd name="T37" fmla="*/ 2147483647 h 936"/>
                <a:gd name="T38" fmla="*/ 2147483647 w 1199"/>
                <a:gd name="T39" fmla="*/ 2147483647 h 936"/>
                <a:gd name="T40" fmla="*/ 2147483647 w 1199"/>
                <a:gd name="T41" fmla="*/ 2147483647 h 936"/>
                <a:gd name="T42" fmla="*/ 2147483647 w 1199"/>
                <a:gd name="T43" fmla="*/ 2147483647 h 936"/>
                <a:gd name="T44" fmla="*/ 2147483647 w 1199"/>
                <a:gd name="T45" fmla="*/ 2147483647 h 936"/>
                <a:gd name="T46" fmla="*/ 2147483647 w 1199"/>
                <a:gd name="T47" fmla="*/ 2147483647 h 936"/>
                <a:gd name="T48" fmla="*/ 2147483647 w 1199"/>
                <a:gd name="T49" fmla="*/ 2147483647 h 936"/>
                <a:gd name="T50" fmla="*/ 2147483647 w 1199"/>
                <a:gd name="T51" fmla="*/ 2147483647 h 936"/>
                <a:gd name="T52" fmla="*/ 2147483647 w 1199"/>
                <a:gd name="T53" fmla="*/ 2147483647 h 936"/>
                <a:gd name="T54" fmla="*/ 2147483647 w 1199"/>
                <a:gd name="T55" fmla="*/ 2147483647 h 936"/>
                <a:gd name="T56" fmla="*/ 2147483647 w 1199"/>
                <a:gd name="T57" fmla="*/ 2147483647 h 936"/>
                <a:gd name="T58" fmla="*/ 2147483647 w 1199"/>
                <a:gd name="T59" fmla="*/ 0 h 936"/>
                <a:gd name="T60" fmla="*/ 2147483647 w 1199"/>
                <a:gd name="T61" fmla="*/ 2147483647 h 936"/>
                <a:gd name="T62" fmla="*/ 2147483647 w 1199"/>
                <a:gd name="T63" fmla="*/ 2147483647 h 936"/>
                <a:gd name="T64" fmla="*/ 2147483647 w 1199"/>
                <a:gd name="T65" fmla="*/ 2147483647 h 936"/>
                <a:gd name="T66" fmla="*/ 2147483647 w 1199"/>
                <a:gd name="T67" fmla="*/ 2147483647 h 936"/>
                <a:gd name="T68" fmla="*/ 2147483647 w 1199"/>
                <a:gd name="T69" fmla="*/ 2147483647 h 936"/>
                <a:gd name="T70" fmla="*/ 2147483647 w 1199"/>
                <a:gd name="T71" fmla="*/ 2147483647 h 936"/>
                <a:gd name="T72" fmla="*/ 2147483647 w 1199"/>
                <a:gd name="T73" fmla="*/ 2147483647 h 9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199"/>
                <a:gd name="T112" fmla="*/ 0 h 936"/>
                <a:gd name="T113" fmla="*/ 1199 w 1199"/>
                <a:gd name="T114" fmla="*/ 936 h 9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199" h="936">
                  <a:moveTo>
                    <a:pt x="0" y="166"/>
                  </a:moveTo>
                  <a:lnTo>
                    <a:pt x="20" y="322"/>
                  </a:lnTo>
                  <a:lnTo>
                    <a:pt x="13" y="235"/>
                  </a:lnTo>
                  <a:lnTo>
                    <a:pt x="45" y="442"/>
                  </a:lnTo>
                  <a:lnTo>
                    <a:pt x="54" y="442"/>
                  </a:lnTo>
                  <a:lnTo>
                    <a:pt x="62" y="471"/>
                  </a:lnTo>
                  <a:lnTo>
                    <a:pt x="99" y="459"/>
                  </a:lnTo>
                  <a:lnTo>
                    <a:pt x="121" y="481"/>
                  </a:lnTo>
                  <a:lnTo>
                    <a:pt x="151" y="488"/>
                  </a:lnTo>
                  <a:lnTo>
                    <a:pt x="175" y="507"/>
                  </a:lnTo>
                  <a:lnTo>
                    <a:pt x="265" y="525"/>
                  </a:lnTo>
                  <a:lnTo>
                    <a:pt x="327" y="518"/>
                  </a:lnTo>
                  <a:lnTo>
                    <a:pt x="352" y="534"/>
                  </a:lnTo>
                  <a:lnTo>
                    <a:pt x="397" y="618"/>
                  </a:lnTo>
                  <a:lnTo>
                    <a:pt x="377" y="678"/>
                  </a:lnTo>
                  <a:lnTo>
                    <a:pt x="390" y="781"/>
                  </a:lnTo>
                  <a:lnTo>
                    <a:pt x="522" y="854"/>
                  </a:lnTo>
                  <a:lnTo>
                    <a:pt x="540" y="899"/>
                  </a:lnTo>
                  <a:lnTo>
                    <a:pt x="544" y="925"/>
                  </a:lnTo>
                  <a:lnTo>
                    <a:pt x="604" y="936"/>
                  </a:lnTo>
                  <a:lnTo>
                    <a:pt x="663" y="919"/>
                  </a:lnTo>
                  <a:lnTo>
                    <a:pt x="726" y="927"/>
                  </a:lnTo>
                  <a:lnTo>
                    <a:pt x="754" y="912"/>
                  </a:lnTo>
                  <a:lnTo>
                    <a:pt x="775" y="890"/>
                  </a:lnTo>
                  <a:lnTo>
                    <a:pt x="804" y="902"/>
                  </a:lnTo>
                  <a:lnTo>
                    <a:pt x="835" y="897"/>
                  </a:lnTo>
                  <a:lnTo>
                    <a:pt x="819" y="842"/>
                  </a:lnTo>
                  <a:lnTo>
                    <a:pt x="847" y="826"/>
                  </a:lnTo>
                  <a:lnTo>
                    <a:pt x="876" y="826"/>
                  </a:lnTo>
                  <a:lnTo>
                    <a:pt x="896" y="800"/>
                  </a:lnTo>
                  <a:lnTo>
                    <a:pt x="923" y="781"/>
                  </a:lnTo>
                  <a:lnTo>
                    <a:pt x="953" y="789"/>
                  </a:lnTo>
                  <a:lnTo>
                    <a:pt x="971" y="814"/>
                  </a:lnTo>
                  <a:lnTo>
                    <a:pt x="1001" y="827"/>
                  </a:lnTo>
                  <a:lnTo>
                    <a:pt x="1030" y="813"/>
                  </a:lnTo>
                  <a:lnTo>
                    <a:pt x="1021" y="783"/>
                  </a:lnTo>
                  <a:lnTo>
                    <a:pt x="999" y="760"/>
                  </a:lnTo>
                  <a:lnTo>
                    <a:pt x="984" y="732"/>
                  </a:lnTo>
                  <a:lnTo>
                    <a:pt x="988" y="701"/>
                  </a:lnTo>
                  <a:lnTo>
                    <a:pt x="1017" y="647"/>
                  </a:lnTo>
                  <a:lnTo>
                    <a:pt x="1021" y="521"/>
                  </a:lnTo>
                  <a:lnTo>
                    <a:pt x="1047" y="503"/>
                  </a:lnTo>
                  <a:lnTo>
                    <a:pt x="1077" y="496"/>
                  </a:lnTo>
                  <a:lnTo>
                    <a:pt x="1122" y="455"/>
                  </a:lnTo>
                  <a:lnTo>
                    <a:pt x="1170" y="452"/>
                  </a:lnTo>
                  <a:lnTo>
                    <a:pt x="1199" y="381"/>
                  </a:lnTo>
                  <a:lnTo>
                    <a:pt x="1169" y="369"/>
                  </a:lnTo>
                  <a:lnTo>
                    <a:pt x="1138" y="372"/>
                  </a:lnTo>
                  <a:lnTo>
                    <a:pt x="1133" y="313"/>
                  </a:lnTo>
                  <a:lnTo>
                    <a:pt x="1159" y="297"/>
                  </a:lnTo>
                  <a:lnTo>
                    <a:pt x="1177" y="272"/>
                  </a:lnTo>
                  <a:lnTo>
                    <a:pt x="1175" y="265"/>
                  </a:lnTo>
                  <a:lnTo>
                    <a:pt x="1176" y="261"/>
                  </a:lnTo>
                  <a:lnTo>
                    <a:pt x="1119" y="238"/>
                  </a:lnTo>
                  <a:lnTo>
                    <a:pt x="1043" y="160"/>
                  </a:lnTo>
                  <a:lnTo>
                    <a:pt x="941" y="101"/>
                  </a:lnTo>
                  <a:lnTo>
                    <a:pt x="882" y="107"/>
                  </a:lnTo>
                  <a:lnTo>
                    <a:pt x="853" y="100"/>
                  </a:lnTo>
                  <a:lnTo>
                    <a:pt x="810" y="19"/>
                  </a:lnTo>
                  <a:lnTo>
                    <a:pt x="788" y="0"/>
                  </a:lnTo>
                  <a:lnTo>
                    <a:pt x="760" y="11"/>
                  </a:lnTo>
                  <a:lnTo>
                    <a:pt x="721" y="57"/>
                  </a:lnTo>
                  <a:lnTo>
                    <a:pt x="664" y="74"/>
                  </a:lnTo>
                  <a:lnTo>
                    <a:pt x="549" y="37"/>
                  </a:lnTo>
                  <a:lnTo>
                    <a:pt x="461" y="35"/>
                  </a:lnTo>
                  <a:lnTo>
                    <a:pt x="433" y="44"/>
                  </a:lnTo>
                  <a:lnTo>
                    <a:pt x="406" y="37"/>
                  </a:lnTo>
                  <a:lnTo>
                    <a:pt x="379" y="51"/>
                  </a:lnTo>
                  <a:lnTo>
                    <a:pt x="348" y="52"/>
                  </a:lnTo>
                  <a:lnTo>
                    <a:pt x="321" y="38"/>
                  </a:lnTo>
                  <a:lnTo>
                    <a:pt x="232" y="41"/>
                  </a:lnTo>
                  <a:lnTo>
                    <a:pt x="95" y="103"/>
                  </a:lnTo>
                  <a:lnTo>
                    <a:pt x="64" y="155"/>
                  </a:lnTo>
                  <a:lnTo>
                    <a:pt x="38" y="172"/>
                  </a:lnTo>
                  <a:lnTo>
                    <a:pt x="0" y="166"/>
                  </a:lnTo>
                  <a:close/>
                </a:path>
              </a:pathLst>
            </a:custGeom>
            <a:solidFill>
              <a:srgbClr val="7359A0"/>
            </a:solidFill>
            <a:ln w="12700">
              <a:solidFill>
                <a:sysClr val="window" lastClr="FFFFFF"/>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1" u="none" strike="noStrike" kern="0" cap="none" spc="0" normalizeH="0" baseline="0" noProof="0" dirty="0">
                <a:ln>
                  <a:noFill/>
                </a:ln>
                <a:solidFill>
                  <a:prstClr val="black"/>
                </a:solidFill>
                <a:effectLst/>
                <a:uLnTx/>
                <a:uFillTx/>
                <a:latin typeface="Arial" panose="020B0604020202020204"/>
                <a:ea typeface="+mn-ea"/>
                <a:cs typeface="+mn-cs"/>
              </a:endParaRPr>
            </a:p>
          </p:txBody>
        </p:sp>
        <p:sp>
          <p:nvSpPr>
            <p:cNvPr id="494" name="APG">
              <a:extLst>
                <a:ext uri="{FF2B5EF4-FFF2-40B4-BE49-F238E27FC236}">
                  <a16:creationId xmlns:a16="http://schemas.microsoft.com/office/drawing/2014/main" id="{54542A6C-6AEE-CD5A-9899-22DEBE26F015}"/>
                </a:ext>
              </a:extLst>
            </p:cNvPr>
            <p:cNvSpPr>
              <a:spLocks/>
            </p:cNvSpPr>
            <p:nvPr/>
          </p:nvSpPr>
          <p:spPr bwMode="auto">
            <a:xfrm rot="21249101">
              <a:off x="8301782" y="4086620"/>
              <a:ext cx="896718" cy="411688"/>
            </a:xfrm>
            <a:custGeom>
              <a:avLst/>
              <a:gdLst>
                <a:gd name="T0" fmla="*/ 2147483647 w 1879"/>
                <a:gd name="T1" fmla="*/ 2147483647 h 907"/>
                <a:gd name="T2" fmla="*/ 2147483647 w 1879"/>
                <a:gd name="T3" fmla="*/ 2147483647 h 907"/>
                <a:gd name="T4" fmla="*/ 2147483647 w 1879"/>
                <a:gd name="T5" fmla="*/ 2147483647 h 907"/>
                <a:gd name="T6" fmla="*/ 2147483647 w 1879"/>
                <a:gd name="T7" fmla="*/ 2147483647 h 907"/>
                <a:gd name="T8" fmla="*/ 2147483647 w 1879"/>
                <a:gd name="T9" fmla="*/ 2147483647 h 907"/>
                <a:gd name="T10" fmla="*/ 2147483647 w 1879"/>
                <a:gd name="T11" fmla="*/ 2147483647 h 907"/>
                <a:gd name="T12" fmla="*/ 2147483647 w 1879"/>
                <a:gd name="T13" fmla="*/ 2147483647 h 907"/>
                <a:gd name="T14" fmla="*/ 2147483647 w 1879"/>
                <a:gd name="T15" fmla="*/ 2147483647 h 907"/>
                <a:gd name="T16" fmla="*/ 2147483647 w 1879"/>
                <a:gd name="T17" fmla="*/ 2147483647 h 907"/>
                <a:gd name="T18" fmla="*/ 2147483647 w 1879"/>
                <a:gd name="T19" fmla="*/ 2147483647 h 907"/>
                <a:gd name="T20" fmla="*/ 2147483647 w 1879"/>
                <a:gd name="T21" fmla="*/ 2147483647 h 907"/>
                <a:gd name="T22" fmla="*/ 2147483647 w 1879"/>
                <a:gd name="T23" fmla="*/ 2147483647 h 907"/>
                <a:gd name="T24" fmla="*/ 2147483647 w 1879"/>
                <a:gd name="T25" fmla="*/ 2147483647 h 907"/>
                <a:gd name="T26" fmla="*/ 2147483647 w 1879"/>
                <a:gd name="T27" fmla="*/ 2147483647 h 907"/>
                <a:gd name="T28" fmla="*/ 2147483647 w 1879"/>
                <a:gd name="T29" fmla="*/ 2147483647 h 907"/>
                <a:gd name="T30" fmla="*/ 2147483647 w 1879"/>
                <a:gd name="T31" fmla="*/ 2147483647 h 907"/>
                <a:gd name="T32" fmla="*/ 2147483647 w 1879"/>
                <a:gd name="T33" fmla="*/ 2147483647 h 907"/>
                <a:gd name="T34" fmla="*/ 2147483647 w 1879"/>
                <a:gd name="T35" fmla="*/ 2147483647 h 907"/>
                <a:gd name="T36" fmla="*/ 2147483647 w 1879"/>
                <a:gd name="T37" fmla="*/ 2147483647 h 907"/>
                <a:gd name="T38" fmla="*/ 2147483647 w 1879"/>
                <a:gd name="T39" fmla="*/ 2147483647 h 907"/>
                <a:gd name="T40" fmla="*/ 2147483647 w 1879"/>
                <a:gd name="T41" fmla="*/ 2147483647 h 907"/>
                <a:gd name="T42" fmla="*/ 2147483647 w 1879"/>
                <a:gd name="T43" fmla="*/ 2147483647 h 907"/>
                <a:gd name="T44" fmla="*/ 2147483647 w 1879"/>
                <a:gd name="T45" fmla="*/ 2147483647 h 907"/>
                <a:gd name="T46" fmla="*/ 2147483647 w 1879"/>
                <a:gd name="T47" fmla="*/ 2147483647 h 907"/>
                <a:gd name="T48" fmla="*/ 2147483647 w 1879"/>
                <a:gd name="T49" fmla="*/ 2147483647 h 907"/>
                <a:gd name="T50" fmla="*/ 2147483647 w 1879"/>
                <a:gd name="T51" fmla="*/ 2147483647 h 907"/>
                <a:gd name="T52" fmla="*/ 2147483647 w 1879"/>
                <a:gd name="T53" fmla="*/ 2147483647 h 907"/>
                <a:gd name="T54" fmla="*/ 2147483647 w 1879"/>
                <a:gd name="T55" fmla="*/ 2147483647 h 907"/>
                <a:gd name="T56" fmla="*/ 2147483647 w 1879"/>
                <a:gd name="T57" fmla="*/ 2147483647 h 907"/>
                <a:gd name="T58" fmla="*/ 2147483647 w 1879"/>
                <a:gd name="T59" fmla="*/ 2147483647 h 907"/>
                <a:gd name="T60" fmla="*/ 2147483647 w 1879"/>
                <a:gd name="T61" fmla="*/ 2147483647 h 907"/>
                <a:gd name="T62" fmla="*/ 2147483647 w 1879"/>
                <a:gd name="T63" fmla="*/ 2147483647 h 907"/>
                <a:gd name="T64" fmla="*/ 2147483647 w 1879"/>
                <a:gd name="T65" fmla="*/ 2147483647 h 907"/>
                <a:gd name="T66" fmla="*/ 2147483647 w 1879"/>
                <a:gd name="T67" fmla="*/ 2147483647 h 907"/>
                <a:gd name="T68" fmla="*/ 2147483647 w 1879"/>
                <a:gd name="T69" fmla="*/ 2147483647 h 907"/>
                <a:gd name="T70" fmla="*/ 2147483647 w 1879"/>
                <a:gd name="T71" fmla="*/ 2147483647 h 907"/>
                <a:gd name="T72" fmla="*/ 2147483647 w 1879"/>
                <a:gd name="T73" fmla="*/ 2147483647 h 907"/>
                <a:gd name="T74" fmla="*/ 2147483647 w 1879"/>
                <a:gd name="T75" fmla="*/ 2147483647 h 90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879"/>
                <a:gd name="T115" fmla="*/ 0 h 907"/>
                <a:gd name="T116" fmla="*/ 1879 w 1879"/>
                <a:gd name="T117" fmla="*/ 907 h 90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879" h="907">
                  <a:moveTo>
                    <a:pt x="1089" y="64"/>
                  </a:moveTo>
                  <a:lnTo>
                    <a:pt x="1080" y="98"/>
                  </a:lnTo>
                  <a:lnTo>
                    <a:pt x="1002" y="123"/>
                  </a:lnTo>
                  <a:lnTo>
                    <a:pt x="963" y="200"/>
                  </a:lnTo>
                  <a:lnTo>
                    <a:pt x="861" y="230"/>
                  </a:lnTo>
                  <a:lnTo>
                    <a:pt x="835" y="278"/>
                  </a:lnTo>
                  <a:lnTo>
                    <a:pt x="833" y="351"/>
                  </a:lnTo>
                  <a:lnTo>
                    <a:pt x="856" y="424"/>
                  </a:lnTo>
                  <a:lnTo>
                    <a:pt x="856" y="458"/>
                  </a:lnTo>
                  <a:lnTo>
                    <a:pt x="819" y="471"/>
                  </a:lnTo>
                  <a:lnTo>
                    <a:pt x="804" y="435"/>
                  </a:lnTo>
                  <a:lnTo>
                    <a:pt x="739" y="428"/>
                  </a:lnTo>
                  <a:lnTo>
                    <a:pt x="690" y="407"/>
                  </a:lnTo>
                  <a:lnTo>
                    <a:pt x="669" y="427"/>
                  </a:lnTo>
                  <a:lnTo>
                    <a:pt x="520" y="429"/>
                  </a:lnTo>
                  <a:lnTo>
                    <a:pt x="427" y="476"/>
                  </a:lnTo>
                  <a:lnTo>
                    <a:pt x="368" y="469"/>
                  </a:lnTo>
                  <a:lnTo>
                    <a:pt x="313" y="427"/>
                  </a:lnTo>
                  <a:lnTo>
                    <a:pt x="263" y="416"/>
                  </a:lnTo>
                  <a:lnTo>
                    <a:pt x="230" y="441"/>
                  </a:lnTo>
                  <a:lnTo>
                    <a:pt x="212" y="469"/>
                  </a:lnTo>
                  <a:lnTo>
                    <a:pt x="187" y="481"/>
                  </a:lnTo>
                  <a:lnTo>
                    <a:pt x="146" y="453"/>
                  </a:lnTo>
                  <a:lnTo>
                    <a:pt x="128" y="412"/>
                  </a:lnTo>
                  <a:lnTo>
                    <a:pt x="91" y="396"/>
                  </a:lnTo>
                  <a:lnTo>
                    <a:pt x="48" y="393"/>
                  </a:lnTo>
                  <a:lnTo>
                    <a:pt x="0" y="405"/>
                  </a:lnTo>
                  <a:lnTo>
                    <a:pt x="29" y="444"/>
                  </a:lnTo>
                  <a:lnTo>
                    <a:pt x="60" y="470"/>
                  </a:lnTo>
                  <a:lnTo>
                    <a:pt x="56" y="554"/>
                  </a:lnTo>
                  <a:lnTo>
                    <a:pt x="24" y="585"/>
                  </a:lnTo>
                  <a:lnTo>
                    <a:pt x="93" y="636"/>
                  </a:lnTo>
                  <a:lnTo>
                    <a:pt x="134" y="648"/>
                  </a:lnTo>
                  <a:lnTo>
                    <a:pt x="171" y="633"/>
                  </a:lnTo>
                  <a:lnTo>
                    <a:pt x="203" y="662"/>
                  </a:lnTo>
                  <a:lnTo>
                    <a:pt x="257" y="687"/>
                  </a:lnTo>
                  <a:lnTo>
                    <a:pt x="572" y="648"/>
                  </a:lnTo>
                  <a:lnTo>
                    <a:pt x="595" y="634"/>
                  </a:lnTo>
                  <a:lnTo>
                    <a:pt x="624" y="632"/>
                  </a:lnTo>
                  <a:lnTo>
                    <a:pt x="634" y="641"/>
                  </a:lnTo>
                  <a:lnTo>
                    <a:pt x="636" y="700"/>
                  </a:lnTo>
                  <a:lnTo>
                    <a:pt x="649" y="735"/>
                  </a:lnTo>
                  <a:lnTo>
                    <a:pt x="700" y="775"/>
                  </a:lnTo>
                  <a:lnTo>
                    <a:pt x="719" y="781"/>
                  </a:lnTo>
                  <a:lnTo>
                    <a:pt x="759" y="815"/>
                  </a:lnTo>
                  <a:lnTo>
                    <a:pt x="995" y="878"/>
                  </a:lnTo>
                  <a:lnTo>
                    <a:pt x="1200" y="907"/>
                  </a:lnTo>
                  <a:lnTo>
                    <a:pt x="1241" y="886"/>
                  </a:lnTo>
                  <a:lnTo>
                    <a:pt x="1282" y="840"/>
                  </a:lnTo>
                  <a:lnTo>
                    <a:pt x="1344" y="829"/>
                  </a:lnTo>
                  <a:lnTo>
                    <a:pt x="1430" y="853"/>
                  </a:lnTo>
                  <a:lnTo>
                    <a:pt x="1455" y="817"/>
                  </a:lnTo>
                  <a:lnTo>
                    <a:pt x="1553" y="831"/>
                  </a:lnTo>
                  <a:lnTo>
                    <a:pt x="1564" y="796"/>
                  </a:lnTo>
                  <a:lnTo>
                    <a:pt x="1602" y="779"/>
                  </a:lnTo>
                  <a:lnTo>
                    <a:pt x="1651" y="732"/>
                  </a:lnTo>
                  <a:lnTo>
                    <a:pt x="1701" y="721"/>
                  </a:lnTo>
                  <a:lnTo>
                    <a:pt x="1702" y="630"/>
                  </a:lnTo>
                  <a:lnTo>
                    <a:pt x="1745" y="550"/>
                  </a:lnTo>
                  <a:lnTo>
                    <a:pt x="1716" y="510"/>
                  </a:lnTo>
                  <a:lnTo>
                    <a:pt x="1736" y="477"/>
                  </a:lnTo>
                  <a:lnTo>
                    <a:pt x="1853" y="480"/>
                  </a:lnTo>
                  <a:lnTo>
                    <a:pt x="1875" y="444"/>
                  </a:lnTo>
                  <a:lnTo>
                    <a:pt x="1879" y="356"/>
                  </a:lnTo>
                  <a:lnTo>
                    <a:pt x="1827" y="197"/>
                  </a:lnTo>
                  <a:lnTo>
                    <a:pt x="1829" y="137"/>
                  </a:lnTo>
                  <a:lnTo>
                    <a:pt x="1797" y="91"/>
                  </a:lnTo>
                  <a:lnTo>
                    <a:pt x="1640" y="96"/>
                  </a:lnTo>
                  <a:lnTo>
                    <a:pt x="1583" y="38"/>
                  </a:lnTo>
                  <a:lnTo>
                    <a:pt x="1547" y="17"/>
                  </a:lnTo>
                  <a:lnTo>
                    <a:pt x="1400" y="0"/>
                  </a:lnTo>
                  <a:lnTo>
                    <a:pt x="1355" y="79"/>
                  </a:lnTo>
                  <a:lnTo>
                    <a:pt x="1311" y="112"/>
                  </a:lnTo>
                  <a:lnTo>
                    <a:pt x="1273" y="126"/>
                  </a:lnTo>
                  <a:lnTo>
                    <a:pt x="1172" y="119"/>
                  </a:lnTo>
                  <a:lnTo>
                    <a:pt x="1089" y="64"/>
                  </a:lnTo>
                  <a:close/>
                </a:path>
              </a:pathLst>
            </a:custGeom>
            <a:pattFill prst="wdDnDiag">
              <a:fgClr>
                <a:srgbClr val="92D050"/>
              </a:fgClr>
              <a:bgClr>
                <a:srgbClr val="00A194"/>
              </a:bgClr>
            </a:pattFill>
            <a:ln w="12700">
              <a:solidFill>
                <a:sysClr val="window" lastClr="FFFFFF"/>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1" u="none" strike="noStrike" kern="0" cap="none" spc="0" normalizeH="0" baseline="0" noProof="0" dirty="0">
                <a:ln>
                  <a:noFill/>
                </a:ln>
                <a:solidFill>
                  <a:prstClr val="black"/>
                </a:solidFill>
                <a:effectLst/>
                <a:uLnTx/>
                <a:uFillTx/>
                <a:latin typeface="Arial" panose="020B0604020202020204"/>
                <a:ea typeface="+mn-ea"/>
                <a:cs typeface="+mn-cs"/>
              </a:endParaRPr>
            </a:p>
          </p:txBody>
        </p:sp>
        <p:sp>
          <p:nvSpPr>
            <p:cNvPr id="495" name="NL">
              <a:extLst>
                <a:ext uri="{FF2B5EF4-FFF2-40B4-BE49-F238E27FC236}">
                  <a16:creationId xmlns:a16="http://schemas.microsoft.com/office/drawing/2014/main" id="{5CCD4B26-FF4E-EE02-D820-9A65EDD61507}"/>
                </a:ext>
              </a:extLst>
            </p:cNvPr>
            <p:cNvSpPr>
              <a:spLocks/>
            </p:cNvSpPr>
            <p:nvPr/>
          </p:nvSpPr>
          <p:spPr bwMode="auto">
            <a:xfrm rot="21249101">
              <a:off x="7683021" y="3330777"/>
              <a:ext cx="435394" cy="428237"/>
            </a:xfrm>
            <a:custGeom>
              <a:avLst/>
              <a:gdLst>
                <a:gd name="T0" fmla="*/ 2147483647 w 914"/>
                <a:gd name="T1" fmla="*/ 2147483647 h 939"/>
                <a:gd name="T2" fmla="*/ 2147483647 w 914"/>
                <a:gd name="T3" fmla="*/ 2147483647 h 939"/>
                <a:gd name="T4" fmla="*/ 2147483647 w 914"/>
                <a:gd name="T5" fmla="*/ 2147483647 h 939"/>
                <a:gd name="T6" fmla="*/ 2147483647 w 914"/>
                <a:gd name="T7" fmla="*/ 2147483647 h 939"/>
                <a:gd name="T8" fmla="*/ 2147483647 w 914"/>
                <a:gd name="T9" fmla="*/ 2147483647 h 939"/>
                <a:gd name="T10" fmla="*/ 2147483647 w 914"/>
                <a:gd name="T11" fmla="*/ 2147483647 h 939"/>
                <a:gd name="T12" fmla="*/ 0 w 914"/>
                <a:gd name="T13" fmla="*/ 2147483647 h 939"/>
                <a:gd name="T14" fmla="*/ 2147483647 w 914"/>
                <a:gd name="T15" fmla="*/ 2147483647 h 939"/>
                <a:gd name="T16" fmla="*/ 2147483647 w 914"/>
                <a:gd name="T17" fmla="*/ 2147483647 h 939"/>
                <a:gd name="T18" fmla="*/ 2147483647 w 914"/>
                <a:gd name="T19" fmla="*/ 2147483647 h 939"/>
                <a:gd name="T20" fmla="*/ 2147483647 w 914"/>
                <a:gd name="T21" fmla="*/ 2147483647 h 939"/>
                <a:gd name="T22" fmla="*/ 2147483647 w 914"/>
                <a:gd name="T23" fmla="*/ 2147483647 h 939"/>
                <a:gd name="T24" fmla="*/ 2147483647 w 914"/>
                <a:gd name="T25" fmla="*/ 2147483647 h 939"/>
                <a:gd name="T26" fmla="*/ 2147483647 w 914"/>
                <a:gd name="T27" fmla="*/ 2147483647 h 939"/>
                <a:gd name="T28" fmla="*/ 2147483647 w 914"/>
                <a:gd name="T29" fmla="*/ 2147483647 h 939"/>
                <a:gd name="T30" fmla="*/ 2147483647 w 914"/>
                <a:gd name="T31" fmla="*/ 2147483647 h 939"/>
                <a:gd name="T32" fmla="*/ 2147483647 w 914"/>
                <a:gd name="T33" fmla="*/ 2147483647 h 939"/>
                <a:gd name="T34" fmla="*/ 2147483647 w 914"/>
                <a:gd name="T35" fmla="*/ 2147483647 h 939"/>
                <a:gd name="T36" fmla="*/ 2147483647 w 914"/>
                <a:gd name="T37" fmla="*/ 2147483647 h 939"/>
                <a:gd name="T38" fmla="*/ 2147483647 w 914"/>
                <a:gd name="T39" fmla="*/ 2147483647 h 939"/>
                <a:gd name="T40" fmla="*/ 2147483647 w 914"/>
                <a:gd name="T41" fmla="*/ 2147483647 h 939"/>
                <a:gd name="T42" fmla="*/ 2147483647 w 914"/>
                <a:gd name="T43" fmla="*/ 2147483647 h 939"/>
                <a:gd name="T44" fmla="*/ 2147483647 w 914"/>
                <a:gd name="T45" fmla="*/ 2147483647 h 939"/>
                <a:gd name="T46" fmla="*/ 2147483647 w 914"/>
                <a:gd name="T47" fmla="*/ 2147483647 h 939"/>
                <a:gd name="T48" fmla="*/ 2147483647 w 914"/>
                <a:gd name="T49" fmla="*/ 2147483647 h 939"/>
                <a:gd name="T50" fmla="*/ 2147483647 w 914"/>
                <a:gd name="T51" fmla="*/ 2147483647 h 939"/>
                <a:gd name="T52" fmla="*/ 2147483647 w 914"/>
                <a:gd name="T53" fmla="*/ 2147483647 h 939"/>
                <a:gd name="T54" fmla="*/ 2147483647 w 914"/>
                <a:gd name="T55" fmla="*/ 2147483647 h 939"/>
                <a:gd name="T56" fmla="*/ 2147483647 w 914"/>
                <a:gd name="T57" fmla="*/ 2147483647 h 939"/>
                <a:gd name="T58" fmla="*/ 2147483647 w 914"/>
                <a:gd name="T59" fmla="*/ 0 h 939"/>
                <a:gd name="T60" fmla="*/ 2147483647 w 914"/>
                <a:gd name="T61" fmla="*/ 2147483647 h 939"/>
                <a:gd name="T62" fmla="*/ 2147483647 w 914"/>
                <a:gd name="T63" fmla="*/ 2147483647 h 939"/>
                <a:gd name="T64" fmla="*/ 2147483647 w 914"/>
                <a:gd name="T65" fmla="*/ 2147483647 h 939"/>
                <a:gd name="T66" fmla="*/ 2147483647 w 914"/>
                <a:gd name="T67" fmla="*/ 2147483647 h 939"/>
                <a:gd name="T68" fmla="*/ 2147483647 w 914"/>
                <a:gd name="T69" fmla="*/ 2147483647 h 939"/>
                <a:gd name="T70" fmla="*/ 2147483647 w 914"/>
                <a:gd name="T71" fmla="*/ 2147483647 h 939"/>
                <a:gd name="T72" fmla="*/ 2147483647 w 914"/>
                <a:gd name="T73" fmla="*/ 2147483647 h 939"/>
                <a:gd name="T74" fmla="*/ 2147483647 w 914"/>
                <a:gd name="T75" fmla="*/ 2147483647 h 939"/>
                <a:gd name="T76" fmla="*/ 2147483647 w 914"/>
                <a:gd name="T77" fmla="*/ 2147483647 h 939"/>
                <a:gd name="T78" fmla="*/ 2147483647 w 914"/>
                <a:gd name="T79" fmla="*/ 2147483647 h 939"/>
                <a:gd name="T80" fmla="*/ 2147483647 w 914"/>
                <a:gd name="T81" fmla="*/ 2147483647 h 93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914"/>
                <a:gd name="T124" fmla="*/ 0 h 939"/>
                <a:gd name="T125" fmla="*/ 914 w 914"/>
                <a:gd name="T126" fmla="*/ 939 h 93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914" h="939">
                  <a:moveTo>
                    <a:pt x="510" y="939"/>
                  </a:moveTo>
                  <a:lnTo>
                    <a:pt x="463" y="930"/>
                  </a:lnTo>
                  <a:lnTo>
                    <a:pt x="435" y="900"/>
                  </a:lnTo>
                  <a:lnTo>
                    <a:pt x="455" y="769"/>
                  </a:lnTo>
                  <a:lnTo>
                    <a:pt x="429" y="740"/>
                  </a:lnTo>
                  <a:lnTo>
                    <a:pt x="389" y="730"/>
                  </a:lnTo>
                  <a:lnTo>
                    <a:pt x="361" y="704"/>
                  </a:lnTo>
                  <a:lnTo>
                    <a:pt x="356" y="676"/>
                  </a:lnTo>
                  <a:lnTo>
                    <a:pt x="344" y="674"/>
                  </a:lnTo>
                  <a:lnTo>
                    <a:pt x="327" y="644"/>
                  </a:lnTo>
                  <a:lnTo>
                    <a:pt x="215" y="636"/>
                  </a:lnTo>
                  <a:lnTo>
                    <a:pt x="144" y="662"/>
                  </a:lnTo>
                  <a:lnTo>
                    <a:pt x="61" y="670"/>
                  </a:lnTo>
                  <a:lnTo>
                    <a:pt x="0" y="617"/>
                  </a:lnTo>
                  <a:lnTo>
                    <a:pt x="2" y="613"/>
                  </a:lnTo>
                  <a:lnTo>
                    <a:pt x="13" y="607"/>
                  </a:lnTo>
                  <a:lnTo>
                    <a:pt x="43" y="611"/>
                  </a:lnTo>
                  <a:lnTo>
                    <a:pt x="78" y="647"/>
                  </a:lnTo>
                  <a:lnTo>
                    <a:pt x="120" y="637"/>
                  </a:lnTo>
                  <a:lnTo>
                    <a:pt x="155" y="642"/>
                  </a:lnTo>
                  <a:lnTo>
                    <a:pt x="172" y="632"/>
                  </a:lnTo>
                  <a:lnTo>
                    <a:pt x="143" y="621"/>
                  </a:lnTo>
                  <a:lnTo>
                    <a:pt x="104" y="617"/>
                  </a:lnTo>
                  <a:lnTo>
                    <a:pt x="84" y="605"/>
                  </a:lnTo>
                  <a:lnTo>
                    <a:pt x="104" y="577"/>
                  </a:lnTo>
                  <a:lnTo>
                    <a:pt x="339" y="550"/>
                  </a:lnTo>
                  <a:lnTo>
                    <a:pt x="325" y="532"/>
                  </a:lnTo>
                  <a:lnTo>
                    <a:pt x="272" y="542"/>
                  </a:lnTo>
                  <a:lnTo>
                    <a:pt x="208" y="513"/>
                  </a:lnTo>
                  <a:lnTo>
                    <a:pt x="188" y="484"/>
                  </a:lnTo>
                  <a:lnTo>
                    <a:pt x="206" y="428"/>
                  </a:lnTo>
                  <a:lnTo>
                    <a:pt x="315" y="343"/>
                  </a:lnTo>
                  <a:lnTo>
                    <a:pt x="413" y="139"/>
                  </a:lnTo>
                  <a:lnTo>
                    <a:pt x="451" y="132"/>
                  </a:lnTo>
                  <a:lnTo>
                    <a:pt x="459" y="165"/>
                  </a:lnTo>
                  <a:lnTo>
                    <a:pt x="479" y="191"/>
                  </a:lnTo>
                  <a:lnTo>
                    <a:pt x="478" y="204"/>
                  </a:lnTo>
                  <a:lnTo>
                    <a:pt x="474" y="211"/>
                  </a:lnTo>
                  <a:lnTo>
                    <a:pt x="439" y="215"/>
                  </a:lnTo>
                  <a:lnTo>
                    <a:pt x="422" y="250"/>
                  </a:lnTo>
                  <a:lnTo>
                    <a:pt x="419" y="297"/>
                  </a:lnTo>
                  <a:lnTo>
                    <a:pt x="414" y="312"/>
                  </a:lnTo>
                  <a:lnTo>
                    <a:pt x="432" y="339"/>
                  </a:lnTo>
                  <a:lnTo>
                    <a:pt x="468" y="363"/>
                  </a:lnTo>
                  <a:lnTo>
                    <a:pt x="488" y="368"/>
                  </a:lnTo>
                  <a:lnTo>
                    <a:pt x="499" y="360"/>
                  </a:lnTo>
                  <a:lnTo>
                    <a:pt x="499" y="327"/>
                  </a:lnTo>
                  <a:lnTo>
                    <a:pt x="486" y="299"/>
                  </a:lnTo>
                  <a:lnTo>
                    <a:pt x="486" y="281"/>
                  </a:lnTo>
                  <a:lnTo>
                    <a:pt x="504" y="279"/>
                  </a:lnTo>
                  <a:lnTo>
                    <a:pt x="532" y="262"/>
                  </a:lnTo>
                  <a:lnTo>
                    <a:pt x="571" y="174"/>
                  </a:lnTo>
                  <a:lnTo>
                    <a:pt x="562" y="164"/>
                  </a:lnTo>
                  <a:lnTo>
                    <a:pt x="536" y="160"/>
                  </a:lnTo>
                  <a:lnTo>
                    <a:pt x="534" y="146"/>
                  </a:lnTo>
                  <a:lnTo>
                    <a:pt x="540" y="80"/>
                  </a:lnTo>
                  <a:lnTo>
                    <a:pt x="549" y="62"/>
                  </a:lnTo>
                  <a:lnTo>
                    <a:pt x="571" y="35"/>
                  </a:lnTo>
                  <a:lnTo>
                    <a:pt x="656" y="0"/>
                  </a:lnTo>
                  <a:lnTo>
                    <a:pt x="699" y="0"/>
                  </a:lnTo>
                  <a:lnTo>
                    <a:pt x="746" y="19"/>
                  </a:lnTo>
                  <a:lnTo>
                    <a:pt x="792" y="6"/>
                  </a:lnTo>
                  <a:lnTo>
                    <a:pt x="840" y="11"/>
                  </a:lnTo>
                  <a:lnTo>
                    <a:pt x="873" y="29"/>
                  </a:lnTo>
                  <a:lnTo>
                    <a:pt x="914" y="88"/>
                  </a:lnTo>
                  <a:lnTo>
                    <a:pt x="841" y="262"/>
                  </a:lnTo>
                  <a:lnTo>
                    <a:pt x="774" y="292"/>
                  </a:lnTo>
                  <a:lnTo>
                    <a:pt x="776" y="332"/>
                  </a:lnTo>
                  <a:lnTo>
                    <a:pt x="842" y="376"/>
                  </a:lnTo>
                  <a:lnTo>
                    <a:pt x="829" y="422"/>
                  </a:lnTo>
                  <a:lnTo>
                    <a:pt x="793" y="456"/>
                  </a:lnTo>
                  <a:lnTo>
                    <a:pt x="749" y="477"/>
                  </a:lnTo>
                  <a:lnTo>
                    <a:pt x="733" y="522"/>
                  </a:lnTo>
                  <a:lnTo>
                    <a:pt x="707" y="559"/>
                  </a:lnTo>
                  <a:lnTo>
                    <a:pt x="674" y="561"/>
                  </a:lnTo>
                  <a:lnTo>
                    <a:pt x="627" y="529"/>
                  </a:lnTo>
                  <a:lnTo>
                    <a:pt x="585" y="522"/>
                  </a:lnTo>
                  <a:lnTo>
                    <a:pt x="548" y="785"/>
                  </a:lnTo>
                  <a:lnTo>
                    <a:pt x="517" y="811"/>
                  </a:lnTo>
                  <a:lnTo>
                    <a:pt x="508" y="840"/>
                  </a:lnTo>
                  <a:lnTo>
                    <a:pt x="514" y="917"/>
                  </a:lnTo>
                  <a:lnTo>
                    <a:pt x="510" y="939"/>
                  </a:lnTo>
                  <a:close/>
                </a:path>
              </a:pathLst>
            </a:custGeom>
            <a:solidFill>
              <a:srgbClr val="00A194"/>
            </a:solidFill>
            <a:ln w="12700">
              <a:solidFill>
                <a:sysClr val="window" lastClr="FFFFFF"/>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1" u="none" strike="noStrike" kern="0" cap="none" spc="0" normalizeH="0" baseline="0" noProof="0" dirty="0">
                <a:ln>
                  <a:noFill/>
                </a:ln>
                <a:solidFill>
                  <a:prstClr val="black"/>
                </a:solidFill>
                <a:effectLst/>
                <a:uLnTx/>
                <a:uFillTx/>
                <a:latin typeface="Arial" panose="020B0604020202020204"/>
                <a:ea typeface="+mn-ea"/>
                <a:cs typeface="+mn-cs"/>
              </a:endParaRPr>
            </a:p>
          </p:txBody>
        </p:sp>
        <p:grpSp>
          <p:nvGrpSpPr>
            <p:cNvPr id="496" name="FR">
              <a:extLst>
                <a:ext uri="{FF2B5EF4-FFF2-40B4-BE49-F238E27FC236}">
                  <a16:creationId xmlns:a16="http://schemas.microsoft.com/office/drawing/2014/main" id="{BF43E91C-7AB9-D883-9C59-5CF6F8DF1D46}"/>
                </a:ext>
              </a:extLst>
            </p:cNvPr>
            <p:cNvGrpSpPr>
              <a:grpSpLocks/>
            </p:cNvGrpSpPr>
            <p:nvPr/>
          </p:nvGrpSpPr>
          <p:grpSpPr bwMode="auto">
            <a:xfrm>
              <a:off x="6738690" y="3681820"/>
              <a:ext cx="1548073" cy="1642214"/>
              <a:chOff x="2519932" y="4360880"/>
              <a:chExt cx="1195387" cy="1338263"/>
            </a:xfrm>
            <a:pattFill prst="wdDnDiag">
              <a:fgClr>
                <a:srgbClr val="A2C613"/>
              </a:fgClr>
              <a:bgClr>
                <a:srgbClr val="00A194"/>
              </a:bgClr>
            </a:pattFill>
          </p:grpSpPr>
          <p:sp>
            <p:nvSpPr>
              <p:cNvPr id="497" name="Freeform 127">
                <a:extLst>
                  <a:ext uri="{FF2B5EF4-FFF2-40B4-BE49-F238E27FC236}">
                    <a16:creationId xmlns:a16="http://schemas.microsoft.com/office/drawing/2014/main" id="{565DF871-9D2F-2251-EB7B-2F5CFD90B167}"/>
                  </a:ext>
                </a:extLst>
              </p:cNvPr>
              <p:cNvSpPr>
                <a:spLocks/>
              </p:cNvSpPr>
              <p:nvPr/>
            </p:nvSpPr>
            <p:spPr bwMode="auto">
              <a:xfrm rot="21249101">
                <a:off x="3620069" y="5481655"/>
                <a:ext cx="95250" cy="217488"/>
              </a:xfrm>
              <a:custGeom>
                <a:avLst/>
                <a:gdLst>
                  <a:gd name="T0" fmla="*/ 2147483647 w 255"/>
                  <a:gd name="T1" fmla="*/ 0 h 588"/>
                  <a:gd name="T2" fmla="*/ 2147483647 w 255"/>
                  <a:gd name="T3" fmla="*/ 2147483647 h 588"/>
                  <a:gd name="T4" fmla="*/ 2147483647 w 255"/>
                  <a:gd name="T5" fmla="*/ 2147483647 h 588"/>
                  <a:gd name="T6" fmla="*/ 2147483647 w 255"/>
                  <a:gd name="T7" fmla="*/ 2147483647 h 588"/>
                  <a:gd name="T8" fmla="*/ 2147483647 w 255"/>
                  <a:gd name="T9" fmla="*/ 2147483647 h 588"/>
                  <a:gd name="T10" fmla="*/ 2147483647 w 255"/>
                  <a:gd name="T11" fmla="*/ 2147483647 h 588"/>
                  <a:gd name="T12" fmla="*/ 2147483647 w 255"/>
                  <a:gd name="T13" fmla="*/ 2147483647 h 588"/>
                  <a:gd name="T14" fmla="*/ 2147483647 w 255"/>
                  <a:gd name="T15" fmla="*/ 2147483647 h 588"/>
                  <a:gd name="T16" fmla="*/ 2147483647 w 255"/>
                  <a:gd name="T17" fmla="*/ 2147483647 h 588"/>
                  <a:gd name="T18" fmla="*/ 2147483647 w 255"/>
                  <a:gd name="T19" fmla="*/ 2147483647 h 588"/>
                  <a:gd name="T20" fmla="*/ 2147483647 w 255"/>
                  <a:gd name="T21" fmla="*/ 2147483647 h 588"/>
                  <a:gd name="T22" fmla="*/ 0 w 255"/>
                  <a:gd name="T23" fmla="*/ 2147483647 h 588"/>
                  <a:gd name="T24" fmla="*/ 2147483647 w 255"/>
                  <a:gd name="T25" fmla="*/ 2147483647 h 588"/>
                  <a:gd name="T26" fmla="*/ 2147483647 w 255"/>
                  <a:gd name="T27" fmla="*/ 2147483647 h 588"/>
                  <a:gd name="T28" fmla="*/ 2147483647 w 255"/>
                  <a:gd name="T29" fmla="*/ 2147483647 h 588"/>
                  <a:gd name="T30" fmla="*/ 2147483647 w 255"/>
                  <a:gd name="T31" fmla="*/ 2147483647 h 588"/>
                  <a:gd name="T32" fmla="*/ 2147483647 w 255"/>
                  <a:gd name="T33" fmla="*/ 2147483647 h 588"/>
                  <a:gd name="T34" fmla="*/ 2147483647 w 255"/>
                  <a:gd name="T35" fmla="*/ 2147483647 h 588"/>
                  <a:gd name="T36" fmla="*/ 2147483647 w 255"/>
                  <a:gd name="T37" fmla="*/ 2147483647 h 588"/>
                  <a:gd name="T38" fmla="*/ 2147483647 w 255"/>
                  <a:gd name="T39" fmla="*/ 0 h 58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55"/>
                  <a:gd name="T61" fmla="*/ 0 h 588"/>
                  <a:gd name="T62" fmla="*/ 255 w 255"/>
                  <a:gd name="T63" fmla="*/ 588 h 58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55" h="588">
                    <a:moveTo>
                      <a:pt x="232" y="0"/>
                    </a:moveTo>
                    <a:lnTo>
                      <a:pt x="255" y="15"/>
                    </a:lnTo>
                    <a:lnTo>
                      <a:pt x="250" y="296"/>
                    </a:lnTo>
                    <a:lnTo>
                      <a:pt x="118" y="588"/>
                    </a:lnTo>
                    <a:lnTo>
                      <a:pt x="100" y="546"/>
                    </a:lnTo>
                    <a:lnTo>
                      <a:pt x="74" y="537"/>
                    </a:lnTo>
                    <a:lnTo>
                      <a:pt x="43" y="515"/>
                    </a:lnTo>
                    <a:lnTo>
                      <a:pt x="32" y="485"/>
                    </a:lnTo>
                    <a:lnTo>
                      <a:pt x="41" y="444"/>
                    </a:lnTo>
                    <a:lnTo>
                      <a:pt x="10" y="427"/>
                    </a:lnTo>
                    <a:lnTo>
                      <a:pt x="14" y="292"/>
                    </a:lnTo>
                    <a:lnTo>
                      <a:pt x="0" y="264"/>
                    </a:lnTo>
                    <a:lnTo>
                      <a:pt x="11" y="187"/>
                    </a:lnTo>
                    <a:lnTo>
                      <a:pt x="43" y="126"/>
                    </a:lnTo>
                    <a:lnTo>
                      <a:pt x="63" y="134"/>
                    </a:lnTo>
                    <a:lnTo>
                      <a:pt x="96" y="127"/>
                    </a:lnTo>
                    <a:lnTo>
                      <a:pt x="154" y="94"/>
                    </a:lnTo>
                    <a:lnTo>
                      <a:pt x="200" y="88"/>
                    </a:lnTo>
                    <a:lnTo>
                      <a:pt x="215" y="67"/>
                    </a:lnTo>
                    <a:lnTo>
                      <a:pt x="232" y="0"/>
                    </a:lnTo>
                    <a:close/>
                  </a:path>
                </a:pathLst>
              </a:custGeom>
              <a:solidFill>
                <a:srgbClr val="7359A3"/>
              </a:solidFill>
              <a:ln w="12700">
                <a:solidFill>
                  <a:sysClr val="window" lastClr="FFFFFF"/>
                </a:solidFill>
                <a:round/>
                <a:headEnd/>
                <a:tailEnd/>
              </a:ln>
              <a:effectLst/>
            </p:spPr>
            <p:txBody>
              <a:bodyPr wrap="squar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1" u="none" strike="noStrike" kern="0" cap="none" spc="0" normalizeH="0" baseline="0" noProof="0" dirty="0">
                  <a:ln>
                    <a:noFill/>
                  </a:ln>
                  <a:solidFill>
                    <a:prstClr val="black"/>
                  </a:solidFill>
                  <a:effectLst/>
                  <a:uLnTx/>
                  <a:uFillTx/>
                  <a:latin typeface="Arial" panose="020B0604020202020204"/>
                </a:endParaRPr>
              </a:p>
            </p:txBody>
          </p:sp>
          <p:sp>
            <p:nvSpPr>
              <p:cNvPr id="498" name="Freeform 138">
                <a:extLst>
                  <a:ext uri="{FF2B5EF4-FFF2-40B4-BE49-F238E27FC236}">
                    <a16:creationId xmlns:a16="http://schemas.microsoft.com/office/drawing/2014/main" id="{508F9769-99FA-F577-B389-7D845BFBB2C3}"/>
                  </a:ext>
                </a:extLst>
              </p:cNvPr>
              <p:cNvSpPr>
                <a:spLocks/>
              </p:cNvSpPr>
              <p:nvPr/>
            </p:nvSpPr>
            <p:spPr bwMode="auto">
              <a:xfrm rot="21249101">
                <a:off x="2519932" y="4360880"/>
                <a:ext cx="1111250" cy="1157288"/>
              </a:xfrm>
              <a:custGeom>
                <a:avLst/>
                <a:gdLst>
                  <a:gd name="T0" fmla="*/ 2147483647 w 3018"/>
                  <a:gd name="T1" fmla="*/ 2147483647 h 3118"/>
                  <a:gd name="T2" fmla="*/ 2147483647 w 3018"/>
                  <a:gd name="T3" fmla="*/ 2147483647 h 3118"/>
                  <a:gd name="T4" fmla="*/ 2147483647 w 3018"/>
                  <a:gd name="T5" fmla="*/ 2147483647 h 3118"/>
                  <a:gd name="T6" fmla="*/ 2147483647 w 3018"/>
                  <a:gd name="T7" fmla="*/ 2147483647 h 3118"/>
                  <a:gd name="T8" fmla="*/ 2147483647 w 3018"/>
                  <a:gd name="T9" fmla="*/ 2147483647 h 3118"/>
                  <a:gd name="T10" fmla="*/ 2147483647 w 3018"/>
                  <a:gd name="T11" fmla="*/ 2147483647 h 3118"/>
                  <a:gd name="T12" fmla="*/ 2147483647 w 3018"/>
                  <a:gd name="T13" fmla="*/ 2147483647 h 3118"/>
                  <a:gd name="T14" fmla="*/ 2147483647 w 3018"/>
                  <a:gd name="T15" fmla="*/ 2147483647 h 3118"/>
                  <a:gd name="T16" fmla="*/ 2147483647 w 3018"/>
                  <a:gd name="T17" fmla="*/ 2147483647 h 3118"/>
                  <a:gd name="T18" fmla="*/ 2147483647 w 3018"/>
                  <a:gd name="T19" fmla="*/ 2147483647 h 3118"/>
                  <a:gd name="T20" fmla="*/ 2147483647 w 3018"/>
                  <a:gd name="T21" fmla="*/ 2147483647 h 3118"/>
                  <a:gd name="T22" fmla="*/ 2147483647 w 3018"/>
                  <a:gd name="T23" fmla="*/ 2147483647 h 3118"/>
                  <a:gd name="T24" fmla="*/ 2147483647 w 3018"/>
                  <a:gd name="T25" fmla="*/ 2147483647 h 3118"/>
                  <a:gd name="T26" fmla="*/ 2147483647 w 3018"/>
                  <a:gd name="T27" fmla="*/ 2147483647 h 3118"/>
                  <a:gd name="T28" fmla="*/ 2147483647 w 3018"/>
                  <a:gd name="T29" fmla="*/ 2147483647 h 3118"/>
                  <a:gd name="T30" fmla="*/ 2147483647 w 3018"/>
                  <a:gd name="T31" fmla="*/ 2147483647 h 3118"/>
                  <a:gd name="T32" fmla="*/ 2147483647 w 3018"/>
                  <a:gd name="T33" fmla="*/ 2147483647 h 3118"/>
                  <a:gd name="T34" fmla="*/ 2147483647 w 3018"/>
                  <a:gd name="T35" fmla="*/ 2147483647 h 3118"/>
                  <a:gd name="T36" fmla="*/ 2147483647 w 3018"/>
                  <a:gd name="T37" fmla="*/ 2147483647 h 3118"/>
                  <a:gd name="T38" fmla="*/ 2147483647 w 3018"/>
                  <a:gd name="T39" fmla="*/ 2147483647 h 3118"/>
                  <a:gd name="T40" fmla="*/ 2147483647 w 3018"/>
                  <a:gd name="T41" fmla="*/ 2147483647 h 3118"/>
                  <a:gd name="T42" fmla="*/ 2147483647 w 3018"/>
                  <a:gd name="T43" fmla="*/ 2147483647 h 3118"/>
                  <a:gd name="T44" fmla="*/ 2147483647 w 3018"/>
                  <a:gd name="T45" fmla="*/ 2147483647 h 3118"/>
                  <a:gd name="T46" fmla="*/ 2147483647 w 3018"/>
                  <a:gd name="T47" fmla="*/ 2147483647 h 3118"/>
                  <a:gd name="T48" fmla="*/ 2147483647 w 3018"/>
                  <a:gd name="T49" fmla="*/ 2147483647 h 3118"/>
                  <a:gd name="T50" fmla="*/ 2147483647 w 3018"/>
                  <a:gd name="T51" fmla="*/ 2147483647 h 3118"/>
                  <a:gd name="T52" fmla="*/ 2147483647 w 3018"/>
                  <a:gd name="T53" fmla="*/ 2147483647 h 3118"/>
                  <a:gd name="T54" fmla="*/ 2147483647 w 3018"/>
                  <a:gd name="T55" fmla="*/ 2147483647 h 3118"/>
                  <a:gd name="T56" fmla="*/ 2147483647 w 3018"/>
                  <a:gd name="T57" fmla="*/ 2147483647 h 3118"/>
                  <a:gd name="T58" fmla="*/ 2147483647 w 3018"/>
                  <a:gd name="T59" fmla="*/ 2147483647 h 3118"/>
                  <a:gd name="T60" fmla="*/ 2147483647 w 3018"/>
                  <a:gd name="T61" fmla="*/ 2147483647 h 3118"/>
                  <a:gd name="T62" fmla="*/ 2147483647 w 3018"/>
                  <a:gd name="T63" fmla="*/ 2147483647 h 3118"/>
                  <a:gd name="T64" fmla="*/ 2147483647 w 3018"/>
                  <a:gd name="T65" fmla="*/ 2147483647 h 3118"/>
                  <a:gd name="T66" fmla="*/ 2147483647 w 3018"/>
                  <a:gd name="T67" fmla="*/ 2147483647 h 3118"/>
                  <a:gd name="T68" fmla="*/ 2147483647 w 3018"/>
                  <a:gd name="T69" fmla="*/ 2147483647 h 3118"/>
                  <a:gd name="T70" fmla="*/ 2147483647 w 3018"/>
                  <a:gd name="T71" fmla="*/ 2147483647 h 3118"/>
                  <a:gd name="T72" fmla="*/ 2147483647 w 3018"/>
                  <a:gd name="T73" fmla="*/ 2147483647 h 3118"/>
                  <a:gd name="T74" fmla="*/ 2147483647 w 3018"/>
                  <a:gd name="T75" fmla="*/ 2147483647 h 3118"/>
                  <a:gd name="T76" fmla="*/ 2147483647 w 3018"/>
                  <a:gd name="T77" fmla="*/ 2147483647 h 3118"/>
                  <a:gd name="T78" fmla="*/ 2147483647 w 3018"/>
                  <a:gd name="T79" fmla="*/ 2147483647 h 3118"/>
                  <a:gd name="T80" fmla="*/ 2147483647 w 3018"/>
                  <a:gd name="T81" fmla="*/ 2147483647 h 3118"/>
                  <a:gd name="T82" fmla="*/ 2147483647 w 3018"/>
                  <a:gd name="T83" fmla="*/ 2147483647 h 3118"/>
                  <a:gd name="T84" fmla="*/ 2147483647 w 3018"/>
                  <a:gd name="T85" fmla="*/ 2147483647 h 3118"/>
                  <a:gd name="T86" fmla="*/ 2147483647 w 3018"/>
                  <a:gd name="T87" fmla="*/ 2147483647 h 3118"/>
                  <a:gd name="T88" fmla="*/ 2147483647 w 3018"/>
                  <a:gd name="T89" fmla="*/ 2147483647 h 3118"/>
                  <a:gd name="T90" fmla="*/ 2147483647 w 3018"/>
                  <a:gd name="T91" fmla="*/ 2147483647 h 3118"/>
                  <a:gd name="T92" fmla="*/ 2147483647 w 3018"/>
                  <a:gd name="T93" fmla="*/ 2147483647 h 3118"/>
                  <a:gd name="T94" fmla="*/ 2147483647 w 3018"/>
                  <a:gd name="T95" fmla="*/ 2147483647 h 3118"/>
                  <a:gd name="T96" fmla="*/ 2147483647 w 3018"/>
                  <a:gd name="T97" fmla="*/ 2147483647 h 3118"/>
                  <a:gd name="T98" fmla="*/ 2147483647 w 3018"/>
                  <a:gd name="T99" fmla="*/ 2147483647 h 311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018"/>
                  <a:gd name="T151" fmla="*/ 0 h 3118"/>
                  <a:gd name="T152" fmla="*/ 3018 w 3018"/>
                  <a:gd name="T153" fmla="*/ 3118 h 311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018" h="3118">
                    <a:moveTo>
                      <a:pt x="1969" y="0"/>
                    </a:moveTo>
                    <a:lnTo>
                      <a:pt x="1948" y="9"/>
                    </a:lnTo>
                    <a:lnTo>
                      <a:pt x="1740" y="17"/>
                    </a:lnTo>
                    <a:lnTo>
                      <a:pt x="1648" y="208"/>
                    </a:lnTo>
                    <a:lnTo>
                      <a:pt x="1660" y="229"/>
                    </a:lnTo>
                    <a:lnTo>
                      <a:pt x="1649" y="256"/>
                    </a:lnTo>
                    <a:lnTo>
                      <a:pt x="1519" y="321"/>
                    </a:lnTo>
                    <a:lnTo>
                      <a:pt x="1302" y="354"/>
                    </a:lnTo>
                    <a:lnTo>
                      <a:pt x="1260" y="399"/>
                    </a:lnTo>
                    <a:lnTo>
                      <a:pt x="1257" y="422"/>
                    </a:lnTo>
                    <a:lnTo>
                      <a:pt x="1339" y="455"/>
                    </a:lnTo>
                    <a:lnTo>
                      <a:pt x="1328" y="467"/>
                    </a:lnTo>
                    <a:lnTo>
                      <a:pt x="1240" y="453"/>
                    </a:lnTo>
                    <a:lnTo>
                      <a:pt x="1189" y="472"/>
                    </a:lnTo>
                    <a:lnTo>
                      <a:pt x="1106" y="457"/>
                    </a:lnTo>
                    <a:lnTo>
                      <a:pt x="990" y="396"/>
                    </a:lnTo>
                    <a:lnTo>
                      <a:pt x="967" y="392"/>
                    </a:lnTo>
                    <a:lnTo>
                      <a:pt x="935" y="311"/>
                    </a:lnTo>
                    <a:lnTo>
                      <a:pt x="950" y="276"/>
                    </a:lnTo>
                    <a:lnTo>
                      <a:pt x="937" y="264"/>
                    </a:lnTo>
                    <a:lnTo>
                      <a:pt x="850" y="243"/>
                    </a:lnTo>
                    <a:lnTo>
                      <a:pt x="814" y="219"/>
                    </a:lnTo>
                    <a:lnTo>
                      <a:pt x="798" y="345"/>
                    </a:lnTo>
                    <a:lnTo>
                      <a:pt x="819" y="374"/>
                    </a:lnTo>
                    <a:lnTo>
                      <a:pt x="796" y="585"/>
                    </a:lnTo>
                    <a:lnTo>
                      <a:pt x="818" y="612"/>
                    </a:lnTo>
                    <a:lnTo>
                      <a:pt x="795" y="626"/>
                    </a:lnTo>
                    <a:lnTo>
                      <a:pt x="746" y="616"/>
                    </a:lnTo>
                    <a:lnTo>
                      <a:pt x="736" y="593"/>
                    </a:lnTo>
                    <a:lnTo>
                      <a:pt x="720" y="580"/>
                    </a:lnTo>
                    <a:lnTo>
                      <a:pt x="651" y="583"/>
                    </a:lnTo>
                    <a:lnTo>
                      <a:pt x="617" y="566"/>
                    </a:lnTo>
                    <a:lnTo>
                      <a:pt x="533" y="568"/>
                    </a:lnTo>
                    <a:lnTo>
                      <a:pt x="457" y="445"/>
                    </a:lnTo>
                    <a:lnTo>
                      <a:pt x="382" y="427"/>
                    </a:lnTo>
                    <a:lnTo>
                      <a:pt x="367" y="414"/>
                    </a:lnTo>
                    <a:lnTo>
                      <a:pt x="341" y="419"/>
                    </a:lnTo>
                    <a:lnTo>
                      <a:pt x="328" y="440"/>
                    </a:lnTo>
                    <a:lnTo>
                      <a:pt x="48" y="428"/>
                    </a:lnTo>
                    <a:lnTo>
                      <a:pt x="19" y="465"/>
                    </a:lnTo>
                    <a:lnTo>
                      <a:pt x="12" y="487"/>
                    </a:lnTo>
                    <a:lnTo>
                      <a:pt x="100" y="506"/>
                    </a:lnTo>
                    <a:lnTo>
                      <a:pt x="85" y="524"/>
                    </a:lnTo>
                    <a:lnTo>
                      <a:pt x="62" y="519"/>
                    </a:lnTo>
                    <a:lnTo>
                      <a:pt x="36" y="538"/>
                    </a:lnTo>
                    <a:lnTo>
                      <a:pt x="36" y="562"/>
                    </a:lnTo>
                    <a:lnTo>
                      <a:pt x="112" y="580"/>
                    </a:lnTo>
                    <a:lnTo>
                      <a:pt x="92" y="609"/>
                    </a:lnTo>
                    <a:lnTo>
                      <a:pt x="0" y="597"/>
                    </a:lnTo>
                    <a:lnTo>
                      <a:pt x="14" y="625"/>
                    </a:lnTo>
                    <a:lnTo>
                      <a:pt x="62" y="664"/>
                    </a:lnTo>
                    <a:lnTo>
                      <a:pt x="48" y="707"/>
                    </a:lnTo>
                    <a:lnTo>
                      <a:pt x="94" y="731"/>
                    </a:lnTo>
                    <a:lnTo>
                      <a:pt x="100" y="703"/>
                    </a:lnTo>
                    <a:lnTo>
                      <a:pt x="140" y="713"/>
                    </a:lnTo>
                    <a:lnTo>
                      <a:pt x="285" y="845"/>
                    </a:lnTo>
                    <a:lnTo>
                      <a:pt x="290" y="873"/>
                    </a:lnTo>
                    <a:lnTo>
                      <a:pt x="311" y="888"/>
                    </a:lnTo>
                    <a:lnTo>
                      <a:pt x="368" y="886"/>
                    </a:lnTo>
                    <a:lnTo>
                      <a:pt x="395" y="906"/>
                    </a:lnTo>
                    <a:lnTo>
                      <a:pt x="370" y="916"/>
                    </a:lnTo>
                    <a:lnTo>
                      <a:pt x="414" y="950"/>
                    </a:lnTo>
                    <a:lnTo>
                      <a:pt x="449" y="941"/>
                    </a:lnTo>
                    <a:lnTo>
                      <a:pt x="459" y="952"/>
                    </a:lnTo>
                    <a:lnTo>
                      <a:pt x="429" y="1023"/>
                    </a:lnTo>
                    <a:lnTo>
                      <a:pt x="486" y="1056"/>
                    </a:lnTo>
                    <a:lnTo>
                      <a:pt x="554" y="1061"/>
                    </a:lnTo>
                    <a:lnTo>
                      <a:pt x="593" y="1092"/>
                    </a:lnTo>
                    <a:lnTo>
                      <a:pt x="512" y="1095"/>
                    </a:lnTo>
                    <a:lnTo>
                      <a:pt x="506" y="1117"/>
                    </a:lnTo>
                    <a:lnTo>
                      <a:pt x="526" y="1159"/>
                    </a:lnTo>
                    <a:lnTo>
                      <a:pt x="495" y="1188"/>
                    </a:lnTo>
                    <a:lnTo>
                      <a:pt x="477" y="1156"/>
                    </a:lnTo>
                    <a:lnTo>
                      <a:pt x="464" y="1190"/>
                    </a:lnTo>
                    <a:lnTo>
                      <a:pt x="515" y="1308"/>
                    </a:lnTo>
                    <a:lnTo>
                      <a:pt x="515" y="1347"/>
                    </a:lnTo>
                    <a:lnTo>
                      <a:pt x="604" y="1445"/>
                    </a:lnTo>
                    <a:lnTo>
                      <a:pt x="662" y="1481"/>
                    </a:lnTo>
                    <a:lnTo>
                      <a:pt x="640" y="1510"/>
                    </a:lnTo>
                    <a:lnTo>
                      <a:pt x="649" y="1554"/>
                    </a:lnTo>
                    <a:lnTo>
                      <a:pt x="633" y="1612"/>
                    </a:lnTo>
                    <a:lnTo>
                      <a:pt x="594" y="1655"/>
                    </a:lnTo>
                    <a:lnTo>
                      <a:pt x="600" y="1704"/>
                    </a:lnTo>
                    <a:lnTo>
                      <a:pt x="638" y="1746"/>
                    </a:lnTo>
                    <a:lnTo>
                      <a:pt x="659" y="1802"/>
                    </a:lnTo>
                    <a:lnTo>
                      <a:pt x="657" y="1867"/>
                    </a:lnTo>
                    <a:lnTo>
                      <a:pt x="604" y="1749"/>
                    </a:lnTo>
                    <a:lnTo>
                      <a:pt x="581" y="1779"/>
                    </a:lnTo>
                    <a:lnTo>
                      <a:pt x="479" y="2045"/>
                    </a:lnTo>
                    <a:lnTo>
                      <a:pt x="515" y="2016"/>
                    </a:lnTo>
                    <a:lnTo>
                      <a:pt x="521" y="2053"/>
                    </a:lnTo>
                    <a:lnTo>
                      <a:pt x="469" y="2083"/>
                    </a:lnTo>
                    <a:lnTo>
                      <a:pt x="291" y="2447"/>
                    </a:lnTo>
                    <a:lnTo>
                      <a:pt x="234" y="2465"/>
                    </a:lnTo>
                    <a:lnTo>
                      <a:pt x="188" y="2447"/>
                    </a:lnTo>
                    <a:lnTo>
                      <a:pt x="192" y="2470"/>
                    </a:lnTo>
                    <a:lnTo>
                      <a:pt x="306" y="2616"/>
                    </a:lnTo>
                    <a:lnTo>
                      <a:pt x="354" y="2642"/>
                    </a:lnTo>
                    <a:lnTo>
                      <a:pt x="424" y="2726"/>
                    </a:lnTo>
                    <a:lnTo>
                      <a:pt x="696" y="2869"/>
                    </a:lnTo>
                    <a:lnTo>
                      <a:pt x="729" y="2871"/>
                    </a:lnTo>
                    <a:lnTo>
                      <a:pt x="785" y="2849"/>
                    </a:lnTo>
                    <a:lnTo>
                      <a:pt x="827" y="2849"/>
                    </a:lnTo>
                    <a:lnTo>
                      <a:pt x="922" y="2938"/>
                    </a:lnTo>
                    <a:lnTo>
                      <a:pt x="984" y="2961"/>
                    </a:lnTo>
                    <a:lnTo>
                      <a:pt x="1047" y="3047"/>
                    </a:lnTo>
                    <a:lnTo>
                      <a:pt x="1081" y="3068"/>
                    </a:lnTo>
                    <a:lnTo>
                      <a:pt x="1381" y="3118"/>
                    </a:lnTo>
                    <a:lnTo>
                      <a:pt x="1400" y="2976"/>
                    </a:lnTo>
                    <a:lnTo>
                      <a:pt x="1386" y="2952"/>
                    </a:lnTo>
                    <a:lnTo>
                      <a:pt x="1412" y="2886"/>
                    </a:lnTo>
                    <a:lnTo>
                      <a:pt x="1452" y="2840"/>
                    </a:lnTo>
                    <a:lnTo>
                      <a:pt x="1610" y="2797"/>
                    </a:lnTo>
                    <a:lnTo>
                      <a:pt x="1640" y="2776"/>
                    </a:lnTo>
                    <a:lnTo>
                      <a:pt x="1689" y="2763"/>
                    </a:lnTo>
                    <a:lnTo>
                      <a:pt x="1714" y="2769"/>
                    </a:lnTo>
                    <a:lnTo>
                      <a:pt x="1729" y="2789"/>
                    </a:lnTo>
                    <a:lnTo>
                      <a:pt x="1798" y="2815"/>
                    </a:lnTo>
                    <a:lnTo>
                      <a:pt x="1810" y="2826"/>
                    </a:lnTo>
                    <a:lnTo>
                      <a:pt x="1818" y="2846"/>
                    </a:lnTo>
                    <a:lnTo>
                      <a:pt x="1896" y="2874"/>
                    </a:lnTo>
                    <a:lnTo>
                      <a:pt x="1908" y="2858"/>
                    </a:lnTo>
                    <a:lnTo>
                      <a:pt x="1950" y="2869"/>
                    </a:lnTo>
                    <a:lnTo>
                      <a:pt x="1962" y="2881"/>
                    </a:lnTo>
                    <a:lnTo>
                      <a:pt x="1997" y="2891"/>
                    </a:lnTo>
                    <a:lnTo>
                      <a:pt x="2024" y="2908"/>
                    </a:lnTo>
                    <a:lnTo>
                      <a:pt x="2027" y="2934"/>
                    </a:lnTo>
                    <a:lnTo>
                      <a:pt x="2043" y="2944"/>
                    </a:lnTo>
                    <a:lnTo>
                      <a:pt x="2097" y="2958"/>
                    </a:lnTo>
                    <a:lnTo>
                      <a:pt x="2133" y="3006"/>
                    </a:lnTo>
                    <a:lnTo>
                      <a:pt x="2207" y="3025"/>
                    </a:lnTo>
                    <a:lnTo>
                      <a:pt x="2328" y="2996"/>
                    </a:lnTo>
                    <a:lnTo>
                      <a:pt x="2342" y="2985"/>
                    </a:lnTo>
                    <a:lnTo>
                      <a:pt x="2350" y="2956"/>
                    </a:lnTo>
                    <a:lnTo>
                      <a:pt x="2493" y="2877"/>
                    </a:lnTo>
                    <a:lnTo>
                      <a:pt x="2502" y="2858"/>
                    </a:lnTo>
                    <a:lnTo>
                      <a:pt x="2598" y="2827"/>
                    </a:lnTo>
                    <a:lnTo>
                      <a:pt x="2605" y="2819"/>
                    </a:lnTo>
                    <a:lnTo>
                      <a:pt x="2605" y="2802"/>
                    </a:lnTo>
                    <a:lnTo>
                      <a:pt x="2619" y="2772"/>
                    </a:lnTo>
                    <a:lnTo>
                      <a:pt x="2624" y="2732"/>
                    </a:lnTo>
                    <a:lnTo>
                      <a:pt x="2616" y="2692"/>
                    </a:lnTo>
                    <a:lnTo>
                      <a:pt x="2502" y="2659"/>
                    </a:lnTo>
                    <a:lnTo>
                      <a:pt x="2481" y="2614"/>
                    </a:lnTo>
                    <a:lnTo>
                      <a:pt x="2481" y="2509"/>
                    </a:lnTo>
                    <a:lnTo>
                      <a:pt x="2497" y="2466"/>
                    </a:lnTo>
                    <a:lnTo>
                      <a:pt x="2500" y="2430"/>
                    </a:lnTo>
                    <a:lnTo>
                      <a:pt x="2463" y="2408"/>
                    </a:lnTo>
                    <a:lnTo>
                      <a:pt x="2458" y="2387"/>
                    </a:lnTo>
                    <a:lnTo>
                      <a:pt x="2459" y="2364"/>
                    </a:lnTo>
                    <a:lnTo>
                      <a:pt x="2474" y="2327"/>
                    </a:lnTo>
                    <a:lnTo>
                      <a:pt x="2504" y="2300"/>
                    </a:lnTo>
                    <a:lnTo>
                      <a:pt x="2560" y="2272"/>
                    </a:lnTo>
                    <a:lnTo>
                      <a:pt x="2525" y="2075"/>
                    </a:lnTo>
                    <a:lnTo>
                      <a:pt x="2532" y="2053"/>
                    </a:lnTo>
                    <a:lnTo>
                      <a:pt x="2579" y="2059"/>
                    </a:lnTo>
                    <a:lnTo>
                      <a:pt x="2574" y="2007"/>
                    </a:lnTo>
                    <a:lnTo>
                      <a:pt x="2542" y="1993"/>
                    </a:lnTo>
                    <a:lnTo>
                      <a:pt x="2553" y="1866"/>
                    </a:lnTo>
                    <a:lnTo>
                      <a:pt x="2541" y="1855"/>
                    </a:lnTo>
                    <a:lnTo>
                      <a:pt x="2461" y="1841"/>
                    </a:lnTo>
                    <a:lnTo>
                      <a:pt x="2399" y="1908"/>
                    </a:lnTo>
                    <a:lnTo>
                      <a:pt x="2366" y="1922"/>
                    </a:lnTo>
                    <a:lnTo>
                      <a:pt x="2351" y="1908"/>
                    </a:lnTo>
                    <a:lnTo>
                      <a:pt x="2401" y="1757"/>
                    </a:lnTo>
                    <a:lnTo>
                      <a:pt x="2423" y="1743"/>
                    </a:lnTo>
                    <a:lnTo>
                      <a:pt x="2444" y="1717"/>
                    </a:lnTo>
                    <a:lnTo>
                      <a:pt x="2478" y="1703"/>
                    </a:lnTo>
                    <a:lnTo>
                      <a:pt x="2488" y="1692"/>
                    </a:lnTo>
                    <a:lnTo>
                      <a:pt x="2507" y="1650"/>
                    </a:lnTo>
                    <a:lnTo>
                      <a:pt x="2663" y="1522"/>
                    </a:lnTo>
                    <a:lnTo>
                      <a:pt x="2650" y="1495"/>
                    </a:lnTo>
                    <a:lnTo>
                      <a:pt x="2674" y="1469"/>
                    </a:lnTo>
                    <a:lnTo>
                      <a:pt x="2750" y="1488"/>
                    </a:lnTo>
                    <a:lnTo>
                      <a:pt x="2782" y="1479"/>
                    </a:lnTo>
                    <a:lnTo>
                      <a:pt x="2818" y="1457"/>
                    </a:lnTo>
                    <a:lnTo>
                      <a:pt x="2813" y="1443"/>
                    </a:lnTo>
                    <a:lnTo>
                      <a:pt x="2837" y="1278"/>
                    </a:lnTo>
                    <a:lnTo>
                      <a:pt x="2909" y="1125"/>
                    </a:lnTo>
                    <a:lnTo>
                      <a:pt x="3000" y="1038"/>
                    </a:lnTo>
                    <a:lnTo>
                      <a:pt x="3018" y="990"/>
                    </a:lnTo>
                    <a:lnTo>
                      <a:pt x="2719" y="851"/>
                    </a:lnTo>
                    <a:lnTo>
                      <a:pt x="2702" y="802"/>
                    </a:lnTo>
                    <a:lnTo>
                      <a:pt x="2632" y="711"/>
                    </a:lnTo>
                    <a:lnTo>
                      <a:pt x="2580" y="705"/>
                    </a:lnTo>
                    <a:lnTo>
                      <a:pt x="2514" y="672"/>
                    </a:lnTo>
                    <a:lnTo>
                      <a:pt x="2477" y="673"/>
                    </a:lnTo>
                    <a:lnTo>
                      <a:pt x="2433" y="654"/>
                    </a:lnTo>
                    <a:lnTo>
                      <a:pt x="2363" y="581"/>
                    </a:lnTo>
                    <a:lnTo>
                      <a:pt x="2378" y="559"/>
                    </a:lnTo>
                    <a:lnTo>
                      <a:pt x="2360" y="544"/>
                    </a:lnTo>
                    <a:lnTo>
                      <a:pt x="2379" y="447"/>
                    </a:lnTo>
                    <a:lnTo>
                      <a:pt x="2355" y="441"/>
                    </a:lnTo>
                    <a:lnTo>
                      <a:pt x="2296" y="496"/>
                    </a:lnTo>
                    <a:lnTo>
                      <a:pt x="2254" y="486"/>
                    </a:lnTo>
                    <a:lnTo>
                      <a:pt x="2216" y="461"/>
                    </a:lnTo>
                    <a:lnTo>
                      <a:pt x="2217" y="357"/>
                    </a:lnTo>
                    <a:lnTo>
                      <a:pt x="2200" y="329"/>
                    </a:lnTo>
                    <a:lnTo>
                      <a:pt x="2062" y="231"/>
                    </a:lnTo>
                    <a:lnTo>
                      <a:pt x="2043" y="145"/>
                    </a:lnTo>
                    <a:lnTo>
                      <a:pt x="1997" y="140"/>
                    </a:lnTo>
                    <a:lnTo>
                      <a:pt x="1955" y="107"/>
                    </a:lnTo>
                    <a:lnTo>
                      <a:pt x="1969" y="0"/>
                    </a:lnTo>
                  </a:path>
                </a:pathLst>
              </a:custGeom>
              <a:grpFill/>
              <a:ln w="12700">
                <a:solidFill>
                  <a:sysClr val="window" lastClr="FFFFFF"/>
                </a:solidFill>
                <a:round/>
                <a:headEnd/>
                <a:tailEnd/>
              </a:ln>
              <a:effectLst/>
            </p:spPr>
            <p:txBody>
              <a:bodyPr wrap="squar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1" u="none" strike="noStrike" kern="0" cap="none" spc="0" normalizeH="0" baseline="0" noProof="0" dirty="0">
                  <a:ln>
                    <a:noFill/>
                  </a:ln>
                  <a:solidFill>
                    <a:prstClr val="black"/>
                  </a:solidFill>
                  <a:effectLst/>
                  <a:uLnTx/>
                  <a:uFillTx/>
                  <a:latin typeface="Arial" panose="020B0604020202020204"/>
                </a:endParaRPr>
              </a:p>
            </p:txBody>
          </p:sp>
        </p:grpSp>
        <p:sp>
          <p:nvSpPr>
            <p:cNvPr id="499" name="FI">
              <a:extLst>
                <a:ext uri="{FF2B5EF4-FFF2-40B4-BE49-F238E27FC236}">
                  <a16:creationId xmlns:a16="http://schemas.microsoft.com/office/drawing/2014/main" id="{985732B2-5596-18B2-E738-BC4296D20CBA}"/>
                </a:ext>
              </a:extLst>
            </p:cNvPr>
            <p:cNvSpPr>
              <a:spLocks/>
            </p:cNvSpPr>
            <p:nvPr/>
          </p:nvSpPr>
          <p:spPr bwMode="auto">
            <a:xfrm rot="21249101">
              <a:off x="9253467" y="477445"/>
              <a:ext cx="870807" cy="1712657"/>
            </a:xfrm>
            <a:custGeom>
              <a:avLst/>
              <a:gdLst>
                <a:gd name="T0" fmla="*/ 2147483647 w 1830"/>
                <a:gd name="T1" fmla="*/ 2147483647 h 3757"/>
                <a:gd name="T2" fmla="*/ 2147483647 w 1830"/>
                <a:gd name="T3" fmla="*/ 2147483647 h 3757"/>
                <a:gd name="T4" fmla="*/ 2147483647 w 1830"/>
                <a:gd name="T5" fmla="*/ 2147483647 h 3757"/>
                <a:gd name="T6" fmla="*/ 2147483647 w 1830"/>
                <a:gd name="T7" fmla="*/ 2147483647 h 3757"/>
                <a:gd name="T8" fmla="*/ 2147483647 w 1830"/>
                <a:gd name="T9" fmla="*/ 2147483647 h 3757"/>
                <a:gd name="T10" fmla="*/ 2147483647 w 1830"/>
                <a:gd name="T11" fmla="*/ 2147483647 h 3757"/>
                <a:gd name="T12" fmla="*/ 2147483647 w 1830"/>
                <a:gd name="T13" fmla="*/ 2147483647 h 3757"/>
                <a:gd name="T14" fmla="*/ 2147483647 w 1830"/>
                <a:gd name="T15" fmla="*/ 2147483647 h 3757"/>
                <a:gd name="T16" fmla="*/ 2147483647 w 1830"/>
                <a:gd name="T17" fmla="*/ 2147483647 h 3757"/>
                <a:gd name="T18" fmla="*/ 2147483647 w 1830"/>
                <a:gd name="T19" fmla="*/ 2147483647 h 3757"/>
                <a:gd name="T20" fmla="*/ 2147483647 w 1830"/>
                <a:gd name="T21" fmla="*/ 2147483647 h 3757"/>
                <a:gd name="T22" fmla="*/ 2147483647 w 1830"/>
                <a:gd name="T23" fmla="*/ 2147483647 h 3757"/>
                <a:gd name="T24" fmla="*/ 2147483647 w 1830"/>
                <a:gd name="T25" fmla="*/ 2147483647 h 3757"/>
                <a:gd name="T26" fmla="*/ 2147483647 w 1830"/>
                <a:gd name="T27" fmla="*/ 2147483647 h 3757"/>
                <a:gd name="T28" fmla="*/ 2147483647 w 1830"/>
                <a:gd name="T29" fmla="*/ 2147483647 h 3757"/>
                <a:gd name="T30" fmla="*/ 2147483647 w 1830"/>
                <a:gd name="T31" fmla="*/ 2147483647 h 3757"/>
                <a:gd name="T32" fmla="*/ 2147483647 w 1830"/>
                <a:gd name="T33" fmla="*/ 2147483647 h 3757"/>
                <a:gd name="T34" fmla="*/ 2147483647 w 1830"/>
                <a:gd name="T35" fmla="*/ 2147483647 h 3757"/>
                <a:gd name="T36" fmla="*/ 2147483647 w 1830"/>
                <a:gd name="T37" fmla="*/ 2147483647 h 3757"/>
                <a:gd name="T38" fmla="*/ 2147483647 w 1830"/>
                <a:gd name="T39" fmla="*/ 2147483647 h 3757"/>
                <a:gd name="T40" fmla="*/ 2147483647 w 1830"/>
                <a:gd name="T41" fmla="*/ 2147483647 h 3757"/>
                <a:gd name="T42" fmla="*/ 2147483647 w 1830"/>
                <a:gd name="T43" fmla="*/ 2147483647 h 3757"/>
                <a:gd name="T44" fmla="*/ 2147483647 w 1830"/>
                <a:gd name="T45" fmla="*/ 2147483647 h 3757"/>
                <a:gd name="T46" fmla="*/ 2147483647 w 1830"/>
                <a:gd name="T47" fmla="*/ 2147483647 h 3757"/>
                <a:gd name="T48" fmla="*/ 2147483647 w 1830"/>
                <a:gd name="T49" fmla="*/ 2147483647 h 3757"/>
                <a:gd name="T50" fmla="*/ 2147483647 w 1830"/>
                <a:gd name="T51" fmla="*/ 2147483647 h 3757"/>
                <a:gd name="T52" fmla="*/ 2147483647 w 1830"/>
                <a:gd name="T53" fmla="*/ 2147483647 h 3757"/>
                <a:gd name="T54" fmla="*/ 2147483647 w 1830"/>
                <a:gd name="T55" fmla="*/ 2147483647 h 3757"/>
                <a:gd name="T56" fmla="*/ 2147483647 w 1830"/>
                <a:gd name="T57" fmla="*/ 2147483647 h 3757"/>
                <a:gd name="T58" fmla="*/ 2147483647 w 1830"/>
                <a:gd name="T59" fmla="*/ 2147483647 h 3757"/>
                <a:gd name="T60" fmla="*/ 2147483647 w 1830"/>
                <a:gd name="T61" fmla="*/ 2147483647 h 3757"/>
                <a:gd name="T62" fmla="*/ 2147483647 w 1830"/>
                <a:gd name="T63" fmla="*/ 2147483647 h 3757"/>
                <a:gd name="T64" fmla="*/ 2147483647 w 1830"/>
                <a:gd name="T65" fmla="*/ 2147483647 h 3757"/>
                <a:gd name="T66" fmla="*/ 2147483647 w 1830"/>
                <a:gd name="T67" fmla="*/ 2147483647 h 3757"/>
                <a:gd name="T68" fmla="*/ 2147483647 w 1830"/>
                <a:gd name="T69" fmla="*/ 2147483647 h 3757"/>
                <a:gd name="T70" fmla="*/ 2147483647 w 1830"/>
                <a:gd name="T71" fmla="*/ 2147483647 h 3757"/>
                <a:gd name="T72" fmla="*/ 2147483647 w 1830"/>
                <a:gd name="T73" fmla="*/ 2147483647 h 3757"/>
                <a:gd name="T74" fmla="*/ 2147483647 w 1830"/>
                <a:gd name="T75" fmla="*/ 2147483647 h 3757"/>
                <a:gd name="T76" fmla="*/ 2147483647 w 1830"/>
                <a:gd name="T77" fmla="*/ 2147483647 h 3757"/>
                <a:gd name="T78" fmla="*/ 2147483647 w 1830"/>
                <a:gd name="T79" fmla="*/ 2147483647 h 3757"/>
                <a:gd name="T80" fmla="*/ 2147483647 w 1830"/>
                <a:gd name="T81" fmla="*/ 2147483647 h 3757"/>
                <a:gd name="T82" fmla="*/ 2147483647 w 1830"/>
                <a:gd name="T83" fmla="*/ 2147483647 h 3757"/>
                <a:gd name="T84" fmla="*/ 2147483647 w 1830"/>
                <a:gd name="T85" fmla="*/ 2147483647 h 3757"/>
                <a:gd name="T86" fmla="*/ 2147483647 w 1830"/>
                <a:gd name="T87" fmla="*/ 2147483647 h 3757"/>
                <a:gd name="T88" fmla="*/ 2147483647 w 1830"/>
                <a:gd name="T89" fmla="*/ 2147483647 h 3757"/>
                <a:gd name="T90" fmla="*/ 2147483647 w 1830"/>
                <a:gd name="T91" fmla="*/ 2147483647 h 3757"/>
                <a:gd name="T92" fmla="*/ 2147483647 w 1830"/>
                <a:gd name="T93" fmla="*/ 2147483647 h 3757"/>
                <a:gd name="T94" fmla="*/ 2147483647 w 1830"/>
                <a:gd name="T95" fmla="*/ 2147483647 h 3757"/>
                <a:gd name="T96" fmla="*/ 2147483647 w 1830"/>
                <a:gd name="T97" fmla="*/ 2147483647 h 3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30"/>
                <a:gd name="T148" fmla="*/ 0 h 3757"/>
                <a:gd name="T149" fmla="*/ 1830 w 1830"/>
                <a:gd name="T150" fmla="*/ 3757 h 375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30" h="3757">
                  <a:moveTo>
                    <a:pt x="0" y="423"/>
                  </a:moveTo>
                  <a:lnTo>
                    <a:pt x="6" y="423"/>
                  </a:lnTo>
                  <a:lnTo>
                    <a:pt x="12" y="435"/>
                  </a:lnTo>
                  <a:lnTo>
                    <a:pt x="192" y="613"/>
                  </a:lnTo>
                  <a:lnTo>
                    <a:pt x="279" y="638"/>
                  </a:lnTo>
                  <a:lnTo>
                    <a:pt x="326" y="676"/>
                  </a:lnTo>
                  <a:lnTo>
                    <a:pt x="422" y="830"/>
                  </a:lnTo>
                  <a:lnTo>
                    <a:pt x="409" y="902"/>
                  </a:lnTo>
                  <a:lnTo>
                    <a:pt x="420" y="991"/>
                  </a:lnTo>
                  <a:lnTo>
                    <a:pt x="433" y="1008"/>
                  </a:lnTo>
                  <a:lnTo>
                    <a:pt x="440" y="1046"/>
                  </a:lnTo>
                  <a:lnTo>
                    <a:pt x="426" y="1099"/>
                  </a:lnTo>
                  <a:lnTo>
                    <a:pt x="436" y="1141"/>
                  </a:lnTo>
                  <a:lnTo>
                    <a:pt x="499" y="1256"/>
                  </a:lnTo>
                  <a:lnTo>
                    <a:pt x="499" y="1315"/>
                  </a:lnTo>
                  <a:lnTo>
                    <a:pt x="479" y="1353"/>
                  </a:lnTo>
                  <a:lnTo>
                    <a:pt x="470" y="1400"/>
                  </a:lnTo>
                  <a:lnTo>
                    <a:pt x="529" y="1542"/>
                  </a:lnTo>
                  <a:lnTo>
                    <a:pt x="552" y="1562"/>
                  </a:lnTo>
                  <a:lnTo>
                    <a:pt x="566" y="1566"/>
                  </a:lnTo>
                  <a:lnTo>
                    <a:pt x="575" y="1584"/>
                  </a:lnTo>
                  <a:lnTo>
                    <a:pt x="595" y="1592"/>
                  </a:lnTo>
                  <a:lnTo>
                    <a:pt x="608" y="1576"/>
                  </a:lnTo>
                  <a:lnTo>
                    <a:pt x="618" y="1583"/>
                  </a:lnTo>
                  <a:lnTo>
                    <a:pt x="630" y="1621"/>
                  </a:lnTo>
                  <a:lnTo>
                    <a:pt x="676" y="1648"/>
                  </a:lnTo>
                  <a:lnTo>
                    <a:pt x="729" y="1709"/>
                  </a:lnTo>
                  <a:lnTo>
                    <a:pt x="746" y="1745"/>
                  </a:lnTo>
                  <a:lnTo>
                    <a:pt x="746" y="1828"/>
                  </a:lnTo>
                  <a:lnTo>
                    <a:pt x="779" y="1879"/>
                  </a:lnTo>
                  <a:lnTo>
                    <a:pt x="756" y="1878"/>
                  </a:lnTo>
                  <a:lnTo>
                    <a:pt x="748" y="1901"/>
                  </a:lnTo>
                  <a:lnTo>
                    <a:pt x="759" y="1927"/>
                  </a:lnTo>
                  <a:lnTo>
                    <a:pt x="729" y="1912"/>
                  </a:lnTo>
                  <a:lnTo>
                    <a:pt x="699" y="1918"/>
                  </a:lnTo>
                  <a:lnTo>
                    <a:pt x="651" y="1943"/>
                  </a:lnTo>
                  <a:lnTo>
                    <a:pt x="631" y="2044"/>
                  </a:lnTo>
                  <a:lnTo>
                    <a:pt x="371" y="2437"/>
                  </a:lnTo>
                  <a:lnTo>
                    <a:pt x="343" y="2457"/>
                  </a:lnTo>
                  <a:lnTo>
                    <a:pt x="324" y="2490"/>
                  </a:lnTo>
                  <a:lnTo>
                    <a:pt x="310" y="2502"/>
                  </a:lnTo>
                  <a:lnTo>
                    <a:pt x="291" y="2532"/>
                  </a:lnTo>
                  <a:lnTo>
                    <a:pt x="231" y="2541"/>
                  </a:lnTo>
                  <a:lnTo>
                    <a:pt x="206" y="2531"/>
                  </a:lnTo>
                  <a:lnTo>
                    <a:pt x="187" y="2576"/>
                  </a:lnTo>
                  <a:lnTo>
                    <a:pt x="212" y="2601"/>
                  </a:lnTo>
                  <a:lnTo>
                    <a:pt x="201" y="2610"/>
                  </a:lnTo>
                  <a:lnTo>
                    <a:pt x="148" y="2616"/>
                  </a:lnTo>
                  <a:lnTo>
                    <a:pt x="150" y="2633"/>
                  </a:lnTo>
                  <a:lnTo>
                    <a:pt x="142" y="2658"/>
                  </a:lnTo>
                  <a:lnTo>
                    <a:pt x="122" y="2661"/>
                  </a:lnTo>
                  <a:lnTo>
                    <a:pt x="112" y="2668"/>
                  </a:lnTo>
                  <a:lnTo>
                    <a:pt x="86" y="2748"/>
                  </a:lnTo>
                  <a:lnTo>
                    <a:pt x="102" y="2831"/>
                  </a:lnTo>
                  <a:lnTo>
                    <a:pt x="115" y="2850"/>
                  </a:lnTo>
                  <a:lnTo>
                    <a:pt x="127" y="2887"/>
                  </a:lnTo>
                  <a:lnTo>
                    <a:pt x="117" y="2967"/>
                  </a:lnTo>
                  <a:lnTo>
                    <a:pt x="131" y="2999"/>
                  </a:lnTo>
                  <a:lnTo>
                    <a:pt x="157" y="3028"/>
                  </a:lnTo>
                  <a:lnTo>
                    <a:pt x="172" y="3108"/>
                  </a:lnTo>
                  <a:lnTo>
                    <a:pt x="186" y="3134"/>
                  </a:lnTo>
                  <a:lnTo>
                    <a:pt x="203" y="3151"/>
                  </a:lnTo>
                  <a:lnTo>
                    <a:pt x="206" y="3161"/>
                  </a:lnTo>
                  <a:lnTo>
                    <a:pt x="190" y="3144"/>
                  </a:lnTo>
                  <a:lnTo>
                    <a:pt x="173" y="3146"/>
                  </a:lnTo>
                  <a:lnTo>
                    <a:pt x="163" y="3160"/>
                  </a:lnTo>
                  <a:lnTo>
                    <a:pt x="168" y="3273"/>
                  </a:lnTo>
                  <a:lnTo>
                    <a:pt x="153" y="3318"/>
                  </a:lnTo>
                  <a:lnTo>
                    <a:pt x="143" y="3319"/>
                  </a:lnTo>
                  <a:lnTo>
                    <a:pt x="133" y="3351"/>
                  </a:lnTo>
                  <a:lnTo>
                    <a:pt x="146" y="3369"/>
                  </a:lnTo>
                  <a:lnTo>
                    <a:pt x="147" y="3387"/>
                  </a:lnTo>
                  <a:lnTo>
                    <a:pt x="142" y="3404"/>
                  </a:lnTo>
                  <a:lnTo>
                    <a:pt x="148" y="3421"/>
                  </a:lnTo>
                  <a:lnTo>
                    <a:pt x="173" y="3430"/>
                  </a:lnTo>
                  <a:lnTo>
                    <a:pt x="169" y="3445"/>
                  </a:lnTo>
                  <a:lnTo>
                    <a:pt x="152" y="3449"/>
                  </a:lnTo>
                  <a:lnTo>
                    <a:pt x="156" y="3471"/>
                  </a:lnTo>
                  <a:lnTo>
                    <a:pt x="202" y="3473"/>
                  </a:lnTo>
                  <a:lnTo>
                    <a:pt x="256" y="3516"/>
                  </a:lnTo>
                  <a:lnTo>
                    <a:pt x="350" y="3545"/>
                  </a:lnTo>
                  <a:lnTo>
                    <a:pt x="358" y="3560"/>
                  </a:lnTo>
                  <a:lnTo>
                    <a:pt x="352" y="3585"/>
                  </a:lnTo>
                  <a:lnTo>
                    <a:pt x="378" y="3602"/>
                  </a:lnTo>
                  <a:lnTo>
                    <a:pt x="426" y="3570"/>
                  </a:lnTo>
                  <a:lnTo>
                    <a:pt x="432" y="3588"/>
                  </a:lnTo>
                  <a:lnTo>
                    <a:pt x="432" y="3628"/>
                  </a:lnTo>
                  <a:lnTo>
                    <a:pt x="464" y="3674"/>
                  </a:lnTo>
                  <a:lnTo>
                    <a:pt x="461" y="3696"/>
                  </a:lnTo>
                  <a:lnTo>
                    <a:pt x="487" y="3707"/>
                  </a:lnTo>
                  <a:lnTo>
                    <a:pt x="477" y="3727"/>
                  </a:lnTo>
                  <a:lnTo>
                    <a:pt x="447" y="3753"/>
                  </a:lnTo>
                  <a:lnTo>
                    <a:pt x="463" y="3757"/>
                  </a:lnTo>
                  <a:lnTo>
                    <a:pt x="497" y="3737"/>
                  </a:lnTo>
                  <a:lnTo>
                    <a:pt x="530" y="3670"/>
                  </a:lnTo>
                  <a:lnTo>
                    <a:pt x="537" y="3676"/>
                  </a:lnTo>
                  <a:lnTo>
                    <a:pt x="537" y="3708"/>
                  </a:lnTo>
                  <a:lnTo>
                    <a:pt x="556" y="3714"/>
                  </a:lnTo>
                  <a:lnTo>
                    <a:pt x="632" y="3668"/>
                  </a:lnTo>
                  <a:lnTo>
                    <a:pt x="658" y="3667"/>
                  </a:lnTo>
                  <a:lnTo>
                    <a:pt x="681" y="3655"/>
                  </a:lnTo>
                  <a:lnTo>
                    <a:pt x="697" y="3668"/>
                  </a:lnTo>
                  <a:lnTo>
                    <a:pt x="706" y="3670"/>
                  </a:lnTo>
                  <a:lnTo>
                    <a:pt x="761" y="3611"/>
                  </a:lnTo>
                  <a:lnTo>
                    <a:pt x="786" y="3604"/>
                  </a:lnTo>
                  <a:lnTo>
                    <a:pt x="810" y="3614"/>
                  </a:lnTo>
                  <a:lnTo>
                    <a:pt x="859" y="3577"/>
                  </a:lnTo>
                  <a:lnTo>
                    <a:pt x="889" y="3572"/>
                  </a:lnTo>
                  <a:lnTo>
                    <a:pt x="911" y="3524"/>
                  </a:lnTo>
                  <a:lnTo>
                    <a:pt x="927" y="3555"/>
                  </a:lnTo>
                  <a:lnTo>
                    <a:pt x="987" y="3526"/>
                  </a:lnTo>
                  <a:lnTo>
                    <a:pt x="975" y="3495"/>
                  </a:lnTo>
                  <a:lnTo>
                    <a:pt x="983" y="3504"/>
                  </a:lnTo>
                  <a:lnTo>
                    <a:pt x="1011" y="3512"/>
                  </a:lnTo>
                  <a:lnTo>
                    <a:pt x="1029" y="3508"/>
                  </a:lnTo>
                  <a:lnTo>
                    <a:pt x="1049" y="3489"/>
                  </a:lnTo>
                  <a:lnTo>
                    <a:pt x="1108" y="3479"/>
                  </a:lnTo>
                  <a:lnTo>
                    <a:pt x="1176" y="3439"/>
                  </a:lnTo>
                  <a:lnTo>
                    <a:pt x="1206" y="3455"/>
                  </a:lnTo>
                  <a:lnTo>
                    <a:pt x="1266" y="3456"/>
                  </a:lnTo>
                  <a:lnTo>
                    <a:pt x="1280" y="3442"/>
                  </a:lnTo>
                  <a:lnTo>
                    <a:pt x="1290" y="3424"/>
                  </a:lnTo>
                  <a:lnTo>
                    <a:pt x="1292" y="3429"/>
                  </a:lnTo>
                  <a:lnTo>
                    <a:pt x="1768" y="2762"/>
                  </a:lnTo>
                  <a:lnTo>
                    <a:pt x="1830" y="2573"/>
                  </a:lnTo>
                  <a:lnTo>
                    <a:pt x="1812" y="2457"/>
                  </a:lnTo>
                  <a:lnTo>
                    <a:pt x="1800" y="2474"/>
                  </a:lnTo>
                  <a:lnTo>
                    <a:pt x="1761" y="2429"/>
                  </a:lnTo>
                  <a:lnTo>
                    <a:pt x="1741" y="2381"/>
                  </a:lnTo>
                  <a:lnTo>
                    <a:pt x="1641" y="2326"/>
                  </a:lnTo>
                  <a:lnTo>
                    <a:pt x="1611" y="2296"/>
                  </a:lnTo>
                  <a:lnTo>
                    <a:pt x="1583" y="2243"/>
                  </a:lnTo>
                  <a:lnTo>
                    <a:pt x="1589" y="2195"/>
                  </a:lnTo>
                  <a:lnTo>
                    <a:pt x="1612" y="2146"/>
                  </a:lnTo>
                  <a:lnTo>
                    <a:pt x="1621" y="2091"/>
                  </a:lnTo>
                  <a:lnTo>
                    <a:pt x="1608" y="2039"/>
                  </a:lnTo>
                  <a:lnTo>
                    <a:pt x="1555" y="2004"/>
                  </a:lnTo>
                  <a:lnTo>
                    <a:pt x="1528" y="1958"/>
                  </a:lnTo>
                  <a:lnTo>
                    <a:pt x="1524" y="1902"/>
                  </a:lnTo>
                  <a:lnTo>
                    <a:pt x="1493" y="1856"/>
                  </a:lnTo>
                  <a:lnTo>
                    <a:pt x="1447" y="1852"/>
                  </a:lnTo>
                  <a:lnTo>
                    <a:pt x="1436" y="1794"/>
                  </a:lnTo>
                  <a:lnTo>
                    <a:pt x="1448" y="1760"/>
                  </a:lnTo>
                  <a:lnTo>
                    <a:pt x="1436" y="1710"/>
                  </a:lnTo>
                  <a:lnTo>
                    <a:pt x="1423" y="1685"/>
                  </a:lnTo>
                  <a:lnTo>
                    <a:pt x="1424" y="1578"/>
                  </a:lnTo>
                  <a:lnTo>
                    <a:pt x="1459" y="1538"/>
                  </a:lnTo>
                  <a:lnTo>
                    <a:pt x="1266" y="1164"/>
                  </a:lnTo>
                  <a:lnTo>
                    <a:pt x="1254" y="1110"/>
                  </a:lnTo>
                  <a:lnTo>
                    <a:pt x="1328" y="858"/>
                  </a:lnTo>
                  <a:lnTo>
                    <a:pt x="1312" y="804"/>
                  </a:lnTo>
                  <a:lnTo>
                    <a:pt x="1219" y="686"/>
                  </a:lnTo>
                  <a:lnTo>
                    <a:pt x="1179" y="671"/>
                  </a:lnTo>
                  <a:lnTo>
                    <a:pt x="1143" y="671"/>
                  </a:lnTo>
                  <a:lnTo>
                    <a:pt x="1118" y="657"/>
                  </a:lnTo>
                  <a:lnTo>
                    <a:pt x="1102" y="640"/>
                  </a:lnTo>
                  <a:lnTo>
                    <a:pt x="1069" y="534"/>
                  </a:lnTo>
                  <a:lnTo>
                    <a:pt x="1088" y="438"/>
                  </a:lnTo>
                  <a:lnTo>
                    <a:pt x="1084" y="428"/>
                  </a:lnTo>
                  <a:lnTo>
                    <a:pt x="1061" y="419"/>
                  </a:lnTo>
                  <a:lnTo>
                    <a:pt x="1123" y="344"/>
                  </a:lnTo>
                  <a:lnTo>
                    <a:pt x="1097" y="330"/>
                  </a:lnTo>
                  <a:lnTo>
                    <a:pt x="1092" y="304"/>
                  </a:lnTo>
                  <a:lnTo>
                    <a:pt x="1096" y="274"/>
                  </a:lnTo>
                  <a:lnTo>
                    <a:pt x="1136" y="212"/>
                  </a:lnTo>
                  <a:lnTo>
                    <a:pt x="1100" y="114"/>
                  </a:lnTo>
                  <a:lnTo>
                    <a:pt x="1053" y="80"/>
                  </a:lnTo>
                  <a:lnTo>
                    <a:pt x="1010" y="69"/>
                  </a:lnTo>
                  <a:lnTo>
                    <a:pt x="982" y="53"/>
                  </a:lnTo>
                  <a:lnTo>
                    <a:pt x="954" y="10"/>
                  </a:lnTo>
                  <a:lnTo>
                    <a:pt x="940" y="0"/>
                  </a:lnTo>
                  <a:lnTo>
                    <a:pt x="804" y="66"/>
                  </a:lnTo>
                  <a:lnTo>
                    <a:pt x="747" y="77"/>
                  </a:lnTo>
                  <a:lnTo>
                    <a:pt x="719" y="97"/>
                  </a:lnTo>
                  <a:lnTo>
                    <a:pt x="697" y="128"/>
                  </a:lnTo>
                  <a:lnTo>
                    <a:pt x="674" y="204"/>
                  </a:lnTo>
                  <a:lnTo>
                    <a:pt x="684" y="418"/>
                  </a:lnTo>
                  <a:lnTo>
                    <a:pt x="627" y="468"/>
                  </a:lnTo>
                  <a:lnTo>
                    <a:pt x="608" y="502"/>
                  </a:lnTo>
                  <a:lnTo>
                    <a:pt x="543" y="547"/>
                  </a:lnTo>
                  <a:lnTo>
                    <a:pt x="517" y="542"/>
                  </a:lnTo>
                  <a:lnTo>
                    <a:pt x="483" y="492"/>
                  </a:lnTo>
                  <a:lnTo>
                    <a:pt x="460" y="477"/>
                  </a:lnTo>
                  <a:lnTo>
                    <a:pt x="419" y="527"/>
                  </a:lnTo>
                  <a:lnTo>
                    <a:pt x="385" y="550"/>
                  </a:lnTo>
                  <a:lnTo>
                    <a:pt x="355" y="555"/>
                  </a:lnTo>
                  <a:lnTo>
                    <a:pt x="317" y="537"/>
                  </a:lnTo>
                  <a:lnTo>
                    <a:pt x="255" y="530"/>
                  </a:lnTo>
                  <a:lnTo>
                    <a:pt x="240" y="511"/>
                  </a:lnTo>
                  <a:lnTo>
                    <a:pt x="227" y="466"/>
                  </a:lnTo>
                  <a:lnTo>
                    <a:pt x="123" y="338"/>
                  </a:lnTo>
                  <a:lnTo>
                    <a:pt x="89" y="325"/>
                  </a:lnTo>
                  <a:lnTo>
                    <a:pt x="59" y="341"/>
                  </a:lnTo>
                  <a:lnTo>
                    <a:pt x="70" y="397"/>
                  </a:lnTo>
                  <a:lnTo>
                    <a:pt x="47" y="406"/>
                  </a:lnTo>
                  <a:lnTo>
                    <a:pt x="28" y="397"/>
                  </a:lnTo>
                  <a:lnTo>
                    <a:pt x="8" y="404"/>
                  </a:lnTo>
                  <a:lnTo>
                    <a:pt x="0" y="423"/>
                  </a:lnTo>
                </a:path>
              </a:pathLst>
            </a:custGeom>
            <a:solidFill>
              <a:srgbClr val="7359A3"/>
            </a:solidFill>
            <a:ln w="12700">
              <a:solidFill>
                <a:sysClr val="window" lastClr="FFFFFF"/>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1" u="none" strike="noStrike" kern="0" cap="none" spc="0" normalizeH="0" baseline="0" noProof="0" dirty="0">
                <a:ln>
                  <a:noFill/>
                </a:ln>
                <a:solidFill>
                  <a:prstClr val="black"/>
                </a:solidFill>
                <a:effectLst/>
                <a:uLnTx/>
                <a:uFillTx/>
                <a:latin typeface="Arial" panose="020B0604020202020204"/>
                <a:ea typeface="+mn-ea"/>
                <a:cs typeface="+mn-cs"/>
              </a:endParaRPr>
            </a:p>
          </p:txBody>
        </p:sp>
        <p:grpSp>
          <p:nvGrpSpPr>
            <p:cNvPr id="500" name="SHB">
              <a:extLst>
                <a:ext uri="{FF2B5EF4-FFF2-40B4-BE49-F238E27FC236}">
                  <a16:creationId xmlns:a16="http://schemas.microsoft.com/office/drawing/2014/main" id="{D8C6B1C5-648B-4484-BBED-B78F203C2498}"/>
                </a:ext>
              </a:extLst>
            </p:cNvPr>
            <p:cNvGrpSpPr/>
            <p:nvPr/>
          </p:nvGrpSpPr>
          <p:grpSpPr>
            <a:xfrm>
              <a:off x="8769264" y="4423977"/>
              <a:ext cx="743000" cy="627544"/>
              <a:chOff x="5341207" y="5347851"/>
              <a:chExt cx="840281" cy="747433"/>
            </a:xfrm>
            <a:pattFill prst="wdDnDiag">
              <a:fgClr>
                <a:srgbClr val="A2C613"/>
              </a:fgClr>
              <a:bgClr>
                <a:srgbClr val="00A194"/>
              </a:bgClr>
            </a:pattFill>
          </p:grpSpPr>
          <p:sp>
            <p:nvSpPr>
              <p:cNvPr id="501" name="Freeform 7">
                <a:extLst>
                  <a:ext uri="{FF2B5EF4-FFF2-40B4-BE49-F238E27FC236}">
                    <a16:creationId xmlns:a16="http://schemas.microsoft.com/office/drawing/2014/main" id="{5033BB1A-7AE9-0B02-B08E-D27B60E5A477}"/>
                  </a:ext>
                </a:extLst>
              </p:cNvPr>
              <p:cNvSpPr>
                <a:spLocks/>
              </p:cNvSpPr>
              <p:nvPr/>
            </p:nvSpPr>
            <p:spPr bwMode="auto">
              <a:xfrm rot="21249101">
                <a:off x="5341207" y="5347851"/>
                <a:ext cx="436389" cy="299436"/>
              </a:xfrm>
              <a:custGeom>
                <a:avLst/>
                <a:gdLst>
                  <a:gd name="T0" fmla="*/ 2147483647 w 802"/>
                  <a:gd name="T1" fmla="*/ 2147483647 h 550"/>
                  <a:gd name="T2" fmla="*/ 2147483647 w 802"/>
                  <a:gd name="T3" fmla="*/ 2147483647 h 550"/>
                  <a:gd name="T4" fmla="*/ 2147483647 w 802"/>
                  <a:gd name="T5" fmla="*/ 2147483647 h 550"/>
                  <a:gd name="T6" fmla="*/ 2147483647 w 802"/>
                  <a:gd name="T7" fmla="*/ 2147483647 h 550"/>
                  <a:gd name="T8" fmla="*/ 2147483647 w 802"/>
                  <a:gd name="T9" fmla="*/ 2147483647 h 550"/>
                  <a:gd name="T10" fmla="*/ 2147483647 w 802"/>
                  <a:gd name="T11" fmla="*/ 2147483647 h 550"/>
                  <a:gd name="T12" fmla="*/ 2147483647 w 802"/>
                  <a:gd name="T13" fmla="*/ 2147483647 h 550"/>
                  <a:gd name="T14" fmla="*/ 2147483647 w 802"/>
                  <a:gd name="T15" fmla="*/ 2147483647 h 550"/>
                  <a:gd name="T16" fmla="*/ 2147483647 w 802"/>
                  <a:gd name="T17" fmla="*/ 2147483647 h 550"/>
                  <a:gd name="T18" fmla="*/ 2147483647 w 802"/>
                  <a:gd name="T19" fmla="*/ 2147483647 h 550"/>
                  <a:gd name="T20" fmla="*/ 2147483647 w 802"/>
                  <a:gd name="T21" fmla="*/ 2147483647 h 550"/>
                  <a:gd name="T22" fmla="*/ 2147483647 w 802"/>
                  <a:gd name="T23" fmla="*/ 2147483647 h 550"/>
                  <a:gd name="T24" fmla="*/ 2147483647 w 802"/>
                  <a:gd name="T25" fmla="*/ 2147483647 h 550"/>
                  <a:gd name="T26" fmla="*/ 2147483647 w 802"/>
                  <a:gd name="T27" fmla="*/ 2147483647 h 550"/>
                  <a:gd name="T28" fmla="*/ 2147483647 w 802"/>
                  <a:gd name="T29" fmla="*/ 2147483647 h 550"/>
                  <a:gd name="T30" fmla="*/ 2147483647 w 802"/>
                  <a:gd name="T31" fmla="*/ 2147483647 h 550"/>
                  <a:gd name="T32" fmla="*/ 2147483647 w 802"/>
                  <a:gd name="T33" fmla="*/ 2147483647 h 550"/>
                  <a:gd name="T34" fmla="*/ 2147483647 w 802"/>
                  <a:gd name="T35" fmla="*/ 2147483647 h 550"/>
                  <a:gd name="T36" fmla="*/ 2147483647 w 802"/>
                  <a:gd name="T37" fmla="*/ 2147483647 h 550"/>
                  <a:gd name="T38" fmla="*/ 2147483647 w 802"/>
                  <a:gd name="T39" fmla="*/ 2147483647 h 550"/>
                  <a:gd name="T40" fmla="*/ 2147483647 w 802"/>
                  <a:gd name="T41" fmla="*/ 2147483647 h 550"/>
                  <a:gd name="T42" fmla="*/ 2147483647 w 802"/>
                  <a:gd name="T43" fmla="*/ 2147483647 h 550"/>
                  <a:gd name="T44" fmla="*/ 2147483647 w 802"/>
                  <a:gd name="T45" fmla="*/ 2147483647 h 550"/>
                  <a:gd name="T46" fmla="*/ 2147483647 w 802"/>
                  <a:gd name="T47" fmla="*/ 2147483647 h 550"/>
                  <a:gd name="T48" fmla="*/ 2147483647 w 802"/>
                  <a:gd name="T49" fmla="*/ 2147483647 h 550"/>
                  <a:gd name="T50" fmla="*/ 2147483647 w 802"/>
                  <a:gd name="T51" fmla="*/ 2147483647 h 550"/>
                  <a:gd name="T52" fmla="*/ 2147483647 w 802"/>
                  <a:gd name="T53" fmla="*/ 2147483647 h 550"/>
                  <a:gd name="T54" fmla="*/ 2147483647 w 802"/>
                  <a:gd name="T55" fmla="*/ 2147483647 h 550"/>
                  <a:gd name="T56" fmla="*/ 2147483647 w 802"/>
                  <a:gd name="T57" fmla="*/ 2147483647 h 550"/>
                  <a:gd name="T58" fmla="*/ 2147483647 w 802"/>
                  <a:gd name="T59" fmla="*/ 2147483647 h 550"/>
                  <a:gd name="T60" fmla="*/ 2147483647 w 802"/>
                  <a:gd name="T61" fmla="*/ 2147483647 h 550"/>
                  <a:gd name="T62" fmla="*/ 2147483647 w 802"/>
                  <a:gd name="T63" fmla="*/ 2147483647 h 550"/>
                  <a:gd name="T64" fmla="*/ 2147483647 w 802"/>
                  <a:gd name="T65" fmla="*/ 2147483647 h 550"/>
                  <a:gd name="T66" fmla="*/ 2147483647 w 802"/>
                  <a:gd name="T67" fmla="*/ 2147483647 h 550"/>
                  <a:gd name="T68" fmla="*/ 2147483647 w 802"/>
                  <a:gd name="T69" fmla="*/ 0 h 55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802"/>
                  <a:gd name="T106" fmla="*/ 0 h 550"/>
                  <a:gd name="T107" fmla="*/ 802 w 802"/>
                  <a:gd name="T108" fmla="*/ 550 h 55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802" h="550">
                    <a:moveTo>
                      <a:pt x="676" y="0"/>
                    </a:moveTo>
                    <a:lnTo>
                      <a:pt x="638" y="17"/>
                    </a:lnTo>
                    <a:lnTo>
                      <a:pt x="627" y="52"/>
                    </a:lnTo>
                    <a:lnTo>
                      <a:pt x="529" y="38"/>
                    </a:lnTo>
                    <a:lnTo>
                      <a:pt x="504" y="74"/>
                    </a:lnTo>
                    <a:lnTo>
                      <a:pt x="418" y="50"/>
                    </a:lnTo>
                    <a:lnTo>
                      <a:pt x="356" y="61"/>
                    </a:lnTo>
                    <a:lnTo>
                      <a:pt x="315" y="107"/>
                    </a:lnTo>
                    <a:lnTo>
                      <a:pt x="274" y="128"/>
                    </a:lnTo>
                    <a:lnTo>
                      <a:pt x="69" y="99"/>
                    </a:lnTo>
                    <a:lnTo>
                      <a:pt x="19" y="139"/>
                    </a:lnTo>
                    <a:lnTo>
                      <a:pt x="2" y="171"/>
                    </a:lnTo>
                    <a:lnTo>
                      <a:pt x="0" y="192"/>
                    </a:lnTo>
                    <a:lnTo>
                      <a:pt x="10" y="202"/>
                    </a:lnTo>
                    <a:lnTo>
                      <a:pt x="36" y="198"/>
                    </a:lnTo>
                    <a:lnTo>
                      <a:pt x="13" y="266"/>
                    </a:lnTo>
                    <a:lnTo>
                      <a:pt x="33" y="296"/>
                    </a:lnTo>
                    <a:lnTo>
                      <a:pt x="31" y="332"/>
                    </a:lnTo>
                    <a:lnTo>
                      <a:pt x="40" y="344"/>
                    </a:lnTo>
                    <a:lnTo>
                      <a:pt x="75" y="363"/>
                    </a:lnTo>
                    <a:lnTo>
                      <a:pt x="85" y="387"/>
                    </a:lnTo>
                    <a:lnTo>
                      <a:pt x="101" y="396"/>
                    </a:lnTo>
                    <a:lnTo>
                      <a:pt x="110" y="416"/>
                    </a:lnTo>
                    <a:lnTo>
                      <a:pt x="103" y="435"/>
                    </a:lnTo>
                    <a:lnTo>
                      <a:pt x="85" y="448"/>
                    </a:lnTo>
                    <a:lnTo>
                      <a:pt x="60" y="452"/>
                    </a:lnTo>
                    <a:lnTo>
                      <a:pt x="38" y="444"/>
                    </a:lnTo>
                    <a:lnTo>
                      <a:pt x="6" y="461"/>
                    </a:lnTo>
                    <a:lnTo>
                      <a:pt x="37" y="492"/>
                    </a:lnTo>
                    <a:lnTo>
                      <a:pt x="105" y="496"/>
                    </a:lnTo>
                    <a:lnTo>
                      <a:pt x="118" y="471"/>
                    </a:lnTo>
                    <a:lnTo>
                      <a:pt x="140" y="496"/>
                    </a:lnTo>
                    <a:lnTo>
                      <a:pt x="219" y="500"/>
                    </a:lnTo>
                    <a:lnTo>
                      <a:pt x="259" y="431"/>
                    </a:lnTo>
                    <a:lnTo>
                      <a:pt x="272" y="433"/>
                    </a:lnTo>
                    <a:lnTo>
                      <a:pt x="320" y="525"/>
                    </a:lnTo>
                    <a:lnTo>
                      <a:pt x="339" y="523"/>
                    </a:lnTo>
                    <a:lnTo>
                      <a:pt x="344" y="504"/>
                    </a:lnTo>
                    <a:lnTo>
                      <a:pt x="356" y="505"/>
                    </a:lnTo>
                    <a:lnTo>
                      <a:pt x="363" y="519"/>
                    </a:lnTo>
                    <a:lnTo>
                      <a:pt x="383" y="521"/>
                    </a:lnTo>
                    <a:lnTo>
                      <a:pt x="403" y="549"/>
                    </a:lnTo>
                    <a:lnTo>
                      <a:pt x="419" y="550"/>
                    </a:lnTo>
                    <a:lnTo>
                      <a:pt x="444" y="534"/>
                    </a:lnTo>
                    <a:lnTo>
                      <a:pt x="443" y="479"/>
                    </a:lnTo>
                    <a:lnTo>
                      <a:pt x="461" y="456"/>
                    </a:lnTo>
                    <a:lnTo>
                      <a:pt x="447" y="432"/>
                    </a:lnTo>
                    <a:lnTo>
                      <a:pt x="498" y="393"/>
                    </a:lnTo>
                    <a:lnTo>
                      <a:pt x="539" y="393"/>
                    </a:lnTo>
                    <a:lnTo>
                      <a:pt x="561" y="358"/>
                    </a:lnTo>
                    <a:lnTo>
                      <a:pt x="565" y="305"/>
                    </a:lnTo>
                    <a:lnTo>
                      <a:pt x="537" y="275"/>
                    </a:lnTo>
                    <a:lnTo>
                      <a:pt x="536" y="258"/>
                    </a:lnTo>
                    <a:lnTo>
                      <a:pt x="552" y="233"/>
                    </a:lnTo>
                    <a:lnTo>
                      <a:pt x="645" y="207"/>
                    </a:lnTo>
                    <a:lnTo>
                      <a:pt x="660" y="195"/>
                    </a:lnTo>
                    <a:lnTo>
                      <a:pt x="663" y="174"/>
                    </a:lnTo>
                    <a:lnTo>
                      <a:pt x="696" y="175"/>
                    </a:lnTo>
                    <a:lnTo>
                      <a:pt x="711" y="184"/>
                    </a:lnTo>
                    <a:lnTo>
                      <a:pt x="715" y="177"/>
                    </a:lnTo>
                    <a:lnTo>
                      <a:pt x="707" y="148"/>
                    </a:lnTo>
                    <a:lnTo>
                      <a:pt x="708" y="125"/>
                    </a:lnTo>
                    <a:lnTo>
                      <a:pt x="726" y="110"/>
                    </a:lnTo>
                    <a:lnTo>
                      <a:pt x="743" y="113"/>
                    </a:lnTo>
                    <a:lnTo>
                      <a:pt x="781" y="144"/>
                    </a:lnTo>
                    <a:lnTo>
                      <a:pt x="798" y="136"/>
                    </a:lnTo>
                    <a:lnTo>
                      <a:pt x="802" y="146"/>
                    </a:lnTo>
                    <a:lnTo>
                      <a:pt x="741" y="22"/>
                    </a:lnTo>
                    <a:lnTo>
                      <a:pt x="709" y="3"/>
                    </a:lnTo>
                    <a:lnTo>
                      <a:pt x="676" y="0"/>
                    </a:lnTo>
                    <a:close/>
                  </a:path>
                </a:pathLst>
              </a:custGeom>
              <a:grpFill/>
              <a:ln w="12700">
                <a:solidFill>
                  <a:sysClr val="window" lastClr="FFFFFF"/>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1" u="none" strike="noStrike" kern="0" cap="none" spc="0" normalizeH="0" baseline="0" noProof="0" dirty="0">
                  <a:ln>
                    <a:noFill/>
                  </a:ln>
                  <a:solidFill>
                    <a:prstClr val="black"/>
                  </a:solidFill>
                  <a:effectLst/>
                  <a:uLnTx/>
                  <a:uFillTx/>
                  <a:latin typeface="Arial" panose="020B0604020202020204"/>
                  <a:ea typeface="+mn-ea"/>
                  <a:cs typeface="+mn-cs"/>
                </a:endParaRPr>
              </a:p>
            </p:txBody>
          </p:sp>
          <p:sp>
            <p:nvSpPr>
              <p:cNvPr id="502" name="Freeform 109">
                <a:extLst>
                  <a:ext uri="{FF2B5EF4-FFF2-40B4-BE49-F238E27FC236}">
                    <a16:creationId xmlns:a16="http://schemas.microsoft.com/office/drawing/2014/main" id="{980BA681-21C2-37E2-E64C-898BDF26E261}"/>
                  </a:ext>
                </a:extLst>
              </p:cNvPr>
              <p:cNvSpPr>
                <a:spLocks/>
              </p:cNvSpPr>
              <p:nvPr/>
            </p:nvSpPr>
            <p:spPr bwMode="auto">
              <a:xfrm rot="21249101">
                <a:off x="5373704" y="5384991"/>
                <a:ext cx="807784" cy="710293"/>
              </a:xfrm>
              <a:custGeom>
                <a:avLst/>
                <a:gdLst>
                  <a:gd name="T0" fmla="*/ 2147483647 w 1497"/>
                  <a:gd name="T1" fmla="*/ 2147483647 h 1310"/>
                  <a:gd name="T2" fmla="*/ 2147483647 w 1497"/>
                  <a:gd name="T3" fmla="*/ 2147483647 h 1310"/>
                  <a:gd name="T4" fmla="*/ 2147483647 w 1497"/>
                  <a:gd name="T5" fmla="*/ 2147483647 h 1310"/>
                  <a:gd name="T6" fmla="*/ 2147483647 w 1497"/>
                  <a:gd name="T7" fmla="*/ 2147483647 h 1310"/>
                  <a:gd name="T8" fmla="*/ 2147483647 w 1497"/>
                  <a:gd name="T9" fmla="*/ 2147483647 h 1310"/>
                  <a:gd name="T10" fmla="*/ 2147483647 w 1497"/>
                  <a:gd name="T11" fmla="*/ 2147483647 h 1310"/>
                  <a:gd name="T12" fmla="*/ 2147483647 w 1497"/>
                  <a:gd name="T13" fmla="*/ 2147483647 h 1310"/>
                  <a:gd name="T14" fmla="*/ 2147483647 w 1497"/>
                  <a:gd name="T15" fmla="*/ 2147483647 h 1310"/>
                  <a:gd name="T16" fmla="*/ 2147483647 w 1497"/>
                  <a:gd name="T17" fmla="*/ 2147483647 h 1310"/>
                  <a:gd name="T18" fmla="*/ 2147483647 w 1497"/>
                  <a:gd name="T19" fmla="*/ 2147483647 h 1310"/>
                  <a:gd name="T20" fmla="*/ 2147483647 w 1497"/>
                  <a:gd name="T21" fmla="*/ 2147483647 h 1310"/>
                  <a:gd name="T22" fmla="*/ 2147483647 w 1497"/>
                  <a:gd name="T23" fmla="*/ 2147483647 h 1310"/>
                  <a:gd name="T24" fmla="*/ 2147483647 w 1497"/>
                  <a:gd name="T25" fmla="*/ 2147483647 h 1310"/>
                  <a:gd name="T26" fmla="*/ 2147483647 w 1497"/>
                  <a:gd name="T27" fmla="*/ 2147483647 h 1310"/>
                  <a:gd name="T28" fmla="*/ 2147483647 w 1497"/>
                  <a:gd name="T29" fmla="*/ 2147483647 h 1310"/>
                  <a:gd name="T30" fmla="*/ 0 w 1497"/>
                  <a:gd name="T31" fmla="*/ 2147483647 h 1310"/>
                  <a:gd name="T32" fmla="*/ 2147483647 w 1497"/>
                  <a:gd name="T33" fmla="*/ 2147483647 h 1310"/>
                  <a:gd name="T34" fmla="*/ 2147483647 w 1497"/>
                  <a:gd name="T35" fmla="*/ 2147483647 h 1310"/>
                  <a:gd name="T36" fmla="*/ 2147483647 w 1497"/>
                  <a:gd name="T37" fmla="*/ 2147483647 h 1310"/>
                  <a:gd name="T38" fmla="*/ 2147483647 w 1497"/>
                  <a:gd name="T39" fmla="*/ 2147483647 h 1310"/>
                  <a:gd name="T40" fmla="*/ 2147483647 w 1497"/>
                  <a:gd name="T41" fmla="*/ 2147483647 h 1310"/>
                  <a:gd name="T42" fmla="*/ 2147483647 w 1497"/>
                  <a:gd name="T43" fmla="*/ 2147483647 h 1310"/>
                  <a:gd name="T44" fmla="*/ 2147483647 w 1497"/>
                  <a:gd name="T45" fmla="*/ 2147483647 h 1310"/>
                  <a:gd name="T46" fmla="*/ 2147483647 w 1497"/>
                  <a:gd name="T47" fmla="*/ 2147483647 h 1310"/>
                  <a:gd name="T48" fmla="*/ 2147483647 w 1497"/>
                  <a:gd name="T49" fmla="*/ 2147483647 h 1310"/>
                  <a:gd name="T50" fmla="*/ 2147483647 w 1497"/>
                  <a:gd name="T51" fmla="*/ 2147483647 h 1310"/>
                  <a:gd name="T52" fmla="*/ 2147483647 w 1497"/>
                  <a:gd name="T53" fmla="*/ 2147483647 h 1310"/>
                  <a:gd name="T54" fmla="*/ 2147483647 w 1497"/>
                  <a:gd name="T55" fmla="*/ 2147483647 h 1310"/>
                  <a:gd name="T56" fmla="*/ 2147483647 w 1497"/>
                  <a:gd name="T57" fmla="*/ 2147483647 h 1310"/>
                  <a:gd name="T58" fmla="*/ 2147483647 w 1497"/>
                  <a:gd name="T59" fmla="*/ 2147483647 h 1310"/>
                  <a:gd name="T60" fmla="*/ 2147483647 w 1497"/>
                  <a:gd name="T61" fmla="*/ 2147483647 h 1310"/>
                  <a:gd name="T62" fmla="*/ 2147483647 w 1497"/>
                  <a:gd name="T63" fmla="*/ 2147483647 h 1310"/>
                  <a:gd name="T64" fmla="*/ 2147483647 w 1497"/>
                  <a:gd name="T65" fmla="*/ 2147483647 h 1310"/>
                  <a:gd name="T66" fmla="*/ 2147483647 w 1497"/>
                  <a:gd name="T67" fmla="*/ 2147483647 h 1310"/>
                  <a:gd name="T68" fmla="*/ 2147483647 w 1497"/>
                  <a:gd name="T69" fmla="*/ 2147483647 h 1310"/>
                  <a:gd name="T70" fmla="*/ 2147483647 w 1497"/>
                  <a:gd name="T71" fmla="*/ 2147483647 h 1310"/>
                  <a:gd name="T72" fmla="*/ 2147483647 w 1497"/>
                  <a:gd name="T73" fmla="*/ 2147483647 h 1310"/>
                  <a:gd name="T74" fmla="*/ 2147483647 w 1497"/>
                  <a:gd name="T75" fmla="*/ 2147483647 h 1310"/>
                  <a:gd name="T76" fmla="*/ 2147483647 w 1497"/>
                  <a:gd name="T77" fmla="*/ 2147483647 h 1310"/>
                  <a:gd name="T78" fmla="*/ 2147483647 w 1497"/>
                  <a:gd name="T79" fmla="*/ 2147483647 h 1310"/>
                  <a:gd name="T80" fmla="*/ 2147483647 w 1497"/>
                  <a:gd name="T81" fmla="*/ 2147483647 h 1310"/>
                  <a:gd name="T82" fmla="*/ 2147483647 w 1497"/>
                  <a:gd name="T83" fmla="*/ 2147483647 h 1310"/>
                  <a:gd name="T84" fmla="*/ 2147483647 w 1497"/>
                  <a:gd name="T85" fmla="*/ 2147483647 h 1310"/>
                  <a:gd name="T86" fmla="*/ 2147483647 w 1497"/>
                  <a:gd name="T87" fmla="*/ 2147483647 h 1310"/>
                  <a:gd name="T88" fmla="*/ 2147483647 w 1497"/>
                  <a:gd name="T89" fmla="*/ 2147483647 h 1310"/>
                  <a:gd name="T90" fmla="*/ 2147483647 w 1497"/>
                  <a:gd name="T91" fmla="*/ 2147483647 h 1310"/>
                  <a:gd name="T92" fmla="*/ 2147483647 w 1497"/>
                  <a:gd name="T93" fmla="*/ 2147483647 h 1310"/>
                  <a:gd name="T94" fmla="*/ 2147483647 w 1497"/>
                  <a:gd name="T95" fmla="*/ 2147483647 h 1310"/>
                  <a:gd name="T96" fmla="*/ 2147483647 w 1497"/>
                  <a:gd name="T97" fmla="*/ 2147483647 h 1310"/>
                  <a:gd name="T98" fmla="*/ 2147483647 w 1497"/>
                  <a:gd name="T99" fmla="*/ 2147483647 h 1310"/>
                  <a:gd name="T100" fmla="*/ 2147483647 w 1497"/>
                  <a:gd name="T101" fmla="*/ 2147483647 h 1310"/>
                  <a:gd name="T102" fmla="*/ 2147483647 w 1497"/>
                  <a:gd name="T103" fmla="*/ 2147483647 h 1310"/>
                  <a:gd name="T104" fmla="*/ 2147483647 w 1497"/>
                  <a:gd name="T105" fmla="*/ 2147483647 h 131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497"/>
                  <a:gd name="T160" fmla="*/ 0 h 1310"/>
                  <a:gd name="T161" fmla="*/ 1497 w 1497"/>
                  <a:gd name="T162" fmla="*/ 1310 h 131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497" h="1310">
                    <a:moveTo>
                      <a:pt x="1325" y="252"/>
                    </a:moveTo>
                    <a:lnTo>
                      <a:pt x="1265" y="286"/>
                    </a:lnTo>
                    <a:lnTo>
                      <a:pt x="1123" y="306"/>
                    </a:lnTo>
                    <a:lnTo>
                      <a:pt x="1057" y="259"/>
                    </a:lnTo>
                    <a:lnTo>
                      <a:pt x="1004" y="240"/>
                    </a:lnTo>
                    <a:lnTo>
                      <a:pt x="953" y="169"/>
                    </a:lnTo>
                    <a:lnTo>
                      <a:pt x="891" y="133"/>
                    </a:lnTo>
                    <a:lnTo>
                      <a:pt x="847" y="62"/>
                    </a:lnTo>
                    <a:lnTo>
                      <a:pt x="796" y="36"/>
                    </a:lnTo>
                    <a:lnTo>
                      <a:pt x="792" y="26"/>
                    </a:lnTo>
                    <a:lnTo>
                      <a:pt x="775" y="34"/>
                    </a:lnTo>
                    <a:lnTo>
                      <a:pt x="737" y="3"/>
                    </a:lnTo>
                    <a:lnTo>
                      <a:pt x="720" y="0"/>
                    </a:lnTo>
                    <a:lnTo>
                      <a:pt x="702" y="15"/>
                    </a:lnTo>
                    <a:lnTo>
                      <a:pt x="701" y="38"/>
                    </a:lnTo>
                    <a:lnTo>
                      <a:pt x="709" y="67"/>
                    </a:lnTo>
                    <a:lnTo>
                      <a:pt x="705" y="74"/>
                    </a:lnTo>
                    <a:lnTo>
                      <a:pt x="690" y="65"/>
                    </a:lnTo>
                    <a:lnTo>
                      <a:pt x="657" y="64"/>
                    </a:lnTo>
                    <a:lnTo>
                      <a:pt x="654" y="85"/>
                    </a:lnTo>
                    <a:lnTo>
                      <a:pt x="639" y="97"/>
                    </a:lnTo>
                    <a:lnTo>
                      <a:pt x="546" y="123"/>
                    </a:lnTo>
                    <a:lnTo>
                      <a:pt x="530" y="148"/>
                    </a:lnTo>
                    <a:lnTo>
                      <a:pt x="531" y="165"/>
                    </a:lnTo>
                    <a:lnTo>
                      <a:pt x="559" y="195"/>
                    </a:lnTo>
                    <a:lnTo>
                      <a:pt x="555" y="248"/>
                    </a:lnTo>
                    <a:lnTo>
                      <a:pt x="533" y="283"/>
                    </a:lnTo>
                    <a:lnTo>
                      <a:pt x="492" y="283"/>
                    </a:lnTo>
                    <a:lnTo>
                      <a:pt x="441" y="322"/>
                    </a:lnTo>
                    <a:lnTo>
                      <a:pt x="455" y="346"/>
                    </a:lnTo>
                    <a:lnTo>
                      <a:pt x="437" y="369"/>
                    </a:lnTo>
                    <a:lnTo>
                      <a:pt x="438" y="424"/>
                    </a:lnTo>
                    <a:lnTo>
                      <a:pt x="413" y="440"/>
                    </a:lnTo>
                    <a:lnTo>
                      <a:pt x="397" y="439"/>
                    </a:lnTo>
                    <a:lnTo>
                      <a:pt x="377" y="411"/>
                    </a:lnTo>
                    <a:lnTo>
                      <a:pt x="357" y="409"/>
                    </a:lnTo>
                    <a:lnTo>
                      <a:pt x="350" y="395"/>
                    </a:lnTo>
                    <a:lnTo>
                      <a:pt x="338" y="394"/>
                    </a:lnTo>
                    <a:lnTo>
                      <a:pt x="333" y="413"/>
                    </a:lnTo>
                    <a:lnTo>
                      <a:pt x="314" y="415"/>
                    </a:lnTo>
                    <a:lnTo>
                      <a:pt x="266" y="323"/>
                    </a:lnTo>
                    <a:lnTo>
                      <a:pt x="253" y="321"/>
                    </a:lnTo>
                    <a:lnTo>
                      <a:pt x="213" y="390"/>
                    </a:lnTo>
                    <a:lnTo>
                      <a:pt x="134" y="386"/>
                    </a:lnTo>
                    <a:lnTo>
                      <a:pt x="112" y="361"/>
                    </a:lnTo>
                    <a:lnTo>
                      <a:pt x="99" y="386"/>
                    </a:lnTo>
                    <a:lnTo>
                      <a:pt x="31" y="382"/>
                    </a:lnTo>
                    <a:lnTo>
                      <a:pt x="0" y="351"/>
                    </a:lnTo>
                    <a:lnTo>
                      <a:pt x="9" y="451"/>
                    </a:lnTo>
                    <a:lnTo>
                      <a:pt x="61" y="580"/>
                    </a:lnTo>
                    <a:lnTo>
                      <a:pt x="82" y="599"/>
                    </a:lnTo>
                    <a:lnTo>
                      <a:pt x="108" y="596"/>
                    </a:lnTo>
                    <a:lnTo>
                      <a:pt x="202" y="424"/>
                    </a:lnTo>
                    <a:lnTo>
                      <a:pt x="258" y="448"/>
                    </a:lnTo>
                    <a:lnTo>
                      <a:pt x="294" y="495"/>
                    </a:lnTo>
                    <a:lnTo>
                      <a:pt x="309" y="497"/>
                    </a:lnTo>
                    <a:lnTo>
                      <a:pt x="326" y="525"/>
                    </a:lnTo>
                    <a:lnTo>
                      <a:pt x="337" y="574"/>
                    </a:lnTo>
                    <a:lnTo>
                      <a:pt x="332" y="642"/>
                    </a:lnTo>
                    <a:lnTo>
                      <a:pt x="364" y="721"/>
                    </a:lnTo>
                    <a:lnTo>
                      <a:pt x="458" y="804"/>
                    </a:lnTo>
                    <a:lnTo>
                      <a:pt x="408" y="813"/>
                    </a:lnTo>
                    <a:lnTo>
                      <a:pt x="392" y="833"/>
                    </a:lnTo>
                    <a:lnTo>
                      <a:pt x="394" y="858"/>
                    </a:lnTo>
                    <a:lnTo>
                      <a:pt x="441" y="930"/>
                    </a:lnTo>
                    <a:lnTo>
                      <a:pt x="570" y="1027"/>
                    </a:lnTo>
                    <a:lnTo>
                      <a:pt x="595" y="1107"/>
                    </a:lnTo>
                    <a:lnTo>
                      <a:pt x="740" y="1117"/>
                    </a:lnTo>
                    <a:lnTo>
                      <a:pt x="989" y="1310"/>
                    </a:lnTo>
                    <a:lnTo>
                      <a:pt x="1026" y="1291"/>
                    </a:lnTo>
                    <a:lnTo>
                      <a:pt x="920" y="1173"/>
                    </a:lnTo>
                    <a:lnTo>
                      <a:pt x="915" y="1117"/>
                    </a:lnTo>
                    <a:lnTo>
                      <a:pt x="896" y="1098"/>
                    </a:lnTo>
                    <a:lnTo>
                      <a:pt x="870" y="1087"/>
                    </a:lnTo>
                    <a:lnTo>
                      <a:pt x="780" y="985"/>
                    </a:lnTo>
                    <a:lnTo>
                      <a:pt x="777" y="963"/>
                    </a:lnTo>
                    <a:lnTo>
                      <a:pt x="734" y="897"/>
                    </a:lnTo>
                    <a:lnTo>
                      <a:pt x="701" y="886"/>
                    </a:lnTo>
                    <a:lnTo>
                      <a:pt x="666" y="822"/>
                    </a:lnTo>
                    <a:lnTo>
                      <a:pt x="644" y="820"/>
                    </a:lnTo>
                    <a:lnTo>
                      <a:pt x="649" y="786"/>
                    </a:lnTo>
                    <a:lnTo>
                      <a:pt x="660" y="777"/>
                    </a:lnTo>
                    <a:lnTo>
                      <a:pt x="643" y="749"/>
                    </a:lnTo>
                    <a:lnTo>
                      <a:pt x="643" y="722"/>
                    </a:lnTo>
                    <a:lnTo>
                      <a:pt x="620" y="692"/>
                    </a:lnTo>
                    <a:lnTo>
                      <a:pt x="603" y="634"/>
                    </a:lnTo>
                    <a:lnTo>
                      <a:pt x="582" y="630"/>
                    </a:lnTo>
                    <a:lnTo>
                      <a:pt x="549" y="597"/>
                    </a:lnTo>
                    <a:lnTo>
                      <a:pt x="551" y="586"/>
                    </a:lnTo>
                    <a:lnTo>
                      <a:pt x="567" y="576"/>
                    </a:lnTo>
                    <a:lnTo>
                      <a:pt x="563" y="557"/>
                    </a:lnTo>
                    <a:lnTo>
                      <a:pt x="569" y="469"/>
                    </a:lnTo>
                    <a:lnTo>
                      <a:pt x="596" y="442"/>
                    </a:lnTo>
                    <a:lnTo>
                      <a:pt x="637" y="452"/>
                    </a:lnTo>
                    <a:lnTo>
                      <a:pt x="638" y="467"/>
                    </a:lnTo>
                    <a:lnTo>
                      <a:pt x="698" y="536"/>
                    </a:lnTo>
                    <a:lnTo>
                      <a:pt x="711" y="538"/>
                    </a:lnTo>
                    <a:lnTo>
                      <a:pt x="758" y="459"/>
                    </a:lnTo>
                    <a:lnTo>
                      <a:pt x="844" y="473"/>
                    </a:lnTo>
                    <a:lnTo>
                      <a:pt x="863" y="450"/>
                    </a:lnTo>
                    <a:lnTo>
                      <a:pt x="870" y="450"/>
                    </a:lnTo>
                    <a:lnTo>
                      <a:pt x="926" y="494"/>
                    </a:lnTo>
                    <a:lnTo>
                      <a:pt x="944" y="495"/>
                    </a:lnTo>
                    <a:lnTo>
                      <a:pt x="954" y="483"/>
                    </a:lnTo>
                    <a:lnTo>
                      <a:pt x="972" y="502"/>
                    </a:lnTo>
                    <a:lnTo>
                      <a:pt x="1043" y="514"/>
                    </a:lnTo>
                    <a:lnTo>
                      <a:pt x="1049" y="506"/>
                    </a:lnTo>
                    <a:lnTo>
                      <a:pt x="1059" y="507"/>
                    </a:lnTo>
                    <a:lnTo>
                      <a:pt x="1097" y="539"/>
                    </a:lnTo>
                    <a:lnTo>
                      <a:pt x="1110" y="538"/>
                    </a:lnTo>
                    <a:lnTo>
                      <a:pt x="1139" y="506"/>
                    </a:lnTo>
                    <a:lnTo>
                      <a:pt x="1154" y="509"/>
                    </a:lnTo>
                    <a:lnTo>
                      <a:pt x="1172" y="532"/>
                    </a:lnTo>
                    <a:lnTo>
                      <a:pt x="1185" y="535"/>
                    </a:lnTo>
                    <a:lnTo>
                      <a:pt x="1199" y="516"/>
                    </a:lnTo>
                    <a:lnTo>
                      <a:pt x="1249" y="523"/>
                    </a:lnTo>
                    <a:lnTo>
                      <a:pt x="1267" y="550"/>
                    </a:lnTo>
                    <a:lnTo>
                      <a:pt x="1278" y="542"/>
                    </a:lnTo>
                    <a:lnTo>
                      <a:pt x="1278" y="532"/>
                    </a:lnTo>
                    <a:lnTo>
                      <a:pt x="1310" y="534"/>
                    </a:lnTo>
                    <a:lnTo>
                      <a:pt x="1342" y="571"/>
                    </a:lnTo>
                    <a:lnTo>
                      <a:pt x="1334" y="589"/>
                    </a:lnTo>
                    <a:lnTo>
                      <a:pt x="1336" y="600"/>
                    </a:lnTo>
                    <a:lnTo>
                      <a:pt x="1360" y="620"/>
                    </a:lnTo>
                    <a:lnTo>
                      <a:pt x="1398" y="619"/>
                    </a:lnTo>
                    <a:lnTo>
                      <a:pt x="1428" y="597"/>
                    </a:lnTo>
                    <a:lnTo>
                      <a:pt x="1434" y="575"/>
                    </a:lnTo>
                    <a:lnTo>
                      <a:pt x="1424" y="568"/>
                    </a:lnTo>
                    <a:lnTo>
                      <a:pt x="1418" y="524"/>
                    </a:lnTo>
                    <a:lnTo>
                      <a:pt x="1429" y="510"/>
                    </a:lnTo>
                    <a:lnTo>
                      <a:pt x="1435" y="488"/>
                    </a:lnTo>
                    <a:lnTo>
                      <a:pt x="1445" y="486"/>
                    </a:lnTo>
                    <a:lnTo>
                      <a:pt x="1480" y="494"/>
                    </a:lnTo>
                    <a:lnTo>
                      <a:pt x="1497" y="485"/>
                    </a:lnTo>
                    <a:lnTo>
                      <a:pt x="1495" y="475"/>
                    </a:lnTo>
                    <a:lnTo>
                      <a:pt x="1485" y="470"/>
                    </a:lnTo>
                    <a:lnTo>
                      <a:pt x="1465" y="471"/>
                    </a:lnTo>
                    <a:lnTo>
                      <a:pt x="1448" y="462"/>
                    </a:lnTo>
                    <a:lnTo>
                      <a:pt x="1427" y="464"/>
                    </a:lnTo>
                    <a:lnTo>
                      <a:pt x="1406" y="442"/>
                    </a:lnTo>
                    <a:lnTo>
                      <a:pt x="1388" y="442"/>
                    </a:lnTo>
                    <a:lnTo>
                      <a:pt x="1381" y="434"/>
                    </a:lnTo>
                    <a:lnTo>
                      <a:pt x="1388" y="412"/>
                    </a:lnTo>
                    <a:lnTo>
                      <a:pt x="1382" y="403"/>
                    </a:lnTo>
                    <a:lnTo>
                      <a:pt x="1386" y="391"/>
                    </a:lnTo>
                    <a:lnTo>
                      <a:pt x="1395" y="391"/>
                    </a:lnTo>
                    <a:lnTo>
                      <a:pt x="1404" y="384"/>
                    </a:lnTo>
                    <a:lnTo>
                      <a:pt x="1404" y="377"/>
                    </a:lnTo>
                    <a:lnTo>
                      <a:pt x="1390" y="366"/>
                    </a:lnTo>
                    <a:lnTo>
                      <a:pt x="1381" y="366"/>
                    </a:lnTo>
                    <a:lnTo>
                      <a:pt x="1371" y="376"/>
                    </a:lnTo>
                    <a:lnTo>
                      <a:pt x="1356" y="368"/>
                    </a:lnTo>
                    <a:lnTo>
                      <a:pt x="1354" y="356"/>
                    </a:lnTo>
                    <a:lnTo>
                      <a:pt x="1367" y="338"/>
                    </a:lnTo>
                    <a:lnTo>
                      <a:pt x="1366" y="323"/>
                    </a:lnTo>
                    <a:lnTo>
                      <a:pt x="1355" y="312"/>
                    </a:lnTo>
                    <a:lnTo>
                      <a:pt x="1362" y="302"/>
                    </a:lnTo>
                    <a:lnTo>
                      <a:pt x="1360" y="286"/>
                    </a:lnTo>
                    <a:lnTo>
                      <a:pt x="1325" y="252"/>
                    </a:lnTo>
                    <a:close/>
                  </a:path>
                </a:pathLst>
              </a:custGeom>
              <a:solidFill>
                <a:srgbClr val="00A194"/>
              </a:solidFill>
              <a:ln w="12700">
                <a:solidFill>
                  <a:sysClr val="window" lastClr="FFFFFF"/>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1" u="none" strike="noStrike" kern="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03" name="GR">
              <a:extLst>
                <a:ext uri="{FF2B5EF4-FFF2-40B4-BE49-F238E27FC236}">
                  <a16:creationId xmlns:a16="http://schemas.microsoft.com/office/drawing/2014/main" id="{22A91149-A83F-184C-7A20-DB96F0BA9582}"/>
                </a:ext>
              </a:extLst>
            </p:cNvPr>
            <p:cNvGrpSpPr>
              <a:grpSpLocks/>
            </p:cNvGrpSpPr>
            <p:nvPr/>
          </p:nvGrpSpPr>
          <p:grpSpPr bwMode="auto">
            <a:xfrm>
              <a:off x="9692261" y="5130936"/>
              <a:ext cx="959599" cy="1125040"/>
              <a:chOff x="6623634" y="6288022"/>
              <a:chExt cx="742950" cy="915988"/>
            </a:xfrm>
            <a:solidFill>
              <a:srgbClr val="A2C613"/>
            </a:solidFill>
          </p:grpSpPr>
          <p:sp>
            <p:nvSpPr>
              <p:cNvPr id="504" name="Freeform 164">
                <a:extLst>
                  <a:ext uri="{FF2B5EF4-FFF2-40B4-BE49-F238E27FC236}">
                    <a16:creationId xmlns:a16="http://schemas.microsoft.com/office/drawing/2014/main" id="{B4FF89A0-A6A7-5A81-F033-F1B4BEEAEB82}"/>
                  </a:ext>
                </a:extLst>
              </p:cNvPr>
              <p:cNvSpPr>
                <a:spLocks/>
              </p:cNvSpPr>
              <p:nvPr/>
            </p:nvSpPr>
            <p:spPr bwMode="auto">
              <a:xfrm rot="21249101">
                <a:off x="6934784" y="6675372"/>
                <a:ext cx="182563" cy="138113"/>
              </a:xfrm>
              <a:custGeom>
                <a:avLst/>
                <a:gdLst>
                  <a:gd name="T0" fmla="*/ 2147483647 w 487"/>
                  <a:gd name="T1" fmla="*/ 2147483647 h 373"/>
                  <a:gd name="T2" fmla="*/ 2147483647 w 487"/>
                  <a:gd name="T3" fmla="*/ 2147483647 h 373"/>
                  <a:gd name="T4" fmla="*/ 2147483647 w 487"/>
                  <a:gd name="T5" fmla="*/ 2147483647 h 373"/>
                  <a:gd name="T6" fmla="*/ 2147483647 w 487"/>
                  <a:gd name="T7" fmla="*/ 2147483647 h 373"/>
                  <a:gd name="T8" fmla="*/ 2147483647 w 487"/>
                  <a:gd name="T9" fmla="*/ 2147483647 h 373"/>
                  <a:gd name="T10" fmla="*/ 2147483647 w 487"/>
                  <a:gd name="T11" fmla="*/ 2147483647 h 373"/>
                  <a:gd name="T12" fmla="*/ 2147483647 w 487"/>
                  <a:gd name="T13" fmla="*/ 2147483647 h 373"/>
                  <a:gd name="T14" fmla="*/ 2147483647 w 487"/>
                  <a:gd name="T15" fmla="*/ 2147483647 h 373"/>
                  <a:gd name="T16" fmla="*/ 2147483647 w 487"/>
                  <a:gd name="T17" fmla="*/ 2147483647 h 373"/>
                  <a:gd name="T18" fmla="*/ 2147483647 w 487"/>
                  <a:gd name="T19" fmla="*/ 0 h 373"/>
                  <a:gd name="T20" fmla="*/ 2147483647 w 487"/>
                  <a:gd name="T21" fmla="*/ 2147483647 h 373"/>
                  <a:gd name="T22" fmla="*/ 0 w 487"/>
                  <a:gd name="T23" fmla="*/ 2147483647 h 373"/>
                  <a:gd name="T24" fmla="*/ 2147483647 w 487"/>
                  <a:gd name="T25" fmla="*/ 2147483647 h 373"/>
                  <a:gd name="T26" fmla="*/ 2147483647 w 487"/>
                  <a:gd name="T27" fmla="*/ 2147483647 h 373"/>
                  <a:gd name="T28" fmla="*/ 2147483647 w 487"/>
                  <a:gd name="T29" fmla="*/ 2147483647 h 373"/>
                  <a:gd name="T30" fmla="*/ 2147483647 w 487"/>
                  <a:gd name="T31" fmla="*/ 2147483647 h 373"/>
                  <a:gd name="T32" fmla="*/ 2147483647 w 487"/>
                  <a:gd name="T33" fmla="*/ 2147483647 h 373"/>
                  <a:gd name="T34" fmla="*/ 2147483647 w 487"/>
                  <a:gd name="T35" fmla="*/ 2147483647 h 373"/>
                  <a:gd name="T36" fmla="*/ 2147483647 w 487"/>
                  <a:gd name="T37" fmla="*/ 2147483647 h 373"/>
                  <a:gd name="T38" fmla="*/ 2147483647 w 487"/>
                  <a:gd name="T39" fmla="*/ 2147483647 h 373"/>
                  <a:gd name="T40" fmla="*/ 2147483647 w 487"/>
                  <a:gd name="T41" fmla="*/ 2147483647 h 373"/>
                  <a:gd name="T42" fmla="*/ 2147483647 w 487"/>
                  <a:gd name="T43" fmla="*/ 2147483647 h 373"/>
                  <a:gd name="T44" fmla="*/ 2147483647 w 487"/>
                  <a:gd name="T45" fmla="*/ 2147483647 h 37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87"/>
                  <a:gd name="T70" fmla="*/ 0 h 373"/>
                  <a:gd name="T71" fmla="*/ 487 w 487"/>
                  <a:gd name="T72" fmla="*/ 373 h 37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87" h="373">
                    <a:moveTo>
                      <a:pt x="474" y="325"/>
                    </a:moveTo>
                    <a:lnTo>
                      <a:pt x="487" y="341"/>
                    </a:lnTo>
                    <a:lnTo>
                      <a:pt x="482" y="297"/>
                    </a:lnTo>
                    <a:lnTo>
                      <a:pt x="399" y="277"/>
                    </a:lnTo>
                    <a:lnTo>
                      <a:pt x="362" y="202"/>
                    </a:lnTo>
                    <a:lnTo>
                      <a:pt x="360" y="159"/>
                    </a:lnTo>
                    <a:lnTo>
                      <a:pt x="330" y="130"/>
                    </a:lnTo>
                    <a:lnTo>
                      <a:pt x="197" y="95"/>
                    </a:lnTo>
                    <a:lnTo>
                      <a:pt x="112" y="21"/>
                    </a:lnTo>
                    <a:lnTo>
                      <a:pt x="101" y="0"/>
                    </a:lnTo>
                    <a:lnTo>
                      <a:pt x="71" y="1"/>
                    </a:lnTo>
                    <a:lnTo>
                      <a:pt x="0" y="71"/>
                    </a:lnTo>
                    <a:lnTo>
                      <a:pt x="54" y="70"/>
                    </a:lnTo>
                    <a:lnTo>
                      <a:pt x="169" y="159"/>
                    </a:lnTo>
                    <a:lnTo>
                      <a:pt x="179" y="199"/>
                    </a:lnTo>
                    <a:lnTo>
                      <a:pt x="225" y="222"/>
                    </a:lnTo>
                    <a:lnTo>
                      <a:pt x="285" y="226"/>
                    </a:lnTo>
                    <a:lnTo>
                      <a:pt x="344" y="266"/>
                    </a:lnTo>
                    <a:lnTo>
                      <a:pt x="363" y="297"/>
                    </a:lnTo>
                    <a:lnTo>
                      <a:pt x="379" y="343"/>
                    </a:lnTo>
                    <a:lnTo>
                      <a:pt x="409" y="366"/>
                    </a:lnTo>
                    <a:lnTo>
                      <a:pt x="476" y="373"/>
                    </a:lnTo>
                    <a:lnTo>
                      <a:pt x="474" y="325"/>
                    </a:lnTo>
                    <a:close/>
                  </a:path>
                </a:pathLst>
              </a:custGeom>
              <a:grpFill/>
              <a:ln w="12700">
                <a:solidFill>
                  <a:sysClr val="window" lastClr="FFFFFF"/>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1" u="none" strike="noStrike" kern="0" cap="none" spc="0" normalizeH="0" baseline="0" noProof="0" dirty="0">
                  <a:ln>
                    <a:noFill/>
                  </a:ln>
                  <a:solidFill>
                    <a:prstClr val="black"/>
                  </a:solidFill>
                  <a:effectLst/>
                  <a:uLnTx/>
                  <a:uFillTx/>
                  <a:latin typeface="Arial" panose="020B0604020202020204"/>
                  <a:ea typeface="+mn-ea"/>
                  <a:cs typeface="+mn-cs"/>
                </a:endParaRPr>
              </a:p>
            </p:txBody>
          </p:sp>
          <p:sp>
            <p:nvSpPr>
              <p:cNvPr id="505" name="Freeform 158">
                <a:extLst>
                  <a:ext uri="{FF2B5EF4-FFF2-40B4-BE49-F238E27FC236}">
                    <a16:creationId xmlns:a16="http://schemas.microsoft.com/office/drawing/2014/main" id="{4013E27E-25B4-EF20-7374-C50F71FC5540}"/>
                  </a:ext>
                </a:extLst>
              </p:cNvPr>
              <p:cNvSpPr>
                <a:spLocks/>
              </p:cNvSpPr>
              <p:nvPr/>
            </p:nvSpPr>
            <p:spPr bwMode="auto">
              <a:xfrm rot="21249101">
                <a:off x="7061784" y="7111935"/>
                <a:ext cx="304800" cy="92075"/>
              </a:xfrm>
              <a:custGeom>
                <a:avLst/>
                <a:gdLst>
                  <a:gd name="T0" fmla="*/ 2147483647 w 833"/>
                  <a:gd name="T1" fmla="*/ 2147483647 h 243"/>
                  <a:gd name="T2" fmla="*/ 2147483647 w 833"/>
                  <a:gd name="T3" fmla="*/ 2147483647 h 243"/>
                  <a:gd name="T4" fmla="*/ 2147483647 w 833"/>
                  <a:gd name="T5" fmla="*/ 2147483647 h 243"/>
                  <a:gd name="T6" fmla="*/ 2147483647 w 833"/>
                  <a:gd name="T7" fmla="*/ 2147483647 h 243"/>
                  <a:gd name="T8" fmla="*/ 2147483647 w 833"/>
                  <a:gd name="T9" fmla="*/ 2147483647 h 243"/>
                  <a:gd name="T10" fmla="*/ 2147483647 w 833"/>
                  <a:gd name="T11" fmla="*/ 2147483647 h 243"/>
                  <a:gd name="T12" fmla="*/ 2147483647 w 833"/>
                  <a:gd name="T13" fmla="*/ 2147483647 h 243"/>
                  <a:gd name="T14" fmla="*/ 2147483647 w 833"/>
                  <a:gd name="T15" fmla="*/ 2147483647 h 243"/>
                  <a:gd name="T16" fmla="*/ 2147483647 w 833"/>
                  <a:gd name="T17" fmla="*/ 2147483647 h 243"/>
                  <a:gd name="T18" fmla="*/ 2147483647 w 833"/>
                  <a:gd name="T19" fmla="*/ 0 h 243"/>
                  <a:gd name="T20" fmla="*/ 2147483647 w 833"/>
                  <a:gd name="T21" fmla="*/ 2147483647 h 243"/>
                  <a:gd name="T22" fmla="*/ 2147483647 w 833"/>
                  <a:gd name="T23" fmla="*/ 2147483647 h 243"/>
                  <a:gd name="T24" fmla="*/ 0 w 833"/>
                  <a:gd name="T25" fmla="*/ 2147483647 h 243"/>
                  <a:gd name="T26" fmla="*/ 2147483647 w 833"/>
                  <a:gd name="T27" fmla="*/ 2147483647 h 243"/>
                  <a:gd name="T28" fmla="*/ 2147483647 w 833"/>
                  <a:gd name="T29" fmla="*/ 2147483647 h 243"/>
                  <a:gd name="T30" fmla="*/ 2147483647 w 833"/>
                  <a:gd name="T31" fmla="*/ 2147483647 h 243"/>
                  <a:gd name="T32" fmla="*/ 2147483647 w 833"/>
                  <a:gd name="T33" fmla="*/ 2147483647 h 243"/>
                  <a:gd name="T34" fmla="*/ 2147483647 w 833"/>
                  <a:gd name="T35" fmla="*/ 2147483647 h 243"/>
                  <a:gd name="T36" fmla="*/ 2147483647 w 833"/>
                  <a:gd name="T37" fmla="*/ 2147483647 h 243"/>
                  <a:gd name="T38" fmla="*/ 2147483647 w 833"/>
                  <a:gd name="T39" fmla="*/ 2147483647 h 243"/>
                  <a:gd name="T40" fmla="*/ 2147483647 w 833"/>
                  <a:gd name="T41" fmla="*/ 2147483647 h 243"/>
                  <a:gd name="T42" fmla="*/ 2147483647 w 833"/>
                  <a:gd name="T43" fmla="*/ 2147483647 h 243"/>
                  <a:gd name="T44" fmla="*/ 2147483647 w 833"/>
                  <a:gd name="T45" fmla="*/ 2147483647 h 243"/>
                  <a:gd name="T46" fmla="*/ 2147483647 w 833"/>
                  <a:gd name="T47" fmla="*/ 2147483647 h 243"/>
                  <a:gd name="T48" fmla="*/ 2147483647 w 833"/>
                  <a:gd name="T49" fmla="*/ 2147483647 h 243"/>
                  <a:gd name="T50" fmla="*/ 2147483647 w 833"/>
                  <a:gd name="T51" fmla="*/ 2147483647 h 243"/>
                  <a:gd name="T52" fmla="*/ 2147483647 w 833"/>
                  <a:gd name="T53" fmla="*/ 2147483647 h 243"/>
                  <a:gd name="T54" fmla="*/ 2147483647 w 833"/>
                  <a:gd name="T55" fmla="*/ 2147483647 h 243"/>
                  <a:gd name="T56" fmla="*/ 2147483647 w 833"/>
                  <a:gd name="T57" fmla="*/ 2147483647 h 24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33"/>
                  <a:gd name="T88" fmla="*/ 0 h 243"/>
                  <a:gd name="T89" fmla="*/ 833 w 833"/>
                  <a:gd name="T90" fmla="*/ 243 h 24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33" h="243">
                    <a:moveTo>
                      <a:pt x="452" y="66"/>
                    </a:moveTo>
                    <a:lnTo>
                      <a:pt x="409" y="52"/>
                    </a:lnTo>
                    <a:lnTo>
                      <a:pt x="245" y="88"/>
                    </a:lnTo>
                    <a:lnTo>
                      <a:pt x="207" y="60"/>
                    </a:lnTo>
                    <a:lnTo>
                      <a:pt x="177" y="58"/>
                    </a:lnTo>
                    <a:lnTo>
                      <a:pt x="189" y="25"/>
                    </a:lnTo>
                    <a:lnTo>
                      <a:pt x="165" y="1"/>
                    </a:lnTo>
                    <a:lnTo>
                      <a:pt x="133" y="31"/>
                    </a:lnTo>
                    <a:lnTo>
                      <a:pt x="73" y="2"/>
                    </a:lnTo>
                    <a:lnTo>
                      <a:pt x="53" y="0"/>
                    </a:lnTo>
                    <a:lnTo>
                      <a:pt x="41" y="43"/>
                    </a:lnTo>
                    <a:lnTo>
                      <a:pt x="11" y="34"/>
                    </a:lnTo>
                    <a:lnTo>
                      <a:pt x="0" y="155"/>
                    </a:lnTo>
                    <a:lnTo>
                      <a:pt x="278" y="155"/>
                    </a:lnTo>
                    <a:lnTo>
                      <a:pt x="310" y="176"/>
                    </a:lnTo>
                    <a:lnTo>
                      <a:pt x="357" y="190"/>
                    </a:lnTo>
                    <a:lnTo>
                      <a:pt x="386" y="243"/>
                    </a:lnTo>
                    <a:lnTo>
                      <a:pt x="731" y="170"/>
                    </a:lnTo>
                    <a:lnTo>
                      <a:pt x="789" y="192"/>
                    </a:lnTo>
                    <a:lnTo>
                      <a:pt x="833" y="107"/>
                    </a:lnTo>
                    <a:lnTo>
                      <a:pt x="821" y="82"/>
                    </a:lnTo>
                    <a:lnTo>
                      <a:pt x="786" y="104"/>
                    </a:lnTo>
                    <a:lnTo>
                      <a:pt x="756" y="110"/>
                    </a:lnTo>
                    <a:lnTo>
                      <a:pt x="718" y="128"/>
                    </a:lnTo>
                    <a:lnTo>
                      <a:pt x="671" y="117"/>
                    </a:lnTo>
                    <a:lnTo>
                      <a:pt x="642" y="76"/>
                    </a:lnTo>
                    <a:lnTo>
                      <a:pt x="490" y="89"/>
                    </a:lnTo>
                    <a:lnTo>
                      <a:pt x="453" y="82"/>
                    </a:lnTo>
                    <a:lnTo>
                      <a:pt x="452" y="66"/>
                    </a:lnTo>
                    <a:close/>
                  </a:path>
                </a:pathLst>
              </a:custGeom>
              <a:grpFill/>
              <a:ln w="12700">
                <a:solidFill>
                  <a:sysClr val="window" lastClr="FFFFFF"/>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1" u="none" strike="noStrike" kern="0" cap="none" spc="0" normalizeH="0" baseline="0" noProof="0" dirty="0">
                  <a:ln>
                    <a:noFill/>
                  </a:ln>
                  <a:solidFill>
                    <a:prstClr val="black"/>
                  </a:solidFill>
                  <a:effectLst/>
                  <a:uLnTx/>
                  <a:uFillTx/>
                  <a:latin typeface="Arial" panose="020B0604020202020204"/>
                  <a:ea typeface="+mn-ea"/>
                  <a:cs typeface="+mn-cs"/>
                </a:endParaRPr>
              </a:p>
            </p:txBody>
          </p:sp>
          <p:sp>
            <p:nvSpPr>
              <p:cNvPr id="506" name="Freeform 160">
                <a:extLst>
                  <a:ext uri="{FF2B5EF4-FFF2-40B4-BE49-F238E27FC236}">
                    <a16:creationId xmlns:a16="http://schemas.microsoft.com/office/drawing/2014/main" id="{479DF8CA-9F1E-4D71-DBC1-90BAC2359B1E}"/>
                  </a:ext>
                </a:extLst>
              </p:cNvPr>
              <p:cNvSpPr>
                <a:spLocks/>
              </p:cNvSpPr>
              <p:nvPr/>
            </p:nvSpPr>
            <p:spPr bwMode="auto">
              <a:xfrm rot="21249101">
                <a:off x="6763334" y="6791260"/>
                <a:ext cx="249238" cy="254000"/>
              </a:xfrm>
              <a:custGeom>
                <a:avLst/>
                <a:gdLst>
                  <a:gd name="T0" fmla="*/ 2147483647 w 681"/>
                  <a:gd name="T1" fmla="*/ 0 h 683"/>
                  <a:gd name="T2" fmla="*/ 2147483647 w 681"/>
                  <a:gd name="T3" fmla="*/ 2147483647 h 683"/>
                  <a:gd name="T4" fmla="*/ 2147483647 w 681"/>
                  <a:gd name="T5" fmla="*/ 2147483647 h 683"/>
                  <a:gd name="T6" fmla="*/ 2147483647 w 681"/>
                  <a:gd name="T7" fmla="*/ 2147483647 h 683"/>
                  <a:gd name="T8" fmla="*/ 2147483647 w 681"/>
                  <a:gd name="T9" fmla="*/ 2147483647 h 683"/>
                  <a:gd name="T10" fmla="*/ 0 w 681"/>
                  <a:gd name="T11" fmla="*/ 2147483647 h 683"/>
                  <a:gd name="T12" fmla="*/ 2147483647 w 681"/>
                  <a:gd name="T13" fmla="*/ 2147483647 h 683"/>
                  <a:gd name="T14" fmla="*/ 2147483647 w 681"/>
                  <a:gd name="T15" fmla="*/ 2147483647 h 683"/>
                  <a:gd name="T16" fmla="*/ 2147483647 w 681"/>
                  <a:gd name="T17" fmla="*/ 2147483647 h 683"/>
                  <a:gd name="T18" fmla="*/ 2147483647 w 681"/>
                  <a:gd name="T19" fmla="*/ 2147483647 h 683"/>
                  <a:gd name="T20" fmla="*/ 2147483647 w 681"/>
                  <a:gd name="T21" fmla="*/ 2147483647 h 683"/>
                  <a:gd name="T22" fmla="*/ 2147483647 w 681"/>
                  <a:gd name="T23" fmla="*/ 2147483647 h 683"/>
                  <a:gd name="T24" fmla="*/ 2147483647 w 681"/>
                  <a:gd name="T25" fmla="*/ 2147483647 h 683"/>
                  <a:gd name="T26" fmla="*/ 2147483647 w 681"/>
                  <a:gd name="T27" fmla="*/ 2147483647 h 683"/>
                  <a:gd name="T28" fmla="*/ 2147483647 w 681"/>
                  <a:gd name="T29" fmla="*/ 2147483647 h 683"/>
                  <a:gd name="T30" fmla="*/ 2147483647 w 681"/>
                  <a:gd name="T31" fmla="*/ 2147483647 h 683"/>
                  <a:gd name="T32" fmla="*/ 2147483647 w 681"/>
                  <a:gd name="T33" fmla="*/ 2147483647 h 683"/>
                  <a:gd name="T34" fmla="*/ 2147483647 w 681"/>
                  <a:gd name="T35" fmla="*/ 2147483647 h 683"/>
                  <a:gd name="T36" fmla="*/ 2147483647 w 681"/>
                  <a:gd name="T37" fmla="*/ 2147483647 h 683"/>
                  <a:gd name="T38" fmla="*/ 2147483647 w 681"/>
                  <a:gd name="T39" fmla="*/ 2147483647 h 683"/>
                  <a:gd name="T40" fmla="*/ 2147483647 w 681"/>
                  <a:gd name="T41" fmla="*/ 2147483647 h 683"/>
                  <a:gd name="T42" fmla="*/ 2147483647 w 681"/>
                  <a:gd name="T43" fmla="*/ 2147483647 h 683"/>
                  <a:gd name="T44" fmla="*/ 2147483647 w 681"/>
                  <a:gd name="T45" fmla="*/ 2147483647 h 683"/>
                  <a:gd name="T46" fmla="*/ 2147483647 w 681"/>
                  <a:gd name="T47" fmla="*/ 2147483647 h 683"/>
                  <a:gd name="T48" fmla="*/ 2147483647 w 681"/>
                  <a:gd name="T49" fmla="*/ 2147483647 h 683"/>
                  <a:gd name="T50" fmla="*/ 2147483647 w 681"/>
                  <a:gd name="T51" fmla="*/ 2147483647 h 683"/>
                  <a:gd name="T52" fmla="*/ 2147483647 w 681"/>
                  <a:gd name="T53" fmla="*/ 2147483647 h 683"/>
                  <a:gd name="T54" fmla="*/ 2147483647 w 681"/>
                  <a:gd name="T55" fmla="*/ 2147483647 h 683"/>
                  <a:gd name="T56" fmla="*/ 2147483647 w 681"/>
                  <a:gd name="T57" fmla="*/ 2147483647 h 683"/>
                  <a:gd name="T58" fmla="*/ 2147483647 w 681"/>
                  <a:gd name="T59" fmla="*/ 2147483647 h 683"/>
                  <a:gd name="T60" fmla="*/ 2147483647 w 681"/>
                  <a:gd name="T61" fmla="*/ 2147483647 h 683"/>
                  <a:gd name="T62" fmla="*/ 2147483647 w 681"/>
                  <a:gd name="T63" fmla="*/ 2147483647 h 683"/>
                  <a:gd name="T64" fmla="*/ 2147483647 w 681"/>
                  <a:gd name="T65" fmla="*/ 2147483647 h 683"/>
                  <a:gd name="T66" fmla="*/ 2147483647 w 681"/>
                  <a:gd name="T67" fmla="*/ 2147483647 h 683"/>
                  <a:gd name="T68" fmla="*/ 2147483647 w 681"/>
                  <a:gd name="T69" fmla="*/ 2147483647 h 683"/>
                  <a:gd name="T70" fmla="*/ 2147483647 w 681"/>
                  <a:gd name="T71" fmla="*/ 2147483647 h 683"/>
                  <a:gd name="T72" fmla="*/ 2147483647 w 681"/>
                  <a:gd name="T73" fmla="*/ 2147483647 h 683"/>
                  <a:gd name="T74" fmla="*/ 2147483647 w 681"/>
                  <a:gd name="T75" fmla="*/ 0 h 68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81"/>
                  <a:gd name="T115" fmla="*/ 0 h 683"/>
                  <a:gd name="T116" fmla="*/ 681 w 681"/>
                  <a:gd name="T117" fmla="*/ 683 h 68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81" h="683">
                    <a:moveTo>
                      <a:pt x="256" y="0"/>
                    </a:moveTo>
                    <a:lnTo>
                      <a:pt x="187" y="11"/>
                    </a:lnTo>
                    <a:lnTo>
                      <a:pt x="112" y="62"/>
                    </a:lnTo>
                    <a:lnTo>
                      <a:pt x="70" y="48"/>
                    </a:lnTo>
                    <a:lnTo>
                      <a:pt x="12" y="147"/>
                    </a:lnTo>
                    <a:lnTo>
                      <a:pt x="0" y="194"/>
                    </a:lnTo>
                    <a:lnTo>
                      <a:pt x="36" y="264"/>
                    </a:lnTo>
                    <a:lnTo>
                      <a:pt x="116" y="300"/>
                    </a:lnTo>
                    <a:lnTo>
                      <a:pt x="156" y="366"/>
                    </a:lnTo>
                    <a:lnTo>
                      <a:pt x="132" y="452"/>
                    </a:lnTo>
                    <a:lnTo>
                      <a:pt x="147" y="522"/>
                    </a:lnTo>
                    <a:lnTo>
                      <a:pt x="176" y="553"/>
                    </a:lnTo>
                    <a:lnTo>
                      <a:pt x="219" y="569"/>
                    </a:lnTo>
                    <a:lnTo>
                      <a:pt x="231" y="511"/>
                    </a:lnTo>
                    <a:lnTo>
                      <a:pt x="265" y="466"/>
                    </a:lnTo>
                    <a:lnTo>
                      <a:pt x="288" y="503"/>
                    </a:lnTo>
                    <a:lnTo>
                      <a:pt x="331" y="537"/>
                    </a:lnTo>
                    <a:lnTo>
                      <a:pt x="367" y="681"/>
                    </a:lnTo>
                    <a:lnTo>
                      <a:pt x="394" y="683"/>
                    </a:lnTo>
                    <a:lnTo>
                      <a:pt x="413" y="575"/>
                    </a:lnTo>
                    <a:lnTo>
                      <a:pt x="461" y="552"/>
                    </a:lnTo>
                    <a:lnTo>
                      <a:pt x="495" y="605"/>
                    </a:lnTo>
                    <a:lnTo>
                      <a:pt x="586" y="666"/>
                    </a:lnTo>
                    <a:lnTo>
                      <a:pt x="527" y="393"/>
                    </a:lnTo>
                    <a:lnTo>
                      <a:pt x="487" y="337"/>
                    </a:lnTo>
                    <a:lnTo>
                      <a:pt x="468" y="274"/>
                    </a:lnTo>
                    <a:lnTo>
                      <a:pt x="566" y="332"/>
                    </a:lnTo>
                    <a:lnTo>
                      <a:pt x="577" y="363"/>
                    </a:lnTo>
                    <a:lnTo>
                      <a:pt x="603" y="355"/>
                    </a:lnTo>
                    <a:lnTo>
                      <a:pt x="637" y="322"/>
                    </a:lnTo>
                    <a:lnTo>
                      <a:pt x="681" y="315"/>
                    </a:lnTo>
                    <a:lnTo>
                      <a:pt x="671" y="276"/>
                    </a:lnTo>
                    <a:lnTo>
                      <a:pt x="605" y="237"/>
                    </a:lnTo>
                    <a:lnTo>
                      <a:pt x="563" y="160"/>
                    </a:lnTo>
                    <a:lnTo>
                      <a:pt x="565" y="120"/>
                    </a:lnTo>
                    <a:lnTo>
                      <a:pt x="321" y="39"/>
                    </a:lnTo>
                    <a:lnTo>
                      <a:pt x="293" y="40"/>
                    </a:lnTo>
                    <a:lnTo>
                      <a:pt x="256" y="0"/>
                    </a:lnTo>
                    <a:close/>
                  </a:path>
                </a:pathLst>
              </a:custGeom>
              <a:grpFill/>
              <a:ln w="12700">
                <a:solidFill>
                  <a:sysClr val="window" lastClr="FFFFFF"/>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1" u="none" strike="noStrike" kern="0" cap="none" spc="0" normalizeH="0" baseline="0" noProof="0" dirty="0">
                  <a:ln>
                    <a:noFill/>
                  </a:ln>
                  <a:solidFill>
                    <a:prstClr val="black"/>
                  </a:solidFill>
                  <a:effectLst/>
                  <a:uLnTx/>
                  <a:uFillTx/>
                  <a:latin typeface="Arial" panose="020B0604020202020204"/>
                  <a:ea typeface="+mn-ea"/>
                  <a:cs typeface="+mn-cs"/>
                </a:endParaRPr>
              </a:p>
            </p:txBody>
          </p:sp>
          <p:sp>
            <p:nvSpPr>
              <p:cNvPr id="507" name="Freeform 174">
                <a:extLst>
                  <a:ext uri="{FF2B5EF4-FFF2-40B4-BE49-F238E27FC236}">
                    <a16:creationId xmlns:a16="http://schemas.microsoft.com/office/drawing/2014/main" id="{A026E876-61C5-4065-0476-AC5443000D1A}"/>
                  </a:ext>
                </a:extLst>
              </p:cNvPr>
              <p:cNvSpPr>
                <a:spLocks/>
              </p:cNvSpPr>
              <p:nvPr/>
            </p:nvSpPr>
            <p:spPr bwMode="auto">
              <a:xfrm rot="21249101">
                <a:off x="6623634" y="6288022"/>
                <a:ext cx="644525" cy="571500"/>
              </a:xfrm>
              <a:custGeom>
                <a:avLst/>
                <a:gdLst>
                  <a:gd name="T0" fmla="*/ 2147483647 w 1744"/>
                  <a:gd name="T1" fmla="*/ 2147483647 h 1534"/>
                  <a:gd name="T2" fmla="*/ 2147483647 w 1744"/>
                  <a:gd name="T3" fmla="*/ 2147483647 h 1534"/>
                  <a:gd name="T4" fmla="*/ 2147483647 w 1744"/>
                  <a:gd name="T5" fmla="*/ 2147483647 h 1534"/>
                  <a:gd name="T6" fmla="*/ 2147483647 w 1744"/>
                  <a:gd name="T7" fmla="*/ 2147483647 h 1534"/>
                  <a:gd name="T8" fmla="*/ 2147483647 w 1744"/>
                  <a:gd name="T9" fmla="*/ 2147483647 h 1534"/>
                  <a:gd name="T10" fmla="*/ 2147483647 w 1744"/>
                  <a:gd name="T11" fmla="*/ 2147483647 h 1534"/>
                  <a:gd name="T12" fmla="*/ 2147483647 w 1744"/>
                  <a:gd name="T13" fmla="*/ 2147483647 h 1534"/>
                  <a:gd name="T14" fmla="*/ 2147483647 w 1744"/>
                  <a:gd name="T15" fmla="*/ 2147483647 h 1534"/>
                  <a:gd name="T16" fmla="*/ 2147483647 w 1744"/>
                  <a:gd name="T17" fmla="*/ 2147483647 h 1534"/>
                  <a:gd name="T18" fmla="*/ 2147483647 w 1744"/>
                  <a:gd name="T19" fmla="*/ 2147483647 h 1534"/>
                  <a:gd name="T20" fmla="*/ 2147483647 w 1744"/>
                  <a:gd name="T21" fmla="*/ 2147483647 h 1534"/>
                  <a:gd name="T22" fmla="*/ 2147483647 w 1744"/>
                  <a:gd name="T23" fmla="*/ 2147483647 h 1534"/>
                  <a:gd name="T24" fmla="*/ 2147483647 w 1744"/>
                  <a:gd name="T25" fmla="*/ 2147483647 h 1534"/>
                  <a:gd name="T26" fmla="*/ 2147483647 w 1744"/>
                  <a:gd name="T27" fmla="*/ 2147483647 h 1534"/>
                  <a:gd name="T28" fmla="*/ 2147483647 w 1744"/>
                  <a:gd name="T29" fmla="*/ 2147483647 h 1534"/>
                  <a:gd name="T30" fmla="*/ 2147483647 w 1744"/>
                  <a:gd name="T31" fmla="*/ 2147483647 h 1534"/>
                  <a:gd name="T32" fmla="*/ 2147483647 w 1744"/>
                  <a:gd name="T33" fmla="*/ 2147483647 h 1534"/>
                  <a:gd name="T34" fmla="*/ 2147483647 w 1744"/>
                  <a:gd name="T35" fmla="*/ 2147483647 h 1534"/>
                  <a:gd name="T36" fmla="*/ 2147483647 w 1744"/>
                  <a:gd name="T37" fmla="*/ 2147483647 h 1534"/>
                  <a:gd name="T38" fmla="*/ 2147483647 w 1744"/>
                  <a:gd name="T39" fmla="*/ 2147483647 h 1534"/>
                  <a:gd name="T40" fmla="*/ 2147483647 w 1744"/>
                  <a:gd name="T41" fmla="*/ 2147483647 h 1534"/>
                  <a:gd name="T42" fmla="*/ 2147483647 w 1744"/>
                  <a:gd name="T43" fmla="*/ 2147483647 h 1534"/>
                  <a:gd name="T44" fmla="*/ 2147483647 w 1744"/>
                  <a:gd name="T45" fmla="*/ 2147483647 h 1534"/>
                  <a:gd name="T46" fmla="*/ 2147483647 w 1744"/>
                  <a:gd name="T47" fmla="*/ 2147483647 h 1534"/>
                  <a:gd name="T48" fmla="*/ 2147483647 w 1744"/>
                  <a:gd name="T49" fmla="*/ 2147483647 h 1534"/>
                  <a:gd name="T50" fmla="*/ 2147483647 w 1744"/>
                  <a:gd name="T51" fmla="*/ 2147483647 h 1534"/>
                  <a:gd name="T52" fmla="*/ 2147483647 w 1744"/>
                  <a:gd name="T53" fmla="*/ 2147483647 h 1534"/>
                  <a:gd name="T54" fmla="*/ 2147483647 w 1744"/>
                  <a:gd name="T55" fmla="*/ 2147483647 h 1534"/>
                  <a:gd name="T56" fmla="*/ 2147483647 w 1744"/>
                  <a:gd name="T57" fmla="*/ 2147483647 h 1534"/>
                  <a:gd name="T58" fmla="*/ 2147483647 w 1744"/>
                  <a:gd name="T59" fmla="*/ 2147483647 h 1534"/>
                  <a:gd name="T60" fmla="*/ 2147483647 w 1744"/>
                  <a:gd name="T61" fmla="*/ 2147483647 h 1534"/>
                  <a:gd name="T62" fmla="*/ 2147483647 w 1744"/>
                  <a:gd name="T63" fmla="*/ 2147483647 h 1534"/>
                  <a:gd name="T64" fmla="*/ 2147483647 w 1744"/>
                  <a:gd name="T65" fmla="*/ 2147483647 h 1534"/>
                  <a:gd name="T66" fmla="*/ 2147483647 w 1744"/>
                  <a:gd name="T67" fmla="*/ 2147483647 h 1534"/>
                  <a:gd name="T68" fmla="*/ 2147483647 w 1744"/>
                  <a:gd name="T69" fmla="*/ 2147483647 h 1534"/>
                  <a:gd name="T70" fmla="*/ 2147483647 w 1744"/>
                  <a:gd name="T71" fmla="*/ 2147483647 h 1534"/>
                  <a:gd name="T72" fmla="*/ 2147483647 w 1744"/>
                  <a:gd name="T73" fmla="*/ 2147483647 h 1534"/>
                  <a:gd name="T74" fmla="*/ 2147483647 w 1744"/>
                  <a:gd name="T75" fmla="*/ 2147483647 h 1534"/>
                  <a:gd name="T76" fmla="*/ 2147483647 w 1744"/>
                  <a:gd name="T77" fmla="*/ 2147483647 h 1534"/>
                  <a:gd name="T78" fmla="*/ 2147483647 w 1744"/>
                  <a:gd name="T79" fmla="*/ 2147483647 h 1534"/>
                  <a:gd name="T80" fmla="*/ 2147483647 w 1744"/>
                  <a:gd name="T81" fmla="*/ 2147483647 h 1534"/>
                  <a:gd name="T82" fmla="*/ 2147483647 w 1744"/>
                  <a:gd name="T83" fmla="*/ 2147483647 h 1534"/>
                  <a:gd name="T84" fmla="*/ 2147483647 w 1744"/>
                  <a:gd name="T85" fmla="*/ 2147483647 h 1534"/>
                  <a:gd name="T86" fmla="*/ 2147483647 w 1744"/>
                  <a:gd name="T87" fmla="*/ 2147483647 h 1534"/>
                  <a:gd name="T88" fmla="*/ 2147483647 w 1744"/>
                  <a:gd name="T89" fmla="*/ 2147483647 h 1534"/>
                  <a:gd name="T90" fmla="*/ 2147483647 w 1744"/>
                  <a:gd name="T91" fmla="*/ 2147483647 h 1534"/>
                  <a:gd name="T92" fmla="*/ 2147483647 w 1744"/>
                  <a:gd name="T93" fmla="*/ 2147483647 h 1534"/>
                  <a:gd name="T94" fmla="*/ 2147483647 w 1744"/>
                  <a:gd name="T95" fmla="*/ 2147483647 h 1534"/>
                  <a:gd name="T96" fmla="*/ 2147483647 w 1744"/>
                  <a:gd name="T97" fmla="*/ 2147483647 h 1534"/>
                  <a:gd name="T98" fmla="*/ 2147483647 w 1744"/>
                  <a:gd name="T99" fmla="*/ 2147483647 h 1534"/>
                  <a:gd name="T100" fmla="*/ 2147483647 w 1744"/>
                  <a:gd name="T101" fmla="*/ 2147483647 h 1534"/>
                  <a:gd name="T102" fmla="*/ 2147483647 w 1744"/>
                  <a:gd name="T103" fmla="*/ 2147483647 h 1534"/>
                  <a:gd name="T104" fmla="*/ 2147483647 w 1744"/>
                  <a:gd name="T105" fmla="*/ 2147483647 h 153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744"/>
                  <a:gd name="T160" fmla="*/ 0 h 1534"/>
                  <a:gd name="T161" fmla="*/ 1744 w 1744"/>
                  <a:gd name="T162" fmla="*/ 1534 h 153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744" h="1534">
                    <a:moveTo>
                      <a:pt x="1629" y="396"/>
                    </a:moveTo>
                    <a:lnTo>
                      <a:pt x="1580" y="360"/>
                    </a:lnTo>
                    <a:lnTo>
                      <a:pt x="1339" y="316"/>
                    </a:lnTo>
                    <a:lnTo>
                      <a:pt x="1266" y="361"/>
                    </a:lnTo>
                    <a:lnTo>
                      <a:pt x="1230" y="363"/>
                    </a:lnTo>
                    <a:lnTo>
                      <a:pt x="1173" y="345"/>
                    </a:lnTo>
                    <a:lnTo>
                      <a:pt x="1125" y="402"/>
                    </a:lnTo>
                    <a:lnTo>
                      <a:pt x="1043" y="424"/>
                    </a:lnTo>
                    <a:lnTo>
                      <a:pt x="970" y="477"/>
                    </a:lnTo>
                    <a:lnTo>
                      <a:pt x="1015" y="517"/>
                    </a:lnTo>
                    <a:lnTo>
                      <a:pt x="1089" y="541"/>
                    </a:lnTo>
                    <a:lnTo>
                      <a:pt x="1140" y="592"/>
                    </a:lnTo>
                    <a:lnTo>
                      <a:pt x="1154" y="619"/>
                    </a:lnTo>
                    <a:lnTo>
                      <a:pt x="1098" y="576"/>
                    </a:lnTo>
                    <a:lnTo>
                      <a:pt x="1017" y="562"/>
                    </a:lnTo>
                    <a:lnTo>
                      <a:pt x="998" y="609"/>
                    </a:lnTo>
                    <a:lnTo>
                      <a:pt x="1054" y="646"/>
                    </a:lnTo>
                    <a:lnTo>
                      <a:pt x="1064" y="710"/>
                    </a:lnTo>
                    <a:lnTo>
                      <a:pt x="988" y="622"/>
                    </a:lnTo>
                    <a:lnTo>
                      <a:pt x="939" y="606"/>
                    </a:lnTo>
                    <a:lnTo>
                      <a:pt x="918" y="612"/>
                    </a:lnTo>
                    <a:lnTo>
                      <a:pt x="932" y="667"/>
                    </a:lnTo>
                    <a:lnTo>
                      <a:pt x="981" y="701"/>
                    </a:lnTo>
                    <a:lnTo>
                      <a:pt x="953" y="725"/>
                    </a:lnTo>
                    <a:lnTo>
                      <a:pt x="898" y="676"/>
                    </a:lnTo>
                    <a:lnTo>
                      <a:pt x="869" y="612"/>
                    </a:lnTo>
                    <a:lnTo>
                      <a:pt x="749" y="540"/>
                    </a:lnTo>
                    <a:lnTo>
                      <a:pt x="745" y="521"/>
                    </a:lnTo>
                    <a:lnTo>
                      <a:pt x="759" y="485"/>
                    </a:lnTo>
                    <a:lnTo>
                      <a:pt x="690" y="512"/>
                    </a:lnTo>
                    <a:lnTo>
                      <a:pt x="693" y="723"/>
                    </a:lnTo>
                    <a:lnTo>
                      <a:pt x="729" y="758"/>
                    </a:lnTo>
                    <a:lnTo>
                      <a:pt x="753" y="833"/>
                    </a:lnTo>
                    <a:lnTo>
                      <a:pt x="846" y="916"/>
                    </a:lnTo>
                    <a:lnTo>
                      <a:pt x="887" y="1008"/>
                    </a:lnTo>
                    <a:lnTo>
                      <a:pt x="863" y="1025"/>
                    </a:lnTo>
                    <a:lnTo>
                      <a:pt x="840" y="1019"/>
                    </a:lnTo>
                    <a:lnTo>
                      <a:pt x="850" y="986"/>
                    </a:lnTo>
                    <a:lnTo>
                      <a:pt x="825" y="955"/>
                    </a:lnTo>
                    <a:lnTo>
                      <a:pt x="778" y="950"/>
                    </a:lnTo>
                    <a:lnTo>
                      <a:pt x="768" y="994"/>
                    </a:lnTo>
                    <a:lnTo>
                      <a:pt x="798" y="1064"/>
                    </a:lnTo>
                    <a:lnTo>
                      <a:pt x="783" y="1081"/>
                    </a:lnTo>
                    <a:lnTo>
                      <a:pt x="677" y="1097"/>
                    </a:lnTo>
                    <a:lnTo>
                      <a:pt x="700" y="1130"/>
                    </a:lnTo>
                    <a:lnTo>
                      <a:pt x="846" y="1188"/>
                    </a:lnTo>
                    <a:lnTo>
                      <a:pt x="894" y="1189"/>
                    </a:lnTo>
                    <a:lnTo>
                      <a:pt x="922" y="1246"/>
                    </a:lnTo>
                    <a:lnTo>
                      <a:pt x="956" y="1245"/>
                    </a:lnTo>
                    <a:lnTo>
                      <a:pt x="1038" y="1314"/>
                    </a:lnTo>
                    <a:lnTo>
                      <a:pt x="1068" y="1316"/>
                    </a:lnTo>
                    <a:lnTo>
                      <a:pt x="1106" y="1339"/>
                    </a:lnTo>
                    <a:lnTo>
                      <a:pt x="1122" y="1534"/>
                    </a:lnTo>
                    <a:lnTo>
                      <a:pt x="1050" y="1493"/>
                    </a:lnTo>
                    <a:lnTo>
                      <a:pt x="993" y="1430"/>
                    </a:lnTo>
                    <a:lnTo>
                      <a:pt x="847" y="1449"/>
                    </a:lnTo>
                    <a:lnTo>
                      <a:pt x="798" y="1424"/>
                    </a:lnTo>
                    <a:lnTo>
                      <a:pt x="852" y="1406"/>
                    </a:lnTo>
                    <a:lnTo>
                      <a:pt x="860" y="1365"/>
                    </a:lnTo>
                    <a:lnTo>
                      <a:pt x="799" y="1358"/>
                    </a:lnTo>
                    <a:lnTo>
                      <a:pt x="724" y="1292"/>
                    </a:lnTo>
                    <a:lnTo>
                      <a:pt x="694" y="1322"/>
                    </a:lnTo>
                    <a:lnTo>
                      <a:pt x="643" y="1304"/>
                    </a:lnTo>
                    <a:lnTo>
                      <a:pt x="577" y="1316"/>
                    </a:lnTo>
                    <a:lnTo>
                      <a:pt x="512" y="1305"/>
                    </a:lnTo>
                    <a:lnTo>
                      <a:pt x="421" y="1320"/>
                    </a:lnTo>
                    <a:lnTo>
                      <a:pt x="349" y="1292"/>
                    </a:lnTo>
                    <a:lnTo>
                      <a:pt x="330" y="1292"/>
                    </a:lnTo>
                    <a:lnTo>
                      <a:pt x="319" y="1311"/>
                    </a:lnTo>
                    <a:lnTo>
                      <a:pt x="288" y="1322"/>
                    </a:lnTo>
                    <a:lnTo>
                      <a:pt x="170" y="1126"/>
                    </a:lnTo>
                    <a:lnTo>
                      <a:pt x="223" y="1131"/>
                    </a:lnTo>
                    <a:lnTo>
                      <a:pt x="273" y="1122"/>
                    </a:lnTo>
                    <a:lnTo>
                      <a:pt x="254" y="1078"/>
                    </a:lnTo>
                    <a:lnTo>
                      <a:pt x="179" y="1048"/>
                    </a:lnTo>
                    <a:lnTo>
                      <a:pt x="167" y="1095"/>
                    </a:lnTo>
                    <a:lnTo>
                      <a:pt x="87" y="965"/>
                    </a:lnTo>
                    <a:lnTo>
                      <a:pt x="37" y="928"/>
                    </a:lnTo>
                    <a:lnTo>
                      <a:pt x="16" y="846"/>
                    </a:lnTo>
                    <a:lnTo>
                      <a:pt x="6" y="833"/>
                    </a:lnTo>
                    <a:lnTo>
                      <a:pt x="0" y="833"/>
                    </a:lnTo>
                    <a:lnTo>
                      <a:pt x="6" y="837"/>
                    </a:lnTo>
                    <a:lnTo>
                      <a:pt x="49" y="803"/>
                    </a:lnTo>
                    <a:lnTo>
                      <a:pt x="70" y="770"/>
                    </a:lnTo>
                    <a:lnTo>
                      <a:pt x="86" y="710"/>
                    </a:lnTo>
                    <a:lnTo>
                      <a:pt x="135" y="674"/>
                    </a:lnTo>
                    <a:lnTo>
                      <a:pt x="180" y="586"/>
                    </a:lnTo>
                    <a:lnTo>
                      <a:pt x="244" y="526"/>
                    </a:lnTo>
                    <a:lnTo>
                      <a:pt x="233" y="405"/>
                    </a:lnTo>
                    <a:lnTo>
                      <a:pt x="412" y="378"/>
                    </a:lnTo>
                    <a:lnTo>
                      <a:pt x="466" y="324"/>
                    </a:lnTo>
                    <a:lnTo>
                      <a:pt x="556" y="287"/>
                    </a:lnTo>
                    <a:lnTo>
                      <a:pt x="658" y="284"/>
                    </a:lnTo>
                    <a:lnTo>
                      <a:pt x="728" y="215"/>
                    </a:lnTo>
                    <a:lnTo>
                      <a:pt x="1228" y="113"/>
                    </a:lnTo>
                    <a:lnTo>
                      <a:pt x="1278" y="152"/>
                    </a:lnTo>
                    <a:lnTo>
                      <a:pt x="1459" y="203"/>
                    </a:lnTo>
                    <a:lnTo>
                      <a:pt x="1558" y="174"/>
                    </a:lnTo>
                    <a:lnTo>
                      <a:pt x="1622" y="109"/>
                    </a:lnTo>
                    <a:lnTo>
                      <a:pt x="1624" y="9"/>
                    </a:lnTo>
                    <a:lnTo>
                      <a:pt x="1680" y="0"/>
                    </a:lnTo>
                    <a:lnTo>
                      <a:pt x="1695" y="29"/>
                    </a:lnTo>
                    <a:lnTo>
                      <a:pt x="1744" y="64"/>
                    </a:lnTo>
                    <a:lnTo>
                      <a:pt x="1742" y="120"/>
                    </a:lnTo>
                    <a:lnTo>
                      <a:pt x="1692" y="167"/>
                    </a:lnTo>
                    <a:lnTo>
                      <a:pt x="1677" y="319"/>
                    </a:lnTo>
                    <a:lnTo>
                      <a:pt x="1629" y="396"/>
                    </a:lnTo>
                    <a:close/>
                  </a:path>
                </a:pathLst>
              </a:custGeom>
              <a:grpFill/>
              <a:ln w="12700">
                <a:solidFill>
                  <a:sysClr val="window" lastClr="FFFFFF"/>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1" u="none" strike="noStrike" kern="0" cap="none" spc="0" normalizeH="0" baseline="0" noProof="0" dirty="0">
                  <a:ln>
                    <a:noFill/>
                  </a:ln>
                  <a:solidFill>
                    <a:prstClr val="black"/>
                  </a:solidFill>
                  <a:effectLst/>
                  <a:uLnTx/>
                  <a:uFillTx/>
                  <a:latin typeface="Arial" panose="020B0604020202020204"/>
                  <a:ea typeface="+mn-ea"/>
                  <a:cs typeface="+mn-cs"/>
                </a:endParaRPr>
              </a:p>
            </p:txBody>
          </p:sp>
        </p:grpSp>
        <p:sp>
          <p:nvSpPr>
            <p:cNvPr id="508" name="HU">
              <a:extLst>
                <a:ext uri="{FF2B5EF4-FFF2-40B4-BE49-F238E27FC236}">
                  <a16:creationId xmlns:a16="http://schemas.microsoft.com/office/drawing/2014/main" id="{9805DE2C-44BA-3512-372D-23C966D4C134}"/>
                </a:ext>
              </a:extLst>
            </p:cNvPr>
            <p:cNvSpPr>
              <a:spLocks/>
            </p:cNvSpPr>
            <p:nvPr/>
          </p:nvSpPr>
          <p:spPr bwMode="auto">
            <a:xfrm rot="21249101">
              <a:off x="9073515" y="4106164"/>
              <a:ext cx="792259" cy="454238"/>
            </a:xfrm>
            <a:custGeom>
              <a:avLst/>
              <a:gdLst>
                <a:gd name="T0" fmla="*/ 2147483647 w 1656"/>
                <a:gd name="T1" fmla="*/ 2147483647 h 1000"/>
                <a:gd name="T2" fmla="*/ 2147483647 w 1656"/>
                <a:gd name="T3" fmla="*/ 2147483647 h 1000"/>
                <a:gd name="T4" fmla="*/ 2147483647 w 1656"/>
                <a:gd name="T5" fmla="*/ 2147483647 h 1000"/>
                <a:gd name="T6" fmla="*/ 2147483647 w 1656"/>
                <a:gd name="T7" fmla="*/ 2147483647 h 1000"/>
                <a:gd name="T8" fmla="*/ 2147483647 w 1656"/>
                <a:gd name="T9" fmla="*/ 2147483647 h 1000"/>
                <a:gd name="T10" fmla="*/ 2147483647 w 1656"/>
                <a:gd name="T11" fmla="*/ 2147483647 h 1000"/>
                <a:gd name="T12" fmla="*/ 2147483647 w 1656"/>
                <a:gd name="T13" fmla="*/ 2147483647 h 1000"/>
                <a:gd name="T14" fmla="*/ 2147483647 w 1656"/>
                <a:gd name="T15" fmla="*/ 2147483647 h 1000"/>
                <a:gd name="T16" fmla="*/ 2147483647 w 1656"/>
                <a:gd name="T17" fmla="*/ 2147483647 h 1000"/>
                <a:gd name="T18" fmla="*/ 2147483647 w 1656"/>
                <a:gd name="T19" fmla="*/ 2147483647 h 1000"/>
                <a:gd name="T20" fmla="*/ 2147483647 w 1656"/>
                <a:gd name="T21" fmla="*/ 0 h 1000"/>
                <a:gd name="T22" fmla="*/ 2147483647 w 1656"/>
                <a:gd name="T23" fmla="*/ 2147483647 h 1000"/>
                <a:gd name="T24" fmla="*/ 2147483647 w 1656"/>
                <a:gd name="T25" fmla="*/ 2147483647 h 1000"/>
                <a:gd name="T26" fmla="*/ 2147483647 w 1656"/>
                <a:gd name="T27" fmla="*/ 2147483647 h 1000"/>
                <a:gd name="T28" fmla="*/ 2147483647 w 1656"/>
                <a:gd name="T29" fmla="*/ 2147483647 h 1000"/>
                <a:gd name="T30" fmla="*/ 2147483647 w 1656"/>
                <a:gd name="T31" fmla="*/ 2147483647 h 1000"/>
                <a:gd name="T32" fmla="*/ 2147483647 w 1656"/>
                <a:gd name="T33" fmla="*/ 2147483647 h 1000"/>
                <a:gd name="T34" fmla="*/ 2147483647 w 1656"/>
                <a:gd name="T35" fmla="*/ 2147483647 h 1000"/>
                <a:gd name="T36" fmla="*/ 2147483647 w 1656"/>
                <a:gd name="T37" fmla="*/ 2147483647 h 1000"/>
                <a:gd name="T38" fmla="*/ 2147483647 w 1656"/>
                <a:gd name="T39" fmla="*/ 2147483647 h 1000"/>
                <a:gd name="T40" fmla="*/ 2147483647 w 1656"/>
                <a:gd name="T41" fmla="*/ 2147483647 h 1000"/>
                <a:gd name="T42" fmla="*/ 2147483647 w 1656"/>
                <a:gd name="T43" fmla="*/ 2147483647 h 1000"/>
                <a:gd name="T44" fmla="*/ 2147483647 w 1656"/>
                <a:gd name="T45" fmla="*/ 2147483647 h 1000"/>
                <a:gd name="T46" fmla="*/ 2147483647 w 1656"/>
                <a:gd name="T47" fmla="*/ 2147483647 h 1000"/>
                <a:gd name="T48" fmla="*/ 2147483647 w 1656"/>
                <a:gd name="T49" fmla="*/ 2147483647 h 1000"/>
                <a:gd name="T50" fmla="*/ 2147483647 w 1656"/>
                <a:gd name="T51" fmla="*/ 2147483647 h 1000"/>
                <a:gd name="T52" fmla="*/ 2147483647 w 1656"/>
                <a:gd name="T53" fmla="*/ 2147483647 h 1000"/>
                <a:gd name="T54" fmla="*/ 2147483647 w 1656"/>
                <a:gd name="T55" fmla="*/ 2147483647 h 1000"/>
                <a:gd name="T56" fmla="*/ 2147483647 w 1656"/>
                <a:gd name="T57" fmla="*/ 2147483647 h 1000"/>
                <a:gd name="T58" fmla="*/ 2147483647 w 1656"/>
                <a:gd name="T59" fmla="*/ 2147483647 h 1000"/>
                <a:gd name="T60" fmla="*/ 2147483647 w 1656"/>
                <a:gd name="T61" fmla="*/ 2147483647 h 1000"/>
                <a:gd name="T62" fmla="*/ 2147483647 w 1656"/>
                <a:gd name="T63" fmla="*/ 2147483647 h 1000"/>
                <a:gd name="T64" fmla="*/ 2147483647 w 1656"/>
                <a:gd name="T65" fmla="*/ 2147483647 h 1000"/>
                <a:gd name="T66" fmla="*/ 2147483647 w 1656"/>
                <a:gd name="T67" fmla="*/ 2147483647 h 1000"/>
                <a:gd name="T68" fmla="*/ 2147483647 w 1656"/>
                <a:gd name="T69" fmla="*/ 2147483647 h 1000"/>
                <a:gd name="T70" fmla="*/ 2147483647 w 1656"/>
                <a:gd name="T71" fmla="*/ 2147483647 h 1000"/>
                <a:gd name="T72" fmla="*/ 2147483647 w 1656"/>
                <a:gd name="T73" fmla="*/ 2147483647 h 1000"/>
                <a:gd name="T74" fmla="*/ 2147483647 w 1656"/>
                <a:gd name="T75" fmla="*/ 2147483647 h 1000"/>
                <a:gd name="T76" fmla="*/ 2147483647 w 1656"/>
                <a:gd name="T77" fmla="*/ 2147483647 h 1000"/>
                <a:gd name="T78" fmla="*/ 2147483647 w 1656"/>
                <a:gd name="T79" fmla="*/ 2147483647 h 1000"/>
                <a:gd name="T80" fmla="*/ 2147483647 w 1656"/>
                <a:gd name="T81" fmla="*/ 2147483647 h 1000"/>
                <a:gd name="T82" fmla="*/ 2147483647 w 1656"/>
                <a:gd name="T83" fmla="*/ 2147483647 h 1000"/>
                <a:gd name="T84" fmla="*/ 2147483647 w 1656"/>
                <a:gd name="T85" fmla="*/ 2147483647 h 1000"/>
                <a:gd name="T86" fmla="*/ 0 w 1656"/>
                <a:gd name="T87" fmla="*/ 2147483647 h 1000"/>
                <a:gd name="T88" fmla="*/ 2147483647 w 1656"/>
                <a:gd name="T89" fmla="*/ 2147483647 h 1000"/>
                <a:gd name="T90" fmla="*/ 2147483647 w 1656"/>
                <a:gd name="T91" fmla="*/ 2147483647 h 1000"/>
                <a:gd name="T92" fmla="*/ 2147483647 w 1656"/>
                <a:gd name="T93" fmla="*/ 2147483647 h 1000"/>
                <a:gd name="T94" fmla="*/ 2147483647 w 1656"/>
                <a:gd name="T95" fmla="*/ 2147483647 h 1000"/>
                <a:gd name="T96" fmla="*/ 2147483647 w 1656"/>
                <a:gd name="T97" fmla="*/ 2147483647 h 1000"/>
                <a:gd name="T98" fmla="*/ 2147483647 w 1656"/>
                <a:gd name="T99" fmla="*/ 2147483647 h 1000"/>
                <a:gd name="T100" fmla="*/ 2147483647 w 1656"/>
                <a:gd name="T101" fmla="*/ 2147483647 h 1000"/>
                <a:gd name="T102" fmla="*/ 2147483647 w 1656"/>
                <a:gd name="T103" fmla="*/ 2147483647 h 1000"/>
                <a:gd name="T104" fmla="*/ 2147483647 w 1656"/>
                <a:gd name="T105" fmla="*/ 2147483647 h 10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656"/>
                <a:gd name="T160" fmla="*/ 0 h 1000"/>
                <a:gd name="T161" fmla="*/ 1656 w 1656"/>
                <a:gd name="T162" fmla="*/ 1000 h 100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656" h="1000">
                  <a:moveTo>
                    <a:pt x="277" y="161"/>
                  </a:moveTo>
                  <a:lnTo>
                    <a:pt x="440" y="283"/>
                  </a:lnTo>
                  <a:lnTo>
                    <a:pt x="614" y="279"/>
                  </a:lnTo>
                  <a:lnTo>
                    <a:pt x="675" y="194"/>
                  </a:lnTo>
                  <a:lnTo>
                    <a:pt x="882" y="116"/>
                  </a:lnTo>
                  <a:lnTo>
                    <a:pt x="956" y="140"/>
                  </a:lnTo>
                  <a:lnTo>
                    <a:pt x="1061" y="97"/>
                  </a:lnTo>
                  <a:lnTo>
                    <a:pt x="1081" y="47"/>
                  </a:lnTo>
                  <a:lnTo>
                    <a:pt x="1152" y="7"/>
                  </a:lnTo>
                  <a:lnTo>
                    <a:pt x="1228" y="13"/>
                  </a:lnTo>
                  <a:lnTo>
                    <a:pt x="1280" y="0"/>
                  </a:lnTo>
                  <a:lnTo>
                    <a:pt x="1349" y="17"/>
                  </a:lnTo>
                  <a:lnTo>
                    <a:pt x="1422" y="63"/>
                  </a:lnTo>
                  <a:lnTo>
                    <a:pt x="1478" y="48"/>
                  </a:lnTo>
                  <a:lnTo>
                    <a:pt x="1636" y="155"/>
                  </a:lnTo>
                  <a:lnTo>
                    <a:pt x="1656" y="203"/>
                  </a:lnTo>
                  <a:lnTo>
                    <a:pt x="1608" y="266"/>
                  </a:lnTo>
                  <a:lnTo>
                    <a:pt x="1575" y="267"/>
                  </a:lnTo>
                  <a:lnTo>
                    <a:pt x="1511" y="296"/>
                  </a:lnTo>
                  <a:lnTo>
                    <a:pt x="1467" y="345"/>
                  </a:lnTo>
                  <a:lnTo>
                    <a:pt x="1465" y="378"/>
                  </a:lnTo>
                  <a:lnTo>
                    <a:pt x="1440" y="425"/>
                  </a:lnTo>
                  <a:lnTo>
                    <a:pt x="1430" y="476"/>
                  </a:lnTo>
                  <a:lnTo>
                    <a:pt x="1254" y="799"/>
                  </a:lnTo>
                  <a:lnTo>
                    <a:pt x="1036" y="878"/>
                  </a:lnTo>
                  <a:lnTo>
                    <a:pt x="1022" y="878"/>
                  </a:lnTo>
                  <a:lnTo>
                    <a:pt x="1000" y="845"/>
                  </a:lnTo>
                  <a:lnTo>
                    <a:pt x="945" y="864"/>
                  </a:lnTo>
                  <a:lnTo>
                    <a:pt x="889" y="867"/>
                  </a:lnTo>
                  <a:lnTo>
                    <a:pt x="816" y="914"/>
                  </a:lnTo>
                  <a:lnTo>
                    <a:pt x="750" y="916"/>
                  </a:lnTo>
                  <a:lnTo>
                    <a:pt x="719" y="940"/>
                  </a:lnTo>
                  <a:lnTo>
                    <a:pt x="655" y="946"/>
                  </a:lnTo>
                  <a:lnTo>
                    <a:pt x="595" y="980"/>
                  </a:lnTo>
                  <a:lnTo>
                    <a:pt x="453" y="1000"/>
                  </a:lnTo>
                  <a:lnTo>
                    <a:pt x="387" y="953"/>
                  </a:lnTo>
                  <a:lnTo>
                    <a:pt x="334" y="934"/>
                  </a:lnTo>
                  <a:lnTo>
                    <a:pt x="283" y="863"/>
                  </a:lnTo>
                  <a:lnTo>
                    <a:pt x="221" y="827"/>
                  </a:lnTo>
                  <a:lnTo>
                    <a:pt x="177" y="756"/>
                  </a:lnTo>
                  <a:lnTo>
                    <a:pt x="126" y="730"/>
                  </a:lnTo>
                  <a:lnTo>
                    <a:pt x="65" y="606"/>
                  </a:lnTo>
                  <a:lnTo>
                    <a:pt x="33" y="587"/>
                  </a:lnTo>
                  <a:lnTo>
                    <a:pt x="0" y="584"/>
                  </a:lnTo>
                  <a:lnTo>
                    <a:pt x="49" y="537"/>
                  </a:lnTo>
                  <a:lnTo>
                    <a:pt x="99" y="526"/>
                  </a:lnTo>
                  <a:lnTo>
                    <a:pt x="100" y="435"/>
                  </a:lnTo>
                  <a:lnTo>
                    <a:pt x="143" y="355"/>
                  </a:lnTo>
                  <a:lnTo>
                    <a:pt x="114" y="315"/>
                  </a:lnTo>
                  <a:lnTo>
                    <a:pt x="134" y="282"/>
                  </a:lnTo>
                  <a:lnTo>
                    <a:pt x="251" y="285"/>
                  </a:lnTo>
                  <a:lnTo>
                    <a:pt x="273" y="249"/>
                  </a:lnTo>
                  <a:lnTo>
                    <a:pt x="277" y="161"/>
                  </a:lnTo>
                  <a:close/>
                </a:path>
              </a:pathLst>
            </a:custGeom>
            <a:solidFill>
              <a:srgbClr val="00A194"/>
            </a:solidFill>
            <a:ln w="12700">
              <a:solidFill>
                <a:sysClr val="window" lastClr="FFFFFF"/>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1" u="none" strike="noStrike" kern="0" cap="none" spc="0" normalizeH="0" baseline="0" noProof="0" dirty="0">
                <a:ln>
                  <a:noFill/>
                </a:ln>
                <a:solidFill>
                  <a:prstClr val="black"/>
                </a:solidFill>
                <a:effectLst/>
                <a:uLnTx/>
                <a:uFillTx/>
                <a:latin typeface="Arial" panose="020B0604020202020204"/>
                <a:ea typeface="+mn-ea"/>
                <a:cs typeface="+mn-cs"/>
              </a:endParaRPr>
            </a:p>
          </p:txBody>
        </p:sp>
        <p:sp>
          <p:nvSpPr>
            <p:cNvPr id="509" name="PL">
              <a:extLst>
                <a:ext uri="{FF2B5EF4-FFF2-40B4-BE49-F238E27FC236}">
                  <a16:creationId xmlns:a16="http://schemas.microsoft.com/office/drawing/2014/main" id="{09BB06CA-EF33-3E7F-5E16-CFF195CD865B}"/>
                </a:ext>
              </a:extLst>
            </p:cNvPr>
            <p:cNvSpPr>
              <a:spLocks/>
            </p:cNvSpPr>
            <p:nvPr/>
          </p:nvSpPr>
          <p:spPr bwMode="auto">
            <a:xfrm rot="21249101">
              <a:off x="8837927" y="3071114"/>
              <a:ext cx="1061987" cy="945616"/>
            </a:xfrm>
            <a:custGeom>
              <a:avLst/>
              <a:gdLst>
                <a:gd name="T0" fmla="*/ 2147483647 w 2223"/>
                <a:gd name="T1" fmla="*/ 2147483647 h 2077"/>
                <a:gd name="T2" fmla="*/ 2147483647 w 2223"/>
                <a:gd name="T3" fmla="*/ 2147483647 h 2077"/>
                <a:gd name="T4" fmla="*/ 2147483647 w 2223"/>
                <a:gd name="T5" fmla="*/ 2147483647 h 2077"/>
                <a:gd name="T6" fmla="*/ 2147483647 w 2223"/>
                <a:gd name="T7" fmla="*/ 2147483647 h 2077"/>
                <a:gd name="T8" fmla="*/ 2147483647 w 2223"/>
                <a:gd name="T9" fmla="*/ 2147483647 h 2077"/>
                <a:gd name="T10" fmla="*/ 2147483647 w 2223"/>
                <a:gd name="T11" fmla="*/ 2147483647 h 2077"/>
                <a:gd name="T12" fmla="*/ 2147483647 w 2223"/>
                <a:gd name="T13" fmla="*/ 2147483647 h 2077"/>
                <a:gd name="T14" fmla="*/ 2147483647 w 2223"/>
                <a:gd name="T15" fmla="*/ 2147483647 h 2077"/>
                <a:gd name="T16" fmla="*/ 2147483647 w 2223"/>
                <a:gd name="T17" fmla="*/ 2147483647 h 2077"/>
                <a:gd name="T18" fmla="*/ 2147483647 w 2223"/>
                <a:gd name="T19" fmla="*/ 2147483647 h 2077"/>
                <a:gd name="T20" fmla="*/ 2147483647 w 2223"/>
                <a:gd name="T21" fmla="*/ 2147483647 h 2077"/>
                <a:gd name="T22" fmla="*/ 2147483647 w 2223"/>
                <a:gd name="T23" fmla="*/ 2147483647 h 2077"/>
                <a:gd name="T24" fmla="*/ 2147483647 w 2223"/>
                <a:gd name="T25" fmla="*/ 2147483647 h 2077"/>
                <a:gd name="T26" fmla="*/ 2147483647 w 2223"/>
                <a:gd name="T27" fmla="*/ 2147483647 h 2077"/>
                <a:gd name="T28" fmla="*/ 2147483647 w 2223"/>
                <a:gd name="T29" fmla="*/ 2147483647 h 2077"/>
                <a:gd name="T30" fmla="*/ 2147483647 w 2223"/>
                <a:gd name="T31" fmla="*/ 2147483647 h 2077"/>
                <a:gd name="T32" fmla="*/ 2147483647 w 2223"/>
                <a:gd name="T33" fmla="*/ 2147483647 h 2077"/>
                <a:gd name="T34" fmla="*/ 2147483647 w 2223"/>
                <a:gd name="T35" fmla="*/ 2147483647 h 2077"/>
                <a:gd name="T36" fmla="*/ 2147483647 w 2223"/>
                <a:gd name="T37" fmla="*/ 2147483647 h 2077"/>
                <a:gd name="T38" fmla="*/ 2147483647 w 2223"/>
                <a:gd name="T39" fmla="*/ 2147483647 h 2077"/>
                <a:gd name="T40" fmla="*/ 2147483647 w 2223"/>
                <a:gd name="T41" fmla="*/ 2147483647 h 2077"/>
                <a:gd name="T42" fmla="*/ 2147483647 w 2223"/>
                <a:gd name="T43" fmla="*/ 2147483647 h 2077"/>
                <a:gd name="T44" fmla="*/ 2147483647 w 2223"/>
                <a:gd name="T45" fmla="*/ 2147483647 h 2077"/>
                <a:gd name="T46" fmla="*/ 2147483647 w 2223"/>
                <a:gd name="T47" fmla="*/ 2147483647 h 2077"/>
                <a:gd name="T48" fmla="*/ 2147483647 w 2223"/>
                <a:gd name="T49" fmla="*/ 2147483647 h 2077"/>
                <a:gd name="T50" fmla="*/ 2147483647 w 2223"/>
                <a:gd name="T51" fmla="*/ 2147483647 h 2077"/>
                <a:gd name="T52" fmla="*/ 2147483647 w 2223"/>
                <a:gd name="T53" fmla="*/ 2147483647 h 2077"/>
                <a:gd name="T54" fmla="*/ 2147483647 w 2223"/>
                <a:gd name="T55" fmla="*/ 2147483647 h 2077"/>
                <a:gd name="T56" fmla="*/ 2147483647 w 2223"/>
                <a:gd name="T57" fmla="*/ 2147483647 h 2077"/>
                <a:gd name="T58" fmla="*/ 2147483647 w 2223"/>
                <a:gd name="T59" fmla="*/ 2147483647 h 2077"/>
                <a:gd name="T60" fmla="*/ 2147483647 w 2223"/>
                <a:gd name="T61" fmla="*/ 2147483647 h 2077"/>
                <a:gd name="T62" fmla="*/ 2147483647 w 2223"/>
                <a:gd name="T63" fmla="*/ 0 h 2077"/>
                <a:gd name="T64" fmla="*/ 2147483647 w 2223"/>
                <a:gd name="T65" fmla="*/ 2147483647 h 2077"/>
                <a:gd name="T66" fmla="*/ 2147483647 w 2223"/>
                <a:gd name="T67" fmla="*/ 2147483647 h 2077"/>
                <a:gd name="T68" fmla="*/ 2147483647 w 2223"/>
                <a:gd name="T69" fmla="*/ 2147483647 h 2077"/>
                <a:gd name="T70" fmla="*/ 2147483647 w 2223"/>
                <a:gd name="T71" fmla="*/ 2147483647 h 2077"/>
                <a:gd name="T72" fmla="*/ 2147483647 w 2223"/>
                <a:gd name="T73" fmla="*/ 2147483647 h 2077"/>
                <a:gd name="T74" fmla="*/ 2147483647 w 2223"/>
                <a:gd name="T75" fmla="*/ 2147483647 h 2077"/>
                <a:gd name="T76" fmla="*/ 2147483647 w 2223"/>
                <a:gd name="T77" fmla="*/ 2147483647 h 2077"/>
                <a:gd name="T78" fmla="*/ 2147483647 w 2223"/>
                <a:gd name="T79" fmla="*/ 2147483647 h 2077"/>
                <a:gd name="T80" fmla="*/ 2147483647 w 2223"/>
                <a:gd name="T81" fmla="*/ 2147483647 h 2077"/>
                <a:gd name="T82" fmla="*/ 2147483647 w 2223"/>
                <a:gd name="T83" fmla="*/ 2147483647 h 2077"/>
                <a:gd name="T84" fmla="*/ 2147483647 w 2223"/>
                <a:gd name="T85" fmla="*/ 2147483647 h 207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223"/>
                <a:gd name="T130" fmla="*/ 0 h 2077"/>
                <a:gd name="T131" fmla="*/ 2223 w 2223"/>
                <a:gd name="T132" fmla="*/ 2077 h 207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223" h="2077">
                  <a:moveTo>
                    <a:pt x="2074" y="1167"/>
                  </a:moveTo>
                  <a:lnTo>
                    <a:pt x="2151" y="1359"/>
                  </a:lnTo>
                  <a:lnTo>
                    <a:pt x="2197" y="1405"/>
                  </a:lnTo>
                  <a:lnTo>
                    <a:pt x="2194" y="1452"/>
                  </a:lnTo>
                  <a:lnTo>
                    <a:pt x="2223" y="1513"/>
                  </a:lnTo>
                  <a:lnTo>
                    <a:pt x="2205" y="1573"/>
                  </a:lnTo>
                  <a:lnTo>
                    <a:pt x="2053" y="1700"/>
                  </a:lnTo>
                  <a:lnTo>
                    <a:pt x="1923" y="1950"/>
                  </a:lnTo>
                  <a:lnTo>
                    <a:pt x="1917" y="2012"/>
                  </a:lnTo>
                  <a:lnTo>
                    <a:pt x="1929" y="2067"/>
                  </a:lnTo>
                  <a:lnTo>
                    <a:pt x="1886" y="2077"/>
                  </a:lnTo>
                  <a:lnTo>
                    <a:pt x="1822" y="2060"/>
                  </a:lnTo>
                  <a:lnTo>
                    <a:pt x="1692" y="1961"/>
                  </a:lnTo>
                  <a:lnTo>
                    <a:pt x="1579" y="1964"/>
                  </a:lnTo>
                  <a:lnTo>
                    <a:pt x="1505" y="2010"/>
                  </a:lnTo>
                  <a:lnTo>
                    <a:pt x="1460" y="1979"/>
                  </a:lnTo>
                  <a:lnTo>
                    <a:pt x="1377" y="1979"/>
                  </a:lnTo>
                  <a:lnTo>
                    <a:pt x="1337" y="2020"/>
                  </a:lnTo>
                  <a:lnTo>
                    <a:pt x="1295" y="2042"/>
                  </a:lnTo>
                  <a:lnTo>
                    <a:pt x="1262" y="2031"/>
                  </a:lnTo>
                  <a:lnTo>
                    <a:pt x="1155" y="1921"/>
                  </a:lnTo>
                  <a:lnTo>
                    <a:pt x="1064" y="1951"/>
                  </a:lnTo>
                  <a:lnTo>
                    <a:pt x="935" y="1889"/>
                  </a:lnTo>
                  <a:lnTo>
                    <a:pt x="855" y="1767"/>
                  </a:lnTo>
                  <a:lnTo>
                    <a:pt x="817" y="1746"/>
                  </a:lnTo>
                  <a:lnTo>
                    <a:pt x="796" y="1752"/>
                  </a:lnTo>
                  <a:lnTo>
                    <a:pt x="758" y="1721"/>
                  </a:lnTo>
                  <a:lnTo>
                    <a:pt x="758" y="1654"/>
                  </a:lnTo>
                  <a:lnTo>
                    <a:pt x="573" y="1599"/>
                  </a:lnTo>
                  <a:lnTo>
                    <a:pt x="567" y="1624"/>
                  </a:lnTo>
                  <a:lnTo>
                    <a:pt x="578" y="1650"/>
                  </a:lnTo>
                  <a:lnTo>
                    <a:pt x="528" y="1681"/>
                  </a:lnTo>
                  <a:lnTo>
                    <a:pt x="498" y="1667"/>
                  </a:lnTo>
                  <a:lnTo>
                    <a:pt x="420" y="1586"/>
                  </a:lnTo>
                  <a:lnTo>
                    <a:pt x="443" y="1541"/>
                  </a:lnTo>
                  <a:lnTo>
                    <a:pt x="444" y="1528"/>
                  </a:lnTo>
                  <a:lnTo>
                    <a:pt x="438" y="1521"/>
                  </a:lnTo>
                  <a:lnTo>
                    <a:pt x="391" y="1511"/>
                  </a:lnTo>
                  <a:lnTo>
                    <a:pt x="355" y="1458"/>
                  </a:lnTo>
                  <a:lnTo>
                    <a:pt x="235" y="1437"/>
                  </a:lnTo>
                  <a:lnTo>
                    <a:pt x="215" y="1394"/>
                  </a:lnTo>
                  <a:lnTo>
                    <a:pt x="173" y="1369"/>
                  </a:lnTo>
                  <a:lnTo>
                    <a:pt x="108" y="1430"/>
                  </a:lnTo>
                  <a:lnTo>
                    <a:pt x="82" y="1411"/>
                  </a:lnTo>
                  <a:lnTo>
                    <a:pt x="131" y="1221"/>
                  </a:lnTo>
                  <a:lnTo>
                    <a:pt x="127" y="1203"/>
                  </a:lnTo>
                  <a:lnTo>
                    <a:pt x="68" y="1121"/>
                  </a:lnTo>
                  <a:lnTo>
                    <a:pt x="54" y="741"/>
                  </a:lnTo>
                  <a:lnTo>
                    <a:pt x="0" y="693"/>
                  </a:lnTo>
                  <a:lnTo>
                    <a:pt x="1" y="664"/>
                  </a:lnTo>
                  <a:lnTo>
                    <a:pt x="49" y="569"/>
                  </a:lnTo>
                  <a:lnTo>
                    <a:pt x="63" y="454"/>
                  </a:lnTo>
                  <a:lnTo>
                    <a:pt x="31" y="350"/>
                  </a:lnTo>
                  <a:lnTo>
                    <a:pt x="91" y="385"/>
                  </a:lnTo>
                  <a:lnTo>
                    <a:pt x="106" y="363"/>
                  </a:lnTo>
                  <a:lnTo>
                    <a:pt x="108" y="332"/>
                  </a:lnTo>
                  <a:lnTo>
                    <a:pt x="57" y="311"/>
                  </a:lnTo>
                  <a:lnTo>
                    <a:pt x="92" y="290"/>
                  </a:lnTo>
                  <a:lnTo>
                    <a:pt x="131" y="280"/>
                  </a:lnTo>
                  <a:lnTo>
                    <a:pt x="135" y="293"/>
                  </a:lnTo>
                  <a:lnTo>
                    <a:pt x="183" y="250"/>
                  </a:lnTo>
                  <a:lnTo>
                    <a:pt x="433" y="186"/>
                  </a:lnTo>
                  <a:lnTo>
                    <a:pt x="565" y="86"/>
                  </a:lnTo>
                  <a:lnTo>
                    <a:pt x="928" y="0"/>
                  </a:lnTo>
                  <a:lnTo>
                    <a:pt x="1003" y="28"/>
                  </a:lnTo>
                  <a:lnTo>
                    <a:pt x="1031" y="59"/>
                  </a:lnTo>
                  <a:lnTo>
                    <a:pt x="1025" y="84"/>
                  </a:lnTo>
                  <a:lnTo>
                    <a:pt x="957" y="39"/>
                  </a:lnTo>
                  <a:lnTo>
                    <a:pt x="1007" y="191"/>
                  </a:lnTo>
                  <a:lnTo>
                    <a:pt x="1033" y="203"/>
                  </a:lnTo>
                  <a:lnTo>
                    <a:pt x="1038" y="189"/>
                  </a:lnTo>
                  <a:lnTo>
                    <a:pt x="1054" y="175"/>
                  </a:lnTo>
                  <a:lnTo>
                    <a:pt x="1071" y="188"/>
                  </a:lnTo>
                  <a:lnTo>
                    <a:pt x="1165" y="163"/>
                  </a:lnTo>
                  <a:lnTo>
                    <a:pt x="1201" y="141"/>
                  </a:lnTo>
                  <a:lnTo>
                    <a:pt x="1503" y="201"/>
                  </a:lnTo>
                  <a:lnTo>
                    <a:pt x="1884" y="155"/>
                  </a:lnTo>
                  <a:lnTo>
                    <a:pt x="2016" y="228"/>
                  </a:lnTo>
                  <a:lnTo>
                    <a:pt x="2136" y="679"/>
                  </a:lnTo>
                  <a:lnTo>
                    <a:pt x="2135" y="749"/>
                  </a:lnTo>
                  <a:lnTo>
                    <a:pt x="2092" y="817"/>
                  </a:lnTo>
                  <a:lnTo>
                    <a:pt x="2033" y="854"/>
                  </a:lnTo>
                  <a:lnTo>
                    <a:pt x="1993" y="907"/>
                  </a:lnTo>
                  <a:lnTo>
                    <a:pt x="2017" y="950"/>
                  </a:lnTo>
                  <a:lnTo>
                    <a:pt x="2082" y="1001"/>
                  </a:lnTo>
                  <a:lnTo>
                    <a:pt x="2074" y="1167"/>
                  </a:lnTo>
                  <a:close/>
                </a:path>
              </a:pathLst>
            </a:custGeom>
            <a:solidFill>
              <a:srgbClr val="00A194"/>
            </a:solidFill>
            <a:ln w="12700">
              <a:solidFill>
                <a:sysClr val="window" lastClr="FFFFFF"/>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1" u="none" strike="noStrike" kern="0" cap="none" spc="0" normalizeH="0" baseline="0" noProof="0" dirty="0">
                <a:ln>
                  <a:noFill/>
                </a:ln>
                <a:solidFill>
                  <a:prstClr val="black"/>
                </a:solidFill>
                <a:effectLst/>
                <a:uLnTx/>
                <a:uFillTx/>
                <a:latin typeface="Arial" panose="020B0604020202020204"/>
                <a:ea typeface="+mn-ea"/>
                <a:cs typeface="+mn-cs"/>
              </a:endParaRPr>
            </a:p>
          </p:txBody>
        </p:sp>
        <p:sp>
          <p:nvSpPr>
            <p:cNvPr id="510" name="LV">
              <a:extLst>
                <a:ext uri="{FF2B5EF4-FFF2-40B4-BE49-F238E27FC236}">
                  <a16:creationId xmlns:a16="http://schemas.microsoft.com/office/drawing/2014/main" id="{AE5E7963-7053-99E5-6902-82D09E4052B3}"/>
                </a:ext>
              </a:extLst>
            </p:cNvPr>
            <p:cNvSpPr>
              <a:spLocks/>
            </p:cNvSpPr>
            <p:nvPr/>
          </p:nvSpPr>
          <p:spPr bwMode="auto">
            <a:xfrm rot="21249101">
              <a:off x="9456687" y="2477097"/>
              <a:ext cx="711280" cy="381847"/>
            </a:xfrm>
            <a:custGeom>
              <a:avLst/>
              <a:gdLst>
                <a:gd name="T0" fmla="*/ 0 w 1493"/>
                <a:gd name="T1" fmla="*/ 2147483647 h 838"/>
                <a:gd name="T2" fmla="*/ 2147483647 w 1493"/>
                <a:gd name="T3" fmla="*/ 2147483647 h 838"/>
                <a:gd name="T4" fmla="*/ 2147483647 w 1493"/>
                <a:gd name="T5" fmla="*/ 2147483647 h 838"/>
                <a:gd name="T6" fmla="*/ 2147483647 w 1493"/>
                <a:gd name="T7" fmla="*/ 2147483647 h 838"/>
                <a:gd name="T8" fmla="*/ 2147483647 w 1493"/>
                <a:gd name="T9" fmla="*/ 2147483647 h 838"/>
                <a:gd name="T10" fmla="*/ 2147483647 w 1493"/>
                <a:gd name="T11" fmla="*/ 2147483647 h 838"/>
                <a:gd name="T12" fmla="*/ 2147483647 w 1493"/>
                <a:gd name="T13" fmla="*/ 2147483647 h 838"/>
                <a:gd name="T14" fmla="*/ 2147483647 w 1493"/>
                <a:gd name="T15" fmla="*/ 2147483647 h 838"/>
                <a:gd name="T16" fmla="*/ 2147483647 w 1493"/>
                <a:gd name="T17" fmla="*/ 2147483647 h 838"/>
                <a:gd name="T18" fmla="*/ 2147483647 w 1493"/>
                <a:gd name="T19" fmla="*/ 2147483647 h 838"/>
                <a:gd name="T20" fmla="*/ 2147483647 w 1493"/>
                <a:gd name="T21" fmla="*/ 2147483647 h 838"/>
                <a:gd name="T22" fmla="*/ 2147483647 w 1493"/>
                <a:gd name="T23" fmla="*/ 2147483647 h 838"/>
                <a:gd name="T24" fmla="*/ 2147483647 w 1493"/>
                <a:gd name="T25" fmla="*/ 2147483647 h 838"/>
                <a:gd name="T26" fmla="*/ 2147483647 w 1493"/>
                <a:gd name="T27" fmla="*/ 2147483647 h 838"/>
                <a:gd name="T28" fmla="*/ 2147483647 w 1493"/>
                <a:gd name="T29" fmla="*/ 2147483647 h 838"/>
                <a:gd name="T30" fmla="*/ 2147483647 w 1493"/>
                <a:gd name="T31" fmla="*/ 2147483647 h 838"/>
                <a:gd name="T32" fmla="*/ 2147483647 w 1493"/>
                <a:gd name="T33" fmla="*/ 2147483647 h 838"/>
                <a:gd name="T34" fmla="*/ 2147483647 w 1493"/>
                <a:gd name="T35" fmla="*/ 2147483647 h 838"/>
                <a:gd name="T36" fmla="*/ 2147483647 w 1493"/>
                <a:gd name="T37" fmla="*/ 2147483647 h 838"/>
                <a:gd name="T38" fmla="*/ 2147483647 w 1493"/>
                <a:gd name="T39" fmla="*/ 2147483647 h 838"/>
                <a:gd name="T40" fmla="*/ 2147483647 w 1493"/>
                <a:gd name="T41" fmla="*/ 2147483647 h 838"/>
                <a:gd name="T42" fmla="*/ 2147483647 w 1493"/>
                <a:gd name="T43" fmla="*/ 2147483647 h 838"/>
                <a:gd name="T44" fmla="*/ 2147483647 w 1493"/>
                <a:gd name="T45" fmla="*/ 2147483647 h 838"/>
                <a:gd name="T46" fmla="*/ 2147483647 w 1493"/>
                <a:gd name="T47" fmla="*/ 2147483647 h 838"/>
                <a:gd name="T48" fmla="*/ 2147483647 w 1493"/>
                <a:gd name="T49" fmla="*/ 2147483647 h 838"/>
                <a:gd name="T50" fmla="*/ 2147483647 w 1493"/>
                <a:gd name="T51" fmla="*/ 2147483647 h 838"/>
                <a:gd name="T52" fmla="*/ 2147483647 w 1493"/>
                <a:gd name="T53" fmla="*/ 2147483647 h 838"/>
                <a:gd name="T54" fmla="*/ 2147483647 w 1493"/>
                <a:gd name="T55" fmla="*/ 2147483647 h 838"/>
                <a:gd name="T56" fmla="*/ 2147483647 w 1493"/>
                <a:gd name="T57" fmla="*/ 2147483647 h 838"/>
                <a:gd name="T58" fmla="*/ 2147483647 w 1493"/>
                <a:gd name="T59" fmla="*/ 2147483647 h 838"/>
                <a:gd name="T60" fmla="*/ 2147483647 w 1493"/>
                <a:gd name="T61" fmla="*/ 2147483647 h 838"/>
                <a:gd name="T62" fmla="*/ 2147483647 w 1493"/>
                <a:gd name="T63" fmla="*/ 2147483647 h 838"/>
                <a:gd name="T64" fmla="*/ 2147483647 w 1493"/>
                <a:gd name="T65" fmla="*/ 2147483647 h 838"/>
                <a:gd name="T66" fmla="*/ 2147483647 w 1493"/>
                <a:gd name="T67" fmla="*/ 2147483647 h 838"/>
                <a:gd name="T68" fmla="*/ 2147483647 w 1493"/>
                <a:gd name="T69" fmla="*/ 2147483647 h 838"/>
                <a:gd name="T70" fmla="*/ 2147483647 w 1493"/>
                <a:gd name="T71" fmla="*/ 2147483647 h 838"/>
                <a:gd name="T72" fmla="*/ 2147483647 w 1493"/>
                <a:gd name="T73" fmla="*/ 2147483647 h 83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493"/>
                <a:gd name="T112" fmla="*/ 0 h 838"/>
                <a:gd name="T113" fmla="*/ 1493 w 1493"/>
                <a:gd name="T114" fmla="*/ 838 h 83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493" h="838">
                  <a:moveTo>
                    <a:pt x="12" y="739"/>
                  </a:moveTo>
                  <a:lnTo>
                    <a:pt x="0" y="698"/>
                  </a:lnTo>
                  <a:lnTo>
                    <a:pt x="15" y="513"/>
                  </a:lnTo>
                  <a:lnTo>
                    <a:pt x="68" y="412"/>
                  </a:lnTo>
                  <a:lnTo>
                    <a:pt x="89" y="309"/>
                  </a:lnTo>
                  <a:lnTo>
                    <a:pt x="145" y="214"/>
                  </a:lnTo>
                  <a:lnTo>
                    <a:pt x="177" y="188"/>
                  </a:lnTo>
                  <a:lnTo>
                    <a:pt x="297" y="145"/>
                  </a:lnTo>
                  <a:lnTo>
                    <a:pt x="400" y="265"/>
                  </a:lnTo>
                  <a:lnTo>
                    <a:pt x="422" y="328"/>
                  </a:lnTo>
                  <a:lnTo>
                    <a:pt x="426" y="288"/>
                  </a:lnTo>
                  <a:lnTo>
                    <a:pt x="446" y="347"/>
                  </a:lnTo>
                  <a:lnTo>
                    <a:pt x="470" y="375"/>
                  </a:lnTo>
                  <a:lnTo>
                    <a:pt x="531" y="404"/>
                  </a:lnTo>
                  <a:lnTo>
                    <a:pt x="550" y="403"/>
                  </a:lnTo>
                  <a:lnTo>
                    <a:pt x="605" y="375"/>
                  </a:lnTo>
                  <a:lnTo>
                    <a:pt x="608" y="396"/>
                  </a:lnTo>
                  <a:lnTo>
                    <a:pt x="625" y="416"/>
                  </a:lnTo>
                  <a:lnTo>
                    <a:pt x="629" y="362"/>
                  </a:lnTo>
                  <a:lnTo>
                    <a:pt x="660" y="311"/>
                  </a:lnTo>
                  <a:lnTo>
                    <a:pt x="649" y="85"/>
                  </a:lnTo>
                  <a:lnTo>
                    <a:pt x="669" y="64"/>
                  </a:lnTo>
                  <a:lnTo>
                    <a:pt x="697" y="57"/>
                  </a:lnTo>
                  <a:lnTo>
                    <a:pt x="740" y="19"/>
                  </a:lnTo>
                  <a:lnTo>
                    <a:pt x="830" y="0"/>
                  </a:lnTo>
                  <a:lnTo>
                    <a:pt x="889" y="8"/>
                  </a:lnTo>
                  <a:lnTo>
                    <a:pt x="936" y="40"/>
                  </a:lnTo>
                  <a:lnTo>
                    <a:pt x="993" y="57"/>
                  </a:lnTo>
                  <a:lnTo>
                    <a:pt x="1014" y="87"/>
                  </a:lnTo>
                  <a:lnTo>
                    <a:pt x="1097" y="149"/>
                  </a:lnTo>
                  <a:lnTo>
                    <a:pt x="1126" y="148"/>
                  </a:lnTo>
                  <a:lnTo>
                    <a:pt x="1151" y="133"/>
                  </a:lnTo>
                  <a:lnTo>
                    <a:pt x="1207" y="120"/>
                  </a:lnTo>
                  <a:lnTo>
                    <a:pt x="1269" y="132"/>
                  </a:lnTo>
                  <a:lnTo>
                    <a:pt x="1308" y="176"/>
                  </a:lnTo>
                  <a:lnTo>
                    <a:pt x="1335" y="190"/>
                  </a:lnTo>
                  <a:lnTo>
                    <a:pt x="1353" y="214"/>
                  </a:lnTo>
                  <a:lnTo>
                    <a:pt x="1360" y="240"/>
                  </a:lnTo>
                  <a:lnTo>
                    <a:pt x="1342" y="356"/>
                  </a:lnTo>
                  <a:lnTo>
                    <a:pt x="1372" y="363"/>
                  </a:lnTo>
                  <a:lnTo>
                    <a:pt x="1398" y="377"/>
                  </a:lnTo>
                  <a:lnTo>
                    <a:pt x="1401" y="405"/>
                  </a:lnTo>
                  <a:lnTo>
                    <a:pt x="1485" y="532"/>
                  </a:lnTo>
                  <a:lnTo>
                    <a:pt x="1493" y="622"/>
                  </a:lnTo>
                  <a:lnTo>
                    <a:pt x="1455" y="627"/>
                  </a:lnTo>
                  <a:lnTo>
                    <a:pt x="1393" y="694"/>
                  </a:lnTo>
                  <a:lnTo>
                    <a:pt x="1389" y="725"/>
                  </a:lnTo>
                  <a:lnTo>
                    <a:pt x="1356" y="777"/>
                  </a:lnTo>
                  <a:lnTo>
                    <a:pt x="1328" y="785"/>
                  </a:lnTo>
                  <a:lnTo>
                    <a:pt x="1268" y="768"/>
                  </a:lnTo>
                  <a:lnTo>
                    <a:pt x="1245" y="788"/>
                  </a:lnTo>
                  <a:lnTo>
                    <a:pt x="1241" y="818"/>
                  </a:lnTo>
                  <a:lnTo>
                    <a:pt x="1217" y="838"/>
                  </a:lnTo>
                  <a:lnTo>
                    <a:pt x="1131" y="811"/>
                  </a:lnTo>
                  <a:lnTo>
                    <a:pt x="1055" y="733"/>
                  </a:lnTo>
                  <a:lnTo>
                    <a:pt x="953" y="674"/>
                  </a:lnTo>
                  <a:lnTo>
                    <a:pt x="894" y="680"/>
                  </a:lnTo>
                  <a:lnTo>
                    <a:pt x="865" y="673"/>
                  </a:lnTo>
                  <a:lnTo>
                    <a:pt x="822" y="592"/>
                  </a:lnTo>
                  <a:lnTo>
                    <a:pt x="800" y="573"/>
                  </a:lnTo>
                  <a:lnTo>
                    <a:pt x="772" y="584"/>
                  </a:lnTo>
                  <a:lnTo>
                    <a:pt x="733" y="630"/>
                  </a:lnTo>
                  <a:lnTo>
                    <a:pt x="676" y="647"/>
                  </a:lnTo>
                  <a:lnTo>
                    <a:pt x="561" y="610"/>
                  </a:lnTo>
                  <a:lnTo>
                    <a:pt x="473" y="608"/>
                  </a:lnTo>
                  <a:lnTo>
                    <a:pt x="445" y="617"/>
                  </a:lnTo>
                  <a:lnTo>
                    <a:pt x="418" y="610"/>
                  </a:lnTo>
                  <a:lnTo>
                    <a:pt x="391" y="624"/>
                  </a:lnTo>
                  <a:lnTo>
                    <a:pt x="360" y="625"/>
                  </a:lnTo>
                  <a:lnTo>
                    <a:pt x="333" y="611"/>
                  </a:lnTo>
                  <a:lnTo>
                    <a:pt x="244" y="614"/>
                  </a:lnTo>
                  <a:lnTo>
                    <a:pt x="107" y="676"/>
                  </a:lnTo>
                  <a:lnTo>
                    <a:pt x="76" y="728"/>
                  </a:lnTo>
                  <a:lnTo>
                    <a:pt x="50" y="745"/>
                  </a:lnTo>
                  <a:lnTo>
                    <a:pt x="12" y="739"/>
                  </a:lnTo>
                  <a:close/>
                </a:path>
              </a:pathLst>
            </a:custGeom>
            <a:solidFill>
              <a:srgbClr val="7359A0"/>
            </a:solidFill>
            <a:ln w="12700">
              <a:solidFill>
                <a:sysClr val="window" lastClr="FFFFFF"/>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1" u="none" strike="noStrike" kern="0" cap="none" spc="0" normalizeH="0" baseline="0" noProof="0" dirty="0">
                <a:ln>
                  <a:noFill/>
                </a:ln>
                <a:solidFill>
                  <a:prstClr val="black"/>
                </a:solidFill>
                <a:effectLst/>
                <a:uLnTx/>
                <a:uFillTx/>
                <a:latin typeface="Arial" panose="020B0604020202020204"/>
                <a:ea typeface="+mn-ea"/>
                <a:cs typeface="+mn-cs"/>
              </a:endParaRPr>
            </a:p>
          </p:txBody>
        </p:sp>
        <p:grpSp>
          <p:nvGrpSpPr>
            <p:cNvPr id="511" name="Skupina 29">
              <a:extLst>
                <a:ext uri="{FF2B5EF4-FFF2-40B4-BE49-F238E27FC236}">
                  <a16:creationId xmlns:a16="http://schemas.microsoft.com/office/drawing/2014/main" id="{E9B9CC67-2937-E4F6-0B69-75297037BAED}"/>
                </a:ext>
              </a:extLst>
            </p:cNvPr>
            <p:cNvGrpSpPr/>
            <p:nvPr/>
          </p:nvGrpSpPr>
          <p:grpSpPr>
            <a:xfrm>
              <a:off x="8217093" y="2640935"/>
              <a:ext cx="295165" cy="481265"/>
              <a:chOff x="4574037" y="2976600"/>
              <a:chExt cx="228600" cy="392113"/>
            </a:xfrm>
            <a:solidFill>
              <a:srgbClr val="7359A3"/>
            </a:solidFill>
            <a:effectLst/>
          </p:grpSpPr>
          <p:sp>
            <p:nvSpPr>
              <p:cNvPr id="512" name="Freeform 190">
                <a:extLst>
                  <a:ext uri="{FF2B5EF4-FFF2-40B4-BE49-F238E27FC236}">
                    <a16:creationId xmlns:a16="http://schemas.microsoft.com/office/drawing/2014/main" id="{6530DBB1-F088-087B-FF03-B69318630DE0}"/>
                  </a:ext>
                </a:extLst>
              </p:cNvPr>
              <p:cNvSpPr>
                <a:spLocks/>
              </p:cNvSpPr>
              <p:nvPr/>
            </p:nvSpPr>
            <p:spPr bwMode="auto">
              <a:xfrm rot="21249101">
                <a:off x="4775650" y="3311563"/>
                <a:ext cx="26987" cy="57150"/>
              </a:xfrm>
              <a:custGeom>
                <a:avLst/>
                <a:gdLst>
                  <a:gd name="T0" fmla="*/ 2147483647 w 76"/>
                  <a:gd name="T1" fmla="*/ 2147483647 h 156"/>
                  <a:gd name="T2" fmla="*/ 2147483647 w 76"/>
                  <a:gd name="T3" fmla="*/ 2147483647 h 156"/>
                  <a:gd name="T4" fmla="*/ 2147483647 w 76"/>
                  <a:gd name="T5" fmla="*/ 0 h 156"/>
                  <a:gd name="T6" fmla="*/ 2147483647 w 76"/>
                  <a:gd name="T7" fmla="*/ 2147483647 h 156"/>
                  <a:gd name="T8" fmla="*/ 2147483647 w 76"/>
                  <a:gd name="T9" fmla="*/ 2147483647 h 156"/>
                  <a:gd name="T10" fmla="*/ 2147483647 w 76"/>
                  <a:gd name="T11" fmla="*/ 2147483647 h 156"/>
                  <a:gd name="T12" fmla="*/ 2147483647 w 76"/>
                  <a:gd name="T13" fmla="*/ 2147483647 h 156"/>
                  <a:gd name="T14" fmla="*/ 2147483647 w 76"/>
                  <a:gd name="T15" fmla="*/ 2147483647 h 156"/>
                  <a:gd name="T16" fmla="*/ 2147483647 w 76"/>
                  <a:gd name="T17" fmla="*/ 2147483647 h 156"/>
                  <a:gd name="T18" fmla="*/ 2147483647 w 76"/>
                  <a:gd name="T19" fmla="*/ 2147483647 h 156"/>
                  <a:gd name="T20" fmla="*/ 2147483647 w 76"/>
                  <a:gd name="T21" fmla="*/ 2147483647 h 156"/>
                  <a:gd name="T22" fmla="*/ 0 w 76"/>
                  <a:gd name="T23" fmla="*/ 2147483647 h 156"/>
                  <a:gd name="T24" fmla="*/ 2147483647 w 76"/>
                  <a:gd name="T25" fmla="*/ 2147483647 h 156"/>
                  <a:gd name="T26" fmla="*/ 2147483647 w 76"/>
                  <a:gd name="T27" fmla="*/ 2147483647 h 156"/>
                  <a:gd name="T28" fmla="*/ 2147483647 w 76"/>
                  <a:gd name="T29" fmla="*/ 2147483647 h 15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6"/>
                  <a:gd name="T46" fmla="*/ 0 h 156"/>
                  <a:gd name="T47" fmla="*/ 76 w 76"/>
                  <a:gd name="T48" fmla="*/ 156 h 15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6" h="156">
                    <a:moveTo>
                      <a:pt x="52" y="38"/>
                    </a:moveTo>
                    <a:lnTo>
                      <a:pt x="56" y="11"/>
                    </a:lnTo>
                    <a:lnTo>
                      <a:pt x="63" y="0"/>
                    </a:lnTo>
                    <a:lnTo>
                      <a:pt x="76" y="2"/>
                    </a:lnTo>
                    <a:lnTo>
                      <a:pt x="71" y="55"/>
                    </a:lnTo>
                    <a:lnTo>
                      <a:pt x="46" y="88"/>
                    </a:lnTo>
                    <a:lnTo>
                      <a:pt x="41" y="113"/>
                    </a:lnTo>
                    <a:lnTo>
                      <a:pt x="31" y="123"/>
                    </a:lnTo>
                    <a:lnTo>
                      <a:pt x="18" y="152"/>
                    </a:lnTo>
                    <a:lnTo>
                      <a:pt x="7" y="156"/>
                    </a:lnTo>
                    <a:lnTo>
                      <a:pt x="8" y="127"/>
                    </a:lnTo>
                    <a:lnTo>
                      <a:pt x="0" y="101"/>
                    </a:lnTo>
                    <a:lnTo>
                      <a:pt x="7" y="99"/>
                    </a:lnTo>
                    <a:lnTo>
                      <a:pt x="37" y="42"/>
                    </a:lnTo>
                    <a:lnTo>
                      <a:pt x="52" y="38"/>
                    </a:lnTo>
                    <a:close/>
                  </a:path>
                </a:pathLst>
              </a:custGeom>
              <a:grpFill/>
              <a:ln w="12700">
                <a:solidFill>
                  <a:sysClr val="window" lastClr="FFFFFF"/>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1" u="none" strike="noStrike" kern="0" cap="none" spc="0" normalizeH="0" baseline="0" noProof="0" dirty="0">
                  <a:ln>
                    <a:noFill/>
                  </a:ln>
                  <a:solidFill>
                    <a:prstClr val="black"/>
                  </a:solidFill>
                  <a:effectLst/>
                  <a:uLnTx/>
                  <a:uFillTx/>
                  <a:latin typeface="Arial" panose="020B0604020202020204"/>
                  <a:ea typeface="+mn-ea"/>
                  <a:cs typeface="+mn-cs"/>
                </a:endParaRPr>
              </a:p>
            </p:txBody>
          </p:sp>
          <p:sp>
            <p:nvSpPr>
              <p:cNvPr id="513" name="Freeform 188">
                <a:extLst>
                  <a:ext uri="{FF2B5EF4-FFF2-40B4-BE49-F238E27FC236}">
                    <a16:creationId xmlns:a16="http://schemas.microsoft.com/office/drawing/2014/main" id="{22C7D141-DD40-F504-53FB-7255CDE21221}"/>
                  </a:ext>
                </a:extLst>
              </p:cNvPr>
              <p:cNvSpPr>
                <a:spLocks/>
              </p:cNvSpPr>
              <p:nvPr/>
            </p:nvSpPr>
            <p:spPr bwMode="auto">
              <a:xfrm rot="21249101">
                <a:off x="4708975" y="3249650"/>
                <a:ext cx="82550" cy="77788"/>
              </a:xfrm>
              <a:custGeom>
                <a:avLst/>
                <a:gdLst>
                  <a:gd name="T0" fmla="*/ 2147483647 w 224"/>
                  <a:gd name="T1" fmla="*/ 2147483647 h 211"/>
                  <a:gd name="T2" fmla="*/ 2147483647 w 224"/>
                  <a:gd name="T3" fmla="*/ 2147483647 h 211"/>
                  <a:gd name="T4" fmla="*/ 2147483647 w 224"/>
                  <a:gd name="T5" fmla="*/ 2147483647 h 211"/>
                  <a:gd name="T6" fmla="*/ 2147483647 w 224"/>
                  <a:gd name="T7" fmla="*/ 2147483647 h 211"/>
                  <a:gd name="T8" fmla="*/ 2147483647 w 224"/>
                  <a:gd name="T9" fmla="*/ 2147483647 h 211"/>
                  <a:gd name="T10" fmla="*/ 2147483647 w 224"/>
                  <a:gd name="T11" fmla="*/ 2147483647 h 211"/>
                  <a:gd name="T12" fmla="*/ 2147483647 w 224"/>
                  <a:gd name="T13" fmla="*/ 0 h 211"/>
                  <a:gd name="T14" fmla="*/ 2147483647 w 224"/>
                  <a:gd name="T15" fmla="*/ 2147483647 h 211"/>
                  <a:gd name="T16" fmla="*/ 2147483647 w 224"/>
                  <a:gd name="T17" fmla="*/ 2147483647 h 211"/>
                  <a:gd name="T18" fmla="*/ 2147483647 w 224"/>
                  <a:gd name="T19" fmla="*/ 2147483647 h 211"/>
                  <a:gd name="T20" fmla="*/ 2147483647 w 224"/>
                  <a:gd name="T21" fmla="*/ 2147483647 h 211"/>
                  <a:gd name="T22" fmla="*/ 2147483647 w 224"/>
                  <a:gd name="T23" fmla="*/ 2147483647 h 211"/>
                  <a:gd name="T24" fmla="*/ 2147483647 w 224"/>
                  <a:gd name="T25" fmla="*/ 2147483647 h 211"/>
                  <a:gd name="T26" fmla="*/ 2147483647 w 224"/>
                  <a:gd name="T27" fmla="*/ 2147483647 h 211"/>
                  <a:gd name="T28" fmla="*/ 2147483647 w 224"/>
                  <a:gd name="T29" fmla="*/ 2147483647 h 211"/>
                  <a:gd name="T30" fmla="*/ 2147483647 w 224"/>
                  <a:gd name="T31" fmla="*/ 2147483647 h 211"/>
                  <a:gd name="T32" fmla="*/ 2147483647 w 224"/>
                  <a:gd name="T33" fmla="*/ 2147483647 h 211"/>
                  <a:gd name="T34" fmla="*/ 2147483647 w 224"/>
                  <a:gd name="T35" fmla="*/ 2147483647 h 211"/>
                  <a:gd name="T36" fmla="*/ 2147483647 w 224"/>
                  <a:gd name="T37" fmla="*/ 2147483647 h 211"/>
                  <a:gd name="T38" fmla="*/ 2147483647 w 224"/>
                  <a:gd name="T39" fmla="*/ 2147483647 h 211"/>
                  <a:gd name="T40" fmla="*/ 2147483647 w 224"/>
                  <a:gd name="T41" fmla="*/ 2147483647 h 211"/>
                  <a:gd name="T42" fmla="*/ 2147483647 w 224"/>
                  <a:gd name="T43" fmla="*/ 2147483647 h 211"/>
                  <a:gd name="T44" fmla="*/ 2147483647 w 224"/>
                  <a:gd name="T45" fmla="*/ 2147483647 h 211"/>
                  <a:gd name="T46" fmla="*/ 2147483647 w 224"/>
                  <a:gd name="T47" fmla="*/ 2147483647 h 211"/>
                  <a:gd name="T48" fmla="*/ 2147483647 w 224"/>
                  <a:gd name="T49" fmla="*/ 2147483647 h 211"/>
                  <a:gd name="T50" fmla="*/ 2147483647 w 224"/>
                  <a:gd name="T51" fmla="*/ 2147483647 h 211"/>
                  <a:gd name="T52" fmla="*/ 2147483647 w 224"/>
                  <a:gd name="T53" fmla="*/ 2147483647 h 211"/>
                  <a:gd name="T54" fmla="*/ 0 w 224"/>
                  <a:gd name="T55" fmla="*/ 2147483647 h 211"/>
                  <a:gd name="T56" fmla="*/ 2147483647 w 224"/>
                  <a:gd name="T57" fmla="*/ 2147483647 h 211"/>
                  <a:gd name="T58" fmla="*/ 2147483647 w 224"/>
                  <a:gd name="T59" fmla="*/ 2147483647 h 211"/>
                  <a:gd name="T60" fmla="*/ 0 w 224"/>
                  <a:gd name="T61" fmla="*/ 2147483647 h 211"/>
                  <a:gd name="T62" fmla="*/ 2147483647 w 224"/>
                  <a:gd name="T63" fmla="*/ 2147483647 h 211"/>
                  <a:gd name="T64" fmla="*/ 2147483647 w 224"/>
                  <a:gd name="T65" fmla="*/ 2147483647 h 211"/>
                  <a:gd name="T66" fmla="*/ 2147483647 w 224"/>
                  <a:gd name="T67" fmla="*/ 2147483647 h 211"/>
                  <a:gd name="T68" fmla="*/ 2147483647 w 224"/>
                  <a:gd name="T69" fmla="*/ 2147483647 h 21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24"/>
                  <a:gd name="T106" fmla="*/ 0 h 211"/>
                  <a:gd name="T107" fmla="*/ 224 w 224"/>
                  <a:gd name="T108" fmla="*/ 211 h 21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24" h="211">
                    <a:moveTo>
                      <a:pt x="63" y="17"/>
                    </a:moveTo>
                    <a:lnTo>
                      <a:pt x="82" y="8"/>
                    </a:lnTo>
                    <a:lnTo>
                      <a:pt x="131" y="9"/>
                    </a:lnTo>
                    <a:lnTo>
                      <a:pt x="158" y="33"/>
                    </a:lnTo>
                    <a:lnTo>
                      <a:pt x="167" y="32"/>
                    </a:lnTo>
                    <a:lnTo>
                      <a:pt x="171" y="8"/>
                    </a:lnTo>
                    <a:lnTo>
                      <a:pt x="180" y="0"/>
                    </a:lnTo>
                    <a:lnTo>
                      <a:pt x="204" y="56"/>
                    </a:lnTo>
                    <a:lnTo>
                      <a:pt x="197" y="84"/>
                    </a:lnTo>
                    <a:lnTo>
                      <a:pt x="201" y="110"/>
                    </a:lnTo>
                    <a:lnTo>
                      <a:pt x="207" y="120"/>
                    </a:lnTo>
                    <a:lnTo>
                      <a:pt x="224" y="128"/>
                    </a:lnTo>
                    <a:lnTo>
                      <a:pt x="223" y="135"/>
                    </a:lnTo>
                    <a:lnTo>
                      <a:pt x="211" y="132"/>
                    </a:lnTo>
                    <a:lnTo>
                      <a:pt x="195" y="201"/>
                    </a:lnTo>
                    <a:lnTo>
                      <a:pt x="165" y="203"/>
                    </a:lnTo>
                    <a:lnTo>
                      <a:pt x="142" y="211"/>
                    </a:lnTo>
                    <a:lnTo>
                      <a:pt x="122" y="205"/>
                    </a:lnTo>
                    <a:lnTo>
                      <a:pt x="94" y="182"/>
                    </a:lnTo>
                    <a:lnTo>
                      <a:pt x="57" y="187"/>
                    </a:lnTo>
                    <a:lnTo>
                      <a:pt x="59" y="173"/>
                    </a:lnTo>
                    <a:lnTo>
                      <a:pt x="74" y="156"/>
                    </a:lnTo>
                    <a:lnTo>
                      <a:pt x="59" y="154"/>
                    </a:lnTo>
                    <a:lnTo>
                      <a:pt x="19" y="131"/>
                    </a:lnTo>
                    <a:lnTo>
                      <a:pt x="20" y="104"/>
                    </a:lnTo>
                    <a:lnTo>
                      <a:pt x="4" y="82"/>
                    </a:lnTo>
                    <a:lnTo>
                      <a:pt x="13" y="66"/>
                    </a:lnTo>
                    <a:lnTo>
                      <a:pt x="0" y="48"/>
                    </a:lnTo>
                    <a:lnTo>
                      <a:pt x="7" y="48"/>
                    </a:lnTo>
                    <a:lnTo>
                      <a:pt x="8" y="41"/>
                    </a:lnTo>
                    <a:lnTo>
                      <a:pt x="0" y="27"/>
                    </a:lnTo>
                    <a:lnTo>
                      <a:pt x="1" y="15"/>
                    </a:lnTo>
                    <a:lnTo>
                      <a:pt x="19" y="18"/>
                    </a:lnTo>
                    <a:lnTo>
                      <a:pt x="40" y="29"/>
                    </a:lnTo>
                    <a:lnTo>
                      <a:pt x="63" y="17"/>
                    </a:lnTo>
                    <a:close/>
                  </a:path>
                </a:pathLst>
              </a:custGeom>
              <a:grpFill/>
              <a:ln w="12700">
                <a:solidFill>
                  <a:sysClr val="window" lastClr="FFFFFF"/>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1" u="none" strike="noStrike" kern="0" cap="none" spc="0" normalizeH="0" baseline="0" noProof="0" dirty="0">
                  <a:ln>
                    <a:noFill/>
                  </a:ln>
                  <a:solidFill>
                    <a:prstClr val="black"/>
                  </a:solidFill>
                  <a:effectLst/>
                  <a:uLnTx/>
                  <a:uFillTx/>
                  <a:latin typeface="Arial" panose="020B0604020202020204"/>
                  <a:ea typeface="+mn-ea"/>
                  <a:cs typeface="+mn-cs"/>
                </a:endParaRPr>
              </a:p>
            </p:txBody>
          </p:sp>
          <p:sp>
            <p:nvSpPr>
              <p:cNvPr id="514" name="Freeform 195" descr="Široký šikmo nahoru">
                <a:extLst>
                  <a:ext uri="{FF2B5EF4-FFF2-40B4-BE49-F238E27FC236}">
                    <a16:creationId xmlns:a16="http://schemas.microsoft.com/office/drawing/2014/main" id="{467F0500-E558-6E13-9A9D-CC607E62B0B8}"/>
                  </a:ext>
                </a:extLst>
              </p:cNvPr>
              <p:cNvSpPr>
                <a:spLocks/>
              </p:cNvSpPr>
              <p:nvPr/>
            </p:nvSpPr>
            <p:spPr bwMode="auto">
              <a:xfrm rot="21249101">
                <a:off x="4574037" y="2976600"/>
                <a:ext cx="219075" cy="369888"/>
              </a:xfrm>
              <a:custGeom>
                <a:avLst/>
                <a:gdLst>
                  <a:gd name="T0" fmla="*/ 2147483647 w 596"/>
                  <a:gd name="T1" fmla="*/ 2147483647 h 1001"/>
                  <a:gd name="T2" fmla="*/ 2147483647 w 596"/>
                  <a:gd name="T3" fmla="*/ 2147483647 h 1001"/>
                  <a:gd name="T4" fmla="*/ 2147483647 w 596"/>
                  <a:gd name="T5" fmla="*/ 2147483647 h 1001"/>
                  <a:gd name="T6" fmla="*/ 2147483647 w 596"/>
                  <a:gd name="T7" fmla="*/ 2147483647 h 1001"/>
                  <a:gd name="T8" fmla="*/ 2147483647 w 596"/>
                  <a:gd name="T9" fmla="*/ 2147483647 h 1001"/>
                  <a:gd name="T10" fmla="*/ 2147483647 w 596"/>
                  <a:gd name="T11" fmla="*/ 2147483647 h 1001"/>
                  <a:gd name="T12" fmla="*/ 2147483647 w 596"/>
                  <a:gd name="T13" fmla="*/ 2147483647 h 1001"/>
                  <a:gd name="T14" fmla="*/ 2147483647 w 596"/>
                  <a:gd name="T15" fmla="*/ 2147483647 h 1001"/>
                  <a:gd name="T16" fmla="*/ 2147483647 w 596"/>
                  <a:gd name="T17" fmla="*/ 2147483647 h 1001"/>
                  <a:gd name="T18" fmla="*/ 2147483647 w 596"/>
                  <a:gd name="T19" fmla="*/ 2147483647 h 1001"/>
                  <a:gd name="T20" fmla="*/ 2147483647 w 596"/>
                  <a:gd name="T21" fmla="*/ 2147483647 h 1001"/>
                  <a:gd name="T22" fmla="*/ 2147483647 w 596"/>
                  <a:gd name="T23" fmla="*/ 2147483647 h 1001"/>
                  <a:gd name="T24" fmla="*/ 2147483647 w 596"/>
                  <a:gd name="T25" fmla="*/ 2147483647 h 1001"/>
                  <a:gd name="T26" fmla="*/ 2147483647 w 596"/>
                  <a:gd name="T27" fmla="*/ 2147483647 h 1001"/>
                  <a:gd name="T28" fmla="*/ 2147483647 w 596"/>
                  <a:gd name="T29" fmla="*/ 2147483647 h 1001"/>
                  <a:gd name="T30" fmla="*/ 2147483647 w 596"/>
                  <a:gd name="T31" fmla="*/ 2147483647 h 1001"/>
                  <a:gd name="T32" fmla="*/ 2147483647 w 596"/>
                  <a:gd name="T33" fmla="*/ 2147483647 h 1001"/>
                  <a:gd name="T34" fmla="*/ 2147483647 w 596"/>
                  <a:gd name="T35" fmla="*/ 2147483647 h 1001"/>
                  <a:gd name="T36" fmla="*/ 2147483647 w 596"/>
                  <a:gd name="T37" fmla="*/ 2147483647 h 1001"/>
                  <a:gd name="T38" fmla="*/ 2147483647 w 596"/>
                  <a:gd name="T39" fmla="*/ 2147483647 h 1001"/>
                  <a:gd name="T40" fmla="*/ 2147483647 w 596"/>
                  <a:gd name="T41" fmla="*/ 2147483647 h 1001"/>
                  <a:gd name="T42" fmla="*/ 2147483647 w 596"/>
                  <a:gd name="T43" fmla="*/ 2147483647 h 1001"/>
                  <a:gd name="T44" fmla="*/ 2147483647 w 596"/>
                  <a:gd name="T45" fmla="*/ 2147483647 h 1001"/>
                  <a:gd name="T46" fmla="*/ 2147483647 w 596"/>
                  <a:gd name="T47" fmla="*/ 2147483647 h 1001"/>
                  <a:gd name="T48" fmla="*/ 2147483647 w 596"/>
                  <a:gd name="T49" fmla="*/ 2147483647 h 1001"/>
                  <a:gd name="T50" fmla="*/ 2147483647 w 596"/>
                  <a:gd name="T51" fmla="*/ 2147483647 h 1001"/>
                  <a:gd name="T52" fmla="*/ 2147483647 w 596"/>
                  <a:gd name="T53" fmla="*/ 2147483647 h 1001"/>
                  <a:gd name="T54" fmla="*/ 2147483647 w 596"/>
                  <a:gd name="T55" fmla="*/ 2147483647 h 1001"/>
                  <a:gd name="T56" fmla="*/ 2147483647 w 596"/>
                  <a:gd name="T57" fmla="*/ 2147483647 h 1001"/>
                  <a:gd name="T58" fmla="*/ 2147483647 w 596"/>
                  <a:gd name="T59" fmla="*/ 0 h 1001"/>
                  <a:gd name="T60" fmla="*/ 2147483647 w 596"/>
                  <a:gd name="T61" fmla="*/ 2147483647 h 1001"/>
                  <a:gd name="T62" fmla="*/ 2147483647 w 596"/>
                  <a:gd name="T63" fmla="*/ 2147483647 h 1001"/>
                  <a:gd name="T64" fmla="*/ 2147483647 w 596"/>
                  <a:gd name="T65" fmla="*/ 2147483647 h 1001"/>
                  <a:gd name="T66" fmla="*/ 2147483647 w 596"/>
                  <a:gd name="T67" fmla="*/ 2147483647 h 1001"/>
                  <a:gd name="T68" fmla="*/ 0 w 596"/>
                  <a:gd name="T69" fmla="*/ 2147483647 h 1001"/>
                  <a:gd name="T70" fmla="*/ 2147483647 w 596"/>
                  <a:gd name="T71" fmla="*/ 2147483647 h 1001"/>
                  <a:gd name="T72" fmla="*/ 2147483647 w 596"/>
                  <a:gd name="T73" fmla="*/ 2147483647 h 1001"/>
                  <a:gd name="T74" fmla="*/ 2147483647 w 596"/>
                  <a:gd name="T75" fmla="*/ 2147483647 h 100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96"/>
                  <a:gd name="T115" fmla="*/ 0 h 1001"/>
                  <a:gd name="T116" fmla="*/ 596 w 596"/>
                  <a:gd name="T117" fmla="*/ 1001 h 100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96" h="1001">
                    <a:moveTo>
                      <a:pt x="79" y="963"/>
                    </a:moveTo>
                    <a:lnTo>
                      <a:pt x="110" y="965"/>
                    </a:lnTo>
                    <a:lnTo>
                      <a:pt x="195" y="1001"/>
                    </a:lnTo>
                    <a:lnTo>
                      <a:pt x="244" y="987"/>
                    </a:lnTo>
                    <a:lnTo>
                      <a:pt x="249" y="981"/>
                    </a:lnTo>
                    <a:lnTo>
                      <a:pt x="259" y="980"/>
                    </a:lnTo>
                    <a:lnTo>
                      <a:pt x="264" y="991"/>
                    </a:lnTo>
                    <a:lnTo>
                      <a:pt x="282" y="996"/>
                    </a:lnTo>
                    <a:lnTo>
                      <a:pt x="284" y="979"/>
                    </a:lnTo>
                    <a:lnTo>
                      <a:pt x="277" y="962"/>
                    </a:lnTo>
                    <a:lnTo>
                      <a:pt x="264" y="946"/>
                    </a:lnTo>
                    <a:lnTo>
                      <a:pt x="238" y="943"/>
                    </a:lnTo>
                    <a:lnTo>
                      <a:pt x="244" y="892"/>
                    </a:lnTo>
                    <a:lnTo>
                      <a:pt x="284" y="872"/>
                    </a:lnTo>
                    <a:lnTo>
                      <a:pt x="286" y="859"/>
                    </a:lnTo>
                    <a:lnTo>
                      <a:pt x="277" y="857"/>
                    </a:lnTo>
                    <a:lnTo>
                      <a:pt x="279" y="826"/>
                    </a:lnTo>
                    <a:lnTo>
                      <a:pt x="294" y="786"/>
                    </a:lnTo>
                    <a:lnTo>
                      <a:pt x="286" y="771"/>
                    </a:lnTo>
                    <a:lnTo>
                      <a:pt x="327" y="738"/>
                    </a:lnTo>
                    <a:lnTo>
                      <a:pt x="326" y="724"/>
                    </a:lnTo>
                    <a:lnTo>
                      <a:pt x="305" y="696"/>
                    </a:lnTo>
                    <a:lnTo>
                      <a:pt x="329" y="691"/>
                    </a:lnTo>
                    <a:lnTo>
                      <a:pt x="375" y="704"/>
                    </a:lnTo>
                    <a:lnTo>
                      <a:pt x="382" y="680"/>
                    </a:lnTo>
                    <a:lnTo>
                      <a:pt x="369" y="649"/>
                    </a:lnTo>
                    <a:lnTo>
                      <a:pt x="386" y="637"/>
                    </a:lnTo>
                    <a:lnTo>
                      <a:pt x="432" y="649"/>
                    </a:lnTo>
                    <a:lnTo>
                      <a:pt x="454" y="625"/>
                    </a:lnTo>
                    <a:lnTo>
                      <a:pt x="451" y="579"/>
                    </a:lnTo>
                    <a:lnTo>
                      <a:pt x="473" y="536"/>
                    </a:lnTo>
                    <a:lnTo>
                      <a:pt x="494" y="533"/>
                    </a:lnTo>
                    <a:lnTo>
                      <a:pt x="491" y="551"/>
                    </a:lnTo>
                    <a:lnTo>
                      <a:pt x="501" y="576"/>
                    </a:lnTo>
                    <a:lnTo>
                      <a:pt x="527" y="551"/>
                    </a:lnTo>
                    <a:lnTo>
                      <a:pt x="530" y="564"/>
                    </a:lnTo>
                    <a:lnTo>
                      <a:pt x="589" y="522"/>
                    </a:lnTo>
                    <a:lnTo>
                      <a:pt x="596" y="483"/>
                    </a:lnTo>
                    <a:lnTo>
                      <a:pt x="594" y="456"/>
                    </a:lnTo>
                    <a:lnTo>
                      <a:pt x="578" y="444"/>
                    </a:lnTo>
                    <a:lnTo>
                      <a:pt x="541" y="444"/>
                    </a:lnTo>
                    <a:lnTo>
                      <a:pt x="514" y="452"/>
                    </a:lnTo>
                    <a:lnTo>
                      <a:pt x="501" y="428"/>
                    </a:lnTo>
                    <a:lnTo>
                      <a:pt x="478" y="425"/>
                    </a:lnTo>
                    <a:lnTo>
                      <a:pt x="459" y="448"/>
                    </a:lnTo>
                    <a:lnTo>
                      <a:pt x="452" y="427"/>
                    </a:lnTo>
                    <a:lnTo>
                      <a:pt x="458" y="406"/>
                    </a:lnTo>
                    <a:lnTo>
                      <a:pt x="485" y="384"/>
                    </a:lnTo>
                    <a:lnTo>
                      <a:pt x="480" y="374"/>
                    </a:lnTo>
                    <a:lnTo>
                      <a:pt x="446" y="380"/>
                    </a:lnTo>
                    <a:lnTo>
                      <a:pt x="448" y="363"/>
                    </a:lnTo>
                    <a:lnTo>
                      <a:pt x="478" y="356"/>
                    </a:lnTo>
                    <a:lnTo>
                      <a:pt x="484" y="326"/>
                    </a:lnTo>
                    <a:lnTo>
                      <a:pt x="490" y="322"/>
                    </a:lnTo>
                    <a:lnTo>
                      <a:pt x="494" y="278"/>
                    </a:lnTo>
                    <a:lnTo>
                      <a:pt x="560" y="169"/>
                    </a:lnTo>
                    <a:lnTo>
                      <a:pt x="564" y="139"/>
                    </a:lnTo>
                    <a:lnTo>
                      <a:pt x="554" y="65"/>
                    </a:lnTo>
                    <a:lnTo>
                      <a:pt x="579" y="10"/>
                    </a:lnTo>
                    <a:lnTo>
                      <a:pt x="574" y="0"/>
                    </a:lnTo>
                    <a:lnTo>
                      <a:pt x="466" y="44"/>
                    </a:lnTo>
                    <a:lnTo>
                      <a:pt x="400" y="99"/>
                    </a:lnTo>
                    <a:lnTo>
                      <a:pt x="384" y="135"/>
                    </a:lnTo>
                    <a:lnTo>
                      <a:pt x="341" y="160"/>
                    </a:lnTo>
                    <a:lnTo>
                      <a:pt x="185" y="166"/>
                    </a:lnTo>
                    <a:lnTo>
                      <a:pt x="148" y="195"/>
                    </a:lnTo>
                    <a:lnTo>
                      <a:pt x="40" y="408"/>
                    </a:lnTo>
                    <a:lnTo>
                      <a:pt x="21" y="558"/>
                    </a:lnTo>
                    <a:lnTo>
                      <a:pt x="28" y="597"/>
                    </a:lnTo>
                    <a:lnTo>
                      <a:pt x="0" y="709"/>
                    </a:lnTo>
                    <a:lnTo>
                      <a:pt x="18" y="712"/>
                    </a:lnTo>
                    <a:lnTo>
                      <a:pt x="33" y="705"/>
                    </a:lnTo>
                    <a:lnTo>
                      <a:pt x="65" y="733"/>
                    </a:lnTo>
                    <a:lnTo>
                      <a:pt x="86" y="764"/>
                    </a:lnTo>
                    <a:lnTo>
                      <a:pt x="98" y="803"/>
                    </a:lnTo>
                    <a:lnTo>
                      <a:pt x="79" y="963"/>
                    </a:lnTo>
                  </a:path>
                </a:pathLst>
              </a:custGeom>
              <a:grpFill/>
              <a:ln w="12700">
                <a:solidFill>
                  <a:sysClr val="window" lastClr="FFFFFF"/>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1" u="none" strike="noStrike" kern="0" cap="none" spc="0" normalizeH="0" baseline="0" noProof="0" dirty="0">
                  <a:ln>
                    <a:noFill/>
                  </a:ln>
                  <a:solidFill>
                    <a:prstClr val="black"/>
                  </a:solidFill>
                  <a:effectLst/>
                  <a:uLnTx/>
                  <a:uFillTx/>
                  <a:latin typeface="Arial" panose="020B0604020202020204"/>
                  <a:ea typeface="+mn-ea"/>
                  <a:cs typeface="+mn-cs"/>
                </a:endParaRPr>
              </a:p>
            </p:txBody>
          </p:sp>
        </p:grpSp>
        <p:sp>
          <p:nvSpPr>
            <p:cNvPr id="515" name="Freeform 196">
              <a:extLst>
                <a:ext uri="{FF2B5EF4-FFF2-40B4-BE49-F238E27FC236}">
                  <a16:creationId xmlns:a16="http://schemas.microsoft.com/office/drawing/2014/main" id="{276D9F63-0E5F-2FA9-4496-3E537725A30B}"/>
                </a:ext>
              </a:extLst>
            </p:cNvPr>
            <p:cNvSpPr>
              <a:spLocks/>
            </p:cNvSpPr>
            <p:nvPr/>
          </p:nvSpPr>
          <p:spPr bwMode="auto">
            <a:xfrm rot="21249101">
              <a:off x="7890646" y="3852900"/>
              <a:ext cx="72369" cy="103191"/>
            </a:xfrm>
            <a:custGeom>
              <a:avLst/>
              <a:gdLst>
                <a:gd name="T0" fmla="*/ 2147483647 w 148"/>
                <a:gd name="T1" fmla="*/ 2147483647 h 230"/>
                <a:gd name="T2" fmla="*/ 2147483647 w 148"/>
                <a:gd name="T3" fmla="*/ 2147483647 h 230"/>
                <a:gd name="T4" fmla="*/ 2147483647 w 148"/>
                <a:gd name="T5" fmla="*/ 2147483647 h 230"/>
                <a:gd name="T6" fmla="*/ 2147483647 w 148"/>
                <a:gd name="T7" fmla="*/ 2147483647 h 230"/>
                <a:gd name="T8" fmla="*/ 2147483647 w 148"/>
                <a:gd name="T9" fmla="*/ 2147483647 h 230"/>
                <a:gd name="T10" fmla="*/ 2147483647 w 148"/>
                <a:gd name="T11" fmla="*/ 2147483647 h 230"/>
                <a:gd name="T12" fmla="*/ 2147483647 w 148"/>
                <a:gd name="T13" fmla="*/ 2147483647 h 230"/>
                <a:gd name="T14" fmla="*/ 2147483647 w 148"/>
                <a:gd name="T15" fmla="*/ 2147483647 h 230"/>
                <a:gd name="T16" fmla="*/ 2147483647 w 148"/>
                <a:gd name="T17" fmla="*/ 0 h 230"/>
                <a:gd name="T18" fmla="*/ 2147483647 w 148"/>
                <a:gd name="T19" fmla="*/ 2147483647 h 230"/>
                <a:gd name="T20" fmla="*/ 2147483647 w 148"/>
                <a:gd name="T21" fmla="*/ 2147483647 h 230"/>
                <a:gd name="T22" fmla="*/ 2147483647 w 148"/>
                <a:gd name="T23" fmla="*/ 2147483647 h 230"/>
                <a:gd name="T24" fmla="*/ 0 w 148"/>
                <a:gd name="T25" fmla="*/ 2147483647 h 230"/>
                <a:gd name="T26" fmla="*/ 2147483647 w 148"/>
                <a:gd name="T27" fmla="*/ 2147483647 h 2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8"/>
                <a:gd name="T43" fmla="*/ 0 h 230"/>
                <a:gd name="T44" fmla="*/ 148 w 148"/>
                <a:gd name="T45" fmla="*/ 230 h 2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8" h="230">
                  <a:moveTo>
                    <a:pt x="66" y="224"/>
                  </a:moveTo>
                  <a:lnTo>
                    <a:pt x="118" y="230"/>
                  </a:lnTo>
                  <a:lnTo>
                    <a:pt x="143" y="207"/>
                  </a:lnTo>
                  <a:lnTo>
                    <a:pt x="148" y="155"/>
                  </a:lnTo>
                  <a:lnTo>
                    <a:pt x="125" y="88"/>
                  </a:lnTo>
                  <a:lnTo>
                    <a:pt x="128" y="57"/>
                  </a:lnTo>
                  <a:lnTo>
                    <a:pt x="144" y="28"/>
                  </a:lnTo>
                  <a:lnTo>
                    <a:pt x="116" y="3"/>
                  </a:lnTo>
                  <a:lnTo>
                    <a:pt x="87" y="0"/>
                  </a:lnTo>
                  <a:lnTo>
                    <a:pt x="41" y="22"/>
                  </a:lnTo>
                  <a:lnTo>
                    <a:pt x="5" y="71"/>
                  </a:lnTo>
                  <a:lnTo>
                    <a:pt x="12" y="127"/>
                  </a:lnTo>
                  <a:lnTo>
                    <a:pt x="0" y="191"/>
                  </a:lnTo>
                  <a:lnTo>
                    <a:pt x="66" y="224"/>
                  </a:lnTo>
                  <a:close/>
                </a:path>
              </a:pathLst>
            </a:custGeom>
            <a:solidFill>
              <a:srgbClr val="00A194"/>
            </a:solidFill>
            <a:ln w="12700">
              <a:solidFill>
                <a:sysClr val="window" lastClr="FFFFFF"/>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1" u="none" strike="noStrike" kern="0" cap="none" spc="0" normalizeH="0" baseline="0" noProof="0" dirty="0">
                <a:ln>
                  <a:noFill/>
                </a:ln>
                <a:solidFill>
                  <a:prstClr val="black"/>
                </a:solidFill>
                <a:effectLst/>
                <a:uLnTx/>
                <a:uFillTx/>
                <a:latin typeface="Arial" panose="020B0604020202020204"/>
                <a:ea typeface="+mn-ea"/>
                <a:cs typeface="+mn-cs"/>
              </a:endParaRPr>
            </a:p>
          </p:txBody>
        </p:sp>
        <p:grpSp>
          <p:nvGrpSpPr>
            <p:cNvPr id="516" name="Skupina 37">
              <a:extLst>
                <a:ext uri="{FF2B5EF4-FFF2-40B4-BE49-F238E27FC236}">
                  <a16:creationId xmlns:a16="http://schemas.microsoft.com/office/drawing/2014/main" id="{C6DB45D3-2907-1224-13FB-0288B89166D9}"/>
                </a:ext>
              </a:extLst>
            </p:cNvPr>
            <p:cNvGrpSpPr/>
            <p:nvPr/>
          </p:nvGrpSpPr>
          <p:grpSpPr>
            <a:xfrm>
              <a:off x="8387281" y="2894435"/>
              <a:ext cx="291097" cy="250649"/>
              <a:chOff x="4810370" y="3313734"/>
              <a:chExt cx="225425" cy="204788"/>
            </a:xfrm>
            <a:solidFill>
              <a:srgbClr val="7359A3"/>
            </a:solidFill>
            <a:effectLst/>
          </p:grpSpPr>
          <p:sp>
            <p:nvSpPr>
              <p:cNvPr id="517" name="Freeform 190">
                <a:extLst>
                  <a:ext uri="{FF2B5EF4-FFF2-40B4-BE49-F238E27FC236}">
                    <a16:creationId xmlns:a16="http://schemas.microsoft.com/office/drawing/2014/main" id="{21A6BF0B-71E5-5072-1597-C90224BFF162}"/>
                  </a:ext>
                </a:extLst>
              </p:cNvPr>
              <p:cNvSpPr>
                <a:spLocks/>
              </p:cNvSpPr>
              <p:nvPr/>
            </p:nvSpPr>
            <p:spPr bwMode="auto">
              <a:xfrm rot="21249101">
                <a:off x="4877045" y="3439147"/>
                <a:ext cx="26987" cy="57150"/>
              </a:xfrm>
              <a:custGeom>
                <a:avLst/>
                <a:gdLst>
                  <a:gd name="T0" fmla="*/ 2147483647 w 76"/>
                  <a:gd name="T1" fmla="*/ 2147483647 h 156"/>
                  <a:gd name="T2" fmla="*/ 2147483647 w 76"/>
                  <a:gd name="T3" fmla="*/ 2147483647 h 156"/>
                  <a:gd name="T4" fmla="*/ 2147483647 w 76"/>
                  <a:gd name="T5" fmla="*/ 0 h 156"/>
                  <a:gd name="T6" fmla="*/ 2147483647 w 76"/>
                  <a:gd name="T7" fmla="*/ 2147483647 h 156"/>
                  <a:gd name="T8" fmla="*/ 2147483647 w 76"/>
                  <a:gd name="T9" fmla="*/ 2147483647 h 156"/>
                  <a:gd name="T10" fmla="*/ 2147483647 w 76"/>
                  <a:gd name="T11" fmla="*/ 2147483647 h 156"/>
                  <a:gd name="T12" fmla="*/ 2147483647 w 76"/>
                  <a:gd name="T13" fmla="*/ 2147483647 h 156"/>
                  <a:gd name="T14" fmla="*/ 2147483647 w 76"/>
                  <a:gd name="T15" fmla="*/ 2147483647 h 156"/>
                  <a:gd name="T16" fmla="*/ 2147483647 w 76"/>
                  <a:gd name="T17" fmla="*/ 2147483647 h 156"/>
                  <a:gd name="T18" fmla="*/ 2147483647 w 76"/>
                  <a:gd name="T19" fmla="*/ 2147483647 h 156"/>
                  <a:gd name="T20" fmla="*/ 2147483647 w 76"/>
                  <a:gd name="T21" fmla="*/ 2147483647 h 156"/>
                  <a:gd name="T22" fmla="*/ 0 w 76"/>
                  <a:gd name="T23" fmla="*/ 2147483647 h 156"/>
                  <a:gd name="T24" fmla="*/ 2147483647 w 76"/>
                  <a:gd name="T25" fmla="*/ 2147483647 h 156"/>
                  <a:gd name="T26" fmla="*/ 2147483647 w 76"/>
                  <a:gd name="T27" fmla="*/ 2147483647 h 156"/>
                  <a:gd name="T28" fmla="*/ 2147483647 w 76"/>
                  <a:gd name="T29" fmla="*/ 2147483647 h 15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6"/>
                  <a:gd name="T46" fmla="*/ 0 h 156"/>
                  <a:gd name="T47" fmla="*/ 76 w 76"/>
                  <a:gd name="T48" fmla="*/ 156 h 15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6" h="156">
                    <a:moveTo>
                      <a:pt x="52" y="38"/>
                    </a:moveTo>
                    <a:lnTo>
                      <a:pt x="56" y="11"/>
                    </a:lnTo>
                    <a:lnTo>
                      <a:pt x="63" y="0"/>
                    </a:lnTo>
                    <a:lnTo>
                      <a:pt x="76" y="2"/>
                    </a:lnTo>
                    <a:lnTo>
                      <a:pt x="71" y="55"/>
                    </a:lnTo>
                    <a:lnTo>
                      <a:pt x="46" y="88"/>
                    </a:lnTo>
                    <a:lnTo>
                      <a:pt x="41" y="113"/>
                    </a:lnTo>
                    <a:lnTo>
                      <a:pt x="31" y="123"/>
                    </a:lnTo>
                    <a:lnTo>
                      <a:pt x="18" y="152"/>
                    </a:lnTo>
                    <a:lnTo>
                      <a:pt x="7" y="156"/>
                    </a:lnTo>
                    <a:lnTo>
                      <a:pt x="8" y="127"/>
                    </a:lnTo>
                    <a:lnTo>
                      <a:pt x="0" y="101"/>
                    </a:lnTo>
                    <a:lnTo>
                      <a:pt x="7" y="99"/>
                    </a:lnTo>
                    <a:lnTo>
                      <a:pt x="37" y="42"/>
                    </a:lnTo>
                    <a:lnTo>
                      <a:pt x="52" y="38"/>
                    </a:lnTo>
                    <a:close/>
                  </a:path>
                </a:pathLst>
              </a:custGeom>
              <a:grpFill/>
              <a:ln w="12700">
                <a:solidFill>
                  <a:sysClr val="window" lastClr="FFFFFF"/>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1" u="none" strike="noStrike" kern="0" cap="none" spc="0" normalizeH="0" baseline="0" noProof="0" dirty="0">
                  <a:ln>
                    <a:noFill/>
                  </a:ln>
                  <a:solidFill>
                    <a:prstClr val="black"/>
                  </a:solidFill>
                  <a:effectLst/>
                  <a:uLnTx/>
                  <a:uFillTx/>
                  <a:latin typeface="Arial" panose="020B0604020202020204"/>
                  <a:ea typeface="+mn-ea"/>
                  <a:cs typeface="+mn-cs"/>
                </a:endParaRPr>
              </a:p>
            </p:txBody>
          </p:sp>
          <p:sp>
            <p:nvSpPr>
              <p:cNvPr id="518" name="Freeform 184">
                <a:extLst>
                  <a:ext uri="{FF2B5EF4-FFF2-40B4-BE49-F238E27FC236}">
                    <a16:creationId xmlns:a16="http://schemas.microsoft.com/office/drawing/2014/main" id="{16EBB580-7755-3C45-A6C3-3F04D9F3D95B}"/>
                  </a:ext>
                </a:extLst>
              </p:cNvPr>
              <p:cNvSpPr>
                <a:spLocks/>
              </p:cNvSpPr>
              <p:nvPr/>
            </p:nvSpPr>
            <p:spPr bwMode="auto">
              <a:xfrm rot="21249101">
                <a:off x="4962770" y="3466134"/>
                <a:ext cx="28575" cy="52388"/>
              </a:xfrm>
              <a:custGeom>
                <a:avLst/>
                <a:gdLst>
                  <a:gd name="T0" fmla="*/ 2147483647 w 75"/>
                  <a:gd name="T1" fmla="*/ 2147483647 h 141"/>
                  <a:gd name="T2" fmla="*/ 2147483647 w 75"/>
                  <a:gd name="T3" fmla="*/ 0 h 141"/>
                  <a:gd name="T4" fmla="*/ 2147483647 w 75"/>
                  <a:gd name="T5" fmla="*/ 2147483647 h 141"/>
                  <a:gd name="T6" fmla="*/ 2147483647 w 75"/>
                  <a:gd name="T7" fmla="*/ 2147483647 h 141"/>
                  <a:gd name="T8" fmla="*/ 2147483647 w 75"/>
                  <a:gd name="T9" fmla="*/ 2147483647 h 141"/>
                  <a:gd name="T10" fmla="*/ 2147483647 w 75"/>
                  <a:gd name="T11" fmla="*/ 2147483647 h 141"/>
                  <a:gd name="T12" fmla="*/ 2147483647 w 75"/>
                  <a:gd name="T13" fmla="*/ 2147483647 h 141"/>
                  <a:gd name="T14" fmla="*/ 2147483647 w 75"/>
                  <a:gd name="T15" fmla="*/ 2147483647 h 141"/>
                  <a:gd name="T16" fmla="*/ 2147483647 w 75"/>
                  <a:gd name="T17" fmla="*/ 2147483647 h 141"/>
                  <a:gd name="T18" fmla="*/ 2147483647 w 75"/>
                  <a:gd name="T19" fmla="*/ 2147483647 h 141"/>
                  <a:gd name="T20" fmla="*/ 2147483647 w 75"/>
                  <a:gd name="T21" fmla="*/ 2147483647 h 141"/>
                  <a:gd name="T22" fmla="*/ 2147483647 w 75"/>
                  <a:gd name="T23" fmla="*/ 2147483647 h 141"/>
                  <a:gd name="T24" fmla="*/ 2147483647 w 75"/>
                  <a:gd name="T25" fmla="*/ 2147483647 h 141"/>
                  <a:gd name="T26" fmla="*/ 0 w 75"/>
                  <a:gd name="T27" fmla="*/ 2147483647 h 141"/>
                  <a:gd name="T28" fmla="*/ 2147483647 w 75"/>
                  <a:gd name="T29" fmla="*/ 0 h 141"/>
                  <a:gd name="T30" fmla="*/ 2147483647 w 75"/>
                  <a:gd name="T31" fmla="*/ 2147483647 h 14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5"/>
                  <a:gd name="T49" fmla="*/ 0 h 141"/>
                  <a:gd name="T50" fmla="*/ 75 w 75"/>
                  <a:gd name="T51" fmla="*/ 141 h 14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5" h="141">
                    <a:moveTo>
                      <a:pt x="16" y="1"/>
                    </a:moveTo>
                    <a:lnTo>
                      <a:pt x="26" y="0"/>
                    </a:lnTo>
                    <a:lnTo>
                      <a:pt x="39" y="7"/>
                    </a:lnTo>
                    <a:lnTo>
                      <a:pt x="44" y="23"/>
                    </a:lnTo>
                    <a:lnTo>
                      <a:pt x="75" y="42"/>
                    </a:lnTo>
                    <a:lnTo>
                      <a:pt x="75" y="65"/>
                    </a:lnTo>
                    <a:lnTo>
                      <a:pt x="50" y="80"/>
                    </a:lnTo>
                    <a:lnTo>
                      <a:pt x="36" y="141"/>
                    </a:lnTo>
                    <a:lnTo>
                      <a:pt x="22" y="128"/>
                    </a:lnTo>
                    <a:lnTo>
                      <a:pt x="30" y="78"/>
                    </a:lnTo>
                    <a:lnTo>
                      <a:pt x="19" y="66"/>
                    </a:lnTo>
                    <a:lnTo>
                      <a:pt x="16" y="40"/>
                    </a:lnTo>
                    <a:lnTo>
                      <a:pt x="9" y="34"/>
                    </a:lnTo>
                    <a:lnTo>
                      <a:pt x="0" y="5"/>
                    </a:lnTo>
                    <a:lnTo>
                      <a:pt x="1" y="0"/>
                    </a:lnTo>
                    <a:lnTo>
                      <a:pt x="16" y="1"/>
                    </a:lnTo>
                    <a:close/>
                  </a:path>
                </a:pathLst>
              </a:custGeom>
              <a:grpFill/>
              <a:ln w="12700">
                <a:solidFill>
                  <a:sysClr val="window" lastClr="FFFFFF"/>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1" u="none" strike="noStrike" kern="0" cap="none" spc="0" normalizeH="0" baseline="0" noProof="0" dirty="0">
                  <a:ln>
                    <a:noFill/>
                  </a:ln>
                  <a:solidFill>
                    <a:prstClr val="black"/>
                  </a:solidFill>
                  <a:effectLst/>
                  <a:uLnTx/>
                  <a:uFillTx/>
                  <a:latin typeface="Arial" panose="020B0604020202020204"/>
                  <a:ea typeface="+mn-ea"/>
                  <a:cs typeface="+mn-cs"/>
                </a:endParaRPr>
              </a:p>
            </p:txBody>
          </p:sp>
          <p:sp>
            <p:nvSpPr>
              <p:cNvPr id="519" name="Freeform 186">
                <a:extLst>
                  <a:ext uri="{FF2B5EF4-FFF2-40B4-BE49-F238E27FC236}">
                    <a16:creationId xmlns:a16="http://schemas.microsoft.com/office/drawing/2014/main" id="{E54DA0B7-5DEE-97A4-D801-A75084858920}"/>
                  </a:ext>
                </a:extLst>
              </p:cNvPr>
              <p:cNvSpPr>
                <a:spLocks/>
              </p:cNvSpPr>
              <p:nvPr/>
            </p:nvSpPr>
            <p:spPr bwMode="auto">
              <a:xfrm rot="21249101">
                <a:off x="4905620" y="3464547"/>
                <a:ext cx="57150" cy="46037"/>
              </a:xfrm>
              <a:custGeom>
                <a:avLst/>
                <a:gdLst>
                  <a:gd name="T0" fmla="*/ 2147483647 w 158"/>
                  <a:gd name="T1" fmla="*/ 0 h 123"/>
                  <a:gd name="T2" fmla="*/ 2147483647 w 158"/>
                  <a:gd name="T3" fmla="*/ 2147483647 h 123"/>
                  <a:gd name="T4" fmla="*/ 2147483647 w 158"/>
                  <a:gd name="T5" fmla="*/ 2147483647 h 123"/>
                  <a:gd name="T6" fmla="*/ 2147483647 w 158"/>
                  <a:gd name="T7" fmla="*/ 2147483647 h 123"/>
                  <a:gd name="T8" fmla="*/ 2147483647 w 158"/>
                  <a:gd name="T9" fmla="*/ 2147483647 h 123"/>
                  <a:gd name="T10" fmla="*/ 2147483647 w 158"/>
                  <a:gd name="T11" fmla="*/ 2147483647 h 123"/>
                  <a:gd name="T12" fmla="*/ 2147483647 w 158"/>
                  <a:gd name="T13" fmla="*/ 2147483647 h 123"/>
                  <a:gd name="T14" fmla="*/ 2147483647 w 158"/>
                  <a:gd name="T15" fmla="*/ 2147483647 h 123"/>
                  <a:gd name="T16" fmla="*/ 2147483647 w 158"/>
                  <a:gd name="T17" fmla="*/ 2147483647 h 123"/>
                  <a:gd name="T18" fmla="*/ 2147483647 w 158"/>
                  <a:gd name="T19" fmla="*/ 2147483647 h 123"/>
                  <a:gd name="T20" fmla="*/ 2147483647 w 158"/>
                  <a:gd name="T21" fmla="*/ 2147483647 h 123"/>
                  <a:gd name="T22" fmla="*/ 2147483647 w 158"/>
                  <a:gd name="T23" fmla="*/ 2147483647 h 123"/>
                  <a:gd name="T24" fmla="*/ 2147483647 w 158"/>
                  <a:gd name="T25" fmla="*/ 2147483647 h 123"/>
                  <a:gd name="T26" fmla="*/ 2147483647 w 158"/>
                  <a:gd name="T27" fmla="*/ 2147483647 h 123"/>
                  <a:gd name="T28" fmla="*/ 2147483647 w 158"/>
                  <a:gd name="T29" fmla="*/ 2147483647 h 123"/>
                  <a:gd name="T30" fmla="*/ 2147483647 w 158"/>
                  <a:gd name="T31" fmla="*/ 2147483647 h 123"/>
                  <a:gd name="T32" fmla="*/ 2147483647 w 158"/>
                  <a:gd name="T33" fmla="*/ 2147483647 h 123"/>
                  <a:gd name="T34" fmla="*/ 2147483647 w 158"/>
                  <a:gd name="T35" fmla="*/ 2147483647 h 123"/>
                  <a:gd name="T36" fmla="*/ 2147483647 w 158"/>
                  <a:gd name="T37" fmla="*/ 2147483647 h 123"/>
                  <a:gd name="T38" fmla="*/ 0 w 158"/>
                  <a:gd name="T39" fmla="*/ 2147483647 h 123"/>
                  <a:gd name="T40" fmla="*/ 2147483647 w 158"/>
                  <a:gd name="T41" fmla="*/ 2147483647 h 123"/>
                  <a:gd name="T42" fmla="*/ 2147483647 w 158"/>
                  <a:gd name="T43" fmla="*/ 2147483647 h 123"/>
                  <a:gd name="T44" fmla="*/ 2147483647 w 158"/>
                  <a:gd name="T45" fmla="*/ 2147483647 h 123"/>
                  <a:gd name="T46" fmla="*/ 2147483647 w 158"/>
                  <a:gd name="T47" fmla="*/ 2147483647 h 123"/>
                  <a:gd name="T48" fmla="*/ 2147483647 w 158"/>
                  <a:gd name="T49" fmla="*/ 2147483647 h 123"/>
                  <a:gd name="T50" fmla="*/ 2147483647 w 158"/>
                  <a:gd name="T51" fmla="*/ 2147483647 h 123"/>
                  <a:gd name="T52" fmla="*/ 2147483647 w 158"/>
                  <a:gd name="T53" fmla="*/ 0 h 12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58"/>
                  <a:gd name="T82" fmla="*/ 0 h 123"/>
                  <a:gd name="T83" fmla="*/ 158 w 158"/>
                  <a:gd name="T84" fmla="*/ 123 h 12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58" h="123">
                    <a:moveTo>
                      <a:pt x="59" y="0"/>
                    </a:moveTo>
                    <a:lnTo>
                      <a:pt x="64" y="4"/>
                    </a:lnTo>
                    <a:lnTo>
                      <a:pt x="68" y="22"/>
                    </a:lnTo>
                    <a:lnTo>
                      <a:pt x="82" y="27"/>
                    </a:lnTo>
                    <a:lnTo>
                      <a:pt x="95" y="45"/>
                    </a:lnTo>
                    <a:lnTo>
                      <a:pt x="107" y="50"/>
                    </a:lnTo>
                    <a:lnTo>
                      <a:pt x="108" y="40"/>
                    </a:lnTo>
                    <a:lnTo>
                      <a:pt x="121" y="41"/>
                    </a:lnTo>
                    <a:lnTo>
                      <a:pt x="122" y="33"/>
                    </a:lnTo>
                    <a:lnTo>
                      <a:pt x="137" y="34"/>
                    </a:lnTo>
                    <a:lnTo>
                      <a:pt x="138" y="47"/>
                    </a:lnTo>
                    <a:lnTo>
                      <a:pt x="151" y="67"/>
                    </a:lnTo>
                    <a:lnTo>
                      <a:pt x="158" y="117"/>
                    </a:lnTo>
                    <a:lnTo>
                      <a:pt x="142" y="121"/>
                    </a:lnTo>
                    <a:lnTo>
                      <a:pt x="108" y="110"/>
                    </a:lnTo>
                    <a:lnTo>
                      <a:pt x="96" y="121"/>
                    </a:lnTo>
                    <a:lnTo>
                      <a:pt x="78" y="123"/>
                    </a:lnTo>
                    <a:lnTo>
                      <a:pt x="43" y="86"/>
                    </a:lnTo>
                    <a:lnTo>
                      <a:pt x="6" y="66"/>
                    </a:lnTo>
                    <a:lnTo>
                      <a:pt x="0" y="46"/>
                    </a:lnTo>
                    <a:lnTo>
                      <a:pt x="12" y="49"/>
                    </a:lnTo>
                    <a:lnTo>
                      <a:pt x="27" y="32"/>
                    </a:lnTo>
                    <a:lnTo>
                      <a:pt x="14" y="31"/>
                    </a:lnTo>
                    <a:lnTo>
                      <a:pt x="8" y="11"/>
                    </a:lnTo>
                    <a:lnTo>
                      <a:pt x="25" y="2"/>
                    </a:lnTo>
                    <a:lnTo>
                      <a:pt x="52" y="5"/>
                    </a:lnTo>
                    <a:lnTo>
                      <a:pt x="59" y="0"/>
                    </a:lnTo>
                    <a:close/>
                  </a:path>
                </a:pathLst>
              </a:custGeom>
              <a:grpFill/>
              <a:ln w="12700">
                <a:solidFill>
                  <a:sysClr val="window" lastClr="FFFFFF"/>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1" u="none" strike="noStrike" kern="0" cap="none" spc="0" normalizeH="0" baseline="0" noProof="0" dirty="0">
                  <a:ln>
                    <a:noFill/>
                  </a:ln>
                  <a:solidFill>
                    <a:prstClr val="black"/>
                  </a:solidFill>
                  <a:effectLst/>
                  <a:uLnTx/>
                  <a:uFillTx/>
                  <a:latin typeface="Arial" panose="020B0604020202020204"/>
                  <a:ea typeface="+mn-ea"/>
                  <a:cs typeface="+mn-cs"/>
                </a:endParaRPr>
              </a:p>
            </p:txBody>
          </p:sp>
          <p:sp>
            <p:nvSpPr>
              <p:cNvPr id="520" name="Freeform 188">
                <a:extLst>
                  <a:ext uri="{FF2B5EF4-FFF2-40B4-BE49-F238E27FC236}">
                    <a16:creationId xmlns:a16="http://schemas.microsoft.com/office/drawing/2014/main" id="{B5FA8706-7D94-EC22-BAA8-29E4A1BBBC90}"/>
                  </a:ext>
                </a:extLst>
              </p:cNvPr>
              <p:cNvSpPr>
                <a:spLocks/>
              </p:cNvSpPr>
              <p:nvPr/>
            </p:nvSpPr>
            <p:spPr bwMode="auto">
              <a:xfrm rot="21249101">
                <a:off x="4810370" y="3377234"/>
                <a:ext cx="82550" cy="77788"/>
              </a:xfrm>
              <a:custGeom>
                <a:avLst/>
                <a:gdLst>
                  <a:gd name="T0" fmla="*/ 2147483647 w 224"/>
                  <a:gd name="T1" fmla="*/ 2147483647 h 211"/>
                  <a:gd name="T2" fmla="*/ 2147483647 w 224"/>
                  <a:gd name="T3" fmla="*/ 2147483647 h 211"/>
                  <a:gd name="T4" fmla="*/ 2147483647 w 224"/>
                  <a:gd name="T5" fmla="*/ 2147483647 h 211"/>
                  <a:gd name="T6" fmla="*/ 2147483647 w 224"/>
                  <a:gd name="T7" fmla="*/ 2147483647 h 211"/>
                  <a:gd name="T8" fmla="*/ 2147483647 w 224"/>
                  <a:gd name="T9" fmla="*/ 2147483647 h 211"/>
                  <a:gd name="T10" fmla="*/ 2147483647 w 224"/>
                  <a:gd name="T11" fmla="*/ 2147483647 h 211"/>
                  <a:gd name="T12" fmla="*/ 2147483647 w 224"/>
                  <a:gd name="T13" fmla="*/ 0 h 211"/>
                  <a:gd name="T14" fmla="*/ 2147483647 w 224"/>
                  <a:gd name="T15" fmla="*/ 2147483647 h 211"/>
                  <a:gd name="T16" fmla="*/ 2147483647 w 224"/>
                  <a:gd name="T17" fmla="*/ 2147483647 h 211"/>
                  <a:gd name="T18" fmla="*/ 2147483647 w 224"/>
                  <a:gd name="T19" fmla="*/ 2147483647 h 211"/>
                  <a:gd name="T20" fmla="*/ 2147483647 w 224"/>
                  <a:gd name="T21" fmla="*/ 2147483647 h 211"/>
                  <a:gd name="T22" fmla="*/ 2147483647 w 224"/>
                  <a:gd name="T23" fmla="*/ 2147483647 h 211"/>
                  <a:gd name="T24" fmla="*/ 2147483647 w 224"/>
                  <a:gd name="T25" fmla="*/ 2147483647 h 211"/>
                  <a:gd name="T26" fmla="*/ 2147483647 w 224"/>
                  <a:gd name="T27" fmla="*/ 2147483647 h 211"/>
                  <a:gd name="T28" fmla="*/ 2147483647 w 224"/>
                  <a:gd name="T29" fmla="*/ 2147483647 h 211"/>
                  <a:gd name="T30" fmla="*/ 2147483647 w 224"/>
                  <a:gd name="T31" fmla="*/ 2147483647 h 211"/>
                  <a:gd name="T32" fmla="*/ 2147483647 w 224"/>
                  <a:gd name="T33" fmla="*/ 2147483647 h 211"/>
                  <a:gd name="T34" fmla="*/ 2147483647 w 224"/>
                  <a:gd name="T35" fmla="*/ 2147483647 h 211"/>
                  <a:gd name="T36" fmla="*/ 2147483647 w 224"/>
                  <a:gd name="T37" fmla="*/ 2147483647 h 211"/>
                  <a:gd name="T38" fmla="*/ 2147483647 w 224"/>
                  <a:gd name="T39" fmla="*/ 2147483647 h 211"/>
                  <a:gd name="T40" fmla="*/ 2147483647 w 224"/>
                  <a:gd name="T41" fmla="*/ 2147483647 h 211"/>
                  <a:gd name="T42" fmla="*/ 2147483647 w 224"/>
                  <a:gd name="T43" fmla="*/ 2147483647 h 211"/>
                  <a:gd name="T44" fmla="*/ 2147483647 w 224"/>
                  <a:gd name="T45" fmla="*/ 2147483647 h 211"/>
                  <a:gd name="T46" fmla="*/ 2147483647 w 224"/>
                  <a:gd name="T47" fmla="*/ 2147483647 h 211"/>
                  <a:gd name="T48" fmla="*/ 2147483647 w 224"/>
                  <a:gd name="T49" fmla="*/ 2147483647 h 211"/>
                  <a:gd name="T50" fmla="*/ 2147483647 w 224"/>
                  <a:gd name="T51" fmla="*/ 2147483647 h 211"/>
                  <a:gd name="T52" fmla="*/ 2147483647 w 224"/>
                  <a:gd name="T53" fmla="*/ 2147483647 h 211"/>
                  <a:gd name="T54" fmla="*/ 0 w 224"/>
                  <a:gd name="T55" fmla="*/ 2147483647 h 211"/>
                  <a:gd name="T56" fmla="*/ 2147483647 w 224"/>
                  <a:gd name="T57" fmla="*/ 2147483647 h 211"/>
                  <a:gd name="T58" fmla="*/ 2147483647 w 224"/>
                  <a:gd name="T59" fmla="*/ 2147483647 h 211"/>
                  <a:gd name="T60" fmla="*/ 0 w 224"/>
                  <a:gd name="T61" fmla="*/ 2147483647 h 211"/>
                  <a:gd name="T62" fmla="*/ 2147483647 w 224"/>
                  <a:gd name="T63" fmla="*/ 2147483647 h 211"/>
                  <a:gd name="T64" fmla="*/ 2147483647 w 224"/>
                  <a:gd name="T65" fmla="*/ 2147483647 h 211"/>
                  <a:gd name="T66" fmla="*/ 2147483647 w 224"/>
                  <a:gd name="T67" fmla="*/ 2147483647 h 211"/>
                  <a:gd name="T68" fmla="*/ 2147483647 w 224"/>
                  <a:gd name="T69" fmla="*/ 2147483647 h 21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24"/>
                  <a:gd name="T106" fmla="*/ 0 h 211"/>
                  <a:gd name="T107" fmla="*/ 224 w 224"/>
                  <a:gd name="T108" fmla="*/ 211 h 21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24" h="211">
                    <a:moveTo>
                      <a:pt x="63" y="17"/>
                    </a:moveTo>
                    <a:lnTo>
                      <a:pt x="82" y="8"/>
                    </a:lnTo>
                    <a:lnTo>
                      <a:pt x="131" y="9"/>
                    </a:lnTo>
                    <a:lnTo>
                      <a:pt x="158" y="33"/>
                    </a:lnTo>
                    <a:lnTo>
                      <a:pt x="167" y="32"/>
                    </a:lnTo>
                    <a:lnTo>
                      <a:pt x="171" y="8"/>
                    </a:lnTo>
                    <a:lnTo>
                      <a:pt x="180" y="0"/>
                    </a:lnTo>
                    <a:lnTo>
                      <a:pt x="204" y="56"/>
                    </a:lnTo>
                    <a:lnTo>
                      <a:pt x="197" y="84"/>
                    </a:lnTo>
                    <a:lnTo>
                      <a:pt x="201" y="110"/>
                    </a:lnTo>
                    <a:lnTo>
                      <a:pt x="207" y="120"/>
                    </a:lnTo>
                    <a:lnTo>
                      <a:pt x="224" y="128"/>
                    </a:lnTo>
                    <a:lnTo>
                      <a:pt x="223" y="135"/>
                    </a:lnTo>
                    <a:lnTo>
                      <a:pt x="211" y="132"/>
                    </a:lnTo>
                    <a:lnTo>
                      <a:pt x="195" y="201"/>
                    </a:lnTo>
                    <a:lnTo>
                      <a:pt x="165" y="203"/>
                    </a:lnTo>
                    <a:lnTo>
                      <a:pt x="142" y="211"/>
                    </a:lnTo>
                    <a:lnTo>
                      <a:pt x="122" y="205"/>
                    </a:lnTo>
                    <a:lnTo>
                      <a:pt x="94" y="182"/>
                    </a:lnTo>
                    <a:lnTo>
                      <a:pt x="57" y="187"/>
                    </a:lnTo>
                    <a:lnTo>
                      <a:pt x="59" y="173"/>
                    </a:lnTo>
                    <a:lnTo>
                      <a:pt x="74" y="156"/>
                    </a:lnTo>
                    <a:lnTo>
                      <a:pt x="59" y="154"/>
                    </a:lnTo>
                    <a:lnTo>
                      <a:pt x="19" y="131"/>
                    </a:lnTo>
                    <a:lnTo>
                      <a:pt x="20" y="104"/>
                    </a:lnTo>
                    <a:lnTo>
                      <a:pt x="4" y="82"/>
                    </a:lnTo>
                    <a:lnTo>
                      <a:pt x="13" y="66"/>
                    </a:lnTo>
                    <a:lnTo>
                      <a:pt x="0" y="48"/>
                    </a:lnTo>
                    <a:lnTo>
                      <a:pt x="7" y="48"/>
                    </a:lnTo>
                    <a:lnTo>
                      <a:pt x="8" y="41"/>
                    </a:lnTo>
                    <a:lnTo>
                      <a:pt x="0" y="27"/>
                    </a:lnTo>
                    <a:lnTo>
                      <a:pt x="1" y="15"/>
                    </a:lnTo>
                    <a:lnTo>
                      <a:pt x="19" y="18"/>
                    </a:lnTo>
                    <a:lnTo>
                      <a:pt x="40" y="29"/>
                    </a:lnTo>
                    <a:lnTo>
                      <a:pt x="63" y="17"/>
                    </a:lnTo>
                    <a:close/>
                  </a:path>
                </a:pathLst>
              </a:custGeom>
              <a:grpFill/>
              <a:ln w="12700">
                <a:solidFill>
                  <a:sysClr val="window" lastClr="FFFFFF"/>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1" u="none" strike="noStrike" kern="0" cap="none" spc="0" normalizeH="0" baseline="0" noProof="0" dirty="0">
                  <a:ln>
                    <a:noFill/>
                  </a:ln>
                  <a:solidFill>
                    <a:prstClr val="black"/>
                  </a:solidFill>
                  <a:effectLst/>
                  <a:uLnTx/>
                  <a:uFillTx/>
                  <a:latin typeface="Arial" panose="020B0604020202020204"/>
                  <a:ea typeface="+mn-ea"/>
                  <a:cs typeface="+mn-cs"/>
                </a:endParaRPr>
              </a:p>
            </p:txBody>
          </p:sp>
          <p:sp>
            <p:nvSpPr>
              <p:cNvPr id="521" name="Freeform 192">
                <a:extLst>
                  <a:ext uri="{FF2B5EF4-FFF2-40B4-BE49-F238E27FC236}">
                    <a16:creationId xmlns:a16="http://schemas.microsoft.com/office/drawing/2014/main" id="{02FFF6AA-A05F-D76C-9A82-88B5FA04DF14}"/>
                  </a:ext>
                </a:extLst>
              </p:cNvPr>
              <p:cNvSpPr>
                <a:spLocks/>
              </p:cNvSpPr>
              <p:nvPr/>
            </p:nvSpPr>
            <p:spPr bwMode="auto">
              <a:xfrm rot="21249101">
                <a:off x="4905620" y="3313734"/>
                <a:ext cx="130175" cy="152400"/>
              </a:xfrm>
              <a:custGeom>
                <a:avLst/>
                <a:gdLst>
                  <a:gd name="T0" fmla="*/ 2147483647 w 357"/>
                  <a:gd name="T1" fmla="*/ 2147483647 h 411"/>
                  <a:gd name="T2" fmla="*/ 2147483647 w 357"/>
                  <a:gd name="T3" fmla="*/ 2147483647 h 411"/>
                  <a:gd name="T4" fmla="*/ 2147483647 w 357"/>
                  <a:gd name="T5" fmla="*/ 2147483647 h 411"/>
                  <a:gd name="T6" fmla="*/ 2147483647 w 357"/>
                  <a:gd name="T7" fmla="*/ 2147483647 h 411"/>
                  <a:gd name="T8" fmla="*/ 2147483647 w 357"/>
                  <a:gd name="T9" fmla="*/ 2147483647 h 411"/>
                  <a:gd name="T10" fmla="*/ 2147483647 w 357"/>
                  <a:gd name="T11" fmla="*/ 2147483647 h 411"/>
                  <a:gd name="T12" fmla="*/ 2147483647 w 357"/>
                  <a:gd name="T13" fmla="*/ 2147483647 h 411"/>
                  <a:gd name="T14" fmla="*/ 2147483647 w 357"/>
                  <a:gd name="T15" fmla="*/ 2147483647 h 411"/>
                  <a:gd name="T16" fmla="*/ 2147483647 w 357"/>
                  <a:gd name="T17" fmla="*/ 2147483647 h 411"/>
                  <a:gd name="T18" fmla="*/ 2147483647 w 357"/>
                  <a:gd name="T19" fmla="*/ 2147483647 h 411"/>
                  <a:gd name="T20" fmla="*/ 2147483647 w 357"/>
                  <a:gd name="T21" fmla="*/ 2147483647 h 411"/>
                  <a:gd name="T22" fmla="*/ 2147483647 w 357"/>
                  <a:gd name="T23" fmla="*/ 2147483647 h 411"/>
                  <a:gd name="T24" fmla="*/ 2147483647 w 357"/>
                  <a:gd name="T25" fmla="*/ 2147483647 h 411"/>
                  <a:gd name="T26" fmla="*/ 2147483647 w 357"/>
                  <a:gd name="T27" fmla="*/ 2147483647 h 411"/>
                  <a:gd name="T28" fmla="*/ 2147483647 w 357"/>
                  <a:gd name="T29" fmla="*/ 0 h 411"/>
                  <a:gd name="T30" fmla="*/ 2147483647 w 357"/>
                  <a:gd name="T31" fmla="*/ 2147483647 h 411"/>
                  <a:gd name="T32" fmla="*/ 2147483647 w 357"/>
                  <a:gd name="T33" fmla="*/ 2147483647 h 411"/>
                  <a:gd name="T34" fmla="*/ 2147483647 w 357"/>
                  <a:gd name="T35" fmla="*/ 2147483647 h 411"/>
                  <a:gd name="T36" fmla="*/ 2147483647 w 357"/>
                  <a:gd name="T37" fmla="*/ 2147483647 h 411"/>
                  <a:gd name="T38" fmla="*/ 2147483647 w 357"/>
                  <a:gd name="T39" fmla="*/ 2147483647 h 411"/>
                  <a:gd name="T40" fmla="*/ 2147483647 w 357"/>
                  <a:gd name="T41" fmla="*/ 2147483647 h 411"/>
                  <a:gd name="T42" fmla="*/ 2147483647 w 357"/>
                  <a:gd name="T43" fmla="*/ 2147483647 h 411"/>
                  <a:gd name="T44" fmla="*/ 2147483647 w 357"/>
                  <a:gd name="T45" fmla="*/ 2147483647 h 411"/>
                  <a:gd name="T46" fmla="*/ 2147483647 w 357"/>
                  <a:gd name="T47" fmla="*/ 2147483647 h 411"/>
                  <a:gd name="T48" fmla="*/ 2147483647 w 357"/>
                  <a:gd name="T49" fmla="*/ 2147483647 h 411"/>
                  <a:gd name="T50" fmla="*/ 2147483647 w 357"/>
                  <a:gd name="T51" fmla="*/ 2147483647 h 411"/>
                  <a:gd name="T52" fmla="*/ 2147483647 w 357"/>
                  <a:gd name="T53" fmla="*/ 2147483647 h 411"/>
                  <a:gd name="T54" fmla="*/ 2147483647 w 357"/>
                  <a:gd name="T55" fmla="*/ 2147483647 h 411"/>
                  <a:gd name="T56" fmla="*/ 2147483647 w 357"/>
                  <a:gd name="T57" fmla="*/ 2147483647 h 411"/>
                  <a:gd name="T58" fmla="*/ 2147483647 w 357"/>
                  <a:gd name="T59" fmla="*/ 2147483647 h 411"/>
                  <a:gd name="T60" fmla="*/ 2147483647 w 357"/>
                  <a:gd name="T61" fmla="*/ 2147483647 h 411"/>
                  <a:gd name="T62" fmla="*/ 2147483647 w 357"/>
                  <a:gd name="T63" fmla="*/ 2147483647 h 411"/>
                  <a:gd name="T64" fmla="*/ 2147483647 w 357"/>
                  <a:gd name="T65" fmla="*/ 2147483647 h 411"/>
                  <a:gd name="T66" fmla="*/ 2147483647 w 357"/>
                  <a:gd name="T67" fmla="*/ 2147483647 h 411"/>
                  <a:gd name="T68" fmla="*/ 2147483647 w 357"/>
                  <a:gd name="T69" fmla="*/ 2147483647 h 411"/>
                  <a:gd name="T70" fmla="*/ 2147483647 w 357"/>
                  <a:gd name="T71" fmla="*/ 2147483647 h 411"/>
                  <a:gd name="T72" fmla="*/ 2147483647 w 357"/>
                  <a:gd name="T73" fmla="*/ 2147483647 h 411"/>
                  <a:gd name="T74" fmla="*/ 2147483647 w 357"/>
                  <a:gd name="T75" fmla="*/ 2147483647 h 411"/>
                  <a:gd name="T76" fmla="*/ 2147483647 w 357"/>
                  <a:gd name="T77" fmla="*/ 2147483647 h 411"/>
                  <a:gd name="T78" fmla="*/ 2147483647 w 357"/>
                  <a:gd name="T79" fmla="*/ 2147483647 h 411"/>
                  <a:gd name="T80" fmla="*/ 2147483647 w 357"/>
                  <a:gd name="T81" fmla="*/ 2147483647 h 411"/>
                  <a:gd name="T82" fmla="*/ 2147483647 w 357"/>
                  <a:gd name="T83" fmla="*/ 2147483647 h 411"/>
                  <a:gd name="T84" fmla="*/ 2147483647 w 357"/>
                  <a:gd name="T85" fmla="*/ 2147483647 h 41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57"/>
                  <a:gd name="T130" fmla="*/ 0 h 411"/>
                  <a:gd name="T131" fmla="*/ 357 w 357"/>
                  <a:gd name="T132" fmla="*/ 411 h 41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57" h="411">
                    <a:moveTo>
                      <a:pt x="104" y="34"/>
                    </a:moveTo>
                    <a:lnTo>
                      <a:pt x="188" y="49"/>
                    </a:lnTo>
                    <a:lnTo>
                      <a:pt x="186" y="66"/>
                    </a:lnTo>
                    <a:lnTo>
                      <a:pt x="173" y="70"/>
                    </a:lnTo>
                    <a:lnTo>
                      <a:pt x="169" y="101"/>
                    </a:lnTo>
                    <a:lnTo>
                      <a:pt x="159" y="106"/>
                    </a:lnTo>
                    <a:lnTo>
                      <a:pt x="161" y="111"/>
                    </a:lnTo>
                    <a:lnTo>
                      <a:pt x="170" y="107"/>
                    </a:lnTo>
                    <a:lnTo>
                      <a:pt x="170" y="156"/>
                    </a:lnTo>
                    <a:lnTo>
                      <a:pt x="187" y="140"/>
                    </a:lnTo>
                    <a:lnTo>
                      <a:pt x="198" y="108"/>
                    </a:lnTo>
                    <a:lnTo>
                      <a:pt x="204" y="105"/>
                    </a:lnTo>
                    <a:lnTo>
                      <a:pt x="209" y="81"/>
                    </a:lnTo>
                    <a:lnTo>
                      <a:pt x="205" y="81"/>
                    </a:lnTo>
                    <a:lnTo>
                      <a:pt x="209" y="73"/>
                    </a:lnTo>
                    <a:lnTo>
                      <a:pt x="216" y="74"/>
                    </a:lnTo>
                    <a:lnTo>
                      <a:pt x="228" y="118"/>
                    </a:lnTo>
                    <a:lnTo>
                      <a:pt x="225" y="138"/>
                    </a:lnTo>
                    <a:lnTo>
                      <a:pt x="218" y="138"/>
                    </a:lnTo>
                    <a:lnTo>
                      <a:pt x="211" y="149"/>
                    </a:lnTo>
                    <a:lnTo>
                      <a:pt x="217" y="151"/>
                    </a:lnTo>
                    <a:lnTo>
                      <a:pt x="216" y="158"/>
                    </a:lnTo>
                    <a:lnTo>
                      <a:pt x="228" y="160"/>
                    </a:lnTo>
                    <a:lnTo>
                      <a:pt x="239" y="74"/>
                    </a:lnTo>
                    <a:lnTo>
                      <a:pt x="233" y="60"/>
                    </a:lnTo>
                    <a:lnTo>
                      <a:pt x="215" y="55"/>
                    </a:lnTo>
                    <a:lnTo>
                      <a:pt x="214" y="40"/>
                    </a:lnTo>
                    <a:lnTo>
                      <a:pt x="242" y="12"/>
                    </a:lnTo>
                    <a:lnTo>
                      <a:pt x="280" y="7"/>
                    </a:lnTo>
                    <a:lnTo>
                      <a:pt x="283" y="0"/>
                    </a:lnTo>
                    <a:lnTo>
                      <a:pt x="308" y="1"/>
                    </a:lnTo>
                    <a:lnTo>
                      <a:pt x="325" y="26"/>
                    </a:lnTo>
                    <a:lnTo>
                      <a:pt x="337" y="76"/>
                    </a:lnTo>
                    <a:lnTo>
                      <a:pt x="346" y="79"/>
                    </a:lnTo>
                    <a:lnTo>
                      <a:pt x="341" y="97"/>
                    </a:lnTo>
                    <a:lnTo>
                      <a:pt x="344" y="116"/>
                    </a:lnTo>
                    <a:lnTo>
                      <a:pt x="349" y="119"/>
                    </a:lnTo>
                    <a:lnTo>
                      <a:pt x="347" y="140"/>
                    </a:lnTo>
                    <a:lnTo>
                      <a:pt x="357" y="177"/>
                    </a:lnTo>
                    <a:lnTo>
                      <a:pt x="329" y="175"/>
                    </a:lnTo>
                    <a:lnTo>
                      <a:pt x="315" y="187"/>
                    </a:lnTo>
                    <a:lnTo>
                      <a:pt x="297" y="186"/>
                    </a:lnTo>
                    <a:lnTo>
                      <a:pt x="264" y="226"/>
                    </a:lnTo>
                    <a:lnTo>
                      <a:pt x="258" y="253"/>
                    </a:lnTo>
                    <a:lnTo>
                      <a:pt x="281" y="257"/>
                    </a:lnTo>
                    <a:lnTo>
                      <a:pt x="295" y="286"/>
                    </a:lnTo>
                    <a:lnTo>
                      <a:pt x="291" y="321"/>
                    </a:lnTo>
                    <a:lnTo>
                      <a:pt x="234" y="330"/>
                    </a:lnTo>
                    <a:lnTo>
                      <a:pt x="227" y="340"/>
                    </a:lnTo>
                    <a:lnTo>
                      <a:pt x="225" y="355"/>
                    </a:lnTo>
                    <a:lnTo>
                      <a:pt x="231" y="356"/>
                    </a:lnTo>
                    <a:lnTo>
                      <a:pt x="234" y="374"/>
                    </a:lnTo>
                    <a:lnTo>
                      <a:pt x="228" y="374"/>
                    </a:lnTo>
                    <a:lnTo>
                      <a:pt x="224" y="383"/>
                    </a:lnTo>
                    <a:lnTo>
                      <a:pt x="220" y="407"/>
                    </a:lnTo>
                    <a:lnTo>
                      <a:pt x="199" y="411"/>
                    </a:lnTo>
                    <a:lnTo>
                      <a:pt x="188" y="397"/>
                    </a:lnTo>
                    <a:lnTo>
                      <a:pt x="135" y="380"/>
                    </a:lnTo>
                    <a:lnTo>
                      <a:pt x="121" y="369"/>
                    </a:lnTo>
                    <a:lnTo>
                      <a:pt x="122" y="363"/>
                    </a:lnTo>
                    <a:lnTo>
                      <a:pt x="140" y="371"/>
                    </a:lnTo>
                    <a:lnTo>
                      <a:pt x="140" y="347"/>
                    </a:lnTo>
                    <a:lnTo>
                      <a:pt x="146" y="348"/>
                    </a:lnTo>
                    <a:lnTo>
                      <a:pt x="148" y="335"/>
                    </a:lnTo>
                    <a:lnTo>
                      <a:pt x="99" y="317"/>
                    </a:lnTo>
                    <a:lnTo>
                      <a:pt x="50" y="314"/>
                    </a:lnTo>
                    <a:lnTo>
                      <a:pt x="51" y="282"/>
                    </a:lnTo>
                    <a:lnTo>
                      <a:pt x="29" y="270"/>
                    </a:lnTo>
                    <a:lnTo>
                      <a:pt x="24" y="258"/>
                    </a:lnTo>
                    <a:lnTo>
                      <a:pt x="25" y="251"/>
                    </a:lnTo>
                    <a:lnTo>
                      <a:pt x="31" y="250"/>
                    </a:lnTo>
                    <a:lnTo>
                      <a:pt x="46" y="169"/>
                    </a:lnTo>
                    <a:lnTo>
                      <a:pt x="38" y="155"/>
                    </a:lnTo>
                    <a:lnTo>
                      <a:pt x="12" y="149"/>
                    </a:lnTo>
                    <a:lnTo>
                      <a:pt x="6" y="140"/>
                    </a:lnTo>
                    <a:lnTo>
                      <a:pt x="20" y="132"/>
                    </a:lnTo>
                    <a:lnTo>
                      <a:pt x="0" y="123"/>
                    </a:lnTo>
                    <a:lnTo>
                      <a:pt x="1" y="117"/>
                    </a:lnTo>
                    <a:lnTo>
                      <a:pt x="15" y="109"/>
                    </a:lnTo>
                    <a:lnTo>
                      <a:pt x="66" y="117"/>
                    </a:lnTo>
                    <a:lnTo>
                      <a:pt x="87" y="114"/>
                    </a:lnTo>
                    <a:lnTo>
                      <a:pt x="98" y="85"/>
                    </a:lnTo>
                    <a:lnTo>
                      <a:pt x="119" y="87"/>
                    </a:lnTo>
                    <a:lnTo>
                      <a:pt x="129" y="81"/>
                    </a:lnTo>
                    <a:lnTo>
                      <a:pt x="134" y="62"/>
                    </a:lnTo>
                    <a:lnTo>
                      <a:pt x="104" y="34"/>
                    </a:lnTo>
                    <a:close/>
                  </a:path>
                </a:pathLst>
              </a:custGeom>
              <a:grpFill/>
              <a:ln w="12700">
                <a:solidFill>
                  <a:sysClr val="window" lastClr="FFFFFF"/>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1" u="none" strike="noStrike" kern="0" cap="none" spc="0" normalizeH="0" baseline="0" noProof="0" dirty="0">
                  <a:ln>
                    <a:noFill/>
                  </a:ln>
                  <a:solidFill>
                    <a:prstClr val="black"/>
                  </a:solidFill>
                  <a:effectLst/>
                  <a:uLnTx/>
                  <a:uFillTx/>
                  <a:latin typeface="Arial" panose="020B0604020202020204"/>
                  <a:ea typeface="+mn-ea"/>
                  <a:cs typeface="+mn-cs"/>
                </a:endParaRPr>
              </a:p>
            </p:txBody>
          </p:sp>
        </p:grpSp>
        <p:sp>
          <p:nvSpPr>
            <p:cNvPr id="522" name="Freeform 152">
              <a:extLst>
                <a:ext uri="{FF2B5EF4-FFF2-40B4-BE49-F238E27FC236}">
                  <a16:creationId xmlns:a16="http://schemas.microsoft.com/office/drawing/2014/main" id="{51DA00A3-3D07-42DA-0B0B-23233B5464B5}"/>
                </a:ext>
              </a:extLst>
            </p:cNvPr>
            <p:cNvSpPr>
              <a:spLocks/>
            </p:cNvSpPr>
            <p:nvPr/>
          </p:nvSpPr>
          <p:spPr bwMode="auto">
            <a:xfrm rot="21249101">
              <a:off x="8527812" y="5840251"/>
              <a:ext cx="587236" cy="266942"/>
            </a:xfrm>
            <a:custGeom>
              <a:avLst/>
              <a:gdLst>
                <a:gd name="T0" fmla="*/ 2147483647 w 908"/>
                <a:gd name="T1" fmla="*/ 2147483647 h 591"/>
                <a:gd name="T2" fmla="*/ 2147483647 w 908"/>
                <a:gd name="T3" fmla="*/ 2147483647 h 591"/>
                <a:gd name="T4" fmla="*/ 2147483647 w 908"/>
                <a:gd name="T5" fmla="*/ 2147483647 h 591"/>
                <a:gd name="T6" fmla="*/ 2147483647 w 908"/>
                <a:gd name="T7" fmla="*/ 2147483647 h 591"/>
                <a:gd name="T8" fmla="*/ 2147483647 w 908"/>
                <a:gd name="T9" fmla="*/ 2147483647 h 591"/>
                <a:gd name="T10" fmla="*/ 2147483647 w 908"/>
                <a:gd name="T11" fmla="*/ 2147483647 h 591"/>
                <a:gd name="T12" fmla="*/ 2147483647 w 908"/>
                <a:gd name="T13" fmla="*/ 2147483647 h 591"/>
                <a:gd name="T14" fmla="*/ 2147483647 w 908"/>
                <a:gd name="T15" fmla="*/ 2147483647 h 591"/>
                <a:gd name="T16" fmla="*/ 2147483647 w 908"/>
                <a:gd name="T17" fmla="*/ 2147483647 h 591"/>
                <a:gd name="T18" fmla="*/ 2147483647 w 908"/>
                <a:gd name="T19" fmla="*/ 2147483647 h 591"/>
                <a:gd name="T20" fmla="*/ 2147483647 w 908"/>
                <a:gd name="T21" fmla="*/ 2147483647 h 591"/>
                <a:gd name="T22" fmla="*/ 2147483647 w 908"/>
                <a:gd name="T23" fmla="*/ 2147483647 h 591"/>
                <a:gd name="T24" fmla="*/ 2147483647 w 908"/>
                <a:gd name="T25" fmla="*/ 2147483647 h 591"/>
                <a:gd name="T26" fmla="*/ 2147483647 w 908"/>
                <a:gd name="T27" fmla="*/ 2147483647 h 591"/>
                <a:gd name="T28" fmla="*/ 2147483647 w 908"/>
                <a:gd name="T29" fmla="*/ 2147483647 h 591"/>
                <a:gd name="T30" fmla="*/ 0 w 908"/>
                <a:gd name="T31" fmla="*/ 2147483647 h 591"/>
                <a:gd name="T32" fmla="*/ 2147483647 w 908"/>
                <a:gd name="T33" fmla="*/ 2147483647 h 591"/>
                <a:gd name="T34" fmla="*/ 2147483647 w 908"/>
                <a:gd name="T35" fmla="*/ 2147483647 h 591"/>
                <a:gd name="T36" fmla="*/ 2147483647 w 908"/>
                <a:gd name="T37" fmla="*/ 2147483647 h 591"/>
                <a:gd name="T38" fmla="*/ 2147483647 w 908"/>
                <a:gd name="T39" fmla="*/ 2147483647 h 591"/>
                <a:gd name="T40" fmla="*/ 2147483647 w 908"/>
                <a:gd name="T41" fmla="*/ 2147483647 h 591"/>
                <a:gd name="T42" fmla="*/ 2147483647 w 908"/>
                <a:gd name="T43" fmla="*/ 0 h 591"/>
                <a:gd name="T44" fmla="*/ 2147483647 w 908"/>
                <a:gd name="T45" fmla="*/ 2147483647 h 591"/>
                <a:gd name="T46" fmla="*/ 2147483647 w 908"/>
                <a:gd name="T47" fmla="*/ 2147483647 h 591"/>
                <a:gd name="T48" fmla="*/ 2147483647 w 908"/>
                <a:gd name="T49" fmla="*/ 2147483647 h 591"/>
                <a:gd name="T50" fmla="*/ 2147483647 w 908"/>
                <a:gd name="T51" fmla="*/ 2147483647 h 591"/>
                <a:gd name="T52" fmla="*/ 2147483647 w 908"/>
                <a:gd name="T53" fmla="*/ 2147483647 h 591"/>
                <a:gd name="T54" fmla="*/ 2147483647 w 908"/>
                <a:gd name="T55" fmla="*/ 2147483647 h 591"/>
                <a:gd name="T56" fmla="*/ 2147483647 w 908"/>
                <a:gd name="T57" fmla="*/ 2147483647 h 591"/>
                <a:gd name="T58" fmla="*/ 2147483647 w 908"/>
                <a:gd name="T59" fmla="*/ 2147483647 h 59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908"/>
                <a:gd name="T91" fmla="*/ 0 h 591"/>
                <a:gd name="T92" fmla="*/ 908 w 908"/>
                <a:gd name="T93" fmla="*/ 591 h 59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908" h="591">
                  <a:moveTo>
                    <a:pt x="908" y="20"/>
                  </a:moveTo>
                  <a:lnTo>
                    <a:pt x="889" y="24"/>
                  </a:lnTo>
                  <a:lnTo>
                    <a:pt x="891" y="28"/>
                  </a:lnTo>
                  <a:lnTo>
                    <a:pt x="882" y="84"/>
                  </a:lnTo>
                  <a:lnTo>
                    <a:pt x="741" y="326"/>
                  </a:lnTo>
                  <a:lnTo>
                    <a:pt x="737" y="354"/>
                  </a:lnTo>
                  <a:lnTo>
                    <a:pt x="757" y="377"/>
                  </a:lnTo>
                  <a:lnTo>
                    <a:pt x="780" y="469"/>
                  </a:lnTo>
                  <a:lnTo>
                    <a:pt x="736" y="591"/>
                  </a:lnTo>
                  <a:lnTo>
                    <a:pt x="594" y="566"/>
                  </a:lnTo>
                  <a:lnTo>
                    <a:pt x="498" y="456"/>
                  </a:lnTo>
                  <a:lnTo>
                    <a:pt x="337" y="393"/>
                  </a:lnTo>
                  <a:lnTo>
                    <a:pt x="183" y="266"/>
                  </a:lnTo>
                  <a:lnTo>
                    <a:pt x="34" y="205"/>
                  </a:lnTo>
                  <a:lnTo>
                    <a:pt x="8" y="165"/>
                  </a:lnTo>
                  <a:lnTo>
                    <a:pt x="0" y="90"/>
                  </a:lnTo>
                  <a:lnTo>
                    <a:pt x="12" y="47"/>
                  </a:lnTo>
                  <a:lnTo>
                    <a:pt x="38" y="8"/>
                  </a:lnTo>
                  <a:lnTo>
                    <a:pt x="61" y="1"/>
                  </a:lnTo>
                  <a:lnTo>
                    <a:pt x="105" y="40"/>
                  </a:lnTo>
                  <a:lnTo>
                    <a:pt x="138" y="39"/>
                  </a:lnTo>
                  <a:lnTo>
                    <a:pt x="227" y="0"/>
                  </a:lnTo>
                  <a:lnTo>
                    <a:pt x="331" y="59"/>
                  </a:lnTo>
                  <a:lnTo>
                    <a:pt x="349" y="99"/>
                  </a:lnTo>
                  <a:lnTo>
                    <a:pt x="587" y="85"/>
                  </a:lnTo>
                  <a:lnTo>
                    <a:pt x="677" y="53"/>
                  </a:lnTo>
                  <a:lnTo>
                    <a:pt x="773" y="59"/>
                  </a:lnTo>
                  <a:lnTo>
                    <a:pt x="805" y="33"/>
                  </a:lnTo>
                  <a:lnTo>
                    <a:pt x="866" y="33"/>
                  </a:lnTo>
                  <a:lnTo>
                    <a:pt x="908" y="20"/>
                  </a:lnTo>
                  <a:close/>
                </a:path>
              </a:pathLst>
            </a:custGeom>
            <a:solidFill>
              <a:srgbClr val="7359A0"/>
            </a:solidFill>
            <a:ln w="12700">
              <a:solidFill>
                <a:sysClr val="window" lastClr="FFFFFF"/>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800" b="0" i="1" u="none" strike="noStrike" kern="0" cap="none" spc="0" normalizeH="0" baseline="0" noProof="0" dirty="0">
                <a:ln>
                  <a:noFill/>
                </a:ln>
                <a:solidFill>
                  <a:prstClr val="black"/>
                </a:solidFill>
                <a:effectLst/>
                <a:uLnTx/>
                <a:uFillTx/>
                <a:latin typeface="Arial" panose="020B0604020202020204"/>
                <a:ea typeface="+mn-ea"/>
                <a:cs typeface="+mn-cs"/>
              </a:endParaRPr>
            </a:p>
          </p:txBody>
        </p:sp>
        <p:sp>
          <p:nvSpPr>
            <p:cNvPr id="523" name="Freeform 154">
              <a:extLst>
                <a:ext uri="{FF2B5EF4-FFF2-40B4-BE49-F238E27FC236}">
                  <a16:creationId xmlns:a16="http://schemas.microsoft.com/office/drawing/2014/main" id="{EBD79387-F34E-DFE4-38E5-2E6C2CD22112}"/>
                </a:ext>
              </a:extLst>
            </p:cNvPr>
            <p:cNvSpPr>
              <a:spLocks/>
            </p:cNvSpPr>
            <p:nvPr/>
          </p:nvSpPr>
          <p:spPr bwMode="auto">
            <a:xfrm rot="21249101">
              <a:off x="8113508" y="5333516"/>
              <a:ext cx="193238" cy="389696"/>
            </a:xfrm>
            <a:custGeom>
              <a:avLst/>
              <a:gdLst>
                <a:gd name="T0" fmla="*/ 2147483647 w 409"/>
                <a:gd name="T1" fmla="*/ 0 h 855"/>
                <a:gd name="T2" fmla="*/ 2147483647 w 409"/>
                <a:gd name="T3" fmla="*/ 2147483647 h 855"/>
                <a:gd name="T4" fmla="*/ 2147483647 w 409"/>
                <a:gd name="T5" fmla="*/ 2147483647 h 855"/>
                <a:gd name="T6" fmla="*/ 2147483647 w 409"/>
                <a:gd name="T7" fmla="*/ 2147483647 h 855"/>
                <a:gd name="T8" fmla="*/ 2147483647 w 409"/>
                <a:gd name="T9" fmla="*/ 2147483647 h 855"/>
                <a:gd name="T10" fmla="*/ 2147483647 w 409"/>
                <a:gd name="T11" fmla="*/ 2147483647 h 855"/>
                <a:gd name="T12" fmla="*/ 2147483647 w 409"/>
                <a:gd name="T13" fmla="*/ 2147483647 h 855"/>
                <a:gd name="T14" fmla="*/ 2147483647 w 409"/>
                <a:gd name="T15" fmla="*/ 2147483647 h 855"/>
                <a:gd name="T16" fmla="*/ 2147483647 w 409"/>
                <a:gd name="T17" fmla="*/ 2147483647 h 855"/>
                <a:gd name="T18" fmla="*/ 2147483647 w 409"/>
                <a:gd name="T19" fmla="*/ 2147483647 h 855"/>
                <a:gd name="T20" fmla="*/ 2147483647 w 409"/>
                <a:gd name="T21" fmla="*/ 2147483647 h 855"/>
                <a:gd name="T22" fmla="*/ 2147483647 w 409"/>
                <a:gd name="T23" fmla="*/ 2147483647 h 855"/>
                <a:gd name="T24" fmla="*/ 2147483647 w 409"/>
                <a:gd name="T25" fmla="*/ 2147483647 h 855"/>
                <a:gd name="T26" fmla="*/ 2147483647 w 409"/>
                <a:gd name="T27" fmla="*/ 2147483647 h 855"/>
                <a:gd name="T28" fmla="*/ 2147483647 w 409"/>
                <a:gd name="T29" fmla="*/ 2147483647 h 855"/>
                <a:gd name="T30" fmla="*/ 2147483647 w 409"/>
                <a:gd name="T31" fmla="*/ 2147483647 h 855"/>
                <a:gd name="T32" fmla="*/ 2147483647 w 409"/>
                <a:gd name="T33" fmla="*/ 2147483647 h 855"/>
                <a:gd name="T34" fmla="*/ 0 w 409"/>
                <a:gd name="T35" fmla="*/ 2147483647 h 855"/>
                <a:gd name="T36" fmla="*/ 2147483647 w 409"/>
                <a:gd name="T37" fmla="*/ 2147483647 h 855"/>
                <a:gd name="T38" fmla="*/ 2147483647 w 409"/>
                <a:gd name="T39" fmla="*/ 2147483647 h 855"/>
                <a:gd name="T40" fmla="*/ 2147483647 w 409"/>
                <a:gd name="T41" fmla="*/ 2147483647 h 855"/>
                <a:gd name="T42" fmla="*/ 2147483647 w 409"/>
                <a:gd name="T43" fmla="*/ 2147483647 h 855"/>
                <a:gd name="T44" fmla="*/ 2147483647 w 409"/>
                <a:gd name="T45" fmla="*/ 2147483647 h 855"/>
                <a:gd name="T46" fmla="*/ 2147483647 w 409"/>
                <a:gd name="T47" fmla="*/ 2147483647 h 855"/>
                <a:gd name="T48" fmla="*/ 2147483647 w 409"/>
                <a:gd name="T49" fmla="*/ 2147483647 h 855"/>
                <a:gd name="T50" fmla="*/ 2147483647 w 409"/>
                <a:gd name="T51" fmla="*/ 2147483647 h 855"/>
                <a:gd name="T52" fmla="*/ 2147483647 w 409"/>
                <a:gd name="T53" fmla="*/ 2147483647 h 855"/>
                <a:gd name="T54" fmla="*/ 2147483647 w 409"/>
                <a:gd name="T55" fmla="*/ 2147483647 h 855"/>
                <a:gd name="T56" fmla="*/ 2147483647 w 409"/>
                <a:gd name="T57" fmla="*/ 2147483647 h 855"/>
                <a:gd name="T58" fmla="*/ 2147483647 w 409"/>
                <a:gd name="T59" fmla="*/ 2147483647 h 855"/>
                <a:gd name="T60" fmla="*/ 2147483647 w 409"/>
                <a:gd name="T61" fmla="*/ 2147483647 h 855"/>
                <a:gd name="T62" fmla="*/ 2147483647 w 409"/>
                <a:gd name="T63" fmla="*/ 2147483647 h 855"/>
                <a:gd name="T64" fmla="*/ 2147483647 w 409"/>
                <a:gd name="T65" fmla="*/ 0 h 85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09"/>
                <a:gd name="T100" fmla="*/ 0 h 855"/>
                <a:gd name="T101" fmla="*/ 409 w 409"/>
                <a:gd name="T102" fmla="*/ 855 h 85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09" h="855">
                  <a:moveTo>
                    <a:pt x="289" y="0"/>
                  </a:moveTo>
                  <a:lnTo>
                    <a:pt x="343" y="30"/>
                  </a:lnTo>
                  <a:lnTo>
                    <a:pt x="351" y="46"/>
                  </a:lnTo>
                  <a:lnTo>
                    <a:pt x="374" y="70"/>
                  </a:lnTo>
                  <a:lnTo>
                    <a:pt x="409" y="234"/>
                  </a:lnTo>
                  <a:lnTo>
                    <a:pt x="343" y="708"/>
                  </a:lnTo>
                  <a:lnTo>
                    <a:pt x="323" y="739"/>
                  </a:lnTo>
                  <a:lnTo>
                    <a:pt x="318" y="764"/>
                  </a:lnTo>
                  <a:lnTo>
                    <a:pt x="286" y="785"/>
                  </a:lnTo>
                  <a:lnTo>
                    <a:pt x="221" y="756"/>
                  </a:lnTo>
                  <a:lnTo>
                    <a:pt x="190" y="778"/>
                  </a:lnTo>
                  <a:lnTo>
                    <a:pt x="161" y="823"/>
                  </a:lnTo>
                  <a:lnTo>
                    <a:pt x="124" y="848"/>
                  </a:lnTo>
                  <a:lnTo>
                    <a:pt x="73" y="855"/>
                  </a:lnTo>
                  <a:lnTo>
                    <a:pt x="5" y="738"/>
                  </a:lnTo>
                  <a:lnTo>
                    <a:pt x="2" y="694"/>
                  </a:lnTo>
                  <a:lnTo>
                    <a:pt x="9" y="665"/>
                  </a:lnTo>
                  <a:lnTo>
                    <a:pt x="0" y="622"/>
                  </a:lnTo>
                  <a:lnTo>
                    <a:pt x="29" y="520"/>
                  </a:lnTo>
                  <a:lnTo>
                    <a:pt x="50" y="504"/>
                  </a:lnTo>
                  <a:lnTo>
                    <a:pt x="58" y="475"/>
                  </a:lnTo>
                  <a:lnTo>
                    <a:pt x="48" y="457"/>
                  </a:lnTo>
                  <a:lnTo>
                    <a:pt x="48" y="238"/>
                  </a:lnTo>
                  <a:lnTo>
                    <a:pt x="38" y="230"/>
                  </a:lnTo>
                  <a:lnTo>
                    <a:pt x="15" y="227"/>
                  </a:lnTo>
                  <a:lnTo>
                    <a:pt x="3" y="195"/>
                  </a:lnTo>
                  <a:lnTo>
                    <a:pt x="19" y="89"/>
                  </a:lnTo>
                  <a:lnTo>
                    <a:pt x="24" y="82"/>
                  </a:lnTo>
                  <a:lnTo>
                    <a:pt x="62" y="133"/>
                  </a:lnTo>
                  <a:lnTo>
                    <a:pt x="112" y="131"/>
                  </a:lnTo>
                  <a:lnTo>
                    <a:pt x="224" y="49"/>
                  </a:lnTo>
                  <a:lnTo>
                    <a:pt x="256" y="42"/>
                  </a:lnTo>
                  <a:lnTo>
                    <a:pt x="289" y="0"/>
                  </a:lnTo>
                  <a:close/>
                </a:path>
              </a:pathLst>
            </a:custGeom>
            <a:solidFill>
              <a:srgbClr val="7359A0"/>
            </a:solidFill>
            <a:ln w="12700">
              <a:solidFill>
                <a:sysClr val="window" lastClr="FFFFFF"/>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800" b="0" i="1" u="none" strike="noStrike" kern="0" cap="none" spc="0" normalizeH="0" baseline="0" noProof="0" dirty="0">
                <a:ln>
                  <a:noFill/>
                </a:ln>
                <a:solidFill>
                  <a:prstClr val="black"/>
                </a:solidFill>
                <a:effectLst/>
                <a:uLnTx/>
                <a:uFillTx/>
                <a:latin typeface="Arial" panose="020B0604020202020204"/>
                <a:ea typeface="+mn-ea"/>
                <a:cs typeface="+mn-cs"/>
              </a:endParaRPr>
            </a:p>
          </p:txBody>
        </p:sp>
        <p:sp>
          <p:nvSpPr>
            <p:cNvPr id="524" name="Freeform 170">
              <a:extLst>
                <a:ext uri="{FF2B5EF4-FFF2-40B4-BE49-F238E27FC236}">
                  <a16:creationId xmlns:a16="http://schemas.microsoft.com/office/drawing/2014/main" id="{EC3656EA-E260-8F43-3538-1E11503268F5}"/>
                </a:ext>
              </a:extLst>
            </p:cNvPr>
            <p:cNvSpPr>
              <a:spLocks noChangeAspect="1"/>
            </p:cNvSpPr>
            <p:nvPr/>
          </p:nvSpPr>
          <p:spPr bwMode="auto">
            <a:xfrm rot="21249101">
              <a:off x="7991578" y="4378353"/>
              <a:ext cx="1420295" cy="1536575"/>
            </a:xfrm>
            <a:custGeom>
              <a:avLst/>
              <a:gdLst>
                <a:gd name="T0" fmla="*/ 2147483647 w 2978"/>
                <a:gd name="T1" fmla="*/ 2147483647 h 3382"/>
                <a:gd name="T2" fmla="*/ 2147483647 w 2978"/>
                <a:gd name="T3" fmla="*/ 2147483647 h 3382"/>
                <a:gd name="T4" fmla="*/ 2147483647 w 2978"/>
                <a:gd name="T5" fmla="*/ 2147483647 h 3382"/>
                <a:gd name="T6" fmla="*/ 2147483647 w 2978"/>
                <a:gd name="T7" fmla="*/ 2147483647 h 3382"/>
                <a:gd name="T8" fmla="*/ 2147483647 w 2978"/>
                <a:gd name="T9" fmla="*/ 2147483647 h 3382"/>
                <a:gd name="T10" fmla="*/ 2147483647 w 2978"/>
                <a:gd name="T11" fmla="*/ 2147483647 h 3382"/>
                <a:gd name="T12" fmla="*/ 2147483647 w 2978"/>
                <a:gd name="T13" fmla="*/ 2147483647 h 3382"/>
                <a:gd name="T14" fmla="*/ 2147483647 w 2978"/>
                <a:gd name="T15" fmla="*/ 2147483647 h 3382"/>
                <a:gd name="T16" fmla="*/ 2147483647 w 2978"/>
                <a:gd name="T17" fmla="*/ 2147483647 h 3382"/>
                <a:gd name="T18" fmla="*/ 2147483647 w 2978"/>
                <a:gd name="T19" fmla="*/ 2147483647 h 3382"/>
                <a:gd name="T20" fmla="*/ 2147483647 w 2978"/>
                <a:gd name="T21" fmla="*/ 2147483647 h 3382"/>
                <a:gd name="T22" fmla="*/ 2147483647 w 2978"/>
                <a:gd name="T23" fmla="*/ 2147483647 h 3382"/>
                <a:gd name="T24" fmla="*/ 2147483647 w 2978"/>
                <a:gd name="T25" fmla="*/ 2147483647 h 3382"/>
                <a:gd name="T26" fmla="*/ 2147483647 w 2978"/>
                <a:gd name="T27" fmla="*/ 2147483647 h 3382"/>
                <a:gd name="T28" fmla="*/ 2147483647 w 2978"/>
                <a:gd name="T29" fmla="*/ 2147483647 h 3382"/>
                <a:gd name="T30" fmla="*/ 2147483647 w 2978"/>
                <a:gd name="T31" fmla="*/ 2147483647 h 3382"/>
                <a:gd name="T32" fmla="*/ 2147483647 w 2978"/>
                <a:gd name="T33" fmla="*/ 2147483647 h 3382"/>
                <a:gd name="T34" fmla="*/ 2147483647 w 2978"/>
                <a:gd name="T35" fmla="*/ 2147483647 h 3382"/>
                <a:gd name="T36" fmla="*/ 2147483647 w 2978"/>
                <a:gd name="T37" fmla="*/ 2147483647 h 3382"/>
                <a:gd name="T38" fmla="*/ 2147483647 w 2978"/>
                <a:gd name="T39" fmla="*/ 2147483647 h 3382"/>
                <a:gd name="T40" fmla="*/ 2147483647 w 2978"/>
                <a:gd name="T41" fmla="*/ 2147483647 h 3382"/>
                <a:gd name="T42" fmla="*/ 2147483647 w 2978"/>
                <a:gd name="T43" fmla="*/ 2147483647 h 3382"/>
                <a:gd name="T44" fmla="*/ 2147483647 w 2978"/>
                <a:gd name="T45" fmla="*/ 2147483647 h 3382"/>
                <a:gd name="T46" fmla="*/ 2147483647 w 2978"/>
                <a:gd name="T47" fmla="*/ 2147483647 h 3382"/>
                <a:gd name="T48" fmla="*/ 2147483647 w 2978"/>
                <a:gd name="T49" fmla="*/ 2147483647 h 3382"/>
                <a:gd name="T50" fmla="*/ 2147483647 w 2978"/>
                <a:gd name="T51" fmla="*/ 2147483647 h 3382"/>
                <a:gd name="T52" fmla="*/ 2147483647 w 2978"/>
                <a:gd name="T53" fmla="*/ 2147483647 h 3382"/>
                <a:gd name="T54" fmla="*/ 2147483647 w 2978"/>
                <a:gd name="T55" fmla="*/ 2147483647 h 3382"/>
                <a:gd name="T56" fmla="*/ 2147483647 w 2978"/>
                <a:gd name="T57" fmla="*/ 2147483647 h 3382"/>
                <a:gd name="T58" fmla="*/ 2147483647 w 2978"/>
                <a:gd name="T59" fmla="*/ 2147483647 h 3382"/>
                <a:gd name="T60" fmla="*/ 2147483647 w 2978"/>
                <a:gd name="T61" fmla="*/ 2147483647 h 3382"/>
                <a:gd name="T62" fmla="*/ 2147483647 w 2978"/>
                <a:gd name="T63" fmla="*/ 2147483647 h 3382"/>
                <a:gd name="T64" fmla="*/ 2147483647 w 2978"/>
                <a:gd name="T65" fmla="*/ 2147483647 h 3382"/>
                <a:gd name="T66" fmla="*/ 2147483647 w 2978"/>
                <a:gd name="T67" fmla="*/ 2147483647 h 3382"/>
                <a:gd name="T68" fmla="*/ 2147483647 w 2978"/>
                <a:gd name="T69" fmla="*/ 2147483647 h 3382"/>
                <a:gd name="T70" fmla="*/ 2147483647 w 2978"/>
                <a:gd name="T71" fmla="*/ 2147483647 h 3382"/>
                <a:gd name="T72" fmla="*/ 2147483647 w 2978"/>
                <a:gd name="T73" fmla="*/ 2147483647 h 3382"/>
                <a:gd name="T74" fmla="*/ 2147483647 w 2978"/>
                <a:gd name="T75" fmla="*/ 2147483647 h 3382"/>
                <a:gd name="T76" fmla="*/ 2147483647 w 2978"/>
                <a:gd name="T77" fmla="*/ 2147483647 h 3382"/>
                <a:gd name="T78" fmla="*/ 2147483647 w 2978"/>
                <a:gd name="T79" fmla="*/ 2147483647 h 3382"/>
                <a:gd name="T80" fmla="*/ 2147483647 w 2978"/>
                <a:gd name="T81" fmla="*/ 2147483647 h 3382"/>
                <a:gd name="T82" fmla="*/ 2147483647 w 2978"/>
                <a:gd name="T83" fmla="*/ 2147483647 h 3382"/>
                <a:gd name="T84" fmla="*/ 2147483647 w 2978"/>
                <a:gd name="T85" fmla="*/ 2147483647 h 3382"/>
                <a:gd name="T86" fmla="*/ 2147483647 w 2978"/>
                <a:gd name="T87" fmla="*/ 2147483647 h 3382"/>
                <a:gd name="T88" fmla="*/ 2147483647 w 2978"/>
                <a:gd name="T89" fmla="*/ 2147483647 h 3382"/>
                <a:gd name="T90" fmla="*/ 2147483647 w 2978"/>
                <a:gd name="T91" fmla="*/ 2147483647 h 3382"/>
                <a:gd name="T92" fmla="*/ 2147483647 w 2978"/>
                <a:gd name="T93" fmla="*/ 2147483647 h 3382"/>
                <a:gd name="T94" fmla="*/ 2147483647 w 2978"/>
                <a:gd name="T95" fmla="*/ 2147483647 h 3382"/>
                <a:gd name="T96" fmla="*/ 2147483647 w 2978"/>
                <a:gd name="T97" fmla="*/ 2147483647 h 3382"/>
                <a:gd name="T98" fmla="*/ 2147483647 w 2978"/>
                <a:gd name="T99" fmla="*/ 2147483647 h 3382"/>
                <a:gd name="T100" fmla="*/ 2147483647 w 2978"/>
                <a:gd name="T101" fmla="*/ 2147483647 h 3382"/>
                <a:gd name="T102" fmla="*/ 2147483647 w 2978"/>
                <a:gd name="T103" fmla="*/ 2147483647 h 3382"/>
                <a:gd name="T104" fmla="*/ 2147483647 w 2978"/>
                <a:gd name="T105" fmla="*/ 2147483647 h 3382"/>
                <a:gd name="T106" fmla="*/ 2147483647 w 2978"/>
                <a:gd name="T107" fmla="*/ 2147483647 h 3382"/>
                <a:gd name="T108" fmla="*/ 2147483647 w 2978"/>
                <a:gd name="T109" fmla="*/ 2147483647 h 3382"/>
                <a:gd name="T110" fmla="*/ 2147483647 w 2978"/>
                <a:gd name="T111" fmla="*/ 2147483647 h 3382"/>
                <a:gd name="T112" fmla="*/ 2147483647 w 2978"/>
                <a:gd name="T113" fmla="*/ 2147483647 h 3382"/>
                <a:gd name="T114" fmla="*/ 2147483647 w 2978"/>
                <a:gd name="T115" fmla="*/ 2147483647 h 3382"/>
                <a:gd name="T116" fmla="*/ 2147483647 w 2978"/>
                <a:gd name="T117" fmla="*/ 2147483647 h 3382"/>
                <a:gd name="T118" fmla="*/ 2147483647 w 2978"/>
                <a:gd name="T119" fmla="*/ 2147483647 h 3382"/>
                <a:gd name="T120" fmla="*/ 2147483647 w 2978"/>
                <a:gd name="T121" fmla="*/ 0 h 3382"/>
                <a:gd name="T122" fmla="*/ 2147483647 w 2978"/>
                <a:gd name="T123" fmla="*/ 2147483647 h 338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978"/>
                <a:gd name="T187" fmla="*/ 0 h 3382"/>
                <a:gd name="T188" fmla="*/ 2978 w 2978"/>
                <a:gd name="T189" fmla="*/ 3382 h 338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978" h="3382">
                  <a:moveTo>
                    <a:pt x="1022" y="30"/>
                  </a:moveTo>
                  <a:lnTo>
                    <a:pt x="1001" y="77"/>
                  </a:lnTo>
                  <a:lnTo>
                    <a:pt x="1000" y="107"/>
                  </a:lnTo>
                  <a:lnTo>
                    <a:pt x="980" y="119"/>
                  </a:lnTo>
                  <a:lnTo>
                    <a:pt x="931" y="115"/>
                  </a:lnTo>
                  <a:lnTo>
                    <a:pt x="918" y="143"/>
                  </a:lnTo>
                  <a:lnTo>
                    <a:pt x="919" y="176"/>
                  </a:lnTo>
                  <a:lnTo>
                    <a:pt x="930" y="205"/>
                  </a:lnTo>
                  <a:lnTo>
                    <a:pt x="919" y="224"/>
                  </a:lnTo>
                  <a:lnTo>
                    <a:pt x="777" y="183"/>
                  </a:lnTo>
                  <a:lnTo>
                    <a:pt x="752" y="154"/>
                  </a:lnTo>
                  <a:lnTo>
                    <a:pt x="721" y="134"/>
                  </a:lnTo>
                  <a:lnTo>
                    <a:pt x="704" y="182"/>
                  </a:lnTo>
                  <a:lnTo>
                    <a:pt x="644" y="263"/>
                  </a:lnTo>
                  <a:lnTo>
                    <a:pt x="629" y="305"/>
                  </a:lnTo>
                  <a:lnTo>
                    <a:pt x="615" y="323"/>
                  </a:lnTo>
                  <a:lnTo>
                    <a:pt x="586" y="299"/>
                  </a:lnTo>
                  <a:lnTo>
                    <a:pt x="565" y="258"/>
                  </a:lnTo>
                  <a:lnTo>
                    <a:pt x="518" y="213"/>
                  </a:lnTo>
                  <a:lnTo>
                    <a:pt x="503" y="121"/>
                  </a:lnTo>
                  <a:lnTo>
                    <a:pt x="450" y="141"/>
                  </a:lnTo>
                  <a:lnTo>
                    <a:pt x="418" y="172"/>
                  </a:lnTo>
                  <a:lnTo>
                    <a:pt x="411" y="213"/>
                  </a:lnTo>
                  <a:lnTo>
                    <a:pt x="335" y="266"/>
                  </a:lnTo>
                  <a:lnTo>
                    <a:pt x="74" y="252"/>
                  </a:lnTo>
                  <a:lnTo>
                    <a:pt x="67" y="274"/>
                  </a:lnTo>
                  <a:lnTo>
                    <a:pt x="102" y="471"/>
                  </a:lnTo>
                  <a:lnTo>
                    <a:pt x="46" y="499"/>
                  </a:lnTo>
                  <a:lnTo>
                    <a:pt x="16" y="526"/>
                  </a:lnTo>
                  <a:lnTo>
                    <a:pt x="1" y="563"/>
                  </a:lnTo>
                  <a:lnTo>
                    <a:pt x="0" y="586"/>
                  </a:lnTo>
                  <a:lnTo>
                    <a:pt x="5" y="607"/>
                  </a:lnTo>
                  <a:lnTo>
                    <a:pt x="42" y="629"/>
                  </a:lnTo>
                  <a:lnTo>
                    <a:pt x="39" y="665"/>
                  </a:lnTo>
                  <a:lnTo>
                    <a:pt x="23" y="708"/>
                  </a:lnTo>
                  <a:lnTo>
                    <a:pt x="23" y="813"/>
                  </a:lnTo>
                  <a:lnTo>
                    <a:pt x="44" y="858"/>
                  </a:lnTo>
                  <a:lnTo>
                    <a:pt x="158" y="891"/>
                  </a:lnTo>
                  <a:lnTo>
                    <a:pt x="166" y="931"/>
                  </a:lnTo>
                  <a:lnTo>
                    <a:pt x="161" y="971"/>
                  </a:lnTo>
                  <a:lnTo>
                    <a:pt x="147" y="1001"/>
                  </a:lnTo>
                  <a:lnTo>
                    <a:pt x="147" y="1018"/>
                  </a:lnTo>
                  <a:lnTo>
                    <a:pt x="230" y="1029"/>
                  </a:lnTo>
                  <a:lnTo>
                    <a:pt x="310" y="1006"/>
                  </a:lnTo>
                  <a:lnTo>
                    <a:pt x="323" y="974"/>
                  </a:lnTo>
                  <a:lnTo>
                    <a:pt x="375" y="917"/>
                  </a:lnTo>
                  <a:lnTo>
                    <a:pt x="400" y="909"/>
                  </a:lnTo>
                  <a:lnTo>
                    <a:pt x="413" y="882"/>
                  </a:lnTo>
                  <a:lnTo>
                    <a:pt x="500" y="857"/>
                  </a:lnTo>
                  <a:lnTo>
                    <a:pt x="584" y="880"/>
                  </a:lnTo>
                  <a:lnTo>
                    <a:pt x="836" y="1063"/>
                  </a:lnTo>
                  <a:lnTo>
                    <a:pt x="901" y="1375"/>
                  </a:lnTo>
                  <a:lnTo>
                    <a:pt x="893" y="1410"/>
                  </a:lnTo>
                  <a:lnTo>
                    <a:pt x="1022" y="1585"/>
                  </a:lnTo>
                  <a:lnTo>
                    <a:pt x="1031" y="1661"/>
                  </a:lnTo>
                  <a:lnTo>
                    <a:pt x="1070" y="1650"/>
                  </a:lnTo>
                  <a:lnTo>
                    <a:pt x="1107" y="1654"/>
                  </a:lnTo>
                  <a:lnTo>
                    <a:pt x="1147" y="1695"/>
                  </a:lnTo>
                  <a:lnTo>
                    <a:pt x="1205" y="1801"/>
                  </a:lnTo>
                  <a:lnTo>
                    <a:pt x="1252" y="1813"/>
                  </a:lnTo>
                  <a:lnTo>
                    <a:pt x="1501" y="2122"/>
                  </a:lnTo>
                  <a:lnTo>
                    <a:pt x="1528" y="2115"/>
                  </a:lnTo>
                  <a:lnTo>
                    <a:pt x="1690" y="2144"/>
                  </a:lnTo>
                  <a:lnTo>
                    <a:pt x="1755" y="2233"/>
                  </a:lnTo>
                  <a:lnTo>
                    <a:pt x="1773" y="2286"/>
                  </a:lnTo>
                  <a:lnTo>
                    <a:pt x="1852" y="2325"/>
                  </a:lnTo>
                  <a:lnTo>
                    <a:pt x="1858" y="2341"/>
                  </a:lnTo>
                  <a:lnTo>
                    <a:pt x="1849" y="2380"/>
                  </a:lnTo>
                  <a:lnTo>
                    <a:pt x="1945" y="2371"/>
                  </a:lnTo>
                  <a:lnTo>
                    <a:pt x="1971" y="2379"/>
                  </a:lnTo>
                  <a:lnTo>
                    <a:pt x="1992" y="2411"/>
                  </a:lnTo>
                  <a:lnTo>
                    <a:pt x="2007" y="2467"/>
                  </a:lnTo>
                  <a:lnTo>
                    <a:pt x="1995" y="2503"/>
                  </a:lnTo>
                  <a:lnTo>
                    <a:pt x="2017" y="2541"/>
                  </a:lnTo>
                  <a:lnTo>
                    <a:pt x="2074" y="2569"/>
                  </a:lnTo>
                  <a:lnTo>
                    <a:pt x="2123" y="2633"/>
                  </a:lnTo>
                  <a:lnTo>
                    <a:pt x="2150" y="2588"/>
                  </a:lnTo>
                  <a:lnTo>
                    <a:pt x="2177" y="2590"/>
                  </a:lnTo>
                  <a:lnTo>
                    <a:pt x="2329" y="3058"/>
                  </a:lnTo>
                  <a:lnTo>
                    <a:pt x="2213" y="3115"/>
                  </a:lnTo>
                  <a:lnTo>
                    <a:pt x="2229" y="3172"/>
                  </a:lnTo>
                  <a:lnTo>
                    <a:pt x="2167" y="3276"/>
                  </a:lnTo>
                  <a:lnTo>
                    <a:pt x="2166" y="3338"/>
                  </a:lnTo>
                  <a:lnTo>
                    <a:pt x="2177" y="3378"/>
                  </a:lnTo>
                  <a:lnTo>
                    <a:pt x="2184" y="3368"/>
                  </a:lnTo>
                  <a:lnTo>
                    <a:pt x="2181" y="3381"/>
                  </a:lnTo>
                  <a:lnTo>
                    <a:pt x="2261" y="3382"/>
                  </a:lnTo>
                  <a:lnTo>
                    <a:pt x="2277" y="3369"/>
                  </a:lnTo>
                  <a:lnTo>
                    <a:pt x="2339" y="3263"/>
                  </a:lnTo>
                  <a:lnTo>
                    <a:pt x="2375" y="3233"/>
                  </a:lnTo>
                  <a:lnTo>
                    <a:pt x="2410" y="3225"/>
                  </a:lnTo>
                  <a:lnTo>
                    <a:pt x="2424" y="3194"/>
                  </a:lnTo>
                  <a:lnTo>
                    <a:pt x="2432" y="3079"/>
                  </a:lnTo>
                  <a:lnTo>
                    <a:pt x="2449" y="3055"/>
                  </a:lnTo>
                  <a:lnTo>
                    <a:pt x="2544" y="3017"/>
                  </a:lnTo>
                  <a:lnTo>
                    <a:pt x="2569" y="3018"/>
                  </a:lnTo>
                  <a:lnTo>
                    <a:pt x="2579" y="2998"/>
                  </a:lnTo>
                  <a:lnTo>
                    <a:pt x="2575" y="2849"/>
                  </a:lnTo>
                  <a:lnTo>
                    <a:pt x="2554" y="2823"/>
                  </a:lnTo>
                  <a:lnTo>
                    <a:pt x="2505" y="2793"/>
                  </a:lnTo>
                  <a:lnTo>
                    <a:pt x="2482" y="2758"/>
                  </a:lnTo>
                  <a:lnTo>
                    <a:pt x="2428" y="2732"/>
                  </a:lnTo>
                  <a:lnTo>
                    <a:pt x="2461" y="2584"/>
                  </a:lnTo>
                  <a:lnTo>
                    <a:pt x="2568" y="2462"/>
                  </a:lnTo>
                  <a:lnTo>
                    <a:pt x="2622" y="2455"/>
                  </a:lnTo>
                  <a:lnTo>
                    <a:pt x="2703" y="2519"/>
                  </a:lnTo>
                  <a:lnTo>
                    <a:pt x="2828" y="2571"/>
                  </a:lnTo>
                  <a:lnTo>
                    <a:pt x="2881" y="2676"/>
                  </a:lnTo>
                  <a:lnTo>
                    <a:pt x="2936" y="2708"/>
                  </a:lnTo>
                  <a:lnTo>
                    <a:pt x="2936" y="2695"/>
                  </a:lnTo>
                  <a:lnTo>
                    <a:pt x="2978" y="2618"/>
                  </a:lnTo>
                  <a:lnTo>
                    <a:pt x="2832" y="2386"/>
                  </a:lnTo>
                  <a:lnTo>
                    <a:pt x="2654" y="2314"/>
                  </a:lnTo>
                  <a:lnTo>
                    <a:pt x="2617" y="2266"/>
                  </a:lnTo>
                  <a:lnTo>
                    <a:pt x="2314" y="2110"/>
                  </a:lnTo>
                  <a:lnTo>
                    <a:pt x="2293" y="2109"/>
                  </a:lnTo>
                  <a:lnTo>
                    <a:pt x="2279" y="2086"/>
                  </a:lnTo>
                  <a:lnTo>
                    <a:pt x="2281" y="2060"/>
                  </a:lnTo>
                  <a:lnTo>
                    <a:pt x="2313" y="2028"/>
                  </a:lnTo>
                  <a:lnTo>
                    <a:pt x="2351" y="2007"/>
                  </a:lnTo>
                  <a:lnTo>
                    <a:pt x="2357" y="1962"/>
                  </a:lnTo>
                  <a:lnTo>
                    <a:pt x="2327" y="1918"/>
                  </a:lnTo>
                  <a:lnTo>
                    <a:pt x="2276" y="1921"/>
                  </a:lnTo>
                  <a:lnTo>
                    <a:pt x="2255" y="1933"/>
                  </a:lnTo>
                  <a:lnTo>
                    <a:pt x="2294" y="1922"/>
                  </a:lnTo>
                  <a:lnTo>
                    <a:pt x="2257" y="1933"/>
                  </a:lnTo>
                  <a:lnTo>
                    <a:pt x="2106" y="1925"/>
                  </a:lnTo>
                  <a:lnTo>
                    <a:pt x="2100" y="1963"/>
                  </a:lnTo>
                  <a:lnTo>
                    <a:pt x="1994" y="1855"/>
                  </a:lnTo>
                  <a:lnTo>
                    <a:pt x="1969" y="1850"/>
                  </a:lnTo>
                  <a:lnTo>
                    <a:pt x="1960" y="1810"/>
                  </a:lnTo>
                  <a:lnTo>
                    <a:pt x="1940" y="1809"/>
                  </a:lnTo>
                  <a:lnTo>
                    <a:pt x="1821" y="1662"/>
                  </a:lnTo>
                  <a:lnTo>
                    <a:pt x="1769" y="1501"/>
                  </a:lnTo>
                  <a:lnTo>
                    <a:pt x="1753" y="1476"/>
                  </a:lnTo>
                  <a:lnTo>
                    <a:pt x="1701" y="1286"/>
                  </a:lnTo>
                  <a:lnTo>
                    <a:pt x="1682" y="1269"/>
                  </a:lnTo>
                  <a:lnTo>
                    <a:pt x="1653" y="1267"/>
                  </a:lnTo>
                  <a:lnTo>
                    <a:pt x="1646" y="1249"/>
                  </a:lnTo>
                  <a:lnTo>
                    <a:pt x="1458" y="1105"/>
                  </a:lnTo>
                  <a:lnTo>
                    <a:pt x="1411" y="1021"/>
                  </a:lnTo>
                  <a:lnTo>
                    <a:pt x="1401" y="977"/>
                  </a:lnTo>
                  <a:lnTo>
                    <a:pt x="1425" y="813"/>
                  </a:lnTo>
                  <a:lnTo>
                    <a:pt x="1456" y="793"/>
                  </a:lnTo>
                  <a:lnTo>
                    <a:pt x="1465" y="763"/>
                  </a:lnTo>
                  <a:lnTo>
                    <a:pt x="1454" y="731"/>
                  </a:lnTo>
                  <a:lnTo>
                    <a:pt x="1421" y="716"/>
                  </a:lnTo>
                  <a:lnTo>
                    <a:pt x="1417" y="645"/>
                  </a:lnTo>
                  <a:lnTo>
                    <a:pt x="1428" y="613"/>
                  </a:lnTo>
                  <a:lnTo>
                    <a:pt x="1482" y="579"/>
                  </a:lnTo>
                  <a:lnTo>
                    <a:pt x="1499" y="580"/>
                  </a:lnTo>
                  <a:lnTo>
                    <a:pt x="1504" y="588"/>
                  </a:lnTo>
                  <a:lnTo>
                    <a:pt x="1685" y="518"/>
                  </a:lnTo>
                  <a:lnTo>
                    <a:pt x="1727" y="533"/>
                  </a:lnTo>
                  <a:lnTo>
                    <a:pt x="1769" y="515"/>
                  </a:lnTo>
                  <a:lnTo>
                    <a:pt x="1802" y="524"/>
                  </a:lnTo>
                  <a:lnTo>
                    <a:pt x="1803" y="551"/>
                  </a:lnTo>
                  <a:lnTo>
                    <a:pt x="1783" y="583"/>
                  </a:lnTo>
                  <a:lnTo>
                    <a:pt x="1783" y="591"/>
                  </a:lnTo>
                  <a:lnTo>
                    <a:pt x="1805" y="599"/>
                  </a:lnTo>
                  <a:lnTo>
                    <a:pt x="1830" y="595"/>
                  </a:lnTo>
                  <a:lnTo>
                    <a:pt x="1848" y="582"/>
                  </a:lnTo>
                  <a:lnTo>
                    <a:pt x="1855" y="563"/>
                  </a:lnTo>
                  <a:lnTo>
                    <a:pt x="1846" y="543"/>
                  </a:lnTo>
                  <a:lnTo>
                    <a:pt x="1830" y="534"/>
                  </a:lnTo>
                  <a:lnTo>
                    <a:pt x="1820" y="510"/>
                  </a:lnTo>
                  <a:lnTo>
                    <a:pt x="1785" y="491"/>
                  </a:lnTo>
                  <a:lnTo>
                    <a:pt x="1776" y="479"/>
                  </a:lnTo>
                  <a:lnTo>
                    <a:pt x="1778" y="443"/>
                  </a:lnTo>
                  <a:lnTo>
                    <a:pt x="1758" y="413"/>
                  </a:lnTo>
                  <a:lnTo>
                    <a:pt x="1781" y="345"/>
                  </a:lnTo>
                  <a:lnTo>
                    <a:pt x="1755" y="349"/>
                  </a:lnTo>
                  <a:lnTo>
                    <a:pt x="1745" y="339"/>
                  </a:lnTo>
                  <a:lnTo>
                    <a:pt x="1747" y="318"/>
                  </a:lnTo>
                  <a:lnTo>
                    <a:pt x="1764" y="286"/>
                  </a:lnTo>
                  <a:lnTo>
                    <a:pt x="1814" y="246"/>
                  </a:lnTo>
                  <a:lnTo>
                    <a:pt x="1578" y="183"/>
                  </a:lnTo>
                  <a:lnTo>
                    <a:pt x="1538" y="149"/>
                  </a:lnTo>
                  <a:lnTo>
                    <a:pt x="1519" y="143"/>
                  </a:lnTo>
                  <a:lnTo>
                    <a:pt x="1468" y="103"/>
                  </a:lnTo>
                  <a:lnTo>
                    <a:pt x="1451" y="31"/>
                  </a:lnTo>
                  <a:lnTo>
                    <a:pt x="1453" y="9"/>
                  </a:lnTo>
                  <a:lnTo>
                    <a:pt x="1443" y="0"/>
                  </a:lnTo>
                  <a:lnTo>
                    <a:pt x="1414" y="2"/>
                  </a:lnTo>
                  <a:lnTo>
                    <a:pt x="1391" y="16"/>
                  </a:lnTo>
                  <a:lnTo>
                    <a:pt x="1076" y="55"/>
                  </a:lnTo>
                  <a:lnTo>
                    <a:pt x="1022" y="30"/>
                  </a:lnTo>
                  <a:close/>
                </a:path>
              </a:pathLst>
            </a:custGeom>
            <a:solidFill>
              <a:srgbClr val="7359A0"/>
            </a:solidFill>
            <a:ln w="12700">
              <a:solidFill>
                <a:sysClr val="window" lastClr="FFFFFF"/>
              </a:solidFill>
              <a:round/>
              <a:headEnd/>
              <a:tailEn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1" u="none" strike="noStrike" kern="0" cap="none" spc="0" normalizeH="0" baseline="0" noProof="0" dirty="0">
                <a:ln>
                  <a:noFill/>
                </a:ln>
                <a:solidFill>
                  <a:prstClr val="black"/>
                </a:solidFill>
                <a:effectLst/>
                <a:uLnTx/>
                <a:uFillTx/>
                <a:latin typeface="Arial" panose="020B0604020202020204"/>
                <a:ea typeface="+mn-ea"/>
                <a:cs typeface="+mn-cs"/>
              </a:endParaRPr>
            </a:p>
          </p:txBody>
        </p:sp>
        <p:sp>
          <p:nvSpPr>
            <p:cNvPr id="525" name="Vrije vorm: vorm 7">
              <a:extLst>
                <a:ext uri="{FF2B5EF4-FFF2-40B4-BE49-F238E27FC236}">
                  <a16:creationId xmlns:a16="http://schemas.microsoft.com/office/drawing/2014/main" id="{A4F86B9F-BA4A-EDEC-3FFE-3FECC0398873}"/>
                </a:ext>
              </a:extLst>
            </p:cNvPr>
            <p:cNvSpPr/>
            <p:nvPr/>
          </p:nvSpPr>
          <p:spPr>
            <a:xfrm>
              <a:off x="8293939" y="4795735"/>
              <a:ext cx="552450" cy="408385"/>
            </a:xfrm>
            <a:custGeom>
              <a:avLst/>
              <a:gdLst>
                <a:gd name="connsiteX0" fmla="*/ 0 w 552450"/>
                <a:gd name="connsiteY0" fmla="*/ 52388 h 408385"/>
                <a:gd name="connsiteX1" fmla="*/ 38100 w 552450"/>
                <a:gd name="connsiteY1" fmla="*/ 4763 h 408385"/>
                <a:gd name="connsiteX2" fmla="*/ 60722 w 552450"/>
                <a:gd name="connsiteY2" fmla="*/ 0 h 408385"/>
                <a:gd name="connsiteX3" fmla="*/ 70247 w 552450"/>
                <a:gd name="connsiteY3" fmla="*/ 5953 h 408385"/>
                <a:gd name="connsiteX4" fmla="*/ 84534 w 552450"/>
                <a:gd name="connsiteY4" fmla="*/ 15478 h 408385"/>
                <a:gd name="connsiteX5" fmla="*/ 84534 w 552450"/>
                <a:gd name="connsiteY5" fmla="*/ 27385 h 408385"/>
                <a:gd name="connsiteX6" fmla="*/ 84534 w 552450"/>
                <a:gd name="connsiteY6" fmla="*/ 38100 h 408385"/>
                <a:gd name="connsiteX7" fmla="*/ 96441 w 552450"/>
                <a:gd name="connsiteY7" fmla="*/ 36910 h 408385"/>
                <a:gd name="connsiteX8" fmla="*/ 111919 w 552450"/>
                <a:gd name="connsiteY8" fmla="*/ 32147 h 408385"/>
                <a:gd name="connsiteX9" fmla="*/ 126206 w 552450"/>
                <a:gd name="connsiteY9" fmla="*/ 45244 h 408385"/>
                <a:gd name="connsiteX10" fmla="*/ 130969 w 552450"/>
                <a:gd name="connsiteY10" fmla="*/ 57150 h 408385"/>
                <a:gd name="connsiteX11" fmla="*/ 152400 w 552450"/>
                <a:gd name="connsiteY11" fmla="*/ 48816 h 408385"/>
                <a:gd name="connsiteX12" fmla="*/ 171450 w 552450"/>
                <a:gd name="connsiteY12" fmla="*/ 61913 h 408385"/>
                <a:gd name="connsiteX13" fmla="*/ 202406 w 552450"/>
                <a:gd name="connsiteY13" fmla="*/ 64294 h 408385"/>
                <a:gd name="connsiteX14" fmla="*/ 220266 w 552450"/>
                <a:gd name="connsiteY14" fmla="*/ 50007 h 408385"/>
                <a:gd name="connsiteX15" fmla="*/ 227409 w 552450"/>
                <a:gd name="connsiteY15" fmla="*/ 36910 h 408385"/>
                <a:gd name="connsiteX16" fmla="*/ 240506 w 552450"/>
                <a:gd name="connsiteY16" fmla="*/ 36910 h 408385"/>
                <a:gd name="connsiteX17" fmla="*/ 251222 w 552450"/>
                <a:gd name="connsiteY17" fmla="*/ 44053 h 408385"/>
                <a:gd name="connsiteX18" fmla="*/ 260747 w 552450"/>
                <a:gd name="connsiteY18" fmla="*/ 54769 h 408385"/>
                <a:gd name="connsiteX19" fmla="*/ 270272 w 552450"/>
                <a:gd name="connsiteY19" fmla="*/ 54769 h 408385"/>
                <a:gd name="connsiteX20" fmla="*/ 288131 w 552450"/>
                <a:gd name="connsiteY20" fmla="*/ 46435 h 408385"/>
                <a:gd name="connsiteX21" fmla="*/ 297656 w 552450"/>
                <a:gd name="connsiteY21" fmla="*/ 53578 h 408385"/>
                <a:gd name="connsiteX22" fmla="*/ 301228 w 552450"/>
                <a:gd name="connsiteY22" fmla="*/ 72628 h 408385"/>
                <a:gd name="connsiteX23" fmla="*/ 294084 w 552450"/>
                <a:gd name="connsiteY23" fmla="*/ 84535 h 408385"/>
                <a:gd name="connsiteX24" fmla="*/ 294084 w 552450"/>
                <a:gd name="connsiteY24" fmla="*/ 91678 h 408385"/>
                <a:gd name="connsiteX25" fmla="*/ 294084 w 552450"/>
                <a:gd name="connsiteY25" fmla="*/ 100013 h 408385"/>
                <a:gd name="connsiteX26" fmla="*/ 307181 w 552450"/>
                <a:gd name="connsiteY26" fmla="*/ 110728 h 408385"/>
                <a:gd name="connsiteX27" fmla="*/ 320278 w 552450"/>
                <a:gd name="connsiteY27" fmla="*/ 100013 h 408385"/>
                <a:gd name="connsiteX28" fmla="*/ 339328 w 552450"/>
                <a:gd name="connsiteY28" fmla="*/ 89297 h 408385"/>
                <a:gd name="connsiteX29" fmla="*/ 352425 w 552450"/>
                <a:gd name="connsiteY29" fmla="*/ 85725 h 408385"/>
                <a:gd name="connsiteX30" fmla="*/ 365522 w 552450"/>
                <a:gd name="connsiteY30" fmla="*/ 89297 h 408385"/>
                <a:gd name="connsiteX31" fmla="*/ 372666 w 552450"/>
                <a:gd name="connsiteY31" fmla="*/ 98822 h 408385"/>
                <a:gd name="connsiteX32" fmla="*/ 382191 w 552450"/>
                <a:gd name="connsiteY32" fmla="*/ 86916 h 408385"/>
                <a:gd name="connsiteX33" fmla="*/ 397669 w 552450"/>
                <a:gd name="connsiteY33" fmla="*/ 83344 h 408385"/>
                <a:gd name="connsiteX34" fmla="*/ 423863 w 552450"/>
                <a:gd name="connsiteY34" fmla="*/ 97632 h 408385"/>
                <a:gd name="connsiteX35" fmla="*/ 440531 w 552450"/>
                <a:gd name="connsiteY35" fmla="*/ 115491 h 408385"/>
                <a:gd name="connsiteX36" fmla="*/ 459581 w 552450"/>
                <a:gd name="connsiteY36" fmla="*/ 132160 h 408385"/>
                <a:gd name="connsiteX37" fmla="*/ 483394 w 552450"/>
                <a:gd name="connsiteY37" fmla="*/ 147638 h 408385"/>
                <a:gd name="connsiteX38" fmla="*/ 503634 w 552450"/>
                <a:gd name="connsiteY38" fmla="*/ 144066 h 408385"/>
                <a:gd name="connsiteX39" fmla="*/ 513159 w 552450"/>
                <a:gd name="connsiteY39" fmla="*/ 160735 h 408385"/>
                <a:gd name="connsiteX40" fmla="*/ 525066 w 552450"/>
                <a:gd name="connsiteY40" fmla="*/ 190500 h 408385"/>
                <a:gd name="connsiteX41" fmla="*/ 539353 w 552450"/>
                <a:gd name="connsiteY41" fmla="*/ 207169 h 408385"/>
                <a:gd name="connsiteX42" fmla="*/ 545306 w 552450"/>
                <a:gd name="connsiteY42" fmla="*/ 230982 h 408385"/>
                <a:gd name="connsiteX43" fmla="*/ 552450 w 552450"/>
                <a:gd name="connsiteY43" fmla="*/ 255985 h 408385"/>
                <a:gd name="connsiteX44" fmla="*/ 552450 w 552450"/>
                <a:gd name="connsiteY44" fmla="*/ 283369 h 408385"/>
                <a:gd name="connsiteX45" fmla="*/ 531019 w 552450"/>
                <a:gd name="connsiteY45" fmla="*/ 283369 h 408385"/>
                <a:gd name="connsiteX46" fmla="*/ 515541 w 552450"/>
                <a:gd name="connsiteY46" fmla="*/ 300038 h 408385"/>
                <a:gd name="connsiteX47" fmla="*/ 510778 w 552450"/>
                <a:gd name="connsiteY47" fmla="*/ 309563 h 408385"/>
                <a:gd name="connsiteX48" fmla="*/ 490538 w 552450"/>
                <a:gd name="connsiteY48" fmla="*/ 286941 h 408385"/>
                <a:gd name="connsiteX49" fmla="*/ 457200 w 552450"/>
                <a:gd name="connsiteY49" fmla="*/ 285750 h 408385"/>
                <a:gd name="connsiteX50" fmla="*/ 457200 w 552450"/>
                <a:gd name="connsiteY50" fmla="*/ 257175 h 408385"/>
                <a:gd name="connsiteX51" fmla="*/ 444103 w 552450"/>
                <a:gd name="connsiteY51" fmla="*/ 241697 h 408385"/>
                <a:gd name="connsiteX52" fmla="*/ 434578 w 552450"/>
                <a:gd name="connsiteY52" fmla="*/ 214313 h 408385"/>
                <a:gd name="connsiteX53" fmla="*/ 432197 w 552450"/>
                <a:gd name="connsiteY53" fmla="*/ 192882 h 408385"/>
                <a:gd name="connsiteX54" fmla="*/ 398859 w 552450"/>
                <a:gd name="connsiteY54" fmla="*/ 190500 h 408385"/>
                <a:gd name="connsiteX55" fmla="*/ 377428 w 552450"/>
                <a:gd name="connsiteY55" fmla="*/ 185738 h 408385"/>
                <a:gd name="connsiteX56" fmla="*/ 366713 w 552450"/>
                <a:gd name="connsiteY56" fmla="*/ 165497 h 408385"/>
                <a:gd name="connsiteX57" fmla="*/ 346472 w 552450"/>
                <a:gd name="connsiteY57" fmla="*/ 180975 h 408385"/>
                <a:gd name="connsiteX58" fmla="*/ 327422 w 552450"/>
                <a:gd name="connsiteY58" fmla="*/ 209550 h 408385"/>
                <a:gd name="connsiteX59" fmla="*/ 325041 w 552450"/>
                <a:gd name="connsiteY59" fmla="*/ 232172 h 408385"/>
                <a:gd name="connsiteX60" fmla="*/ 334566 w 552450"/>
                <a:gd name="connsiteY60" fmla="*/ 234553 h 408385"/>
                <a:gd name="connsiteX61" fmla="*/ 320278 w 552450"/>
                <a:gd name="connsiteY61" fmla="*/ 245269 h 408385"/>
                <a:gd name="connsiteX62" fmla="*/ 316706 w 552450"/>
                <a:gd name="connsiteY62" fmla="*/ 260747 h 408385"/>
                <a:gd name="connsiteX63" fmla="*/ 316706 w 552450"/>
                <a:gd name="connsiteY63" fmla="*/ 279797 h 408385"/>
                <a:gd name="connsiteX64" fmla="*/ 316706 w 552450"/>
                <a:gd name="connsiteY64" fmla="*/ 297657 h 408385"/>
                <a:gd name="connsiteX65" fmla="*/ 316706 w 552450"/>
                <a:gd name="connsiteY65" fmla="*/ 303610 h 408385"/>
                <a:gd name="connsiteX66" fmla="*/ 303609 w 552450"/>
                <a:gd name="connsiteY66" fmla="*/ 311944 h 408385"/>
                <a:gd name="connsiteX67" fmla="*/ 303609 w 552450"/>
                <a:gd name="connsiteY67" fmla="*/ 327422 h 408385"/>
                <a:gd name="connsiteX68" fmla="*/ 297656 w 552450"/>
                <a:gd name="connsiteY68" fmla="*/ 339328 h 408385"/>
                <a:gd name="connsiteX69" fmla="*/ 290513 w 552450"/>
                <a:gd name="connsiteY69" fmla="*/ 358378 h 408385"/>
                <a:gd name="connsiteX70" fmla="*/ 270272 w 552450"/>
                <a:gd name="connsiteY70" fmla="*/ 370285 h 408385"/>
                <a:gd name="connsiteX71" fmla="*/ 270272 w 552450"/>
                <a:gd name="connsiteY71" fmla="*/ 397669 h 408385"/>
                <a:gd name="connsiteX72" fmla="*/ 267891 w 552450"/>
                <a:gd name="connsiteY72" fmla="*/ 403622 h 408385"/>
                <a:gd name="connsiteX73" fmla="*/ 257175 w 552450"/>
                <a:gd name="connsiteY73" fmla="*/ 404813 h 408385"/>
                <a:gd name="connsiteX74" fmla="*/ 252413 w 552450"/>
                <a:gd name="connsiteY74" fmla="*/ 404813 h 408385"/>
                <a:gd name="connsiteX75" fmla="*/ 245269 w 552450"/>
                <a:gd name="connsiteY75" fmla="*/ 395288 h 408385"/>
                <a:gd name="connsiteX76" fmla="*/ 234553 w 552450"/>
                <a:gd name="connsiteY76" fmla="*/ 404813 h 408385"/>
                <a:gd name="connsiteX77" fmla="*/ 226219 w 552450"/>
                <a:gd name="connsiteY77" fmla="*/ 408385 h 408385"/>
                <a:gd name="connsiteX78" fmla="*/ 201216 w 552450"/>
                <a:gd name="connsiteY78" fmla="*/ 400050 h 408385"/>
                <a:gd name="connsiteX79" fmla="*/ 191691 w 552450"/>
                <a:gd name="connsiteY79" fmla="*/ 382191 h 408385"/>
                <a:gd name="connsiteX80" fmla="*/ 202406 w 552450"/>
                <a:gd name="connsiteY80" fmla="*/ 367903 h 408385"/>
                <a:gd name="connsiteX81" fmla="*/ 210741 w 552450"/>
                <a:gd name="connsiteY81" fmla="*/ 357188 h 408385"/>
                <a:gd name="connsiteX82" fmla="*/ 198834 w 552450"/>
                <a:gd name="connsiteY82" fmla="*/ 347663 h 408385"/>
                <a:gd name="connsiteX83" fmla="*/ 180975 w 552450"/>
                <a:gd name="connsiteY83" fmla="*/ 342900 h 408385"/>
                <a:gd name="connsiteX84" fmla="*/ 180975 w 552450"/>
                <a:gd name="connsiteY84" fmla="*/ 342900 h 408385"/>
                <a:gd name="connsiteX85" fmla="*/ 172641 w 552450"/>
                <a:gd name="connsiteY85" fmla="*/ 334566 h 408385"/>
                <a:gd name="connsiteX86" fmla="*/ 163116 w 552450"/>
                <a:gd name="connsiteY86" fmla="*/ 326232 h 408385"/>
                <a:gd name="connsiteX87" fmla="*/ 147638 w 552450"/>
                <a:gd name="connsiteY87" fmla="*/ 314325 h 408385"/>
                <a:gd name="connsiteX88" fmla="*/ 141684 w 552450"/>
                <a:gd name="connsiteY88" fmla="*/ 303610 h 408385"/>
                <a:gd name="connsiteX89" fmla="*/ 128588 w 552450"/>
                <a:gd name="connsiteY89" fmla="*/ 303610 h 408385"/>
                <a:gd name="connsiteX90" fmla="*/ 127397 w 552450"/>
                <a:gd name="connsiteY90" fmla="*/ 286941 h 408385"/>
                <a:gd name="connsiteX91" fmla="*/ 119063 w 552450"/>
                <a:gd name="connsiteY91" fmla="*/ 239316 h 408385"/>
                <a:gd name="connsiteX92" fmla="*/ 119063 w 552450"/>
                <a:gd name="connsiteY92" fmla="*/ 229791 h 408385"/>
                <a:gd name="connsiteX93" fmla="*/ 88106 w 552450"/>
                <a:gd name="connsiteY93" fmla="*/ 214313 h 408385"/>
                <a:gd name="connsiteX94" fmla="*/ 89297 w 552450"/>
                <a:gd name="connsiteY94" fmla="*/ 190500 h 408385"/>
                <a:gd name="connsiteX95" fmla="*/ 92869 w 552450"/>
                <a:gd name="connsiteY95" fmla="*/ 169069 h 408385"/>
                <a:gd name="connsiteX96" fmla="*/ 90488 w 552450"/>
                <a:gd name="connsiteY96" fmla="*/ 150019 h 408385"/>
                <a:gd name="connsiteX97" fmla="*/ 83344 w 552450"/>
                <a:gd name="connsiteY97" fmla="*/ 139303 h 408385"/>
                <a:gd name="connsiteX98" fmla="*/ 70247 w 552450"/>
                <a:gd name="connsiteY98" fmla="*/ 127397 h 408385"/>
                <a:gd name="connsiteX99" fmla="*/ 66675 w 552450"/>
                <a:gd name="connsiteY99" fmla="*/ 122635 h 408385"/>
                <a:gd name="connsiteX100" fmla="*/ 60722 w 552450"/>
                <a:gd name="connsiteY100" fmla="*/ 120253 h 408385"/>
                <a:gd name="connsiteX101" fmla="*/ 47625 w 552450"/>
                <a:gd name="connsiteY101" fmla="*/ 113110 h 408385"/>
                <a:gd name="connsiteX102" fmla="*/ 47625 w 552450"/>
                <a:gd name="connsiteY102" fmla="*/ 95250 h 408385"/>
                <a:gd name="connsiteX103" fmla="*/ 46434 w 552450"/>
                <a:gd name="connsiteY103" fmla="*/ 91678 h 408385"/>
                <a:gd name="connsiteX104" fmla="*/ 0 w 552450"/>
                <a:gd name="connsiteY104" fmla="*/ 52388 h 408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552450" h="408385">
                  <a:moveTo>
                    <a:pt x="0" y="52388"/>
                  </a:moveTo>
                  <a:lnTo>
                    <a:pt x="38100" y="4763"/>
                  </a:lnTo>
                  <a:lnTo>
                    <a:pt x="60722" y="0"/>
                  </a:lnTo>
                  <a:lnTo>
                    <a:pt x="70247" y="5953"/>
                  </a:lnTo>
                  <a:lnTo>
                    <a:pt x="84534" y="15478"/>
                  </a:lnTo>
                  <a:lnTo>
                    <a:pt x="84534" y="27385"/>
                  </a:lnTo>
                  <a:lnTo>
                    <a:pt x="84534" y="38100"/>
                  </a:lnTo>
                  <a:lnTo>
                    <a:pt x="96441" y="36910"/>
                  </a:lnTo>
                  <a:lnTo>
                    <a:pt x="111919" y="32147"/>
                  </a:lnTo>
                  <a:lnTo>
                    <a:pt x="126206" y="45244"/>
                  </a:lnTo>
                  <a:lnTo>
                    <a:pt x="130969" y="57150"/>
                  </a:lnTo>
                  <a:lnTo>
                    <a:pt x="152400" y="48816"/>
                  </a:lnTo>
                  <a:lnTo>
                    <a:pt x="171450" y="61913"/>
                  </a:lnTo>
                  <a:lnTo>
                    <a:pt x="202406" y="64294"/>
                  </a:lnTo>
                  <a:lnTo>
                    <a:pt x="220266" y="50007"/>
                  </a:lnTo>
                  <a:lnTo>
                    <a:pt x="227409" y="36910"/>
                  </a:lnTo>
                  <a:lnTo>
                    <a:pt x="240506" y="36910"/>
                  </a:lnTo>
                  <a:lnTo>
                    <a:pt x="251222" y="44053"/>
                  </a:lnTo>
                  <a:lnTo>
                    <a:pt x="260747" y="54769"/>
                  </a:lnTo>
                  <a:lnTo>
                    <a:pt x="270272" y="54769"/>
                  </a:lnTo>
                  <a:lnTo>
                    <a:pt x="288131" y="46435"/>
                  </a:lnTo>
                  <a:lnTo>
                    <a:pt x="297656" y="53578"/>
                  </a:lnTo>
                  <a:lnTo>
                    <a:pt x="301228" y="72628"/>
                  </a:lnTo>
                  <a:lnTo>
                    <a:pt x="294084" y="84535"/>
                  </a:lnTo>
                  <a:lnTo>
                    <a:pt x="294084" y="91678"/>
                  </a:lnTo>
                  <a:lnTo>
                    <a:pt x="294084" y="100013"/>
                  </a:lnTo>
                  <a:lnTo>
                    <a:pt x="307181" y="110728"/>
                  </a:lnTo>
                  <a:lnTo>
                    <a:pt x="320278" y="100013"/>
                  </a:lnTo>
                  <a:lnTo>
                    <a:pt x="339328" y="89297"/>
                  </a:lnTo>
                  <a:lnTo>
                    <a:pt x="352425" y="85725"/>
                  </a:lnTo>
                  <a:lnTo>
                    <a:pt x="365522" y="89297"/>
                  </a:lnTo>
                  <a:lnTo>
                    <a:pt x="372666" y="98822"/>
                  </a:lnTo>
                  <a:lnTo>
                    <a:pt x="382191" y="86916"/>
                  </a:lnTo>
                  <a:lnTo>
                    <a:pt x="397669" y="83344"/>
                  </a:lnTo>
                  <a:lnTo>
                    <a:pt x="423863" y="97632"/>
                  </a:lnTo>
                  <a:lnTo>
                    <a:pt x="440531" y="115491"/>
                  </a:lnTo>
                  <a:lnTo>
                    <a:pt x="459581" y="132160"/>
                  </a:lnTo>
                  <a:lnTo>
                    <a:pt x="483394" y="147638"/>
                  </a:lnTo>
                  <a:lnTo>
                    <a:pt x="503634" y="144066"/>
                  </a:lnTo>
                  <a:lnTo>
                    <a:pt x="513159" y="160735"/>
                  </a:lnTo>
                  <a:lnTo>
                    <a:pt x="525066" y="190500"/>
                  </a:lnTo>
                  <a:lnTo>
                    <a:pt x="539353" y="207169"/>
                  </a:lnTo>
                  <a:lnTo>
                    <a:pt x="545306" y="230982"/>
                  </a:lnTo>
                  <a:lnTo>
                    <a:pt x="552450" y="255985"/>
                  </a:lnTo>
                  <a:lnTo>
                    <a:pt x="552450" y="283369"/>
                  </a:lnTo>
                  <a:lnTo>
                    <a:pt x="531019" y="283369"/>
                  </a:lnTo>
                  <a:lnTo>
                    <a:pt x="515541" y="300038"/>
                  </a:lnTo>
                  <a:lnTo>
                    <a:pt x="510778" y="309563"/>
                  </a:lnTo>
                  <a:lnTo>
                    <a:pt x="490538" y="286941"/>
                  </a:lnTo>
                  <a:lnTo>
                    <a:pt x="457200" y="285750"/>
                  </a:lnTo>
                  <a:lnTo>
                    <a:pt x="457200" y="257175"/>
                  </a:lnTo>
                  <a:lnTo>
                    <a:pt x="444103" y="241697"/>
                  </a:lnTo>
                  <a:lnTo>
                    <a:pt x="434578" y="214313"/>
                  </a:lnTo>
                  <a:lnTo>
                    <a:pt x="432197" y="192882"/>
                  </a:lnTo>
                  <a:lnTo>
                    <a:pt x="398859" y="190500"/>
                  </a:lnTo>
                  <a:lnTo>
                    <a:pt x="377428" y="185738"/>
                  </a:lnTo>
                  <a:lnTo>
                    <a:pt x="366713" y="165497"/>
                  </a:lnTo>
                  <a:lnTo>
                    <a:pt x="346472" y="180975"/>
                  </a:lnTo>
                  <a:lnTo>
                    <a:pt x="327422" y="209550"/>
                  </a:lnTo>
                  <a:lnTo>
                    <a:pt x="325041" y="232172"/>
                  </a:lnTo>
                  <a:lnTo>
                    <a:pt x="334566" y="234553"/>
                  </a:lnTo>
                  <a:lnTo>
                    <a:pt x="320278" y="245269"/>
                  </a:lnTo>
                  <a:lnTo>
                    <a:pt x="316706" y="260747"/>
                  </a:lnTo>
                  <a:lnTo>
                    <a:pt x="316706" y="279797"/>
                  </a:lnTo>
                  <a:lnTo>
                    <a:pt x="316706" y="297657"/>
                  </a:lnTo>
                  <a:lnTo>
                    <a:pt x="316706" y="303610"/>
                  </a:lnTo>
                  <a:lnTo>
                    <a:pt x="303609" y="311944"/>
                  </a:lnTo>
                  <a:lnTo>
                    <a:pt x="303609" y="327422"/>
                  </a:lnTo>
                  <a:lnTo>
                    <a:pt x="297656" y="339328"/>
                  </a:lnTo>
                  <a:lnTo>
                    <a:pt x="290513" y="358378"/>
                  </a:lnTo>
                  <a:lnTo>
                    <a:pt x="270272" y="370285"/>
                  </a:lnTo>
                  <a:lnTo>
                    <a:pt x="270272" y="397669"/>
                  </a:lnTo>
                  <a:lnTo>
                    <a:pt x="267891" y="403622"/>
                  </a:lnTo>
                  <a:lnTo>
                    <a:pt x="257175" y="404813"/>
                  </a:lnTo>
                  <a:lnTo>
                    <a:pt x="252413" y="404813"/>
                  </a:lnTo>
                  <a:lnTo>
                    <a:pt x="245269" y="395288"/>
                  </a:lnTo>
                  <a:lnTo>
                    <a:pt x="234553" y="404813"/>
                  </a:lnTo>
                  <a:lnTo>
                    <a:pt x="226219" y="408385"/>
                  </a:lnTo>
                  <a:lnTo>
                    <a:pt x="201216" y="400050"/>
                  </a:lnTo>
                  <a:lnTo>
                    <a:pt x="191691" y="382191"/>
                  </a:lnTo>
                  <a:lnTo>
                    <a:pt x="202406" y="367903"/>
                  </a:lnTo>
                  <a:lnTo>
                    <a:pt x="210741" y="357188"/>
                  </a:lnTo>
                  <a:lnTo>
                    <a:pt x="198834" y="347663"/>
                  </a:lnTo>
                  <a:lnTo>
                    <a:pt x="180975" y="342900"/>
                  </a:lnTo>
                  <a:lnTo>
                    <a:pt x="180975" y="342900"/>
                  </a:lnTo>
                  <a:lnTo>
                    <a:pt x="172641" y="334566"/>
                  </a:lnTo>
                  <a:lnTo>
                    <a:pt x="163116" y="326232"/>
                  </a:lnTo>
                  <a:lnTo>
                    <a:pt x="147638" y="314325"/>
                  </a:lnTo>
                  <a:lnTo>
                    <a:pt x="141684" y="303610"/>
                  </a:lnTo>
                  <a:lnTo>
                    <a:pt x="128588" y="303610"/>
                  </a:lnTo>
                  <a:lnTo>
                    <a:pt x="127397" y="286941"/>
                  </a:lnTo>
                  <a:lnTo>
                    <a:pt x="119063" y="239316"/>
                  </a:lnTo>
                  <a:lnTo>
                    <a:pt x="119063" y="229791"/>
                  </a:lnTo>
                  <a:lnTo>
                    <a:pt x="88106" y="214313"/>
                  </a:lnTo>
                  <a:lnTo>
                    <a:pt x="89297" y="190500"/>
                  </a:lnTo>
                  <a:lnTo>
                    <a:pt x="92869" y="169069"/>
                  </a:lnTo>
                  <a:lnTo>
                    <a:pt x="90488" y="150019"/>
                  </a:lnTo>
                  <a:lnTo>
                    <a:pt x="83344" y="139303"/>
                  </a:lnTo>
                  <a:lnTo>
                    <a:pt x="70247" y="127397"/>
                  </a:lnTo>
                  <a:lnTo>
                    <a:pt x="66675" y="122635"/>
                  </a:lnTo>
                  <a:lnTo>
                    <a:pt x="60722" y="120253"/>
                  </a:lnTo>
                  <a:lnTo>
                    <a:pt x="47625" y="113110"/>
                  </a:lnTo>
                  <a:lnTo>
                    <a:pt x="47625" y="95250"/>
                  </a:lnTo>
                  <a:lnTo>
                    <a:pt x="46434" y="91678"/>
                  </a:lnTo>
                  <a:lnTo>
                    <a:pt x="0" y="52388"/>
                  </a:lnTo>
                  <a:close/>
                </a:path>
              </a:pathLst>
            </a:custGeom>
            <a:solidFill>
              <a:srgbClr val="7359A0"/>
            </a:solidFill>
            <a:ln w="12700" cap="flat" cmpd="sng" algn="ctr">
              <a:solidFill>
                <a:sysClr val="window" lastClr="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526" name="Vrije vorm: vorm 9">
              <a:extLst>
                <a:ext uri="{FF2B5EF4-FFF2-40B4-BE49-F238E27FC236}">
                  <a16:creationId xmlns:a16="http://schemas.microsoft.com/office/drawing/2014/main" id="{DBEA07FE-0FBE-0BEA-401B-67567FA3F2C7}"/>
                </a:ext>
              </a:extLst>
            </p:cNvPr>
            <p:cNvSpPr/>
            <p:nvPr/>
          </p:nvSpPr>
          <p:spPr>
            <a:xfrm>
              <a:off x="8565170" y="4965273"/>
              <a:ext cx="527447" cy="577453"/>
            </a:xfrm>
            <a:custGeom>
              <a:avLst/>
              <a:gdLst>
                <a:gd name="connsiteX0" fmla="*/ 0 w 527447"/>
                <a:gd name="connsiteY0" fmla="*/ 221456 h 577453"/>
                <a:gd name="connsiteX1" fmla="*/ 39291 w 527447"/>
                <a:gd name="connsiteY1" fmla="*/ 140493 h 577453"/>
                <a:gd name="connsiteX2" fmla="*/ 47625 w 527447"/>
                <a:gd name="connsiteY2" fmla="*/ 127397 h 577453"/>
                <a:gd name="connsiteX3" fmla="*/ 51197 w 527447"/>
                <a:gd name="connsiteY3" fmla="*/ 97631 h 577453"/>
                <a:gd name="connsiteX4" fmla="*/ 51197 w 527447"/>
                <a:gd name="connsiteY4" fmla="*/ 71437 h 577453"/>
                <a:gd name="connsiteX5" fmla="*/ 65485 w 527447"/>
                <a:gd name="connsiteY5" fmla="*/ 63103 h 577453"/>
                <a:gd name="connsiteX6" fmla="*/ 59531 w 527447"/>
                <a:gd name="connsiteY6" fmla="*/ 51197 h 577453"/>
                <a:gd name="connsiteX7" fmla="*/ 63103 w 527447"/>
                <a:gd name="connsiteY7" fmla="*/ 28575 h 577453"/>
                <a:gd name="connsiteX8" fmla="*/ 82153 w 527447"/>
                <a:gd name="connsiteY8" fmla="*/ 5953 h 577453"/>
                <a:gd name="connsiteX9" fmla="*/ 96441 w 527447"/>
                <a:gd name="connsiteY9" fmla="*/ 0 h 577453"/>
                <a:gd name="connsiteX10" fmla="*/ 101203 w 527447"/>
                <a:gd name="connsiteY10" fmla="*/ 0 h 577453"/>
                <a:gd name="connsiteX11" fmla="*/ 117872 w 527447"/>
                <a:gd name="connsiteY11" fmla="*/ 11906 h 577453"/>
                <a:gd name="connsiteX12" fmla="*/ 158353 w 527447"/>
                <a:gd name="connsiteY12" fmla="*/ 16668 h 577453"/>
                <a:gd name="connsiteX13" fmla="*/ 158353 w 527447"/>
                <a:gd name="connsiteY13" fmla="*/ 16668 h 577453"/>
                <a:gd name="connsiteX14" fmla="*/ 163116 w 527447"/>
                <a:gd name="connsiteY14" fmla="*/ 46434 h 577453"/>
                <a:gd name="connsiteX15" fmla="*/ 169069 w 527447"/>
                <a:gd name="connsiteY15" fmla="*/ 64293 h 577453"/>
                <a:gd name="connsiteX16" fmla="*/ 188119 w 527447"/>
                <a:gd name="connsiteY16" fmla="*/ 79772 h 577453"/>
                <a:gd name="connsiteX17" fmla="*/ 188119 w 527447"/>
                <a:gd name="connsiteY17" fmla="*/ 105965 h 577453"/>
                <a:gd name="connsiteX18" fmla="*/ 216694 w 527447"/>
                <a:gd name="connsiteY18" fmla="*/ 109537 h 577453"/>
                <a:gd name="connsiteX19" fmla="*/ 238125 w 527447"/>
                <a:gd name="connsiteY19" fmla="*/ 127397 h 577453"/>
                <a:gd name="connsiteX20" fmla="*/ 241697 w 527447"/>
                <a:gd name="connsiteY20" fmla="*/ 134540 h 577453"/>
                <a:gd name="connsiteX21" fmla="*/ 255985 w 527447"/>
                <a:gd name="connsiteY21" fmla="*/ 115490 h 577453"/>
                <a:gd name="connsiteX22" fmla="*/ 277416 w 527447"/>
                <a:gd name="connsiteY22" fmla="*/ 108347 h 577453"/>
                <a:gd name="connsiteX23" fmla="*/ 296466 w 527447"/>
                <a:gd name="connsiteY23" fmla="*/ 100012 h 577453"/>
                <a:gd name="connsiteX24" fmla="*/ 310753 w 527447"/>
                <a:gd name="connsiteY24" fmla="*/ 132159 h 577453"/>
                <a:gd name="connsiteX25" fmla="*/ 402431 w 527447"/>
                <a:gd name="connsiteY25" fmla="*/ 217884 h 577453"/>
                <a:gd name="connsiteX26" fmla="*/ 391716 w 527447"/>
                <a:gd name="connsiteY26" fmla="*/ 232172 h 577453"/>
                <a:gd name="connsiteX27" fmla="*/ 376238 w 527447"/>
                <a:gd name="connsiteY27" fmla="*/ 253603 h 577453"/>
                <a:gd name="connsiteX28" fmla="*/ 360760 w 527447"/>
                <a:gd name="connsiteY28" fmla="*/ 253603 h 577453"/>
                <a:gd name="connsiteX29" fmla="*/ 341710 w 527447"/>
                <a:gd name="connsiteY29" fmla="*/ 255984 h 577453"/>
                <a:gd name="connsiteX30" fmla="*/ 335756 w 527447"/>
                <a:gd name="connsiteY30" fmla="*/ 264318 h 577453"/>
                <a:gd name="connsiteX31" fmla="*/ 325041 w 527447"/>
                <a:gd name="connsiteY31" fmla="*/ 275034 h 577453"/>
                <a:gd name="connsiteX32" fmla="*/ 323850 w 527447"/>
                <a:gd name="connsiteY32" fmla="*/ 280987 h 577453"/>
                <a:gd name="connsiteX33" fmla="*/ 314325 w 527447"/>
                <a:gd name="connsiteY33" fmla="*/ 295275 h 577453"/>
                <a:gd name="connsiteX34" fmla="*/ 305991 w 527447"/>
                <a:gd name="connsiteY34" fmla="*/ 305990 h 577453"/>
                <a:gd name="connsiteX35" fmla="*/ 305991 w 527447"/>
                <a:gd name="connsiteY35" fmla="*/ 328612 h 577453"/>
                <a:gd name="connsiteX36" fmla="*/ 305991 w 527447"/>
                <a:gd name="connsiteY36" fmla="*/ 355997 h 577453"/>
                <a:gd name="connsiteX37" fmla="*/ 328613 w 527447"/>
                <a:gd name="connsiteY37" fmla="*/ 367903 h 577453"/>
                <a:gd name="connsiteX38" fmla="*/ 347663 w 527447"/>
                <a:gd name="connsiteY38" fmla="*/ 363140 h 577453"/>
                <a:gd name="connsiteX39" fmla="*/ 361950 w 527447"/>
                <a:gd name="connsiteY39" fmla="*/ 352425 h 577453"/>
                <a:gd name="connsiteX40" fmla="*/ 381000 w 527447"/>
                <a:gd name="connsiteY40" fmla="*/ 364331 h 577453"/>
                <a:gd name="connsiteX41" fmla="*/ 432197 w 527447"/>
                <a:gd name="connsiteY41" fmla="*/ 357187 h 577453"/>
                <a:gd name="connsiteX42" fmla="*/ 447675 w 527447"/>
                <a:gd name="connsiteY42" fmla="*/ 367903 h 577453"/>
                <a:gd name="connsiteX43" fmla="*/ 457200 w 527447"/>
                <a:gd name="connsiteY43" fmla="*/ 385762 h 577453"/>
                <a:gd name="connsiteX44" fmla="*/ 479822 w 527447"/>
                <a:gd name="connsiteY44" fmla="*/ 400050 h 577453"/>
                <a:gd name="connsiteX45" fmla="*/ 481013 w 527447"/>
                <a:gd name="connsiteY45" fmla="*/ 425053 h 577453"/>
                <a:gd name="connsiteX46" fmla="*/ 482203 w 527447"/>
                <a:gd name="connsiteY46" fmla="*/ 456009 h 577453"/>
                <a:gd name="connsiteX47" fmla="*/ 496491 w 527447"/>
                <a:gd name="connsiteY47" fmla="*/ 467915 h 577453"/>
                <a:gd name="connsiteX48" fmla="*/ 504825 w 527447"/>
                <a:gd name="connsiteY48" fmla="*/ 496490 h 577453"/>
                <a:gd name="connsiteX49" fmla="*/ 527447 w 527447"/>
                <a:gd name="connsiteY49" fmla="*/ 515540 h 577453"/>
                <a:gd name="connsiteX50" fmla="*/ 517922 w 527447"/>
                <a:gd name="connsiteY50" fmla="*/ 540543 h 577453"/>
                <a:gd name="connsiteX51" fmla="*/ 519113 w 527447"/>
                <a:gd name="connsiteY51" fmla="*/ 565547 h 577453"/>
                <a:gd name="connsiteX52" fmla="*/ 504825 w 527447"/>
                <a:gd name="connsiteY52" fmla="*/ 575072 h 577453"/>
                <a:gd name="connsiteX53" fmla="*/ 497681 w 527447"/>
                <a:gd name="connsiteY53" fmla="*/ 577453 h 577453"/>
                <a:gd name="connsiteX54" fmla="*/ 467916 w 527447"/>
                <a:gd name="connsiteY54" fmla="*/ 545306 h 577453"/>
                <a:gd name="connsiteX55" fmla="*/ 440531 w 527447"/>
                <a:gd name="connsiteY55" fmla="*/ 541734 h 577453"/>
                <a:gd name="connsiteX56" fmla="*/ 426244 w 527447"/>
                <a:gd name="connsiteY56" fmla="*/ 529828 h 577453"/>
                <a:gd name="connsiteX57" fmla="*/ 423863 w 527447"/>
                <a:gd name="connsiteY57" fmla="*/ 488156 h 577453"/>
                <a:gd name="connsiteX58" fmla="*/ 411956 w 527447"/>
                <a:gd name="connsiteY58" fmla="*/ 478631 h 577453"/>
                <a:gd name="connsiteX59" fmla="*/ 396478 w 527447"/>
                <a:gd name="connsiteY59" fmla="*/ 489347 h 577453"/>
                <a:gd name="connsiteX60" fmla="*/ 373856 w 527447"/>
                <a:gd name="connsiteY60" fmla="*/ 482203 h 577453"/>
                <a:gd name="connsiteX61" fmla="*/ 366713 w 527447"/>
                <a:gd name="connsiteY61" fmla="*/ 486965 h 577453"/>
                <a:gd name="connsiteX62" fmla="*/ 363141 w 527447"/>
                <a:gd name="connsiteY62" fmla="*/ 490537 h 577453"/>
                <a:gd name="connsiteX63" fmla="*/ 354806 w 527447"/>
                <a:gd name="connsiteY63" fmla="*/ 484584 h 577453"/>
                <a:gd name="connsiteX64" fmla="*/ 352425 w 527447"/>
                <a:gd name="connsiteY64" fmla="*/ 453628 h 577453"/>
                <a:gd name="connsiteX65" fmla="*/ 339328 w 527447"/>
                <a:gd name="connsiteY65" fmla="*/ 453628 h 577453"/>
                <a:gd name="connsiteX66" fmla="*/ 321469 w 527447"/>
                <a:gd name="connsiteY66" fmla="*/ 447675 h 577453"/>
                <a:gd name="connsiteX67" fmla="*/ 295275 w 527447"/>
                <a:gd name="connsiteY67" fmla="*/ 394097 h 577453"/>
                <a:gd name="connsiteX68" fmla="*/ 278606 w 527447"/>
                <a:gd name="connsiteY68" fmla="*/ 392906 h 577453"/>
                <a:gd name="connsiteX69" fmla="*/ 227410 w 527447"/>
                <a:gd name="connsiteY69" fmla="*/ 381000 h 577453"/>
                <a:gd name="connsiteX70" fmla="*/ 203597 w 527447"/>
                <a:gd name="connsiteY70" fmla="*/ 394097 h 577453"/>
                <a:gd name="connsiteX71" fmla="*/ 192881 w 527447"/>
                <a:gd name="connsiteY71" fmla="*/ 395287 h 577453"/>
                <a:gd name="connsiteX72" fmla="*/ 189310 w 527447"/>
                <a:gd name="connsiteY72" fmla="*/ 372665 h 577453"/>
                <a:gd name="connsiteX73" fmla="*/ 173831 w 527447"/>
                <a:gd name="connsiteY73" fmla="*/ 369093 h 577453"/>
                <a:gd name="connsiteX74" fmla="*/ 155972 w 527447"/>
                <a:gd name="connsiteY74" fmla="*/ 369093 h 577453"/>
                <a:gd name="connsiteX75" fmla="*/ 101203 w 527447"/>
                <a:gd name="connsiteY75" fmla="*/ 311943 h 577453"/>
                <a:gd name="connsiteX76" fmla="*/ 84535 w 527447"/>
                <a:gd name="connsiteY76" fmla="*/ 294084 h 577453"/>
                <a:gd name="connsiteX77" fmla="*/ 73819 w 527447"/>
                <a:gd name="connsiteY77" fmla="*/ 270272 h 577453"/>
                <a:gd name="connsiteX78" fmla="*/ 51197 w 527447"/>
                <a:gd name="connsiteY78" fmla="*/ 269081 h 577453"/>
                <a:gd name="connsiteX79" fmla="*/ 0 w 527447"/>
                <a:gd name="connsiteY79" fmla="*/ 221456 h 57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527447" h="577453">
                  <a:moveTo>
                    <a:pt x="0" y="221456"/>
                  </a:moveTo>
                  <a:lnTo>
                    <a:pt x="39291" y="140493"/>
                  </a:lnTo>
                  <a:lnTo>
                    <a:pt x="47625" y="127397"/>
                  </a:lnTo>
                  <a:lnTo>
                    <a:pt x="51197" y="97631"/>
                  </a:lnTo>
                  <a:lnTo>
                    <a:pt x="51197" y="71437"/>
                  </a:lnTo>
                  <a:lnTo>
                    <a:pt x="65485" y="63103"/>
                  </a:lnTo>
                  <a:lnTo>
                    <a:pt x="59531" y="51197"/>
                  </a:lnTo>
                  <a:lnTo>
                    <a:pt x="63103" y="28575"/>
                  </a:lnTo>
                  <a:lnTo>
                    <a:pt x="82153" y="5953"/>
                  </a:lnTo>
                  <a:lnTo>
                    <a:pt x="96441" y="0"/>
                  </a:lnTo>
                  <a:lnTo>
                    <a:pt x="101203" y="0"/>
                  </a:lnTo>
                  <a:lnTo>
                    <a:pt x="117872" y="11906"/>
                  </a:lnTo>
                  <a:lnTo>
                    <a:pt x="158353" y="16668"/>
                  </a:lnTo>
                  <a:lnTo>
                    <a:pt x="158353" y="16668"/>
                  </a:lnTo>
                  <a:lnTo>
                    <a:pt x="163116" y="46434"/>
                  </a:lnTo>
                  <a:lnTo>
                    <a:pt x="169069" y="64293"/>
                  </a:lnTo>
                  <a:lnTo>
                    <a:pt x="188119" y="79772"/>
                  </a:lnTo>
                  <a:lnTo>
                    <a:pt x="188119" y="105965"/>
                  </a:lnTo>
                  <a:lnTo>
                    <a:pt x="216694" y="109537"/>
                  </a:lnTo>
                  <a:lnTo>
                    <a:pt x="238125" y="127397"/>
                  </a:lnTo>
                  <a:lnTo>
                    <a:pt x="241697" y="134540"/>
                  </a:lnTo>
                  <a:lnTo>
                    <a:pt x="255985" y="115490"/>
                  </a:lnTo>
                  <a:lnTo>
                    <a:pt x="277416" y="108347"/>
                  </a:lnTo>
                  <a:lnTo>
                    <a:pt x="296466" y="100012"/>
                  </a:lnTo>
                  <a:lnTo>
                    <a:pt x="310753" y="132159"/>
                  </a:lnTo>
                  <a:lnTo>
                    <a:pt x="402431" y="217884"/>
                  </a:lnTo>
                  <a:lnTo>
                    <a:pt x="391716" y="232172"/>
                  </a:lnTo>
                  <a:lnTo>
                    <a:pt x="376238" y="253603"/>
                  </a:lnTo>
                  <a:lnTo>
                    <a:pt x="360760" y="253603"/>
                  </a:lnTo>
                  <a:lnTo>
                    <a:pt x="341710" y="255984"/>
                  </a:lnTo>
                  <a:lnTo>
                    <a:pt x="335756" y="264318"/>
                  </a:lnTo>
                  <a:lnTo>
                    <a:pt x="325041" y="275034"/>
                  </a:lnTo>
                  <a:lnTo>
                    <a:pt x="323850" y="280987"/>
                  </a:lnTo>
                  <a:lnTo>
                    <a:pt x="314325" y="295275"/>
                  </a:lnTo>
                  <a:lnTo>
                    <a:pt x="305991" y="305990"/>
                  </a:lnTo>
                  <a:lnTo>
                    <a:pt x="305991" y="328612"/>
                  </a:lnTo>
                  <a:lnTo>
                    <a:pt x="305991" y="355997"/>
                  </a:lnTo>
                  <a:lnTo>
                    <a:pt x="328613" y="367903"/>
                  </a:lnTo>
                  <a:lnTo>
                    <a:pt x="347663" y="363140"/>
                  </a:lnTo>
                  <a:lnTo>
                    <a:pt x="361950" y="352425"/>
                  </a:lnTo>
                  <a:lnTo>
                    <a:pt x="381000" y="364331"/>
                  </a:lnTo>
                  <a:lnTo>
                    <a:pt x="432197" y="357187"/>
                  </a:lnTo>
                  <a:lnTo>
                    <a:pt x="447675" y="367903"/>
                  </a:lnTo>
                  <a:lnTo>
                    <a:pt x="457200" y="385762"/>
                  </a:lnTo>
                  <a:lnTo>
                    <a:pt x="479822" y="400050"/>
                  </a:lnTo>
                  <a:lnTo>
                    <a:pt x="481013" y="425053"/>
                  </a:lnTo>
                  <a:cubicBezTo>
                    <a:pt x="481410" y="435372"/>
                    <a:pt x="481806" y="445690"/>
                    <a:pt x="482203" y="456009"/>
                  </a:cubicBezTo>
                  <a:lnTo>
                    <a:pt x="496491" y="467915"/>
                  </a:lnTo>
                  <a:lnTo>
                    <a:pt x="504825" y="496490"/>
                  </a:lnTo>
                  <a:lnTo>
                    <a:pt x="527447" y="515540"/>
                  </a:lnTo>
                  <a:lnTo>
                    <a:pt x="517922" y="540543"/>
                  </a:lnTo>
                  <a:lnTo>
                    <a:pt x="519113" y="565547"/>
                  </a:lnTo>
                  <a:lnTo>
                    <a:pt x="504825" y="575072"/>
                  </a:lnTo>
                  <a:lnTo>
                    <a:pt x="497681" y="577453"/>
                  </a:lnTo>
                  <a:lnTo>
                    <a:pt x="467916" y="545306"/>
                  </a:lnTo>
                  <a:lnTo>
                    <a:pt x="440531" y="541734"/>
                  </a:lnTo>
                  <a:lnTo>
                    <a:pt x="426244" y="529828"/>
                  </a:lnTo>
                  <a:lnTo>
                    <a:pt x="423863" y="488156"/>
                  </a:lnTo>
                  <a:lnTo>
                    <a:pt x="411956" y="478631"/>
                  </a:lnTo>
                  <a:lnTo>
                    <a:pt x="396478" y="489347"/>
                  </a:lnTo>
                  <a:lnTo>
                    <a:pt x="373856" y="482203"/>
                  </a:lnTo>
                  <a:lnTo>
                    <a:pt x="366713" y="486965"/>
                  </a:lnTo>
                  <a:lnTo>
                    <a:pt x="363141" y="490537"/>
                  </a:lnTo>
                  <a:lnTo>
                    <a:pt x="354806" y="484584"/>
                  </a:lnTo>
                  <a:lnTo>
                    <a:pt x="352425" y="453628"/>
                  </a:lnTo>
                  <a:lnTo>
                    <a:pt x="339328" y="453628"/>
                  </a:lnTo>
                  <a:lnTo>
                    <a:pt x="321469" y="447675"/>
                  </a:lnTo>
                  <a:lnTo>
                    <a:pt x="295275" y="394097"/>
                  </a:lnTo>
                  <a:lnTo>
                    <a:pt x="278606" y="392906"/>
                  </a:lnTo>
                  <a:lnTo>
                    <a:pt x="227410" y="381000"/>
                  </a:lnTo>
                  <a:lnTo>
                    <a:pt x="203597" y="394097"/>
                  </a:lnTo>
                  <a:lnTo>
                    <a:pt x="192881" y="395287"/>
                  </a:lnTo>
                  <a:lnTo>
                    <a:pt x="189310" y="372665"/>
                  </a:lnTo>
                  <a:lnTo>
                    <a:pt x="173831" y="369093"/>
                  </a:lnTo>
                  <a:lnTo>
                    <a:pt x="155972" y="369093"/>
                  </a:lnTo>
                  <a:lnTo>
                    <a:pt x="101203" y="311943"/>
                  </a:lnTo>
                  <a:lnTo>
                    <a:pt x="84535" y="294084"/>
                  </a:lnTo>
                  <a:lnTo>
                    <a:pt x="73819" y="270272"/>
                  </a:lnTo>
                  <a:lnTo>
                    <a:pt x="51197" y="269081"/>
                  </a:lnTo>
                  <a:lnTo>
                    <a:pt x="0" y="221456"/>
                  </a:lnTo>
                  <a:close/>
                </a:path>
              </a:pathLst>
            </a:custGeom>
            <a:solidFill>
              <a:srgbClr val="7359A0"/>
            </a:solidFill>
            <a:ln w="9525" cap="flat" cmpd="sng" algn="ctr">
              <a:solidFill>
                <a:sysClr val="window" lastClr="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527" name="Vrije vorm: vorm 10">
              <a:extLst>
                <a:ext uri="{FF2B5EF4-FFF2-40B4-BE49-F238E27FC236}">
                  <a16:creationId xmlns:a16="http://schemas.microsoft.com/office/drawing/2014/main" id="{E614E297-FEE5-049E-F58E-77EB83052A71}"/>
                </a:ext>
              </a:extLst>
            </p:cNvPr>
            <p:cNvSpPr/>
            <p:nvPr/>
          </p:nvSpPr>
          <p:spPr>
            <a:xfrm>
              <a:off x="8869270" y="5190591"/>
              <a:ext cx="566737" cy="372666"/>
            </a:xfrm>
            <a:custGeom>
              <a:avLst/>
              <a:gdLst>
                <a:gd name="connsiteX0" fmla="*/ 125015 w 566737"/>
                <a:gd name="connsiteY0" fmla="*/ 132160 h 372666"/>
                <a:gd name="connsiteX1" fmla="*/ 73818 w 566737"/>
                <a:gd name="connsiteY1" fmla="*/ 139304 h 372666"/>
                <a:gd name="connsiteX2" fmla="*/ 57150 w 566737"/>
                <a:gd name="connsiteY2" fmla="*/ 125016 h 372666"/>
                <a:gd name="connsiteX3" fmla="*/ 30956 w 566737"/>
                <a:gd name="connsiteY3" fmla="*/ 135732 h 372666"/>
                <a:gd name="connsiteX4" fmla="*/ 0 w 566737"/>
                <a:gd name="connsiteY4" fmla="*/ 132160 h 372666"/>
                <a:gd name="connsiteX5" fmla="*/ 2381 w 566737"/>
                <a:gd name="connsiteY5" fmla="*/ 84535 h 372666"/>
                <a:gd name="connsiteX6" fmla="*/ 15478 w 566737"/>
                <a:gd name="connsiteY6" fmla="*/ 51197 h 372666"/>
                <a:gd name="connsiteX7" fmla="*/ 28575 w 566737"/>
                <a:gd name="connsiteY7" fmla="*/ 39291 h 372666"/>
                <a:gd name="connsiteX8" fmla="*/ 63103 w 566737"/>
                <a:gd name="connsiteY8" fmla="*/ 28575 h 372666"/>
                <a:gd name="connsiteX9" fmla="*/ 77390 w 566737"/>
                <a:gd name="connsiteY9" fmla="*/ 30957 h 372666"/>
                <a:gd name="connsiteX10" fmla="*/ 89297 w 566737"/>
                <a:gd name="connsiteY10" fmla="*/ 8335 h 372666"/>
                <a:gd name="connsiteX11" fmla="*/ 92868 w 566737"/>
                <a:gd name="connsiteY11" fmla="*/ 0 h 372666"/>
                <a:gd name="connsiteX12" fmla="*/ 121443 w 566737"/>
                <a:gd name="connsiteY12" fmla="*/ 11907 h 372666"/>
                <a:gd name="connsiteX13" fmla="*/ 139303 w 566737"/>
                <a:gd name="connsiteY13" fmla="*/ 11907 h 372666"/>
                <a:gd name="connsiteX14" fmla="*/ 153590 w 566737"/>
                <a:gd name="connsiteY14" fmla="*/ 19050 h 372666"/>
                <a:gd name="connsiteX15" fmla="*/ 152400 w 566737"/>
                <a:gd name="connsiteY15" fmla="*/ 28575 h 372666"/>
                <a:gd name="connsiteX16" fmla="*/ 179784 w 566737"/>
                <a:gd name="connsiteY16" fmla="*/ 29766 h 372666"/>
                <a:gd name="connsiteX17" fmla="*/ 210740 w 566737"/>
                <a:gd name="connsiteY17" fmla="*/ 32147 h 372666"/>
                <a:gd name="connsiteX18" fmla="*/ 242887 w 566737"/>
                <a:gd name="connsiteY18" fmla="*/ 20241 h 372666"/>
                <a:gd name="connsiteX19" fmla="*/ 271462 w 566737"/>
                <a:gd name="connsiteY19" fmla="*/ 26194 h 372666"/>
                <a:gd name="connsiteX20" fmla="*/ 285750 w 566737"/>
                <a:gd name="connsiteY20" fmla="*/ 46435 h 372666"/>
                <a:gd name="connsiteX21" fmla="*/ 285750 w 566737"/>
                <a:gd name="connsiteY21" fmla="*/ 65485 h 372666"/>
                <a:gd name="connsiteX22" fmla="*/ 273843 w 566737"/>
                <a:gd name="connsiteY22" fmla="*/ 72629 h 372666"/>
                <a:gd name="connsiteX23" fmla="*/ 263128 w 566737"/>
                <a:gd name="connsiteY23" fmla="*/ 85725 h 372666"/>
                <a:gd name="connsiteX24" fmla="*/ 260747 w 566737"/>
                <a:gd name="connsiteY24" fmla="*/ 92869 h 372666"/>
                <a:gd name="connsiteX25" fmla="*/ 250031 w 566737"/>
                <a:gd name="connsiteY25" fmla="*/ 98822 h 372666"/>
                <a:gd name="connsiteX26" fmla="*/ 316706 w 566737"/>
                <a:gd name="connsiteY26" fmla="*/ 134541 h 372666"/>
                <a:gd name="connsiteX27" fmla="*/ 381000 w 566737"/>
                <a:gd name="connsiteY27" fmla="*/ 153591 h 372666"/>
                <a:gd name="connsiteX28" fmla="*/ 411956 w 566737"/>
                <a:gd name="connsiteY28" fmla="*/ 161925 h 372666"/>
                <a:gd name="connsiteX29" fmla="*/ 444103 w 566737"/>
                <a:gd name="connsiteY29" fmla="*/ 191691 h 372666"/>
                <a:gd name="connsiteX30" fmla="*/ 482203 w 566737"/>
                <a:gd name="connsiteY30" fmla="*/ 202407 h 372666"/>
                <a:gd name="connsiteX31" fmla="*/ 501253 w 566737"/>
                <a:gd name="connsiteY31" fmla="*/ 220266 h 372666"/>
                <a:gd name="connsiteX32" fmla="*/ 540543 w 566737"/>
                <a:gd name="connsiteY32" fmla="*/ 258366 h 372666"/>
                <a:gd name="connsiteX33" fmla="*/ 561975 w 566737"/>
                <a:gd name="connsiteY33" fmla="*/ 279797 h 372666"/>
                <a:gd name="connsiteX34" fmla="*/ 566737 w 566737"/>
                <a:gd name="connsiteY34" fmla="*/ 325041 h 372666"/>
                <a:gd name="connsiteX35" fmla="*/ 553640 w 566737"/>
                <a:gd name="connsiteY35" fmla="*/ 344091 h 372666"/>
                <a:gd name="connsiteX36" fmla="*/ 544115 w 566737"/>
                <a:gd name="connsiteY36" fmla="*/ 372666 h 372666"/>
                <a:gd name="connsiteX37" fmla="*/ 503634 w 566737"/>
                <a:gd name="connsiteY37" fmla="*/ 359569 h 372666"/>
                <a:gd name="connsiteX38" fmla="*/ 460772 w 566737"/>
                <a:gd name="connsiteY38" fmla="*/ 285750 h 372666"/>
                <a:gd name="connsiteX39" fmla="*/ 435768 w 566737"/>
                <a:gd name="connsiteY39" fmla="*/ 289322 h 372666"/>
                <a:gd name="connsiteX40" fmla="*/ 403622 w 566737"/>
                <a:gd name="connsiteY40" fmla="*/ 292894 h 372666"/>
                <a:gd name="connsiteX41" fmla="*/ 377428 w 566737"/>
                <a:gd name="connsiteY41" fmla="*/ 269082 h 372666"/>
                <a:gd name="connsiteX42" fmla="*/ 377428 w 566737"/>
                <a:gd name="connsiteY42" fmla="*/ 269082 h 372666"/>
                <a:gd name="connsiteX43" fmla="*/ 369093 w 566737"/>
                <a:gd name="connsiteY43" fmla="*/ 282179 h 372666"/>
                <a:gd name="connsiteX44" fmla="*/ 354806 w 566737"/>
                <a:gd name="connsiteY44" fmla="*/ 301229 h 372666"/>
                <a:gd name="connsiteX45" fmla="*/ 354806 w 566737"/>
                <a:gd name="connsiteY45" fmla="*/ 316707 h 372666"/>
                <a:gd name="connsiteX46" fmla="*/ 352425 w 566737"/>
                <a:gd name="connsiteY46" fmla="*/ 326232 h 372666"/>
                <a:gd name="connsiteX47" fmla="*/ 346472 w 566737"/>
                <a:gd name="connsiteY47" fmla="*/ 329804 h 372666"/>
                <a:gd name="connsiteX48" fmla="*/ 317897 w 566737"/>
                <a:gd name="connsiteY48" fmla="*/ 326232 h 372666"/>
                <a:gd name="connsiteX49" fmla="*/ 314325 w 566737"/>
                <a:gd name="connsiteY49" fmla="*/ 317897 h 372666"/>
                <a:gd name="connsiteX50" fmla="*/ 298847 w 566737"/>
                <a:gd name="connsiteY50" fmla="*/ 314325 h 372666"/>
                <a:gd name="connsiteX51" fmla="*/ 289322 w 566737"/>
                <a:gd name="connsiteY51" fmla="*/ 322660 h 372666"/>
                <a:gd name="connsiteX52" fmla="*/ 270272 w 566737"/>
                <a:gd name="connsiteY52" fmla="*/ 345282 h 372666"/>
                <a:gd name="connsiteX53" fmla="*/ 267890 w 566737"/>
                <a:gd name="connsiteY53" fmla="*/ 347663 h 372666"/>
                <a:gd name="connsiteX54" fmla="*/ 251222 w 566737"/>
                <a:gd name="connsiteY54" fmla="*/ 346472 h 372666"/>
                <a:gd name="connsiteX55" fmla="*/ 209550 w 566737"/>
                <a:gd name="connsiteY55" fmla="*/ 340519 h 372666"/>
                <a:gd name="connsiteX56" fmla="*/ 203597 w 566737"/>
                <a:gd name="connsiteY56" fmla="*/ 322660 h 372666"/>
                <a:gd name="connsiteX57" fmla="*/ 217884 w 566737"/>
                <a:gd name="connsiteY57" fmla="*/ 298847 h 372666"/>
                <a:gd name="connsiteX58" fmla="*/ 219075 w 566737"/>
                <a:gd name="connsiteY58" fmla="*/ 276225 h 372666"/>
                <a:gd name="connsiteX59" fmla="*/ 209550 w 566737"/>
                <a:gd name="connsiteY59" fmla="*/ 272654 h 372666"/>
                <a:gd name="connsiteX60" fmla="*/ 190500 w 566737"/>
                <a:gd name="connsiteY60" fmla="*/ 260747 h 372666"/>
                <a:gd name="connsiteX61" fmla="*/ 189309 w 566737"/>
                <a:gd name="connsiteY61" fmla="*/ 238125 h 372666"/>
                <a:gd name="connsiteX62" fmla="*/ 175022 w 566737"/>
                <a:gd name="connsiteY62" fmla="*/ 232172 h 372666"/>
                <a:gd name="connsiteX63" fmla="*/ 176212 w 566737"/>
                <a:gd name="connsiteY63" fmla="*/ 173832 h 372666"/>
                <a:gd name="connsiteX64" fmla="*/ 167878 w 566737"/>
                <a:gd name="connsiteY64" fmla="*/ 167879 h 372666"/>
                <a:gd name="connsiteX65" fmla="*/ 125015 w 566737"/>
                <a:gd name="connsiteY65" fmla="*/ 132160 h 372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66737" h="372666">
                  <a:moveTo>
                    <a:pt x="125015" y="132160"/>
                  </a:moveTo>
                  <a:lnTo>
                    <a:pt x="73818" y="139304"/>
                  </a:lnTo>
                  <a:lnTo>
                    <a:pt x="57150" y="125016"/>
                  </a:lnTo>
                  <a:lnTo>
                    <a:pt x="30956" y="135732"/>
                  </a:lnTo>
                  <a:lnTo>
                    <a:pt x="0" y="132160"/>
                  </a:lnTo>
                  <a:lnTo>
                    <a:pt x="2381" y="84535"/>
                  </a:lnTo>
                  <a:lnTo>
                    <a:pt x="15478" y="51197"/>
                  </a:lnTo>
                  <a:lnTo>
                    <a:pt x="28575" y="39291"/>
                  </a:lnTo>
                  <a:lnTo>
                    <a:pt x="63103" y="28575"/>
                  </a:lnTo>
                  <a:lnTo>
                    <a:pt x="77390" y="30957"/>
                  </a:lnTo>
                  <a:lnTo>
                    <a:pt x="89297" y="8335"/>
                  </a:lnTo>
                  <a:lnTo>
                    <a:pt x="92868" y="0"/>
                  </a:lnTo>
                  <a:lnTo>
                    <a:pt x="121443" y="11907"/>
                  </a:lnTo>
                  <a:lnTo>
                    <a:pt x="139303" y="11907"/>
                  </a:lnTo>
                  <a:lnTo>
                    <a:pt x="153590" y="19050"/>
                  </a:lnTo>
                  <a:lnTo>
                    <a:pt x="152400" y="28575"/>
                  </a:lnTo>
                  <a:lnTo>
                    <a:pt x="179784" y="29766"/>
                  </a:lnTo>
                  <a:lnTo>
                    <a:pt x="210740" y="32147"/>
                  </a:lnTo>
                  <a:lnTo>
                    <a:pt x="242887" y="20241"/>
                  </a:lnTo>
                  <a:lnTo>
                    <a:pt x="271462" y="26194"/>
                  </a:lnTo>
                  <a:lnTo>
                    <a:pt x="285750" y="46435"/>
                  </a:lnTo>
                  <a:lnTo>
                    <a:pt x="285750" y="65485"/>
                  </a:lnTo>
                  <a:lnTo>
                    <a:pt x="273843" y="72629"/>
                  </a:lnTo>
                  <a:lnTo>
                    <a:pt x="263128" y="85725"/>
                  </a:lnTo>
                  <a:lnTo>
                    <a:pt x="260747" y="92869"/>
                  </a:lnTo>
                  <a:lnTo>
                    <a:pt x="250031" y="98822"/>
                  </a:lnTo>
                  <a:lnTo>
                    <a:pt x="316706" y="134541"/>
                  </a:lnTo>
                  <a:lnTo>
                    <a:pt x="381000" y="153591"/>
                  </a:lnTo>
                  <a:lnTo>
                    <a:pt x="411956" y="161925"/>
                  </a:lnTo>
                  <a:lnTo>
                    <a:pt x="444103" y="191691"/>
                  </a:lnTo>
                  <a:lnTo>
                    <a:pt x="482203" y="202407"/>
                  </a:lnTo>
                  <a:lnTo>
                    <a:pt x="501253" y="220266"/>
                  </a:lnTo>
                  <a:lnTo>
                    <a:pt x="540543" y="258366"/>
                  </a:lnTo>
                  <a:lnTo>
                    <a:pt x="561975" y="279797"/>
                  </a:lnTo>
                  <a:lnTo>
                    <a:pt x="566737" y="325041"/>
                  </a:lnTo>
                  <a:lnTo>
                    <a:pt x="553640" y="344091"/>
                  </a:lnTo>
                  <a:lnTo>
                    <a:pt x="544115" y="372666"/>
                  </a:lnTo>
                  <a:lnTo>
                    <a:pt x="503634" y="359569"/>
                  </a:lnTo>
                  <a:lnTo>
                    <a:pt x="460772" y="285750"/>
                  </a:lnTo>
                  <a:lnTo>
                    <a:pt x="435768" y="289322"/>
                  </a:lnTo>
                  <a:lnTo>
                    <a:pt x="403622" y="292894"/>
                  </a:lnTo>
                  <a:lnTo>
                    <a:pt x="377428" y="269082"/>
                  </a:lnTo>
                  <a:lnTo>
                    <a:pt x="377428" y="269082"/>
                  </a:lnTo>
                  <a:lnTo>
                    <a:pt x="369093" y="282179"/>
                  </a:lnTo>
                  <a:lnTo>
                    <a:pt x="354806" y="301229"/>
                  </a:lnTo>
                  <a:lnTo>
                    <a:pt x="354806" y="316707"/>
                  </a:lnTo>
                  <a:lnTo>
                    <a:pt x="352425" y="326232"/>
                  </a:lnTo>
                  <a:lnTo>
                    <a:pt x="346472" y="329804"/>
                  </a:lnTo>
                  <a:lnTo>
                    <a:pt x="317897" y="326232"/>
                  </a:lnTo>
                  <a:lnTo>
                    <a:pt x="314325" y="317897"/>
                  </a:lnTo>
                  <a:lnTo>
                    <a:pt x="298847" y="314325"/>
                  </a:lnTo>
                  <a:lnTo>
                    <a:pt x="289322" y="322660"/>
                  </a:lnTo>
                  <a:lnTo>
                    <a:pt x="270272" y="345282"/>
                  </a:lnTo>
                  <a:lnTo>
                    <a:pt x="267890" y="347663"/>
                  </a:lnTo>
                  <a:lnTo>
                    <a:pt x="251222" y="346472"/>
                  </a:lnTo>
                  <a:lnTo>
                    <a:pt x="209550" y="340519"/>
                  </a:lnTo>
                  <a:lnTo>
                    <a:pt x="203597" y="322660"/>
                  </a:lnTo>
                  <a:lnTo>
                    <a:pt x="217884" y="298847"/>
                  </a:lnTo>
                  <a:lnTo>
                    <a:pt x="219075" y="276225"/>
                  </a:lnTo>
                  <a:lnTo>
                    <a:pt x="209550" y="272654"/>
                  </a:lnTo>
                  <a:lnTo>
                    <a:pt x="190500" y="260747"/>
                  </a:lnTo>
                  <a:lnTo>
                    <a:pt x="189309" y="238125"/>
                  </a:lnTo>
                  <a:lnTo>
                    <a:pt x="175022" y="232172"/>
                  </a:lnTo>
                  <a:cubicBezTo>
                    <a:pt x="175419" y="212725"/>
                    <a:pt x="175815" y="193279"/>
                    <a:pt x="176212" y="173832"/>
                  </a:cubicBezTo>
                  <a:lnTo>
                    <a:pt x="167878" y="167879"/>
                  </a:lnTo>
                  <a:lnTo>
                    <a:pt x="125015" y="132160"/>
                  </a:lnTo>
                  <a:close/>
                </a:path>
              </a:pathLst>
            </a:custGeom>
            <a:solidFill>
              <a:srgbClr val="7359A0"/>
            </a:solidFill>
            <a:ln w="9525" cap="flat" cmpd="sng" algn="ctr">
              <a:solidFill>
                <a:sysClr val="window" lastClr="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528" name="Vrije vorm: vorm 11">
              <a:extLst>
                <a:ext uri="{FF2B5EF4-FFF2-40B4-BE49-F238E27FC236}">
                  <a16:creationId xmlns:a16="http://schemas.microsoft.com/office/drawing/2014/main" id="{DB022AF7-040B-DAE3-8056-2108FDCAD9AC}"/>
                </a:ext>
              </a:extLst>
            </p:cNvPr>
            <p:cNvSpPr/>
            <p:nvPr/>
          </p:nvSpPr>
          <p:spPr>
            <a:xfrm>
              <a:off x="9069701" y="5502595"/>
              <a:ext cx="208359" cy="369094"/>
            </a:xfrm>
            <a:custGeom>
              <a:avLst/>
              <a:gdLst>
                <a:gd name="connsiteX0" fmla="*/ 0 w 208359"/>
                <a:gd name="connsiteY0" fmla="*/ 28575 h 369094"/>
                <a:gd name="connsiteX1" fmla="*/ 70247 w 208359"/>
                <a:gd name="connsiteY1" fmla="*/ 41672 h 369094"/>
                <a:gd name="connsiteX2" fmla="*/ 82153 w 208359"/>
                <a:gd name="connsiteY2" fmla="*/ 21431 h 369094"/>
                <a:gd name="connsiteX3" fmla="*/ 91678 w 208359"/>
                <a:gd name="connsiteY3" fmla="*/ 1191 h 369094"/>
                <a:gd name="connsiteX4" fmla="*/ 119062 w 208359"/>
                <a:gd name="connsiteY4" fmla="*/ 0 h 369094"/>
                <a:gd name="connsiteX5" fmla="*/ 122634 w 208359"/>
                <a:gd name="connsiteY5" fmla="*/ 20241 h 369094"/>
                <a:gd name="connsiteX6" fmla="*/ 136922 w 208359"/>
                <a:gd name="connsiteY6" fmla="*/ 27384 h 369094"/>
                <a:gd name="connsiteX7" fmla="*/ 139303 w 208359"/>
                <a:gd name="connsiteY7" fmla="*/ 42863 h 369094"/>
                <a:gd name="connsiteX8" fmla="*/ 126206 w 208359"/>
                <a:gd name="connsiteY8" fmla="*/ 58341 h 369094"/>
                <a:gd name="connsiteX9" fmla="*/ 150018 w 208359"/>
                <a:gd name="connsiteY9" fmla="*/ 73819 h 369094"/>
                <a:gd name="connsiteX10" fmla="*/ 159543 w 208359"/>
                <a:gd name="connsiteY10" fmla="*/ 84534 h 369094"/>
                <a:gd name="connsiteX11" fmla="*/ 177403 w 208359"/>
                <a:gd name="connsiteY11" fmla="*/ 102394 h 369094"/>
                <a:gd name="connsiteX12" fmla="*/ 202406 w 208359"/>
                <a:gd name="connsiteY12" fmla="*/ 129778 h 369094"/>
                <a:gd name="connsiteX13" fmla="*/ 208359 w 208359"/>
                <a:gd name="connsiteY13" fmla="*/ 201216 h 369094"/>
                <a:gd name="connsiteX14" fmla="*/ 208359 w 208359"/>
                <a:gd name="connsiteY14" fmla="*/ 214313 h 369094"/>
                <a:gd name="connsiteX15" fmla="*/ 195262 w 208359"/>
                <a:gd name="connsiteY15" fmla="*/ 223838 h 369094"/>
                <a:gd name="connsiteX16" fmla="*/ 171450 w 208359"/>
                <a:gd name="connsiteY16" fmla="*/ 204788 h 369094"/>
                <a:gd name="connsiteX17" fmla="*/ 164306 w 208359"/>
                <a:gd name="connsiteY17" fmla="*/ 208359 h 369094"/>
                <a:gd name="connsiteX18" fmla="*/ 151209 w 208359"/>
                <a:gd name="connsiteY18" fmla="*/ 214313 h 369094"/>
                <a:gd name="connsiteX19" fmla="*/ 130968 w 208359"/>
                <a:gd name="connsiteY19" fmla="*/ 229791 h 369094"/>
                <a:gd name="connsiteX20" fmla="*/ 141684 w 208359"/>
                <a:gd name="connsiteY20" fmla="*/ 250031 h 369094"/>
                <a:gd name="connsiteX21" fmla="*/ 150018 w 208359"/>
                <a:gd name="connsiteY21" fmla="*/ 259556 h 369094"/>
                <a:gd name="connsiteX22" fmla="*/ 135731 w 208359"/>
                <a:gd name="connsiteY22" fmla="*/ 271463 h 369094"/>
                <a:gd name="connsiteX23" fmla="*/ 100012 w 208359"/>
                <a:gd name="connsiteY23" fmla="*/ 320278 h 369094"/>
                <a:gd name="connsiteX24" fmla="*/ 91678 w 208359"/>
                <a:gd name="connsiteY24" fmla="*/ 358378 h 369094"/>
                <a:gd name="connsiteX25" fmla="*/ 80962 w 208359"/>
                <a:gd name="connsiteY25" fmla="*/ 364331 h 369094"/>
                <a:gd name="connsiteX26" fmla="*/ 21431 w 208359"/>
                <a:gd name="connsiteY26" fmla="*/ 369094 h 369094"/>
                <a:gd name="connsiteX27" fmla="*/ 7143 w 208359"/>
                <a:gd name="connsiteY27" fmla="*/ 342900 h 369094"/>
                <a:gd name="connsiteX28" fmla="*/ 8334 w 208359"/>
                <a:gd name="connsiteY28" fmla="*/ 307181 h 369094"/>
                <a:gd name="connsiteX29" fmla="*/ 19050 w 208359"/>
                <a:gd name="connsiteY29" fmla="*/ 297656 h 369094"/>
                <a:gd name="connsiteX30" fmla="*/ 28575 w 208359"/>
                <a:gd name="connsiteY30" fmla="*/ 285750 h 369094"/>
                <a:gd name="connsiteX31" fmla="*/ 36909 w 208359"/>
                <a:gd name="connsiteY31" fmla="*/ 257175 h 369094"/>
                <a:gd name="connsiteX32" fmla="*/ 26193 w 208359"/>
                <a:gd name="connsiteY32" fmla="*/ 247650 h 369094"/>
                <a:gd name="connsiteX33" fmla="*/ 52387 w 208359"/>
                <a:gd name="connsiteY33" fmla="*/ 207169 h 369094"/>
                <a:gd name="connsiteX34" fmla="*/ 66675 w 208359"/>
                <a:gd name="connsiteY34" fmla="*/ 207169 h 369094"/>
                <a:gd name="connsiteX35" fmla="*/ 78581 w 208359"/>
                <a:gd name="connsiteY35" fmla="*/ 198834 h 369094"/>
                <a:gd name="connsiteX36" fmla="*/ 67865 w 208359"/>
                <a:gd name="connsiteY36" fmla="*/ 190500 h 369094"/>
                <a:gd name="connsiteX37" fmla="*/ 52387 w 208359"/>
                <a:gd name="connsiteY37" fmla="*/ 179784 h 369094"/>
                <a:gd name="connsiteX38" fmla="*/ 45243 w 208359"/>
                <a:gd name="connsiteY38" fmla="*/ 154781 h 369094"/>
                <a:gd name="connsiteX39" fmla="*/ 40481 w 208359"/>
                <a:gd name="connsiteY39" fmla="*/ 115491 h 369094"/>
                <a:gd name="connsiteX40" fmla="*/ 20240 w 208359"/>
                <a:gd name="connsiteY40" fmla="*/ 89297 h 369094"/>
                <a:gd name="connsiteX41" fmla="*/ 14287 w 208359"/>
                <a:gd name="connsiteY41" fmla="*/ 79772 h 369094"/>
                <a:gd name="connsiteX42" fmla="*/ 0 w 208359"/>
                <a:gd name="connsiteY42" fmla="*/ 28575 h 369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08359" h="369094">
                  <a:moveTo>
                    <a:pt x="0" y="28575"/>
                  </a:moveTo>
                  <a:lnTo>
                    <a:pt x="70247" y="41672"/>
                  </a:lnTo>
                  <a:lnTo>
                    <a:pt x="82153" y="21431"/>
                  </a:lnTo>
                  <a:lnTo>
                    <a:pt x="91678" y="1191"/>
                  </a:lnTo>
                  <a:lnTo>
                    <a:pt x="119062" y="0"/>
                  </a:lnTo>
                  <a:lnTo>
                    <a:pt x="122634" y="20241"/>
                  </a:lnTo>
                  <a:lnTo>
                    <a:pt x="136922" y="27384"/>
                  </a:lnTo>
                  <a:lnTo>
                    <a:pt x="139303" y="42863"/>
                  </a:lnTo>
                  <a:lnTo>
                    <a:pt x="126206" y="58341"/>
                  </a:lnTo>
                  <a:lnTo>
                    <a:pt x="150018" y="73819"/>
                  </a:lnTo>
                  <a:lnTo>
                    <a:pt x="159543" y="84534"/>
                  </a:lnTo>
                  <a:lnTo>
                    <a:pt x="177403" y="102394"/>
                  </a:lnTo>
                  <a:lnTo>
                    <a:pt x="202406" y="129778"/>
                  </a:lnTo>
                  <a:lnTo>
                    <a:pt x="208359" y="201216"/>
                  </a:lnTo>
                  <a:lnTo>
                    <a:pt x="208359" y="214313"/>
                  </a:lnTo>
                  <a:lnTo>
                    <a:pt x="195262" y="223838"/>
                  </a:lnTo>
                  <a:lnTo>
                    <a:pt x="171450" y="204788"/>
                  </a:lnTo>
                  <a:lnTo>
                    <a:pt x="164306" y="208359"/>
                  </a:lnTo>
                  <a:lnTo>
                    <a:pt x="151209" y="214313"/>
                  </a:lnTo>
                  <a:lnTo>
                    <a:pt x="130968" y="229791"/>
                  </a:lnTo>
                  <a:lnTo>
                    <a:pt x="141684" y="250031"/>
                  </a:lnTo>
                  <a:cubicBezTo>
                    <a:pt x="150298" y="258647"/>
                    <a:pt x="150018" y="254437"/>
                    <a:pt x="150018" y="259556"/>
                  </a:cubicBezTo>
                  <a:lnTo>
                    <a:pt x="135731" y="271463"/>
                  </a:lnTo>
                  <a:lnTo>
                    <a:pt x="100012" y="320278"/>
                  </a:lnTo>
                  <a:lnTo>
                    <a:pt x="91678" y="358378"/>
                  </a:lnTo>
                  <a:lnTo>
                    <a:pt x="80962" y="364331"/>
                  </a:lnTo>
                  <a:lnTo>
                    <a:pt x="21431" y="369094"/>
                  </a:lnTo>
                  <a:lnTo>
                    <a:pt x="7143" y="342900"/>
                  </a:lnTo>
                  <a:lnTo>
                    <a:pt x="8334" y="307181"/>
                  </a:lnTo>
                  <a:cubicBezTo>
                    <a:pt x="18569" y="299505"/>
                    <a:pt x="16084" y="303588"/>
                    <a:pt x="19050" y="297656"/>
                  </a:cubicBezTo>
                  <a:lnTo>
                    <a:pt x="28575" y="285750"/>
                  </a:lnTo>
                  <a:lnTo>
                    <a:pt x="36909" y="257175"/>
                  </a:lnTo>
                  <a:lnTo>
                    <a:pt x="26193" y="247650"/>
                  </a:lnTo>
                  <a:lnTo>
                    <a:pt x="52387" y="207169"/>
                  </a:lnTo>
                  <a:lnTo>
                    <a:pt x="66675" y="207169"/>
                  </a:lnTo>
                  <a:lnTo>
                    <a:pt x="78581" y="198834"/>
                  </a:lnTo>
                  <a:lnTo>
                    <a:pt x="67865" y="190500"/>
                  </a:lnTo>
                  <a:lnTo>
                    <a:pt x="52387" y="179784"/>
                  </a:lnTo>
                  <a:lnTo>
                    <a:pt x="45243" y="154781"/>
                  </a:lnTo>
                  <a:lnTo>
                    <a:pt x="40481" y="115491"/>
                  </a:lnTo>
                  <a:lnTo>
                    <a:pt x="20240" y="89297"/>
                  </a:lnTo>
                  <a:lnTo>
                    <a:pt x="14287" y="79772"/>
                  </a:lnTo>
                  <a:lnTo>
                    <a:pt x="0" y="28575"/>
                  </a:lnTo>
                  <a:close/>
                </a:path>
              </a:pathLst>
            </a:custGeom>
            <a:solidFill>
              <a:srgbClr val="7359A0"/>
            </a:solidFill>
            <a:ln w="9525" cap="flat" cmpd="sng" algn="ctr">
              <a:solidFill>
                <a:sysClr val="window" lastClr="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529" name="ee4p_IE_1_15912">
              <a:extLst>
                <a:ext uri="{FF2B5EF4-FFF2-40B4-BE49-F238E27FC236}">
                  <a16:creationId xmlns:a16="http://schemas.microsoft.com/office/drawing/2014/main" id="{808961ED-141D-6019-13EA-E1160FCF3566}"/>
                </a:ext>
              </a:extLst>
            </p:cNvPr>
            <p:cNvSpPr>
              <a:spLocks noChangeAspect="1"/>
            </p:cNvSpPr>
            <p:nvPr>
              <p:custDataLst>
                <p:tags r:id="rId1"/>
              </p:custDataLst>
            </p:nvPr>
          </p:nvSpPr>
          <p:spPr>
            <a:xfrm rot="631238">
              <a:off x="6367423" y="2845516"/>
              <a:ext cx="440867" cy="590055"/>
            </a:xfrm>
            <a:custGeom>
              <a:avLst/>
              <a:gdLst>
                <a:gd name="connsiteX0" fmla="*/ 4626 w 96471"/>
                <a:gd name="connsiteY0" fmla="*/ 41297 h 117212"/>
                <a:gd name="connsiteX1" fmla="*/ 5539 w 96471"/>
                <a:gd name="connsiteY1" fmla="*/ 41650 h 117212"/>
                <a:gd name="connsiteX2" fmla="*/ 8709 w 96471"/>
                <a:gd name="connsiteY2" fmla="*/ 41699 h 117212"/>
                <a:gd name="connsiteX3" fmla="*/ 9599 w 96471"/>
                <a:gd name="connsiteY3" fmla="*/ 42196 h 117212"/>
                <a:gd name="connsiteX4" fmla="*/ 9774 w 96471"/>
                <a:gd name="connsiteY4" fmla="*/ 44442 h 117212"/>
                <a:gd name="connsiteX5" fmla="*/ 9681 w 96471"/>
                <a:gd name="connsiteY5" fmla="*/ 45307 h 117212"/>
                <a:gd name="connsiteX6" fmla="*/ 8043 w 96471"/>
                <a:gd name="connsiteY6" fmla="*/ 44217 h 117212"/>
                <a:gd name="connsiteX7" fmla="*/ 7247 w 96471"/>
                <a:gd name="connsiteY7" fmla="*/ 43030 h 117212"/>
                <a:gd name="connsiteX8" fmla="*/ 2753 w 96471"/>
                <a:gd name="connsiteY8" fmla="*/ 42485 h 117212"/>
                <a:gd name="connsiteX9" fmla="*/ 68137 w 96471"/>
                <a:gd name="connsiteY9" fmla="*/ 0 h 117212"/>
                <a:gd name="connsiteX10" fmla="*/ 69511 w 96471"/>
                <a:gd name="connsiteY10" fmla="*/ 395 h 117212"/>
                <a:gd name="connsiteX11" fmla="*/ 71531 w 96471"/>
                <a:gd name="connsiteY11" fmla="*/ 1873 h 117212"/>
                <a:gd name="connsiteX12" fmla="*/ 73633 w 96471"/>
                <a:gd name="connsiteY12" fmla="*/ 3031 h 117212"/>
                <a:gd name="connsiteX13" fmla="*/ 75813 w 96471"/>
                <a:gd name="connsiteY13" fmla="*/ 3949 h 117212"/>
                <a:gd name="connsiteX14" fmla="*/ 73718 w 96471"/>
                <a:gd name="connsiteY14" fmla="*/ 5785 h 117212"/>
                <a:gd name="connsiteX15" fmla="*/ 71143 w 96471"/>
                <a:gd name="connsiteY15" fmla="*/ 7058 h 117212"/>
                <a:gd name="connsiteX16" fmla="*/ 70130 w 96471"/>
                <a:gd name="connsiteY16" fmla="*/ 8444 h 117212"/>
                <a:gd name="connsiteX17" fmla="*/ 66631 w 96471"/>
                <a:gd name="connsiteY17" fmla="*/ 10422 h 117212"/>
                <a:gd name="connsiteX18" fmla="*/ 66089 w 96471"/>
                <a:gd name="connsiteY18" fmla="*/ 11171 h 117212"/>
                <a:gd name="connsiteX19" fmla="*/ 65103 w 96471"/>
                <a:gd name="connsiteY19" fmla="*/ 14188 h 117212"/>
                <a:gd name="connsiteX20" fmla="*/ 64987 w 96471"/>
                <a:gd name="connsiteY20" fmla="*/ 15048 h 117212"/>
                <a:gd name="connsiteX21" fmla="*/ 63861 w 96471"/>
                <a:gd name="connsiteY21" fmla="*/ 16633 h 117212"/>
                <a:gd name="connsiteX22" fmla="*/ 62795 w 96471"/>
                <a:gd name="connsiteY22" fmla="*/ 18395 h 117212"/>
                <a:gd name="connsiteX23" fmla="*/ 61555 w 96471"/>
                <a:gd name="connsiteY23" fmla="*/ 19077 h 117212"/>
                <a:gd name="connsiteX24" fmla="*/ 59708 w 96471"/>
                <a:gd name="connsiteY24" fmla="*/ 19618 h 117212"/>
                <a:gd name="connsiteX25" fmla="*/ 58658 w 96471"/>
                <a:gd name="connsiteY25" fmla="*/ 20156 h 117212"/>
                <a:gd name="connsiteX26" fmla="*/ 57336 w 96471"/>
                <a:gd name="connsiteY26" fmla="*/ 19886 h 117212"/>
                <a:gd name="connsiteX27" fmla="*/ 55662 w 96471"/>
                <a:gd name="connsiteY27" fmla="*/ 19929 h 117212"/>
                <a:gd name="connsiteX28" fmla="*/ 54830 w 96471"/>
                <a:gd name="connsiteY28" fmla="*/ 20527 h 117212"/>
                <a:gd name="connsiteX29" fmla="*/ 54871 w 96471"/>
                <a:gd name="connsiteY29" fmla="*/ 20986 h 117212"/>
                <a:gd name="connsiteX30" fmla="*/ 55371 w 96471"/>
                <a:gd name="connsiteY30" fmla="*/ 21515 h 117212"/>
                <a:gd name="connsiteX31" fmla="*/ 56837 w 96471"/>
                <a:gd name="connsiteY31" fmla="*/ 22322 h 117212"/>
                <a:gd name="connsiteX32" fmla="*/ 58463 w 96471"/>
                <a:gd name="connsiteY32" fmla="*/ 23052 h 117212"/>
                <a:gd name="connsiteX33" fmla="*/ 58284 w 96471"/>
                <a:gd name="connsiteY33" fmla="*/ 23691 h 117212"/>
                <a:gd name="connsiteX34" fmla="*/ 57413 w 96471"/>
                <a:gd name="connsiteY34" fmla="*/ 24415 h 117212"/>
                <a:gd name="connsiteX35" fmla="*/ 51873 w 96471"/>
                <a:gd name="connsiteY35" fmla="*/ 26211 h 117212"/>
                <a:gd name="connsiteX36" fmla="*/ 50223 w 96471"/>
                <a:gd name="connsiteY36" fmla="*/ 27295 h 117212"/>
                <a:gd name="connsiteX37" fmla="*/ 49651 w 96471"/>
                <a:gd name="connsiteY37" fmla="*/ 28010 h 117212"/>
                <a:gd name="connsiteX38" fmla="*/ 50238 w 96471"/>
                <a:gd name="connsiteY38" fmla="*/ 29208 h 117212"/>
                <a:gd name="connsiteX39" fmla="*/ 54656 w 96471"/>
                <a:gd name="connsiteY39" fmla="*/ 32794 h 117212"/>
                <a:gd name="connsiteX40" fmla="*/ 55408 w 96471"/>
                <a:gd name="connsiteY40" fmla="*/ 33184 h 117212"/>
                <a:gd name="connsiteX41" fmla="*/ 56061 w 96471"/>
                <a:gd name="connsiteY41" fmla="*/ 35268 h 117212"/>
                <a:gd name="connsiteX42" fmla="*/ 59956 w 96471"/>
                <a:gd name="connsiteY42" fmla="*/ 36139 h 117212"/>
                <a:gd name="connsiteX43" fmla="*/ 61553 w 96471"/>
                <a:gd name="connsiteY43" fmla="*/ 37440 h 117212"/>
                <a:gd name="connsiteX44" fmla="*/ 62927 w 96471"/>
                <a:gd name="connsiteY44" fmla="*/ 37752 h 117212"/>
                <a:gd name="connsiteX45" fmla="*/ 65912 w 96471"/>
                <a:gd name="connsiteY45" fmla="*/ 37639 h 117212"/>
                <a:gd name="connsiteX46" fmla="*/ 67112 w 96471"/>
                <a:gd name="connsiteY46" fmla="*/ 38128 h 117212"/>
                <a:gd name="connsiteX47" fmla="*/ 67790 w 96471"/>
                <a:gd name="connsiteY47" fmla="*/ 37757 h 117212"/>
                <a:gd name="connsiteX48" fmla="*/ 68183 w 96471"/>
                <a:gd name="connsiteY48" fmla="*/ 37071 h 117212"/>
                <a:gd name="connsiteX49" fmla="*/ 70696 w 96471"/>
                <a:gd name="connsiteY49" fmla="*/ 35304 h 117212"/>
                <a:gd name="connsiteX50" fmla="*/ 71527 w 96471"/>
                <a:gd name="connsiteY50" fmla="*/ 34532 h 117212"/>
                <a:gd name="connsiteX51" fmla="*/ 71028 w 96471"/>
                <a:gd name="connsiteY51" fmla="*/ 33454 h 117212"/>
                <a:gd name="connsiteX52" fmla="*/ 70485 w 96471"/>
                <a:gd name="connsiteY52" fmla="*/ 32635 h 117212"/>
                <a:gd name="connsiteX53" fmla="*/ 72013 w 96471"/>
                <a:gd name="connsiteY53" fmla="*/ 31003 h 117212"/>
                <a:gd name="connsiteX54" fmla="*/ 73866 w 96471"/>
                <a:gd name="connsiteY54" fmla="*/ 29391 h 117212"/>
                <a:gd name="connsiteX55" fmla="*/ 74795 w 96471"/>
                <a:gd name="connsiteY55" fmla="*/ 29439 h 117212"/>
                <a:gd name="connsiteX56" fmla="*/ 76377 w 96471"/>
                <a:gd name="connsiteY56" fmla="*/ 30426 h 117212"/>
                <a:gd name="connsiteX57" fmla="*/ 77680 w 96471"/>
                <a:gd name="connsiteY57" fmla="*/ 31804 h 117212"/>
                <a:gd name="connsiteX58" fmla="*/ 77857 w 96471"/>
                <a:gd name="connsiteY58" fmla="*/ 32871 h 117212"/>
                <a:gd name="connsiteX59" fmla="*/ 78097 w 96471"/>
                <a:gd name="connsiteY59" fmla="*/ 33645 h 117212"/>
                <a:gd name="connsiteX60" fmla="*/ 79330 w 96471"/>
                <a:gd name="connsiteY60" fmla="*/ 35297 h 117212"/>
                <a:gd name="connsiteX61" fmla="*/ 80126 w 96471"/>
                <a:gd name="connsiteY61" fmla="*/ 35867 h 117212"/>
                <a:gd name="connsiteX62" fmla="*/ 82273 w 96471"/>
                <a:gd name="connsiteY62" fmla="*/ 36198 h 117212"/>
                <a:gd name="connsiteX63" fmla="*/ 82773 w 96471"/>
                <a:gd name="connsiteY63" fmla="*/ 36846 h 117212"/>
                <a:gd name="connsiteX64" fmla="*/ 82390 w 96471"/>
                <a:gd name="connsiteY64" fmla="*/ 39235 h 117212"/>
                <a:gd name="connsiteX65" fmla="*/ 82709 w 96471"/>
                <a:gd name="connsiteY65" fmla="*/ 40029 h 117212"/>
                <a:gd name="connsiteX66" fmla="*/ 84957 w 96471"/>
                <a:gd name="connsiteY66" fmla="*/ 40070 h 117212"/>
                <a:gd name="connsiteX67" fmla="*/ 87342 w 96471"/>
                <a:gd name="connsiteY67" fmla="*/ 39877 h 117212"/>
                <a:gd name="connsiteX68" fmla="*/ 88175 w 96471"/>
                <a:gd name="connsiteY68" fmla="*/ 39968 h 117212"/>
                <a:gd name="connsiteX69" fmla="*/ 89036 w 96471"/>
                <a:gd name="connsiteY69" fmla="*/ 39468 h 117212"/>
                <a:gd name="connsiteX70" fmla="*/ 90363 w 96471"/>
                <a:gd name="connsiteY70" fmla="*/ 38929 h 117212"/>
                <a:gd name="connsiteX71" fmla="*/ 92257 w 96471"/>
                <a:gd name="connsiteY71" fmla="*/ 39115 h 117212"/>
                <a:gd name="connsiteX72" fmla="*/ 93191 w 96471"/>
                <a:gd name="connsiteY72" fmla="*/ 40184 h 117212"/>
                <a:gd name="connsiteX73" fmla="*/ 93607 w 96471"/>
                <a:gd name="connsiteY73" fmla="*/ 41285 h 117212"/>
                <a:gd name="connsiteX74" fmla="*/ 91977 w 96471"/>
                <a:gd name="connsiteY74" fmla="*/ 41699 h 117212"/>
                <a:gd name="connsiteX75" fmla="*/ 90275 w 96471"/>
                <a:gd name="connsiteY75" fmla="*/ 41473 h 117212"/>
                <a:gd name="connsiteX76" fmla="*/ 89445 w 96471"/>
                <a:gd name="connsiteY76" fmla="*/ 42196 h 117212"/>
                <a:gd name="connsiteX77" fmla="*/ 89391 w 96471"/>
                <a:gd name="connsiteY77" fmla="*/ 43588 h 117212"/>
                <a:gd name="connsiteX78" fmla="*/ 89966 w 96471"/>
                <a:gd name="connsiteY78" fmla="*/ 45379 h 117212"/>
                <a:gd name="connsiteX79" fmla="*/ 91104 w 96471"/>
                <a:gd name="connsiteY79" fmla="*/ 46649 h 117212"/>
                <a:gd name="connsiteX80" fmla="*/ 92014 w 96471"/>
                <a:gd name="connsiteY80" fmla="*/ 49509 h 117212"/>
                <a:gd name="connsiteX81" fmla="*/ 92768 w 96471"/>
                <a:gd name="connsiteY81" fmla="*/ 52676 h 117212"/>
                <a:gd name="connsiteX82" fmla="*/ 93941 w 96471"/>
                <a:gd name="connsiteY82" fmla="*/ 54588 h 117212"/>
                <a:gd name="connsiteX83" fmla="*/ 94182 w 96471"/>
                <a:gd name="connsiteY83" fmla="*/ 56958 h 117212"/>
                <a:gd name="connsiteX84" fmla="*/ 94009 w 96471"/>
                <a:gd name="connsiteY84" fmla="*/ 58122 h 117212"/>
                <a:gd name="connsiteX85" fmla="*/ 94223 w 96471"/>
                <a:gd name="connsiteY85" fmla="*/ 60212 h 117212"/>
                <a:gd name="connsiteX86" fmla="*/ 93724 w 96471"/>
                <a:gd name="connsiteY86" fmla="*/ 60948 h 117212"/>
                <a:gd name="connsiteX87" fmla="*/ 94098 w 96471"/>
                <a:gd name="connsiteY87" fmla="*/ 62908 h 117212"/>
                <a:gd name="connsiteX88" fmla="*/ 95479 w 96471"/>
                <a:gd name="connsiteY88" fmla="*/ 66960 h 117212"/>
                <a:gd name="connsiteX89" fmla="*/ 96082 w 96471"/>
                <a:gd name="connsiteY89" fmla="*/ 69214 h 117212"/>
                <a:gd name="connsiteX90" fmla="*/ 96471 w 96471"/>
                <a:gd name="connsiteY90" fmla="*/ 74127 h 117212"/>
                <a:gd name="connsiteX91" fmla="*/ 95497 w 96471"/>
                <a:gd name="connsiteY91" fmla="*/ 75966 h 117212"/>
                <a:gd name="connsiteX92" fmla="*/ 94188 w 96471"/>
                <a:gd name="connsiteY92" fmla="*/ 77709 h 117212"/>
                <a:gd name="connsiteX93" fmla="*/ 93333 w 96471"/>
                <a:gd name="connsiteY93" fmla="*/ 79774 h 117212"/>
                <a:gd name="connsiteX94" fmla="*/ 92672 w 96471"/>
                <a:gd name="connsiteY94" fmla="*/ 82001 h 117212"/>
                <a:gd name="connsiteX95" fmla="*/ 92274 w 96471"/>
                <a:gd name="connsiteY95" fmla="*/ 85587 h 117212"/>
                <a:gd name="connsiteX96" fmla="*/ 89440 w 96471"/>
                <a:gd name="connsiteY96" fmla="*/ 89784 h 117212"/>
                <a:gd name="connsiteX97" fmla="*/ 88234 w 96471"/>
                <a:gd name="connsiteY97" fmla="*/ 90826 h 117212"/>
                <a:gd name="connsiteX98" fmla="*/ 86835 w 96471"/>
                <a:gd name="connsiteY98" fmla="*/ 91467 h 117212"/>
                <a:gd name="connsiteX99" fmla="*/ 89891 w 96471"/>
                <a:gd name="connsiteY99" fmla="*/ 94395 h 117212"/>
                <a:gd name="connsiteX100" fmla="*/ 87394 w 96471"/>
                <a:gd name="connsiteY100" fmla="*/ 95700 h 117212"/>
                <a:gd name="connsiteX101" fmla="*/ 84671 w 96471"/>
                <a:gd name="connsiteY101" fmla="*/ 96111 h 117212"/>
                <a:gd name="connsiteX102" fmla="*/ 81658 w 96471"/>
                <a:gd name="connsiteY102" fmla="*/ 95379 h 117212"/>
                <a:gd name="connsiteX103" fmla="*/ 79781 w 96471"/>
                <a:gd name="connsiteY103" fmla="*/ 95468 h 117212"/>
                <a:gd name="connsiteX104" fmla="*/ 78067 w 96471"/>
                <a:gd name="connsiteY104" fmla="*/ 96415 h 117212"/>
                <a:gd name="connsiteX105" fmla="*/ 77392 w 96471"/>
                <a:gd name="connsiteY105" fmla="*/ 96988 h 117212"/>
                <a:gd name="connsiteX106" fmla="*/ 76853 w 96471"/>
                <a:gd name="connsiteY106" fmla="*/ 96711 h 117212"/>
                <a:gd name="connsiteX107" fmla="*/ 75722 w 96471"/>
                <a:gd name="connsiteY107" fmla="*/ 94311 h 117212"/>
                <a:gd name="connsiteX108" fmla="*/ 74893 w 96471"/>
                <a:gd name="connsiteY108" fmla="*/ 96790 h 117212"/>
                <a:gd name="connsiteX109" fmla="*/ 73157 w 96471"/>
                <a:gd name="connsiteY109" fmla="*/ 97578 h 117212"/>
                <a:gd name="connsiteX110" fmla="*/ 70184 w 96471"/>
                <a:gd name="connsiteY110" fmla="*/ 97410 h 117212"/>
                <a:gd name="connsiteX111" fmla="*/ 65217 w 96471"/>
                <a:gd name="connsiteY111" fmla="*/ 98070 h 117212"/>
                <a:gd name="connsiteX112" fmla="*/ 63306 w 96471"/>
                <a:gd name="connsiteY112" fmla="*/ 98775 h 117212"/>
                <a:gd name="connsiteX113" fmla="*/ 62512 w 96471"/>
                <a:gd name="connsiteY113" fmla="*/ 99878 h 117212"/>
                <a:gd name="connsiteX114" fmla="*/ 61922 w 96471"/>
                <a:gd name="connsiteY114" fmla="*/ 101152 h 117212"/>
                <a:gd name="connsiteX115" fmla="*/ 61147 w 96471"/>
                <a:gd name="connsiteY115" fmla="*/ 101904 h 117212"/>
                <a:gd name="connsiteX116" fmla="*/ 60271 w 96471"/>
                <a:gd name="connsiteY116" fmla="*/ 102300 h 117212"/>
                <a:gd name="connsiteX117" fmla="*/ 56436 w 96471"/>
                <a:gd name="connsiteY117" fmla="*/ 103238 h 117212"/>
                <a:gd name="connsiteX118" fmla="*/ 55680 w 96471"/>
                <a:gd name="connsiteY118" fmla="*/ 103613 h 117212"/>
                <a:gd name="connsiteX119" fmla="*/ 53904 w 96471"/>
                <a:gd name="connsiteY119" fmla="*/ 105667 h 117212"/>
                <a:gd name="connsiteX120" fmla="*/ 51575 w 96471"/>
                <a:gd name="connsiteY120" fmla="*/ 106853 h 117212"/>
                <a:gd name="connsiteX121" fmla="*/ 49646 w 96471"/>
                <a:gd name="connsiteY121" fmla="*/ 107208 h 117212"/>
                <a:gd name="connsiteX122" fmla="*/ 47934 w 96471"/>
                <a:gd name="connsiteY122" fmla="*/ 106014 h 117212"/>
                <a:gd name="connsiteX123" fmla="*/ 47230 w 96471"/>
                <a:gd name="connsiteY123" fmla="*/ 105296 h 117212"/>
                <a:gd name="connsiteX124" fmla="*/ 46435 w 96471"/>
                <a:gd name="connsiteY124" fmla="*/ 104931 h 117212"/>
                <a:gd name="connsiteX125" fmla="*/ 43805 w 96471"/>
                <a:gd name="connsiteY125" fmla="*/ 104987 h 117212"/>
                <a:gd name="connsiteX126" fmla="*/ 44636 w 96471"/>
                <a:gd name="connsiteY126" fmla="*/ 105357 h 117212"/>
                <a:gd name="connsiteX127" fmla="*/ 45172 w 96471"/>
                <a:gd name="connsiteY127" fmla="*/ 106200 h 117212"/>
                <a:gd name="connsiteX128" fmla="*/ 45432 w 96471"/>
                <a:gd name="connsiteY128" fmla="*/ 107815 h 117212"/>
                <a:gd name="connsiteX129" fmla="*/ 45133 w 96471"/>
                <a:gd name="connsiteY129" fmla="*/ 109397 h 117212"/>
                <a:gd name="connsiteX130" fmla="*/ 43836 w 96471"/>
                <a:gd name="connsiteY130" fmla="*/ 110200 h 117212"/>
                <a:gd name="connsiteX131" fmla="*/ 42287 w 96471"/>
                <a:gd name="connsiteY131" fmla="*/ 110348 h 117212"/>
                <a:gd name="connsiteX132" fmla="*/ 39845 w 96471"/>
                <a:gd name="connsiteY132" fmla="*/ 111987 h 117212"/>
                <a:gd name="connsiteX133" fmla="*/ 36612 w 96471"/>
                <a:gd name="connsiteY133" fmla="*/ 112435 h 117212"/>
                <a:gd name="connsiteX134" fmla="*/ 34866 w 96471"/>
                <a:gd name="connsiteY134" fmla="*/ 113943 h 117212"/>
                <a:gd name="connsiteX135" fmla="*/ 24185 w 96471"/>
                <a:gd name="connsiteY135" fmla="*/ 116492 h 117212"/>
                <a:gd name="connsiteX136" fmla="*/ 23579 w 96471"/>
                <a:gd name="connsiteY136" fmla="*/ 116522 h 117212"/>
                <a:gd name="connsiteX137" fmla="*/ 22105 w 96471"/>
                <a:gd name="connsiteY137" fmla="*/ 115873 h 117212"/>
                <a:gd name="connsiteX138" fmla="*/ 20506 w 96471"/>
                <a:gd name="connsiteY138" fmla="*/ 115586 h 117212"/>
                <a:gd name="connsiteX139" fmla="*/ 18914 w 96471"/>
                <a:gd name="connsiteY139" fmla="*/ 115789 h 117212"/>
                <a:gd name="connsiteX140" fmla="*/ 14438 w 96471"/>
                <a:gd name="connsiteY140" fmla="*/ 117212 h 117212"/>
                <a:gd name="connsiteX141" fmla="*/ 12270 w 96471"/>
                <a:gd name="connsiteY141" fmla="*/ 116929 h 117212"/>
                <a:gd name="connsiteX142" fmla="*/ 15033 w 96471"/>
                <a:gd name="connsiteY142" fmla="*/ 113390 h 117212"/>
                <a:gd name="connsiteX143" fmla="*/ 18748 w 96471"/>
                <a:gd name="connsiteY143" fmla="*/ 111602 h 117212"/>
                <a:gd name="connsiteX144" fmla="*/ 19134 w 96471"/>
                <a:gd name="connsiteY144" fmla="*/ 111112 h 117212"/>
                <a:gd name="connsiteX145" fmla="*/ 17920 w 96471"/>
                <a:gd name="connsiteY145" fmla="*/ 110872 h 117212"/>
                <a:gd name="connsiteX146" fmla="*/ 10862 w 96471"/>
                <a:gd name="connsiteY146" fmla="*/ 112114 h 117212"/>
                <a:gd name="connsiteX147" fmla="*/ 8410 w 96471"/>
                <a:gd name="connsiteY147" fmla="*/ 113172 h 117212"/>
                <a:gd name="connsiteX148" fmla="*/ 5959 w 96471"/>
                <a:gd name="connsiteY148" fmla="*/ 113479 h 117212"/>
                <a:gd name="connsiteX149" fmla="*/ 7094 w 96471"/>
                <a:gd name="connsiteY149" fmla="*/ 111864 h 117212"/>
                <a:gd name="connsiteX150" fmla="*/ 10256 w 96471"/>
                <a:gd name="connsiteY150" fmla="*/ 109650 h 117212"/>
                <a:gd name="connsiteX151" fmla="*/ 11952 w 96471"/>
                <a:gd name="connsiteY151" fmla="*/ 108607 h 117212"/>
                <a:gd name="connsiteX152" fmla="*/ 12987 w 96471"/>
                <a:gd name="connsiteY152" fmla="*/ 108193 h 117212"/>
                <a:gd name="connsiteX153" fmla="*/ 14168 w 96471"/>
                <a:gd name="connsiteY153" fmla="*/ 106891 h 117212"/>
                <a:gd name="connsiteX154" fmla="*/ 17500 w 96471"/>
                <a:gd name="connsiteY154" fmla="*/ 105411 h 117212"/>
                <a:gd name="connsiteX155" fmla="*/ 6767 w 96471"/>
                <a:gd name="connsiteY155" fmla="*/ 108463 h 117212"/>
                <a:gd name="connsiteX156" fmla="*/ 3947 w 96471"/>
                <a:gd name="connsiteY156" fmla="*/ 108091 h 117212"/>
                <a:gd name="connsiteX157" fmla="*/ 3283 w 96471"/>
                <a:gd name="connsiteY157" fmla="*/ 107240 h 117212"/>
                <a:gd name="connsiteX158" fmla="*/ 1087 w 96471"/>
                <a:gd name="connsiteY158" fmla="*/ 107639 h 117212"/>
                <a:gd name="connsiteX159" fmla="*/ 255 w 96471"/>
                <a:gd name="connsiteY159" fmla="*/ 105579 h 117212"/>
                <a:gd name="connsiteX160" fmla="*/ 3508 w 96471"/>
                <a:gd name="connsiteY160" fmla="*/ 102454 h 117212"/>
                <a:gd name="connsiteX161" fmla="*/ 5404 w 96471"/>
                <a:gd name="connsiteY161" fmla="*/ 101109 h 117212"/>
                <a:gd name="connsiteX162" fmla="*/ 7655 w 96471"/>
                <a:gd name="connsiteY162" fmla="*/ 100382 h 117212"/>
                <a:gd name="connsiteX163" fmla="*/ 9822 w 96471"/>
                <a:gd name="connsiteY163" fmla="*/ 99339 h 117212"/>
                <a:gd name="connsiteX164" fmla="*/ 10626 w 96471"/>
                <a:gd name="connsiteY164" fmla="*/ 98063 h 117212"/>
                <a:gd name="connsiteX165" fmla="*/ 9606 w 96471"/>
                <a:gd name="connsiteY165" fmla="*/ 97656 h 117212"/>
                <a:gd name="connsiteX166" fmla="*/ 3112 w 96471"/>
                <a:gd name="connsiteY166" fmla="*/ 97980 h 117212"/>
                <a:gd name="connsiteX167" fmla="*/ 0 w 96471"/>
                <a:gd name="connsiteY167" fmla="*/ 97708 h 117212"/>
                <a:gd name="connsiteX168" fmla="*/ 168 w 96471"/>
                <a:gd name="connsiteY168" fmla="*/ 96696 h 117212"/>
                <a:gd name="connsiteX169" fmla="*/ 742 w 96471"/>
                <a:gd name="connsiteY169" fmla="*/ 95574 h 117212"/>
                <a:gd name="connsiteX170" fmla="*/ 3965 w 96471"/>
                <a:gd name="connsiteY170" fmla="*/ 93654 h 117212"/>
                <a:gd name="connsiteX171" fmla="*/ 5708 w 96471"/>
                <a:gd name="connsiteY171" fmla="*/ 93345 h 117212"/>
                <a:gd name="connsiteX172" fmla="*/ 7263 w 96471"/>
                <a:gd name="connsiteY172" fmla="*/ 93528 h 117212"/>
                <a:gd name="connsiteX173" fmla="*/ 8781 w 96471"/>
                <a:gd name="connsiteY173" fmla="*/ 94020 h 117212"/>
                <a:gd name="connsiteX174" fmla="*/ 10015 w 96471"/>
                <a:gd name="connsiteY174" fmla="*/ 94663 h 117212"/>
                <a:gd name="connsiteX175" fmla="*/ 13668 w 96471"/>
                <a:gd name="connsiteY175" fmla="*/ 94294 h 117212"/>
                <a:gd name="connsiteX176" fmla="*/ 12143 w 96471"/>
                <a:gd name="connsiteY176" fmla="*/ 93067 h 117212"/>
                <a:gd name="connsiteX177" fmla="*/ 11874 w 96471"/>
                <a:gd name="connsiteY177" fmla="*/ 90572 h 117212"/>
                <a:gd name="connsiteX178" fmla="*/ 10706 w 96471"/>
                <a:gd name="connsiteY178" fmla="*/ 89733 h 117212"/>
                <a:gd name="connsiteX179" fmla="*/ 12201 w 96471"/>
                <a:gd name="connsiteY179" fmla="*/ 88575 h 117212"/>
                <a:gd name="connsiteX180" fmla="*/ 13911 w 96471"/>
                <a:gd name="connsiteY180" fmla="*/ 87871 h 117212"/>
                <a:gd name="connsiteX181" fmla="*/ 16761 w 96471"/>
                <a:gd name="connsiteY181" fmla="*/ 85473 h 117212"/>
                <a:gd name="connsiteX182" fmla="*/ 17776 w 96471"/>
                <a:gd name="connsiteY182" fmla="*/ 85108 h 117212"/>
                <a:gd name="connsiteX183" fmla="*/ 23416 w 96471"/>
                <a:gd name="connsiteY183" fmla="*/ 84525 h 117212"/>
                <a:gd name="connsiteX184" fmla="*/ 29499 w 96471"/>
                <a:gd name="connsiteY184" fmla="*/ 83263 h 117212"/>
                <a:gd name="connsiteX185" fmla="*/ 35529 w 96471"/>
                <a:gd name="connsiteY185" fmla="*/ 81519 h 117212"/>
                <a:gd name="connsiteX186" fmla="*/ 32437 w 96471"/>
                <a:gd name="connsiteY186" fmla="*/ 80544 h 117212"/>
                <a:gd name="connsiteX187" fmla="*/ 30956 w 96471"/>
                <a:gd name="connsiteY187" fmla="*/ 79257 h 117212"/>
                <a:gd name="connsiteX188" fmla="*/ 28576 w 96471"/>
                <a:gd name="connsiteY188" fmla="*/ 81858 h 117212"/>
                <a:gd name="connsiteX189" fmla="*/ 26863 w 96471"/>
                <a:gd name="connsiteY189" fmla="*/ 82852 h 117212"/>
                <a:gd name="connsiteX190" fmla="*/ 22024 w 96471"/>
                <a:gd name="connsiteY190" fmla="*/ 83383 h 117212"/>
                <a:gd name="connsiteX191" fmla="*/ 20492 w 96471"/>
                <a:gd name="connsiteY191" fmla="*/ 83091 h 117212"/>
                <a:gd name="connsiteX192" fmla="*/ 18335 w 96471"/>
                <a:gd name="connsiteY192" fmla="*/ 82284 h 117212"/>
                <a:gd name="connsiteX193" fmla="*/ 17665 w 96471"/>
                <a:gd name="connsiteY193" fmla="*/ 82592 h 117212"/>
                <a:gd name="connsiteX194" fmla="*/ 17042 w 96471"/>
                <a:gd name="connsiteY194" fmla="*/ 83215 h 117212"/>
                <a:gd name="connsiteX195" fmla="*/ 13839 w 96471"/>
                <a:gd name="connsiteY195" fmla="*/ 84489 h 117212"/>
                <a:gd name="connsiteX196" fmla="*/ 10473 w 96471"/>
                <a:gd name="connsiteY196" fmla="*/ 84794 h 117212"/>
                <a:gd name="connsiteX197" fmla="*/ 14387 w 96471"/>
                <a:gd name="connsiteY197" fmla="*/ 82456 h 117212"/>
                <a:gd name="connsiteX198" fmla="*/ 19353 w 96471"/>
                <a:gd name="connsiteY198" fmla="*/ 78489 h 117212"/>
                <a:gd name="connsiteX199" fmla="*/ 20461 w 96471"/>
                <a:gd name="connsiteY199" fmla="*/ 77234 h 117212"/>
                <a:gd name="connsiteX200" fmla="*/ 22037 w 96471"/>
                <a:gd name="connsiteY200" fmla="*/ 75050 h 117212"/>
                <a:gd name="connsiteX201" fmla="*/ 21549 w 96471"/>
                <a:gd name="connsiteY201" fmla="*/ 74078 h 117212"/>
                <a:gd name="connsiteX202" fmla="*/ 20526 w 96471"/>
                <a:gd name="connsiteY202" fmla="*/ 73524 h 117212"/>
                <a:gd name="connsiteX203" fmla="*/ 24125 w 96471"/>
                <a:gd name="connsiteY203" fmla="*/ 69022 h 117212"/>
                <a:gd name="connsiteX204" fmla="*/ 25392 w 96471"/>
                <a:gd name="connsiteY204" fmla="*/ 68204 h 117212"/>
                <a:gd name="connsiteX205" fmla="*/ 27699 w 96471"/>
                <a:gd name="connsiteY205" fmla="*/ 68072 h 117212"/>
                <a:gd name="connsiteX206" fmla="*/ 29389 w 96471"/>
                <a:gd name="connsiteY206" fmla="*/ 67357 h 117212"/>
                <a:gd name="connsiteX207" fmla="*/ 30134 w 96471"/>
                <a:gd name="connsiteY207" fmla="*/ 67354 h 117212"/>
                <a:gd name="connsiteX208" fmla="*/ 30804 w 96471"/>
                <a:gd name="connsiteY208" fmla="*/ 67088 h 117212"/>
                <a:gd name="connsiteX209" fmla="*/ 32286 w 96471"/>
                <a:gd name="connsiteY209" fmla="*/ 65736 h 117212"/>
                <a:gd name="connsiteX210" fmla="*/ 29999 w 96471"/>
                <a:gd name="connsiteY210" fmla="*/ 64876 h 117212"/>
                <a:gd name="connsiteX211" fmla="*/ 27638 w 96471"/>
                <a:gd name="connsiteY211" fmla="*/ 64433 h 117212"/>
                <a:gd name="connsiteX212" fmla="*/ 20332 w 96471"/>
                <a:gd name="connsiteY212" fmla="*/ 64902 h 117212"/>
                <a:gd name="connsiteX213" fmla="*/ 19371 w 96471"/>
                <a:gd name="connsiteY213" fmla="*/ 64801 h 117212"/>
                <a:gd name="connsiteX214" fmla="*/ 18465 w 96471"/>
                <a:gd name="connsiteY214" fmla="*/ 64386 h 117212"/>
                <a:gd name="connsiteX215" fmla="*/ 17877 w 96471"/>
                <a:gd name="connsiteY215" fmla="*/ 63787 h 117212"/>
                <a:gd name="connsiteX216" fmla="*/ 17435 w 96471"/>
                <a:gd name="connsiteY216" fmla="*/ 62252 h 117212"/>
                <a:gd name="connsiteX217" fmla="*/ 16899 w 96471"/>
                <a:gd name="connsiteY217" fmla="*/ 61909 h 117212"/>
                <a:gd name="connsiteX218" fmla="*/ 15250 w 96471"/>
                <a:gd name="connsiteY218" fmla="*/ 61909 h 117212"/>
                <a:gd name="connsiteX219" fmla="*/ 13625 w 96471"/>
                <a:gd name="connsiteY219" fmla="*/ 62378 h 117212"/>
                <a:gd name="connsiteX220" fmla="*/ 12490 w 96471"/>
                <a:gd name="connsiteY220" fmla="*/ 62333 h 117212"/>
                <a:gd name="connsiteX221" fmla="*/ 11376 w 96471"/>
                <a:gd name="connsiteY221" fmla="*/ 61660 h 117212"/>
                <a:gd name="connsiteX222" fmla="*/ 13153 w 96471"/>
                <a:gd name="connsiteY222" fmla="*/ 60088 h 117212"/>
                <a:gd name="connsiteX223" fmla="*/ 10862 w 96471"/>
                <a:gd name="connsiteY223" fmla="*/ 59718 h 117212"/>
                <a:gd name="connsiteX224" fmla="*/ 8542 w 96471"/>
                <a:gd name="connsiteY224" fmla="*/ 60027 h 117212"/>
                <a:gd name="connsiteX225" fmla="*/ 6611 w 96471"/>
                <a:gd name="connsiteY225" fmla="*/ 59551 h 117212"/>
                <a:gd name="connsiteX226" fmla="*/ 6551 w 96471"/>
                <a:gd name="connsiteY226" fmla="*/ 58564 h 117212"/>
                <a:gd name="connsiteX227" fmla="*/ 7426 w 96471"/>
                <a:gd name="connsiteY227" fmla="*/ 57579 h 117212"/>
                <a:gd name="connsiteX228" fmla="*/ 6279 w 96471"/>
                <a:gd name="connsiteY228" fmla="*/ 56644 h 117212"/>
                <a:gd name="connsiteX229" fmla="*/ 6042 w 96471"/>
                <a:gd name="connsiteY229" fmla="*/ 55462 h 117212"/>
                <a:gd name="connsiteX230" fmla="*/ 7264 w 96471"/>
                <a:gd name="connsiteY230" fmla="*/ 54881 h 117212"/>
                <a:gd name="connsiteX231" fmla="*/ 8599 w 96471"/>
                <a:gd name="connsiteY231" fmla="*/ 55074 h 117212"/>
                <a:gd name="connsiteX232" fmla="*/ 11320 w 96471"/>
                <a:gd name="connsiteY232" fmla="*/ 54199 h 117212"/>
                <a:gd name="connsiteX233" fmla="*/ 14806 w 96471"/>
                <a:gd name="connsiteY233" fmla="*/ 53774 h 117212"/>
                <a:gd name="connsiteX234" fmla="*/ 11816 w 96471"/>
                <a:gd name="connsiteY234" fmla="*/ 52911 h 117212"/>
                <a:gd name="connsiteX235" fmla="*/ 10625 w 96471"/>
                <a:gd name="connsiteY235" fmla="*/ 52171 h 117212"/>
                <a:gd name="connsiteX236" fmla="*/ 10568 w 96471"/>
                <a:gd name="connsiteY236" fmla="*/ 51038 h 117212"/>
                <a:gd name="connsiteX237" fmla="*/ 10805 w 96471"/>
                <a:gd name="connsiteY237" fmla="*/ 50068 h 117212"/>
                <a:gd name="connsiteX238" fmla="*/ 14266 w 96471"/>
                <a:gd name="connsiteY238" fmla="*/ 48427 h 117212"/>
                <a:gd name="connsiteX239" fmla="*/ 17955 w 96471"/>
                <a:gd name="connsiteY239" fmla="*/ 47703 h 117212"/>
                <a:gd name="connsiteX240" fmla="*/ 17683 w 96471"/>
                <a:gd name="connsiteY240" fmla="*/ 46621 h 117212"/>
                <a:gd name="connsiteX241" fmla="*/ 17941 w 96471"/>
                <a:gd name="connsiteY241" fmla="*/ 45450 h 117212"/>
                <a:gd name="connsiteX242" fmla="*/ 14212 w 96471"/>
                <a:gd name="connsiteY242" fmla="*/ 45112 h 117212"/>
                <a:gd name="connsiteX243" fmla="*/ 10529 w 96471"/>
                <a:gd name="connsiteY243" fmla="*/ 45938 h 117212"/>
                <a:gd name="connsiteX244" fmla="*/ 10923 w 96471"/>
                <a:gd name="connsiteY244" fmla="*/ 43700 h 117212"/>
                <a:gd name="connsiteX245" fmla="*/ 11805 w 96471"/>
                <a:gd name="connsiteY245" fmla="*/ 41678 h 117212"/>
                <a:gd name="connsiteX246" fmla="*/ 11979 w 96471"/>
                <a:gd name="connsiteY246" fmla="*/ 40343 h 117212"/>
                <a:gd name="connsiteX247" fmla="*/ 11803 w 96471"/>
                <a:gd name="connsiteY247" fmla="*/ 38914 h 117212"/>
                <a:gd name="connsiteX248" fmla="*/ 10078 w 96471"/>
                <a:gd name="connsiteY248" fmla="*/ 39525 h 117212"/>
                <a:gd name="connsiteX249" fmla="*/ 9876 w 96471"/>
                <a:gd name="connsiteY249" fmla="*/ 37509 h 117212"/>
                <a:gd name="connsiteX250" fmla="*/ 9135 w 96471"/>
                <a:gd name="connsiteY250" fmla="*/ 36125 h 117212"/>
                <a:gd name="connsiteX251" fmla="*/ 6580 w 96471"/>
                <a:gd name="connsiteY251" fmla="*/ 37078 h 117212"/>
                <a:gd name="connsiteX252" fmla="*/ 6646 w 96471"/>
                <a:gd name="connsiteY252" fmla="*/ 35252 h 117212"/>
                <a:gd name="connsiteX253" fmla="*/ 7382 w 96471"/>
                <a:gd name="connsiteY253" fmla="*/ 33975 h 117212"/>
                <a:gd name="connsiteX254" fmla="*/ 8718 w 96471"/>
                <a:gd name="connsiteY254" fmla="*/ 33420 h 117212"/>
                <a:gd name="connsiteX255" fmla="*/ 10045 w 96471"/>
                <a:gd name="connsiteY255" fmla="*/ 33661 h 117212"/>
                <a:gd name="connsiteX256" fmla="*/ 12508 w 96471"/>
                <a:gd name="connsiteY256" fmla="*/ 33637 h 117212"/>
                <a:gd name="connsiteX257" fmla="*/ 14883 w 96471"/>
                <a:gd name="connsiteY257" fmla="*/ 32677 h 117212"/>
                <a:gd name="connsiteX258" fmla="*/ 18307 w 96471"/>
                <a:gd name="connsiteY258" fmla="*/ 32430 h 117212"/>
                <a:gd name="connsiteX259" fmla="*/ 23764 w 96471"/>
                <a:gd name="connsiteY259" fmla="*/ 32732 h 117212"/>
                <a:gd name="connsiteX260" fmla="*/ 27515 w 96471"/>
                <a:gd name="connsiteY260" fmla="*/ 35441 h 117212"/>
                <a:gd name="connsiteX261" fmla="*/ 28483 w 96471"/>
                <a:gd name="connsiteY261" fmla="*/ 34957 h 117212"/>
                <a:gd name="connsiteX262" fmla="*/ 29983 w 96471"/>
                <a:gd name="connsiteY262" fmla="*/ 33245 h 117212"/>
                <a:gd name="connsiteX263" fmla="*/ 30687 w 96471"/>
                <a:gd name="connsiteY263" fmla="*/ 33056 h 117212"/>
                <a:gd name="connsiteX264" fmla="*/ 36340 w 96471"/>
                <a:gd name="connsiteY264" fmla="*/ 33802 h 117212"/>
                <a:gd name="connsiteX265" fmla="*/ 39851 w 96471"/>
                <a:gd name="connsiteY265" fmla="*/ 34787 h 117212"/>
                <a:gd name="connsiteX266" fmla="*/ 40790 w 96471"/>
                <a:gd name="connsiteY266" fmla="*/ 34480 h 117212"/>
                <a:gd name="connsiteX267" fmla="*/ 40283 w 96471"/>
                <a:gd name="connsiteY267" fmla="*/ 32580 h 117212"/>
                <a:gd name="connsiteX268" fmla="*/ 39074 w 96471"/>
                <a:gd name="connsiteY268" fmla="*/ 31262 h 117212"/>
                <a:gd name="connsiteX269" fmla="*/ 40593 w 96471"/>
                <a:gd name="connsiteY269" fmla="*/ 29534 h 117212"/>
                <a:gd name="connsiteX270" fmla="*/ 42438 w 96471"/>
                <a:gd name="connsiteY270" fmla="*/ 28363 h 117212"/>
                <a:gd name="connsiteX271" fmla="*/ 43671 w 96471"/>
                <a:gd name="connsiteY271" fmla="*/ 27779 h 117212"/>
                <a:gd name="connsiteX272" fmla="*/ 46518 w 96471"/>
                <a:gd name="connsiteY272" fmla="*/ 27053 h 117212"/>
                <a:gd name="connsiteX273" fmla="*/ 47759 w 96471"/>
                <a:gd name="connsiteY273" fmla="*/ 26369 h 117212"/>
                <a:gd name="connsiteX274" fmla="*/ 48586 w 96471"/>
                <a:gd name="connsiteY274" fmla="*/ 24143 h 117212"/>
                <a:gd name="connsiteX275" fmla="*/ 49902 w 96471"/>
                <a:gd name="connsiteY275" fmla="*/ 22287 h 117212"/>
                <a:gd name="connsiteX276" fmla="*/ 42758 w 96471"/>
                <a:gd name="connsiteY276" fmla="*/ 23252 h 117212"/>
                <a:gd name="connsiteX277" fmla="*/ 35961 w 96471"/>
                <a:gd name="connsiteY277" fmla="*/ 21052 h 117212"/>
                <a:gd name="connsiteX278" fmla="*/ 37039 w 96471"/>
                <a:gd name="connsiteY278" fmla="*/ 19495 h 117212"/>
                <a:gd name="connsiteX279" fmla="*/ 38474 w 96471"/>
                <a:gd name="connsiteY279" fmla="*/ 18612 h 117212"/>
                <a:gd name="connsiteX280" fmla="*/ 40950 w 96471"/>
                <a:gd name="connsiteY280" fmla="*/ 17935 h 117212"/>
                <a:gd name="connsiteX281" fmla="*/ 41185 w 96471"/>
                <a:gd name="connsiteY281" fmla="*/ 17122 h 117212"/>
                <a:gd name="connsiteX282" fmla="*/ 42438 w 96471"/>
                <a:gd name="connsiteY282" fmla="*/ 16446 h 117212"/>
                <a:gd name="connsiteX283" fmla="*/ 44510 w 96471"/>
                <a:gd name="connsiteY283" fmla="*/ 14669 h 117212"/>
                <a:gd name="connsiteX284" fmla="*/ 43749 w 96471"/>
                <a:gd name="connsiteY284" fmla="*/ 12346 h 117212"/>
                <a:gd name="connsiteX285" fmla="*/ 44157 w 96471"/>
                <a:gd name="connsiteY285" fmla="*/ 10646 h 117212"/>
                <a:gd name="connsiteX286" fmla="*/ 45649 w 96471"/>
                <a:gd name="connsiteY286" fmla="*/ 9537 h 117212"/>
                <a:gd name="connsiteX287" fmla="*/ 46116 w 96471"/>
                <a:gd name="connsiteY287" fmla="*/ 7945 h 117212"/>
                <a:gd name="connsiteX288" fmla="*/ 46781 w 96471"/>
                <a:gd name="connsiteY288" fmla="*/ 6772 h 117212"/>
                <a:gd name="connsiteX289" fmla="*/ 49808 w 96471"/>
                <a:gd name="connsiteY289" fmla="*/ 6352 h 117212"/>
                <a:gd name="connsiteX290" fmla="*/ 52718 w 96471"/>
                <a:gd name="connsiteY290" fmla="*/ 5261 h 117212"/>
                <a:gd name="connsiteX291" fmla="*/ 53769 w 96471"/>
                <a:gd name="connsiteY291" fmla="*/ 5367 h 117212"/>
                <a:gd name="connsiteX292" fmla="*/ 57205 w 96471"/>
                <a:gd name="connsiteY292" fmla="*/ 5115 h 117212"/>
                <a:gd name="connsiteX293" fmla="*/ 58369 w 96471"/>
                <a:gd name="connsiteY293" fmla="*/ 5555 h 117212"/>
                <a:gd name="connsiteX294" fmla="*/ 58104 w 96471"/>
                <a:gd name="connsiteY294" fmla="*/ 3626 h 117212"/>
                <a:gd name="connsiteX295" fmla="*/ 60214 w 96471"/>
                <a:gd name="connsiteY295" fmla="*/ 3375 h 117212"/>
                <a:gd name="connsiteX296" fmla="*/ 61039 w 96471"/>
                <a:gd name="connsiteY296" fmla="*/ 3760 h 117212"/>
                <a:gd name="connsiteX297" fmla="*/ 61402 w 96471"/>
                <a:gd name="connsiteY297" fmla="*/ 5127 h 117212"/>
                <a:gd name="connsiteX298" fmla="*/ 62361 w 96471"/>
                <a:gd name="connsiteY298" fmla="*/ 5999 h 117212"/>
                <a:gd name="connsiteX299" fmla="*/ 62657 w 96471"/>
                <a:gd name="connsiteY299" fmla="*/ 7513 h 117212"/>
                <a:gd name="connsiteX300" fmla="*/ 62014 w 96471"/>
                <a:gd name="connsiteY300" fmla="*/ 8682 h 117212"/>
                <a:gd name="connsiteX301" fmla="*/ 60940 w 96471"/>
                <a:gd name="connsiteY301" fmla="*/ 9582 h 117212"/>
                <a:gd name="connsiteX302" fmla="*/ 61922 w 96471"/>
                <a:gd name="connsiteY302" fmla="*/ 10503 h 117212"/>
                <a:gd name="connsiteX303" fmla="*/ 60399 w 96471"/>
                <a:gd name="connsiteY303" fmla="*/ 12166 h 117212"/>
                <a:gd name="connsiteX304" fmla="*/ 62043 w 96471"/>
                <a:gd name="connsiteY304" fmla="*/ 11458 h 117212"/>
                <a:gd name="connsiteX305" fmla="*/ 64386 w 96471"/>
                <a:gd name="connsiteY305" fmla="*/ 9829 h 117212"/>
                <a:gd name="connsiteX306" fmla="*/ 64265 w 96471"/>
                <a:gd name="connsiteY306" fmla="*/ 8496 h 117212"/>
                <a:gd name="connsiteX307" fmla="*/ 63866 w 96471"/>
                <a:gd name="connsiteY307" fmla="*/ 6820 h 117212"/>
                <a:gd name="connsiteX308" fmla="*/ 63214 w 96471"/>
                <a:gd name="connsiteY308" fmla="*/ 5307 h 117212"/>
                <a:gd name="connsiteX309" fmla="*/ 63514 w 96471"/>
                <a:gd name="connsiteY309" fmla="*/ 3639 h 117212"/>
                <a:gd name="connsiteX310" fmla="*/ 64831 w 96471"/>
                <a:gd name="connsiteY310" fmla="*/ 2595 h 117212"/>
                <a:gd name="connsiteX311" fmla="*/ 68293 w 96471"/>
                <a:gd name="connsiteY311" fmla="*/ 2070 h 117212"/>
                <a:gd name="connsiteX312" fmla="*/ 66873 w 96471"/>
                <a:gd name="connsiteY312" fmla="*/ 174 h 117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Lst>
              <a:rect l="l" t="t" r="r" b="b"/>
              <a:pathLst>
                <a:path w="96471" h="117212">
                  <a:moveTo>
                    <a:pt x="4626" y="41297"/>
                  </a:moveTo>
                  <a:lnTo>
                    <a:pt x="5539" y="41650"/>
                  </a:lnTo>
                  <a:lnTo>
                    <a:pt x="8709" y="41699"/>
                  </a:lnTo>
                  <a:lnTo>
                    <a:pt x="9599" y="42196"/>
                  </a:lnTo>
                  <a:lnTo>
                    <a:pt x="9774" y="44442"/>
                  </a:lnTo>
                  <a:lnTo>
                    <a:pt x="9681" y="45307"/>
                  </a:lnTo>
                  <a:lnTo>
                    <a:pt x="8043" y="44217"/>
                  </a:lnTo>
                  <a:lnTo>
                    <a:pt x="7247" y="43030"/>
                  </a:lnTo>
                  <a:lnTo>
                    <a:pt x="2753" y="42485"/>
                  </a:lnTo>
                  <a:close/>
                  <a:moveTo>
                    <a:pt x="68137" y="0"/>
                  </a:moveTo>
                  <a:lnTo>
                    <a:pt x="69511" y="395"/>
                  </a:lnTo>
                  <a:lnTo>
                    <a:pt x="71531" y="1873"/>
                  </a:lnTo>
                  <a:lnTo>
                    <a:pt x="73633" y="3031"/>
                  </a:lnTo>
                  <a:lnTo>
                    <a:pt x="75813" y="3949"/>
                  </a:lnTo>
                  <a:lnTo>
                    <a:pt x="73718" y="5785"/>
                  </a:lnTo>
                  <a:lnTo>
                    <a:pt x="71143" y="7058"/>
                  </a:lnTo>
                  <a:lnTo>
                    <a:pt x="70130" y="8444"/>
                  </a:lnTo>
                  <a:lnTo>
                    <a:pt x="66631" y="10422"/>
                  </a:lnTo>
                  <a:lnTo>
                    <a:pt x="66089" y="11171"/>
                  </a:lnTo>
                  <a:lnTo>
                    <a:pt x="65103" y="14188"/>
                  </a:lnTo>
                  <a:lnTo>
                    <a:pt x="64987" y="15048"/>
                  </a:lnTo>
                  <a:lnTo>
                    <a:pt x="63861" y="16633"/>
                  </a:lnTo>
                  <a:lnTo>
                    <a:pt x="62795" y="18395"/>
                  </a:lnTo>
                  <a:lnTo>
                    <a:pt x="61555" y="19077"/>
                  </a:lnTo>
                  <a:lnTo>
                    <a:pt x="59708" y="19618"/>
                  </a:lnTo>
                  <a:lnTo>
                    <a:pt x="58658" y="20156"/>
                  </a:lnTo>
                  <a:lnTo>
                    <a:pt x="57336" y="19886"/>
                  </a:lnTo>
                  <a:lnTo>
                    <a:pt x="55662" y="19929"/>
                  </a:lnTo>
                  <a:lnTo>
                    <a:pt x="54830" y="20527"/>
                  </a:lnTo>
                  <a:lnTo>
                    <a:pt x="54871" y="20986"/>
                  </a:lnTo>
                  <a:lnTo>
                    <a:pt x="55371" y="21515"/>
                  </a:lnTo>
                  <a:lnTo>
                    <a:pt x="56837" y="22322"/>
                  </a:lnTo>
                  <a:lnTo>
                    <a:pt x="58463" y="23052"/>
                  </a:lnTo>
                  <a:lnTo>
                    <a:pt x="58284" y="23691"/>
                  </a:lnTo>
                  <a:lnTo>
                    <a:pt x="57413" y="24415"/>
                  </a:lnTo>
                  <a:lnTo>
                    <a:pt x="51873" y="26211"/>
                  </a:lnTo>
                  <a:lnTo>
                    <a:pt x="50223" y="27295"/>
                  </a:lnTo>
                  <a:lnTo>
                    <a:pt x="49651" y="28010"/>
                  </a:lnTo>
                  <a:lnTo>
                    <a:pt x="50238" y="29208"/>
                  </a:lnTo>
                  <a:lnTo>
                    <a:pt x="54656" y="32794"/>
                  </a:lnTo>
                  <a:lnTo>
                    <a:pt x="55408" y="33184"/>
                  </a:lnTo>
                  <a:lnTo>
                    <a:pt x="56061" y="35268"/>
                  </a:lnTo>
                  <a:lnTo>
                    <a:pt x="59956" y="36139"/>
                  </a:lnTo>
                  <a:lnTo>
                    <a:pt x="61553" y="37440"/>
                  </a:lnTo>
                  <a:lnTo>
                    <a:pt x="62927" y="37752"/>
                  </a:lnTo>
                  <a:lnTo>
                    <a:pt x="65912" y="37639"/>
                  </a:lnTo>
                  <a:lnTo>
                    <a:pt x="67112" y="38128"/>
                  </a:lnTo>
                  <a:lnTo>
                    <a:pt x="67790" y="37757"/>
                  </a:lnTo>
                  <a:lnTo>
                    <a:pt x="68183" y="37071"/>
                  </a:lnTo>
                  <a:lnTo>
                    <a:pt x="70696" y="35304"/>
                  </a:lnTo>
                  <a:lnTo>
                    <a:pt x="71527" y="34532"/>
                  </a:lnTo>
                  <a:lnTo>
                    <a:pt x="71028" y="33454"/>
                  </a:lnTo>
                  <a:lnTo>
                    <a:pt x="70485" y="32635"/>
                  </a:lnTo>
                  <a:lnTo>
                    <a:pt x="72013" y="31003"/>
                  </a:lnTo>
                  <a:lnTo>
                    <a:pt x="73866" y="29391"/>
                  </a:lnTo>
                  <a:lnTo>
                    <a:pt x="74795" y="29439"/>
                  </a:lnTo>
                  <a:lnTo>
                    <a:pt x="76377" y="30426"/>
                  </a:lnTo>
                  <a:lnTo>
                    <a:pt x="77680" y="31804"/>
                  </a:lnTo>
                  <a:lnTo>
                    <a:pt x="77857" y="32871"/>
                  </a:lnTo>
                  <a:lnTo>
                    <a:pt x="78097" y="33645"/>
                  </a:lnTo>
                  <a:lnTo>
                    <a:pt x="79330" y="35297"/>
                  </a:lnTo>
                  <a:lnTo>
                    <a:pt x="80126" y="35867"/>
                  </a:lnTo>
                  <a:lnTo>
                    <a:pt x="82273" y="36198"/>
                  </a:lnTo>
                  <a:lnTo>
                    <a:pt x="82773" y="36846"/>
                  </a:lnTo>
                  <a:lnTo>
                    <a:pt x="82390" y="39235"/>
                  </a:lnTo>
                  <a:lnTo>
                    <a:pt x="82709" y="40029"/>
                  </a:lnTo>
                  <a:lnTo>
                    <a:pt x="84957" y="40070"/>
                  </a:lnTo>
                  <a:lnTo>
                    <a:pt x="87342" y="39877"/>
                  </a:lnTo>
                  <a:lnTo>
                    <a:pt x="88175" y="39968"/>
                  </a:lnTo>
                  <a:lnTo>
                    <a:pt x="89036" y="39468"/>
                  </a:lnTo>
                  <a:lnTo>
                    <a:pt x="90363" y="38929"/>
                  </a:lnTo>
                  <a:lnTo>
                    <a:pt x="92257" y="39115"/>
                  </a:lnTo>
                  <a:lnTo>
                    <a:pt x="93191" y="40184"/>
                  </a:lnTo>
                  <a:lnTo>
                    <a:pt x="93607" y="41285"/>
                  </a:lnTo>
                  <a:lnTo>
                    <a:pt x="91977" y="41699"/>
                  </a:lnTo>
                  <a:lnTo>
                    <a:pt x="90275" y="41473"/>
                  </a:lnTo>
                  <a:lnTo>
                    <a:pt x="89445" y="42196"/>
                  </a:lnTo>
                  <a:lnTo>
                    <a:pt x="89391" y="43588"/>
                  </a:lnTo>
                  <a:lnTo>
                    <a:pt x="89966" y="45379"/>
                  </a:lnTo>
                  <a:lnTo>
                    <a:pt x="91104" y="46649"/>
                  </a:lnTo>
                  <a:lnTo>
                    <a:pt x="92014" y="49509"/>
                  </a:lnTo>
                  <a:lnTo>
                    <a:pt x="92768" y="52676"/>
                  </a:lnTo>
                  <a:lnTo>
                    <a:pt x="93941" y="54588"/>
                  </a:lnTo>
                  <a:lnTo>
                    <a:pt x="94182" y="56958"/>
                  </a:lnTo>
                  <a:lnTo>
                    <a:pt x="94009" y="58122"/>
                  </a:lnTo>
                  <a:lnTo>
                    <a:pt x="94223" y="60212"/>
                  </a:lnTo>
                  <a:lnTo>
                    <a:pt x="93724" y="60948"/>
                  </a:lnTo>
                  <a:lnTo>
                    <a:pt x="94098" y="62908"/>
                  </a:lnTo>
                  <a:lnTo>
                    <a:pt x="95479" y="66960"/>
                  </a:lnTo>
                  <a:lnTo>
                    <a:pt x="96082" y="69214"/>
                  </a:lnTo>
                  <a:lnTo>
                    <a:pt x="96471" y="74127"/>
                  </a:lnTo>
                  <a:lnTo>
                    <a:pt x="95497" y="75966"/>
                  </a:lnTo>
                  <a:lnTo>
                    <a:pt x="94188" y="77709"/>
                  </a:lnTo>
                  <a:lnTo>
                    <a:pt x="93333" y="79774"/>
                  </a:lnTo>
                  <a:lnTo>
                    <a:pt x="92672" y="82001"/>
                  </a:lnTo>
                  <a:lnTo>
                    <a:pt x="92274" y="85587"/>
                  </a:lnTo>
                  <a:lnTo>
                    <a:pt x="89440" y="89784"/>
                  </a:lnTo>
                  <a:lnTo>
                    <a:pt x="88234" y="90826"/>
                  </a:lnTo>
                  <a:lnTo>
                    <a:pt x="86835" y="91467"/>
                  </a:lnTo>
                  <a:lnTo>
                    <a:pt x="89891" y="94395"/>
                  </a:lnTo>
                  <a:lnTo>
                    <a:pt x="87394" y="95700"/>
                  </a:lnTo>
                  <a:lnTo>
                    <a:pt x="84671" y="96111"/>
                  </a:lnTo>
                  <a:lnTo>
                    <a:pt x="81658" y="95379"/>
                  </a:lnTo>
                  <a:lnTo>
                    <a:pt x="79781" y="95468"/>
                  </a:lnTo>
                  <a:lnTo>
                    <a:pt x="78067" y="96415"/>
                  </a:lnTo>
                  <a:lnTo>
                    <a:pt x="77392" y="96988"/>
                  </a:lnTo>
                  <a:lnTo>
                    <a:pt x="76853" y="96711"/>
                  </a:lnTo>
                  <a:lnTo>
                    <a:pt x="75722" y="94311"/>
                  </a:lnTo>
                  <a:lnTo>
                    <a:pt x="74893" y="96790"/>
                  </a:lnTo>
                  <a:lnTo>
                    <a:pt x="73157" y="97578"/>
                  </a:lnTo>
                  <a:lnTo>
                    <a:pt x="70184" y="97410"/>
                  </a:lnTo>
                  <a:lnTo>
                    <a:pt x="65217" y="98070"/>
                  </a:lnTo>
                  <a:lnTo>
                    <a:pt x="63306" y="98775"/>
                  </a:lnTo>
                  <a:lnTo>
                    <a:pt x="62512" y="99878"/>
                  </a:lnTo>
                  <a:lnTo>
                    <a:pt x="61922" y="101152"/>
                  </a:lnTo>
                  <a:lnTo>
                    <a:pt x="61147" y="101904"/>
                  </a:lnTo>
                  <a:lnTo>
                    <a:pt x="60271" y="102300"/>
                  </a:lnTo>
                  <a:lnTo>
                    <a:pt x="56436" y="103238"/>
                  </a:lnTo>
                  <a:lnTo>
                    <a:pt x="55680" y="103613"/>
                  </a:lnTo>
                  <a:lnTo>
                    <a:pt x="53904" y="105667"/>
                  </a:lnTo>
                  <a:lnTo>
                    <a:pt x="51575" y="106853"/>
                  </a:lnTo>
                  <a:lnTo>
                    <a:pt x="49646" y="107208"/>
                  </a:lnTo>
                  <a:lnTo>
                    <a:pt x="47934" y="106014"/>
                  </a:lnTo>
                  <a:lnTo>
                    <a:pt x="47230" y="105296"/>
                  </a:lnTo>
                  <a:lnTo>
                    <a:pt x="46435" y="104931"/>
                  </a:lnTo>
                  <a:lnTo>
                    <a:pt x="43805" y="104987"/>
                  </a:lnTo>
                  <a:lnTo>
                    <a:pt x="44636" y="105357"/>
                  </a:lnTo>
                  <a:lnTo>
                    <a:pt x="45172" y="106200"/>
                  </a:lnTo>
                  <a:lnTo>
                    <a:pt x="45432" y="107815"/>
                  </a:lnTo>
                  <a:lnTo>
                    <a:pt x="45133" y="109397"/>
                  </a:lnTo>
                  <a:lnTo>
                    <a:pt x="43836" y="110200"/>
                  </a:lnTo>
                  <a:lnTo>
                    <a:pt x="42287" y="110348"/>
                  </a:lnTo>
                  <a:lnTo>
                    <a:pt x="39845" y="111987"/>
                  </a:lnTo>
                  <a:lnTo>
                    <a:pt x="36612" y="112435"/>
                  </a:lnTo>
                  <a:lnTo>
                    <a:pt x="34866" y="113943"/>
                  </a:lnTo>
                  <a:lnTo>
                    <a:pt x="24185" y="116492"/>
                  </a:lnTo>
                  <a:lnTo>
                    <a:pt x="23579" y="116522"/>
                  </a:lnTo>
                  <a:lnTo>
                    <a:pt x="22105" y="115873"/>
                  </a:lnTo>
                  <a:lnTo>
                    <a:pt x="20506" y="115586"/>
                  </a:lnTo>
                  <a:lnTo>
                    <a:pt x="18914" y="115789"/>
                  </a:lnTo>
                  <a:lnTo>
                    <a:pt x="14438" y="117212"/>
                  </a:lnTo>
                  <a:lnTo>
                    <a:pt x="12270" y="116929"/>
                  </a:lnTo>
                  <a:lnTo>
                    <a:pt x="15033" y="113390"/>
                  </a:lnTo>
                  <a:lnTo>
                    <a:pt x="18748" y="111602"/>
                  </a:lnTo>
                  <a:lnTo>
                    <a:pt x="19134" y="111112"/>
                  </a:lnTo>
                  <a:lnTo>
                    <a:pt x="17920" y="110872"/>
                  </a:lnTo>
                  <a:lnTo>
                    <a:pt x="10862" y="112114"/>
                  </a:lnTo>
                  <a:lnTo>
                    <a:pt x="8410" y="113172"/>
                  </a:lnTo>
                  <a:lnTo>
                    <a:pt x="5959" y="113479"/>
                  </a:lnTo>
                  <a:lnTo>
                    <a:pt x="7094" y="111864"/>
                  </a:lnTo>
                  <a:lnTo>
                    <a:pt x="10256" y="109650"/>
                  </a:lnTo>
                  <a:lnTo>
                    <a:pt x="11952" y="108607"/>
                  </a:lnTo>
                  <a:lnTo>
                    <a:pt x="12987" y="108193"/>
                  </a:lnTo>
                  <a:lnTo>
                    <a:pt x="14168" y="106891"/>
                  </a:lnTo>
                  <a:lnTo>
                    <a:pt x="17500" y="105411"/>
                  </a:lnTo>
                  <a:lnTo>
                    <a:pt x="6767" y="108463"/>
                  </a:lnTo>
                  <a:lnTo>
                    <a:pt x="3947" y="108091"/>
                  </a:lnTo>
                  <a:lnTo>
                    <a:pt x="3283" y="107240"/>
                  </a:lnTo>
                  <a:lnTo>
                    <a:pt x="1087" y="107639"/>
                  </a:lnTo>
                  <a:lnTo>
                    <a:pt x="255" y="105579"/>
                  </a:lnTo>
                  <a:lnTo>
                    <a:pt x="3508" y="102454"/>
                  </a:lnTo>
                  <a:lnTo>
                    <a:pt x="5404" y="101109"/>
                  </a:lnTo>
                  <a:lnTo>
                    <a:pt x="7655" y="100382"/>
                  </a:lnTo>
                  <a:lnTo>
                    <a:pt x="9822" y="99339"/>
                  </a:lnTo>
                  <a:lnTo>
                    <a:pt x="10626" y="98063"/>
                  </a:lnTo>
                  <a:lnTo>
                    <a:pt x="9606" y="97656"/>
                  </a:lnTo>
                  <a:lnTo>
                    <a:pt x="3112" y="97980"/>
                  </a:lnTo>
                  <a:lnTo>
                    <a:pt x="0" y="97708"/>
                  </a:lnTo>
                  <a:lnTo>
                    <a:pt x="168" y="96696"/>
                  </a:lnTo>
                  <a:lnTo>
                    <a:pt x="742" y="95574"/>
                  </a:lnTo>
                  <a:lnTo>
                    <a:pt x="3965" y="93654"/>
                  </a:lnTo>
                  <a:lnTo>
                    <a:pt x="5708" y="93345"/>
                  </a:lnTo>
                  <a:lnTo>
                    <a:pt x="7263" y="93528"/>
                  </a:lnTo>
                  <a:lnTo>
                    <a:pt x="8781" y="94020"/>
                  </a:lnTo>
                  <a:lnTo>
                    <a:pt x="10015" y="94663"/>
                  </a:lnTo>
                  <a:lnTo>
                    <a:pt x="13668" y="94294"/>
                  </a:lnTo>
                  <a:lnTo>
                    <a:pt x="12143" y="93067"/>
                  </a:lnTo>
                  <a:lnTo>
                    <a:pt x="11874" y="90572"/>
                  </a:lnTo>
                  <a:lnTo>
                    <a:pt x="10706" y="89733"/>
                  </a:lnTo>
                  <a:lnTo>
                    <a:pt x="12201" y="88575"/>
                  </a:lnTo>
                  <a:lnTo>
                    <a:pt x="13911" y="87871"/>
                  </a:lnTo>
                  <a:lnTo>
                    <a:pt x="16761" y="85473"/>
                  </a:lnTo>
                  <a:lnTo>
                    <a:pt x="17776" y="85108"/>
                  </a:lnTo>
                  <a:lnTo>
                    <a:pt x="23416" y="84525"/>
                  </a:lnTo>
                  <a:lnTo>
                    <a:pt x="29499" y="83263"/>
                  </a:lnTo>
                  <a:lnTo>
                    <a:pt x="35529" y="81519"/>
                  </a:lnTo>
                  <a:lnTo>
                    <a:pt x="32437" y="80544"/>
                  </a:lnTo>
                  <a:lnTo>
                    <a:pt x="30956" y="79257"/>
                  </a:lnTo>
                  <a:lnTo>
                    <a:pt x="28576" y="81858"/>
                  </a:lnTo>
                  <a:lnTo>
                    <a:pt x="26863" y="82852"/>
                  </a:lnTo>
                  <a:lnTo>
                    <a:pt x="22024" y="83383"/>
                  </a:lnTo>
                  <a:lnTo>
                    <a:pt x="20492" y="83091"/>
                  </a:lnTo>
                  <a:lnTo>
                    <a:pt x="18335" y="82284"/>
                  </a:lnTo>
                  <a:lnTo>
                    <a:pt x="17665" y="82592"/>
                  </a:lnTo>
                  <a:lnTo>
                    <a:pt x="17042" y="83215"/>
                  </a:lnTo>
                  <a:lnTo>
                    <a:pt x="13839" y="84489"/>
                  </a:lnTo>
                  <a:lnTo>
                    <a:pt x="10473" y="84794"/>
                  </a:lnTo>
                  <a:lnTo>
                    <a:pt x="14387" y="82456"/>
                  </a:lnTo>
                  <a:lnTo>
                    <a:pt x="19353" y="78489"/>
                  </a:lnTo>
                  <a:lnTo>
                    <a:pt x="20461" y="77234"/>
                  </a:lnTo>
                  <a:lnTo>
                    <a:pt x="22037" y="75050"/>
                  </a:lnTo>
                  <a:lnTo>
                    <a:pt x="21549" y="74078"/>
                  </a:lnTo>
                  <a:lnTo>
                    <a:pt x="20526" y="73524"/>
                  </a:lnTo>
                  <a:lnTo>
                    <a:pt x="24125" y="69022"/>
                  </a:lnTo>
                  <a:lnTo>
                    <a:pt x="25392" y="68204"/>
                  </a:lnTo>
                  <a:lnTo>
                    <a:pt x="27699" y="68072"/>
                  </a:lnTo>
                  <a:lnTo>
                    <a:pt x="29389" y="67357"/>
                  </a:lnTo>
                  <a:lnTo>
                    <a:pt x="30134" y="67354"/>
                  </a:lnTo>
                  <a:lnTo>
                    <a:pt x="30804" y="67088"/>
                  </a:lnTo>
                  <a:lnTo>
                    <a:pt x="32286" y="65736"/>
                  </a:lnTo>
                  <a:lnTo>
                    <a:pt x="29999" y="64876"/>
                  </a:lnTo>
                  <a:lnTo>
                    <a:pt x="27638" y="64433"/>
                  </a:lnTo>
                  <a:lnTo>
                    <a:pt x="20332" y="64902"/>
                  </a:lnTo>
                  <a:lnTo>
                    <a:pt x="19371" y="64801"/>
                  </a:lnTo>
                  <a:lnTo>
                    <a:pt x="18465" y="64386"/>
                  </a:lnTo>
                  <a:lnTo>
                    <a:pt x="17877" y="63787"/>
                  </a:lnTo>
                  <a:lnTo>
                    <a:pt x="17435" y="62252"/>
                  </a:lnTo>
                  <a:lnTo>
                    <a:pt x="16899" y="61909"/>
                  </a:lnTo>
                  <a:lnTo>
                    <a:pt x="15250" y="61909"/>
                  </a:lnTo>
                  <a:lnTo>
                    <a:pt x="13625" y="62378"/>
                  </a:lnTo>
                  <a:lnTo>
                    <a:pt x="12490" y="62333"/>
                  </a:lnTo>
                  <a:lnTo>
                    <a:pt x="11376" y="61660"/>
                  </a:lnTo>
                  <a:lnTo>
                    <a:pt x="13153" y="60088"/>
                  </a:lnTo>
                  <a:lnTo>
                    <a:pt x="10862" y="59718"/>
                  </a:lnTo>
                  <a:lnTo>
                    <a:pt x="8542" y="60027"/>
                  </a:lnTo>
                  <a:lnTo>
                    <a:pt x="6611" y="59551"/>
                  </a:lnTo>
                  <a:lnTo>
                    <a:pt x="6551" y="58564"/>
                  </a:lnTo>
                  <a:lnTo>
                    <a:pt x="7426" y="57579"/>
                  </a:lnTo>
                  <a:lnTo>
                    <a:pt x="6279" y="56644"/>
                  </a:lnTo>
                  <a:lnTo>
                    <a:pt x="6042" y="55462"/>
                  </a:lnTo>
                  <a:lnTo>
                    <a:pt x="7264" y="54881"/>
                  </a:lnTo>
                  <a:lnTo>
                    <a:pt x="8599" y="55074"/>
                  </a:lnTo>
                  <a:lnTo>
                    <a:pt x="11320" y="54199"/>
                  </a:lnTo>
                  <a:lnTo>
                    <a:pt x="14806" y="53774"/>
                  </a:lnTo>
                  <a:lnTo>
                    <a:pt x="11816" y="52911"/>
                  </a:lnTo>
                  <a:lnTo>
                    <a:pt x="10625" y="52171"/>
                  </a:lnTo>
                  <a:lnTo>
                    <a:pt x="10568" y="51038"/>
                  </a:lnTo>
                  <a:lnTo>
                    <a:pt x="10805" y="50068"/>
                  </a:lnTo>
                  <a:lnTo>
                    <a:pt x="14266" y="48427"/>
                  </a:lnTo>
                  <a:lnTo>
                    <a:pt x="17955" y="47703"/>
                  </a:lnTo>
                  <a:lnTo>
                    <a:pt x="17683" y="46621"/>
                  </a:lnTo>
                  <a:lnTo>
                    <a:pt x="17941" y="45450"/>
                  </a:lnTo>
                  <a:lnTo>
                    <a:pt x="14212" y="45112"/>
                  </a:lnTo>
                  <a:lnTo>
                    <a:pt x="10529" y="45938"/>
                  </a:lnTo>
                  <a:lnTo>
                    <a:pt x="10923" y="43700"/>
                  </a:lnTo>
                  <a:lnTo>
                    <a:pt x="11805" y="41678"/>
                  </a:lnTo>
                  <a:lnTo>
                    <a:pt x="11979" y="40343"/>
                  </a:lnTo>
                  <a:lnTo>
                    <a:pt x="11803" y="38914"/>
                  </a:lnTo>
                  <a:lnTo>
                    <a:pt x="10078" y="39525"/>
                  </a:lnTo>
                  <a:lnTo>
                    <a:pt x="9876" y="37509"/>
                  </a:lnTo>
                  <a:lnTo>
                    <a:pt x="9135" y="36125"/>
                  </a:lnTo>
                  <a:lnTo>
                    <a:pt x="6580" y="37078"/>
                  </a:lnTo>
                  <a:lnTo>
                    <a:pt x="6646" y="35252"/>
                  </a:lnTo>
                  <a:lnTo>
                    <a:pt x="7382" y="33975"/>
                  </a:lnTo>
                  <a:lnTo>
                    <a:pt x="8718" y="33420"/>
                  </a:lnTo>
                  <a:lnTo>
                    <a:pt x="10045" y="33661"/>
                  </a:lnTo>
                  <a:lnTo>
                    <a:pt x="12508" y="33637"/>
                  </a:lnTo>
                  <a:lnTo>
                    <a:pt x="14883" y="32677"/>
                  </a:lnTo>
                  <a:lnTo>
                    <a:pt x="18307" y="32430"/>
                  </a:lnTo>
                  <a:lnTo>
                    <a:pt x="23764" y="32732"/>
                  </a:lnTo>
                  <a:lnTo>
                    <a:pt x="27515" y="35441"/>
                  </a:lnTo>
                  <a:lnTo>
                    <a:pt x="28483" y="34957"/>
                  </a:lnTo>
                  <a:lnTo>
                    <a:pt x="29983" y="33245"/>
                  </a:lnTo>
                  <a:lnTo>
                    <a:pt x="30687" y="33056"/>
                  </a:lnTo>
                  <a:lnTo>
                    <a:pt x="36340" y="33802"/>
                  </a:lnTo>
                  <a:lnTo>
                    <a:pt x="39851" y="34787"/>
                  </a:lnTo>
                  <a:lnTo>
                    <a:pt x="40790" y="34480"/>
                  </a:lnTo>
                  <a:lnTo>
                    <a:pt x="40283" y="32580"/>
                  </a:lnTo>
                  <a:lnTo>
                    <a:pt x="39074" y="31262"/>
                  </a:lnTo>
                  <a:lnTo>
                    <a:pt x="40593" y="29534"/>
                  </a:lnTo>
                  <a:lnTo>
                    <a:pt x="42438" y="28363"/>
                  </a:lnTo>
                  <a:lnTo>
                    <a:pt x="43671" y="27779"/>
                  </a:lnTo>
                  <a:lnTo>
                    <a:pt x="46518" y="27053"/>
                  </a:lnTo>
                  <a:lnTo>
                    <a:pt x="47759" y="26369"/>
                  </a:lnTo>
                  <a:lnTo>
                    <a:pt x="48586" y="24143"/>
                  </a:lnTo>
                  <a:lnTo>
                    <a:pt x="49902" y="22287"/>
                  </a:lnTo>
                  <a:lnTo>
                    <a:pt x="42758" y="23252"/>
                  </a:lnTo>
                  <a:lnTo>
                    <a:pt x="35961" y="21052"/>
                  </a:lnTo>
                  <a:lnTo>
                    <a:pt x="37039" y="19495"/>
                  </a:lnTo>
                  <a:lnTo>
                    <a:pt x="38474" y="18612"/>
                  </a:lnTo>
                  <a:lnTo>
                    <a:pt x="40950" y="17935"/>
                  </a:lnTo>
                  <a:lnTo>
                    <a:pt x="41185" y="17122"/>
                  </a:lnTo>
                  <a:lnTo>
                    <a:pt x="42438" y="16446"/>
                  </a:lnTo>
                  <a:lnTo>
                    <a:pt x="44510" y="14669"/>
                  </a:lnTo>
                  <a:lnTo>
                    <a:pt x="43749" y="12346"/>
                  </a:lnTo>
                  <a:lnTo>
                    <a:pt x="44157" y="10646"/>
                  </a:lnTo>
                  <a:lnTo>
                    <a:pt x="45649" y="9537"/>
                  </a:lnTo>
                  <a:lnTo>
                    <a:pt x="46116" y="7945"/>
                  </a:lnTo>
                  <a:lnTo>
                    <a:pt x="46781" y="6772"/>
                  </a:lnTo>
                  <a:lnTo>
                    <a:pt x="49808" y="6352"/>
                  </a:lnTo>
                  <a:lnTo>
                    <a:pt x="52718" y="5261"/>
                  </a:lnTo>
                  <a:lnTo>
                    <a:pt x="53769" y="5367"/>
                  </a:lnTo>
                  <a:lnTo>
                    <a:pt x="57205" y="5115"/>
                  </a:lnTo>
                  <a:lnTo>
                    <a:pt x="58369" y="5555"/>
                  </a:lnTo>
                  <a:lnTo>
                    <a:pt x="58104" y="3626"/>
                  </a:lnTo>
                  <a:lnTo>
                    <a:pt x="60214" y="3375"/>
                  </a:lnTo>
                  <a:lnTo>
                    <a:pt x="61039" y="3760"/>
                  </a:lnTo>
                  <a:lnTo>
                    <a:pt x="61402" y="5127"/>
                  </a:lnTo>
                  <a:lnTo>
                    <a:pt x="62361" y="5999"/>
                  </a:lnTo>
                  <a:lnTo>
                    <a:pt x="62657" y="7513"/>
                  </a:lnTo>
                  <a:lnTo>
                    <a:pt x="62014" y="8682"/>
                  </a:lnTo>
                  <a:lnTo>
                    <a:pt x="60940" y="9582"/>
                  </a:lnTo>
                  <a:lnTo>
                    <a:pt x="61922" y="10503"/>
                  </a:lnTo>
                  <a:lnTo>
                    <a:pt x="60399" y="12166"/>
                  </a:lnTo>
                  <a:lnTo>
                    <a:pt x="62043" y="11458"/>
                  </a:lnTo>
                  <a:lnTo>
                    <a:pt x="64386" y="9829"/>
                  </a:lnTo>
                  <a:lnTo>
                    <a:pt x="64265" y="8496"/>
                  </a:lnTo>
                  <a:lnTo>
                    <a:pt x="63866" y="6820"/>
                  </a:lnTo>
                  <a:lnTo>
                    <a:pt x="63214" y="5307"/>
                  </a:lnTo>
                  <a:lnTo>
                    <a:pt x="63514" y="3639"/>
                  </a:lnTo>
                  <a:lnTo>
                    <a:pt x="64831" y="2595"/>
                  </a:lnTo>
                  <a:lnTo>
                    <a:pt x="68293" y="2070"/>
                  </a:lnTo>
                  <a:lnTo>
                    <a:pt x="66873" y="174"/>
                  </a:lnTo>
                  <a:close/>
                </a:path>
              </a:pathLst>
            </a:custGeom>
            <a:solidFill>
              <a:srgbClr val="7359A3"/>
            </a:solidFill>
            <a:ln w="12700">
              <a:solidFill>
                <a:sysClr val="window" lastClr="FFFFFF"/>
              </a:solidFill>
              <a:round/>
              <a:headEnd/>
              <a:tailEnd/>
            </a:ln>
            <a:effectLst/>
          </p:spPr>
          <p:txBody>
            <a:bodyPr wrap="squar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1" u="none" strike="noStrike" kern="0" cap="none" spc="0" normalizeH="0" baseline="0" noProof="0" dirty="0">
                <a:ln>
                  <a:noFill/>
                </a:ln>
                <a:solidFill>
                  <a:prstClr val="black"/>
                </a:solidFill>
                <a:effectLst/>
                <a:uLnTx/>
                <a:uFillTx/>
                <a:latin typeface="Arial" panose="020B0604020202020204"/>
              </a:endParaRPr>
            </a:p>
          </p:txBody>
        </p:sp>
        <p:sp>
          <p:nvSpPr>
            <p:cNvPr id="530" name="Oval 529">
              <a:extLst>
                <a:ext uri="{FF2B5EF4-FFF2-40B4-BE49-F238E27FC236}">
                  <a16:creationId xmlns:a16="http://schemas.microsoft.com/office/drawing/2014/main" id="{C8FD0D9F-A370-2128-CFED-BCDCAECB1D77}"/>
                </a:ext>
              </a:extLst>
            </p:cNvPr>
            <p:cNvSpPr/>
            <p:nvPr/>
          </p:nvSpPr>
          <p:spPr>
            <a:xfrm>
              <a:off x="8712576" y="3757343"/>
              <a:ext cx="89766" cy="81444"/>
            </a:xfrm>
            <a:prstGeom prst="ellipse">
              <a:avLst/>
            </a:prstGeom>
            <a:solidFill>
              <a:srgbClr val="00A194"/>
            </a:solidFill>
            <a:ln w="12700" cap="flat" cmpd="sng" algn="ctr">
              <a:solidFill>
                <a:srgbClr val="00A19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531" name="Oval 530">
              <a:extLst>
                <a:ext uri="{FF2B5EF4-FFF2-40B4-BE49-F238E27FC236}">
                  <a16:creationId xmlns:a16="http://schemas.microsoft.com/office/drawing/2014/main" id="{275623BD-D6FC-4138-7247-75FD70B8A9A9}"/>
                </a:ext>
              </a:extLst>
            </p:cNvPr>
            <p:cNvSpPr/>
            <p:nvPr/>
          </p:nvSpPr>
          <p:spPr>
            <a:xfrm>
              <a:off x="8699786" y="4520054"/>
              <a:ext cx="89766" cy="81444"/>
            </a:xfrm>
            <a:prstGeom prst="ellipse">
              <a:avLst/>
            </a:prstGeom>
            <a:solidFill>
              <a:srgbClr val="A2C613"/>
            </a:solidFill>
            <a:ln w="12700" cap="flat" cmpd="sng" algn="ctr">
              <a:solidFill>
                <a:srgbClr val="00A19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532" name="Oval 531">
              <a:extLst>
                <a:ext uri="{FF2B5EF4-FFF2-40B4-BE49-F238E27FC236}">
                  <a16:creationId xmlns:a16="http://schemas.microsoft.com/office/drawing/2014/main" id="{2FFC84D0-806A-9F92-EE3C-99C29E594644}"/>
                </a:ext>
              </a:extLst>
            </p:cNvPr>
            <p:cNvSpPr/>
            <p:nvPr/>
          </p:nvSpPr>
          <p:spPr>
            <a:xfrm>
              <a:off x="9382936" y="939585"/>
              <a:ext cx="89766" cy="81444"/>
            </a:xfrm>
            <a:prstGeom prst="ellipse">
              <a:avLst/>
            </a:prstGeom>
            <a:solidFill>
              <a:srgbClr val="7359A0"/>
            </a:solidFill>
            <a:ln w="12700" cap="flat" cmpd="sng" algn="ctr">
              <a:solidFill>
                <a:srgbClr val="00A19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533" name="Oval 532">
              <a:extLst>
                <a:ext uri="{FF2B5EF4-FFF2-40B4-BE49-F238E27FC236}">
                  <a16:creationId xmlns:a16="http://schemas.microsoft.com/office/drawing/2014/main" id="{019F4DF7-D5FA-4887-A1CD-B24A3F6E4B63}"/>
                </a:ext>
              </a:extLst>
            </p:cNvPr>
            <p:cNvSpPr/>
            <p:nvPr/>
          </p:nvSpPr>
          <p:spPr>
            <a:xfrm>
              <a:off x="7979782" y="3503575"/>
              <a:ext cx="89766" cy="81444"/>
            </a:xfrm>
            <a:prstGeom prst="ellipse">
              <a:avLst/>
            </a:prstGeom>
            <a:solidFill>
              <a:srgbClr val="00A194"/>
            </a:solidFill>
            <a:ln w="12700" cap="flat" cmpd="sng" algn="ctr">
              <a:solidFill>
                <a:srgbClr val="00A19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534" name="Oval 533">
              <a:extLst>
                <a:ext uri="{FF2B5EF4-FFF2-40B4-BE49-F238E27FC236}">
                  <a16:creationId xmlns:a16="http://schemas.microsoft.com/office/drawing/2014/main" id="{6DFE8DD6-1DDB-1046-2494-3593DAFB7330}"/>
                </a:ext>
              </a:extLst>
            </p:cNvPr>
            <p:cNvSpPr/>
            <p:nvPr/>
          </p:nvSpPr>
          <p:spPr>
            <a:xfrm>
              <a:off x="9202446" y="4500922"/>
              <a:ext cx="89766" cy="81444"/>
            </a:xfrm>
            <a:prstGeom prst="ellipse">
              <a:avLst/>
            </a:prstGeom>
            <a:solidFill>
              <a:srgbClr val="00A194"/>
            </a:solidFill>
            <a:ln w="12700" cap="flat" cmpd="sng" algn="ctr">
              <a:solidFill>
                <a:srgbClr val="00A19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535" name="Oval 534">
              <a:extLst>
                <a:ext uri="{FF2B5EF4-FFF2-40B4-BE49-F238E27FC236}">
                  <a16:creationId xmlns:a16="http://schemas.microsoft.com/office/drawing/2014/main" id="{1607C633-BBBD-82B9-FD23-65DFBE1E8ED3}"/>
                </a:ext>
              </a:extLst>
            </p:cNvPr>
            <p:cNvSpPr/>
            <p:nvPr/>
          </p:nvSpPr>
          <p:spPr>
            <a:xfrm>
              <a:off x="9077513" y="4394674"/>
              <a:ext cx="89766" cy="81444"/>
            </a:xfrm>
            <a:prstGeom prst="ellipse">
              <a:avLst/>
            </a:prstGeom>
            <a:solidFill>
              <a:srgbClr val="00A194"/>
            </a:solidFill>
            <a:ln w="12700" cap="flat" cmpd="sng" algn="ctr">
              <a:solidFill>
                <a:srgbClr val="00A19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536" name="Oval 535">
              <a:extLst>
                <a:ext uri="{FF2B5EF4-FFF2-40B4-BE49-F238E27FC236}">
                  <a16:creationId xmlns:a16="http://schemas.microsoft.com/office/drawing/2014/main" id="{FDC669A8-20DC-9907-060F-30F052FA2E43}"/>
                </a:ext>
              </a:extLst>
            </p:cNvPr>
            <p:cNvSpPr/>
            <p:nvPr/>
          </p:nvSpPr>
          <p:spPr>
            <a:xfrm>
              <a:off x="7775276" y="3606796"/>
              <a:ext cx="89766" cy="81444"/>
            </a:xfrm>
            <a:prstGeom prst="ellipse">
              <a:avLst/>
            </a:prstGeom>
            <a:solidFill>
              <a:srgbClr val="00A194"/>
            </a:solidFill>
            <a:ln w="12700" cap="flat" cmpd="sng" algn="ctr">
              <a:solidFill>
                <a:srgbClr val="00A19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537" name="Oval 536">
              <a:extLst>
                <a:ext uri="{FF2B5EF4-FFF2-40B4-BE49-F238E27FC236}">
                  <a16:creationId xmlns:a16="http://schemas.microsoft.com/office/drawing/2014/main" id="{2F3CBA29-EA62-50C5-5BA3-E6D3D4693816}"/>
                </a:ext>
              </a:extLst>
            </p:cNvPr>
            <p:cNvSpPr/>
            <p:nvPr/>
          </p:nvSpPr>
          <p:spPr>
            <a:xfrm>
              <a:off x="7959374" y="3738092"/>
              <a:ext cx="89766" cy="81444"/>
            </a:xfrm>
            <a:prstGeom prst="ellipse">
              <a:avLst/>
            </a:prstGeom>
            <a:solidFill>
              <a:srgbClr val="00A194"/>
            </a:solidFill>
            <a:ln w="12700" cap="flat" cmpd="sng" algn="ctr">
              <a:solidFill>
                <a:srgbClr val="00A19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538" name="Oval 537">
              <a:extLst>
                <a:ext uri="{FF2B5EF4-FFF2-40B4-BE49-F238E27FC236}">
                  <a16:creationId xmlns:a16="http://schemas.microsoft.com/office/drawing/2014/main" id="{249E3A49-E449-07DA-040E-1592C565E3E0}"/>
                </a:ext>
              </a:extLst>
            </p:cNvPr>
            <p:cNvSpPr/>
            <p:nvPr/>
          </p:nvSpPr>
          <p:spPr>
            <a:xfrm>
              <a:off x="7718577" y="3795171"/>
              <a:ext cx="89766" cy="81444"/>
            </a:xfrm>
            <a:prstGeom prst="ellipse">
              <a:avLst/>
            </a:prstGeom>
            <a:solidFill>
              <a:srgbClr val="00A194"/>
            </a:solidFill>
            <a:ln w="12700" cap="flat" cmpd="sng" algn="ctr">
              <a:solidFill>
                <a:srgbClr val="00A19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539" name="Oval 538">
              <a:extLst>
                <a:ext uri="{FF2B5EF4-FFF2-40B4-BE49-F238E27FC236}">
                  <a16:creationId xmlns:a16="http://schemas.microsoft.com/office/drawing/2014/main" id="{592AF3F9-0CEF-E560-A8B1-A1E5846FE9FC}"/>
                </a:ext>
              </a:extLst>
            </p:cNvPr>
            <p:cNvSpPr/>
            <p:nvPr/>
          </p:nvSpPr>
          <p:spPr>
            <a:xfrm>
              <a:off x="8649008" y="4171191"/>
              <a:ext cx="89766" cy="81444"/>
            </a:xfrm>
            <a:prstGeom prst="ellipse">
              <a:avLst/>
            </a:prstGeom>
            <a:solidFill>
              <a:srgbClr val="00A194"/>
            </a:solidFill>
            <a:ln w="12700" cap="flat" cmpd="sng" algn="ctr">
              <a:solidFill>
                <a:srgbClr val="00A19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540" name="Oval 539">
              <a:extLst>
                <a:ext uri="{FF2B5EF4-FFF2-40B4-BE49-F238E27FC236}">
                  <a16:creationId xmlns:a16="http://schemas.microsoft.com/office/drawing/2014/main" id="{1EE03D49-D17C-53F9-66F3-B66232904C85}"/>
                </a:ext>
              </a:extLst>
            </p:cNvPr>
            <p:cNvSpPr/>
            <p:nvPr/>
          </p:nvSpPr>
          <p:spPr>
            <a:xfrm>
              <a:off x="8987268" y="4028714"/>
              <a:ext cx="89766" cy="81444"/>
            </a:xfrm>
            <a:prstGeom prst="ellipse">
              <a:avLst/>
            </a:prstGeom>
            <a:solidFill>
              <a:srgbClr val="00A194"/>
            </a:solidFill>
            <a:ln w="12700" cap="flat" cmpd="sng" algn="ctr">
              <a:solidFill>
                <a:srgbClr val="00A19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541" name="Oval 540">
              <a:extLst>
                <a:ext uri="{FF2B5EF4-FFF2-40B4-BE49-F238E27FC236}">
                  <a16:creationId xmlns:a16="http://schemas.microsoft.com/office/drawing/2014/main" id="{BD2BF8DE-46AB-549C-FE98-CE94B9A30278}"/>
                </a:ext>
              </a:extLst>
            </p:cNvPr>
            <p:cNvSpPr/>
            <p:nvPr/>
          </p:nvSpPr>
          <p:spPr>
            <a:xfrm>
              <a:off x="9245397" y="3995540"/>
              <a:ext cx="89766" cy="81444"/>
            </a:xfrm>
            <a:prstGeom prst="ellipse">
              <a:avLst/>
            </a:prstGeom>
            <a:solidFill>
              <a:srgbClr val="00A194"/>
            </a:solidFill>
            <a:ln w="12700" cap="flat" cmpd="sng" algn="ctr">
              <a:solidFill>
                <a:srgbClr val="00A19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542" name="Oval 541">
              <a:extLst>
                <a:ext uri="{FF2B5EF4-FFF2-40B4-BE49-F238E27FC236}">
                  <a16:creationId xmlns:a16="http://schemas.microsoft.com/office/drawing/2014/main" id="{45874588-A41C-997B-426B-5616EEB5F68A}"/>
                </a:ext>
              </a:extLst>
            </p:cNvPr>
            <p:cNvSpPr/>
            <p:nvPr/>
          </p:nvSpPr>
          <p:spPr>
            <a:xfrm>
              <a:off x="9406299" y="690671"/>
              <a:ext cx="89766" cy="81444"/>
            </a:xfrm>
            <a:prstGeom prst="ellipse">
              <a:avLst/>
            </a:prstGeom>
            <a:solidFill>
              <a:srgbClr val="7359A3"/>
            </a:solidFill>
            <a:ln w="12700" cap="flat" cmpd="sng" algn="ctr">
              <a:solidFill>
                <a:srgbClr val="00A19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543" name="Oval 542">
              <a:extLst>
                <a:ext uri="{FF2B5EF4-FFF2-40B4-BE49-F238E27FC236}">
                  <a16:creationId xmlns:a16="http://schemas.microsoft.com/office/drawing/2014/main" id="{58EFF239-4471-0D37-DE97-8F6CB9057528}"/>
                </a:ext>
              </a:extLst>
            </p:cNvPr>
            <p:cNvSpPr/>
            <p:nvPr/>
          </p:nvSpPr>
          <p:spPr>
            <a:xfrm>
              <a:off x="8269401" y="3061578"/>
              <a:ext cx="89766" cy="81444"/>
            </a:xfrm>
            <a:prstGeom prst="ellipse">
              <a:avLst/>
            </a:prstGeom>
            <a:solidFill>
              <a:srgbClr val="00A194"/>
            </a:solidFill>
            <a:ln w="12700" cap="flat" cmpd="sng" algn="ctr">
              <a:solidFill>
                <a:srgbClr val="00A19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544" name="Oval 543">
              <a:extLst>
                <a:ext uri="{FF2B5EF4-FFF2-40B4-BE49-F238E27FC236}">
                  <a16:creationId xmlns:a16="http://schemas.microsoft.com/office/drawing/2014/main" id="{32E28DAC-BC8B-0CE7-7DA8-57D1368C2639}"/>
                </a:ext>
              </a:extLst>
            </p:cNvPr>
            <p:cNvSpPr/>
            <p:nvPr/>
          </p:nvSpPr>
          <p:spPr>
            <a:xfrm>
              <a:off x="8602529" y="1762196"/>
              <a:ext cx="89766" cy="81444"/>
            </a:xfrm>
            <a:prstGeom prst="ellipse">
              <a:avLst/>
            </a:prstGeom>
            <a:solidFill>
              <a:srgbClr val="7359A3"/>
            </a:solidFill>
            <a:ln w="12700" cap="flat" cmpd="sng" algn="ctr">
              <a:solidFill>
                <a:srgbClr val="00A19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545" name="Oval 544">
              <a:extLst>
                <a:ext uri="{FF2B5EF4-FFF2-40B4-BE49-F238E27FC236}">
                  <a16:creationId xmlns:a16="http://schemas.microsoft.com/office/drawing/2014/main" id="{C2AC3FFF-1BDF-A127-CB6A-C0E973496D4D}"/>
                </a:ext>
              </a:extLst>
            </p:cNvPr>
            <p:cNvSpPr/>
            <p:nvPr/>
          </p:nvSpPr>
          <p:spPr>
            <a:xfrm>
              <a:off x="8618658" y="2900640"/>
              <a:ext cx="89766" cy="81444"/>
            </a:xfrm>
            <a:prstGeom prst="ellipse">
              <a:avLst/>
            </a:prstGeom>
            <a:solidFill>
              <a:srgbClr val="7359A3"/>
            </a:solidFill>
            <a:ln w="12700" cap="flat" cmpd="sng" algn="ctr">
              <a:solidFill>
                <a:srgbClr val="00A19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546" name="Oval 545">
              <a:extLst>
                <a:ext uri="{FF2B5EF4-FFF2-40B4-BE49-F238E27FC236}">
                  <a16:creationId xmlns:a16="http://schemas.microsoft.com/office/drawing/2014/main" id="{56A05C23-2727-A2E3-ED7E-1705D1F1D14F}"/>
                </a:ext>
              </a:extLst>
            </p:cNvPr>
            <p:cNvSpPr/>
            <p:nvPr/>
          </p:nvSpPr>
          <p:spPr>
            <a:xfrm>
              <a:off x="8093010" y="4039386"/>
              <a:ext cx="89766" cy="81444"/>
            </a:xfrm>
            <a:prstGeom prst="ellipse">
              <a:avLst/>
            </a:prstGeom>
            <a:solidFill>
              <a:srgbClr val="00A194"/>
            </a:solidFill>
            <a:ln w="12700" cap="flat" cmpd="sng" algn="ctr">
              <a:solidFill>
                <a:srgbClr val="00A19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547" name="Oval 546">
              <a:extLst>
                <a:ext uri="{FF2B5EF4-FFF2-40B4-BE49-F238E27FC236}">
                  <a16:creationId xmlns:a16="http://schemas.microsoft.com/office/drawing/2014/main" id="{DD6A42D2-8BBC-65EE-982D-7A97D466493A}"/>
                </a:ext>
              </a:extLst>
            </p:cNvPr>
            <p:cNvSpPr/>
            <p:nvPr/>
          </p:nvSpPr>
          <p:spPr>
            <a:xfrm>
              <a:off x="7916990" y="4669516"/>
              <a:ext cx="89766" cy="81444"/>
            </a:xfrm>
            <a:prstGeom prst="ellipse">
              <a:avLst/>
            </a:prstGeom>
            <a:solidFill>
              <a:srgbClr val="A2C613"/>
            </a:solidFill>
            <a:ln w="12700" cap="flat" cmpd="sng" algn="ctr">
              <a:solidFill>
                <a:srgbClr val="00A19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548" name="Oval 547">
              <a:extLst>
                <a:ext uri="{FF2B5EF4-FFF2-40B4-BE49-F238E27FC236}">
                  <a16:creationId xmlns:a16="http://schemas.microsoft.com/office/drawing/2014/main" id="{2A05DB5C-7B0A-3E87-FDA3-28DFF2EA2C50}"/>
                </a:ext>
              </a:extLst>
            </p:cNvPr>
            <p:cNvSpPr/>
            <p:nvPr/>
          </p:nvSpPr>
          <p:spPr>
            <a:xfrm>
              <a:off x="7158887" y="4995533"/>
              <a:ext cx="89766" cy="81444"/>
            </a:xfrm>
            <a:prstGeom prst="ellipse">
              <a:avLst/>
            </a:prstGeom>
            <a:solidFill>
              <a:srgbClr val="00A194"/>
            </a:solidFill>
            <a:ln w="12700" cap="flat" cmpd="sng" algn="ctr">
              <a:solidFill>
                <a:srgbClr val="00A19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550" name="Oval 549">
              <a:extLst>
                <a:ext uri="{FF2B5EF4-FFF2-40B4-BE49-F238E27FC236}">
                  <a16:creationId xmlns:a16="http://schemas.microsoft.com/office/drawing/2014/main" id="{1EEA2061-AF38-E21A-F29A-867F19D59582}"/>
                </a:ext>
              </a:extLst>
            </p:cNvPr>
            <p:cNvSpPr/>
            <p:nvPr/>
          </p:nvSpPr>
          <p:spPr>
            <a:xfrm>
              <a:off x="8550870" y="4370116"/>
              <a:ext cx="89766" cy="81444"/>
            </a:xfrm>
            <a:prstGeom prst="ellipse">
              <a:avLst/>
            </a:prstGeom>
            <a:solidFill>
              <a:srgbClr val="A2C613"/>
            </a:solidFill>
            <a:ln w="12700" cap="flat" cmpd="sng" algn="ctr">
              <a:solidFill>
                <a:srgbClr val="00A19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551" name="Oval 550">
              <a:extLst>
                <a:ext uri="{FF2B5EF4-FFF2-40B4-BE49-F238E27FC236}">
                  <a16:creationId xmlns:a16="http://schemas.microsoft.com/office/drawing/2014/main" id="{F7746488-C93C-4A57-A4D6-E2B5F38C3176}"/>
                </a:ext>
              </a:extLst>
            </p:cNvPr>
            <p:cNvSpPr/>
            <p:nvPr/>
          </p:nvSpPr>
          <p:spPr>
            <a:xfrm>
              <a:off x="9330265" y="4198093"/>
              <a:ext cx="89766" cy="81444"/>
            </a:xfrm>
            <a:prstGeom prst="ellipse">
              <a:avLst/>
            </a:prstGeom>
            <a:solidFill>
              <a:srgbClr val="00A194"/>
            </a:solidFill>
            <a:ln w="12700" cap="flat" cmpd="sng" algn="ctr">
              <a:solidFill>
                <a:srgbClr val="00A19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552" name="Oval 551">
              <a:extLst>
                <a:ext uri="{FF2B5EF4-FFF2-40B4-BE49-F238E27FC236}">
                  <a16:creationId xmlns:a16="http://schemas.microsoft.com/office/drawing/2014/main" id="{72740D06-F663-97B5-8D8F-6E842770DD65}"/>
                </a:ext>
              </a:extLst>
            </p:cNvPr>
            <p:cNvSpPr/>
            <p:nvPr/>
          </p:nvSpPr>
          <p:spPr>
            <a:xfrm>
              <a:off x="8792513" y="3391996"/>
              <a:ext cx="89766" cy="81444"/>
            </a:xfrm>
            <a:prstGeom prst="ellipse">
              <a:avLst/>
            </a:prstGeom>
            <a:solidFill>
              <a:srgbClr val="00A194"/>
            </a:solidFill>
            <a:ln w="12700" cap="flat" cmpd="sng" algn="ctr">
              <a:solidFill>
                <a:srgbClr val="00A19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553" name="Oval 552">
              <a:extLst>
                <a:ext uri="{FF2B5EF4-FFF2-40B4-BE49-F238E27FC236}">
                  <a16:creationId xmlns:a16="http://schemas.microsoft.com/office/drawing/2014/main" id="{C6AA249A-C146-D435-323A-AD8BE7527B75}"/>
                </a:ext>
              </a:extLst>
            </p:cNvPr>
            <p:cNvSpPr/>
            <p:nvPr/>
          </p:nvSpPr>
          <p:spPr>
            <a:xfrm>
              <a:off x="9067983" y="3799566"/>
              <a:ext cx="89766" cy="81444"/>
            </a:xfrm>
            <a:prstGeom prst="ellipse">
              <a:avLst/>
            </a:prstGeom>
            <a:solidFill>
              <a:srgbClr val="00A194"/>
            </a:solidFill>
            <a:ln w="12700" cap="flat" cmpd="sng" algn="ctr">
              <a:solidFill>
                <a:srgbClr val="00A19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554" name="Oval 553">
              <a:extLst>
                <a:ext uri="{FF2B5EF4-FFF2-40B4-BE49-F238E27FC236}">
                  <a16:creationId xmlns:a16="http://schemas.microsoft.com/office/drawing/2014/main" id="{E92004E9-109F-EC91-E682-CB4A8FAB1BC9}"/>
                </a:ext>
              </a:extLst>
            </p:cNvPr>
            <p:cNvSpPr/>
            <p:nvPr/>
          </p:nvSpPr>
          <p:spPr>
            <a:xfrm>
              <a:off x="8853930" y="4436970"/>
              <a:ext cx="89766" cy="81444"/>
            </a:xfrm>
            <a:prstGeom prst="ellipse">
              <a:avLst/>
            </a:prstGeom>
            <a:solidFill>
              <a:srgbClr val="00A194"/>
            </a:solidFill>
            <a:ln w="12700" cap="flat" cmpd="sng" algn="ctr">
              <a:solidFill>
                <a:srgbClr val="00A19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555" name="Oval 554">
              <a:extLst>
                <a:ext uri="{FF2B5EF4-FFF2-40B4-BE49-F238E27FC236}">
                  <a16:creationId xmlns:a16="http://schemas.microsoft.com/office/drawing/2014/main" id="{1E0D29EC-1B71-DCF7-7AD8-017CC1D2A923}"/>
                </a:ext>
              </a:extLst>
            </p:cNvPr>
            <p:cNvSpPr/>
            <p:nvPr/>
          </p:nvSpPr>
          <p:spPr>
            <a:xfrm>
              <a:off x="8931069" y="4611842"/>
              <a:ext cx="89766" cy="81444"/>
            </a:xfrm>
            <a:prstGeom prst="ellipse">
              <a:avLst/>
            </a:prstGeom>
            <a:solidFill>
              <a:srgbClr val="00A194"/>
            </a:solidFill>
            <a:ln w="12700" cap="flat" cmpd="sng" algn="ctr">
              <a:solidFill>
                <a:srgbClr val="00A19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556" name="Oval 555">
              <a:extLst>
                <a:ext uri="{FF2B5EF4-FFF2-40B4-BE49-F238E27FC236}">
                  <a16:creationId xmlns:a16="http://schemas.microsoft.com/office/drawing/2014/main" id="{198A0F1D-F6E7-FA96-C9EA-B1BBC958530F}"/>
                </a:ext>
              </a:extLst>
            </p:cNvPr>
            <p:cNvSpPr/>
            <p:nvPr/>
          </p:nvSpPr>
          <p:spPr>
            <a:xfrm>
              <a:off x="9688230" y="4289165"/>
              <a:ext cx="89766" cy="81444"/>
            </a:xfrm>
            <a:prstGeom prst="ellipse">
              <a:avLst/>
            </a:prstGeom>
            <a:solidFill>
              <a:srgbClr val="00A194"/>
            </a:solidFill>
            <a:ln w="12700" cap="flat" cmpd="sng" algn="ctr">
              <a:solidFill>
                <a:srgbClr val="00A19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557" name="Oval 556">
              <a:extLst>
                <a:ext uri="{FF2B5EF4-FFF2-40B4-BE49-F238E27FC236}">
                  <a16:creationId xmlns:a16="http://schemas.microsoft.com/office/drawing/2014/main" id="{60CB7C55-724A-021F-E2CD-EFCDF6A9711C}"/>
                </a:ext>
              </a:extLst>
            </p:cNvPr>
            <p:cNvSpPr/>
            <p:nvPr/>
          </p:nvSpPr>
          <p:spPr>
            <a:xfrm>
              <a:off x="10116100" y="5154697"/>
              <a:ext cx="89766" cy="81444"/>
            </a:xfrm>
            <a:prstGeom prst="ellipse">
              <a:avLst/>
            </a:prstGeom>
            <a:solidFill>
              <a:srgbClr val="A2C613"/>
            </a:solidFill>
            <a:ln w="12700" cap="flat" cmpd="sng" algn="ctr">
              <a:solidFill>
                <a:srgbClr val="00A19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558" name="Oval 557">
              <a:extLst>
                <a:ext uri="{FF2B5EF4-FFF2-40B4-BE49-F238E27FC236}">
                  <a16:creationId xmlns:a16="http://schemas.microsoft.com/office/drawing/2014/main" id="{2E08E099-E819-0EB7-733A-C46EE5D07606}"/>
                </a:ext>
              </a:extLst>
            </p:cNvPr>
            <p:cNvSpPr/>
            <p:nvPr/>
          </p:nvSpPr>
          <p:spPr>
            <a:xfrm>
              <a:off x="10185571" y="4768125"/>
              <a:ext cx="89766" cy="81444"/>
            </a:xfrm>
            <a:prstGeom prst="ellipse">
              <a:avLst/>
            </a:prstGeom>
            <a:solidFill>
              <a:srgbClr val="00A194"/>
            </a:solidFill>
            <a:ln w="12700" cap="flat" cmpd="sng" algn="ctr">
              <a:solidFill>
                <a:srgbClr val="00A19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559" name="Oval 558">
              <a:extLst>
                <a:ext uri="{FF2B5EF4-FFF2-40B4-BE49-F238E27FC236}">
                  <a16:creationId xmlns:a16="http://schemas.microsoft.com/office/drawing/2014/main" id="{5AB54181-3711-59D5-9675-38DF877534D2}"/>
                </a:ext>
              </a:extLst>
            </p:cNvPr>
            <p:cNvSpPr/>
            <p:nvPr/>
          </p:nvSpPr>
          <p:spPr>
            <a:xfrm>
              <a:off x="9688230" y="3088018"/>
              <a:ext cx="89766" cy="81444"/>
            </a:xfrm>
            <a:prstGeom prst="ellipse">
              <a:avLst/>
            </a:prstGeom>
            <a:solidFill>
              <a:srgbClr val="00A194"/>
            </a:solidFill>
            <a:ln w="12700" cap="flat" cmpd="sng" algn="ctr">
              <a:solidFill>
                <a:srgbClr val="00A19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560" name="Oval 559">
              <a:extLst>
                <a:ext uri="{FF2B5EF4-FFF2-40B4-BE49-F238E27FC236}">
                  <a16:creationId xmlns:a16="http://schemas.microsoft.com/office/drawing/2014/main" id="{9A89CF16-2BDA-D47B-5DD0-22AE5893F33B}"/>
                </a:ext>
              </a:extLst>
            </p:cNvPr>
            <p:cNvSpPr/>
            <p:nvPr/>
          </p:nvSpPr>
          <p:spPr>
            <a:xfrm>
              <a:off x="9464117" y="3915743"/>
              <a:ext cx="89766" cy="81444"/>
            </a:xfrm>
            <a:prstGeom prst="ellipse">
              <a:avLst/>
            </a:prstGeom>
            <a:solidFill>
              <a:srgbClr val="00A194"/>
            </a:solidFill>
            <a:ln w="12700" cap="flat" cmpd="sng" algn="ctr">
              <a:solidFill>
                <a:srgbClr val="00A19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561" name="Oval 560">
              <a:extLst>
                <a:ext uri="{FF2B5EF4-FFF2-40B4-BE49-F238E27FC236}">
                  <a16:creationId xmlns:a16="http://schemas.microsoft.com/office/drawing/2014/main" id="{8E50EE1E-4D16-3E89-05FE-A7ED6C9FC68D}"/>
                </a:ext>
              </a:extLst>
            </p:cNvPr>
            <p:cNvSpPr/>
            <p:nvPr/>
          </p:nvSpPr>
          <p:spPr>
            <a:xfrm>
              <a:off x="9811338" y="2713636"/>
              <a:ext cx="89766" cy="81444"/>
            </a:xfrm>
            <a:prstGeom prst="ellipse">
              <a:avLst/>
            </a:prstGeom>
            <a:solidFill>
              <a:srgbClr val="7359A0"/>
            </a:solidFill>
            <a:ln w="12700" cap="flat" cmpd="sng" algn="ctr">
              <a:solidFill>
                <a:srgbClr val="00A19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cxnSp>
          <p:nvCxnSpPr>
            <p:cNvPr id="562" name="Straight Connector 561">
              <a:extLst>
                <a:ext uri="{FF2B5EF4-FFF2-40B4-BE49-F238E27FC236}">
                  <a16:creationId xmlns:a16="http://schemas.microsoft.com/office/drawing/2014/main" id="{826742A4-2EEE-9ABA-EC3F-B1946A23B314}"/>
                </a:ext>
              </a:extLst>
            </p:cNvPr>
            <p:cNvCxnSpPr>
              <a:cxnSpLocks/>
            </p:cNvCxnSpPr>
            <p:nvPr/>
          </p:nvCxnSpPr>
          <p:spPr>
            <a:xfrm>
              <a:off x="9704838" y="2061699"/>
              <a:ext cx="73158" cy="222546"/>
            </a:xfrm>
            <a:prstGeom prst="line">
              <a:avLst/>
            </a:prstGeom>
            <a:noFill/>
            <a:ln w="6350" cap="flat" cmpd="sng" algn="ctr">
              <a:solidFill>
                <a:sysClr val="windowText" lastClr="000000"/>
              </a:solidFill>
              <a:prstDash val="solid"/>
              <a:miter lim="800000"/>
            </a:ln>
            <a:effectLst/>
          </p:spPr>
        </p:cxnSp>
        <p:sp>
          <p:nvSpPr>
            <p:cNvPr id="563" name="Oval 562">
              <a:extLst>
                <a:ext uri="{FF2B5EF4-FFF2-40B4-BE49-F238E27FC236}">
                  <a16:creationId xmlns:a16="http://schemas.microsoft.com/office/drawing/2014/main" id="{1315A460-EE41-B36E-0709-01F4E81FB8BD}"/>
                </a:ext>
              </a:extLst>
            </p:cNvPr>
            <p:cNvSpPr/>
            <p:nvPr/>
          </p:nvSpPr>
          <p:spPr>
            <a:xfrm>
              <a:off x="9831840" y="2433569"/>
              <a:ext cx="89766" cy="81444"/>
            </a:xfrm>
            <a:prstGeom prst="ellipse">
              <a:avLst/>
            </a:prstGeom>
            <a:solidFill>
              <a:srgbClr val="7359A0"/>
            </a:solidFill>
            <a:ln w="12700" cap="flat" cmpd="sng" algn="ctr">
              <a:solidFill>
                <a:srgbClr val="00A19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564" name="Oval 563">
              <a:extLst>
                <a:ext uri="{FF2B5EF4-FFF2-40B4-BE49-F238E27FC236}">
                  <a16:creationId xmlns:a16="http://schemas.microsoft.com/office/drawing/2014/main" id="{DBA7D72D-B935-5E53-2B11-3F8DCCDA99CE}"/>
                </a:ext>
              </a:extLst>
            </p:cNvPr>
            <p:cNvSpPr/>
            <p:nvPr/>
          </p:nvSpPr>
          <p:spPr>
            <a:xfrm>
              <a:off x="9704355" y="2139702"/>
              <a:ext cx="89766" cy="81444"/>
            </a:xfrm>
            <a:prstGeom prst="ellipse">
              <a:avLst/>
            </a:prstGeom>
            <a:solidFill>
              <a:srgbClr val="7359A0"/>
            </a:solidFill>
            <a:ln w="12700" cap="flat" cmpd="sng" algn="ctr">
              <a:solidFill>
                <a:srgbClr val="00A19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cxnSp>
          <p:nvCxnSpPr>
            <p:cNvPr id="565" name="Straight Connector 564">
              <a:extLst>
                <a:ext uri="{FF2B5EF4-FFF2-40B4-BE49-F238E27FC236}">
                  <a16:creationId xmlns:a16="http://schemas.microsoft.com/office/drawing/2014/main" id="{CAACF86D-1A3F-40F0-21F8-5A167BC714D2}"/>
                </a:ext>
              </a:extLst>
            </p:cNvPr>
            <p:cNvCxnSpPr>
              <a:cxnSpLocks/>
              <a:stCxn id="529" idx="121"/>
            </p:cNvCxnSpPr>
            <p:nvPr/>
          </p:nvCxnSpPr>
          <p:spPr>
            <a:xfrm>
              <a:off x="6549520" y="3382274"/>
              <a:ext cx="265411" cy="561308"/>
            </a:xfrm>
            <a:prstGeom prst="line">
              <a:avLst/>
            </a:prstGeom>
            <a:noFill/>
            <a:ln w="6350" cap="flat" cmpd="sng" algn="ctr">
              <a:solidFill>
                <a:sysClr val="windowText" lastClr="000000"/>
              </a:solidFill>
              <a:prstDash val="solid"/>
              <a:miter lim="800000"/>
            </a:ln>
            <a:effectLst/>
          </p:spPr>
        </p:cxnSp>
        <p:sp>
          <p:nvSpPr>
            <p:cNvPr id="566" name="Oval 565">
              <a:extLst>
                <a:ext uri="{FF2B5EF4-FFF2-40B4-BE49-F238E27FC236}">
                  <a16:creationId xmlns:a16="http://schemas.microsoft.com/office/drawing/2014/main" id="{34F6DE6E-D9A8-D260-7FFE-AF013EFE0B12}"/>
                </a:ext>
              </a:extLst>
            </p:cNvPr>
            <p:cNvSpPr/>
            <p:nvPr/>
          </p:nvSpPr>
          <p:spPr>
            <a:xfrm>
              <a:off x="6639671" y="3630142"/>
              <a:ext cx="89766" cy="81444"/>
            </a:xfrm>
            <a:prstGeom prst="ellipse">
              <a:avLst/>
            </a:prstGeom>
            <a:solidFill>
              <a:srgbClr val="00A194"/>
            </a:solidFill>
            <a:ln w="12700" cap="flat" cmpd="sng" algn="ctr">
              <a:solidFill>
                <a:srgbClr val="00A19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cxnSp>
          <p:nvCxnSpPr>
            <p:cNvPr id="567" name="Straight Connector 566">
              <a:extLst>
                <a:ext uri="{FF2B5EF4-FFF2-40B4-BE49-F238E27FC236}">
                  <a16:creationId xmlns:a16="http://schemas.microsoft.com/office/drawing/2014/main" id="{80CC8EA5-FCDC-7B3C-A37A-A5C0CA9F41E8}"/>
                </a:ext>
              </a:extLst>
            </p:cNvPr>
            <p:cNvCxnSpPr>
              <a:cxnSpLocks/>
            </p:cNvCxnSpPr>
            <p:nvPr/>
          </p:nvCxnSpPr>
          <p:spPr>
            <a:xfrm>
              <a:off x="8263759" y="2507026"/>
              <a:ext cx="73158" cy="222546"/>
            </a:xfrm>
            <a:prstGeom prst="line">
              <a:avLst/>
            </a:prstGeom>
            <a:noFill/>
            <a:ln w="6350" cap="flat" cmpd="sng" algn="ctr">
              <a:solidFill>
                <a:sysClr val="windowText" lastClr="000000"/>
              </a:solidFill>
              <a:prstDash val="solid"/>
              <a:miter lim="800000"/>
            </a:ln>
            <a:effectLst/>
          </p:spPr>
        </p:cxnSp>
        <p:sp>
          <p:nvSpPr>
            <p:cNvPr id="568" name="Oval 567">
              <a:extLst>
                <a:ext uri="{FF2B5EF4-FFF2-40B4-BE49-F238E27FC236}">
                  <a16:creationId xmlns:a16="http://schemas.microsoft.com/office/drawing/2014/main" id="{7C639AD2-DAFC-99D5-B74A-848818D05687}"/>
                </a:ext>
              </a:extLst>
            </p:cNvPr>
            <p:cNvSpPr/>
            <p:nvPr/>
          </p:nvSpPr>
          <p:spPr>
            <a:xfrm>
              <a:off x="8255157" y="2573571"/>
              <a:ext cx="89766" cy="81444"/>
            </a:xfrm>
            <a:prstGeom prst="ellipse">
              <a:avLst/>
            </a:prstGeom>
            <a:solidFill>
              <a:srgbClr val="7359A3"/>
            </a:solidFill>
            <a:ln w="12700" cap="flat" cmpd="sng" algn="ctr">
              <a:solidFill>
                <a:srgbClr val="00A19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cxnSp>
          <p:nvCxnSpPr>
            <p:cNvPr id="569" name="Straight Connector 568">
              <a:extLst>
                <a:ext uri="{FF2B5EF4-FFF2-40B4-BE49-F238E27FC236}">
                  <a16:creationId xmlns:a16="http://schemas.microsoft.com/office/drawing/2014/main" id="{E2052ED5-DC23-8ADA-5409-F166BF0B8D3C}"/>
                </a:ext>
              </a:extLst>
            </p:cNvPr>
            <p:cNvCxnSpPr>
              <a:cxnSpLocks/>
              <a:stCxn id="527" idx="38"/>
            </p:cNvCxnSpPr>
            <p:nvPr/>
          </p:nvCxnSpPr>
          <p:spPr>
            <a:xfrm>
              <a:off x="9330042" y="5476341"/>
              <a:ext cx="433594" cy="26254"/>
            </a:xfrm>
            <a:prstGeom prst="line">
              <a:avLst/>
            </a:prstGeom>
            <a:noFill/>
            <a:ln w="6350" cap="flat" cmpd="sng" algn="ctr">
              <a:solidFill>
                <a:sysClr val="windowText" lastClr="000000"/>
              </a:solidFill>
              <a:prstDash val="solid"/>
              <a:miter lim="800000"/>
            </a:ln>
            <a:effectLst/>
          </p:spPr>
        </p:cxnSp>
        <p:sp>
          <p:nvSpPr>
            <p:cNvPr id="570" name="Oval 569">
              <a:extLst>
                <a:ext uri="{FF2B5EF4-FFF2-40B4-BE49-F238E27FC236}">
                  <a16:creationId xmlns:a16="http://schemas.microsoft.com/office/drawing/2014/main" id="{A0911D5B-116C-12FA-BB09-59F9963F1209}"/>
                </a:ext>
              </a:extLst>
            </p:cNvPr>
            <p:cNvSpPr/>
            <p:nvPr/>
          </p:nvSpPr>
          <p:spPr>
            <a:xfrm>
              <a:off x="9509000" y="5453381"/>
              <a:ext cx="89766" cy="81444"/>
            </a:xfrm>
            <a:prstGeom prst="ellipse">
              <a:avLst/>
            </a:prstGeom>
            <a:solidFill>
              <a:srgbClr val="A2C613"/>
            </a:solidFill>
            <a:ln w="12700" cap="flat" cmpd="sng" algn="ctr">
              <a:solidFill>
                <a:srgbClr val="00A19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571" name="Oval 570">
              <a:extLst>
                <a:ext uri="{FF2B5EF4-FFF2-40B4-BE49-F238E27FC236}">
                  <a16:creationId xmlns:a16="http://schemas.microsoft.com/office/drawing/2014/main" id="{82C0EE9F-9F08-554A-6DE9-A7619F6D851D}"/>
                </a:ext>
              </a:extLst>
            </p:cNvPr>
            <p:cNvSpPr/>
            <p:nvPr/>
          </p:nvSpPr>
          <p:spPr>
            <a:xfrm>
              <a:off x="9109655" y="4251845"/>
              <a:ext cx="89766" cy="81444"/>
            </a:xfrm>
            <a:prstGeom prst="ellipse">
              <a:avLst/>
            </a:prstGeom>
            <a:solidFill>
              <a:srgbClr val="00A194"/>
            </a:solidFill>
            <a:ln w="12700" cap="flat" cmpd="sng" algn="ctr">
              <a:solidFill>
                <a:srgbClr val="00A19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cxnSp>
          <p:nvCxnSpPr>
            <p:cNvPr id="572" name="Straight Connector 571">
              <a:extLst>
                <a:ext uri="{FF2B5EF4-FFF2-40B4-BE49-F238E27FC236}">
                  <a16:creationId xmlns:a16="http://schemas.microsoft.com/office/drawing/2014/main" id="{8113CD10-FB77-A994-74E0-9CDFFEA702AE}"/>
                </a:ext>
              </a:extLst>
            </p:cNvPr>
            <p:cNvCxnSpPr>
              <a:cxnSpLocks/>
            </p:cNvCxnSpPr>
            <p:nvPr/>
          </p:nvCxnSpPr>
          <p:spPr>
            <a:xfrm flipH="1">
              <a:off x="8707504" y="2964687"/>
              <a:ext cx="79077" cy="222449"/>
            </a:xfrm>
            <a:prstGeom prst="line">
              <a:avLst/>
            </a:prstGeom>
            <a:noFill/>
            <a:ln w="6350" cap="flat" cmpd="sng" algn="ctr">
              <a:solidFill>
                <a:sysClr val="windowText" lastClr="000000"/>
              </a:solidFill>
              <a:prstDash val="solid"/>
              <a:miter lim="800000"/>
            </a:ln>
            <a:effectLst/>
          </p:spPr>
        </p:cxnSp>
        <p:sp>
          <p:nvSpPr>
            <p:cNvPr id="573" name="Oval 572">
              <a:extLst>
                <a:ext uri="{FF2B5EF4-FFF2-40B4-BE49-F238E27FC236}">
                  <a16:creationId xmlns:a16="http://schemas.microsoft.com/office/drawing/2014/main" id="{CF1D9F8F-FC78-7C78-72DC-2ABB4D87E371}"/>
                </a:ext>
              </a:extLst>
            </p:cNvPr>
            <p:cNvSpPr/>
            <p:nvPr/>
          </p:nvSpPr>
          <p:spPr>
            <a:xfrm>
              <a:off x="8700873" y="3051693"/>
              <a:ext cx="89766" cy="81444"/>
            </a:xfrm>
            <a:prstGeom prst="ellipse">
              <a:avLst/>
            </a:prstGeom>
            <a:solidFill>
              <a:srgbClr val="00A194"/>
            </a:solidFill>
            <a:ln w="12700" cap="flat" cmpd="sng" algn="ctr">
              <a:solidFill>
                <a:srgbClr val="00A19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cxnSp>
          <p:nvCxnSpPr>
            <p:cNvPr id="574" name="Straight Connector 573">
              <a:extLst>
                <a:ext uri="{FF2B5EF4-FFF2-40B4-BE49-F238E27FC236}">
                  <a16:creationId xmlns:a16="http://schemas.microsoft.com/office/drawing/2014/main" id="{741AF044-FB05-3CAE-9F03-4906DA307B8E}"/>
                </a:ext>
              </a:extLst>
            </p:cNvPr>
            <p:cNvCxnSpPr>
              <a:cxnSpLocks/>
            </p:cNvCxnSpPr>
            <p:nvPr/>
          </p:nvCxnSpPr>
          <p:spPr>
            <a:xfrm flipH="1">
              <a:off x="7988586" y="2432815"/>
              <a:ext cx="97325" cy="884658"/>
            </a:xfrm>
            <a:prstGeom prst="line">
              <a:avLst/>
            </a:prstGeom>
            <a:noFill/>
            <a:ln w="6350" cap="flat" cmpd="sng" algn="ctr">
              <a:solidFill>
                <a:sysClr val="windowText" lastClr="000000"/>
              </a:solidFill>
              <a:prstDash val="solid"/>
              <a:miter lim="800000"/>
            </a:ln>
            <a:effectLst/>
          </p:spPr>
        </p:cxnSp>
        <p:sp>
          <p:nvSpPr>
            <p:cNvPr id="575" name="Oval 574">
              <a:extLst>
                <a:ext uri="{FF2B5EF4-FFF2-40B4-BE49-F238E27FC236}">
                  <a16:creationId xmlns:a16="http://schemas.microsoft.com/office/drawing/2014/main" id="{E00C2A29-1677-1372-9107-210E01DCC108}"/>
                </a:ext>
              </a:extLst>
            </p:cNvPr>
            <p:cNvSpPr/>
            <p:nvPr/>
          </p:nvSpPr>
          <p:spPr>
            <a:xfrm>
              <a:off x="7990341" y="2874089"/>
              <a:ext cx="89766" cy="81444"/>
            </a:xfrm>
            <a:prstGeom prst="ellipse">
              <a:avLst/>
            </a:prstGeom>
            <a:solidFill>
              <a:srgbClr val="00A194"/>
            </a:solidFill>
            <a:ln w="12700" cap="flat" cmpd="sng" algn="ctr">
              <a:solidFill>
                <a:srgbClr val="00A19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cxnSp>
          <p:nvCxnSpPr>
            <p:cNvPr id="576" name="Straight Connector 575">
              <a:extLst>
                <a:ext uri="{FF2B5EF4-FFF2-40B4-BE49-F238E27FC236}">
                  <a16:creationId xmlns:a16="http://schemas.microsoft.com/office/drawing/2014/main" id="{308900F7-8FAC-36E1-20DC-39505B1ECA43}"/>
                </a:ext>
              </a:extLst>
            </p:cNvPr>
            <p:cNvCxnSpPr>
              <a:cxnSpLocks/>
            </p:cNvCxnSpPr>
            <p:nvPr/>
          </p:nvCxnSpPr>
          <p:spPr>
            <a:xfrm flipH="1">
              <a:off x="8175083" y="2488008"/>
              <a:ext cx="822" cy="804205"/>
            </a:xfrm>
            <a:prstGeom prst="line">
              <a:avLst/>
            </a:prstGeom>
            <a:noFill/>
            <a:ln w="6350" cap="flat" cmpd="sng" algn="ctr">
              <a:solidFill>
                <a:sysClr val="windowText" lastClr="000000"/>
              </a:solidFill>
              <a:prstDash val="solid"/>
              <a:miter lim="800000"/>
            </a:ln>
            <a:effectLst/>
          </p:spPr>
        </p:cxnSp>
        <p:sp>
          <p:nvSpPr>
            <p:cNvPr id="577" name="Oval 576">
              <a:extLst>
                <a:ext uri="{FF2B5EF4-FFF2-40B4-BE49-F238E27FC236}">
                  <a16:creationId xmlns:a16="http://schemas.microsoft.com/office/drawing/2014/main" id="{459CCE59-0E42-C028-C98D-D6DAB4B19954}"/>
                </a:ext>
              </a:extLst>
            </p:cNvPr>
            <p:cNvSpPr/>
            <p:nvPr/>
          </p:nvSpPr>
          <p:spPr>
            <a:xfrm>
              <a:off x="8123396" y="2740030"/>
              <a:ext cx="89766" cy="81444"/>
            </a:xfrm>
            <a:prstGeom prst="ellipse">
              <a:avLst/>
            </a:prstGeom>
            <a:solidFill>
              <a:srgbClr val="00A194"/>
            </a:solidFill>
            <a:ln w="12700" cap="flat" cmpd="sng" algn="ctr">
              <a:solidFill>
                <a:srgbClr val="00A19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cxnSp>
          <p:nvCxnSpPr>
            <p:cNvPr id="578" name="Straight Connector 577">
              <a:extLst>
                <a:ext uri="{FF2B5EF4-FFF2-40B4-BE49-F238E27FC236}">
                  <a16:creationId xmlns:a16="http://schemas.microsoft.com/office/drawing/2014/main" id="{26788000-9095-04CF-7584-470C60EC2F94}"/>
                </a:ext>
              </a:extLst>
            </p:cNvPr>
            <p:cNvCxnSpPr>
              <a:cxnSpLocks/>
            </p:cNvCxnSpPr>
            <p:nvPr/>
          </p:nvCxnSpPr>
          <p:spPr>
            <a:xfrm>
              <a:off x="8970348" y="2844887"/>
              <a:ext cx="187619" cy="276635"/>
            </a:xfrm>
            <a:prstGeom prst="line">
              <a:avLst/>
            </a:prstGeom>
            <a:noFill/>
            <a:ln w="6350" cap="flat" cmpd="sng" algn="ctr">
              <a:solidFill>
                <a:sysClr val="windowText" lastClr="000000"/>
              </a:solidFill>
              <a:prstDash val="solid"/>
              <a:miter lim="800000"/>
            </a:ln>
            <a:effectLst/>
          </p:spPr>
        </p:cxnSp>
        <p:sp>
          <p:nvSpPr>
            <p:cNvPr id="579" name="Oval 578">
              <a:extLst>
                <a:ext uri="{FF2B5EF4-FFF2-40B4-BE49-F238E27FC236}">
                  <a16:creationId xmlns:a16="http://schemas.microsoft.com/office/drawing/2014/main" id="{579CFBAF-C640-0751-EF63-DD62EB7C806B}"/>
                </a:ext>
              </a:extLst>
            </p:cNvPr>
            <p:cNvSpPr/>
            <p:nvPr/>
          </p:nvSpPr>
          <p:spPr>
            <a:xfrm>
              <a:off x="9007551" y="2936411"/>
              <a:ext cx="89766" cy="81444"/>
            </a:xfrm>
            <a:prstGeom prst="ellipse">
              <a:avLst/>
            </a:prstGeom>
            <a:solidFill>
              <a:srgbClr val="00A194"/>
            </a:solidFill>
            <a:ln w="12700" cap="flat" cmpd="sng" algn="ctr">
              <a:solidFill>
                <a:srgbClr val="00A19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cxnSp>
          <p:nvCxnSpPr>
            <p:cNvPr id="580" name="Straight Connector 579">
              <a:extLst>
                <a:ext uri="{FF2B5EF4-FFF2-40B4-BE49-F238E27FC236}">
                  <a16:creationId xmlns:a16="http://schemas.microsoft.com/office/drawing/2014/main" id="{CDCB6EBE-B6DC-E00E-BE03-47CC05226429}"/>
                </a:ext>
              </a:extLst>
            </p:cNvPr>
            <p:cNvCxnSpPr>
              <a:cxnSpLocks/>
            </p:cNvCxnSpPr>
            <p:nvPr/>
          </p:nvCxnSpPr>
          <p:spPr>
            <a:xfrm>
              <a:off x="8990902" y="2796730"/>
              <a:ext cx="521488" cy="149039"/>
            </a:xfrm>
            <a:prstGeom prst="line">
              <a:avLst/>
            </a:prstGeom>
            <a:noFill/>
            <a:ln w="6350" cap="flat" cmpd="sng" algn="ctr">
              <a:solidFill>
                <a:sysClr val="windowText" lastClr="000000"/>
              </a:solidFill>
              <a:prstDash val="solid"/>
              <a:miter lim="800000"/>
            </a:ln>
            <a:effectLst/>
          </p:spPr>
        </p:cxnSp>
        <p:sp>
          <p:nvSpPr>
            <p:cNvPr id="581" name="Oval 580">
              <a:extLst>
                <a:ext uri="{FF2B5EF4-FFF2-40B4-BE49-F238E27FC236}">
                  <a16:creationId xmlns:a16="http://schemas.microsoft.com/office/drawing/2014/main" id="{7C7EB3FC-A3F4-CE41-B66D-1692284CE730}"/>
                </a:ext>
              </a:extLst>
            </p:cNvPr>
            <p:cNvSpPr/>
            <p:nvPr/>
          </p:nvSpPr>
          <p:spPr>
            <a:xfrm>
              <a:off x="9216383" y="2835544"/>
              <a:ext cx="89766" cy="81444"/>
            </a:xfrm>
            <a:prstGeom prst="ellipse">
              <a:avLst/>
            </a:prstGeom>
            <a:solidFill>
              <a:srgbClr val="7359A0"/>
            </a:solidFill>
            <a:ln w="12700" cap="flat" cmpd="sng" algn="ctr">
              <a:solidFill>
                <a:srgbClr val="00A19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cxnSp>
          <p:nvCxnSpPr>
            <p:cNvPr id="582" name="Straight Connector 581">
              <a:extLst>
                <a:ext uri="{FF2B5EF4-FFF2-40B4-BE49-F238E27FC236}">
                  <a16:creationId xmlns:a16="http://schemas.microsoft.com/office/drawing/2014/main" id="{E4554104-4703-E851-897D-A7CCE168E8B9}"/>
                </a:ext>
              </a:extLst>
            </p:cNvPr>
            <p:cNvCxnSpPr>
              <a:cxnSpLocks/>
            </p:cNvCxnSpPr>
            <p:nvPr/>
          </p:nvCxnSpPr>
          <p:spPr>
            <a:xfrm flipV="1">
              <a:off x="9165767" y="2070994"/>
              <a:ext cx="240532" cy="69987"/>
            </a:xfrm>
            <a:prstGeom prst="line">
              <a:avLst/>
            </a:prstGeom>
            <a:noFill/>
            <a:ln w="6350" cap="flat" cmpd="sng" algn="ctr">
              <a:solidFill>
                <a:sysClr val="windowText" lastClr="000000"/>
              </a:solidFill>
              <a:prstDash val="solid"/>
              <a:miter lim="800000"/>
            </a:ln>
            <a:effectLst/>
          </p:spPr>
        </p:cxnSp>
        <p:sp>
          <p:nvSpPr>
            <p:cNvPr id="583" name="Oval 582">
              <a:extLst>
                <a:ext uri="{FF2B5EF4-FFF2-40B4-BE49-F238E27FC236}">
                  <a16:creationId xmlns:a16="http://schemas.microsoft.com/office/drawing/2014/main" id="{C911B96C-B667-ACD7-18E6-74DF6F10A9C4}"/>
                </a:ext>
              </a:extLst>
            </p:cNvPr>
            <p:cNvSpPr/>
            <p:nvPr/>
          </p:nvSpPr>
          <p:spPr>
            <a:xfrm>
              <a:off x="9254369" y="2070067"/>
              <a:ext cx="89766" cy="81444"/>
            </a:xfrm>
            <a:prstGeom prst="ellipse">
              <a:avLst/>
            </a:prstGeom>
            <a:solidFill>
              <a:srgbClr val="7359A0"/>
            </a:solidFill>
            <a:ln w="12700" cap="flat" cmpd="sng" algn="ctr">
              <a:solidFill>
                <a:srgbClr val="00A19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cxnSp>
          <p:nvCxnSpPr>
            <p:cNvPr id="584" name="Straight Connector 583">
              <a:extLst>
                <a:ext uri="{FF2B5EF4-FFF2-40B4-BE49-F238E27FC236}">
                  <a16:creationId xmlns:a16="http://schemas.microsoft.com/office/drawing/2014/main" id="{6098EC70-F244-E679-2AF8-E2CF4A161259}"/>
                </a:ext>
              </a:extLst>
            </p:cNvPr>
            <p:cNvCxnSpPr>
              <a:cxnSpLocks/>
            </p:cNvCxnSpPr>
            <p:nvPr/>
          </p:nvCxnSpPr>
          <p:spPr>
            <a:xfrm flipH="1">
              <a:off x="8151541" y="5267976"/>
              <a:ext cx="57795" cy="128745"/>
            </a:xfrm>
            <a:prstGeom prst="line">
              <a:avLst/>
            </a:prstGeom>
            <a:noFill/>
            <a:ln w="6350" cap="flat" cmpd="sng" algn="ctr">
              <a:solidFill>
                <a:sysClr val="windowText" lastClr="000000"/>
              </a:solidFill>
              <a:prstDash val="solid"/>
              <a:miter lim="800000"/>
            </a:ln>
            <a:effectLst/>
          </p:spPr>
        </p:cxnSp>
        <p:cxnSp>
          <p:nvCxnSpPr>
            <p:cNvPr id="585" name="Straight Connector 584">
              <a:extLst>
                <a:ext uri="{FF2B5EF4-FFF2-40B4-BE49-F238E27FC236}">
                  <a16:creationId xmlns:a16="http://schemas.microsoft.com/office/drawing/2014/main" id="{91D154B2-7EEF-2EB7-A56E-9ED5972E215D}"/>
                </a:ext>
              </a:extLst>
            </p:cNvPr>
            <p:cNvCxnSpPr>
              <a:cxnSpLocks/>
              <a:stCxn id="525" idx="90"/>
            </p:cNvCxnSpPr>
            <p:nvPr/>
          </p:nvCxnSpPr>
          <p:spPr>
            <a:xfrm flipH="1">
              <a:off x="8273106" y="5082676"/>
              <a:ext cx="148230" cy="66968"/>
            </a:xfrm>
            <a:prstGeom prst="line">
              <a:avLst/>
            </a:prstGeom>
            <a:noFill/>
            <a:ln w="6350" cap="flat" cmpd="sng" algn="ctr">
              <a:solidFill>
                <a:sysClr val="windowText" lastClr="000000"/>
              </a:solidFill>
              <a:prstDash val="solid"/>
              <a:miter lim="800000"/>
            </a:ln>
            <a:effectLst/>
          </p:spPr>
        </p:cxnSp>
        <p:cxnSp>
          <p:nvCxnSpPr>
            <p:cNvPr id="586" name="Straight Connector 585">
              <a:extLst>
                <a:ext uri="{FF2B5EF4-FFF2-40B4-BE49-F238E27FC236}">
                  <a16:creationId xmlns:a16="http://schemas.microsoft.com/office/drawing/2014/main" id="{6D7F4F97-F1B2-A00A-E12E-DA8A2BB67A31}"/>
                </a:ext>
              </a:extLst>
            </p:cNvPr>
            <p:cNvCxnSpPr>
              <a:cxnSpLocks/>
            </p:cNvCxnSpPr>
            <p:nvPr/>
          </p:nvCxnSpPr>
          <p:spPr>
            <a:xfrm flipH="1">
              <a:off x="8017478" y="2968195"/>
              <a:ext cx="209476" cy="362615"/>
            </a:xfrm>
            <a:prstGeom prst="line">
              <a:avLst/>
            </a:prstGeom>
            <a:noFill/>
            <a:ln w="6350" cap="flat" cmpd="sng" algn="ctr">
              <a:solidFill>
                <a:sysClr val="windowText" lastClr="000000"/>
              </a:solidFill>
              <a:prstDash val="solid"/>
              <a:miter lim="800000"/>
            </a:ln>
            <a:effectLst/>
          </p:spPr>
        </p:cxnSp>
        <p:sp>
          <p:nvSpPr>
            <p:cNvPr id="587" name="Oval 586">
              <a:extLst>
                <a:ext uri="{FF2B5EF4-FFF2-40B4-BE49-F238E27FC236}">
                  <a16:creationId xmlns:a16="http://schemas.microsoft.com/office/drawing/2014/main" id="{288FB23C-1ED0-83E6-0B1C-12F1CD6C74D1}"/>
                </a:ext>
              </a:extLst>
            </p:cNvPr>
            <p:cNvSpPr/>
            <p:nvPr/>
          </p:nvSpPr>
          <p:spPr>
            <a:xfrm>
              <a:off x="8050653" y="3152799"/>
              <a:ext cx="89766" cy="81444"/>
            </a:xfrm>
            <a:prstGeom prst="ellipse">
              <a:avLst/>
            </a:prstGeom>
            <a:solidFill>
              <a:srgbClr val="00A194"/>
            </a:solidFill>
            <a:ln w="12700" cap="flat" cmpd="sng" algn="ctr">
              <a:solidFill>
                <a:srgbClr val="00A19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grpSp>
          <p:nvGrpSpPr>
            <p:cNvPr id="588" name="Gruppieren 856">
              <a:extLst>
                <a:ext uri="{FF2B5EF4-FFF2-40B4-BE49-F238E27FC236}">
                  <a16:creationId xmlns:a16="http://schemas.microsoft.com/office/drawing/2014/main" id="{CD4B1D60-14DB-BA5B-636D-FE32581523D5}"/>
                </a:ext>
              </a:extLst>
            </p:cNvPr>
            <p:cNvGrpSpPr/>
            <p:nvPr/>
          </p:nvGrpSpPr>
          <p:grpSpPr>
            <a:xfrm>
              <a:off x="6622010" y="2414516"/>
              <a:ext cx="1149801" cy="664168"/>
              <a:chOff x="4151268" y="2830733"/>
              <a:chExt cx="1149801" cy="664168"/>
            </a:xfrm>
            <a:solidFill>
              <a:srgbClr val="7359A3"/>
            </a:solidFill>
          </p:grpSpPr>
          <p:sp>
            <p:nvSpPr>
              <p:cNvPr id="589" name="ee4p_BF_1_41893">
                <a:extLst>
                  <a:ext uri="{FF2B5EF4-FFF2-40B4-BE49-F238E27FC236}">
                    <a16:creationId xmlns:a16="http://schemas.microsoft.com/office/drawing/2014/main" id="{DCEA8F53-ABEE-24B2-CAA3-A185D303B5A9}"/>
                  </a:ext>
                </a:extLst>
              </p:cNvPr>
              <p:cNvSpPr>
                <a:spLocks noChangeAspect="1"/>
              </p:cNvSpPr>
              <p:nvPr/>
            </p:nvSpPr>
            <p:spPr>
              <a:xfrm rot="631238">
                <a:off x="4365413" y="3405221"/>
                <a:ext cx="25625" cy="19198"/>
              </a:xfrm>
              <a:custGeom>
                <a:avLst/>
                <a:gdLst/>
                <a:ahLst/>
                <a:cxnLst/>
                <a:rect l="0" t="0" r="0" b="0"/>
                <a:pathLst>
                  <a:path w="56946" h="47116">
                    <a:moveTo>
                      <a:pt x="22622" y="6406"/>
                    </a:moveTo>
                    <a:lnTo>
                      <a:pt x="28203" y="1727"/>
                    </a:lnTo>
                    <a:lnTo>
                      <a:pt x="33829" y="6830"/>
                    </a:lnTo>
                    <a:lnTo>
                      <a:pt x="33828" y="6832"/>
                    </a:lnTo>
                    <a:lnTo>
                      <a:pt x="30789" y="12029"/>
                    </a:lnTo>
                    <a:lnTo>
                      <a:pt x="33395" y="13927"/>
                    </a:lnTo>
                    <a:lnTo>
                      <a:pt x="34203" y="17316"/>
                    </a:lnTo>
                    <a:lnTo>
                      <a:pt x="34299" y="20727"/>
                    </a:lnTo>
                    <a:lnTo>
                      <a:pt x="34808" y="22628"/>
                    </a:lnTo>
                    <a:lnTo>
                      <a:pt x="37560" y="23036"/>
                    </a:lnTo>
                    <a:lnTo>
                      <a:pt x="39310" y="21184"/>
                    </a:lnTo>
                    <a:lnTo>
                      <a:pt x="40564" y="18801"/>
                    </a:lnTo>
                    <a:lnTo>
                      <a:pt x="43076" y="16541"/>
                    </a:lnTo>
                    <a:lnTo>
                      <a:pt x="43200" y="16354"/>
                    </a:lnTo>
                    <a:lnTo>
                      <a:pt x="43207" y="16357"/>
                    </a:lnTo>
                    <a:lnTo>
                      <a:pt x="43365" y="16412"/>
                    </a:lnTo>
                    <a:lnTo>
                      <a:pt x="43378" y="16373"/>
                    </a:lnTo>
                    <a:lnTo>
                      <a:pt x="56945" y="20043"/>
                    </a:lnTo>
                    <a:lnTo>
                      <a:pt x="54826" y="28150"/>
                    </a:lnTo>
                    <a:lnTo>
                      <a:pt x="50041" y="27670"/>
                    </a:lnTo>
                    <a:lnTo>
                      <a:pt x="45135" y="30681"/>
                    </a:lnTo>
                    <a:lnTo>
                      <a:pt x="37285" y="31691"/>
                    </a:lnTo>
                    <a:lnTo>
                      <a:pt x="34524" y="34982"/>
                    </a:lnTo>
                    <a:lnTo>
                      <a:pt x="25009" y="39216"/>
                    </a:lnTo>
                    <a:lnTo>
                      <a:pt x="23626" y="41814"/>
                    </a:lnTo>
                    <a:lnTo>
                      <a:pt x="21467" y="43555"/>
                    </a:lnTo>
                    <a:lnTo>
                      <a:pt x="20478" y="47115"/>
                    </a:lnTo>
                    <a:lnTo>
                      <a:pt x="17855" y="46288"/>
                    </a:lnTo>
                    <a:lnTo>
                      <a:pt x="16348" y="38576"/>
                    </a:lnTo>
                    <a:lnTo>
                      <a:pt x="6962" y="31115"/>
                    </a:lnTo>
                    <a:lnTo>
                      <a:pt x="6773" y="26018"/>
                    </a:lnTo>
                    <a:lnTo>
                      <a:pt x="4895" y="20514"/>
                    </a:lnTo>
                    <a:lnTo>
                      <a:pt x="0" y="14817"/>
                    </a:lnTo>
                    <a:lnTo>
                      <a:pt x="4589" y="12332"/>
                    </a:lnTo>
                    <a:lnTo>
                      <a:pt x="1302" y="4670"/>
                    </a:lnTo>
                    <a:lnTo>
                      <a:pt x="2024" y="3412"/>
                    </a:lnTo>
                    <a:lnTo>
                      <a:pt x="6956" y="2963"/>
                    </a:lnTo>
                    <a:lnTo>
                      <a:pt x="10152" y="0"/>
                    </a:lnTo>
                    <a:lnTo>
                      <a:pt x="18680" y="97"/>
                    </a:lnTo>
                    <a:close/>
                  </a:path>
                </a:pathLst>
              </a:custGeom>
              <a:grpFill/>
              <a:ln w="3175" cap="rnd" cmpd="sng" algn="ctr">
                <a:solidFill>
                  <a:srgbClr val="7359A0"/>
                </a:solidFill>
                <a:prstDash val="solid"/>
                <a:miter lim="800000"/>
              </a:ln>
              <a:effectLst/>
            </p:spPr>
            <p:txBody>
              <a:bodyPr rot="0" spcFirstLastPara="0" vert="horz" wrap="square" lIns="72000" tIns="72000" rIns="72000" bIns="7200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0" name="ee4p_LD_1_41893">
                <a:extLst>
                  <a:ext uri="{FF2B5EF4-FFF2-40B4-BE49-F238E27FC236}">
                    <a16:creationId xmlns:a16="http://schemas.microsoft.com/office/drawing/2014/main" id="{74E117DD-3AEE-54D1-2BAA-79E990005CEB}"/>
                  </a:ext>
                </a:extLst>
              </p:cNvPr>
              <p:cNvSpPr>
                <a:spLocks noChangeAspect="1"/>
              </p:cNvSpPr>
              <p:nvPr/>
            </p:nvSpPr>
            <p:spPr>
              <a:xfrm rot="631238">
                <a:off x="4246848" y="3315134"/>
                <a:ext cx="38845" cy="41834"/>
              </a:xfrm>
              <a:custGeom>
                <a:avLst/>
                <a:gdLst/>
                <a:ahLst/>
                <a:cxnLst/>
                <a:rect l="0" t="0" r="0" b="0"/>
                <a:pathLst>
                  <a:path w="86324" h="102672">
                    <a:moveTo>
                      <a:pt x="60373" y="9036"/>
                    </a:moveTo>
                    <a:lnTo>
                      <a:pt x="60360" y="9056"/>
                    </a:lnTo>
                    <a:lnTo>
                      <a:pt x="60186" y="9333"/>
                    </a:lnTo>
                    <a:lnTo>
                      <a:pt x="54714" y="15270"/>
                    </a:lnTo>
                    <a:lnTo>
                      <a:pt x="59047" y="20704"/>
                    </a:lnTo>
                    <a:lnTo>
                      <a:pt x="63149" y="34204"/>
                    </a:lnTo>
                    <a:lnTo>
                      <a:pt x="66932" y="32911"/>
                    </a:lnTo>
                    <a:lnTo>
                      <a:pt x="72826" y="34625"/>
                    </a:lnTo>
                    <a:lnTo>
                      <a:pt x="70072" y="41698"/>
                    </a:lnTo>
                    <a:lnTo>
                      <a:pt x="70572" y="50763"/>
                    </a:lnTo>
                    <a:lnTo>
                      <a:pt x="72432" y="57228"/>
                    </a:lnTo>
                    <a:lnTo>
                      <a:pt x="78806" y="62564"/>
                    </a:lnTo>
                    <a:lnTo>
                      <a:pt x="80063" y="71450"/>
                    </a:lnTo>
                    <a:lnTo>
                      <a:pt x="82410" y="74440"/>
                    </a:lnTo>
                    <a:lnTo>
                      <a:pt x="80706" y="79027"/>
                    </a:lnTo>
                    <a:lnTo>
                      <a:pt x="80369" y="90391"/>
                    </a:lnTo>
                    <a:lnTo>
                      <a:pt x="86323" y="99617"/>
                    </a:lnTo>
                    <a:lnTo>
                      <a:pt x="78343" y="99848"/>
                    </a:lnTo>
                    <a:lnTo>
                      <a:pt x="73115" y="102671"/>
                    </a:lnTo>
                    <a:lnTo>
                      <a:pt x="64476" y="99124"/>
                    </a:lnTo>
                    <a:lnTo>
                      <a:pt x="63286" y="95125"/>
                    </a:lnTo>
                    <a:lnTo>
                      <a:pt x="53641" y="84309"/>
                    </a:lnTo>
                    <a:lnTo>
                      <a:pt x="46200" y="86253"/>
                    </a:lnTo>
                    <a:lnTo>
                      <a:pt x="43999" y="84957"/>
                    </a:lnTo>
                    <a:lnTo>
                      <a:pt x="46441" y="81795"/>
                    </a:lnTo>
                    <a:lnTo>
                      <a:pt x="43673" y="78560"/>
                    </a:lnTo>
                    <a:lnTo>
                      <a:pt x="43933" y="71335"/>
                    </a:lnTo>
                    <a:lnTo>
                      <a:pt x="29328" y="69172"/>
                    </a:lnTo>
                    <a:lnTo>
                      <a:pt x="28857" y="66585"/>
                    </a:lnTo>
                    <a:lnTo>
                      <a:pt x="33231" y="60446"/>
                    </a:lnTo>
                    <a:lnTo>
                      <a:pt x="32995" y="59148"/>
                    </a:lnTo>
                    <a:lnTo>
                      <a:pt x="21047" y="55204"/>
                    </a:lnTo>
                    <a:lnTo>
                      <a:pt x="14935" y="57512"/>
                    </a:lnTo>
                    <a:lnTo>
                      <a:pt x="8598" y="56206"/>
                    </a:lnTo>
                    <a:lnTo>
                      <a:pt x="5111" y="48768"/>
                    </a:lnTo>
                    <a:lnTo>
                      <a:pt x="209" y="45878"/>
                    </a:lnTo>
                    <a:lnTo>
                      <a:pt x="0" y="45618"/>
                    </a:lnTo>
                    <a:lnTo>
                      <a:pt x="1700" y="43133"/>
                    </a:lnTo>
                    <a:lnTo>
                      <a:pt x="2152" y="39974"/>
                    </a:lnTo>
                    <a:lnTo>
                      <a:pt x="1463" y="30162"/>
                    </a:lnTo>
                    <a:lnTo>
                      <a:pt x="2499" y="27511"/>
                    </a:lnTo>
                    <a:lnTo>
                      <a:pt x="3688" y="27164"/>
                    </a:lnTo>
                    <a:lnTo>
                      <a:pt x="4301" y="26546"/>
                    </a:lnTo>
                    <a:lnTo>
                      <a:pt x="3587" y="23162"/>
                    </a:lnTo>
                    <a:lnTo>
                      <a:pt x="10317" y="13852"/>
                    </a:lnTo>
                    <a:lnTo>
                      <a:pt x="12652" y="11431"/>
                    </a:lnTo>
                    <a:lnTo>
                      <a:pt x="15377" y="9527"/>
                    </a:lnTo>
                    <a:lnTo>
                      <a:pt x="29458" y="8137"/>
                    </a:lnTo>
                    <a:lnTo>
                      <a:pt x="31352" y="6245"/>
                    </a:lnTo>
                    <a:lnTo>
                      <a:pt x="33182" y="3656"/>
                    </a:lnTo>
                    <a:lnTo>
                      <a:pt x="35234" y="1355"/>
                    </a:lnTo>
                    <a:lnTo>
                      <a:pt x="39560" y="0"/>
                    </a:lnTo>
                    <a:lnTo>
                      <a:pt x="39559" y="3"/>
                    </a:lnTo>
                    <a:lnTo>
                      <a:pt x="37063" y="6999"/>
                    </a:lnTo>
                    <a:lnTo>
                      <a:pt x="40504" y="7343"/>
                    </a:lnTo>
                    <a:lnTo>
                      <a:pt x="50615" y="4917"/>
                    </a:lnTo>
                    <a:lnTo>
                      <a:pt x="54513" y="5547"/>
                    </a:lnTo>
                    <a:close/>
                  </a:path>
                </a:pathLst>
              </a:custGeom>
              <a:grpFill/>
              <a:ln w="3175" cap="rnd" cmpd="sng" algn="ctr">
                <a:solidFill>
                  <a:srgbClr val="7359A0"/>
                </a:solidFill>
                <a:prstDash val="solid"/>
                <a:miter lim="800000"/>
              </a:ln>
              <a:effectLst/>
            </p:spPr>
            <p:txBody>
              <a:bodyPr rot="0" spcFirstLastPara="0" vert="horz" wrap="square" lIns="72000" tIns="72000" rIns="72000" bIns="7200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1" name="ee4p_OM_1_41893">
                <a:extLst>
                  <a:ext uri="{FF2B5EF4-FFF2-40B4-BE49-F238E27FC236}">
                    <a16:creationId xmlns:a16="http://schemas.microsoft.com/office/drawing/2014/main" id="{E534941E-E281-97FC-8795-1FD57B809104}"/>
                  </a:ext>
                </a:extLst>
              </p:cNvPr>
              <p:cNvSpPr>
                <a:spLocks noChangeAspect="1"/>
              </p:cNvSpPr>
              <p:nvPr/>
            </p:nvSpPr>
            <p:spPr>
              <a:xfrm rot="631238">
                <a:off x="4206339" y="3358700"/>
                <a:ext cx="77365" cy="55373"/>
              </a:xfrm>
              <a:custGeom>
                <a:avLst/>
                <a:gdLst/>
                <a:ahLst/>
                <a:cxnLst/>
                <a:rect l="0" t="0" r="0" b="0"/>
                <a:pathLst>
                  <a:path w="171923" h="135899">
                    <a:moveTo>
                      <a:pt x="166598" y="4244"/>
                    </a:moveTo>
                    <a:lnTo>
                      <a:pt x="171922" y="4393"/>
                    </a:lnTo>
                    <a:lnTo>
                      <a:pt x="170095" y="10352"/>
                    </a:lnTo>
                    <a:lnTo>
                      <a:pt x="162614" y="13910"/>
                    </a:lnTo>
                    <a:lnTo>
                      <a:pt x="156836" y="17769"/>
                    </a:lnTo>
                    <a:lnTo>
                      <a:pt x="157703" y="32051"/>
                    </a:lnTo>
                    <a:lnTo>
                      <a:pt x="154583" y="39119"/>
                    </a:lnTo>
                    <a:lnTo>
                      <a:pt x="161278" y="43919"/>
                    </a:lnTo>
                    <a:lnTo>
                      <a:pt x="157948" y="47804"/>
                    </a:lnTo>
                    <a:lnTo>
                      <a:pt x="160162" y="51526"/>
                    </a:lnTo>
                    <a:lnTo>
                      <a:pt x="164360" y="65868"/>
                    </a:lnTo>
                    <a:lnTo>
                      <a:pt x="161269" y="76982"/>
                    </a:lnTo>
                    <a:lnTo>
                      <a:pt x="157841" y="83928"/>
                    </a:lnTo>
                    <a:lnTo>
                      <a:pt x="159557" y="87752"/>
                    </a:lnTo>
                    <a:lnTo>
                      <a:pt x="158010" y="91590"/>
                    </a:lnTo>
                    <a:lnTo>
                      <a:pt x="151296" y="97526"/>
                    </a:lnTo>
                    <a:lnTo>
                      <a:pt x="145714" y="98090"/>
                    </a:lnTo>
                    <a:lnTo>
                      <a:pt x="144279" y="103227"/>
                    </a:lnTo>
                    <a:lnTo>
                      <a:pt x="142931" y="104215"/>
                    </a:lnTo>
                    <a:lnTo>
                      <a:pt x="131054" y="107207"/>
                    </a:lnTo>
                    <a:lnTo>
                      <a:pt x="127875" y="113645"/>
                    </a:lnTo>
                    <a:lnTo>
                      <a:pt x="125679" y="115547"/>
                    </a:lnTo>
                    <a:lnTo>
                      <a:pt x="122855" y="116249"/>
                    </a:lnTo>
                    <a:lnTo>
                      <a:pt x="119714" y="113847"/>
                    </a:lnTo>
                    <a:lnTo>
                      <a:pt x="117763" y="115761"/>
                    </a:lnTo>
                    <a:lnTo>
                      <a:pt x="112979" y="115079"/>
                    </a:lnTo>
                    <a:lnTo>
                      <a:pt x="102399" y="118762"/>
                    </a:lnTo>
                    <a:lnTo>
                      <a:pt x="99029" y="122842"/>
                    </a:lnTo>
                    <a:lnTo>
                      <a:pt x="95389" y="123810"/>
                    </a:lnTo>
                    <a:lnTo>
                      <a:pt x="91635" y="122437"/>
                    </a:lnTo>
                    <a:lnTo>
                      <a:pt x="81103" y="126307"/>
                    </a:lnTo>
                    <a:lnTo>
                      <a:pt x="73359" y="125460"/>
                    </a:lnTo>
                    <a:lnTo>
                      <a:pt x="69014" y="128084"/>
                    </a:lnTo>
                    <a:lnTo>
                      <a:pt x="56688" y="125149"/>
                    </a:lnTo>
                    <a:lnTo>
                      <a:pt x="52124" y="129239"/>
                    </a:lnTo>
                    <a:lnTo>
                      <a:pt x="46341" y="129876"/>
                    </a:lnTo>
                    <a:lnTo>
                      <a:pt x="36591" y="135898"/>
                    </a:lnTo>
                    <a:lnTo>
                      <a:pt x="30756" y="131836"/>
                    </a:lnTo>
                    <a:lnTo>
                      <a:pt x="28216" y="126692"/>
                    </a:lnTo>
                    <a:lnTo>
                      <a:pt x="25776" y="126014"/>
                    </a:lnTo>
                    <a:lnTo>
                      <a:pt x="26273" y="115627"/>
                    </a:lnTo>
                    <a:lnTo>
                      <a:pt x="23255" y="105021"/>
                    </a:lnTo>
                    <a:lnTo>
                      <a:pt x="25191" y="100447"/>
                    </a:lnTo>
                    <a:lnTo>
                      <a:pt x="23190" y="96608"/>
                    </a:lnTo>
                    <a:lnTo>
                      <a:pt x="27912" y="82544"/>
                    </a:lnTo>
                    <a:lnTo>
                      <a:pt x="34064" y="81621"/>
                    </a:lnTo>
                    <a:lnTo>
                      <a:pt x="34161" y="79074"/>
                    </a:lnTo>
                    <a:lnTo>
                      <a:pt x="31115" y="74216"/>
                    </a:lnTo>
                    <a:lnTo>
                      <a:pt x="20280" y="75067"/>
                    </a:lnTo>
                    <a:lnTo>
                      <a:pt x="11599" y="67522"/>
                    </a:lnTo>
                    <a:lnTo>
                      <a:pt x="4647" y="67527"/>
                    </a:lnTo>
                    <a:lnTo>
                      <a:pt x="0" y="58746"/>
                    </a:lnTo>
                    <a:lnTo>
                      <a:pt x="9467" y="49843"/>
                    </a:lnTo>
                    <a:lnTo>
                      <a:pt x="18511" y="50921"/>
                    </a:lnTo>
                    <a:lnTo>
                      <a:pt x="30452" y="44727"/>
                    </a:lnTo>
                    <a:lnTo>
                      <a:pt x="33476" y="44579"/>
                    </a:lnTo>
                    <a:lnTo>
                      <a:pt x="33949" y="46842"/>
                    </a:lnTo>
                    <a:lnTo>
                      <a:pt x="41490" y="43140"/>
                    </a:lnTo>
                    <a:lnTo>
                      <a:pt x="47687" y="42334"/>
                    </a:lnTo>
                    <a:lnTo>
                      <a:pt x="51277" y="46143"/>
                    </a:lnTo>
                    <a:lnTo>
                      <a:pt x="56469" y="45709"/>
                    </a:lnTo>
                    <a:lnTo>
                      <a:pt x="57290" y="41068"/>
                    </a:lnTo>
                    <a:lnTo>
                      <a:pt x="63074" y="36611"/>
                    </a:lnTo>
                    <a:lnTo>
                      <a:pt x="68936" y="27707"/>
                    </a:lnTo>
                    <a:lnTo>
                      <a:pt x="82643" y="22090"/>
                    </a:lnTo>
                    <a:lnTo>
                      <a:pt x="87891" y="13767"/>
                    </a:lnTo>
                    <a:lnTo>
                      <a:pt x="93822" y="13037"/>
                    </a:lnTo>
                    <a:lnTo>
                      <a:pt x="96591" y="15316"/>
                    </a:lnTo>
                    <a:lnTo>
                      <a:pt x="102959" y="9711"/>
                    </a:lnTo>
                    <a:lnTo>
                      <a:pt x="110903" y="6948"/>
                    </a:lnTo>
                    <a:lnTo>
                      <a:pt x="131925" y="9554"/>
                    </a:lnTo>
                    <a:lnTo>
                      <a:pt x="138092" y="5310"/>
                    </a:lnTo>
                    <a:lnTo>
                      <a:pt x="151572" y="3142"/>
                    </a:lnTo>
                    <a:lnTo>
                      <a:pt x="156630" y="0"/>
                    </a:lnTo>
                    <a:lnTo>
                      <a:pt x="162534" y="953"/>
                    </a:lnTo>
                    <a:close/>
                  </a:path>
                </a:pathLst>
              </a:custGeom>
              <a:grpFill/>
              <a:ln w="3175" cap="rnd" cmpd="sng" algn="ctr">
                <a:solidFill>
                  <a:srgbClr val="7359A0"/>
                </a:solidFill>
                <a:prstDash val="solid"/>
                <a:miter lim="800000"/>
              </a:ln>
              <a:effectLst/>
            </p:spPr>
            <p:txBody>
              <a:bodyPr rot="0" spcFirstLastPara="0" vert="horz" wrap="square" lIns="72000" tIns="72000" rIns="72000" bIns="7200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2" name="ee4p_AM_1_41893">
                <a:extLst>
                  <a:ext uri="{FF2B5EF4-FFF2-40B4-BE49-F238E27FC236}">
                    <a16:creationId xmlns:a16="http://schemas.microsoft.com/office/drawing/2014/main" id="{B5E3D7FA-E9E7-305F-D4A7-7551893EE03D}"/>
                  </a:ext>
                </a:extLst>
              </p:cNvPr>
              <p:cNvSpPr>
                <a:spLocks noChangeAspect="1"/>
              </p:cNvSpPr>
              <p:nvPr/>
            </p:nvSpPr>
            <p:spPr>
              <a:xfrm rot="631238">
                <a:off x="4274929" y="3420076"/>
                <a:ext cx="52362" cy="45221"/>
              </a:xfrm>
              <a:custGeom>
                <a:avLst/>
                <a:gdLst/>
                <a:ahLst/>
                <a:cxnLst/>
                <a:rect l="0" t="0" r="0" b="0"/>
                <a:pathLst>
                  <a:path w="116359" h="110984">
                    <a:moveTo>
                      <a:pt x="62945" y="6081"/>
                    </a:moveTo>
                    <a:lnTo>
                      <a:pt x="67603" y="2675"/>
                    </a:lnTo>
                    <a:lnTo>
                      <a:pt x="73320" y="3150"/>
                    </a:lnTo>
                    <a:lnTo>
                      <a:pt x="76135" y="1340"/>
                    </a:lnTo>
                    <a:lnTo>
                      <a:pt x="85233" y="18980"/>
                    </a:lnTo>
                    <a:lnTo>
                      <a:pt x="90943" y="19765"/>
                    </a:lnTo>
                    <a:lnTo>
                      <a:pt x="90641" y="28034"/>
                    </a:lnTo>
                    <a:lnTo>
                      <a:pt x="95248" y="34718"/>
                    </a:lnTo>
                    <a:lnTo>
                      <a:pt x="101278" y="35413"/>
                    </a:lnTo>
                    <a:lnTo>
                      <a:pt x="108161" y="29324"/>
                    </a:lnTo>
                    <a:lnTo>
                      <a:pt x="108421" y="34869"/>
                    </a:lnTo>
                    <a:lnTo>
                      <a:pt x="111241" y="39762"/>
                    </a:lnTo>
                    <a:lnTo>
                      <a:pt x="111655" y="44564"/>
                    </a:lnTo>
                    <a:lnTo>
                      <a:pt x="114093" y="49874"/>
                    </a:lnTo>
                    <a:lnTo>
                      <a:pt x="112653" y="67979"/>
                    </a:lnTo>
                    <a:lnTo>
                      <a:pt x="116358" y="74400"/>
                    </a:lnTo>
                    <a:lnTo>
                      <a:pt x="113099" y="77980"/>
                    </a:lnTo>
                    <a:lnTo>
                      <a:pt x="107244" y="74233"/>
                    </a:lnTo>
                    <a:lnTo>
                      <a:pt x="103723" y="76850"/>
                    </a:lnTo>
                    <a:lnTo>
                      <a:pt x="97270" y="76889"/>
                    </a:lnTo>
                    <a:lnTo>
                      <a:pt x="92968" y="81486"/>
                    </a:lnTo>
                    <a:lnTo>
                      <a:pt x="87989" y="82110"/>
                    </a:lnTo>
                    <a:lnTo>
                      <a:pt x="85748" y="89139"/>
                    </a:lnTo>
                    <a:lnTo>
                      <a:pt x="83369" y="89666"/>
                    </a:lnTo>
                    <a:lnTo>
                      <a:pt x="81635" y="92457"/>
                    </a:lnTo>
                    <a:lnTo>
                      <a:pt x="76025" y="88809"/>
                    </a:lnTo>
                    <a:lnTo>
                      <a:pt x="69690" y="91510"/>
                    </a:lnTo>
                    <a:lnTo>
                      <a:pt x="66982" y="95205"/>
                    </a:lnTo>
                    <a:lnTo>
                      <a:pt x="60680" y="94386"/>
                    </a:lnTo>
                    <a:lnTo>
                      <a:pt x="53019" y="101588"/>
                    </a:lnTo>
                    <a:lnTo>
                      <a:pt x="50868" y="105660"/>
                    </a:lnTo>
                    <a:lnTo>
                      <a:pt x="51331" y="109695"/>
                    </a:lnTo>
                    <a:lnTo>
                      <a:pt x="50272" y="110983"/>
                    </a:lnTo>
                    <a:lnTo>
                      <a:pt x="47194" y="106953"/>
                    </a:lnTo>
                    <a:lnTo>
                      <a:pt x="42705" y="102712"/>
                    </a:lnTo>
                    <a:lnTo>
                      <a:pt x="40381" y="101219"/>
                    </a:lnTo>
                    <a:lnTo>
                      <a:pt x="37744" y="100741"/>
                    </a:lnTo>
                    <a:lnTo>
                      <a:pt x="35288" y="102070"/>
                    </a:lnTo>
                    <a:lnTo>
                      <a:pt x="33487" y="104474"/>
                    </a:lnTo>
                    <a:lnTo>
                      <a:pt x="31596" y="106324"/>
                    </a:lnTo>
                    <a:lnTo>
                      <a:pt x="28941" y="105960"/>
                    </a:lnTo>
                    <a:lnTo>
                      <a:pt x="24242" y="102613"/>
                    </a:lnTo>
                    <a:lnTo>
                      <a:pt x="19671" y="98321"/>
                    </a:lnTo>
                    <a:lnTo>
                      <a:pt x="15555" y="93022"/>
                    </a:lnTo>
                    <a:lnTo>
                      <a:pt x="12149" y="86728"/>
                    </a:lnTo>
                    <a:lnTo>
                      <a:pt x="11043" y="82839"/>
                    </a:lnTo>
                    <a:lnTo>
                      <a:pt x="10450" y="79092"/>
                    </a:lnTo>
                    <a:lnTo>
                      <a:pt x="9592" y="75828"/>
                    </a:lnTo>
                    <a:lnTo>
                      <a:pt x="7710" y="73462"/>
                    </a:lnTo>
                    <a:lnTo>
                      <a:pt x="0" y="68951"/>
                    </a:lnTo>
                    <a:lnTo>
                      <a:pt x="4006" y="67052"/>
                    </a:lnTo>
                    <a:lnTo>
                      <a:pt x="5978" y="63293"/>
                    </a:lnTo>
                    <a:lnTo>
                      <a:pt x="5857" y="57732"/>
                    </a:lnTo>
                    <a:lnTo>
                      <a:pt x="3623" y="50478"/>
                    </a:lnTo>
                    <a:lnTo>
                      <a:pt x="4234" y="49782"/>
                    </a:lnTo>
                    <a:lnTo>
                      <a:pt x="5206" y="49473"/>
                    </a:lnTo>
                    <a:lnTo>
                      <a:pt x="9561" y="48086"/>
                    </a:lnTo>
                    <a:lnTo>
                      <a:pt x="12808" y="45061"/>
                    </a:lnTo>
                    <a:lnTo>
                      <a:pt x="12511" y="38344"/>
                    </a:lnTo>
                    <a:lnTo>
                      <a:pt x="18953" y="30490"/>
                    </a:lnTo>
                    <a:lnTo>
                      <a:pt x="19575" y="27850"/>
                    </a:lnTo>
                    <a:lnTo>
                      <a:pt x="18292" y="22470"/>
                    </a:lnTo>
                    <a:lnTo>
                      <a:pt x="21713" y="18068"/>
                    </a:lnTo>
                    <a:lnTo>
                      <a:pt x="39011" y="22410"/>
                    </a:lnTo>
                    <a:lnTo>
                      <a:pt x="40484" y="21303"/>
                    </a:lnTo>
                    <a:lnTo>
                      <a:pt x="42015" y="14998"/>
                    </a:lnTo>
                    <a:lnTo>
                      <a:pt x="44316" y="12122"/>
                    </a:lnTo>
                    <a:lnTo>
                      <a:pt x="43259" y="9641"/>
                    </a:lnTo>
                    <a:lnTo>
                      <a:pt x="43802" y="7115"/>
                    </a:lnTo>
                    <a:lnTo>
                      <a:pt x="49109" y="4693"/>
                    </a:lnTo>
                    <a:lnTo>
                      <a:pt x="53215" y="0"/>
                    </a:lnTo>
                    <a:close/>
                  </a:path>
                </a:pathLst>
              </a:custGeom>
              <a:grpFill/>
              <a:ln w="3175" cap="rnd" cmpd="sng" algn="ctr">
                <a:solidFill>
                  <a:srgbClr val="7359A0"/>
                </a:solidFill>
                <a:prstDash val="solid"/>
                <a:miter lim="800000"/>
              </a:ln>
              <a:effectLst/>
            </p:spPr>
            <p:txBody>
              <a:bodyPr rot="0" spcFirstLastPara="0" vert="horz" wrap="square" lIns="72000" tIns="72000" rIns="72000" bIns="7200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3" name="ee4p_NM_1_41893">
                <a:extLst>
                  <a:ext uri="{FF2B5EF4-FFF2-40B4-BE49-F238E27FC236}">
                    <a16:creationId xmlns:a16="http://schemas.microsoft.com/office/drawing/2014/main" id="{BBC7E374-9505-9447-2DD5-B407D8A16F27}"/>
                  </a:ext>
                </a:extLst>
              </p:cNvPr>
              <p:cNvSpPr>
                <a:spLocks noChangeAspect="1"/>
              </p:cNvSpPr>
              <p:nvPr/>
            </p:nvSpPr>
            <p:spPr>
              <a:xfrm rot="631238">
                <a:off x="4288785" y="3456112"/>
                <a:ext cx="81996" cy="38789"/>
              </a:xfrm>
              <a:custGeom>
                <a:avLst/>
                <a:gdLst/>
                <a:ahLst/>
                <a:cxnLst/>
                <a:rect l="0" t="0" r="0" b="0"/>
                <a:pathLst>
                  <a:path w="182215" h="95198">
                    <a:moveTo>
                      <a:pt x="76728" y="4776"/>
                    </a:moveTo>
                    <a:lnTo>
                      <a:pt x="81578" y="4445"/>
                    </a:lnTo>
                    <a:lnTo>
                      <a:pt x="85652" y="6410"/>
                    </a:lnTo>
                    <a:lnTo>
                      <a:pt x="90532" y="5345"/>
                    </a:lnTo>
                    <a:lnTo>
                      <a:pt x="110247" y="13469"/>
                    </a:lnTo>
                    <a:lnTo>
                      <a:pt x="115596" y="11763"/>
                    </a:lnTo>
                    <a:lnTo>
                      <a:pt x="118845" y="14440"/>
                    </a:lnTo>
                    <a:lnTo>
                      <a:pt x="127425" y="15621"/>
                    </a:lnTo>
                    <a:lnTo>
                      <a:pt x="136803" y="12045"/>
                    </a:lnTo>
                    <a:lnTo>
                      <a:pt x="143037" y="14513"/>
                    </a:lnTo>
                    <a:lnTo>
                      <a:pt x="135480" y="19110"/>
                    </a:lnTo>
                    <a:lnTo>
                      <a:pt x="138913" y="20425"/>
                    </a:lnTo>
                    <a:lnTo>
                      <a:pt x="140169" y="31618"/>
                    </a:lnTo>
                    <a:lnTo>
                      <a:pt x="144891" y="43473"/>
                    </a:lnTo>
                    <a:lnTo>
                      <a:pt x="146055" y="44050"/>
                    </a:lnTo>
                    <a:lnTo>
                      <a:pt x="151423" y="38192"/>
                    </a:lnTo>
                    <a:lnTo>
                      <a:pt x="156211" y="38160"/>
                    </a:lnTo>
                    <a:lnTo>
                      <a:pt x="159974" y="35432"/>
                    </a:lnTo>
                    <a:lnTo>
                      <a:pt x="168964" y="41377"/>
                    </a:lnTo>
                    <a:lnTo>
                      <a:pt x="176683" y="39211"/>
                    </a:lnTo>
                    <a:lnTo>
                      <a:pt x="180263" y="39671"/>
                    </a:lnTo>
                    <a:lnTo>
                      <a:pt x="182214" y="39818"/>
                    </a:lnTo>
                    <a:lnTo>
                      <a:pt x="182211" y="41213"/>
                    </a:lnTo>
                    <a:lnTo>
                      <a:pt x="181356" y="48511"/>
                    </a:lnTo>
                    <a:lnTo>
                      <a:pt x="179716" y="56405"/>
                    </a:lnTo>
                    <a:lnTo>
                      <a:pt x="177532" y="63890"/>
                    </a:lnTo>
                    <a:lnTo>
                      <a:pt x="174949" y="69944"/>
                    </a:lnTo>
                    <a:lnTo>
                      <a:pt x="170696" y="74913"/>
                    </a:lnTo>
                    <a:lnTo>
                      <a:pt x="161147" y="79394"/>
                    </a:lnTo>
                    <a:lnTo>
                      <a:pt x="153960" y="86541"/>
                    </a:lnTo>
                    <a:lnTo>
                      <a:pt x="144161" y="93476"/>
                    </a:lnTo>
                    <a:lnTo>
                      <a:pt x="141133" y="94811"/>
                    </a:lnTo>
                    <a:lnTo>
                      <a:pt x="132347" y="95197"/>
                    </a:lnTo>
                    <a:lnTo>
                      <a:pt x="128814" y="94379"/>
                    </a:lnTo>
                    <a:lnTo>
                      <a:pt x="125009" y="91353"/>
                    </a:lnTo>
                    <a:lnTo>
                      <a:pt x="125100" y="88976"/>
                    </a:lnTo>
                    <a:lnTo>
                      <a:pt x="129644" y="86941"/>
                    </a:lnTo>
                    <a:lnTo>
                      <a:pt x="131464" y="86605"/>
                    </a:lnTo>
                    <a:lnTo>
                      <a:pt x="114550" y="79543"/>
                    </a:lnTo>
                    <a:lnTo>
                      <a:pt x="111697" y="79213"/>
                    </a:lnTo>
                    <a:lnTo>
                      <a:pt x="109383" y="72089"/>
                    </a:lnTo>
                    <a:lnTo>
                      <a:pt x="103493" y="69645"/>
                    </a:lnTo>
                    <a:lnTo>
                      <a:pt x="96808" y="68881"/>
                    </a:lnTo>
                    <a:lnTo>
                      <a:pt x="92147" y="66809"/>
                    </a:lnTo>
                    <a:lnTo>
                      <a:pt x="90649" y="69332"/>
                    </a:lnTo>
                    <a:lnTo>
                      <a:pt x="87457" y="66411"/>
                    </a:lnTo>
                    <a:lnTo>
                      <a:pt x="84096" y="66727"/>
                    </a:lnTo>
                    <a:lnTo>
                      <a:pt x="80847" y="68254"/>
                    </a:lnTo>
                    <a:lnTo>
                      <a:pt x="77834" y="68821"/>
                    </a:lnTo>
                    <a:lnTo>
                      <a:pt x="75265" y="66778"/>
                    </a:lnTo>
                    <a:lnTo>
                      <a:pt x="73651" y="64063"/>
                    </a:lnTo>
                    <a:lnTo>
                      <a:pt x="71836" y="63690"/>
                    </a:lnTo>
                    <a:lnTo>
                      <a:pt x="68652" y="68656"/>
                    </a:lnTo>
                    <a:lnTo>
                      <a:pt x="68275" y="71012"/>
                    </a:lnTo>
                    <a:lnTo>
                      <a:pt x="68534" y="73967"/>
                    </a:lnTo>
                    <a:lnTo>
                      <a:pt x="68563" y="77151"/>
                    </a:lnTo>
                    <a:lnTo>
                      <a:pt x="67481" y="80288"/>
                    </a:lnTo>
                    <a:lnTo>
                      <a:pt x="66001" y="81570"/>
                    </a:lnTo>
                    <a:lnTo>
                      <a:pt x="60695" y="82255"/>
                    </a:lnTo>
                    <a:lnTo>
                      <a:pt x="54840" y="84101"/>
                    </a:lnTo>
                    <a:lnTo>
                      <a:pt x="53240" y="84071"/>
                    </a:lnTo>
                    <a:lnTo>
                      <a:pt x="51848" y="82983"/>
                    </a:lnTo>
                    <a:lnTo>
                      <a:pt x="50589" y="81229"/>
                    </a:lnTo>
                    <a:lnTo>
                      <a:pt x="49767" y="79574"/>
                    </a:lnTo>
                    <a:lnTo>
                      <a:pt x="49646" y="78896"/>
                    </a:lnTo>
                    <a:lnTo>
                      <a:pt x="43441" y="78904"/>
                    </a:lnTo>
                    <a:lnTo>
                      <a:pt x="23976" y="85219"/>
                    </a:lnTo>
                    <a:lnTo>
                      <a:pt x="22225" y="84923"/>
                    </a:lnTo>
                    <a:lnTo>
                      <a:pt x="18863" y="83309"/>
                    </a:lnTo>
                    <a:lnTo>
                      <a:pt x="17076" y="83583"/>
                    </a:lnTo>
                    <a:lnTo>
                      <a:pt x="15847" y="84853"/>
                    </a:lnTo>
                    <a:lnTo>
                      <a:pt x="14665" y="86511"/>
                    </a:lnTo>
                    <a:lnTo>
                      <a:pt x="13282" y="88453"/>
                    </a:lnTo>
                    <a:lnTo>
                      <a:pt x="12020" y="89147"/>
                    </a:lnTo>
                    <a:lnTo>
                      <a:pt x="8925" y="87265"/>
                    </a:lnTo>
                    <a:lnTo>
                      <a:pt x="3287" y="79613"/>
                    </a:lnTo>
                    <a:lnTo>
                      <a:pt x="0" y="76673"/>
                    </a:lnTo>
                    <a:lnTo>
                      <a:pt x="3873" y="67857"/>
                    </a:lnTo>
                    <a:lnTo>
                      <a:pt x="4361" y="63531"/>
                    </a:lnTo>
                    <a:lnTo>
                      <a:pt x="2180" y="59042"/>
                    </a:lnTo>
                    <a:lnTo>
                      <a:pt x="7506" y="52763"/>
                    </a:lnTo>
                    <a:lnTo>
                      <a:pt x="9928" y="45876"/>
                    </a:lnTo>
                    <a:lnTo>
                      <a:pt x="8946" y="38991"/>
                    </a:lnTo>
                    <a:lnTo>
                      <a:pt x="7233" y="36750"/>
                    </a:lnTo>
                    <a:lnTo>
                      <a:pt x="8292" y="35462"/>
                    </a:lnTo>
                    <a:lnTo>
                      <a:pt x="7829" y="31427"/>
                    </a:lnTo>
                    <a:lnTo>
                      <a:pt x="9980" y="27355"/>
                    </a:lnTo>
                    <a:lnTo>
                      <a:pt x="17641" y="20153"/>
                    </a:lnTo>
                    <a:lnTo>
                      <a:pt x="23943" y="20972"/>
                    </a:lnTo>
                    <a:lnTo>
                      <a:pt x="26651" y="17277"/>
                    </a:lnTo>
                    <a:lnTo>
                      <a:pt x="32986" y="14576"/>
                    </a:lnTo>
                    <a:lnTo>
                      <a:pt x="38596" y="18224"/>
                    </a:lnTo>
                    <a:lnTo>
                      <a:pt x="40330" y="15433"/>
                    </a:lnTo>
                    <a:lnTo>
                      <a:pt x="42709" y="14906"/>
                    </a:lnTo>
                    <a:lnTo>
                      <a:pt x="44950" y="7877"/>
                    </a:lnTo>
                    <a:lnTo>
                      <a:pt x="49929" y="7253"/>
                    </a:lnTo>
                    <a:lnTo>
                      <a:pt x="54231" y="2656"/>
                    </a:lnTo>
                    <a:lnTo>
                      <a:pt x="60684" y="2617"/>
                    </a:lnTo>
                    <a:lnTo>
                      <a:pt x="64205" y="0"/>
                    </a:lnTo>
                    <a:lnTo>
                      <a:pt x="70060" y="3747"/>
                    </a:lnTo>
                    <a:lnTo>
                      <a:pt x="73319" y="167"/>
                    </a:lnTo>
                    <a:close/>
                  </a:path>
                </a:pathLst>
              </a:custGeom>
              <a:grpFill/>
              <a:ln w="3175" cap="rnd" cmpd="sng" algn="ctr">
                <a:solidFill>
                  <a:srgbClr val="7359A0"/>
                </a:solidFill>
                <a:prstDash val="solid"/>
                <a:miter lim="800000"/>
              </a:ln>
              <a:effectLst/>
            </p:spPr>
            <p:txBody>
              <a:bodyPr rot="0" spcFirstLastPara="0" vert="horz" wrap="square" lIns="72000" tIns="72000" rIns="72000" bIns="7200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4" name="ee4p_BB_1_41893">
                <a:extLst>
                  <a:ext uri="{FF2B5EF4-FFF2-40B4-BE49-F238E27FC236}">
                    <a16:creationId xmlns:a16="http://schemas.microsoft.com/office/drawing/2014/main" id="{40ABA8C3-D673-F71B-829E-469CC647020E}"/>
                  </a:ext>
                </a:extLst>
              </p:cNvPr>
              <p:cNvSpPr>
                <a:spLocks noChangeAspect="1"/>
              </p:cNvSpPr>
              <p:nvPr/>
            </p:nvSpPr>
            <p:spPr>
              <a:xfrm rot="631238">
                <a:off x="4323159" y="3433478"/>
                <a:ext cx="46594" cy="31603"/>
              </a:xfrm>
              <a:custGeom>
                <a:avLst/>
                <a:gdLst/>
                <a:ahLst/>
                <a:cxnLst/>
                <a:rect l="0" t="0" r="0" b="0"/>
                <a:pathLst>
                  <a:path w="103542" h="77562">
                    <a:moveTo>
                      <a:pt x="53877" y="3835"/>
                    </a:moveTo>
                    <a:lnTo>
                      <a:pt x="60268" y="2919"/>
                    </a:lnTo>
                    <a:lnTo>
                      <a:pt x="76941" y="14918"/>
                    </a:lnTo>
                    <a:lnTo>
                      <a:pt x="77265" y="16096"/>
                    </a:lnTo>
                    <a:lnTo>
                      <a:pt x="74836" y="18120"/>
                    </a:lnTo>
                    <a:lnTo>
                      <a:pt x="75736" y="22195"/>
                    </a:lnTo>
                    <a:lnTo>
                      <a:pt x="87799" y="27219"/>
                    </a:lnTo>
                    <a:lnTo>
                      <a:pt x="96672" y="24679"/>
                    </a:lnTo>
                    <a:lnTo>
                      <a:pt x="100924" y="26414"/>
                    </a:lnTo>
                    <a:lnTo>
                      <a:pt x="103541" y="31606"/>
                    </a:lnTo>
                    <a:lnTo>
                      <a:pt x="103111" y="32974"/>
                    </a:lnTo>
                    <a:lnTo>
                      <a:pt x="95897" y="40993"/>
                    </a:lnTo>
                    <a:lnTo>
                      <a:pt x="96349" y="48875"/>
                    </a:lnTo>
                    <a:lnTo>
                      <a:pt x="100329" y="60499"/>
                    </a:lnTo>
                    <a:lnTo>
                      <a:pt x="100043" y="61862"/>
                    </a:lnTo>
                    <a:lnTo>
                      <a:pt x="96221" y="62801"/>
                    </a:lnTo>
                    <a:lnTo>
                      <a:pt x="96510" y="66941"/>
                    </a:lnTo>
                    <a:lnTo>
                      <a:pt x="94008" y="70882"/>
                    </a:lnTo>
                    <a:lnTo>
                      <a:pt x="95318" y="75819"/>
                    </a:lnTo>
                    <a:lnTo>
                      <a:pt x="90479" y="77452"/>
                    </a:lnTo>
                    <a:lnTo>
                      <a:pt x="79826" y="70043"/>
                    </a:lnTo>
                    <a:lnTo>
                      <a:pt x="78571" y="70747"/>
                    </a:lnTo>
                    <a:lnTo>
                      <a:pt x="77915" y="76453"/>
                    </a:lnTo>
                    <a:lnTo>
                      <a:pt x="71681" y="73985"/>
                    </a:lnTo>
                    <a:lnTo>
                      <a:pt x="62303" y="77561"/>
                    </a:lnTo>
                    <a:lnTo>
                      <a:pt x="53723" y="76380"/>
                    </a:lnTo>
                    <a:lnTo>
                      <a:pt x="50474" y="73703"/>
                    </a:lnTo>
                    <a:lnTo>
                      <a:pt x="45125" y="75409"/>
                    </a:lnTo>
                    <a:lnTo>
                      <a:pt x="25410" y="67285"/>
                    </a:lnTo>
                    <a:lnTo>
                      <a:pt x="20530" y="68350"/>
                    </a:lnTo>
                    <a:lnTo>
                      <a:pt x="16456" y="66385"/>
                    </a:lnTo>
                    <a:lnTo>
                      <a:pt x="11606" y="66716"/>
                    </a:lnTo>
                    <a:lnTo>
                      <a:pt x="8197" y="62107"/>
                    </a:lnTo>
                    <a:lnTo>
                      <a:pt x="4492" y="55686"/>
                    </a:lnTo>
                    <a:lnTo>
                      <a:pt x="5932" y="37581"/>
                    </a:lnTo>
                    <a:lnTo>
                      <a:pt x="3494" y="32271"/>
                    </a:lnTo>
                    <a:lnTo>
                      <a:pt x="3080" y="27469"/>
                    </a:lnTo>
                    <a:lnTo>
                      <a:pt x="260" y="22576"/>
                    </a:lnTo>
                    <a:lnTo>
                      <a:pt x="0" y="17031"/>
                    </a:lnTo>
                    <a:lnTo>
                      <a:pt x="3137" y="14396"/>
                    </a:lnTo>
                    <a:lnTo>
                      <a:pt x="16689" y="18681"/>
                    </a:lnTo>
                    <a:lnTo>
                      <a:pt x="17802" y="18628"/>
                    </a:lnTo>
                    <a:lnTo>
                      <a:pt x="18090" y="16091"/>
                    </a:lnTo>
                    <a:lnTo>
                      <a:pt x="21927" y="17632"/>
                    </a:lnTo>
                    <a:lnTo>
                      <a:pt x="37280" y="17190"/>
                    </a:lnTo>
                    <a:lnTo>
                      <a:pt x="38412" y="13628"/>
                    </a:lnTo>
                    <a:lnTo>
                      <a:pt x="42634" y="11573"/>
                    </a:lnTo>
                    <a:lnTo>
                      <a:pt x="40510" y="7437"/>
                    </a:lnTo>
                    <a:lnTo>
                      <a:pt x="40851" y="3636"/>
                    </a:lnTo>
                    <a:lnTo>
                      <a:pt x="43891" y="3797"/>
                    </a:lnTo>
                    <a:lnTo>
                      <a:pt x="53843" y="0"/>
                    </a:lnTo>
                    <a:close/>
                  </a:path>
                </a:pathLst>
              </a:custGeom>
              <a:grpFill/>
              <a:ln w="3175" cap="rnd" cmpd="sng" algn="ctr">
                <a:solidFill>
                  <a:srgbClr val="7359A0"/>
                </a:solidFill>
                <a:prstDash val="solid"/>
                <a:miter lim="800000"/>
              </a:ln>
              <a:effectLst/>
            </p:spPr>
            <p:txBody>
              <a:bodyPr rot="0" spcFirstLastPara="0" vert="horz" wrap="square" lIns="72000" tIns="72000" rIns="72000" bIns="7200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5" name="ee4p_CR_1_41893">
                <a:extLst>
                  <a:ext uri="{FF2B5EF4-FFF2-40B4-BE49-F238E27FC236}">
                    <a16:creationId xmlns:a16="http://schemas.microsoft.com/office/drawing/2014/main" id="{478EDA41-C0F2-C404-5309-21E68D552CB2}"/>
                  </a:ext>
                </a:extLst>
              </p:cNvPr>
              <p:cNvSpPr>
                <a:spLocks noChangeAspect="1"/>
              </p:cNvSpPr>
              <p:nvPr/>
            </p:nvSpPr>
            <p:spPr>
              <a:xfrm rot="631238">
                <a:off x="4311010" y="3403507"/>
                <a:ext cx="36702" cy="35801"/>
              </a:xfrm>
              <a:custGeom>
                <a:avLst/>
                <a:gdLst/>
                <a:ahLst/>
                <a:cxnLst/>
                <a:rect l="0" t="0" r="0" b="0"/>
                <a:pathLst>
                  <a:path w="81561" h="87866">
                    <a:moveTo>
                      <a:pt x="72125" y="7239"/>
                    </a:moveTo>
                    <a:lnTo>
                      <a:pt x="69206" y="13288"/>
                    </a:lnTo>
                    <a:lnTo>
                      <a:pt x="64605" y="15856"/>
                    </a:lnTo>
                    <a:lnTo>
                      <a:pt x="67226" y="17882"/>
                    </a:lnTo>
                    <a:lnTo>
                      <a:pt x="68969" y="23487"/>
                    </a:lnTo>
                    <a:lnTo>
                      <a:pt x="68915" y="33998"/>
                    </a:lnTo>
                    <a:lnTo>
                      <a:pt x="76241" y="41944"/>
                    </a:lnTo>
                    <a:lnTo>
                      <a:pt x="76201" y="44491"/>
                    </a:lnTo>
                    <a:lnTo>
                      <a:pt x="73023" y="48179"/>
                    </a:lnTo>
                    <a:lnTo>
                      <a:pt x="74591" y="50594"/>
                    </a:lnTo>
                    <a:lnTo>
                      <a:pt x="75083" y="55495"/>
                    </a:lnTo>
                    <a:lnTo>
                      <a:pt x="81356" y="62229"/>
                    </a:lnTo>
                    <a:lnTo>
                      <a:pt x="81560" y="68542"/>
                    </a:lnTo>
                    <a:lnTo>
                      <a:pt x="78520" y="68381"/>
                    </a:lnTo>
                    <a:lnTo>
                      <a:pt x="78179" y="72182"/>
                    </a:lnTo>
                    <a:lnTo>
                      <a:pt x="80303" y="76318"/>
                    </a:lnTo>
                    <a:lnTo>
                      <a:pt x="76081" y="78373"/>
                    </a:lnTo>
                    <a:lnTo>
                      <a:pt x="74949" y="81935"/>
                    </a:lnTo>
                    <a:lnTo>
                      <a:pt x="59596" y="82377"/>
                    </a:lnTo>
                    <a:lnTo>
                      <a:pt x="55759" y="80836"/>
                    </a:lnTo>
                    <a:lnTo>
                      <a:pt x="55471" y="83373"/>
                    </a:lnTo>
                    <a:lnTo>
                      <a:pt x="54358" y="83426"/>
                    </a:lnTo>
                    <a:lnTo>
                      <a:pt x="40806" y="79141"/>
                    </a:lnTo>
                    <a:lnTo>
                      <a:pt x="37669" y="81776"/>
                    </a:lnTo>
                    <a:lnTo>
                      <a:pt x="30786" y="87865"/>
                    </a:lnTo>
                    <a:lnTo>
                      <a:pt x="24756" y="87170"/>
                    </a:lnTo>
                    <a:lnTo>
                      <a:pt x="20149" y="80486"/>
                    </a:lnTo>
                    <a:lnTo>
                      <a:pt x="20451" y="72217"/>
                    </a:lnTo>
                    <a:lnTo>
                      <a:pt x="14741" y="71432"/>
                    </a:lnTo>
                    <a:lnTo>
                      <a:pt x="5643" y="53792"/>
                    </a:lnTo>
                    <a:lnTo>
                      <a:pt x="3644" y="47248"/>
                    </a:lnTo>
                    <a:lnTo>
                      <a:pt x="3809" y="42145"/>
                    </a:lnTo>
                    <a:lnTo>
                      <a:pt x="0" y="36349"/>
                    </a:lnTo>
                    <a:lnTo>
                      <a:pt x="2664" y="34659"/>
                    </a:lnTo>
                    <a:lnTo>
                      <a:pt x="2559" y="34556"/>
                    </a:lnTo>
                    <a:lnTo>
                      <a:pt x="9245" y="28549"/>
                    </a:lnTo>
                    <a:lnTo>
                      <a:pt x="12900" y="24877"/>
                    </a:lnTo>
                    <a:lnTo>
                      <a:pt x="23231" y="20113"/>
                    </a:lnTo>
                    <a:lnTo>
                      <a:pt x="33476" y="14667"/>
                    </a:lnTo>
                    <a:lnTo>
                      <a:pt x="34798" y="15237"/>
                    </a:lnTo>
                    <a:lnTo>
                      <a:pt x="47290" y="8880"/>
                    </a:lnTo>
                    <a:lnTo>
                      <a:pt x="54810" y="5105"/>
                    </a:lnTo>
                    <a:lnTo>
                      <a:pt x="56960" y="4335"/>
                    </a:lnTo>
                    <a:lnTo>
                      <a:pt x="59371" y="6371"/>
                    </a:lnTo>
                    <a:lnTo>
                      <a:pt x="61509" y="8832"/>
                    </a:lnTo>
                    <a:lnTo>
                      <a:pt x="63837" y="9994"/>
                    </a:lnTo>
                    <a:lnTo>
                      <a:pt x="66449" y="10101"/>
                    </a:lnTo>
                    <a:lnTo>
                      <a:pt x="67914" y="7592"/>
                    </a:lnTo>
                    <a:lnTo>
                      <a:pt x="67973" y="3068"/>
                    </a:lnTo>
                    <a:lnTo>
                      <a:pt x="67920" y="290"/>
                    </a:lnTo>
                    <a:lnTo>
                      <a:pt x="69065" y="0"/>
                    </a:lnTo>
                    <a:lnTo>
                      <a:pt x="71980" y="2461"/>
                    </a:lnTo>
                    <a:close/>
                  </a:path>
                </a:pathLst>
              </a:custGeom>
              <a:grpFill/>
              <a:ln w="3175" cap="rnd" cmpd="sng" algn="ctr">
                <a:solidFill>
                  <a:srgbClr val="7359A0"/>
                </a:solidFill>
                <a:prstDash val="solid"/>
                <a:miter lim="800000"/>
              </a:ln>
              <a:effectLst/>
            </p:spPr>
            <p:txBody>
              <a:bodyPr rot="0" spcFirstLastPara="0" vert="horz" wrap="square" lIns="72000" tIns="72000" rIns="72000" bIns="7200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6" name="ee4p_DN_1_41893">
                <a:extLst>
                  <a:ext uri="{FF2B5EF4-FFF2-40B4-BE49-F238E27FC236}">
                    <a16:creationId xmlns:a16="http://schemas.microsoft.com/office/drawing/2014/main" id="{01DAD563-139F-8C3E-64A6-BB4C00620C14}"/>
                  </a:ext>
                </a:extLst>
              </p:cNvPr>
              <p:cNvSpPr>
                <a:spLocks noChangeAspect="1"/>
              </p:cNvSpPr>
              <p:nvPr/>
            </p:nvSpPr>
            <p:spPr>
              <a:xfrm rot="631238">
                <a:off x="4232544" y="3395988"/>
                <a:ext cx="84398" cy="39390"/>
              </a:xfrm>
              <a:custGeom>
                <a:avLst/>
                <a:gdLst/>
                <a:ahLst/>
                <a:cxnLst/>
                <a:rect l="0" t="0" r="0" b="0"/>
                <a:pathLst>
                  <a:path w="187552" h="96673">
                    <a:moveTo>
                      <a:pt x="106466" y="5389"/>
                    </a:moveTo>
                    <a:lnTo>
                      <a:pt x="112344" y="3662"/>
                    </a:lnTo>
                    <a:lnTo>
                      <a:pt x="115858" y="4794"/>
                    </a:lnTo>
                    <a:lnTo>
                      <a:pt x="122654" y="1824"/>
                    </a:lnTo>
                    <a:lnTo>
                      <a:pt x="127965" y="5382"/>
                    </a:lnTo>
                    <a:lnTo>
                      <a:pt x="135097" y="6990"/>
                    </a:lnTo>
                    <a:lnTo>
                      <a:pt x="141450" y="4109"/>
                    </a:lnTo>
                    <a:lnTo>
                      <a:pt x="146359" y="12309"/>
                    </a:lnTo>
                    <a:lnTo>
                      <a:pt x="148639" y="13701"/>
                    </a:lnTo>
                    <a:lnTo>
                      <a:pt x="153047" y="9123"/>
                    </a:lnTo>
                    <a:lnTo>
                      <a:pt x="161271" y="11095"/>
                    </a:lnTo>
                    <a:lnTo>
                      <a:pt x="163649" y="7597"/>
                    </a:lnTo>
                    <a:lnTo>
                      <a:pt x="174352" y="11901"/>
                    </a:lnTo>
                    <a:lnTo>
                      <a:pt x="173978" y="12060"/>
                    </a:lnTo>
                    <a:lnTo>
                      <a:pt x="178393" y="14069"/>
                    </a:lnTo>
                    <a:lnTo>
                      <a:pt x="186790" y="18970"/>
                    </a:lnTo>
                    <a:lnTo>
                      <a:pt x="187551" y="18619"/>
                    </a:lnTo>
                    <a:lnTo>
                      <a:pt x="183896" y="22291"/>
                    </a:lnTo>
                    <a:lnTo>
                      <a:pt x="177210" y="28298"/>
                    </a:lnTo>
                    <a:lnTo>
                      <a:pt x="177315" y="28401"/>
                    </a:lnTo>
                    <a:lnTo>
                      <a:pt x="174651" y="30091"/>
                    </a:lnTo>
                    <a:lnTo>
                      <a:pt x="178460" y="35887"/>
                    </a:lnTo>
                    <a:lnTo>
                      <a:pt x="178295" y="40990"/>
                    </a:lnTo>
                    <a:lnTo>
                      <a:pt x="180294" y="47534"/>
                    </a:lnTo>
                    <a:lnTo>
                      <a:pt x="177479" y="49344"/>
                    </a:lnTo>
                    <a:lnTo>
                      <a:pt x="171762" y="48869"/>
                    </a:lnTo>
                    <a:lnTo>
                      <a:pt x="167104" y="52275"/>
                    </a:lnTo>
                    <a:lnTo>
                      <a:pt x="157374" y="46194"/>
                    </a:lnTo>
                    <a:lnTo>
                      <a:pt x="153268" y="50887"/>
                    </a:lnTo>
                    <a:lnTo>
                      <a:pt x="147961" y="53309"/>
                    </a:lnTo>
                    <a:lnTo>
                      <a:pt x="147418" y="55835"/>
                    </a:lnTo>
                    <a:lnTo>
                      <a:pt x="148475" y="58316"/>
                    </a:lnTo>
                    <a:lnTo>
                      <a:pt x="146174" y="61192"/>
                    </a:lnTo>
                    <a:lnTo>
                      <a:pt x="144643" y="67497"/>
                    </a:lnTo>
                    <a:lnTo>
                      <a:pt x="143170" y="68604"/>
                    </a:lnTo>
                    <a:lnTo>
                      <a:pt x="125872" y="64262"/>
                    </a:lnTo>
                    <a:lnTo>
                      <a:pt x="122451" y="68664"/>
                    </a:lnTo>
                    <a:lnTo>
                      <a:pt x="123734" y="74044"/>
                    </a:lnTo>
                    <a:lnTo>
                      <a:pt x="123112" y="76684"/>
                    </a:lnTo>
                    <a:lnTo>
                      <a:pt x="116670" y="84538"/>
                    </a:lnTo>
                    <a:lnTo>
                      <a:pt x="116967" y="91255"/>
                    </a:lnTo>
                    <a:lnTo>
                      <a:pt x="113720" y="94280"/>
                    </a:lnTo>
                    <a:lnTo>
                      <a:pt x="109365" y="95667"/>
                    </a:lnTo>
                    <a:lnTo>
                      <a:pt x="108393" y="95976"/>
                    </a:lnTo>
                    <a:lnTo>
                      <a:pt x="107782" y="96672"/>
                    </a:lnTo>
                    <a:lnTo>
                      <a:pt x="105918" y="90614"/>
                    </a:lnTo>
                    <a:lnTo>
                      <a:pt x="104603" y="89007"/>
                    </a:lnTo>
                    <a:lnTo>
                      <a:pt x="101958" y="88659"/>
                    </a:lnTo>
                    <a:lnTo>
                      <a:pt x="100219" y="87485"/>
                    </a:lnTo>
                    <a:lnTo>
                      <a:pt x="98516" y="80934"/>
                    </a:lnTo>
                    <a:lnTo>
                      <a:pt x="97094" y="78272"/>
                    </a:lnTo>
                    <a:lnTo>
                      <a:pt x="83886" y="65980"/>
                    </a:lnTo>
                    <a:lnTo>
                      <a:pt x="76588" y="61750"/>
                    </a:lnTo>
                    <a:lnTo>
                      <a:pt x="69579" y="62022"/>
                    </a:lnTo>
                    <a:lnTo>
                      <a:pt x="62752" y="68094"/>
                    </a:lnTo>
                    <a:lnTo>
                      <a:pt x="51069" y="84686"/>
                    </a:lnTo>
                    <a:lnTo>
                      <a:pt x="43465" y="89859"/>
                    </a:lnTo>
                    <a:lnTo>
                      <a:pt x="41646" y="89822"/>
                    </a:lnTo>
                    <a:lnTo>
                      <a:pt x="37777" y="88881"/>
                    </a:lnTo>
                    <a:lnTo>
                      <a:pt x="36897" y="89313"/>
                    </a:lnTo>
                    <a:lnTo>
                      <a:pt x="36850" y="89179"/>
                    </a:lnTo>
                    <a:lnTo>
                      <a:pt x="36736" y="88846"/>
                    </a:lnTo>
                    <a:lnTo>
                      <a:pt x="27219" y="94068"/>
                    </a:lnTo>
                    <a:lnTo>
                      <a:pt x="22591" y="91382"/>
                    </a:lnTo>
                    <a:lnTo>
                      <a:pt x="17829" y="77710"/>
                    </a:lnTo>
                    <a:lnTo>
                      <a:pt x="15647" y="75690"/>
                    </a:lnTo>
                    <a:lnTo>
                      <a:pt x="9353" y="76292"/>
                    </a:lnTo>
                    <a:lnTo>
                      <a:pt x="5893" y="74082"/>
                    </a:lnTo>
                    <a:lnTo>
                      <a:pt x="4729" y="69230"/>
                    </a:lnTo>
                    <a:lnTo>
                      <a:pt x="7134" y="61808"/>
                    </a:lnTo>
                    <a:lnTo>
                      <a:pt x="896" y="56038"/>
                    </a:lnTo>
                    <a:lnTo>
                      <a:pt x="0" y="51102"/>
                    </a:lnTo>
                    <a:lnTo>
                      <a:pt x="4345" y="48478"/>
                    </a:lnTo>
                    <a:lnTo>
                      <a:pt x="12089" y="49325"/>
                    </a:lnTo>
                    <a:lnTo>
                      <a:pt x="22621" y="45455"/>
                    </a:lnTo>
                    <a:lnTo>
                      <a:pt x="26375" y="46828"/>
                    </a:lnTo>
                    <a:lnTo>
                      <a:pt x="30015" y="45860"/>
                    </a:lnTo>
                    <a:lnTo>
                      <a:pt x="33385" y="41780"/>
                    </a:lnTo>
                    <a:lnTo>
                      <a:pt x="43965" y="38097"/>
                    </a:lnTo>
                    <a:lnTo>
                      <a:pt x="48749" y="38779"/>
                    </a:lnTo>
                    <a:lnTo>
                      <a:pt x="50700" y="36865"/>
                    </a:lnTo>
                    <a:lnTo>
                      <a:pt x="53841" y="39267"/>
                    </a:lnTo>
                    <a:lnTo>
                      <a:pt x="56665" y="38565"/>
                    </a:lnTo>
                    <a:lnTo>
                      <a:pt x="58861" y="36663"/>
                    </a:lnTo>
                    <a:lnTo>
                      <a:pt x="62040" y="30225"/>
                    </a:lnTo>
                    <a:lnTo>
                      <a:pt x="73917" y="27233"/>
                    </a:lnTo>
                    <a:lnTo>
                      <a:pt x="75265" y="26245"/>
                    </a:lnTo>
                    <a:lnTo>
                      <a:pt x="76700" y="21108"/>
                    </a:lnTo>
                    <a:lnTo>
                      <a:pt x="82282" y="20544"/>
                    </a:lnTo>
                    <a:lnTo>
                      <a:pt x="88996" y="14608"/>
                    </a:lnTo>
                    <a:lnTo>
                      <a:pt x="90543" y="10770"/>
                    </a:lnTo>
                    <a:lnTo>
                      <a:pt x="88827" y="6946"/>
                    </a:lnTo>
                    <a:lnTo>
                      <a:pt x="92255" y="0"/>
                    </a:lnTo>
                    <a:close/>
                  </a:path>
                </a:pathLst>
              </a:custGeom>
              <a:grpFill/>
              <a:ln w="3175" cap="rnd" cmpd="sng" algn="ctr">
                <a:solidFill>
                  <a:srgbClr val="7359A0"/>
                </a:solidFill>
                <a:prstDash val="solid"/>
                <a:miter lim="800000"/>
              </a:ln>
              <a:effectLst/>
            </p:spPr>
            <p:txBody>
              <a:bodyPr rot="0" spcFirstLastPara="0" vert="horz" wrap="square" lIns="72000" tIns="72000" rIns="72000" bIns="7200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7" name="ee4p_LB_1_41893">
                <a:extLst>
                  <a:ext uri="{FF2B5EF4-FFF2-40B4-BE49-F238E27FC236}">
                    <a16:creationId xmlns:a16="http://schemas.microsoft.com/office/drawing/2014/main" id="{3D34E9E8-B3EC-BF41-FB50-9C3ED1D9E927}"/>
                  </a:ext>
                </a:extLst>
              </p:cNvPr>
              <p:cNvSpPr>
                <a:spLocks noChangeAspect="1"/>
              </p:cNvSpPr>
              <p:nvPr/>
            </p:nvSpPr>
            <p:spPr>
              <a:xfrm rot="631238">
                <a:off x="4339492" y="3408246"/>
                <a:ext cx="42122" cy="38530"/>
              </a:xfrm>
              <a:custGeom>
                <a:avLst/>
                <a:gdLst/>
                <a:ahLst/>
                <a:cxnLst/>
                <a:rect l="0" t="0" r="0" b="0"/>
                <a:pathLst>
                  <a:path w="93605" h="94563">
                    <a:moveTo>
                      <a:pt x="72271" y="32298"/>
                    </a:moveTo>
                    <a:lnTo>
                      <a:pt x="73260" y="28738"/>
                    </a:lnTo>
                    <a:lnTo>
                      <a:pt x="75419" y="26997"/>
                    </a:lnTo>
                    <a:lnTo>
                      <a:pt x="82045" y="32867"/>
                    </a:lnTo>
                    <a:lnTo>
                      <a:pt x="83104" y="37904"/>
                    </a:lnTo>
                    <a:lnTo>
                      <a:pt x="86328" y="40775"/>
                    </a:lnTo>
                    <a:lnTo>
                      <a:pt x="87437" y="47721"/>
                    </a:lnTo>
                    <a:lnTo>
                      <a:pt x="89702" y="48235"/>
                    </a:lnTo>
                    <a:lnTo>
                      <a:pt x="90122" y="51965"/>
                    </a:lnTo>
                    <a:lnTo>
                      <a:pt x="93604" y="56434"/>
                    </a:lnTo>
                    <a:lnTo>
                      <a:pt x="90971" y="61331"/>
                    </a:lnTo>
                    <a:lnTo>
                      <a:pt x="87178" y="62255"/>
                    </a:lnTo>
                    <a:lnTo>
                      <a:pt x="86072" y="65615"/>
                    </a:lnTo>
                    <a:lnTo>
                      <a:pt x="82675" y="67311"/>
                    </a:lnTo>
                    <a:lnTo>
                      <a:pt x="83687" y="73613"/>
                    </a:lnTo>
                    <a:lnTo>
                      <a:pt x="77170" y="79743"/>
                    </a:lnTo>
                    <a:lnTo>
                      <a:pt x="76081" y="82372"/>
                    </a:lnTo>
                    <a:lnTo>
                      <a:pt x="78106" y="89774"/>
                    </a:lnTo>
                    <a:lnTo>
                      <a:pt x="73988" y="93757"/>
                    </a:lnTo>
                    <a:lnTo>
                      <a:pt x="69736" y="92022"/>
                    </a:lnTo>
                    <a:lnTo>
                      <a:pt x="60863" y="94562"/>
                    </a:lnTo>
                    <a:lnTo>
                      <a:pt x="48800" y="89538"/>
                    </a:lnTo>
                    <a:lnTo>
                      <a:pt x="47900" y="85463"/>
                    </a:lnTo>
                    <a:lnTo>
                      <a:pt x="50329" y="83439"/>
                    </a:lnTo>
                    <a:lnTo>
                      <a:pt x="50005" y="82261"/>
                    </a:lnTo>
                    <a:lnTo>
                      <a:pt x="33332" y="70262"/>
                    </a:lnTo>
                    <a:lnTo>
                      <a:pt x="26941" y="71178"/>
                    </a:lnTo>
                    <a:lnTo>
                      <a:pt x="26907" y="67343"/>
                    </a:lnTo>
                    <a:lnTo>
                      <a:pt x="16955" y="71140"/>
                    </a:lnTo>
                    <a:lnTo>
                      <a:pt x="16751" y="64827"/>
                    </a:lnTo>
                    <a:lnTo>
                      <a:pt x="10478" y="58093"/>
                    </a:lnTo>
                    <a:lnTo>
                      <a:pt x="9986" y="53192"/>
                    </a:lnTo>
                    <a:lnTo>
                      <a:pt x="8418" y="50777"/>
                    </a:lnTo>
                    <a:lnTo>
                      <a:pt x="11596" y="47089"/>
                    </a:lnTo>
                    <a:lnTo>
                      <a:pt x="11636" y="44542"/>
                    </a:lnTo>
                    <a:lnTo>
                      <a:pt x="4310" y="36596"/>
                    </a:lnTo>
                    <a:lnTo>
                      <a:pt x="4364" y="26085"/>
                    </a:lnTo>
                    <a:lnTo>
                      <a:pt x="2621" y="20480"/>
                    </a:lnTo>
                    <a:lnTo>
                      <a:pt x="0" y="18454"/>
                    </a:lnTo>
                    <a:lnTo>
                      <a:pt x="4601" y="15886"/>
                    </a:lnTo>
                    <a:lnTo>
                      <a:pt x="7520" y="9837"/>
                    </a:lnTo>
                    <a:lnTo>
                      <a:pt x="15097" y="10470"/>
                    </a:lnTo>
                    <a:lnTo>
                      <a:pt x="18493" y="7107"/>
                    </a:lnTo>
                    <a:lnTo>
                      <a:pt x="23848" y="6885"/>
                    </a:lnTo>
                    <a:lnTo>
                      <a:pt x="35774" y="978"/>
                    </a:lnTo>
                    <a:lnTo>
                      <a:pt x="51793" y="0"/>
                    </a:lnTo>
                    <a:lnTo>
                      <a:pt x="56688" y="5697"/>
                    </a:lnTo>
                    <a:lnTo>
                      <a:pt x="58566" y="11201"/>
                    </a:lnTo>
                    <a:lnTo>
                      <a:pt x="58755" y="16298"/>
                    </a:lnTo>
                    <a:lnTo>
                      <a:pt x="68141" y="23759"/>
                    </a:lnTo>
                    <a:lnTo>
                      <a:pt x="69648" y="31471"/>
                    </a:lnTo>
                    <a:close/>
                  </a:path>
                </a:pathLst>
              </a:custGeom>
              <a:grpFill/>
              <a:ln w="3175" cap="rnd" cmpd="sng" algn="ctr">
                <a:solidFill>
                  <a:srgbClr val="7359A0"/>
                </a:solidFill>
                <a:prstDash val="solid"/>
                <a:miter lim="800000"/>
              </a:ln>
              <a:effectLst/>
            </p:spPr>
            <p:txBody>
              <a:bodyPr rot="0" spcFirstLastPara="0" vert="horz" wrap="square" lIns="72000" tIns="72000" rIns="72000" bIns="7200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8" name="ee4p_4_1_41893">
                <a:extLst>
                  <a:ext uri="{FF2B5EF4-FFF2-40B4-BE49-F238E27FC236}">
                    <a16:creationId xmlns:a16="http://schemas.microsoft.com/office/drawing/2014/main" id="{471AC031-E35E-26D9-E1C1-DD1A7CEEEEB8}"/>
                  </a:ext>
                </a:extLst>
              </p:cNvPr>
              <p:cNvSpPr>
                <a:spLocks noChangeAspect="1"/>
              </p:cNvSpPr>
              <p:nvPr/>
            </p:nvSpPr>
            <p:spPr>
              <a:xfrm rot="631238">
                <a:off x="4275865" y="3375352"/>
                <a:ext cx="57563" cy="33429"/>
              </a:xfrm>
              <a:custGeom>
                <a:avLst/>
                <a:gdLst/>
                <a:ahLst/>
                <a:cxnLst/>
                <a:rect l="0" t="0" r="0" b="0"/>
                <a:pathLst>
                  <a:path w="127917" h="82043">
                    <a:moveTo>
                      <a:pt x="13180" y="4946"/>
                    </a:moveTo>
                    <a:lnTo>
                      <a:pt x="20583" y="4130"/>
                    </a:lnTo>
                    <a:lnTo>
                      <a:pt x="25155" y="5960"/>
                    </a:lnTo>
                    <a:lnTo>
                      <a:pt x="39592" y="1883"/>
                    </a:lnTo>
                    <a:lnTo>
                      <a:pt x="49382" y="6193"/>
                    </a:lnTo>
                    <a:lnTo>
                      <a:pt x="53884" y="4392"/>
                    </a:lnTo>
                    <a:lnTo>
                      <a:pt x="62091" y="16248"/>
                    </a:lnTo>
                    <a:lnTo>
                      <a:pt x="70249" y="20565"/>
                    </a:lnTo>
                    <a:lnTo>
                      <a:pt x="75222" y="20479"/>
                    </a:lnTo>
                    <a:lnTo>
                      <a:pt x="79021" y="16621"/>
                    </a:lnTo>
                    <a:lnTo>
                      <a:pt x="88974" y="13676"/>
                    </a:lnTo>
                    <a:lnTo>
                      <a:pt x="94776" y="15520"/>
                    </a:lnTo>
                    <a:lnTo>
                      <a:pt x="97083" y="13607"/>
                    </a:lnTo>
                    <a:lnTo>
                      <a:pt x="98159" y="9840"/>
                    </a:lnTo>
                    <a:lnTo>
                      <a:pt x="105847" y="14315"/>
                    </a:lnTo>
                    <a:lnTo>
                      <a:pt x="106148" y="14486"/>
                    </a:lnTo>
                    <a:lnTo>
                      <a:pt x="106171" y="14349"/>
                    </a:lnTo>
                    <a:lnTo>
                      <a:pt x="109340" y="16525"/>
                    </a:lnTo>
                    <a:lnTo>
                      <a:pt x="111226" y="18426"/>
                    </a:lnTo>
                    <a:lnTo>
                      <a:pt x="116253" y="23489"/>
                    </a:lnTo>
                    <a:lnTo>
                      <a:pt x="124019" y="33729"/>
                    </a:lnTo>
                    <a:lnTo>
                      <a:pt x="127544" y="38842"/>
                    </a:lnTo>
                    <a:lnTo>
                      <a:pt x="127916" y="44452"/>
                    </a:lnTo>
                    <a:lnTo>
                      <a:pt x="126203" y="49756"/>
                    </a:lnTo>
                    <a:lnTo>
                      <a:pt x="123831" y="58489"/>
                    </a:lnTo>
                    <a:lnTo>
                      <a:pt x="123072" y="64703"/>
                    </a:lnTo>
                    <a:lnTo>
                      <a:pt x="122787" y="71352"/>
                    </a:lnTo>
                    <a:lnTo>
                      <a:pt x="122558" y="71481"/>
                    </a:lnTo>
                    <a:lnTo>
                      <a:pt x="112313" y="76927"/>
                    </a:lnTo>
                    <a:lnTo>
                      <a:pt x="101982" y="81691"/>
                    </a:lnTo>
                    <a:lnTo>
                      <a:pt x="101221" y="82042"/>
                    </a:lnTo>
                    <a:lnTo>
                      <a:pt x="92824" y="77141"/>
                    </a:lnTo>
                    <a:lnTo>
                      <a:pt x="88409" y="75132"/>
                    </a:lnTo>
                    <a:lnTo>
                      <a:pt x="88783" y="74973"/>
                    </a:lnTo>
                    <a:lnTo>
                      <a:pt x="78080" y="70669"/>
                    </a:lnTo>
                    <a:lnTo>
                      <a:pt x="75702" y="74167"/>
                    </a:lnTo>
                    <a:lnTo>
                      <a:pt x="67478" y="72195"/>
                    </a:lnTo>
                    <a:lnTo>
                      <a:pt x="63070" y="76773"/>
                    </a:lnTo>
                    <a:lnTo>
                      <a:pt x="60790" y="75381"/>
                    </a:lnTo>
                    <a:lnTo>
                      <a:pt x="55881" y="67181"/>
                    </a:lnTo>
                    <a:lnTo>
                      <a:pt x="49528" y="70062"/>
                    </a:lnTo>
                    <a:lnTo>
                      <a:pt x="42396" y="68454"/>
                    </a:lnTo>
                    <a:lnTo>
                      <a:pt x="37085" y="64896"/>
                    </a:lnTo>
                    <a:lnTo>
                      <a:pt x="30289" y="67866"/>
                    </a:lnTo>
                    <a:lnTo>
                      <a:pt x="26775" y="66734"/>
                    </a:lnTo>
                    <a:lnTo>
                      <a:pt x="20897" y="68461"/>
                    </a:lnTo>
                    <a:lnTo>
                      <a:pt x="6686" y="63072"/>
                    </a:lnTo>
                    <a:lnTo>
                      <a:pt x="9777" y="51958"/>
                    </a:lnTo>
                    <a:lnTo>
                      <a:pt x="5579" y="37616"/>
                    </a:lnTo>
                    <a:lnTo>
                      <a:pt x="3365" y="33894"/>
                    </a:lnTo>
                    <a:lnTo>
                      <a:pt x="6695" y="30009"/>
                    </a:lnTo>
                    <a:lnTo>
                      <a:pt x="0" y="25209"/>
                    </a:lnTo>
                    <a:lnTo>
                      <a:pt x="3120" y="18141"/>
                    </a:lnTo>
                    <a:lnTo>
                      <a:pt x="2253" y="3859"/>
                    </a:lnTo>
                    <a:lnTo>
                      <a:pt x="8031" y="0"/>
                    </a:lnTo>
                    <a:lnTo>
                      <a:pt x="10832" y="4077"/>
                    </a:lnTo>
                    <a:close/>
                  </a:path>
                </a:pathLst>
              </a:custGeom>
              <a:grpFill/>
              <a:ln w="3175" cap="rnd" cmpd="sng" algn="ctr">
                <a:solidFill>
                  <a:srgbClr val="7359A0"/>
                </a:solidFill>
                <a:prstDash val="solid"/>
                <a:miter lim="800000"/>
              </a:ln>
              <a:effectLst/>
            </p:spPr>
            <p:txBody>
              <a:bodyPr rot="0" spcFirstLastPara="0" vert="horz" wrap="square" lIns="72000" tIns="72000" rIns="72000" bIns="7200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9" name="ee4p_AN_1_41893">
                <a:extLst>
                  <a:ext uri="{FF2B5EF4-FFF2-40B4-BE49-F238E27FC236}">
                    <a16:creationId xmlns:a16="http://schemas.microsoft.com/office/drawing/2014/main" id="{AE658038-6215-4416-03E6-6A71E9BE4084}"/>
                  </a:ext>
                </a:extLst>
              </p:cNvPr>
              <p:cNvSpPr>
                <a:spLocks noChangeAspect="1"/>
              </p:cNvSpPr>
              <p:nvPr/>
            </p:nvSpPr>
            <p:spPr>
              <a:xfrm rot="631238">
                <a:off x="4326166" y="3376712"/>
                <a:ext cx="46983" cy="36263"/>
              </a:xfrm>
              <a:custGeom>
                <a:avLst/>
                <a:gdLst/>
                <a:ahLst/>
                <a:cxnLst/>
                <a:rect l="0" t="0" r="0" b="0"/>
                <a:pathLst>
                  <a:path w="104407" h="88999">
                    <a:moveTo>
                      <a:pt x="92650" y="6400"/>
                    </a:moveTo>
                    <a:lnTo>
                      <a:pt x="100909" y="13411"/>
                    </a:lnTo>
                    <a:lnTo>
                      <a:pt x="100006" y="20927"/>
                    </a:lnTo>
                    <a:lnTo>
                      <a:pt x="96546" y="23345"/>
                    </a:lnTo>
                    <a:lnTo>
                      <a:pt x="97816" y="31882"/>
                    </a:lnTo>
                    <a:lnTo>
                      <a:pt x="101336" y="36490"/>
                    </a:lnTo>
                    <a:lnTo>
                      <a:pt x="100831" y="40068"/>
                    </a:lnTo>
                    <a:lnTo>
                      <a:pt x="98427" y="43594"/>
                    </a:lnTo>
                    <a:lnTo>
                      <a:pt x="98144" y="52831"/>
                    </a:lnTo>
                    <a:lnTo>
                      <a:pt x="99533" y="55098"/>
                    </a:lnTo>
                    <a:lnTo>
                      <a:pt x="104406" y="56346"/>
                    </a:lnTo>
                    <a:lnTo>
                      <a:pt x="101210" y="59309"/>
                    </a:lnTo>
                    <a:lnTo>
                      <a:pt x="96278" y="59758"/>
                    </a:lnTo>
                    <a:lnTo>
                      <a:pt x="95556" y="61016"/>
                    </a:lnTo>
                    <a:lnTo>
                      <a:pt x="98843" y="68678"/>
                    </a:lnTo>
                    <a:lnTo>
                      <a:pt x="94254" y="71163"/>
                    </a:lnTo>
                    <a:lnTo>
                      <a:pt x="78235" y="72141"/>
                    </a:lnTo>
                    <a:lnTo>
                      <a:pt x="66309" y="78048"/>
                    </a:lnTo>
                    <a:lnTo>
                      <a:pt x="60954" y="78270"/>
                    </a:lnTo>
                    <a:lnTo>
                      <a:pt x="57558" y="81633"/>
                    </a:lnTo>
                    <a:lnTo>
                      <a:pt x="49981" y="81000"/>
                    </a:lnTo>
                    <a:lnTo>
                      <a:pt x="49836" y="76222"/>
                    </a:lnTo>
                    <a:lnTo>
                      <a:pt x="46921" y="73761"/>
                    </a:lnTo>
                    <a:lnTo>
                      <a:pt x="45776" y="74051"/>
                    </a:lnTo>
                    <a:lnTo>
                      <a:pt x="45829" y="76829"/>
                    </a:lnTo>
                    <a:lnTo>
                      <a:pt x="45770" y="81353"/>
                    </a:lnTo>
                    <a:lnTo>
                      <a:pt x="44305" y="83862"/>
                    </a:lnTo>
                    <a:lnTo>
                      <a:pt x="41693" y="83755"/>
                    </a:lnTo>
                    <a:lnTo>
                      <a:pt x="39365" y="82593"/>
                    </a:lnTo>
                    <a:lnTo>
                      <a:pt x="37227" y="80132"/>
                    </a:lnTo>
                    <a:lnTo>
                      <a:pt x="34816" y="78096"/>
                    </a:lnTo>
                    <a:lnTo>
                      <a:pt x="32666" y="78866"/>
                    </a:lnTo>
                    <a:lnTo>
                      <a:pt x="25146" y="82641"/>
                    </a:lnTo>
                    <a:lnTo>
                      <a:pt x="12654" y="88998"/>
                    </a:lnTo>
                    <a:lnTo>
                      <a:pt x="11332" y="88428"/>
                    </a:lnTo>
                    <a:lnTo>
                      <a:pt x="11561" y="88299"/>
                    </a:lnTo>
                    <a:lnTo>
                      <a:pt x="11846" y="81650"/>
                    </a:lnTo>
                    <a:lnTo>
                      <a:pt x="12605" y="75436"/>
                    </a:lnTo>
                    <a:lnTo>
                      <a:pt x="14977" y="66703"/>
                    </a:lnTo>
                    <a:lnTo>
                      <a:pt x="16690" y="61399"/>
                    </a:lnTo>
                    <a:lnTo>
                      <a:pt x="16318" y="55789"/>
                    </a:lnTo>
                    <a:lnTo>
                      <a:pt x="12793" y="50676"/>
                    </a:lnTo>
                    <a:lnTo>
                      <a:pt x="5027" y="40436"/>
                    </a:lnTo>
                    <a:lnTo>
                      <a:pt x="0" y="35373"/>
                    </a:lnTo>
                    <a:lnTo>
                      <a:pt x="526" y="32491"/>
                    </a:lnTo>
                    <a:lnTo>
                      <a:pt x="922" y="29069"/>
                    </a:lnTo>
                    <a:lnTo>
                      <a:pt x="3119" y="24223"/>
                    </a:lnTo>
                    <a:lnTo>
                      <a:pt x="5218" y="20579"/>
                    </a:lnTo>
                    <a:lnTo>
                      <a:pt x="5486" y="20591"/>
                    </a:lnTo>
                    <a:lnTo>
                      <a:pt x="7324" y="12150"/>
                    </a:lnTo>
                    <a:lnTo>
                      <a:pt x="7145" y="11946"/>
                    </a:lnTo>
                    <a:lnTo>
                      <a:pt x="7043" y="11921"/>
                    </a:lnTo>
                    <a:lnTo>
                      <a:pt x="6065" y="10021"/>
                    </a:lnTo>
                    <a:lnTo>
                      <a:pt x="5228" y="7522"/>
                    </a:lnTo>
                    <a:lnTo>
                      <a:pt x="5234" y="6336"/>
                    </a:lnTo>
                    <a:lnTo>
                      <a:pt x="6182" y="7336"/>
                    </a:lnTo>
                    <a:lnTo>
                      <a:pt x="8346" y="6996"/>
                    </a:lnTo>
                    <a:lnTo>
                      <a:pt x="8348" y="6937"/>
                    </a:lnTo>
                    <a:lnTo>
                      <a:pt x="25396" y="9547"/>
                    </a:lnTo>
                    <a:lnTo>
                      <a:pt x="33524" y="2556"/>
                    </a:lnTo>
                    <a:lnTo>
                      <a:pt x="38555" y="5533"/>
                    </a:lnTo>
                    <a:lnTo>
                      <a:pt x="44227" y="4483"/>
                    </a:lnTo>
                    <a:lnTo>
                      <a:pt x="50081" y="6640"/>
                    </a:lnTo>
                    <a:lnTo>
                      <a:pt x="52211" y="3861"/>
                    </a:lnTo>
                    <a:lnTo>
                      <a:pt x="56800" y="5747"/>
                    </a:lnTo>
                    <a:lnTo>
                      <a:pt x="57986" y="8126"/>
                    </a:lnTo>
                    <a:lnTo>
                      <a:pt x="64196" y="9127"/>
                    </a:lnTo>
                    <a:lnTo>
                      <a:pt x="68963" y="1548"/>
                    </a:lnTo>
                    <a:lnTo>
                      <a:pt x="77833" y="0"/>
                    </a:lnTo>
                    <a:close/>
                  </a:path>
                </a:pathLst>
              </a:custGeom>
              <a:grpFill/>
              <a:ln w="3175" cap="rnd" cmpd="sng" algn="ctr">
                <a:solidFill>
                  <a:srgbClr val="7359A0"/>
                </a:solidFill>
                <a:prstDash val="solid"/>
                <a:miter lim="800000"/>
              </a:ln>
              <a:effectLst/>
            </p:spPr>
            <p:txBody>
              <a:bodyPr rot="0" spcFirstLastPara="0" vert="horz" wrap="square" lIns="72000" tIns="72000" rIns="72000" bIns="7200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0" name="ee4p_MF_1_41893">
                <a:extLst>
                  <a:ext uri="{FF2B5EF4-FFF2-40B4-BE49-F238E27FC236}">
                    <a16:creationId xmlns:a16="http://schemas.microsoft.com/office/drawing/2014/main" id="{A18DABBF-0778-AF33-8B20-18F7D73C94DC}"/>
                  </a:ext>
                </a:extLst>
              </p:cNvPr>
              <p:cNvSpPr>
                <a:spLocks noChangeAspect="1"/>
              </p:cNvSpPr>
              <p:nvPr/>
            </p:nvSpPr>
            <p:spPr>
              <a:xfrm rot="631238">
                <a:off x="4284483" y="3346046"/>
                <a:ext cx="50075" cy="38122"/>
              </a:xfrm>
              <a:custGeom>
                <a:avLst/>
                <a:gdLst/>
                <a:ahLst/>
                <a:cxnLst/>
                <a:rect l="0" t="0" r="0" b="0"/>
                <a:pathLst>
                  <a:path w="111278" h="93561">
                    <a:moveTo>
                      <a:pt x="104892" y="11239"/>
                    </a:moveTo>
                    <a:lnTo>
                      <a:pt x="104001" y="14697"/>
                    </a:lnTo>
                    <a:lnTo>
                      <a:pt x="107866" y="21135"/>
                    </a:lnTo>
                    <a:lnTo>
                      <a:pt x="109657" y="29179"/>
                    </a:lnTo>
                    <a:lnTo>
                      <a:pt x="109246" y="35862"/>
                    </a:lnTo>
                    <a:lnTo>
                      <a:pt x="111277" y="45401"/>
                    </a:lnTo>
                    <a:lnTo>
                      <a:pt x="110000" y="51838"/>
                    </a:lnTo>
                    <a:lnTo>
                      <a:pt x="109878" y="51902"/>
                    </a:lnTo>
                    <a:lnTo>
                      <a:pt x="109880" y="51980"/>
                    </a:lnTo>
                    <a:lnTo>
                      <a:pt x="108478" y="56052"/>
                    </a:lnTo>
                    <a:lnTo>
                      <a:pt x="108238" y="58274"/>
                    </a:lnTo>
                    <a:lnTo>
                      <a:pt x="108212" y="62148"/>
                    </a:lnTo>
                    <a:lnTo>
                      <a:pt x="108429" y="62384"/>
                    </a:lnTo>
                    <a:lnTo>
                      <a:pt x="108423" y="63570"/>
                    </a:lnTo>
                    <a:lnTo>
                      <a:pt x="109260" y="66069"/>
                    </a:lnTo>
                    <a:lnTo>
                      <a:pt x="110238" y="67969"/>
                    </a:lnTo>
                    <a:lnTo>
                      <a:pt x="110340" y="67994"/>
                    </a:lnTo>
                    <a:lnTo>
                      <a:pt x="110519" y="68198"/>
                    </a:lnTo>
                    <a:lnTo>
                      <a:pt x="108681" y="76639"/>
                    </a:lnTo>
                    <a:lnTo>
                      <a:pt x="108413" y="76627"/>
                    </a:lnTo>
                    <a:lnTo>
                      <a:pt x="106314" y="80271"/>
                    </a:lnTo>
                    <a:lnTo>
                      <a:pt x="104117" y="85117"/>
                    </a:lnTo>
                    <a:lnTo>
                      <a:pt x="103721" y="88539"/>
                    </a:lnTo>
                    <a:lnTo>
                      <a:pt x="103195" y="91421"/>
                    </a:lnTo>
                    <a:lnTo>
                      <a:pt x="101309" y="89520"/>
                    </a:lnTo>
                    <a:lnTo>
                      <a:pt x="98140" y="87344"/>
                    </a:lnTo>
                    <a:lnTo>
                      <a:pt x="98117" y="87481"/>
                    </a:lnTo>
                    <a:lnTo>
                      <a:pt x="97816" y="87310"/>
                    </a:lnTo>
                    <a:lnTo>
                      <a:pt x="90128" y="82835"/>
                    </a:lnTo>
                    <a:lnTo>
                      <a:pt x="89052" y="86602"/>
                    </a:lnTo>
                    <a:lnTo>
                      <a:pt x="86745" y="88515"/>
                    </a:lnTo>
                    <a:lnTo>
                      <a:pt x="80943" y="86671"/>
                    </a:lnTo>
                    <a:lnTo>
                      <a:pt x="70990" y="89616"/>
                    </a:lnTo>
                    <a:lnTo>
                      <a:pt x="67191" y="93474"/>
                    </a:lnTo>
                    <a:lnTo>
                      <a:pt x="62218" y="93560"/>
                    </a:lnTo>
                    <a:lnTo>
                      <a:pt x="54060" y="89243"/>
                    </a:lnTo>
                    <a:lnTo>
                      <a:pt x="45853" y="77387"/>
                    </a:lnTo>
                    <a:lnTo>
                      <a:pt x="41351" y="79188"/>
                    </a:lnTo>
                    <a:lnTo>
                      <a:pt x="31561" y="74878"/>
                    </a:lnTo>
                    <a:lnTo>
                      <a:pt x="17124" y="78955"/>
                    </a:lnTo>
                    <a:lnTo>
                      <a:pt x="12552" y="77125"/>
                    </a:lnTo>
                    <a:lnTo>
                      <a:pt x="5149" y="77941"/>
                    </a:lnTo>
                    <a:lnTo>
                      <a:pt x="2801" y="77072"/>
                    </a:lnTo>
                    <a:lnTo>
                      <a:pt x="0" y="72995"/>
                    </a:lnTo>
                    <a:lnTo>
                      <a:pt x="7481" y="69437"/>
                    </a:lnTo>
                    <a:lnTo>
                      <a:pt x="9308" y="63478"/>
                    </a:lnTo>
                    <a:lnTo>
                      <a:pt x="15757" y="60834"/>
                    </a:lnTo>
                    <a:lnTo>
                      <a:pt x="16919" y="58222"/>
                    </a:lnTo>
                    <a:lnTo>
                      <a:pt x="16509" y="55553"/>
                    </a:lnTo>
                    <a:lnTo>
                      <a:pt x="12337" y="50658"/>
                    </a:lnTo>
                    <a:lnTo>
                      <a:pt x="12926" y="45249"/>
                    </a:lnTo>
                    <a:lnTo>
                      <a:pt x="19480" y="39861"/>
                    </a:lnTo>
                    <a:lnTo>
                      <a:pt x="19641" y="31899"/>
                    </a:lnTo>
                    <a:lnTo>
                      <a:pt x="36817" y="34640"/>
                    </a:lnTo>
                    <a:lnTo>
                      <a:pt x="44724" y="27903"/>
                    </a:lnTo>
                    <a:lnTo>
                      <a:pt x="45209" y="19108"/>
                    </a:lnTo>
                    <a:lnTo>
                      <a:pt x="47216" y="14212"/>
                    </a:lnTo>
                    <a:lnTo>
                      <a:pt x="44650" y="10361"/>
                    </a:lnTo>
                    <a:lnTo>
                      <a:pt x="47020" y="10593"/>
                    </a:lnTo>
                    <a:lnTo>
                      <a:pt x="54670" y="4038"/>
                    </a:lnTo>
                    <a:lnTo>
                      <a:pt x="60648" y="5171"/>
                    </a:lnTo>
                    <a:lnTo>
                      <a:pt x="63689" y="9366"/>
                    </a:lnTo>
                    <a:lnTo>
                      <a:pt x="72471" y="7006"/>
                    </a:lnTo>
                    <a:lnTo>
                      <a:pt x="75897" y="2914"/>
                    </a:lnTo>
                    <a:lnTo>
                      <a:pt x="87795" y="8340"/>
                    </a:lnTo>
                    <a:lnTo>
                      <a:pt x="93815" y="7336"/>
                    </a:lnTo>
                    <a:lnTo>
                      <a:pt x="97413" y="6221"/>
                    </a:lnTo>
                    <a:lnTo>
                      <a:pt x="98911" y="1405"/>
                    </a:lnTo>
                    <a:lnTo>
                      <a:pt x="102424" y="0"/>
                    </a:lnTo>
                    <a:lnTo>
                      <a:pt x="105356" y="8689"/>
                    </a:lnTo>
                    <a:close/>
                  </a:path>
                </a:pathLst>
              </a:custGeom>
              <a:grpFill/>
              <a:ln w="3175" cap="rnd" cmpd="sng" algn="ctr">
                <a:solidFill>
                  <a:srgbClr val="7359A0"/>
                </a:solidFill>
                <a:prstDash val="solid"/>
                <a:miter lim="800000"/>
              </a:ln>
              <a:effectLst/>
            </p:spPr>
            <p:txBody>
              <a:bodyPr rot="0" spcFirstLastPara="0" vert="horz" wrap="square" lIns="72000" tIns="72000" rIns="72000" bIns="7200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1" name="ee4p_BL_1_41893">
                <a:extLst>
                  <a:ext uri="{FF2B5EF4-FFF2-40B4-BE49-F238E27FC236}">
                    <a16:creationId xmlns:a16="http://schemas.microsoft.com/office/drawing/2014/main" id="{33678C1C-6D9B-62DB-D01B-7D57343F4945}"/>
                  </a:ext>
                </a:extLst>
              </p:cNvPr>
              <p:cNvSpPr>
                <a:spLocks noChangeAspect="1"/>
              </p:cNvSpPr>
              <p:nvPr/>
            </p:nvSpPr>
            <p:spPr>
              <a:xfrm rot="631238">
                <a:off x="4332561" y="3343563"/>
                <a:ext cx="55397" cy="38436"/>
              </a:xfrm>
              <a:custGeom>
                <a:avLst/>
                <a:gdLst/>
                <a:ahLst/>
                <a:cxnLst/>
                <a:rect l="0" t="0" r="0" b="0"/>
                <a:pathLst>
                  <a:path w="123104" h="94332">
                    <a:moveTo>
                      <a:pt x="85793" y="17989"/>
                    </a:moveTo>
                    <a:lnTo>
                      <a:pt x="90796" y="16580"/>
                    </a:lnTo>
                    <a:lnTo>
                      <a:pt x="94375" y="18318"/>
                    </a:lnTo>
                    <a:lnTo>
                      <a:pt x="98179" y="25675"/>
                    </a:lnTo>
                    <a:lnTo>
                      <a:pt x="104844" y="31874"/>
                    </a:lnTo>
                    <a:lnTo>
                      <a:pt x="107206" y="37159"/>
                    </a:lnTo>
                    <a:lnTo>
                      <a:pt x="106061" y="46582"/>
                    </a:lnTo>
                    <a:lnTo>
                      <a:pt x="103313" y="51578"/>
                    </a:lnTo>
                    <a:lnTo>
                      <a:pt x="105095" y="65992"/>
                    </a:lnTo>
                    <a:lnTo>
                      <a:pt x="111582" y="69414"/>
                    </a:lnTo>
                    <a:lnTo>
                      <a:pt x="114013" y="67803"/>
                    </a:lnTo>
                    <a:lnTo>
                      <a:pt x="118950" y="68083"/>
                    </a:lnTo>
                    <a:lnTo>
                      <a:pt x="123103" y="76730"/>
                    </a:lnTo>
                    <a:lnTo>
                      <a:pt x="122284" y="79249"/>
                    </a:lnTo>
                    <a:lnTo>
                      <a:pt x="119768" y="81174"/>
                    </a:lnTo>
                    <a:lnTo>
                      <a:pt x="106475" y="81537"/>
                    </a:lnTo>
                    <a:lnTo>
                      <a:pt x="106028" y="83754"/>
                    </a:lnTo>
                    <a:lnTo>
                      <a:pt x="108945" y="89275"/>
                    </a:lnTo>
                    <a:lnTo>
                      <a:pt x="91844" y="91184"/>
                    </a:lnTo>
                    <a:lnTo>
                      <a:pt x="77027" y="84784"/>
                    </a:lnTo>
                    <a:lnTo>
                      <a:pt x="68157" y="86332"/>
                    </a:lnTo>
                    <a:lnTo>
                      <a:pt x="63390" y="93911"/>
                    </a:lnTo>
                    <a:lnTo>
                      <a:pt x="57180" y="92910"/>
                    </a:lnTo>
                    <a:lnTo>
                      <a:pt x="55994" y="90531"/>
                    </a:lnTo>
                    <a:lnTo>
                      <a:pt x="51405" y="88645"/>
                    </a:lnTo>
                    <a:lnTo>
                      <a:pt x="49275" y="91424"/>
                    </a:lnTo>
                    <a:lnTo>
                      <a:pt x="43421" y="89267"/>
                    </a:lnTo>
                    <a:lnTo>
                      <a:pt x="37749" y="90317"/>
                    </a:lnTo>
                    <a:lnTo>
                      <a:pt x="32718" y="87340"/>
                    </a:lnTo>
                    <a:lnTo>
                      <a:pt x="24590" y="94331"/>
                    </a:lnTo>
                    <a:lnTo>
                      <a:pt x="7542" y="91721"/>
                    </a:lnTo>
                    <a:lnTo>
                      <a:pt x="7540" y="91780"/>
                    </a:lnTo>
                    <a:lnTo>
                      <a:pt x="5376" y="92120"/>
                    </a:lnTo>
                    <a:lnTo>
                      <a:pt x="4428" y="91120"/>
                    </a:lnTo>
                    <a:lnTo>
                      <a:pt x="4211" y="90884"/>
                    </a:lnTo>
                    <a:lnTo>
                      <a:pt x="4237" y="87010"/>
                    </a:lnTo>
                    <a:lnTo>
                      <a:pt x="4477" y="84788"/>
                    </a:lnTo>
                    <a:lnTo>
                      <a:pt x="5879" y="80716"/>
                    </a:lnTo>
                    <a:lnTo>
                      <a:pt x="5877" y="80638"/>
                    </a:lnTo>
                    <a:lnTo>
                      <a:pt x="5999" y="80574"/>
                    </a:lnTo>
                    <a:lnTo>
                      <a:pt x="7276" y="74137"/>
                    </a:lnTo>
                    <a:lnTo>
                      <a:pt x="5245" y="64598"/>
                    </a:lnTo>
                    <a:lnTo>
                      <a:pt x="5656" y="57915"/>
                    </a:lnTo>
                    <a:lnTo>
                      <a:pt x="3865" y="49871"/>
                    </a:lnTo>
                    <a:lnTo>
                      <a:pt x="0" y="43433"/>
                    </a:lnTo>
                    <a:lnTo>
                      <a:pt x="891" y="39975"/>
                    </a:lnTo>
                    <a:lnTo>
                      <a:pt x="11214" y="39774"/>
                    </a:lnTo>
                    <a:lnTo>
                      <a:pt x="16887" y="42687"/>
                    </a:lnTo>
                    <a:lnTo>
                      <a:pt x="16236" y="35109"/>
                    </a:lnTo>
                    <a:lnTo>
                      <a:pt x="19784" y="32079"/>
                    </a:lnTo>
                    <a:lnTo>
                      <a:pt x="15349" y="28695"/>
                    </a:lnTo>
                    <a:lnTo>
                      <a:pt x="13332" y="24684"/>
                    </a:lnTo>
                    <a:lnTo>
                      <a:pt x="13808" y="23529"/>
                    </a:lnTo>
                    <a:lnTo>
                      <a:pt x="22584" y="22196"/>
                    </a:lnTo>
                    <a:lnTo>
                      <a:pt x="26850" y="17931"/>
                    </a:lnTo>
                    <a:lnTo>
                      <a:pt x="31730" y="20687"/>
                    </a:lnTo>
                    <a:lnTo>
                      <a:pt x="34251" y="17492"/>
                    </a:lnTo>
                    <a:lnTo>
                      <a:pt x="36638" y="16960"/>
                    </a:lnTo>
                    <a:lnTo>
                      <a:pt x="39733" y="20389"/>
                    </a:lnTo>
                    <a:lnTo>
                      <a:pt x="41208" y="18751"/>
                    </a:lnTo>
                    <a:lnTo>
                      <a:pt x="40547" y="12547"/>
                    </a:lnTo>
                    <a:lnTo>
                      <a:pt x="42060" y="8469"/>
                    </a:lnTo>
                    <a:lnTo>
                      <a:pt x="50428" y="9347"/>
                    </a:lnTo>
                    <a:lnTo>
                      <a:pt x="54060" y="6847"/>
                    </a:lnTo>
                    <a:lnTo>
                      <a:pt x="60429" y="6136"/>
                    </a:lnTo>
                    <a:lnTo>
                      <a:pt x="67325" y="1117"/>
                    </a:lnTo>
                    <a:lnTo>
                      <a:pt x="70812" y="2303"/>
                    </a:lnTo>
                    <a:lnTo>
                      <a:pt x="71572" y="0"/>
                    </a:lnTo>
                    <a:lnTo>
                      <a:pt x="76643" y="2651"/>
                    </a:lnTo>
                    <a:lnTo>
                      <a:pt x="78289" y="10245"/>
                    </a:lnTo>
                    <a:lnTo>
                      <a:pt x="82383" y="16462"/>
                    </a:lnTo>
                    <a:close/>
                  </a:path>
                </a:pathLst>
              </a:custGeom>
              <a:grpFill/>
              <a:ln w="3175" cap="rnd" cmpd="sng" algn="ctr">
                <a:solidFill>
                  <a:srgbClr val="7359A0"/>
                </a:solidFill>
                <a:prstDash val="solid"/>
                <a:miter lim="800000"/>
              </a:ln>
              <a:effectLst/>
            </p:spPr>
            <p:txBody>
              <a:bodyPr rot="0" spcFirstLastPara="0" vert="horz" wrap="square" lIns="72000" tIns="72000" rIns="72000" bIns="7200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2" name="ee4p_LR_1_41893">
                <a:extLst>
                  <a:ext uri="{FF2B5EF4-FFF2-40B4-BE49-F238E27FC236}">
                    <a16:creationId xmlns:a16="http://schemas.microsoft.com/office/drawing/2014/main" id="{F91AA6B6-884D-678E-AA45-99CE6773C340}"/>
                  </a:ext>
                </a:extLst>
              </p:cNvPr>
              <p:cNvSpPr>
                <a:spLocks noChangeAspect="1"/>
              </p:cNvSpPr>
              <p:nvPr/>
            </p:nvSpPr>
            <p:spPr>
              <a:xfrm rot="631238">
                <a:off x="4372653" y="3346015"/>
                <a:ext cx="39549" cy="47846"/>
              </a:xfrm>
              <a:custGeom>
                <a:avLst/>
                <a:gdLst/>
                <a:ahLst/>
                <a:cxnLst/>
                <a:rect l="0" t="0" r="0" b="0"/>
                <a:pathLst>
                  <a:path w="87888" h="117426">
                    <a:moveTo>
                      <a:pt x="87112" y="111109"/>
                    </a:moveTo>
                    <a:lnTo>
                      <a:pt x="87105" y="111110"/>
                    </a:lnTo>
                    <a:lnTo>
                      <a:pt x="75985" y="113274"/>
                    </a:lnTo>
                    <a:lnTo>
                      <a:pt x="73083" y="117425"/>
                    </a:lnTo>
                    <a:lnTo>
                      <a:pt x="70091" y="109897"/>
                    </a:lnTo>
                    <a:lnTo>
                      <a:pt x="65373" y="108039"/>
                    </a:lnTo>
                    <a:lnTo>
                      <a:pt x="63117" y="109552"/>
                    </a:lnTo>
                    <a:lnTo>
                      <a:pt x="58209" y="108110"/>
                    </a:lnTo>
                    <a:lnTo>
                      <a:pt x="43679" y="110055"/>
                    </a:lnTo>
                    <a:lnTo>
                      <a:pt x="40606" y="106865"/>
                    </a:lnTo>
                    <a:lnTo>
                      <a:pt x="35694" y="109120"/>
                    </a:lnTo>
                    <a:lnTo>
                      <a:pt x="30724" y="107262"/>
                    </a:lnTo>
                    <a:lnTo>
                      <a:pt x="28148" y="109175"/>
                    </a:lnTo>
                    <a:lnTo>
                      <a:pt x="24903" y="107358"/>
                    </a:lnTo>
                    <a:lnTo>
                      <a:pt x="21453" y="107874"/>
                    </a:lnTo>
                    <a:lnTo>
                      <a:pt x="17740" y="102421"/>
                    </a:lnTo>
                    <a:lnTo>
                      <a:pt x="18149" y="97969"/>
                    </a:lnTo>
                    <a:lnTo>
                      <a:pt x="15232" y="92448"/>
                    </a:lnTo>
                    <a:lnTo>
                      <a:pt x="15679" y="90231"/>
                    </a:lnTo>
                    <a:lnTo>
                      <a:pt x="28972" y="89868"/>
                    </a:lnTo>
                    <a:lnTo>
                      <a:pt x="31488" y="87943"/>
                    </a:lnTo>
                    <a:lnTo>
                      <a:pt x="32307" y="85424"/>
                    </a:lnTo>
                    <a:lnTo>
                      <a:pt x="28154" y="76777"/>
                    </a:lnTo>
                    <a:lnTo>
                      <a:pt x="23217" y="76497"/>
                    </a:lnTo>
                    <a:lnTo>
                      <a:pt x="20786" y="78108"/>
                    </a:lnTo>
                    <a:lnTo>
                      <a:pt x="14299" y="74686"/>
                    </a:lnTo>
                    <a:lnTo>
                      <a:pt x="12517" y="60272"/>
                    </a:lnTo>
                    <a:lnTo>
                      <a:pt x="15265" y="55276"/>
                    </a:lnTo>
                    <a:lnTo>
                      <a:pt x="16410" y="45853"/>
                    </a:lnTo>
                    <a:lnTo>
                      <a:pt x="14048" y="40568"/>
                    </a:lnTo>
                    <a:lnTo>
                      <a:pt x="7383" y="34369"/>
                    </a:lnTo>
                    <a:lnTo>
                      <a:pt x="3579" y="27012"/>
                    </a:lnTo>
                    <a:lnTo>
                      <a:pt x="0" y="25274"/>
                    </a:lnTo>
                    <a:lnTo>
                      <a:pt x="14491" y="12325"/>
                    </a:lnTo>
                    <a:lnTo>
                      <a:pt x="16454" y="8575"/>
                    </a:lnTo>
                    <a:lnTo>
                      <a:pt x="20437" y="7882"/>
                    </a:lnTo>
                    <a:lnTo>
                      <a:pt x="27039" y="458"/>
                    </a:lnTo>
                    <a:lnTo>
                      <a:pt x="27439" y="17"/>
                    </a:lnTo>
                    <a:lnTo>
                      <a:pt x="27455" y="0"/>
                    </a:lnTo>
                    <a:lnTo>
                      <a:pt x="28566" y="1037"/>
                    </a:lnTo>
                    <a:lnTo>
                      <a:pt x="30075" y="4609"/>
                    </a:lnTo>
                    <a:lnTo>
                      <a:pt x="29397" y="11477"/>
                    </a:lnTo>
                    <a:lnTo>
                      <a:pt x="24923" y="25520"/>
                    </a:lnTo>
                    <a:lnTo>
                      <a:pt x="25272" y="28178"/>
                    </a:lnTo>
                    <a:lnTo>
                      <a:pt x="31608" y="29483"/>
                    </a:lnTo>
                    <a:lnTo>
                      <a:pt x="37373" y="32771"/>
                    </a:lnTo>
                    <a:lnTo>
                      <a:pt x="42397" y="37898"/>
                    </a:lnTo>
                    <a:lnTo>
                      <a:pt x="46610" y="44598"/>
                    </a:lnTo>
                    <a:lnTo>
                      <a:pt x="47474" y="47226"/>
                    </a:lnTo>
                    <a:lnTo>
                      <a:pt x="48740" y="53432"/>
                    </a:lnTo>
                    <a:lnTo>
                      <a:pt x="49952" y="56354"/>
                    </a:lnTo>
                    <a:lnTo>
                      <a:pt x="51314" y="58097"/>
                    </a:lnTo>
                    <a:lnTo>
                      <a:pt x="54668" y="61200"/>
                    </a:lnTo>
                    <a:lnTo>
                      <a:pt x="56325" y="63218"/>
                    </a:lnTo>
                    <a:lnTo>
                      <a:pt x="58241" y="66288"/>
                    </a:lnTo>
                    <a:lnTo>
                      <a:pt x="60093" y="70209"/>
                    </a:lnTo>
                    <a:lnTo>
                      <a:pt x="61471" y="74956"/>
                    </a:lnTo>
                    <a:lnTo>
                      <a:pt x="61891" y="80493"/>
                    </a:lnTo>
                    <a:lnTo>
                      <a:pt x="63877" y="91109"/>
                    </a:lnTo>
                    <a:lnTo>
                      <a:pt x="69318" y="94826"/>
                    </a:lnTo>
                    <a:lnTo>
                      <a:pt x="75759" y="97685"/>
                    </a:lnTo>
                    <a:lnTo>
                      <a:pt x="80728" y="105814"/>
                    </a:lnTo>
                    <a:lnTo>
                      <a:pt x="82090" y="105859"/>
                    </a:lnTo>
                    <a:lnTo>
                      <a:pt x="78373" y="97522"/>
                    </a:lnTo>
                    <a:lnTo>
                      <a:pt x="64830" y="82040"/>
                    </a:lnTo>
                    <a:lnTo>
                      <a:pt x="68540" y="75600"/>
                    </a:lnTo>
                    <a:lnTo>
                      <a:pt x="75097" y="77670"/>
                    </a:lnTo>
                    <a:lnTo>
                      <a:pt x="81714" y="83957"/>
                    </a:lnTo>
                    <a:lnTo>
                      <a:pt x="85609" y="90324"/>
                    </a:lnTo>
                    <a:lnTo>
                      <a:pt x="87887" y="102470"/>
                    </a:lnTo>
                    <a:close/>
                  </a:path>
                </a:pathLst>
              </a:custGeom>
              <a:grpFill/>
              <a:ln w="3175" cap="rnd" cmpd="sng" algn="ctr">
                <a:solidFill>
                  <a:srgbClr val="7359A0"/>
                </a:solidFill>
                <a:prstDash val="solid"/>
                <a:miter lim="800000"/>
              </a:ln>
              <a:effectLst/>
            </p:spPr>
            <p:txBody>
              <a:bodyPr rot="0" spcFirstLastPara="0" vert="horz" wrap="square" lIns="72000" tIns="72000" rIns="72000" bIns="7200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3" name="ee4p_CF_1_41893">
                <a:extLst>
                  <a:ext uri="{FF2B5EF4-FFF2-40B4-BE49-F238E27FC236}">
                    <a16:creationId xmlns:a16="http://schemas.microsoft.com/office/drawing/2014/main" id="{182A54F6-15FA-9CD0-1807-32D31B0CE4B3}"/>
                  </a:ext>
                </a:extLst>
              </p:cNvPr>
              <p:cNvSpPr>
                <a:spLocks noChangeAspect="1"/>
              </p:cNvSpPr>
              <p:nvPr/>
            </p:nvSpPr>
            <p:spPr>
              <a:xfrm rot="631238">
                <a:off x="4385179" y="3391157"/>
                <a:ext cx="21545" cy="14405"/>
              </a:xfrm>
              <a:custGeom>
                <a:avLst/>
                <a:gdLst/>
                <a:ahLst/>
                <a:cxnLst/>
                <a:rect l="0" t="0" r="0" b="0"/>
                <a:pathLst>
                  <a:path w="47878" h="35354">
                    <a:moveTo>
                      <a:pt x="33848" y="9386"/>
                    </a:moveTo>
                    <a:lnTo>
                      <a:pt x="36750" y="5235"/>
                    </a:lnTo>
                    <a:lnTo>
                      <a:pt x="47870" y="3071"/>
                    </a:lnTo>
                    <a:lnTo>
                      <a:pt x="47877" y="3070"/>
                    </a:lnTo>
                    <a:lnTo>
                      <a:pt x="47697" y="5072"/>
                    </a:lnTo>
                    <a:lnTo>
                      <a:pt x="44274" y="13455"/>
                    </a:lnTo>
                    <a:lnTo>
                      <a:pt x="39150" y="18827"/>
                    </a:lnTo>
                    <a:lnTo>
                      <a:pt x="32518" y="21889"/>
                    </a:lnTo>
                    <a:lnTo>
                      <a:pt x="19253" y="25377"/>
                    </a:lnTo>
                    <a:lnTo>
                      <a:pt x="13200" y="28374"/>
                    </a:lnTo>
                    <a:lnTo>
                      <a:pt x="7251" y="33488"/>
                    </a:lnTo>
                    <a:lnTo>
                      <a:pt x="5766" y="35353"/>
                    </a:lnTo>
                    <a:lnTo>
                      <a:pt x="5611" y="35117"/>
                    </a:lnTo>
                    <a:lnTo>
                      <a:pt x="4451" y="33346"/>
                    </a:lnTo>
                    <a:lnTo>
                      <a:pt x="5038" y="30611"/>
                    </a:lnTo>
                    <a:lnTo>
                      <a:pt x="3123" y="25643"/>
                    </a:lnTo>
                    <a:lnTo>
                      <a:pt x="0" y="23733"/>
                    </a:lnTo>
                    <a:lnTo>
                      <a:pt x="3414" y="12176"/>
                    </a:lnTo>
                    <a:lnTo>
                      <a:pt x="1356" y="9752"/>
                    </a:lnTo>
                    <a:lnTo>
                      <a:pt x="944" y="5608"/>
                    </a:lnTo>
                    <a:lnTo>
                      <a:pt x="4444" y="2016"/>
                    </a:lnTo>
                    <a:lnTo>
                      <a:pt x="18974" y="71"/>
                    </a:lnTo>
                    <a:lnTo>
                      <a:pt x="23882" y="1513"/>
                    </a:lnTo>
                    <a:lnTo>
                      <a:pt x="26138" y="0"/>
                    </a:lnTo>
                    <a:lnTo>
                      <a:pt x="30856" y="1858"/>
                    </a:lnTo>
                    <a:close/>
                  </a:path>
                </a:pathLst>
              </a:custGeom>
              <a:grpFill/>
              <a:ln w="3175" cap="rnd" cmpd="sng" algn="ctr">
                <a:solidFill>
                  <a:srgbClr val="7359A0"/>
                </a:solidFill>
                <a:prstDash val="solid"/>
                <a:miter lim="800000"/>
              </a:ln>
              <a:effectLst/>
            </p:spPr>
            <p:txBody>
              <a:bodyPr rot="0" spcFirstLastPara="0" vert="horz" wrap="square" lIns="72000" tIns="72000" rIns="72000" bIns="7200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4" name="ee4p_NW_1_41893">
                <a:extLst>
                  <a:ext uri="{FF2B5EF4-FFF2-40B4-BE49-F238E27FC236}">
                    <a16:creationId xmlns:a16="http://schemas.microsoft.com/office/drawing/2014/main" id="{FB15D1FC-BA0A-FAD2-B5FC-05F4DA55DA6C}"/>
                  </a:ext>
                </a:extLst>
              </p:cNvPr>
              <p:cNvSpPr>
                <a:spLocks noChangeAspect="1"/>
              </p:cNvSpPr>
              <p:nvPr/>
            </p:nvSpPr>
            <p:spPr>
              <a:xfrm rot="631238">
                <a:off x="4368180" y="3383744"/>
                <a:ext cx="19779" cy="23912"/>
              </a:xfrm>
              <a:custGeom>
                <a:avLst/>
                <a:gdLst/>
                <a:ahLst/>
                <a:cxnLst/>
                <a:rect l="0" t="0" r="0" b="0"/>
                <a:pathLst>
                  <a:path w="43954" h="58686">
                    <a:moveTo>
                      <a:pt x="20405" y="9905"/>
                    </a:moveTo>
                    <a:lnTo>
                      <a:pt x="23855" y="9389"/>
                    </a:lnTo>
                    <a:lnTo>
                      <a:pt x="27100" y="11206"/>
                    </a:lnTo>
                    <a:lnTo>
                      <a:pt x="29676" y="9293"/>
                    </a:lnTo>
                    <a:lnTo>
                      <a:pt x="34646" y="11151"/>
                    </a:lnTo>
                    <a:lnTo>
                      <a:pt x="39558" y="8896"/>
                    </a:lnTo>
                    <a:lnTo>
                      <a:pt x="42631" y="12086"/>
                    </a:lnTo>
                    <a:lnTo>
                      <a:pt x="39131" y="15678"/>
                    </a:lnTo>
                    <a:lnTo>
                      <a:pt x="39543" y="19822"/>
                    </a:lnTo>
                    <a:lnTo>
                      <a:pt x="41601" y="22246"/>
                    </a:lnTo>
                    <a:lnTo>
                      <a:pt x="38187" y="33803"/>
                    </a:lnTo>
                    <a:lnTo>
                      <a:pt x="41310" y="35713"/>
                    </a:lnTo>
                    <a:lnTo>
                      <a:pt x="43225" y="40681"/>
                    </a:lnTo>
                    <a:lnTo>
                      <a:pt x="42638" y="43416"/>
                    </a:lnTo>
                    <a:lnTo>
                      <a:pt x="43798" y="45187"/>
                    </a:lnTo>
                    <a:lnTo>
                      <a:pt x="43953" y="45423"/>
                    </a:lnTo>
                    <a:lnTo>
                      <a:pt x="40988" y="49143"/>
                    </a:lnTo>
                    <a:lnTo>
                      <a:pt x="35433" y="58685"/>
                    </a:lnTo>
                    <a:lnTo>
                      <a:pt x="29807" y="53582"/>
                    </a:lnTo>
                    <a:lnTo>
                      <a:pt x="24226" y="58261"/>
                    </a:lnTo>
                    <a:lnTo>
                      <a:pt x="20284" y="51952"/>
                    </a:lnTo>
                    <a:lnTo>
                      <a:pt x="11756" y="51855"/>
                    </a:lnTo>
                    <a:lnTo>
                      <a:pt x="6883" y="50607"/>
                    </a:lnTo>
                    <a:lnTo>
                      <a:pt x="5494" y="48340"/>
                    </a:lnTo>
                    <a:lnTo>
                      <a:pt x="5777" y="39103"/>
                    </a:lnTo>
                    <a:lnTo>
                      <a:pt x="8181" y="35577"/>
                    </a:lnTo>
                    <a:lnTo>
                      <a:pt x="8686" y="31999"/>
                    </a:lnTo>
                    <a:lnTo>
                      <a:pt x="5166" y="27391"/>
                    </a:lnTo>
                    <a:lnTo>
                      <a:pt x="3896" y="18854"/>
                    </a:lnTo>
                    <a:lnTo>
                      <a:pt x="7356" y="16436"/>
                    </a:lnTo>
                    <a:lnTo>
                      <a:pt x="8259" y="8920"/>
                    </a:lnTo>
                    <a:lnTo>
                      <a:pt x="0" y="1909"/>
                    </a:lnTo>
                    <a:lnTo>
                      <a:pt x="17101" y="0"/>
                    </a:lnTo>
                    <a:lnTo>
                      <a:pt x="16692" y="4452"/>
                    </a:lnTo>
                    <a:close/>
                  </a:path>
                </a:pathLst>
              </a:custGeom>
              <a:grpFill/>
              <a:ln w="3175" cap="rnd" cmpd="sng" algn="ctr">
                <a:solidFill>
                  <a:srgbClr val="7359A0"/>
                </a:solidFill>
                <a:prstDash val="solid"/>
                <a:miter lim="800000"/>
              </a:ln>
              <a:effectLst/>
            </p:spPr>
            <p:txBody>
              <a:bodyPr rot="0" spcFirstLastPara="0" vert="horz" wrap="square" lIns="72000" tIns="72000" rIns="72000" bIns="7200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5" name="ee4p_ND_1_41893">
                <a:extLst>
                  <a:ext uri="{FF2B5EF4-FFF2-40B4-BE49-F238E27FC236}">
                    <a16:creationId xmlns:a16="http://schemas.microsoft.com/office/drawing/2014/main" id="{4C82446D-65A0-F984-3E29-1173F4B05819}"/>
                  </a:ext>
                </a:extLst>
              </p:cNvPr>
              <p:cNvSpPr>
                <a:spLocks noChangeAspect="1"/>
              </p:cNvSpPr>
              <p:nvPr/>
            </p:nvSpPr>
            <p:spPr>
              <a:xfrm rot="631238">
                <a:off x="4385666" y="3407415"/>
                <a:ext cx="30656" cy="10092"/>
              </a:xfrm>
              <a:custGeom>
                <a:avLst/>
                <a:gdLst/>
                <a:ahLst/>
                <a:cxnLst/>
                <a:rect l="0" t="0" r="0" b="0"/>
                <a:pathLst>
                  <a:path w="68125" h="24769">
                    <a:moveTo>
                      <a:pt x="68124" y="4386"/>
                    </a:moveTo>
                    <a:lnTo>
                      <a:pt x="68114" y="4395"/>
                    </a:lnTo>
                    <a:lnTo>
                      <a:pt x="66537" y="5710"/>
                    </a:lnTo>
                    <a:lnTo>
                      <a:pt x="64972" y="6463"/>
                    </a:lnTo>
                    <a:lnTo>
                      <a:pt x="65190" y="11457"/>
                    </a:lnTo>
                    <a:lnTo>
                      <a:pt x="59023" y="14250"/>
                    </a:lnTo>
                    <a:lnTo>
                      <a:pt x="56320" y="20112"/>
                    </a:lnTo>
                    <a:lnTo>
                      <a:pt x="48688" y="24219"/>
                    </a:lnTo>
                    <a:lnTo>
                      <a:pt x="37874" y="23979"/>
                    </a:lnTo>
                    <a:lnTo>
                      <a:pt x="31376" y="19845"/>
                    </a:lnTo>
                    <a:lnTo>
                      <a:pt x="25001" y="24613"/>
                    </a:lnTo>
                    <a:lnTo>
                      <a:pt x="17374" y="22983"/>
                    </a:lnTo>
                    <a:lnTo>
                      <a:pt x="13745" y="24768"/>
                    </a:lnTo>
                    <a:lnTo>
                      <a:pt x="178" y="21098"/>
                    </a:lnTo>
                    <a:lnTo>
                      <a:pt x="165" y="21137"/>
                    </a:lnTo>
                    <a:lnTo>
                      <a:pt x="7" y="21082"/>
                    </a:lnTo>
                    <a:lnTo>
                      <a:pt x="0" y="21079"/>
                    </a:lnTo>
                    <a:lnTo>
                      <a:pt x="5063" y="13448"/>
                    </a:lnTo>
                    <a:lnTo>
                      <a:pt x="7307" y="11036"/>
                    </a:lnTo>
                    <a:lnTo>
                      <a:pt x="15211" y="7526"/>
                    </a:lnTo>
                    <a:lnTo>
                      <a:pt x="22980" y="2047"/>
                    </a:lnTo>
                    <a:lnTo>
                      <a:pt x="27815" y="0"/>
                    </a:lnTo>
                    <a:lnTo>
                      <a:pt x="31203" y="1419"/>
                    </a:lnTo>
                    <a:lnTo>
                      <a:pt x="34601" y="4252"/>
                    </a:lnTo>
                    <a:lnTo>
                      <a:pt x="39430" y="4862"/>
                    </a:lnTo>
                    <a:lnTo>
                      <a:pt x="66065" y="1347"/>
                    </a:lnTo>
                    <a:lnTo>
                      <a:pt x="67286" y="2581"/>
                    </a:lnTo>
                    <a:close/>
                  </a:path>
                </a:pathLst>
              </a:custGeom>
              <a:grpFill/>
              <a:ln w="3175" cap="rnd" cmpd="sng" algn="ctr">
                <a:solidFill>
                  <a:srgbClr val="7359A0"/>
                </a:solidFill>
                <a:prstDash val="solid"/>
                <a:miter lim="800000"/>
              </a:ln>
              <a:effectLst/>
            </p:spPr>
            <p:txBody>
              <a:bodyPr rot="0" spcFirstLastPara="0" vert="horz" wrap="square" lIns="72000" tIns="72000" rIns="72000" bIns="7200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6" name="ee4p_DW_1_41893">
                <a:extLst>
                  <a:ext uri="{FF2B5EF4-FFF2-40B4-BE49-F238E27FC236}">
                    <a16:creationId xmlns:a16="http://schemas.microsoft.com/office/drawing/2014/main" id="{83C21C10-00A8-8CB9-0750-58F035B3A839}"/>
                  </a:ext>
                </a:extLst>
              </p:cNvPr>
              <p:cNvSpPr>
                <a:spLocks noChangeAspect="1"/>
              </p:cNvSpPr>
              <p:nvPr/>
            </p:nvSpPr>
            <p:spPr>
              <a:xfrm rot="631238">
                <a:off x="4353738" y="3433647"/>
                <a:ext cx="54490" cy="49475"/>
              </a:xfrm>
              <a:custGeom>
                <a:avLst/>
                <a:gdLst/>
                <a:ahLst/>
                <a:cxnLst/>
                <a:rect l="0" t="0" r="0" b="0"/>
                <a:pathLst>
                  <a:path w="121090" h="121423">
                    <a:moveTo>
                      <a:pt x="83556" y="17863"/>
                    </a:moveTo>
                    <a:lnTo>
                      <a:pt x="99229" y="13883"/>
                    </a:lnTo>
                    <a:lnTo>
                      <a:pt x="99244" y="13962"/>
                    </a:lnTo>
                    <a:lnTo>
                      <a:pt x="100816" y="11829"/>
                    </a:lnTo>
                    <a:lnTo>
                      <a:pt x="100818" y="11826"/>
                    </a:lnTo>
                    <a:lnTo>
                      <a:pt x="100941" y="12151"/>
                    </a:lnTo>
                    <a:lnTo>
                      <a:pt x="103773" y="13220"/>
                    </a:lnTo>
                    <a:lnTo>
                      <a:pt x="103478" y="14860"/>
                    </a:lnTo>
                    <a:lnTo>
                      <a:pt x="103154" y="15954"/>
                    </a:lnTo>
                    <a:lnTo>
                      <a:pt x="101938" y="18389"/>
                    </a:lnTo>
                    <a:lnTo>
                      <a:pt x="103535" y="20819"/>
                    </a:lnTo>
                    <a:lnTo>
                      <a:pt x="96696" y="40532"/>
                    </a:lnTo>
                    <a:lnTo>
                      <a:pt x="94826" y="44066"/>
                    </a:lnTo>
                    <a:lnTo>
                      <a:pt x="86503" y="50411"/>
                    </a:lnTo>
                    <a:lnTo>
                      <a:pt x="83937" y="54356"/>
                    </a:lnTo>
                    <a:lnTo>
                      <a:pt x="93066" y="51244"/>
                    </a:lnTo>
                    <a:lnTo>
                      <a:pt x="103534" y="45462"/>
                    </a:lnTo>
                    <a:lnTo>
                      <a:pt x="113057" y="43067"/>
                    </a:lnTo>
                    <a:lnTo>
                      <a:pt x="119335" y="50243"/>
                    </a:lnTo>
                    <a:lnTo>
                      <a:pt x="121089" y="64856"/>
                    </a:lnTo>
                    <a:lnTo>
                      <a:pt x="118001" y="75777"/>
                    </a:lnTo>
                    <a:lnTo>
                      <a:pt x="111839" y="84315"/>
                    </a:lnTo>
                    <a:lnTo>
                      <a:pt x="104214" y="91779"/>
                    </a:lnTo>
                    <a:lnTo>
                      <a:pt x="103188" y="92043"/>
                    </a:lnTo>
                    <a:lnTo>
                      <a:pt x="100676" y="91295"/>
                    </a:lnTo>
                    <a:lnTo>
                      <a:pt x="99639" y="91636"/>
                    </a:lnTo>
                    <a:lnTo>
                      <a:pt x="97867" y="99421"/>
                    </a:lnTo>
                    <a:lnTo>
                      <a:pt x="96297" y="100477"/>
                    </a:lnTo>
                    <a:lnTo>
                      <a:pt x="94278" y="101360"/>
                    </a:lnTo>
                    <a:lnTo>
                      <a:pt x="92585" y="100856"/>
                    </a:lnTo>
                    <a:lnTo>
                      <a:pt x="91955" y="97786"/>
                    </a:lnTo>
                    <a:lnTo>
                      <a:pt x="89329" y="94901"/>
                    </a:lnTo>
                    <a:lnTo>
                      <a:pt x="76409" y="93360"/>
                    </a:lnTo>
                    <a:lnTo>
                      <a:pt x="66880" y="94023"/>
                    </a:lnTo>
                    <a:lnTo>
                      <a:pt x="57116" y="97255"/>
                    </a:lnTo>
                    <a:lnTo>
                      <a:pt x="52711" y="97928"/>
                    </a:lnTo>
                    <a:lnTo>
                      <a:pt x="48238" y="99500"/>
                    </a:lnTo>
                    <a:lnTo>
                      <a:pt x="46743" y="104054"/>
                    </a:lnTo>
                    <a:lnTo>
                      <a:pt x="46734" y="117185"/>
                    </a:lnTo>
                    <a:lnTo>
                      <a:pt x="46734" y="117190"/>
                    </a:lnTo>
                    <a:lnTo>
                      <a:pt x="44783" y="117043"/>
                    </a:lnTo>
                    <a:lnTo>
                      <a:pt x="41203" y="116583"/>
                    </a:lnTo>
                    <a:lnTo>
                      <a:pt x="33484" y="118749"/>
                    </a:lnTo>
                    <a:lnTo>
                      <a:pt x="24494" y="112804"/>
                    </a:lnTo>
                    <a:lnTo>
                      <a:pt x="20731" y="115532"/>
                    </a:lnTo>
                    <a:lnTo>
                      <a:pt x="15943" y="115564"/>
                    </a:lnTo>
                    <a:lnTo>
                      <a:pt x="10575" y="121422"/>
                    </a:lnTo>
                    <a:lnTo>
                      <a:pt x="9411" y="120845"/>
                    </a:lnTo>
                    <a:lnTo>
                      <a:pt x="4689" y="108990"/>
                    </a:lnTo>
                    <a:lnTo>
                      <a:pt x="3433" y="97797"/>
                    </a:lnTo>
                    <a:lnTo>
                      <a:pt x="0" y="96482"/>
                    </a:lnTo>
                    <a:lnTo>
                      <a:pt x="7557" y="91885"/>
                    </a:lnTo>
                    <a:lnTo>
                      <a:pt x="8213" y="86179"/>
                    </a:lnTo>
                    <a:lnTo>
                      <a:pt x="9468" y="85475"/>
                    </a:lnTo>
                    <a:lnTo>
                      <a:pt x="20121" y="92884"/>
                    </a:lnTo>
                    <a:lnTo>
                      <a:pt x="24960" y="91251"/>
                    </a:lnTo>
                    <a:lnTo>
                      <a:pt x="23650" y="86314"/>
                    </a:lnTo>
                    <a:lnTo>
                      <a:pt x="26152" y="82373"/>
                    </a:lnTo>
                    <a:lnTo>
                      <a:pt x="25863" y="78233"/>
                    </a:lnTo>
                    <a:lnTo>
                      <a:pt x="29685" y="77294"/>
                    </a:lnTo>
                    <a:lnTo>
                      <a:pt x="29971" y="75931"/>
                    </a:lnTo>
                    <a:lnTo>
                      <a:pt x="25991" y="64307"/>
                    </a:lnTo>
                    <a:lnTo>
                      <a:pt x="25539" y="56425"/>
                    </a:lnTo>
                    <a:lnTo>
                      <a:pt x="32753" y="48406"/>
                    </a:lnTo>
                    <a:lnTo>
                      <a:pt x="33183" y="47038"/>
                    </a:lnTo>
                    <a:lnTo>
                      <a:pt x="30566" y="41846"/>
                    </a:lnTo>
                    <a:lnTo>
                      <a:pt x="34684" y="37863"/>
                    </a:lnTo>
                    <a:lnTo>
                      <a:pt x="32659" y="30461"/>
                    </a:lnTo>
                    <a:lnTo>
                      <a:pt x="33748" y="27832"/>
                    </a:lnTo>
                    <a:lnTo>
                      <a:pt x="40265" y="21702"/>
                    </a:lnTo>
                    <a:lnTo>
                      <a:pt x="39253" y="15400"/>
                    </a:lnTo>
                    <a:lnTo>
                      <a:pt x="42650" y="13704"/>
                    </a:lnTo>
                    <a:lnTo>
                      <a:pt x="43756" y="10344"/>
                    </a:lnTo>
                    <a:lnTo>
                      <a:pt x="47549" y="9420"/>
                    </a:lnTo>
                    <a:lnTo>
                      <a:pt x="50182" y="4523"/>
                    </a:lnTo>
                    <a:lnTo>
                      <a:pt x="57678" y="0"/>
                    </a:lnTo>
                    <a:lnTo>
                      <a:pt x="61311" y="125"/>
                    </a:lnTo>
                    <a:lnTo>
                      <a:pt x="67155" y="10095"/>
                    </a:lnTo>
                    <a:lnTo>
                      <a:pt x="78801" y="12609"/>
                    </a:lnTo>
                    <a:lnTo>
                      <a:pt x="80106" y="16050"/>
                    </a:lnTo>
                    <a:close/>
                  </a:path>
                </a:pathLst>
              </a:custGeom>
              <a:grpFill/>
              <a:ln w="3175" cap="rnd" cmpd="sng" algn="ctr">
                <a:solidFill>
                  <a:srgbClr val="7359A0"/>
                </a:solidFill>
                <a:prstDash val="solid"/>
                <a:miter lim="800000"/>
              </a:ln>
              <a:effectLst/>
            </p:spPr>
            <p:txBody>
              <a:bodyPr rot="0" spcFirstLastPara="0" vert="horz" wrap="square" lIns="72000" tIns="72000" rIns="72000" bIns="7200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7" name="ee4p_CL_1_41893">
                <a:extLst>
                  <a:ext uri="{FF2B5EF4-FFF2-40B4-BE49-F238E27FC236}">
                    <a16:creationId xmlns:a16="http://schemas.microsoft.com/office/drawing/2014/main" id="{1151415E-C3EC-7083-F056-C2E9DCCF9414}"/>
                  </a:ext>
                </a:extLst>
              </p:cNvPr>
              <p:cNvSpPr>
                <a:spLocks noChangeAspect="1"/>
              </p:cNvSpPr>
              <p:nvPr/>
            </p:nvSpPr>
            <p:spPr>
              <a:xfrm rot="631238">
                <a:off x="4305351" y="3304121"/>
                <a:ext cx="34251" cy="47986"/>
              </a:xfrm>
              <a:custGeom>
                <a:avLst/>
                <a:gdLst/>
                <a:ahLst/>
                <a:cxnLst/>
                <a:rect l="0" t="0" r="0" b="0"/>
                <a:pathLst>
                  <a:path w="76113" h="117770">
                    <a:moveTo>
                      <a:pt x="76112" y="29352"/>
                    </a:moveTo>
                    <a:lnTo>
                      <a:pt x="75529" y="31551"/>
                    </a:lnTo>
                    <a:lnTo>
                      <a:pt x="69836" y="31297"/>
                    </a:lnTo>
                    <a:lnTo>
                      <a:pt x="63251" y="35677"/>
                    </a:lnTo>
                    <a:lnTo>
                      <a:pt x="61418" y="48247"/>
                    </a:lnTo>
                    <a:lnTo>
                      <a:pt x="59495" y="51757"/>
                    </a:lnTo>
                    <a:lnTo>
                      <a:pt x="53355" y="56046"/>
                    </a:lnTo>
                    <a:lnTo>
                      <a:pt x="57433" y="62301"/>
                    </a:lnTo>
                    <a:lnTo>
                      <a:pt x="59568" y="70147"/>
                    </a:lnTo>
                    <a:lnTo>
                      <a:pt x="59258" y="74502"/>
                    </a:lnTo>
                    <a:lnTo>
                      <a:pt x="57160" y="77808"/>
                    </a:lnTo>
                    <a:lnTo>
                      <a:pt x="58912" y="87444"/>
                    </a:lnTo>
                    <a:lnTo>
                      <a:pt x="65282" y="94957"/>
                    </a:lnTo>
                    <a:lnTo>
                      <a:pt x="64755" y="101417"/>
                    </a:lnTo>
                    <a:lnTo>
                      <a:pt x="65929" y="103704"/>
                    </a:lnTo>
                    <a:lnTo>
                      <a:pt x="71546" y="107176"/>
                    </a:lnTo>
                    <a:lnTo>
                      <a:pt x="68033" y="108581"/>
                    </a:lnTo>
                    <a:lnTo>
                      <a:pt x="66535" y="113397"/>
                    </a:lnTo>
                    <a:lnTo>
                      <a:pt x="62937" y="114512"/>
                    </a:lnTo>
                    <a:lnTo>
                      <a:pt x="56917" y="115516"/>
                    </a:lnTo>
                    <a:lnTo>
                      <a:pt x="45019" y="110090"/>
                    </a:lnTo>
                    <a:lnTo>
                      <a:pt x="41593" y="114182"/>
                    </a:lnTo>
                    <a:lnTo>
                      <a:pt x="32811" y="116542"/>
                    </a:lnTo>
                    <a:lnTo>
                      <a:pt x="29770" y="112347"/>
                    </a:lnTo>
                    <a:lnTo>
                      <a:pt x="23792" y="111214"/>
                    </a:lnTo>
                    <a:lnTo>
                      <a:pt x="16142" y="117769"/>
                    </a:lnTo>
                    <a:lnTo>
                      <a:pt x="13772" y="117537"/>
                    </a:lnTo>
                    <a:lnTo>
                      <a:pt x="11509" y="99890"/>
                    </a:lnTo>
                    <a:lnTo>
                      <a:pt x="8803" y="95192"/>
                    </a:lnTo>
                    <a:lnTo>
                      <a:pt x="10080" y="91537"/>
                    </a:lnTo>
                    <a:lnTo>
                      <a:pt x="15465" y="87120"/>
                    </a:lnTo>
                    <a:lnTo>
                      <a:pt x="10397" y="83683"/>
                    </a:lnTo>
                    <a:lnTo>
                      <a:pt x="9293" y="80031"/>
                    </a:lnTo>
                    <a:lnTo>
                      <a:pt x="9450" y="67908"/>
                    </a:lnTo>
                    <a:lnTo>
                      <a:pt x="11043" y="56409"/>
                    </a:lnTo>
                    <a:lnTo>
                      <a:pt x="8470" y="44271"/>
                    </a:lnTo>
                    <a:lnTo>
                      <a:pt x="0" y="34831"/>
                    </a:lnTo>
                    <a:lnTo>
                      <a:pt x="2897" y="30386"/>
                    </a:lnTo>
                    <a:lnTo>
                      <a:pt x="2836" y="26567"/>
                    </a:lnTo>
                    <a:lnTo>
                      <a:pt x="5245" y="23284"/>
                    </a:lnTo>
                    <a:lnTo>
                      <a:pt x="5699" y="19529"/>
                    </a:lnTo>
                    <a:lnTo>
                      <a:pt x="6136" y="16031"/>
                    </a:lnTo>
                    <a:lnTo>
                      <a:pt x="6138" y="16018"/>
                    </a:lnTo>
                    <a:lnTo>
                      <a:pt x="24466" y="15994"/>
                    </a:lnTo>
                    <a:lnTo>
                      <a:pt x="49859" y="5508"/>
                    </a:lnTo>
                    <a:lnTo>
                      <a:pt x="64974" y="5076"/>
                    </a:lnTo>
                    <a:lnTo>
                      <a:pt x="68750" y="2444"/>
                    </a:lnTo>
                    <a:lnTo>
                      <a:pt x="70692" y="0"/>
                    </a:lnTo>
                    <a:lnTo>
                      <a:pt x="70699" y="14"/>
                    </a:lnTo>
                    <a:lnTo>
                      <a:pt x="71627" y="1577"/>
                    </a:lnTo>
                    <a:lnTo>
                      <a:pt x="71581" y="1733"/>
                    </a:lnTo>
                    <a:lnTo>
                      <a:pt x="73658" y="5325"/>
                    </a:lnTo>
                    <a:lnTo>
                      <a:pt x="73133" y="10401"/>
                    </a:lnTo>
                    <a:lnTo>
                      <a:pt x="74843" y="14194"/>
                    </a:lnTo>
                    <a:lnTo>
                      <a:pt x="73906" y="23088"/>
                    </a:lnTo>
                    <a:close/>
                  </a:path>
                </a:pathLst>
              </a:custGeom>
              <a:grpFill/>
              <a:ln w="3175" cap="rnd" cmpd="sng" algn="ctr">
                <a:solidFill>
                  <a:srgbClr val="7359A0"/>
                </a:solidFill>
                <a:prstDash val="solid"/>
                <a:miter lim="800000"/>
              </a:ln>
              <a:effectLst/>
            </p:spPr>
            <p:txBody>
              <a:bodyPr rot="0" spcFirstLastPara="0" vert="horz" wrap="square" lIns="72000" tIns="72000" rIns="72000" bIns="7200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8" name="ee4p_BY_1_41893">
                <a:extLst>
                  <a:ext uri="{FF2B5EF4-FFF2-40B4-BE49-F238E27FC236}">
                    <a16:creationId xmlns:a16="http://schemas.microsoft.com/office/drawing/2014/main" id="{60A29A00-45F4-7DB2-A5AE-A002B38B14D6}"/>
                  </a:ext>
                </a:extLst>
              </p:cNvPr>
              <p:cNvSpPr>
                <a:spLocks noChangeAspect="1"/>
              </p:cNvSpPr>
              <p:nvPr/>
            </p:nvSpPr>
            <p:spPr>
              <a:xfrm rot="631238">
                <a:off x="4327682" y="3320978"/>
                <a:ext cx="41103" cy="37395"/>
              </a:xfrm>
              <a:custGeom>
                <a:avLst/>
                <a:gdLst/>
                <a:ahLst/>
                <a:cxnLst/>
                <a:rect l="0" t="0" r="0" b="0"/>
                <a:pathLst>
                  <a:path w="91341" h="91776">
                    <a:moveTo>
                      <a:pt x="34510" y="4756"/>
                    </a:moveTo>
                    <a:lnTo>
                      <a:pt x="39860" y="3298"/>
                    </a:lnTo>
                    <a:lnTo>
                      <a:pt x="39578" y="5500"/>
                    </a:lnTo>
                    <a:lnTo>
                      <a:pt x="42015" y="9657"/>
                    </a:lnTo>
                    <a:lnTo>
                      <a:pt x="48747" y="5478"/>
                    </a:lnTo>
                    <a:lnTo>
                      <a:pt x="52203" y="5624"/>
                    </a:lnTo>
                    <a:lnTo>
                      <a:pt x="55445" y="9378"/>
                    </a:lnTo>
                    <a:lnTo>
                      <a:pt x="58946" y="16956"/>
                    </a:lnTo>
                    <a:lnTo>
                      <a:pt x="63729" y="18965"/>
                    </a:lnTo>
                    <a:lnTo>
                      <a:pt x="84973" y="13556"/>
                    </a:lnTo>
                    <a:lnTo>
                      <a:pt x="85061" y="22059"/>
                    </a:lnTo>
                    <a:lnTo>
                      <a:pt x="82901" y="25589"/>
                    </a:lnTo>
                    <a:lnTo>
                      <a:pt x="83953" y="28397"/>
                    </a:lnTo>
                    <a:lnTo>
                      <a:pt x="83815" y="33383"/>
                    </a:lnTo>
                    <a:lnTo>
                      <a:pt x="90906" y="46305"/>
                    </a:lnTo>
                    <a:lnTo>
                      <a:pt x="91340" y="49088"/>
                    </a:lnTo>
                    <a:lnTo>
                      <a:pt x="90580" y="51391"/>
                    </a:lnTo>
                    <a:lnTo>
                      <a:pt x="87093" y="50205"/>
                    </a:lnTo>
                    <a:lnTo>
                      <a:pt x="80197" y="55224"/>
                    </a:lnTo>
                    <a:lnTo>
                      <a:pt x="73828" y="55935"/>
                    </a:lnTo>
                    <a:lnTo>
                      <a:pt x="70196" y="58435"/>
                    </a:lnTo>
                    <a:lnTo>
                      <a:pt x="61828" y="57557"/>
                    </a:lnTo>
                    <a:lnTo>
                      <a:pt x="60315" y="61635"/>
                    </a:lnTo>
                    <a:lnTo>
                      <a:pt x="60976" y="67839"/>
                    </a:lnTo>
                    <a:lnTo>
                      <a:pt x="59501" y="69477"/>
                    </a:lnTo>
                    <a:lnTo>
                      <a:pt x="56406" y="66048"/>
                    </a:lnTo>
                    <a:lnTo>
                      <a:pt x="54019" y="66580"/>
                    </a:lnTo>
                    <a:lnTo>
                      <a:pt x="51498" y="69775"/>
                    </a:lnTo>
                    <a:lnTo>
                      <a:pt x="46618" y="67019"/>
                    </a:lnTo>
                    <a:lnTo>
                      <a:pt x="42352" y="71284"/>
                    </a:lnTo>
                    <a:lnTo>
                      <a:pt x="33576" y="72617"/>
                    </a:lnTo>
                    <a:lnTo>
                      <a:pt x="33100" y="73772"/>
                    </a:lnTo>
                    <a:lnTo>
                      <a:pt x="35117" y="77783"/>
                    </a:lnTo>
                    <a:lnTo>
                      <a:pt x="39552" y="81167"/>
                    </a:lnTo>
                    <a:lnTo>
                      <a:pt x="36004" y="84197"/>
                    </a:lnTo>
                    <a:lnTo>
                      <a:pt x="36655" y="91775"/>
                    </a:lnTo>
                    <a:lnTo>
                      <a:pt x="30982" y="88862"/>
                    </a:lnTo>
                    <a:lnTo>
                      <a:pt x="20659" y="89063"/>
                    </a:lnTo>
                    <a:lnTo>
                      <a:pt x="21123" y="86513"/>
                    </a:lnTo>
                    <a:lnTo>
                      <a:pt x="18191" y="77824"/>
                    </a:lnTo>
                    <a:lnTo>
                      <a:pt x="12574" y="74352"/>
                    </a:lnTo>
                    <a:lnTo>
                      <a:pt x="11400" y="72065"/>
                    </a:lnTo>
                    <a:lnTo>
                      <a:pt x="11927" y="65605"/>
                    </a:lnTo>
                    <a:lnTo>
                      <a:pt x="5557" y="58092"/>
                    </a:lnTo>
                    <a:lnTo>
                      <a:pt x="3805" y="48456"/>
                    </a:lnTo>
                    <a:lnTo>
                      <a:pt x="5903" y="45150"/>
                    </a:lnTo>
                    <a:lnTo>
                      <a:pt x="6213" y="40795"/>
                    </a:lnTo>
                    <a:lnTo>
                      <a:pt x="4078" y="32949"/>
                    </a:lnTo>
                    <a:lnTo>
                      <a:pt x="0" y="26694"/>
                    </a:lnTo>
                    <a:lnTo>
                      <a:pt x="6140" y="22405"/>
                    </a:lnTo>
                    <a:lnTo>
                      <a:pt x="8063" y="18895"/>
                    </a:lnTo>
                    <a:lnTo>
                      <a:pt x="9896" y="6325"/>
                    </a:lnTo>
                    <a:lnTo>
                      <a:pt x="16481" y="1945"/>
                    </a:lnTo>
                    <a:lnTo>
                      <a:pt x="22174" y="2199"/>
                    </a:lnTo>
                    <a:lnTo>
                      <a:pt x="22757" y="0"/>
                    </a:lnTo>
                    <a:lnTo>
                      <a:pt x="30932" y="558"/>
                    </a:lnTo>
                    <a:close/>
                  </a:path>
                </a:pathLst>
              </a:custGeom>
              <a:grpFill/>
              <a:ln w="3175" cap="rnd" cmpd="sng" algn="ctr">
                <a:solidFill>
                  <a:srgbClr val="7359A0"/>
                </a:solidFill>
                <a:prstDash val="solid"/>
                <a:miter lim="800000"/>
              </a:ln>
              <a:effectLst/>
            </p:spPr>
            <p:txBody>
              <a:bodyPr rot="0" spcFirstLastPara="0" vert="horz" wrap="square" lIns="72000" tIns="72000" rIns="72000" bIns="7200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9" name="ee4p_LM_1_41893">
                <a:extLst>
                  <a:ext uri="{FF2B5EF4-FFF2-40B4-BE49-F238E27FC236}">
                    <a16:creationId xmlns:a16="http://schemas.microsoft.com/office/drawing/2014/main" id="{BF0FFC10-76F1-F3C4-534A-1E62663193D4}"/>
                  </a:ext>
                </a:extLst>
              </p:cNvPr>
              <p:cNvSpPr>
                <a:spLocks noChangeAspect="1"/>
              </p:cNvSpPr>
              <p:nvPr/>
            </p:nvSpPr>
            <p:spPr>
              <a:xfrm rot="631238">
                <a:off x="4272796" y="3301593"/>
                <a:ext cx="38840" cy="59161"/>
              </a:xfrm>
              <a:custGeom>
                <a:avLst/>
                <a:gdLst/>
                <a:ahLst/>
                <a:cxnLst/>
                <a:rect l="0" t="0" r="0" b="0"/>
                <a:pathLst>
                  <a:path w="86312" h="145196">
                    <a:moveTo>
                      <a:pt x="76111" y="8788"/>
                    </a:moveTo>
                    <a:lnTo>
                      <a:pt x="76109" y="8801"/>
                    </a:lnTo>
                    <a:lnTo>
                      <a:pt x="75672" y="12299"/>
                    </a:lnTo>
                    <a:lnTo>
                      <a:pt x="75218" y="16054"/>
                    </a:lnTo>
                    <a:lnTo>
                      <a:pt x="72809" y="19337"/>
                    </a:lnTo>
                    <a:lnTo>
                      <a:pt x="72870" y="23156"/>
                    </a:lnTo>
                    <a:lnTo>
                      <a:pt x="69973" y="27601"/>
                    </a:lnTo>
                    <a:lnTo>
                      <a:pt x="78443" y="37041"/>
                    </a:lnTo>
                    <a:lnTo>
                      <a:pt x="81016" y="49179"/>
                    </a:lnTo>
                    <a:lnTo>
                      <a:pt x="79423" y="60678"/>
                    </a:lnTo>
                    <a:lnTo>
                      <a:pt x="79266" y="72801"/>
                    </a:lnTo>
                    <a:lnTo>
                      <a:pt x="80370" y="76453"/>
                    </a:lnTo>
                    <a:lnTo>
                      <a:pt x="85438" y="79890"/>
                    </a:lnTo>
                    <a:lnTo>
                      <a:pt x="80053" y="84307"/>
                    </a:lnTo>
                    <a:lnTo>
                      <a:pt x="78776" y="87962"/>
                    </a:lnTo>
                    <a:lnTo>
                      <a:pt x="81482" y="92660"/>
                    </a:lnTo>
                    <a:lnTo>
                      <a:pt x="83745" y="110307"/>
                    </a:lnTo>
                    <a:lnTo>
                      <a:pt x="86311" y="114158"/>
                    </a:lnTo>
                    <a:lnTo>
                      <a:pt x="84304" y="119054"/>
                    </a:lnTo>
                    <a:lnTo>
                      <a:pt x="83819" y="127849"/>
                    </a:lnTo>
                    <a:lnTo>
                      <a:pt x="75912" y="134586"/>
                    </a:lnTo>
                    <a:lnTo>
                      <a:pt x="58736" y="131845"/>
                    </a:lnTo>
                    <a:lnTo>
                      <a:pt x="58575" y="139807"/>
                    </a:lnTo>
                    <a:lnTo>
                      <a:pt x="52021" y="145195"/>
                    </a:lnTo>
                    <a:lnTo>
                      <a:pt x="46801" y="140385"/>
                    </a:lnTo>
                    <a:lnTo>
                      <a:pt x="41774" y="141832"/>
                    </a:lnTo>
                    <a:lnTo>
                      <a:pt x="35826" y="140778"/>
                    </a:lnTo>
                    <a:lnTo>
                      <a:pt x="31609" y="144280"/>
                    </a:lnTo>
                    <a:lnTo>
                      <a:pt x="25655" y="135054"/>
                    </a:lnTo>
                    <a:lnTo>
                      <a:pt x="25992" y="123690"/>
                    </a:lnTo>
                    <a:lnTo>
                      <a:pt x="27696" y="119103"/>
                    </a:lnTo>
                    <a:lnTo>
                      <a:pt x="25349" y="116113"/>
                    </a:lnTo>
                    <a:lnTo>
                      <a:pt x="24092" y="107227"/>
                    </a:lnTo>
                    <a:lnTo>
                      <a:pt x="17718" y="101891"/>
                    </a:lnTo>
                    <a:lnTo>
                      <a:pt x="15858" y="95426"/>
                    </a:lnTo>
                    <a:lnTo>
                      <a:pt x="15358" y="86361"/>
                    </a:lnTo>
                    <a:lnTo>
                      <a:pt x="18112" y="79288"/>
                    </a:lnTo>
                    <a:lnTo>
                      <a:pt x="12218" y="77574"/>
                    </a:lnTo>
                    <a:lnTo>
                      <a:pt x="8435" y="78867"/>
                    </a:lnTo>
                    <a:lnTo>
                      <a:pt x="4333" y="65367"/>
                    </a:lnTo>
                    <a:lnTo>
                      <a:pt x="0" y="59933"/>
                    </a:lnTo>
                    <a:lnTo>
                      <a:pt x="5472" y="53996"/>
                    </a:lnTo>
                    <a:lnTo>
                      <a:pt x="5646" y="53719"/>
                    </a:lnTo>
                    <a:lnTo>
                      <a:pt x="5659" y="53699"/>
                    </a:lnTo>
                    <a:lnTo>
                      <a:pt x="9056" y="55720"/>
                    </a:lnTo>
                    <a:lnTo>
                      <a:pt x="16523" y="57220"/>
                    </a:lnTo>
                    <a:lnTo>
                      <a:pt x="24106" y="56512"/>
                    </a:lnTo>
                    <a:lnTo>
                      <a:pt x="26684" y="54777"/>
                    </a:lnTo>
                    <a:lnTo>
                      <a:pt x="31771" y="48843"/>
                    </a:lnTo>
                    <a:lnTo>
                      <a:pt x="35101" y="46647"/>
                    </a:lnTo>
                    <a:lnTo>
                      <a:pt x="35221" y="41734"/>
                    </a:lnTo>
                    <a:lnTo>
                      <a:pt x="37303" y="34848"/>
                    </a:lnTo>
                    <a:lnTo>
                      <a:pt x="40235" y="28724"/>
                    </a:lnTo>
                    <a:lnTo>
                      <a:pt x="42876" y="26150"/>
                    </a:lnTo>
                    <a:lnTo>
                      <a:pt x="45586" y="22565"/>
                    </a:lnTo>
                    <a:lnTo>
                      <a:pt x="47829" y="5381"/>
                    </a:lnTo>
                    <a:lnTo>
                      <a:pt x="49430" y="105"/>
                    </a:lnTo>
                    <a:lnTo>
                      <a:pt x="52900" y="0"/>
                    </a:lnTo>
                    <a:lnTo>
                      <a:pt x="61976" y="6854"/>
                    </a:lnTo>
                    <a:lnTo>
                      <a:pt x="66200" y="8792"/>
                    </a:lnTo>
                    <a:close/>
                  </a:path>
                </a:pathLst>
              </a:custGeom>
              <a:grpFill/>
              <a:ln w="3175" cap="rnd" cmpd="sng" algn="ctr">
                <a:solidFill>
                  <a:srgbClr val="7359A0"/>
                </a:solidFill>
                <a:prstDash val="solid"/>
                <a:miter lim="800000"/>
              </a:ln>
              <a:effectLst/>
            </p:spPr>
            <p:txBody>
              <a:bodyPr rot="0" spcFirstLastPara="0" vert="horz" wrap="square" lIns="72000" tIns="72000" rIns="72000" bIns="7200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10" name="ee4p_CS_1_41893">
                <a:extLst>
                  <a:ext uri="{FF2B5EF4-FFF2-40B4-BE49-F238E27FC236}">
                    <a16:creationId xmlns:a16="http://schemas.microsoft.com/office/drawing/2014/main" id="{80E0E1DC-173C-5706-9D9A-3B3695AFE81F}"/>
                  </a:ext>
                </a:extLst>
              </p:cNvPr>
              <p:cNvSpPr>
                <a:spLocks noChangeAspect="1"/>
              </p:cNvSpPr>
              <p:nvPr/>
            </p:nvSpPr>
            <p:spPr>
              <a:xfrm rot="631238">
                <a:off x="4374334" y="3413968"/>
                <a:ext cx="20252" cy="21593"/>
              </a:xfrm>
              <a:custGeom>
                <a:avLst/>
                <a:gdLst/>
                <a:ahLst/>
                <a:cxnLst/>
                <a:rect l="0" t="0" r="0" b="0"/>
                <a:pathLst>
                  <a:path w="45005" h="52994">
                    <a:moveTo>
                      <a:pt x="44575" y="1630"/>
                    </a:moveTo>
                    <a:lnTo>
                      <a:pt x="43433" y="9989"/>
                    </a:lnTo>
                    <a:lnTo>
                      <a:pt x="45004" y="12689"/>
                    </a:lnTo>
                    <a:lnTo>
                      <a:pt x="44655" y="14061"/>
                    </a:lnTo>
                    <a:lnTo>
                      <a:pt x="40077" y="16566"/>
                    </a:lnTo>
                    <a:lnTo>
                      <a:pt x="35920" y="23016"/>
                    </a:lnTo>
                    <a:lnTo>
                      <a:pt x="36873" y="27711"/>
                    </a:lnTo>
                    <a:lnTo>
                      <a:pt x="28723" y="35514"/>
                    </a:lnTo>
                    <a:lnTo>
                      <a:pt x="29314" y="48595"/>
                    </a:lnTo>
                    <a:lnTo>
                      <a:pt x="25681" y="48470"/>
                    </a:lnTo>
                    <a:lnTo>
                      <a:pt x="18185" y="52993"/>
                    </a:lnTo>
                    <a:lnTo>
                      <a:pt x="14703" y="48524"/>
                    </a:lnTo>
                    <a:lnTo>
                      <a:pt x="14283" y="44794"/>
                    </a:lnTo>
                    <a:lnTo>
                      <a:pt x="12018" y="44280"/>
                    </a:lnTo>
                    <a:lnTo>
                      <a:pt x="10909" y="37334"/>
                    </a:lnTo>
                    <a:lnTo>
                      <a:pt x="7685" y="34463"/>
                    </a:lnTo>
                    <a:lnTo>
                      <a:pt x="6626" y="29426"/>
                    </a:lnTo>
                    <a:lnTo>
                      <a:pt x="0" y="23556"/>
                    </a:lnTo>
                    <a:lnTo>
                      <a:pt x="1383" y="20958"/>
                    </a:lnTo>
                    <a:lnTo>
                      <a:pt x="10898" y="16724"/>
                    </a:lnTo>
                    <a:lnTo>
                      <a:pt x="13659" y="13433"/>
                    </a:lnTo>
                    <a:lnTo>
                      <a:pt x="21509" y="12423"/>
                    </a:lnTo>
                    <a:lnTo>
                      <a:pt x="26415" y="9412"/>
                    </a:lnTo>
                    <a:lnTo>
                      <a:pt x="31200" y="9892"/>
                    </a:lnTo>
                    <a:lnTo>
                      <a:pt x="33319" y="1785"/>
                    </a:lnTo>
                    <a:lnTo>
                      <a:pt x="36948" y="0"/>
                    </a:lnTo>
                    <a:close/>
                  </a:path>
                </a:pathLst>
              </a:custGeom>
              <a:grpFill/>
              <a:ln w="3175" cap="rnd" cmpd="sng" algn="ctr">
                <a:solidFill>
                  <a:srgbClr val="7359A0"/>
                </a:solidFill>
                <a:prstDash val="solid"/>
                <a:miter lim="800000"/>
              </a:ln>
              <a:effectLst/>
            </p:spPr>
            <p:txBody>
              <a:bodyPr rot="0" spcFirstLastPara="0" vert="horz" wrap="square" lIns="72000" tIns="72000" rIns="72000" bIns="7200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11" name="ee4p_SB_1_41893">
                <a:extLst>
                  <a:ext uri="{FF2B5EF4-FFF2-40B4-BE49-F238E27FC236}">
                    <a16:creationId xmlns:a16="http://schemas.microsoft.com/office/drawing/2014/main" id="{085B1409-4FD6-D3FC-2559-3B8DF3045669}"/>
                  </a:ext>
                </a:extLst>
              </p:cNvPr>
              <p:cNvSpPr>
                <a:spLocks noChangeAspect="1"/>
              </p:cNvSpPr>
              <p:nvPr/>
            </p:nvSpPr>
            <p:spPr>
              <a:xfrm rot="631238">
                <a:off x="4189498" y="3329454"/>
                <a:ext cx="103216" cy="51950"/>
              </a:xfrm>
              <a:custGeom>
                <a:avLst/>
                <a:gdLst/>
                <a:ahLst/>
                <a:cxnLst/>
                <a:rect l="0" t="0" r="0" b="0"/>
                <a:pathLst>
                  <a:path w="229370" h="127497">
                    <a:moveTo>
                      <a:pt x="133576" y="11894"/>
                    </a:moveTo>
                    <a:lnTo>
                      <a:pt x="139688" y="9586"/>
                    </a:lnTo>
                    <a:lnTo>
                      <a:pt x="151636" y="13530"/>
                    </a:lnTo>
                    <a:lnTo>
                      <a:pt x="151872" y="14828"/>
                    </a:lnTo>
                    <a:lnTo>
                      <a:pt x="147498" y="20967"/>
                    </a:lnTo>
                    <a:lnTo>
                      <a:pt x="147969" y="23554"/>
                    </a:lnTo>
                    <a:lnTo>
                      <a:pt x="162574" y="25717"/>
                    </a:lnTo>
                    <a:lnTo>
                      <a:pt x="162314" y="32942"/>
                    </a:lnTo>
                    <a:lnTo>
                      <a:pt x="165082" y="36177"/>
                    </a:lnTo>
                    <a:lnTo>
                      <a:pt x="162640" y="39339"/>
                    </a:lnTo>
                    <a:lnTo>
                      <a:pt x="164841" y="40635"/>
                    </a:lnTo>
                    <a:lnTo>
                      <a:pt x="172282" y="38691"/>
                    </a:lnTo>
                    <a:lnTo>
                      <a:pt x="181927" y="49507"/>
                    </a:lnTo>
                    <a:lnTo>
                      <a:pt x="183117" y="53506"/>
                    </a:lnTo>
                    <a:lnTo>
                      <a:pt x="191756" y="57053"/>
                    </a:lnTo>
                    <a:lnTo>
                      <a:pt x="196984" y="54230"/>
                    </a:lnTo>
                    <a:lnTo>
                      <a:pt x="204964" y="53999"/>
                    </a:lnTo>
                    <a:lnTo>
                      <a:pt x="209181" y="50497"/>
                    </a:lnTo>
                    <a:lnTo>
                      <a:pt x="215129" y="51551"/>
                    </a:lnTo>
                    <a:lnTo>
                      <a:pt x="220156" y="50104"/>
                    </a:lnTo>
                    <a:lnTo>
                      <a:pt x="225376" y="54914"/>
                    </a:lnTo>
                    <a:lnTo>
                      <a:pt x="224787" y="60323"/>
                    </a:lnTo>
                    <a:lnTo>
                      <a:pt x="228959" y="65218"/>
                    </a:lnTo>
                    <a:lnTo>
                      <a:pt x="229369" y="67887"/>
                    </a:lnTo>
                    <a:lnTo>
                      <a:pt x="228207" y="70499"/>
                    </a:lnTo>
                    <a:lnTo>
                      <a:pt x="221758" y="73143"/>
                    </a:lnTo>
                    <a:lnTo>
                      <a:pt x="216434" y="72994"/>
                    </a:lnTo>
                    <a:lnTo>
                      <a:pt x="212370" y="69703"/>
                    </a:lnTo>
                    <a:lnTo>
                      <a:pt x="206466" y="68750"/>
                    </a:lnTo>
                    <a:lnTo>
                      <a:pt x="201408" y="71892"/>
                    </a:lnTo>
                    <a:lnTo>
                      <a:pt x="187928" y="74060"/>
                    </a:lnTo>
                    <a:lnTo>
                      <a:pt x="181761" y="78304"/>
                    </a:lnTo>
                    <a:lnTo>
                      <a:pt x="160739" y="75698"/>
                    </a:lnTo>
                    <a:lnTo>
                      <a:pt x="152795" y="78461"/>
                    </a:lnTo>
                    <a:lnTo>
                      <a:pt x="146427" y="84066"/>
                    </a:lnTo>
                    <a:lnTo>
                      <a:pt x="143658" y="81787"/>
                    </a:lnTo>
                    <a:lnTo>
                      <a:pt x="137727" y="82517"/>
                    </a:lnTo>
                    <a:lnTo>
                      <a:pt x="132479" y="90840"/>
                    </a:lnTo>
                    <a:lnTo>
                      <a:pt x="118772" y="96457"/>
                    </a:lnTo>
                    <a:lnTo>
                      <a:pt x="112910" y="105361"/>
                    </a:lnTo>
                    <a:lnTo>
                      <a:pt x="107126" y="109818"/>
                    </a:lnTo>
                    <a:lnTo>
                      <a:pt x="106305" y="114459"/>
                    </a:lnTo>
                    <a:lnTo>
                      <a:pt x="101113" y="114893"/>
                    </a:lnTo>
                    <a:lnTo>
                      <a:pt x="97523" y="111084"/>
                    </a:lnTo>
                    <a:lnTo>
                      <a:pt x="91326" y="111890"/>
                    </a:lnTo>
                    <a:lnTo>
                      <a:pt x="83785" y="115592"/>
                    </a:lnTo>
                    <a:lnTo>
                      <a:pt x="83312" y="113329"/>
                    </a:lnTo>
                    <a:lnTo>
                      <a:pt x="80288" y="113477"/>
                    </a:lnTo>
                    <a:lnTo>
                      <a:pt x="68347" y="119671"/>
                    </a:lnTo>
                    <a:lnTo>
                      <a:pt x="59303" y="118593"/>
                    </a:lnTo>
                    <a:lnTo>
                      <a:pt x="49836" y="127496"/>
                    </a:lnTo>
                    <a:lnTo>
                      <a:pt x="46710" y="125788"/>
                    </a:lnTo>
                    <a:lnTo>
                      <a:pt x="46709" y="125768"/>
                    </a:lnTo>
                    <a:lnTo>
                      <a:pt x="46588" y="118293"/>
                    </a:lnTo>
                    <a:lnTo>
                      <a:pt x="44276" y="117538"/>
                    </a:lnTo>
                    <a:lnTo>
                      <a:pt x="40687" y="119850"/>
                    </a:lnTo>
                    <a:lnTo>
                      <a:pt x="36867" y="121434"/>
                    </a:lnTo>
                    <a:lnTo>
                      <a:pt x="33504" y="119879"/>
                    </a:lnTo>
                    <a:lnTo>
                      <a:pt x="26831" y="113031"/>
                    </a:lnTo>
                    <a:lnTo>
                      <a:pt x="23897" y="111066"/>
                    </a:lnTo>
                    <a:lnTo>
                      <a:pt x="22200" y="111474"/>
                    </a:lnTo>
                    <a:lnTo>
                      <a:pt x="18614" y="113881"/>
                    </a:lnTo>
                    <a:lnTo>
                      <a:pt x="16772" y="113685"/>
                    </a:lnTo>
                    <a:lnTo>
                      <a:pt x="15157" y="111684"/>
                    </a:lnTo>
                    <a:lnTo>
                      <a:pt x="13240" y="106713"/>
                    </a:lnTo>
                    <a:lnTo>
                      <a:pt x="11458" y="105392"/>
                    </a:lnTo>
                    <a:lnTo>
                      <a:pt x="7709" y="104064"/>
                    </a:lnTo>
                    <a:lnTo>
                      <a:pt x="4214" y="101446"/>
                    </a:lnTo>
                    <a:lnTo>
                      <a:pt x="2655" y="97388"/>
                    </a:lnTo>
                    <a:lnTo>
                      <a:pt x="4719" y="91761"/>
                    </a:lnTo>
                    <a:lnTo>
                      <a:pt x="3424" y="90926"/>
                    </a:lnTo>
                    <a:lnTo>
                      <a:pt x="0" y="87618"/>
                    </a:lnTo>
                    <a:lnTo>
                      <a:pt x="11266" y="82857"/>
                    </a:lnTo>
                    <a:lnTo>
                      <a:pt x="19282" y="75708"/>
                    </a:lnTo>
                    <a:lnTo>
                      <a:pt x="22299" y="76056"/>
                    </a:lnTo>
                    <a:lnTo>
                      <a:pt x="28245" y="81971"/>
                    </a:lnTo>
                    <a:lnTo>
                      <a:pt x="35290" y="86290"/>
                    </a:lnTo>
                    <a:lnTo>
                      <a:pt x="42792" y="86200"/>
                    </a:lnTo>
                    <a:lnTo>
                      <a:pt x="50617" y="82308"/>
                    </a:lnTo>
                    <a:lnTo>
                      <a:pt x="58737" y="75186"/>
                    </a:lnTo>
                    <a:lnTo>
                      <a:pt x="62802" y="73096"/>
                    </a:lnTo>
                    <a:lnTo>
                      <a:pt x="70228" y="75661"/>
                    </a:lnTo>
                    <a:lnTo>
                      <a:pt x="76949" y="74005"/>
                    </a:lnTo>
                    <a:lnTo>
                      <a:pt x="80942" y="76557"/>
                    </a:lnTo>
                    <a:lnTo>
                      <a:pt x="83245" y="76811"/>
                    </a:lnTo>
                    <a:lnTo>
                      <a:pt x="86197" y="75720"/>
                    </a:lnTo>
                    <a:lnTo>
                      <a:pt x="86256" y="74912"/>
                    </a:lnTo>
                    <a:lnTo>
                      <a:pt x="85150" y="73540"/>
                    </a:lnTo>
                    <a:lnTo>
                      <a:pt x="84590" y="70639"/>
                    </a:lnTo>
                    <a:lnTo>
                      <a:pt x="85582" y="61161"/>
                    </a:lnTo>
                    <a:lnTo>
                      <a:pt x="87283" y="56097"/>
                    </a:lnTo>
                    <a:lnTo>
                      <a:pt x="104388" y="37115"/>
                    </a:lnTo>
                    <a:lnTo>
                      <a:pt x="108239" y="30551"/>
                    </a:lnTo>
                    <a:lnTo>
                      <a:pt x="110978" y="22500"/>
                    </a:lnTo>
                    <a:lnTo>
                      <a:pt x="111207" y="18516"/>
                    </a:lnTo>
                    <a:lnTo>
                      <a:pt x="110835" y="8761"/>
                    </a:lnTo>
                    <a:lnTo>
                      <a:pt x="111910" y="4293"/>
                    </a:lnTo>
                    <a:lnTo>
                      <a:pt x="113857" y="2051"/>
                    </a:lnTo>
                    <a:lnTo>
                      <a:pt x="118308" y="486"/>
                    </a:lnTo>
                    <a:lnTo>
                      <a:pt x="118641" y="0"/>
                    </a:lnTo>
                    <a:lnTo>
                      <a:pt x="118850" y="260"/>
                    </a:lnTo>
                    <a:lnTo>
                      <a:pt x="123752" y="3150"/>
                    </a:lnTo>
                    <a:lnTo>
                      <a:pt x="127239" y="10588"/>
                    </a:lnTo>
                    <a:close/>
                  </a:path>
                </a:pathLst>
              </a:custGeom>
              <a:grpFill/>
              <a:ln w="3175" cap="rnd" cmpd="sng" algn="ctr">
                <a:solidFill>
                  <a:srgbClr val="7359A0"/>
                </a:solidFill>
                <a:prstDash val="solid"/>
                <a:miter lim="800000"/>
              </a:ln>
              <a:effectLst/>
            </p:spPr>
            <p:txBody>
              <a:bodyPr rot="0" spcFirstLastPara="0" vert="horz" wrap="square" lIns="72000" tIns="72000" rIns="72000" bIns="7200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12" name="ee4p_FE_1_41893">
                <a:extLst>
                  <a:ext uri="{FF2B5EF4-FFF2-40B4-BE49-F238E27FC236}">
                    <a16:creationId xmlns:a16="http://schemas.microsoft.com/office/drawing/2014/main" id="{64754AA4-2B1A-7C6F-472A-118708B67B00}"/>
                  </a:ext>
                </a:extLst>
              </p:cNvPr>
              <p:cNvSpPr>
                <a:spLocks noChangeAspect="1"/>
              </p:cNvSpPr>
              <p:nvPr/>
            </p:nvSpPr>
            <p:spPr>
              <a:xfrm rot="631238">
                <a:off x="4151268" y="3374470"/>
                <a:ext cx="100624" cy="78367"/>
              </a:xfrm>
              <a:custGeom>
                <a:avLst/>
                <a:gdLst/>
                <a:ahLst/>
                <a:cxnLst/>
                <a:rect l="0" t="0" r="0" b="0"/>
                <a:pathLst>
                  <a:path w="223611" h="192333">
                    <a:moveTo>
                      <a:pt x="109693" y="1708"/>
                    </a:moveTo>
                    <a:lnTo>
                      <a:pt x="114340" y="10489"/>
                    </a:lnTo>
                    <a:lnTo>
                      <a:pt x="121292" y="10484"/>
                    </a:lnTo>
                    <a:lnTo>
                      <a:pt x="129973" y="18029"/>
                    </a:lnTo>
                    <a:lnTo>
                      <a:pt x="140808" y="17178"/>
                    </a:lnTo>
                    <a:lnTo>
                      <a:pt x="143854" y="22036"/>
                    </a:lnTo>
                    <a:lnTo>
                      <a:pt x="143757" y="24583"/>
                    </a:lnTo>
                    <a:lnTo>
                      <a:pt x="137605" y="25506"/>
                    </a:lnTo>
                    <a:lnTo>
                      <a:pt x="132883" y="39570"/>
                    </a:lnTo>
                    <a:lnTo>
                      <a:pt x="134884" y="43409"/>
                    </a:lnTo>
                    <a:lnTo>
                      <a:pt x="132948" y="47983"/>
                    </a:lnTo>
                    <a:lnTo>
                      <a:pt x="135966" y="58589"/>
                    </a:lnTo>
                    <a:lnTo>
                      <a:pt x="135469" y="68976"/>
                    </a:lnTo>
                    <a:lnTo>
                      <a:pt x="137909" y="69654"/>
                    </a:lnTo>
                    <a:lnTo>
                      <a:pt x="140449" y="74798"/>
                    </a:lnTo>
                    <a:lnTo>
                      <a:pt x="146284" y="78860"/>
                    </a:lnTo>
                    <a:lnTo>
                      <a:pt x="156034" y="72838"/>
                    </a:lnTo>
                    <a:lnTo>
                      <a:pt x="161817" y="72201"/>
                    </a:lnTo>
                    <a:lnTo>
                      <a:pt x="166381" y="68111"/>
                    </a:lnTo>
                    <a:lnTo>
                      <a:pt x="178707" y="71046"/>
                    </a:lnTo>
                    <a:lnTo>
                      <a:pt x="179603" y="75982"/>
                    </a:lnTo>
                    <a:lnTo>
                      <a:pt x="185841" y="81752"/>
                    </a:lnTo>
                    <a:lnTo>
                      <a:pt x="183436" y="89174"/>
                    </a:lnTo>
                    <a:lnTo>
                      <a:pt x="184600" y="94026"/>
                    </a:lnTo>
                    <a:lnTo>
                      <a:pt x="188060" y="96236"/>
                    </a:lnTo>
                    <a:lnTo>
                      <a:pt x="194354" y="95634"/>
                    </a:lnTo>
                    <a:lnTo>
                      <a:pt x="196536" y="97654"/>
                    </a:lnTo>
                    <a:lnTo>
                      <a:pt x="201298" y="111326"/>
                    </a:lnTo>
                    <a:lnTo>
                      <a:pt x="205926" y="114012"/>
                    </a:lnTo>
                    <a:lnTo>
                      <a:pt x="215443" y="108790"/>
                    </a:lnTo>
                    <a:lnTo>
                      <a:pt x="215557" y="109123"/>
                    </a:lnTo>
                    <a:lnTo>
                      <a:pt x="215604" y="109257"/>
                    </a:lnTo>
                    <a:lnTo>
                      <a:pt x="214921" y="109592"/>
                    </a:lnTo>
                    <a:lnTo>
                      <a:pt x="214490" y="111388"/>
                    </a:lnTo>
                    <a:lnTo>
                      <a:pt x="214918" y="113746"/>
                    </a:lnTo>
                    <a:lnTo>
                      <a:pt x="215665" y="115723"/>
                    </a:lnTo>
                    <a:lnTo>
                      <a:pt x="216220" y="116347"/>
                    </a:lnTo>
                    <a:lnTo>
                      <a:pt x="216288" y="116588"/>
                    </a:lnTo>
                    <a:lnTo>
                      <a:pt x="214373" y="120026"/>
                    </a:lnTo>
                    <a:lnTo>
                      <a:pt x="214089" y="119952"/>
                    </a:lnTo>
                    <a:lnTo>
                      <a:pt x="212786" y="121444"/>
                    </a:lnTo>
                    <a:lnTo>
                      <a:pt x="211148" y="120800"/>
                    </a:lnTo>
                    <a:lnTo>
                      <a:pt x="210064" y="121019"/>
                    </a:lnTo>
                    <a:lnTo>
                      <a:pt x="210383" y="125151"/>
                    </a:lnTo>
                    <a:lnTo>
                      <a:pt x="217652" y="129280"/>
                    </a:lnTo>
                    <a:lnTo>
                      <a:pt x="216034" y="134513"/>
                    </a:lnTo>
                    <a:lnTo>
                      <a:pt x="223610" y="141682"/>
                    </a:lnTo>
                    <a:lnTo>
                      <a:pt x="220292" y="145876"/>
                    </a:lnTo>
                    <a:lnTo>
                      <a:pt x="221388" y="152224"/>
                    </a:lnTo>
                    <a:lnTo>
                      <a:pt x="216450" y="155085"/>
                    </a:lnTo>
                    <a:lnTo>
                      <a:pt x="204055" y="157679"/>
                    </a:lnTo>
                    <a:lnTo>
                      <a:pt x="201410" y="159534"/>
                    </a:lnTo>
                    <a:lnTo>
                      <a:pt x="199475" y="161306"/>
                    </a:lnTo>
                    <a:lnTo>
                      <a:pt x="197908" y="163733"/>
                    </a:lnTo>
                    <a:lnTo>
                      <a:pt x="196444" y="167470"/>
                    </a:lnTo>
                    <a:lnTo>
                      <a:pt x="197434" y="169047"/>
                    </a:lnTo>
                    <a:lnTo>
                      <a:pt x="199415" y="170936"/>
                    </a:lnTo>
                    <a:lnTo>
                      <a:pt x="199582" y="172962"/>
                    </a:lnTo>
                    <a:lnTo>
                      <a:pt x="195087" y="174951"/>
                    </a:lnTo>
                    <a:lnTo>
                      <a:pt x="195884" y="178813"/>
                    </a:lnTo>
                    <a:lnTo>
                      <a:pt x="195083" y="182664"/>
                    </a:lnTo>
                    <a:lnTo>
                      <a:pt x="193285" y="185910"/>
                    </a:lnTo>
                    <a:lnTo>
                      <a:pt x="191078" y="188121"/>
                    </a:lnTo>
                    <a:lnTo>
                      <a:pt x="187919" y="189530"/>
                    </a:lnTo>
                    <a:lnTo>
                      <a:pt x="187203" y="188007"/>
                    </a:lnTo>
                    <a:lnTo>
                      <a:pt x="187625" y="184549"/>
                    </a:lnTo>
                    <a:lnTo>
                      <a:pt x="187843" y="180150"/>
                    </a:lnTo>
                    <a:lnTo>
                      <a:pt x="188341" y="176776"/>
                    </a:lnTo>
                    <a:lnTo>
                      <a:pt x="189139" y="174050"/>
                    </a:lnTo>
                    <a:lnTo>
                      <a:pt x="188430" y="173062"/>
                    </a:lnTo>
                    <a:lnTo>
                      <a:pt x="181409" y="176708"/>
                    </a:lnTo>
                    <a:lnTo>
                      <a:pt x="179695" y="178589"/>
                    </a:lnTo>
                    <a:lnTo>
                      <a:pt x="179554" y="181134"/>
                    </a:lnTo>
                    <a:lnTo>
                      <a:pt x="184067" y="192126"/>
                    </a:lnTo>
                    <a:lnTo>
                      <a:pt x="182680" y="192202"/>
                    </a:lnTo>
                    <a:lnTo>
                      <a:pt x="180324" y="192332"/>
                    </a:lnTo>
                    <a:lnTo>
                      <a:pt x="169681" y="188017"/>
                    </a:lnTo>
                    <a:lnTo>
                      <a:pt x="166343" y="188640"/>
                    </a:lnTo>
                    <a:lnTo>
                      <a:pt x="165366" y="188307"/>
                    </a:lnTo>
                    <a:lnTo>
                      <a:pt x="165020" y="186626"/>
                    </a:lnTo>
                    <a:lnTo>
                      <a:pt x="163569" y="183180"/>
                    </a:lnTo>
                    <a:lnTo>
                      <a:pt x="161751" y="182544"/>
                    </a:lnTo>
                    <a:lnTo>
                      <a:pt x="159490" y="182790"/>
                    </a:lnTo>
                    <a:lnTo>
                      <a:pt x="158737" y="182173"/>
                    </a:lnTo>
                    <a:lnTo>
                      <a:pt x="161408" y="178983"/>
                    </a:lnTo>
                    <a:lnTo>
                      <a:pt x="155859" y="178191"/>
                    </a:lnTo>
                    <a:lnTo>
                      <a:pt x="146246" y="185015"/>
                    </a:lnTo>
                    <a:lnTo>
                      <a:pt x="141374" y="185702"/>
                    </a:lnTo>
                    <a:lnTo>
                      <a:pt x="117859" y="178657"/>
                    </a:lnTo>
                    <a:lnTo>
                      <a:pt x="115342" y="176567"/>
                    </a:lnTo>
                    <a:lnTo>
                      <a:pt x="114805" y="173330"/>
                    </a:lnTo>
                    <a:lnTo>
                      <a:pt x="114637" y="169936"/>
                    </a:lnTo>
                    <a:lnTo>
                      <a:pt x="113224" y="167418"/>
                    </a:lnTo>
                    <a:lnTo>
                      <a:pt x="97870" y="154298"/>
                    </a:lnTo>
                    <a:lnTo>
                      <a:pt x="93938" y="153306"/>
                    </a:lnTo>
                    <a:lnTo>
                      <a:pt x="80617" y="153372"/>
                    </a:lnTo>
                    <a:lnTo>
                      <a:pt x="68481" y="150949"/>
                    </a:lnTo>
                    <a:lnTo>
                      <a:pt x="64306" y="147974"/>
                    </a:lnTo>
                    <a:lnTo>
                      <a:pt x="61729" y="141894"/>
                    </a:lnTo>
                    <a:lnTo>
                      <a:pt x="61908" y="124983"/>
                    </a:lnTo>
                    <a:lnTo>
                      <a:pt x="60821" y="118800"/>
                    </a:lnTo>
                    <a:lnTo>
                      <a:pt x="57708" y="116087"/>
                    </a:lnTo>
                    <a:lnTo>
                      <a:pt x="49083" y="114207"/>
                    </a:lnTo>
                    <a:lnTo>
                      <a:pt x="47356" y="113398"/>
                    </a:lnTo>
                    <a:lnTo>
                      <a:pt x="45463" y="112510"/>
                    </a:lnTo>
                    <a:lnTo>
                      <a:pt x="41914" y="107945"/>
                    </a:lnTo>
                    <a:lnTo>
                      <a:pt x="39373" y="102277"/>
                    </a:lnTo>
                    <a:lnTo>
                      <a:pt x="35448" y="90008"/>
                    </a:lnTo>
                    <a:lnTo>
                      <a:pt x="28976" y="89542"/>
                    </a:lnTo>
                    <a:lnTo>
                      <a:pt x="23589" y="86177"/>
                    </a:lnTo>
                    <a:lnTo>
                      <a:pt x="18741" y="80373"/>
                    </a:lnTo>
                    <a:lnTo>
                      <a:pt x="10205" y="66380"/>
                    </a:lnTo>
                    <a:lnTo>
                      <a:pt x="5295" y="60111"/>
                    </a:lnTo>
                    <a:lnTo>
                      <a:pt x="3361" y="56793"/>
                    </a:lnTo>
                    <a:lnTo>
                      <a:pt x="3104" y="53687"/>
                    </a:lnTo>
                    <a:lnTo>
                      <a:pt x="2627" y="50706"/>
                    </a:lnTo>
                    <a:lnTo>
                      <a:pt x="0" y="47874"/>
                    </a:lnTo>
                    <a:lnTo>
                      <a:pt x="1235" y="47292"/>
                    </a:lnTo>
                    <a:lnTo>
                      <a:pt x="5440" y="45312"/>
                    </a:lnTo>
                    <a:lnTo>
                      <a:pt x="17440" y="42595"/>
                    </a:lnTo>
                    <a:lnTo>
                      <a:pt x="23102" y="39726"/>
                    </a:lnTo>
                    <a:lnTo>
                      <a:pt x="25800" y="37510"/>
                    </a:lnTo>
                    <a:lnTo>
                      <a:pt x="27039" y="35969"/>
                    </a:lnTo>
                    <a:lnTo>
                      <a:pt x="30130" y="30552"/>
                    </a:lnTo>
                    <a:lnTo>
                      <a:pt x="35055" y="24186"/>
                    </a:lnTo>
                    <a:lnTo>
                      <a:pt x="40061" y="19250"/>
                    </a:lnTo>
                    <a:lnTo>
                      <a:pt x="56566" y="24300"/>
                    </a:lnTo>
                    <a:lnTo>
                      <a:pt x="65231" y="25212"/>
                    </a:lnTo>
                    <a:lnTo>
                      <a:pt x="73914" y="22399"/>
                    </a:lnTo>
                    <a:lnTo>
                      <a:pt x="97239" y="2702"/>
                    </a:lnTo>
                    <a:lnTo>
                      <a:pt x="106570" y="211"/>
                    </a:lnTo>
                    <a:lnTo>
                      <a:pt x="106567" y="0"/>
                    </a:lnTo>
                    <a:close/>
                  </a:path>
                </a:pathLst>
              </a:custGeom>
              <a:grpFill/>
              <a:ln w="3175" cap="rnd" cmpd="sng" algn="ctr">
                <a:solidFill>
                  <a:srgbClr val="7359A0"/>
                </a:solidFill>
                <a:prstDash val="solid"/>
                <a:miter lim="800000"/>
              </a:ln>
              <a:effectLst/>
            </p:spPr>
            <p:txBody>
              <a:bodyPr rot="0" spcFirstLastPara="0" vert="horz" wrap="square" lIns="72000" tIns="72000" rIns="72000" bIns="7200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13" name="ee4p_ND_2_41893">
                <a:extLst>
                  <a:ext uri="{FF2B5EF4-FFF2-40B4-BE49-F238E27FC236}">
                    <a16:creationId xmlns:a16="http://schemas.microsoft.com/office/drawing/2014/main" id="{036F9DDF-2AB7-9C31-D594-5CD070197D2C}"/>
                  </a:ext>
                </a:extLst>
              </p:cNvPr>
              <p:cNvSpPr>
                <a:spLocks noChangeAspect="1"/>
              </p:cNvSpPr>
              <p:nvPr/>
            </p:nvSpPr>
            <p:spPr>
              <a:xfrm rot="631238">
                <a:off x="4385481" y="3410326"/>
                <a:ext cx="38956" cy="52149"/>
              </a:xfrm>
              <a:custGeom>
                <a:avLst/>
                <a:gdLst/>
                <a:ahLst/>
                <a:cxnLst/>
                <a:rect l="0" t="0" r="0" b="0"/>
                <a:pathLst>
                  <a:path w="86569" h="127988">
                    <a:moveTo>
                      <a:pt x="40098" y="78893"/>
                    </a:moveTo>
                    <a:lnTo>
                      <a:pt x="40096" y="78896"/>
                    </a:lnTo>
                    <a:lnTo>
                      <a:pt x="38524" y="81029"/>
                    </a:lnTo>
                    <a:lnTo>
                      <a:pt x="38509" y="80950"/>
                    </a:lnTo>
                    <a:lnTo>
                      <a:pt x="22836" y="84930"/>
                    </a:lnTo>
                    <a:lnTo>
                      <a:pt x="19386" y="83117"/>
                    </a:lnTo>
                    <a:lnTo>
                      <a:pt x="18081" y="79676"/>
                    </a:lnTo>
                    <a:lnTo>
                      <a:pt x="6435" y="77162"/>
                    </a:lnTo>
                    <a:lnTo>
                      <a:pt x="591" y="67192"/>
                    </a:lnTo>
                    <a:lnTo>
                      <a:pt x="0" y="54111"/>
                    </a:lnTo>
                    <a:lnTo>
                      <a:pt x="8150" y="46308"/>
                    </a:lnTo>
                    <a:lnTo>
                      <a:pt x="7197" y="41613"/>
                    </a:lnTo>
                    <a:lnTo>
                      <a:pt x="11354" y="35163"/>
                    </a:lnTo>
                    <a:lnTo>
                      <a:pt x="15932" y="32658"/>
                    </a:lnTo>
                    <a:lnTo>
                      <a:pt x="16281" y="31286"/>
                    </a:lnTo>
                    <a:lnTo>
                      <a:pt x="14710" y="28586"/>
                    </a:lnTo>
                    <a:lnTo>
                      <a:pt x="15852" y="20227"/>
                    </a:lnTo>
                    <a:lnTo>
                      <a:pt x="22227" y="15459"/>
                    </a:lnTo>
                    <a:lnTo>
                      <a:pt x="28725" y="19593"/>
                    </a:lnTo>
                    <a:lnTo>
                      <a:pt x="39539" y="19833"/>
                    </a:lnTo>
                    <a:lnTo>
                      <a:pt x="47171" y="15726"/>
                    </a:lnTo>
                    <a:lnTo>
                      <a:pt x="49874" y="9864"/>
                    </a:lnTo>
                    <a:lnTo>
                      <a:pt x="56041" y="7071"/>
                    </a:lnTo>
                    <a:lnTo>
                      <a:pt x="55823" y="2077"/>
                    </a:lnTo>
                    <a:lnTo>
                      <a:pt x="57388" y="1324"/>
                    </a:lnTo>
                    <a:lnTo>
                      <a:pt x="58965" y="9"/>
                    </a:lnTo>
                    <a:lnTo>
                      <a:pt x="58975" y="0"/>
                    </a:lnTo>
                    <a:lnTo>
                      <a:pt x="60687" y="3687"/>
                    </a:lnTo>
                    <a:lnTo>
                      <a:pt x="62771" y="4964"/>
                    </a:lnTo>
                    <a:lnTo>
                      <a:pt x="65065" y="5859"/>
                    </a:lnTo>
                    <a:lnTo>
                      <a:pt x="65736" y="8087"/>
                    </a:lnTo>
                    <a:lnTo>
                      <a:pt x="65747" y="11323"/>
                    </a:lnTo>
                    <a:lnTo>
                      <a:pt x="66223" y="15258"/>
                    </a:lnTo>
                    <a:lnTo>
                      <a:pt x="69296" y="28760"/>
                    </a:lnTo>
                    <a:lnTo>
                      <a:pt x="71753" y="34340"/>
                    </a:lnTo>
                    <a:lnTo>
                      <a:pt x="75417" y="36656"/>
                    </a:lnTo>
                    <a:lnTo>
                      <a:pt x="76829" y="39841"/>
                    </a:lnTo>
                    <a:lnTo>
                      <a:pt x="77724" y="54924"/>
                    </a:lnTo>
                    <a:lnTo>
                      <a:pt x="78517" y="60237"/>
                    </a:lnTo>
                    <a:lnTo>
                      <a:pt x="85198" y="71287"/>
                    </a:lnTo>
                    <a:lnTo>
                      <a:pt x="86568" y="72353"/>
                    </a:lnTo>
                    <a:lnTo>
                      <a:pt x="84956" y="75947"/>
                    </a:lnTo>
                    <a:lnTo>
                      <a:pt x="85131" y="78038"/>
                    </a:lnTo>
                    <a:lnTo>
                      <a:pt x="85765" y="79564"/>
                    </a:lnTo>
                    <a:lnTo>
                      <a:pt x="85627" y="81566"/>
                    </a:lnTo>
                    <a:lnTo>
                      <a:pt x="84449" y="83866"/>
                    </a:lnTo>
                    <a:lnTo>
                      <a:pt x="79973" y="90426"/>
                    </a:lnTo>
                    <a:lnTo>
                      <a:pt x="78473" y="95033"/>
                    </a:lnTo>
                    <a:lnTo>
                      <a:pt x="79818" y="101404"/>
                    </a:lnTo>
                    <a:lnTo>
                      <a:pt x="78793" y="107721"/>
                    </a:lnTo>
                    <a:lnTo>
                      <a:pt x="76554" y="110610"/>
                    </a:lnTo>
                    <a:lnTo>
                      <a:pt x="73555" y="113105"/>
                    </a:lnTo>
                    <a:lnTo>
                      <a:pt x="72325" y="116133"/>
                    </a:lnTo>
                    <a:lnTo>
                      <a:pt x="75380" y="120423"/>
                    </a:lnTo>
                    <a:lnTo>
                      <a:pt x="72047" y="122192"/>
                    </a:lnTo>
                    <a:lnTo>
                      <a:pt x="69117" y="127472"/>
                    </a:lnTo>
                    <a:lnTo>
                      <a:pt x="66037" y="127987"/>
                    </a:lnTo>
                    <a:lnTo>
                      <a:pt x="63474" y="125157"/>
                    </a:lnTo>
                    <a:lnTo>
                      <a:pt x="61560" y="119748"/>
                    </a:lnTo>
                    <a:lnTo>
                      <a:pt x="59533" y="112111"/>
                    </a:lnTo>
                    <a:lnTo>
                      <a:pt x="56931" y="110678"/>
                    </a:lnTo>
                    <a:lnTo>
                      <a:pt x="54700" y="107219"/>
                    </a:lnTo>
                    <a:lnTo>
                      <a:pt x="53239" y="102865"/>
                    </a:lnTo>
                    <a:lnTo>
                      <a:pt x="52970" y="98642"/>
                    </a:lnTo>
                    <a:lnTo>
                      <a:pt x="54609" y="94180"/>
                    </a:lnTo>
                    <a:lnTo>
                      <a:pt x="59916" y="87761"/>
                    </a:lnTo>
                    <a:lnTo>
                      <a:pt x="61200" y="82060"/>
                    </a:lnTo>
                    <a:lnTo>
                      <a:pt x="60747" y="70099"/>
                    </a:lnTo>
                    <a:lnTo>
                      <a:pt x="58647" y="61308"/>
                    </a:lnTo>
                    <a:lnTo>
                      <a:pt x="55013" y="54663"/>
                    </a:lnTo>
                    <a:lnTo>
                      <a:pt x="40061" y="39371"/>
                    </a:lnTo>
                    <a:lnTo>
                      <a:pt x="34198" y="35731"/>
                    </a:lnTo>
                    <a:lnTo>
                      <a:pt x="27544" y="35173"/>
                    </a:lnTo>
                    <a:lnTo>
                      <a:pt x="27459" y="37816"/>
                    </a:lnTo>
                    <a:lnTo>
                      <a:pt x="28961" y="41566"/>
                    </a:lnTo>
                    <a:lnTo>
                      <a:pt x="28226" y="45323"/>
                    </a:lnTo>
                    <a:lnTo>
                      <a:pt x="26209" y="48525"/>
                    </a:lnTo>
                    <a:lnTo>
                      <a:pt x="24007" y="50740"/>
                    </a:lnTo>
                    <a:lnTo>
                      <a:pt x="27131" y="50981"/>
                    </a:lnTo>
                    <a:lnTo>
                      <a:pt x="29540" y="52693"/>
                    </a:lnTo>
                    <a:lnTo>
                      <a:pt x="31450" y="54747"/>
                    </a:lnTo>
                    <a:lnTo>
                      <a:pt x="33062" y="56012"/>
                    </a:lnTo>
                    <a:lnTo>
                      <a:pt x="41267" y="56895"/>
                    </a:lnTo>
                    <a:lnTo>
                      <a:pt x="43714" y="59182"/>
                    </a:lnTo>
                    <a:lnTo>
                      <a:pt x="40054" y="60451"/>
                    </a:lnTo>
                    <a:lnTo>
                      <a:pt x="35144" y="61228"/>
                    </a:lnTo>
                    <a:lnTo>
                      <a:pt x="33672" y="62907"/>
                    </a:lnTo>
                    <a:lnTo>
                      <a:pt x="40283" y="66914"/>
                    </a:lnTo>
                    <a:lnTo>
                      <a:pt x="39073" y="71480"/>
                    </a:lnTo>
                    <a:lnTo>
                      <a:pt x="38969" y="75911"/>
                    </a:lnTo>
                    <a:close/>
                  </a:path>
                </a:pathLst>
              </a:custGeom>
              <a:grpFill/>
              <a:ln w="3175" cap="rnd" cmpd="sng" algn="ctr">
                <a:solidFill>
                  <a:srgbClr val="7359A0"/>
                </a:solidFill>
                <a:prstDash val="solid"/>
                <a:miter lim="800000"/>
              </a:ln>
              <a:effectLst/>
            </p:spPr>
            <p:txBody>
              <a:bodyPr rot="0" spcFirstLastPara="0" vert="horz" wrap="square" lIns="72000" tIns="72000" rIns="72000" bIns="7200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14" name="ee4p_MY_1_41893">
                <a:extLst>
                  <a:ext uri="{FF2B5EF4-FFF2-40B4-BE49-F238E27FC236}">
                    <a16:creationId xmlns:a16="http://schemas.microsoft.com/office/drawing/2014/main" id="{D3E0170F-9AEA-9DF1-4EB7-8CD959DCEDBA}"/>
                  </a:ext>
                </a:extLst>
              </p:cNvPr>
              <p:cNvSpPr>
                <a:spLocks noChangeAspect="1"/>
              </p:cNvSpPr>
              <p:nvPr/>
            </p:nvSpPr>
            <p:spPr>
              <a:xfrm rot="631238">
                <a:off x="4338370" y="3299701"/>
                <a:ext cx="54307" cy="51528"/>
              </a:xfrm>
              <a:custGeom>
                <a:avLst/>
                <a:gdLst/>
                <a:ahLst/>
                <a:cxnLst/>
                <a:rect l="l" t="t" r="r" b="b"/>
                <a:pathLst>
                  <a:path w="120682" h="126464">
                    <a:moveTo>
                      <a:pt x="15669" y="21740"/>
                    </a:moveTo>
                    <a:lnTo>
                      <a:pt x="23278" y="26911"/>
                    </a:lnTo>
                    <a:lnTo>
                      <a:pt x="28453" y="28721"/>
                    </a:lnTo>
                    <a:lnTo>
                      <a:pt x="36905" y="23587"/>
                    </a:lnTo>
                    <a:lnTo>
                      <a:pt x="42346" y="25201"/>
                    </a:lnTo>
                    <a:lnTo>
                      <a:pt x="62975" y="38190"/>
                    </a:lnTo>
                    <a:lnTo>
                      <a:pt x="66428" y="39311"/>
                    </a:lnTo>
                    <a:lnTo>
                      <a:pt x="71290" y="38712"/>
                    </a:lnTo>
                    <a:lnTo>
                      <a:pt x="79727" y="35484"/>
                    </a:lnTo>
                    <a:lnTo>
                      <a:pt x="84014" y="34812"/>
                    </a:lnTo>
                    <a:lnTo>
                      <a:pt x="92487" y="36697"/>
                    </a:lnTo>
                    <a:lnTo>
                      <a:pt x="96732" y="38947"/>
                    </a:lnTo>
                    <a:lnTo>
                      <a:pt x="98493" y="41876"/>
                    </a:lnTo>
                    <a:lnTo>
                      <a:pt x="100236" y="42970"/>
                    </a:lnTo>
                    <a:lnTo>
                      <a:pt x="107956" y="52318"/>
                    </a:lnTo>
                    <a:lnTo>
                      <a:pt x="110013" y="56456"/>
                    </a:lnTo>
                    <a:lnTo>
                      <a:pt x="108441" y="77763"/>
                    </a:lnTo>
                    <a:lnTo>
                      <a:pt x="106722" y="83969"/>
                    </a:lnTo>
                    <a:lnTo>
                      <a:pt x="103212" y="92069"/>
                    </a:lnTo>
                    <a:lnTo>
                      <a:pt x="104772" y="95566"/>
                    </a:lnTo>
                    <a:lnTo>
                      <a:pt x="108897" y="96297"/>
                    </a:lnTo>
                    <a:lnTo>
                      <a:pt x="112999" y="96200"/>
                    </a:lnTo>
                    <a:lnTo>
                      <a:pt x="115857" y="96726"/>
                    </a:lnTo>
                    <a:lnTo>
                      <a:pt x="119053" y="98260"/>
                    </a:lnTo>
                    <a:lnTo>
                      <a:pt x="120682" y="99781"/>
                    </a:lnTo>
                    <a:lnTo>
                      <a:pt x="120666" y="99798"/>
                    </a:lnTo>
                    <a:lnTo>
                      <a:pt x="120266" y="100239"/>
                    </a:lnTo>
                    <a:lnTo>
                      <a:pt x="113664" y="107663"/>
                    </a:lnTo>
                    <a:lnTo>
                      <a:pt x="109681" y="108356"/>
                    </a:lnTo>
                    <a:lnTo>
                      <a:pt x="107718" y="112106"/>
                    </a:lnTo>
                    <a:lnTo>
                      <a:pt x="93227" y="125055"/>
                    </a:lnTo>
                    <a:lnTo>
                      <a:pt x="88224" y="126464"/>
                    </a:lnTo>
                    <a:lnTo>
                      <a:pt x="84814" y="124937"/>
                    </a:lnTo>
                    <a:lnTo>
                      <a:pt x="80720" y="118720"/>
                    </a:lnTo>
                    <a:lnTo>
                      <a:pt x="79074" y="111126"/>
                    </a:lnTo>
                    <a:lnTo>
                      <a:pt x="74003" y="108475"/>
                    </a:lnTo>
                    <a:lnTo>
                      <a:pt x="73569" y="105692"/>
                    </a:lnTo>
                    <a:lnTo>
                      <a:pt x="66478" y="92770"/>
                    </a:lnTo>
                    <a:lnTo>
                      <a:pt x="66616" y="87784"/>
                    </a:lnTo>
                    <a:lnTo>
                      <a:pt x="65564" y="84976"/>
                    </a:lnTo>
                    <a:lnTo>
                      <a:pt x="67724" y="81446"/>
                    </a:lnTo>
                    <a:lnTo>
                      <a:pt x="67636" y="72943"/>
                    </a:lnTo>
                    <a:lnTo>
                      <a:pt x="46392" y="78352"/>
                    </a:lnTo>
                    <a:lnTo>
                      <a:pt x="41609" y="76343"/>
                    </a:lnTo>
                    <a:lnTo>
                      <a:pt x="38108" y="68765"/>
                    </a:lnTo>
                    <a:lnTo>
                      <a:pt x="34866" y="65011"/>
                    </a:lnTo>
                    <a:lnTo>
                      <a:pt x="31410" y="64865"/>
                    </a:lnTo>
                    <a:lnTo>
                      <a:pt x="24678" y="69044"/>
                    </a:lnTo>
                    <a:lnTo>
                      <a:pt x="22241" y="64887"/>
                    </a:lnTo>
                    <a:lnTo>
                      <a:pt x="22523" y="62685"/>
                    </a:lnTo>
                    <a:lnTo>
                      <a:pt x="17173" y="64143"/>
                    </a:lnTo>
                    <a:lnTo>
                      <a:pt x="13595" y="59945"/>
                    </a:lnTo>
                    <a:lnTo>
                      <a:pt x="5420" y="59387"/>
                    </a:lnTo>
                    <a:lnTo>
                      <a:pt x="3214" y="53123"/>
                    </a:lnTo>
                    <a:lnTo>
                      <a:pt x="4151" y="44229"/>
                    </a:lnTo>
                    <a:lnTo>
                      <a:pt x="2441" y="40436"/>
                    </a:lnTo>
                    <a:lnTo>
                      <a:pt x="2966" y="35360"/>
                    </a:lnTo>
                    <a:lnTo>
                      <a:pt x="889" y="31768"/>
                    </a:lnTo>
                    <a:lnTo>
                      <a:pt x="935" y="31612"/>
                    </a:lnTo>
                    <a:lnTo>
                      <a:pt x="7" y="30049"/>
                    </a:lnTo>
                    <a:lnTo>
                      <a:pt x="0" y="30035"/>
                    </a:lnTo>
                    <a:lnTo>
                      <a:pt x="1604" y="28014"/>
                    </a:lnTo>
                    <a:lnTo>
                      <a:pt x="5981" y="24380"/>
                    </a:lnTo>
                    <a:lnTo>
                      <a:pt x="10819" y="22118"/>
                    </a:lnTo>
                    <a:close/>
                    <a:moveTo>
                      <a:pt x="68758" y="0"/>
                    </a:moveTo>
                    <a:lnTo>
                      <a:pt x="79901" y="2172"/>
                    </a:lnTo>
                    <a:lnTo>
                      <a:pt x="82138" y="3381"/>
                    </a:lnTo>
                    <a:lnTo>
                      <a:pt x="82507" y="7489"/>
                    </a:lnTo>
                    <a:lnTo>
                      <a:pt x="80964" y="12251"/>
                    </a:lnTo>
                    <a:lnTo>
                      <a:pt x="78732" y="16458"/>
                    </a:lnTo>
                    <a:lnTo>
                      <a:pt x="77059" y="18852"/>
                    </a:lnTo>
                    <a:lnTo>
                      <a:pt x="77518" y="15789"/>
                    </a:lnTo>
                    <a:lnTo>
                      <a:pt x="77679" y="13958"/>
                    </a:lnTo>
                    <a:lnTo>
                      <a:pt x="77972" y="12600"/>
                    </a:lnTo>
                    <a:lnTo>
                      <a:pt x="78866" y="10861"/>
                    </a:lnTo>
                    <a:lnTo>
                      <a:pt x="74013" y="6343"/>
                    </a:lnTo>
                    <a:lnTo>
                      <a:pt x="68657" y="5598"/>
                    </a:lnTo>
                    <a:lnTo>
                      <a:pt x="63246" y="6003"/>
                    </a:lnTo>
                    <a:lnTo>
                      <a:pt x="58288" y="5037"/>
                    </a:lnTo>
                    <a:lnTo>
                      <a:pt x="60779" y="2852"/>
                    </a:lnTo>
                    <a:lnTo>
                      <a:pt x="63253" y="1241"/>
                    </a:lnTo>
                    <a:lnTo>
                      <a:pt x="65869" y="289"/>
                    </a:lnTo>
                    <a:close/>
                  </a:path>
                </a:pathLst>
              </a:custGeom>
              <a:grpFill/>
              <a:ln w="3175" cap="rnd" cmpd="sng" algn="ctr">
                <a:solidFill>
                  <a:srgbClr val="7359A0"/>
                </a:solidFill>
                <a:prstDash val="solid"/>
                <a:miter lim="800000"/>
              </a:ln>
              <a:effectLst/>
            </p:spPr>
            <p:txBody>
              <a:bodyPr rot="0" spcFirstLastPara="0" vert="horz" wrap="square" lIns="72000" tIns="72000" rIns="72000" bIns="7200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615" name="Picture 614">
                <a:extLst>
                  <a:ext uri="{FF2B5EF4-FFF2-40B4-BE49-F238E27FC236}">
                    <a16:creationId xmlns:a16="http://schemas.microsoft.com/office/drawing/2014/main" id="{8D29EEC6-0918-B1A7-3CE3-04E94D2B9733}"/>
                  </a:ext>
                </a:extLst>
              </p:cNvPr>
              <p:cNvPicPr/>
              <p:nvPr/>
            </p:nvPicPr>
            <p:blipFill>
              <a:blip r:embed="rId4"/>
              <a:stretch>
                <a:fillRect/>
              </a:stretch>
            </p:blipFill>
            <p:spPr>
              <a:xfrm>
                <a:off x="5301069" y="2830733"/>
                <a:ext cx="0" cy="0"/>
              </a:xfrm>
              <a:prstGeom prst="rect">
                <a:avLst/>
              </a:prstGeom>
              <a:grpFill/>
              <a:ln>
                <a:solidFill>
                  <a:srgbClr val="7359A0"/>
                </a:solidFill>
              </a:ln>
            </p:spPr>
          </p:pic>
        </p:grpSp>
        <p:sp>
          <p:nvSpPr>
            <p:cNvPr id="616" name="Oval 615">
              <a:extLst>
                <a:ext uri="{FF2B5EF4-FFF2-40B4-BE49-F238E27FC236}">
                  <a16:creationId xmlns:a16="http://schemas.microsoft.com/office/drawing/2014/main" id="{A051804F-249D-6800-55D7-3CBC83011148}"/>
                </a:ext>
              </a:extLst>
            </p:cNvPr>
            <p:cNvSpPr/>
            <p:nvPr/>
          </p:nvSpPr>
          <p:spPr>
            <a:xfrm>
              <a:off x="6658795" y="3006574"/>
              <a:ext cx="89766" cy="81444"/>
            </a:xfrm>
            <a:prstGeom prst="ellipse">
              <a:avLst/>
            </a:prstGeom>
            <a:solidFill>
              <a:srgbClr val="7359A3"/>
            </a:solidFill>
            <a:ln w="12700" cap="flat" cmpd="sng" algn="ctr">
              <a:solidFill>
                <a:srgbClr val="00A19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cxnSp>
          <p:nvCxnSpPr>
            <p:cNvPr id="617" name="Straight Connector 616">
              <a:extLst>
                <a:ext uri="{FF2B5EF4-FFF2-40B4-BE49-F238E27FC236}">
                  <a16:creationId xmlns:a16="http://schemas.microsoft.com/office/drawing/2014/main" id="{75EC8EB0-994C-2ADB-A4AE-5324EFE1C825}"/>
                </a:ext>
              </a:extLst>
            </p:cNvPr>
            <p:cNvCxnSpPr>
              <a:cxnSpLocks/>
            </p:cNvCxnSpPr>
            <p:nvPr/>
          </p:nvCxnSpPr>
          <p:spPr>
            <a:xfrm flipH="1">
              <a:off x="8523814" y="3046414"/>
              <a:ext cx="3042" cy="251121"/>
            </a:xfrm>
            <a:prstGeom prst="line">
              <a:avLst/>
            </a:prstGeom>
            <a:noFill/>
            <a:ln w="6350" cap="flat" cmpd="sng" algn="ctr">
              <a:solidFill>
                <a:sysClr val="windowText" lastClr="000000"/>
              </a:solidFill>
              <a:prstDash val="solid"/>
              <a:miter lim="800000"/>
            </a:ln>
            <a:effectLst/>
          </p:spPr>
        </p:cxnSp>
        <p:sp>
          <p:nvSpPr>
            <p:cNvPr id="618" name="Oval 617">
              <a:extLst>
                <a:ext uri="{FF2B5EF4-FFF2-40B4-BE49-F238E27FC236}">
                  <a16:creationId xmlns:a16="http://schemas.microsoft.com/office/drawing/2014/main" id="{8242D450-C752-46F0-9D3B-ACDD2EB485B5}"/>
                </a:ext>
              </a:extLst>
            </p:cNvPr>
            <p:cNvSpPr/>
            <p:nvPr/>
          </p:nvSpPr>
          <p:spPr>
            <a:xfrm>
              <a:off x="8480154" y="3141534"/>
              <a:ext cx="89766" cy="81444"/>
            </a:xfrm>
            <a:prstGeom prst="ellipse">
              <a:avLst/>
            </a:prstGeom>
            <a:solidFill>
              <a:srgbClr val="00A194"/>
            </a:solidFill>
            <a:ln w="12700" cap="flat" cmpd="sng" algn="ctr">
              <a:solidFill>
                <a:srgbClr val="00A19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4" name="Oval 3">
              <a:extLst>
                <a:ext uri="{FF2B5EF4-FFF2-40B4-BE49-F238E27FC236}">
                  <a16:creationId xmlns:a16="http://schemas.microsoft.com/office/drawing/2014/main" id="{DE3A3561-5AB2-9A15-FDDD-BDB00D16F9DF}"/>
                </a:ext>
              </a:extLst>
            </p:cNvPr>
            <p:cNvSpPr/>
            <p:nvPr/>
          </p:nvSpPr>
          <p:spPr>
            <a:xfrm>
              <a:off x="8428157" y="2900639"/>
              <a:ext cx="89766" cy="81444"/>
            </a:xfrm>
            <a:prstGeom prst="ellipse">
              <a:avLst/>
            </a:prstGeom>
            <a:solidFill>
              <a:srgbClr val="7359A3"/>
            </a:solidFill>
            <a:ln w="12700" cap="flat" cmpd="sng" algn="ctr">
              <a:solidFill>
                <a:srgbClr val="00A19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cxnSp>
          <p:nvCxnSpPr>
            <p:cNvPr id="5" name="Straight Connector 4">
              <a:extLst>
                <a:ext uri="{FF2B5EF4-FFF2-40B4-BE49-F238E27FC236}">
                  <a16:creationId xmlns:a16="http://schemas.microsoft.com/office/drawing/2014/main" id="{0E965495-FD6D-A67E-3536-344C35B7ACCB}"/>
                </a:ext>
              </a:extLst>
            </p:cNvPr>
            <p:cNvCxnSpPr>
              <a:cxnSpLocks/>
            </p:cNvCxnSpPr>
            <p:nvPr/>
          </p:nvCxnSpPr>
          <p:spPr>
            <a:xfrm flipV="1">
              <a:off x="8444734" y="2605747"/>
              <a:ext cx="187458" cy="63204"/>
            </a:xfrm>
            <a:prstGeom prst="line">
              <a:avLst/>
            </a:prstGeom>
            <a:noFill/>
            <a:ln w="6350" cap="flat" cmpd="sng" algn="ctr">
              <a:solidFill>
                <a:sysClr val="windowText" lastClr="000000"/>
              </a:solidFill>
              <a:prstDash val="solid"/>
              <a:miter lim="800000"/>
            </a:ln>
            <a:effectLst/>
          </p:spPr>
        </p:cxnSp>
        <p:sp>
          <p:nvSpPr>
            <p:cNvPr id="7" name="Oval 6">
              <a:extLst>
                <a:ext uri="{FF2B5EF4-FFF2-40B4-BE49-F238E27FC236}">
                  <a16:creationId xmlns:a16="http://schemas.microsoft.com/office/drawing/2014/main" id="{C792281C-6338-7F71-E191-CC004628B8D6}"/>
                </a:ext>
              </a:extLst>
            </p:cNvPr>
            <p:cNvSpPr/>
            <p:nvPr/>
          </p:nvSpPr>
          <p:spPr>
            <a:xfrm>
              <a:off x="8493282" y="2583095"/>
              <a:ext cx="89766" cy="81444"/>
            </a:xfrm>
            <a:prstGeom prst="ellipse">
              <a:avLst/>
            </a:prstGeom>
            <a:solidFill>
              <a:srgbClr val="7359A3"/>
            </a:solidFill>
            <a:ln w="12700" cap="flat" cmpd="sng" algn="ctr">
              <a:solidFill>
                <a:srgbClr val="00A19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16247550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jfikE3sjSm2npcux2WvMH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jfikE3sjSm2npcux2WvMH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EE4P_MAPWIZARD_ID" val="IE"/>
  <p:tag name="EE4P_MAPWIZARD_HEADINGS" val="Admin 0"/>
  <p:tag name="EE4P_MAPWIZARD" val="Ireland"/>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CER">
  <a:themeElements>
    <a:clrScheme name="ACER 2021 1">
      <a:dk1>
        <a:srgbClr val="000000"/>
      </a:dk1>
      <a:lt1>
        <a:srgbClr val="FFFFFF"/>
      </a:lt1>
      <a:dk2>
        <a:srgbClr val="3678BD"/>
      </a:dk2>
      <a:lt2>
        <a:srgbClr val="E6E6E6"/>
      </a:lt2>
      <a:accent1>
        <a:srgbClr val="3678BD"/>
      </a:accent1>
      <a:accent2>
        <a:srgbClr val="73CDE1"/>
      </a:accent2>
      <a:accent3>
        <a:srgbClr val="FFE150"/>
      </a:accent3>
      <a:accent4>
        <a:srgbClr val="96CD78"/>
      </a:accent4>
      <a:accent5>
        <a:srgbClr val="E6E6E6"/>
      </a:accent5>
      <a:accent6>
        <a:srgbClr val="C8C8C8"/>
      </a:accent6>
      <a:hlink>
        <a:srgbClr val="3678BD"/>
      </a:hlink>
      <a:folHlink>
        <a:srgbClr val="3678B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7858BADA-2292-4819-933B-544F207F6463}" vid="{D3BA16AE-1739-4B16-9881-9629B874FDCA}"/>
    </a:ext>
  </a:extLst>
</a:theme>
</file>

<file path=ppt/theme/theme10.xml><?xml version="1.0" encoding="utf-8"?>
<a:theme xmlns:a="http://schemas.openxmlformats.org/drawingml/2006/main" name="4_ENTSO-E Content">
  <a:themeElements>
    <a:clrScheme name="ENTSO-E">
      <a:dk1>
        <a:srgbClr val="3A3A3F"/>
      </a:dk1>
      <a:lt1>
        <a:srgbClr val="FFFFFF"/>
      </a:lt1>
      <a:dk2>
        <a:srgbClr val="3A3A3F"/>
      </a:dk2>
      <a:lt2>
        <a:srgbClr val="E7E6E6"/>
      </a:lt2>
      <a:accent1>
        <a:srgbClr val="2054A5"/>
      </a:accent1>
      <a:accent2>
        <a:srgbClr val="0FB29A"/>
      </a:accent2>
      <a:accent3>
        <a:srgbClr val="F37020"/>
      </a:accent3>
      <a:accent4>
        <a:srgbClr val="F7A431"/>
      </a:accent4>
      <a:accent5>
        <a:srgbClr val="3A3A3A"/>
      </a:accent5>
      <a:accent6>
        <a:srgbClr val="0073C8"/>
      </a:accent6>
      <a:hlink>
        <a:srgbClr val="0563C1"/>
      </a:hlink>
      <a:folHlink>
        <a:srgbClr val="954F72"/>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ntso-e_ppt_template_with_new title_slides_210709.pptx" id="{AD71176E-1EE7-4AA8-AF3C-1E0837130DDD}" vid="{6436E805-6281-4D28-9214-61C90FC0BFD2}"/>
    </a:ext>
  </a:extLst>
</a:theme>
</file>

<file path=ppt/theme/theme11.xml><?xml version="1.0" encoding="utf-8"?>
<a:theme xmlns:a="http://schemas.openxmlformats.org/drawingml/2006/main" name="5_ENTSO-E Content">
  <a:themeElements>
    <a:clrScheme name="ENTSO-E">
      <a:dk1>
        <a:srgbClr val="3A3A3F"/>
      </a:dk1>
      <a:lt1>
        <a:srgbClr val="FFFFFF"/>
      </a:lt1>
      <a:dk2>
        <a:srgbClr val="3A3A3F"/>
      </a:dk2>
      <a:lt2>
        <a:srgbClr val="E7E6E6"/>
      </a:lt2>
      <a:accent1>
        <a:srgbClr val="2054A5"/>
      </a:accent1>
      <a:accent2>
        <a:srgbClr val="0FB29A"/>
      </a:accent2>
      <a:accent3>
        <a:srgbClr val="F37020"/>
      </a:accent3>
      <a:accent4>
        <a:srgbClr val="F7A431"/>
      </a:accent4>
      <a:accent5>
        <a:srgbClr val="3A3A3A"/>
      </a:accent5>
      <a:accent6>
        <a:srgbClr val="0073C8"/>
      </a:accent6>
      <a:hlink>
        <a:srgbClr val="0563C1"/>
      </a:hlink>
      <a:folHlink>
        <a:srgbClr val="954F72"/>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ntso-e PowerPoint template" id="{04619949-BA4E-4BB9-8846-10464130B406}" vid="{D5702965-D668-4821-B6C9-347041C44E36}"/>
    </a:ext>
  </a:extLst>
</a:theme>
</file>

<file path=ppt/theme/theme12.xml><?xml version="1.0" encoding="utf-8"?>
<a:theme xmlns:a="http://schemas.openxmlformats.org/drawingml/2006/main" name="Custom Design">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Core">
      <a:majorFont>
        <a:latin typeface="Arial"/>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3.xml><?xml version="1.0" encoding="utf-8"?>
<a:theme xmlns:a="http://schemas.openxmlformats.org/drawingml/2006/main" name="ACER THEME">
  <a:themeElements>
    <a:clrScheme name="Custom 1">
      <a:dk1>
        <a:srgbClr val="000000"/>
      </a:dk1>
      <a:lt1>
        <a:srgbClr val="FFFFFF"/>
      </a:lt1>
      <a:dk2>
        <a:srgbClr val="004FEE"/>
      </a:dk2>
      <a:lt2>
        <a:srgbClr val="E6E6E6"/>
      </a:lt2>
      <a:accent1>
        <a:srgbClr val="004FEE"/>
      </a:accent1>
      <a:accent2>
        <a:srgbClr val="9BE6DF"/>
      </a:accent2>
      <a:accent3>
        <a:srgbClr val="FEEA70"/>
      </a:accent3>
      <a:accent4>
        <a:srgbClr val="81F39C"/>
      </a:accent4>
      <a:accent5>
        <a:srgbClr val="BC9BFD"/>
      </a:accent5>
      <a:accent6>
        <a:srgbClr val="FC8585"/>
      </a:accent6>
      <a:hlink>
        <a:srgbClr val="004FEE"/>
      </a:hlink>
      <a:folHlink>
        <a:srgbClr val="004FE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wrap="square" lIns="91440" tIns="45720" rIns="91440" bIns="45720" rtlCol="0" anchor="t">
        <a:normAutofit/>
      </a:bodyPr>
      <a:lstStyle>
        <a:defPPr algn="l">
          <a:spcAft>
            <a:spcPts val="600"/>
          </a:spcAft>
          <a:buClr>
            <a:schemeClr val="tx2"/>
          </a:buClr>
          <a:defRPr sz="2000" dirty="0" smtClean="0"/>
        </a:defPPr>
      </a:lstStyle>
    </a:txDef>
  </a:objectDefaults>
  <a:extraClrSchemeLst/>
  <a:extLst>
    <a:ext uri="{05A4C25C-085E-4340-85A3-A5531E510DB2}">
      <thm15:themeFamily xmlns:thm15="http://schemas.microsoft.com/office/thememl/2012/main" name="PPT" id="{D9E09348-408F-42EE-B250-4AD01F282914}" vid="{75FA9078-F5B6-47BA-BC69-78E9E75C9BC8}"/>
    </a:ext>
  </a:extLst>
</a:theme>
</file>

<file path=ppt/theme/theme14.xml><?xml version="1.0" encoding="utf-8"?>
<a:theme xmlns:a="http://schemas.openxmlformats.org/drawingml/2006/main" name="6_ENTSO-E Content">
  <a:themeElements>
    <a:clrScheme name="ENTSO-E">
      <a:dk1>
        <a:srgbClr val="3A3A3F"/>
      </a:dk1>
      <a:lt1>
        <a:srgbClr val="FFFFFF"/>
      </a:lt1>
      <a:dk2>
        <a:srgbClr val="3A3A3F"/>
      </a:dk2>
      <a:lt2>
        <a:srgbClr val="E7E6E6"/>
      </a:lt2>
      <a:accent1>
        <a:srgbClr val="2054A5"/>
      </a:accent1>
      <a:accent2>
        <a:srgbClr val="0FB29A"/>
      </a:accent2>
      <a:accent3>
        <a:srgbClr val="F37020"/>
      </a:accent3>
      <a:accent4>
        <a:srgbClr val="F7A431"/>
      </a:accent4>
      <a:accent5>
        <a:srgbClr val="3A3A3A"/>
      </a:accent5>
      <a:accent6>
        <a:srgbClr val="0073C8"/>
      </a:accent6>
      <a:hlink>
        <a:srgbClr val="0563C1"/>
      </a:hlink>
      <a:folHlink>
        <a:srgbClr val="954F72"/>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ntso-e_ppt_template_with_new title_slides_210709.pptx" id="{AD71176E-1EE7-4AA8-AF3C-1E0837130DDD}" vid="{6436E805-6281-4D28-9214-61C90FC0BFD2}"/>
    </a:ext>
  </a:extLst>
</a:theme>
</file>

<file path=ppt/theme/theme15.xml><?xml version="1.0" encoding="utf-8"?>
<a:theme xmlns:a="http://schemas.openxmlformats.org/drawingml/2006/main" name="8_Magnus Red 4ENERGY">
  <a:themeElements>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FF"/>
        </a:solidFill>
        <a:ln w="952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b="0" i="0" u="none" strike="noStrike" cap="none" normalizeH="0" baseline="0" smtClean="0">
            <a:ln>
              <a:noFill/>
            </a:ln>
            <a:solidFill>
              <a:schemeClr val="tx1"/>
            </a:solidFill>
            <a:effectLst/>
            <a:latin typeface="+mn-lt"/>
          </a:defRPr>
        </a:defPPr>
      </a:lstStyle>
    </a:spDef>
    <a:lnDef>
      <a:spPr bwMode="auto">
        <a:solidFill>
          <a:schemeClr val="accent1"/>
        </a:solidFill>
        <a:ln w="19050" cap="flat" cmpd="sng" algn="ctr">
          <a:solidFill>
            <a:schemeClr val="tx1"/>
          </a:solidFill>
          <a:prstDash val="solid"/>
          <a:round/>
          <a:headEnd type="none" w="med" len="med"/>
          <a:tailEnd type="arrow"/>
        </a:ln>
        <a:effectLst/>
      </a:spPr>
      <a:bodyPr/>
      <a:lstStyle/>
    </a:lnDef>
    <a:txDef>
      <a:spPr>
        <a:noFill/>
      </a:spPr>
      <a:bodyPr wrap="none" rtlCol="0">
        <a:spAutoFit/>
      </a:bodyPr>
      <a:lstStyle>
        <a:defPPr algn="l">
          <a:defRPr sz="1400" smtClean="0">
            <a:solidFill>
              <a:schemeClr val="tx2"/>
            </a:solidFill>
            <a:latin typeface="Arial" panose="020B0604020202020204" pitchFamily="34" charset="0"/>
            <a:cs typeface="Arial" panose="020B0604020202020204" pitchFamily="34" charset="0"/>
          </a:defRPr>
        </a:defPPr>
      </a:lstStyle>
    </a:txDef>
  </a:objectDefaults>
  <a:extraClrSchemeLst>
    <a:extraClrScheme>
      <a:clrScheme name="Nouvelle pré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ouvelle pré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ouvelle pré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ouvelle pré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ouvelle pré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ouvelle pré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ouvelle pré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ouvelle pré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ouvelle pré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ouvelle pré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ouvelle pré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ouvelle pré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emplate CWE slides 2" id="{9C6C80EF-07BA-4316-A3B7-3AC9E50EED1F}" vid="{7A22D3B6-89C6-4749-A306-7BF1AB253485}"/>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CM leeg Powerpoint-sjabloon - NL">
  <a:themeElements>
    <a:clrScheme name="ACM Themakleuren">
      <a:dk1>
        <a:srgbClr val="000000"/>
      </a:dk1>
      <a:lt1>
        <a:sysClr val="window" lastClr="FFFFFF"/>
      </a:lt1>
      <a:dk2>
        <a:srgbClr val="E5007D"/>
      </a:dk2>
      <a:lt2>
        <a:srgbClr val="F2F2F2"/>
      </a:lt2>
      <a:accent1>
        <a:srgbClr val="5F1F7A"/>
      </a:accent1>
      <a:accent2>
        <a:srgbClr val="E5007D"/>
      </a:accent2>
      <a:accent3>
        <a:srgbClr val="B2ADC9"/>
      </a:accent3>
      <a:accent4>
        <a:srgbClr val="007FAE"/>
      </a:accent4>
      <a:accent5>
        <a:srgbClr val="FCC800"/>
      </a:accent5>
      <a:accent6>
        <a:srgbClr val="007C00"/>
      </a:accent6>
      <a:hlink>
        <a:srgbClr val="007FAE"/>
      </a:hlink>
      <a:folHlink>
        <a:srgbClr val="5F1F7A"/>
      </a:folHlink>
    </a:clrScheme>
    <a:fontScheme name="ACM fonts 1">
      <a:majorFont>
        <a:latin typeface="DIN Alternate"/>
        <a:ea typeface=""/>
        <a:cs typeface=""/>
      </a:majorFont>
      <a:minorFont>
        <a:latin typeface="Arial"/>
        <a:ea typeface=""/>
        <a:cs typeface=""/>
      </a:minorFont>
    </a:fontScheme>
    <a:fmtScheme name="Hardcover">
      <a:fillStyleLst>
        <a:solidFill>
          <a:schemeClr val="phClr"/>
        </a:solidFill>
        <a:solidFill>
          <a:schemeClr val="phClr">
            <a:tint val="68000"/>
            <a:shade val="94000"/>
            <a:satMod val="300000"/>
            <a:lumMod val="110000"/>
          </a:schemeClr>
        </a:solidFill>
        <a:gradFill rotWithShape="1">
          <a:gsLst>
            <a:gs pos="0">
              <a:schemeClr val="phClr">
                <a:tint val="94000"/>
                <a:satMod val="180000"/>
                <a:lumMod val="98000"/>
              </a:schemeClr>
            </a:gs>
            <a:gs pos="100000">
              <a:schemeClr val="phClr">
                <a:satMod val="130000"/>
              </a:schemeClr>
            </a:gs>
          </a:gsLst>
          <a:lin ang="5160000" scaled="0"/>
        </a:gradFill>
      </a:fillStyleLst>
      <a:lnStyleLst>
        <a:ln w="12700" cap="flat" cmpd="sng" algn="ctr">
          <a:solidFill>
            <a:schemeClr val="phClr">
              <a:shade val="90000"/>
              <a:lumMod val="90000"/>
            </a:schemeClr>
          </a:solidFill>
          <a:prstDash val="solid"/>
        </a:ln>
        <a:ln w="19050" cap="flat" cmpd="sng" algn="ctr">
          <a:solidFill>
            <a:schemeClr val="phClr">
              <a:shade val="75000"/>
              <a:lumMod val="90000"/>
            </a:schemeClr>
          </a:solidFill>
          <a:prstDash val="solid"/>
        </a:ln>
        <a:ln w="25400" cap="flat" cmpd="sng" algn="ctr">
          <a:solidFill>
            <a:schemeClr val="phClr"/>
          </a:solidFill>
          <a:prstDash val="solid"/>
        </a:ln>
      </a:lnStyleLst>
      <a:effectStyleLst>
        <a:effectStyle>
          <a:effectLst>
            <a:outerShdw blurRad="38100" dist="12700" dir="5400000" rotWithShape="0">
              <a:srgbClr val="000000">
                <a:alpha val="15000"/>
              </a:srgbClr>
            </a:outerShdw>
          </a:effectLst>
        </a:effectStyle>
        <a:effectStyle>
          <a:effectLst>
            <a:outerShdw blurRad="50800" dist="25400" dir="5400000" rotWithShape="0">
              <a:srgbClr val="000000">
                <a:alpha val="46000"/>
              </a:srgbClr>
            </a:outerShdw>
          </a:effectLst>
        </a:effectStyle>
        <a:effectStyle>
          <a:effectLst>
            <a:outerShdw blurRad="50800" dist="25400" dir="5400000" rotWithShape="0">
              <a:srgbClr val="000000">
                <a:alpha val="48000"/>
              </a:srgbClr>
            </a:outerShdw>
          </a:effectLst>
          <a:scene3d>
            <a:camera prst="orthographicFront">
              <a:rot lat="0" lon="0" rev="0"/>
            </a:camera>
            <a:lightRig rig="threePt" dir="tl">
              <a:rot lat="0" lon="0" rev="2400000"/>
            </a:lightRig>
          </a:scene3d>
          <a:sp3d>
            <a:bevelT w="254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_NL_Office365" id="{E27D6D1D-7C18-4A14-8DD6-41A3F5D47100}" vid="{ECEB035B-2340-48BF-ADE3-0FE0F464A07B}"/>
    </a:ext>
  </a:extLst>
</a:theme>
</file>

<file path=ppt/theme/theme3.xml><?xml version="1.0" encoding="utf-8"?>
<a:theme xmlns:a="http://schemas.openxmlformats.org/drawingml/2006/main" name="Inhoudsdia's">
  <a:themeElements>
    <a:clrScheme name="ACM Themakleuren">
      <a:dk1>
        <a:srgbClr val="000000"/>
      </a:dk1>
      <a:lt1>
        <a:sysClr val="window" lastClr="FFFFFF"/>
      </a:lt1>
      <a:dk2>
        <a:srgbClr val="E5007D"/>
      </a:dk2>
      <a:lt2>
        <a:srgbClr val="F2F2F2"/>
      </a:lt2>
      <a:accent1>
        <a:srgbClr val="5F1F7A"/>
      </a:accent1>
      <a:accent2>
        <a:srgbClr val="E5007D"/>
      </a:accent2>
      <a:accent3>
        <a:srgbClr val="B2ADC9"/>
      </a:accent3>
      <a:accent4>
        <a:srgbClr val="007FAE"/>
      </a:accent4>
      <a:accent5>
        <a:srgbClr val="FCC800"/>
      </a:accent5>
      <a:accent6>
        <a:srgbClr val="007C00"/>
      </a:accent6>
      <a:hlink>
        <a:srgbClr val="007FAE"/>
      </a:hlink>
      <a:folHlink>
        <a:srgbClr val="5F1F7A"/>
      </a:folHlink>
    </a:clrScheme>
    <a:fontScheme name="ACM fonts 1">
      <a:majorFont>
        <a:latin typeface="DIN Alternate"/>
        <a:ea typeface=""/>
        <a:cs typeface=""/>
      </a:majorFont>
      <a:minorFont>
        <a:latin typeface="Arial"/>
        <a:ea typeface=""/>
        <a:cs typeface=""/>
      </a:minorFont>
    </a:fontScheme>
    <a:fmtScheme name="Hardcover">
      <a:fillStyleLst>
        <a:solidFill>
          <a:schemeClr val="phClr"/>
        </a:solidFill>
        <a:solidFill>
          <a:schemeClr val="phClr">
            <a:tint val="68000"/>
            <a:shade val="94000"/>
            <a:satMod val="300000"/>
            <a:lumMod val="110000"/>
          </a:schemeClr>
        </a:solidFill>
        <a:gradFill rotWithShape="1">
          <a:gsLst>
            <a:gs pos="0">
              <a:schemeClr val="phClr">
                <a:tint val="94000"/>
                <a:satMod val="180000"/>
                <a:lumMod val="98000"/>
              </a:schemeClr>
            </a:gs>
            <a:gs pos="100000">
              <a:schemeClr val="phClr">
                <a:satMod val="130000"/>
              </a:schemeClr>
            </a:gs>
          </a:gsLst>
          <a:lin ang="5160000" scaled="0"/>
        </a:gradFill>
      </a:fillStyleLst>
      <a:lnStyleLst>
        <a:ln w="12700" cap="flat" cmpd="sng" algn="ctr">
          <a:solidFill>
            <a:schemeClr val="phClr">
              <a:shade val="90000"/>
              <a:lumMod val="90000"/>
            </a:schemeClr>
          </a:solidFill>
          <a:prstDash val="solid"/>
        </a:ln>
        <a:ln w="19050" cap="flat" cmpd="sng" algn="ctr">
          <a:solidFill>
            <a:schemeClr val="phClr">
              <a:shade val="75000"/>
              <a:lumMod val="90000"/>
            </a:schemeClr>
          </a:solidFill>
          <a:prstDash val="solid"/>
        </a:ln>
        <a:ln w="25400" cap="flat" cmpd="sng" algn="ctr">
          <a:solidFill>
            <a:schemeClr val="phClr"/>
          </a:solidFill>
          <a:prstDash val="solid"/>
        </a:ln>
      </a:lnStyleLst>
      <a:effectStyleLst>
        <a:effectStyle>
          <a:effectLst>
            <a:outerShdw blurRad="38100" dist="12700" dir="5400000" rotWithShape="0">
              <a:srgbClr val="000000">
                <a:alpha val="15000"/>
              </a:srgbClr>
            </a:outerShdw>
          </a:effectLst>
        </a:effectStyle>
        <a:effectStyle>
          <a:effectLst>
            <a:outerShdw blurRad="50800" dist="25400" dir="5400000" rotWithShape="0">
              <a:srgbClr val="000000">
                <a:alpha val="46000"/>
              </a:srgbClr>
            </a:outerShdw>
          </a:effectLst>
        </a:effectStyle>
        <a:effectStyle>
          <a:effectLst>
            <a:outerShdw blurRad="50800" dist="25400" dir="5400000" rotWithShape="0">
              <a:srgbClr val="000000">
                <a:alpha val="48000"/>
              </a:srgbClr>
            </a:outerShdw>
          </a:effectLst>
          <a:scene3d>
            <a:camera prst="orthographicFront">
              <a:rot lat="0" lon="0" rev="0"/>
            </a:camera>
            <a:lightRig rig="threePt" dir="tl">
              <a:rot lat="0" lon="0" rev="2400000"/>
            </a:lightRig>
          </a:scene3d>
          <a:sp3d>
            <a:bevelT w="254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_NL_Office365" id="{E27D6D1D-7C18-4A14-8DD6-41A3F5D47100}" vid="{A266008A-5FE5-4351-B36D-08105987AC7F}"/>
    </a:ext>
  </a:extLst>
</a:theme>
</file>

<file path=ppt/theme/theme4.xml><?xml version="1.0" encoding="utf-8"?>
<a:theme xmlns:a="http://schemas.openxmlformats.org/drawingml/2006/main" name="9_ENTSO-E Cover">
  <a:themeElements>
    <a:clrScheme name="ENTSO-E">
      <a:dk1>
        <a:srgbClr val="313131"/>
      </a:dk1>
      <a:lt1>
        <a:srgbClr val="FFFFFF"/>
      </a:lt1>
      <a:dk2>
        <a:srgbClr val="313131"/>
      </a:dk2>
      <a:lt2>
        <a:srgbClr val="FFFFFF"/>
      </a:lt2>
      <a:accent1>
        <a:srgbClr val="134094"/>
      </a:accent1>
      <a:accent2>
        <a:srgbClr val="EC6602"/>
      </a:accent2>
      <a:accent3>
        <a:srgbClr val="009992"/>
      </a:accent3>
      <a:accent4>
        <a:srgbClr val="FFCC00"/>
      </a:accent4>
      <a:accent5>
        <a:srgbClr val="707F86"/>
      </a:accent5>
      <a:accent6>
        <a:srgbClr val="A7B3B9"/>
      </a:accent6>
      <a:hlink>
        <a:srgbClr val="BF027F"/>
      </a:hlink>
      <a:folHlink>
        <a:srgbClr val="670F16"/>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42B0DF6B-7160-394F-9876-CC35ABDDDBD6}" vid="{CDA89A99-D0A5-684E-9556-1D1BB4DAFE6B}"/>
    </a:ext>
  </a:extLst>
</a:theme>
</file>

<file path=ppt/theme/theme5.xml><?xml version="1.0" encoding="utf-8"?>
<a:theme xmlns:a="http://schemas.openxmlformats.org/drawingml/2006/main" name="2_ENTSO-E Content">
  <a:themeElements>
    <a:clrScheme name="ENTSO-E">
      <a:dk1>
        <a:srgbClr val="3A3A3F"/>
      </a:dk1>
      <a:lt1>
        <a:srgbClr val="FFFFFF"/>
      </a:lt1>
      <a:dk2>
        <a:srgbClr val="3A3A3F"/>
      </a:dk2>
      <a:lt2>
        <a:srgbClr val="E7E6E6"/>
      </a:lt2>
      <a:accent1>
        <a:srgbClr val="2054A5"/>
      </a:accent1>
      <a:accent2>
        <a:srgbClr val="0FB29A"/>
      </a:accent2>
      <a:accent3>
        <a:srgbClr val="F37020"/>
      </a:accent3>
      <a:accent4>
        <a:srgbClr val="F7A431"/>
      </a:accent4>
      <a:accent5>
        <a:srgbClr val="3A3A3A"/>
      </a:accent5>
      <a:accent6>
        <a:srgbClr val="0073C8"/>
      </a:accent6>
      <a:hlink>
        <a:srgbClr val="0563C1"/>
      </a:hlink>
      <a:folHlink>
        <a:srgbClr val="954F72"/>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42B0DF6B-7160-394F-9876-CC35ABDDDBD6}" vid="{C5760BF1-A972-D844-8595-9E61C43D0D9C}"/>
    </a:ext>
  </a:extLst>
</a:theme>
</file>

<file path=ppt/theme/theme6.xml><?xml version="1.0" encoding="utf-8"?>
<a:theme xmlns:a="http://schemas.openxmlformats.org/drawingml/2006/main" name="3_ENTSO-E Content">
  <a:themeElements>
    <a:clrScheme name="ENTSO-E">
      <a:dk1>
        <a:srgbClr val="3A3A3F"/>
      </a:dk1>
      <a:lt1>
        <a:srgbClr val="FFFFFF"/>
      </a:lt1>
      <a:dk2>
        <a:srgbClr val="3A3A3F"/>
      </a:dk2>
      <a:lt2>
        <a:srgbClr val="E7E6E6"/>
      </a:lt2>
      <a:accent1>
        <a:srgbClr val="2054A5"/>
      </a:accent1>
      <a:accent2>
        <a:srgbClr val="0FB29A"/>
      </a:accent2>
      <a:accent3>
        <a:srgbClr val="F37020"/>
      </a:accent3>
      <a:accent4>
        <a:srgbClr val="F7A431"/>
      </a:accent4>
      <a:accent5>
        <a:srgbClr val="3A3A3A"/>
      </a:accent5>
      <a:accent6>
        <a:srgbClr val="0073C8"/>
      </a:accent6>
      <a:hlink>
        <a:srgbClr val="0563C1"/>
      </a:hlink>
      <a:folHlink>
        <a:srgbClr val="954F72"/>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42B0DF6B-7160-394F-9876-CC35ABDDDBD6}" vid="{C5760BF1-A972-D844-8595-9E61C43D0D9C}"/>
    </a:ext>
  </a:extLst>
</a:theme>
</file>

<file path=ppt/theme/theme7.xml><?xml version="1.0" encoding="utf-8"?>
<a:theme xmlns:a="http://schemas.openxmlformats.org/drawingml/2006/main" name="colour palette new PPT">
  <a:themeElements>
    <a:clrScheme name="EC Colour Palette 2024">
      <a:dk1>
        <a:sysClr val="windowText" lastClr="000000"/>
      </a:dk1>
      <a:lt1>
        <a:sysClr val="window" lastClr="FFFFFF"/>
      </a:lt1>
      <a:dk2>
        <a:srgbClr val="003399"/>
      </a:dk2>
      <a:lt2>
        <a:srgbClr val="C6E5DF"/>
      </a:lt2>
      <a:accent1>
        <a:srgbClr val="44BA7E"/>
      </a:accent1>
      <a:accent2>
        <a:srgbClr val="000083"/>
      </a:accent2>
      <a:accent3>
        <a:srgbClr val="48038C"/>
      </a:accent3>
      <a:accent4>
        <a:srgbClr val="FF712C"/>
      </a:accent4>
      <a:accent5>
        <a:srgbClr val="FFD34E"/>
      </a:accent5>
      <a:accent6>
        <a:srgbClr val="DD0C86"/>
      </a:accent6>
      <a:hlink>
        <a:srgbClr val="003399"/>
      </a:hlink>
      <a:folHlink>
        <a:srgbClr val="003399"/>
      </a:folHlink>
    </a:clrScheme>
    <a:fontScheme name="EC revamp">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evamp_VI_EC_Corporate_PPT_Template_2024.pptx  -  Read-Only" id="{A476E394-1417-47A8-998E-FFB3C413DF64}" vid="{1C6DC389-8EFF-4C14-8109-DFBA60FF7BAF}"/>
    </a:ext>
  </a:extLst>
</a:theme>
</file>

<file path=ppt/theme/theme8.xml><?xml version="1.0" encoding="utf-8"?>
<a:theme xmlns:a="http://schemas.openxmlformats.org/drawingml/2006/main" name="SIDC">
  <a:themeElements>
    <a:clrScheme name="MCSC">
      <a:dk1>
        <a:sysClr val="windowText" lastClr="000000"/>
      </a:dk1>
      <a:lt1>
        <a:srgbClr val="FFFFFF"/>
      </a:lt1>
      <a:dk2>
        <a:srgbClr val="303030"/>
      </a:dk2>
      <a:lt2>
        <a:srgbClr val="C6C6C6"/>
      </a:lt2>
      <a:accent1>
        <a:srgbClr val="DEDC00"/>
      </a:accent1>
      <a:accent2>
        <a:srgbClr val="E5005A"/>
      </a:accent2>
      <a:accent3>
        <a:srgbClr val="26B8CD"/>
      </a:accent3>
      <a:accent4>
        <a:srgbClr val="F39100"/>
      </a:accent4>
      <a:accent5>
        <a:srgbClr val="E5005A"/>
      </a:accent5>
      <a:accent6>
        <a:srgbClr val="26B8CD"/>
      </a:accent6>
      <a:hlink>
        <a:srgbClr val="000000"/>
      </a:hlink>
      <a:folHlink>
        <a:srgbClr val="000000"/>
      </a:folHlink>
    </a:clrScheme>
    <a:fontScheme name="MCSC">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Red 70">
      <a:srgbClr val="FF8790"/>
    </a:custClr>
    <a:custClr name="Orange 70">
      <a:srgbClr val="FF8A74"/>
    </a:custClr>
    <a:custClr name="Yellow 80*">
      <a:srgbClr val="FFBB13"/>
    </a:custClr>
    <a:custClr name="Green 70">
      <a:srgbClr val="9CB704"/>
    </a:custClr>
    <a:custClr name="Blue 70">
      <a:srgbClr val="48B7DF"/>
    </a:custClr>
    <a:custClr name="Cyan 70">
      <a:srgbClr val="7CABFF"/>
    </a:custClr>
    <a:custClr name="Purple 70">
      <a:srgbClr val="A9A3EF"/>
    </a:custClr>
    <a:custClr name="Gray 70">
      <a:srgbClr val="ABABAB"/>
    </a:custClr>
    <a:custClr>
      <a:srgbClr val="FFFFFF"/>
    </a:custClr>
    <a:custClr>
      <a:srgbClr val="FFFFFF"/>
    </a:custClr>
    <a:custClr name="Red 50">
      <a:srgbClr val="EB1000"/>
    </a:custClr>
    <a:custClr name="Orange 60">
      <a:srgbClr val="FF5800"/>
    </a:custClr>
    <a:custClr name="Yellow 50*">
      <a:srgbClr val="996E00"/>
    </a:custClr>
    <a:custClr name="Green 50">
      <a:srgbClr val="6B7E00"/>
    </a:custClr>
    <a:custClr name="Blue 50">
      <a:srgbClr val="277EA1"/>
    </a:custClr>
    <a:custClr name="Cyan 50">
      <a:srgbClr val="0076DA"/>
    </a:custClr>
    <a:custClr name="Purple 50">
      <a:srgbClr val="7263E1"/>
    </a:custClr>
    <a:custClr name="Gray 50">
      <a:srgbClr val="767676"/>
    </a:custClr>
    <a:custClr>
      <a:srgbClr val="FFFFFF"/>
    </a:custClr>
    <a:custClr>
      <a:srgbClr val="FFFFFF"/>
    </a:custClr>
    <a:custClr name="Red 20">
      <a:srgbClr val="680300"/>
    </a:custClr>
    <a:custClr name="Orange 20">
      <a:srgbClr val="5C1A00"/>
    </a:custClr>
    <a:custClr name="Yellow 20*">
      <a:srgbClr val="412D00"/>
    </a:custClr>
    <a:custClr name="Green 20">
      <a:srgbClr val="2B3400"/>
    </a:custClr>
    <a:custClr name="Blue 20">
      <a:srgbClr val="003060"/>
    </a:custClr>
    <a:custClr name="Cyan 20">
      <a:srgbClr val="003060"/>
    </a:custClr>
    <a:custClr name="Purple 20">
      <a:srgbClr val="2C1C82"/>
    </a:custClr>
    <a:custClr name="Gray 20">
      <a:srgbClr val="303030"/>
    </a:custClr>
    <a:custClr>
      <a:srgbClr val="FFFFFF"/>
    </a:custClr>
    <a:custClr>
      <a:srgbClr val="FFFFFF"/>
    </a:custClr>
  </a:custClrLst>
  <a:extLst>
    <a:ext uri="{05A4C25C-085E-4340-85A3-A5531E510DB2}">
      <thm15:themeFamily xmlns:thm15="http://schemas.microsoft.com/office/thememl/2012/main" name="Template_MCSC-SIDC-SDAC.pptx" id="{3BC9DF87-4209-4FC3-AFB4-159F044C46F0}" vid="{B11B974E-2E10-477B-9AAE-DCF2D8902755}"/>
    </a:ext>
  </a:extLst>
</a:theme>
</file>

<file path=ppt/theme/theme9.xml><?xml version="1.0" encoding="utf-8"?>
<a:theme xmlns:a="http://schemas.openxmlformats.org/drawingml/2006/main" name="1_SIDC">
  <a:themeElements>
    <a:clrScheme name="MCSC">
      <a:dk1>
        <a:sysClr val="windowText" lastClr="000000"/>
      </a:dk1>
      <a:lt1>
        <a:srgbClr val="FFFFFF"/>
      </a:lt1>
      <a:dk2>
        <a:srgbClr val="303030"/>
      </a:dk2>
      <a:lt2>
        <a:srgbClr val="C6C6C6"/>
      </a:lt2>
      <a:accent1>
        <a:srgbClr val="DEDC00"/>
      </a:accent1>
      <a:accent2>
        <a:srgbClr val="E5005A"/>
      </a:accent2>
      <a:accent3>
        <a:srgbClr val="26B8CD"/>
      </a:accent3>
      <a:accent4>
        <a:srgbClr val="F39100"/>
      </a:accent4>
      <a:accent5>
        <a:srgbClr val="E5005A"/>
      </a:accent5>
      <a:accent6>
        <a:srgbClr val="26B8CD"/>
      </a:accent6>
      <a:hlink>
        <a:srgbClr val="000000"/>
      </a:hlink>
      <a:folHlink>
        <a:srgbClr val="000000"/>
      </a:folHlink>
    </a:clrScheme>
    <a:fontScheme name="MCSC">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Red 70">
      <a:srgbClr val="FF8790"/>
    </a:custClr>
    <a:custClr name="Orange 70">
      <a:srgbClr val="FF8A74"/>
    </a:custClr>
    <a:custClr name="Yellow 80*">
      <a:srgbClr val="FFBB13"/>
    </a:custClr>
    <a:custClr name="Green 70">
      <a:srgbClr val="9CB704"/>
    </a:custClr>
    <a:custClr name="Blue 70">
      <a:srgbClr val="48B7DF"/>
    </a:custClr>
    <a:custClr name="Cyan 70">
      <a:srgbClr val="7CABFF"/>
    </a:custClr>
    <a:custClr name="Purple 70">
      <a:srgbClr val="A9A3EF"/>
    </a:custClr>
    <a:custClr name="Gray 70">
      <a:srgbClr val="ABABAB"/>
    </a:custClr>
    <a:custClr>
      <a:srgbClr val="FFFFFF"/>
    </a:custClr>
    <a:custClr>
      <a:srgbClr val="FFFFFF"/>
    </a:custClr>
    <a:custClr name="Red 50">
      <a:srgbClr val="EB1000"/>
    </a:custClr>
    <a:custClr name="Orange 60">
      <a:srgbClr val="FF5800"/>
    </a:custClr>
    <a:custClr name="Yellow 50*">
      <a:srgbClr val="996E00"/>
    </a:custClr>
    <a:custClr name="Green 50">
      <a:srgbClr val="6B7E00"/>
    </a:custClr>
    <a:custClr name="Blue 50">
      <a:srgbClr val="277EA1"/>
    </a:custClr>
    <a:custClr name="Cyan 50">
      <a:srgbClr val="0076DA"/>
    </a:custClr>
    <a:custClr name="Purple 50">
      <a:srgbClr val="7263E1"/>
    </a:custClr>
    <a:custClr name="Gray 50">
      <a:srgbClr val="767676"/>
    </a:custClr>
    <a:custClr>
      <a:srgbClr val="FFFFFF"/>
    </a:custClr>
    <a:custClr>
      <a:srgbClr val="FFFFFF"/>
    </a:custClr>
    <a:custClr name="Red 20">
      <a:srgbClr val="680300"/>
    </a:custClr>
    <a:custClr name="Orange 20">
      <a:srgbClr val="5C1A00"/>
    </a:custClr>
    <a:custClr name="Yellow 20*">
      <a:srgbClr val="412D00"/>
    </a:custClr>
    <a:custClr name="Green 20">
      <a:srgbClr val="2B3400"/>
    </a:custClr>
    <a:custClr name="Blue 20">
      <a:srgbClr val="003060"/>
    </a:custClr>
    <a:custClr name="Cyan 20">
      <a:srgbClr val="003060"/>
    </a:custClr>
    <a:custClr name="Purple 20">
      <a:srgbClr val="2C1C82"/>
    </a:custClr>
    <a:custClr name="Gray 20">
      <a:srgbClr val="303030"/>
    </a:custClr>
    <a:custClr>
      <a:srgbClr val="FFFFFF"/>
    </a:custClr>
    <a:custClr>
      <a:srgbClr val="FFFFFF"/>
    </a:custClr>
  </a:custClrLst>
  <a:extLst>
    <a:ext uri="{05A4C25C-085E-4340-85A3-A5531E510DB2}">
      <thm15:themeFamily xmlns:thm15="http://schemas.microsoft.com/office/thememl/2012/main" name="Template_MCSC-SIDC-SDAC.pptx" id="{3BC9DF87-4209-4FC3-AFB4-159F044C46F0}" vid="{B11B974E-2E10-477B-9AAE-DCF2D8902755}"/>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LongProperties xmlns="http://schemas.microsoft.com/office/2006/metadata/longProperties"/>
</file>

<file path=customXml/item2.xml><?xml version="1.0" encoding="utf-8"?>
<ct:contentTypeSchema xmlns:ct="http://schemas.microsoft.com/office/2006/metadata/contentType" xmlns:ma="http://schemas.microsoft.com/office/2006/metadata/properties/metaAttributes" ct:_="" ma:_="" ma:contentTypeName="ACER Presentation" ma:contentTypeID="0x010100A221AB9DE64CA64FA22FCC454AE6904A0074555BB728DCB54AB243BB9699D2A70A" ma:contentTypeVersion="6" ma:contentTypeDescription="ACER Presentation Template" ma:contentTypeScope="" ma:versionID="2d0df2c2a18558006032ca4bddcb51f0">
  <xsd:schema xmlns:xsd="http://www.w3.org/2001/XMLSchema" xmlns:xs="http://www.w3.org/2001/XMLSchema" xmlns:p="http://schemas.microsoft.com/office/2006/metadata/properties" xmlns:ns2="a5ff7179-4526-4e31-84f3-1e5086ece008" targetNamespace="http://schemas.microsoft.com/office/2006/metadata/properties" ma:root="true" ma:fieldsID="a38fb715ff0e5bf2ebddedd436d2bb2f" ns2:_="">
    <xsd:import namespace="a5ff7179-4526-4e31-84f3-1e5086ece008"/>
    <xsd:element name="properties">
      <xsd:complexType>
        <xsd:sequence>
          <xsd:element name="documentManagement">
            <xsd:complexType>
              <xsd:all>
                <xsd:element ref="ns2:Abstract" minOccurs="0"/>
                <xsd:element ref="ns2:Chapter" minOccurs="0"/>
                <xsd:element ref="ns2:Document_x0020_Type" minOccurs="0"/>
                <xsd:element ref="ns2:MMR_x0020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5ff7179-4526-4e31-84f3-1e5086ece008" elementFormDefault="qualified">
    <xsd:import namespace="http://schemas.microsoft.com/office/2006/documentManagement/types"/>
    <xsd:import namespace="http://schemas.microsoft.com/office/infopath/2007/PartnerControls"/>
    <xsd:element name="Abstract" ma:index="8" nillable="true" ma:displayName="Abstract" ma:internalName="Abstract" ma:readOnly="false">
      <xsd:simpleType>
        <xsd:restriction base="dms:Note"/>
      </xsd:simpleType>
    </xsd:element>
    <xsd:element name="Chapter" ma:index="9" nillable="true" ma:displayName="Chapter" ma:default="Executive Summary" ma:format="Dropdown" ma:internalName="Chapter" ma:readOnly="false">
      <xsd:simpleType>
        <xsd:restriction base="dms:Choice">
          <xsd:enumeration value="Executive Summary"/>
          <xsd:enumeration value="Developments"/>
          <xsd:enumeration value="NTC"/>
          <xsd:enumeration value="70%"/>
          <xsd:enumeration value="Liquidity"/>
          <xsd:enumeration value="Balancing"/>
          <xsd:enumeration value="Flows"/>
        </xsd:restriction>
      </xsd:simpleType>
    </xsd:element>
    <xsd:element name="Document_x0020_Type" ma:index="10" nillable="true" ma:displayName="Document Type" ma:format="Dropdown" ma:internalName="Document_x0020_Type" ma:readOnly="false">
      <xsd:simpleType>
        <xsd:union memberTypes="dms:Text">
          <xsd:simpleType>
            <xsd:restriction base="dms:Choice">
              <xsd:enumeration value="Draft"/>
              <xsd:enumeration value="Data analysis"/>
              <xsd:enumeration value="Internal Team document"/>
            </xsd:restriction>
          </xsd:simpleType>
        </xsd:union>
      </xsd:simpleType>
    </xsd:element>
    <xsd:element name="MMR_x0020_version" ma:index="11" nillable="true" ma:displayName="MMR version" ma:internalName="MMR_x0020_version" ma:readOnly="fals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MMR_x0020_version xmlns="a5ff7179-4526-4e31-84f3-1e5086ece008" xsi:nil="true"/>
    <Chapter xmlns="a5ff7179-4526-4e31-84f3-1e5086ece008">Executive Summary</Chapter>
    <Abstract xmlns="a5ff7179-4526-4e31-84f3-1e5086ece008" xsi:nil="true"/>
    <Document_x0020_Type xmlns="a5ff7179-4526-4e31-84f3-1e5086ece008" xsi:nil="true"/>
  </documentManagement>
</p:properties>
</file>

<file path=customXml/itemProps1.xml><?xml version="1.0" encoding="utf-8"?>
<ds:datastoreItem xmlns:ds="http://schemas.openxmlformats.org/officeDocument/2006/customXml" ds:itemID="{A3D64C2B-80FA-4F8B-B39B-9FB9581B291A}">
  <ds:schemaRefs>
    <ds:schemaRef ds:uri="http://schemas.microsoft.com/office/2006/metadata/longProperties"/>
  </ds:schemaRefs>
</ds:datastoreItem>
</file>

<file path=customXml/itemProps2.xml><?xml version="1.0" encoding="utf-8"?>
<ds:datastoreItem xmlns:ds="http://schemas.openxmlformats.org/officeDocument/2006/customXml" ds:itemID="{F3BAE20D-48B2-4C1D-9417-12DF4D4BFB8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5ff7179-4526-4e31-84f3-1e5086ece0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791F61D-1749-4CDC-93FD-472FF1781CDE}">
  <ds:schemaRefs>
    <ds:schemaRef ds:uri="http://schemas.microsoft.com/sharepoint/v3/contenttype/forms"/>
  </ds:schemaRefs>
</ds:datastoreItem>
</file>

<file path=customXml/itemProps4.xml><?xml version="1.0" encoding="utf-8"?>
<ds:datastoreItem xmlns:ds="http://schemas.openxmlformats.org/officeDocument/2006/customXml" ds:itemID="{70E4F4B2-9425-43D6-A664-F4DFA0C5F17F}">
  <ds:schemaRefs>
    <ds:schemaRef ds:uri="http://schemas.microsoft.com/office/2006/metadata/properties"/>
    <ds:schemaRef ds:uri="http://schemas.openxmlformats.org/package/2006/metadata/core-properties"/>
    <ds:schemaRef ds:uri="http://www.w3.org/XML/1998/namespace"/>
    <ds:schemaRef ds:uri="http://schemas.microsoft.com/office/2006/documentManagement/types"/>
    <ds:schemaRef ds:uri="a5ff7179-4526-4e31-84f3-1e5086ece008"/>
    <ds:schemaRef ds:uri="http://purl.org/dc/terms/"/>
    <ds:schemaRef ds:uri="http://purl.org/dc/elements/1.1/"/>
    <ds:schemaRef ds:uri="http://schemas.microsoft.com/office/infopath/2007/PartnerControl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v2 ACER template</Template>
  <TotalTime>55914</TotalTime>
  <Words>912</Words>
  <Application>Microsoft Office PowerPoint</Application>
  <PresentationFormat>Widescreen</PresentationFormat>
  <Paragraphs>94</Paragraphs>
  <Slides>10</Slides>
  <Notes>3</Notes>
  <HiddenSlides>0</HiddenSlides>
  <MMClips>0</MMClips>
  <ScaleCrop>false</ScaleCrop>
  <HeadingPairs>
    <vt:vector size="8" baseType="variant">
      <vt:variant>
        <vt:lpstr>Fonts Used</vt:lpstr>
      </vt:variant>
      <vt:variant>
        <vt:i4>9</vt:i4>
      </vt:variant>
      <vt:variant>
        <vt:lpstr>Theme</vt:lpstr>
      </vt:variant>
      <vt:variant>
        <vt:i4>15</vt:i4>
      </vt:variant>
      <vt:variant>
        <vt:lpstr>Embedded OLE Servers</vt:lpstr>
      </vt:variant>
      <vt:variant>
        <vt:i4>2</vt:i4>
      </vt:variant>
      <vt:variant>
        <vt:lpstr>Slide Titles</vt:lpstr>
      </vt:variant>
      <vt:variant>
        <vt:i4>10</vt:i4>
      </vt:variant>
    </vt:vector>
  </HeadingPairs>
  <TitlesOfParts>
    <vt:vector size="36" baseType="lpstr">
      <vt:lpstr>Arial</vt:lpstr>
      <vt:lpstr>Calibri</vt:lpstr>
      <vt:lpstr>Courier New</vt:lpstr>
      <vt:lpstr>Inter</vt:lpstr>
      <vt:lpstr>System Font Regular</vt:lpstr>
      <vt:lpstr>Trebuchet MS</vt:lpstr>
      <vt:lpstr>Verdana</vt:lpstr>
      <vt:lpstr>Wingdings</vt:lpstr>
      <vt:lpstr>Wingdings 3</vt:lpstr>
      <vt:lpstr>ACER</vt:lpstr>
      <vt:lpstr>ACM leeg Powerpoint-sjabloon - NL</vt:lpstr>
      <vt:lpstr>Inhoudsdia's</vt:lpstr>
      <vt:lpstr>9_ENTSO-E Cover</vt:lpstr>
      <vt:lpstr>2_ENTSO-E Content</vt:lpstr>
      <vt:lpstr>3_ENTSO-E Content</vt:lpstr>
      <vt:lpstr>colour palette new PPT</vt:lpstr>
      <vt:lpstr>SIDC</vt:lpstr>
      <vt:lpstr>1_SIDC</vt:lpstr>
      <vt:lpstr>4_ENTSO-E Content</vt:lpstr>
      <vt:lpstr>5_ENTSO-E Content</vt:lpstr>
      <vt:lpstr>Custom Design</vt:lpstr>
      <vt:lpstr>ACER THEME</vt:lpstr>
      <vt:lpstr>6_ENTSO-E Content</vt:lpstr>
      <vt:lpstr>8_Magnus Red 4ENERGY</vt:lpstr>
      <vt:lpstr>think-cell Slide</vt:lpstr>
      <vt:lpstr>think-cell Folie</vt:lpstr>
      <vt:lpstr>3.3 Improving decoupling processes status </vt:lpstr>
      <vt:lpstr>Discussed topics</vt:lpstr>
      <vt:lpstr>Topics</vt:lpstr>
      <vt:lpstr>WS 3 - Optimise existing SDAC and SIDC timings and procedures</vt:lpstr>
      <vt:lpstr>WS 1 - Minimise the likelihood of partial decoupling</vt:lpstr>
      <vt:lpstr>WS 1 - Minimise the likelihood of partial decoupling</vt:lpstr>
      <vt:lpstr>WS 2 - Relax existing deadlines</vt:lpstr>
      <vt:lpstr>WS 4 and 6 - Fallback capacity allocation with single price per bidding zone </vt:lpstr>
      <vt:lpstr>WS 4 and 6 - Fallback capacity allocation with single price per bidding zone </vt:lpstr>
      <vt:lpstr>WS 5 - Preventing multiple SDAC prices in a bidding zone </vt:lpstr>
    </vt:vector>
  </TitlesOfParts>
  <Company>AC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hieu FRANSEN (ACER)</dc:creator>
  <cp:lastModifiedBy>Miha PREGL (ACER)</cp:lastModifiedBy>
  <cp:revision>603</cp:revision>
  <dcterms:created xsi:type="dcterms:W3CDTF">2021-03-15T14:18:19Z</dcterms:created>
  <dcterms:modified xsi:type="dcterms:W3CDTF">2026-02-04T12:15: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ItemGuid">
    <vt:lpwstr>33ecf31b-6598-4506-afb2-15014fbde1dc</vt:lpwstr>
  </property>
  <property fmtid="{D5CDD505-2E9C-101B-9397-08002B2CF9AE}" pid="3" name="ContentTypeId">
    <vt:lpwstr>0x010100A221AB9DE64CA64FA22FCC454AE6904A0074555BB728DCB54AB243BB9699D2A70A</vt:lpwstr>
  </property>
  <property fmtid="{D5CDD505-2E9C-101B-9397-08002B2CF9AE}" pid="4" name="_dlc_DocId">
    <vt:lpwstr>ACER-2022-07775</vt:lpwstr>
  </property>
  <property fmtid="{D5CDD505-2E9C-101B-9397-08002B2CF9AE}" pid="5" name="_dlc_DocIdUrl">
    <vt:lpwstr>https://extranet.acer.europa.eu/Events/56th-CACM-TF-Meeting/_layouts/15/DocIdRedir.aspx?ID=ACER-2022-07775, ACER-2022-07775</vt:lpwstr>
  </property>
  <property fmtid="{D5CDD505-2E9C-101B-9397-08002B2CF9AE}" pid="6" name="wdq0">
    <vt:lpwstr/>
  </property>
  <property fmtid="{D5CDD505-2E9C-101B-9397-08002B2CF9AE}" pid="7" name="AcerDocumentName">
    <vt:lpwstr>CACM56_meeting guide (v2).ppt</vt:lpwstr>
  </property>
  <property fmtid="{D5CDD505-2E9C-101B-9397-08002B2CF9AE}" pid="8" name="ACER_Abstract">
    <vt:lpwstr/>
  </property>
</Properties>
</file>